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 bookmarkIdSeed="5">
  <p:sldMasterIdLst>
    <p:sldMasterId id="2147483803" r:id="rId8"/>
    <p:sldMasterId id="2147483825" r:id="rId9"/>
    <p:sldMasterId id="2147483834" r:id="rId10"/>
    <p:sldMasterId id="2147483849" r:id="rId11"/>
    <p:sldMasterId id="2147483871" r:id="rId12"/>
    <p:sldMasterId id="2147483888" r:id="rId13"/>
  </p:sldMasterIdLst>
  <p:notesMasterIdLst>
    <p:notesMasterId r:id="rId34"/>
  </p:notesMasterIdLst>
  <p:handoutMasterIdLst>
    <p:handoutMasterId r:id="rId35"/>
  </p:handoutMasterIdLst>
  <p:sldIdLst>
    <p:sldId id="2146847406" r:id="rId14"/>
    <p:sldId id="2147482347" r:id="rId15"/>
    <p:sldId id="2147482330" r:id="rId16"/>
    <p:sldId id="2147482332" r:id="rId17"/>
    <p:sldId id="2147482351" r:id="rId18"/>
    <p:sldId id="2147482342" r:id="rId19"/>
    <p:sldId id="2147482343" r:id="rId20"/>
    <p:sldId id="2147482350" r:id="rId21"/>
    <p:sldId id="2147482349" r:id="rId22"/>
    <p:sldId id="2147482333" r:id="rId23"/>
    <p:sldId id="2147482334" r:id="rId24"/>
    <p:sldId id="2147482335" r:id="rId25"/>
    <p:sldId id="2147482336" r:id="rId26"/>
    <p:sldId id="2147482348" r:id="rId27"/>
    <p:sldId id="2147482345" r:id="rId28"/>
    <p:sldId id="2147482338" r:id="rId29"/>
    <p:sldId id="2147482339" r:id="rId30"/>
    <p:sldId id="2147482340" r:id="rId31"/>
    <p:sldId id="2147482341" r:id="rId32"/>
    <p:sldId id="2147482346" r:id="rId33"/>
  </p:sldIdLst>
  <p:sldSz cx="12192000" cy="6858000"/>
  <p:notesSz cx="6800850" cy="993298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27" userDrawn="1">
          <p15:clr>
            <a:srgbClr val="A4A3A4"/>
          </p15:clr>
        </p15:guide>
        <p15:guide id="2" pos="347" userDrawn="1">
          <p15:clr>
            <a:srgbClr val="A4A3A4"/>
          </p15:clr>
        </p15:guide>
        <p15:guide id="3" orient="horz" pos="3521" userDrawn="1">
          <p15:clr>
            <a:srgbClr val="A4A3A4"/>
          </p15:clr>
        </p15:guide>
        <p15:guide id="4" pos="538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A09EF01-4D4F-9D42-18AC-D818877A1010}" name="Rosanna Farrell" initials="RF" userId="Rosanna Farrell" providerId="None"/>
  <p188:author id="{142AA910-885F-FB8F-3520-B826AD5D6F79}" name="Alex Mann" initials="AM" userId="S::alex.mann@wearelucidgroup.com::846c211f-864c-4fed-992e-abb63e4f7e99" providerId="AD"/>
  <p188:author id="{91A4F710-BC45-F5C0-D34C-251DD1B882E7}" name="Laura Griffin" initials="LG" userId="Laura Griffin" providerId="None"/>
  <p188:author id="{D7396718-B8E4-79DB-671A-2B2BBA78DF64}" name="Hannah Armstrong" initials="" userId="S::hannah.armstrong@wearelucidgroup.com::cdd5759f-d3f2-4938-929e-ca06e8f61a74" providerId="AD"/>
  <p188:author id="{9E209926-A310-C494-CBC9-409AFEF039C7}" name="Stjepanovic, Neda" initials="SN" userId="S::kblt727@astrazeneca.net::4c140e31-3e39-4a25-85ed-72b9dc67a3c3" providerId="AD"/>
  <p188:author id="{2BC07B29-5861-AD72-EC6D-53085CECD022}" name="Hannah Clarke (Team Healthcare21)" initials="HH" userId="S::hannah.clarke_wearelucidgroup.com#ext#@azcollaboration.onmicrosoft.com::0c781798-5b40-46b0-9017-173fbd5152ea" providerId="AD"/>
  <p188:author id="{A721FA3E-0D18-4505-6A67-87D9D6CA6383}" name="Russell Broome (Team HealthCare21)" initials="RB(H" userId="S::russell.broome@wearelucidgroup.com::f78eb29a-8451-4d6b-ab0e-275c84cdd3ac" providerId="AD"/>
  <p188:author id="{BA034C3F-A8E8-C96D-7403-3005629443EB}" name="Hannah Clarke (Team Healthcare21)" initials="HC(H" userId="S::Hannah.Clarke@wearelucidgroup.com::cdd5759f-d3f2-4938-929e-ca06e8f61a74" providerId="AD"/>
  <p188:author id="{F9094445-9DD8-7D65-0DEC-38E7B83A4950}" name="Georgina Chan" initials="GC" userId="S::Georgina.Chan@wearelucidgroup.com::feba7d5a-a56f-4379-83e9-906216131ac5" providerId="AD"/>
  <p188:author id="{4E199746-CA45-D5A6-5B2D-4544D4AB2BF8}" name="Georgina Chan (Team Unity)" initials="GU" userId="S::georgina.chan_wearelucidgroup.com#ext#@azcollaboration.onmicrosoft.com::eb03e194-1f81-47eb-888d-1873c5f86ae5" providerId="AD"/>
  <p188:author id="{07A26550-45A7-DBC2-5011-B482BEA0AF6C}" name="Clarke, Deborah" initials="CD" userId="S::kmjw807@astrazeneca.net::b46daf70-3b53-4016-9f0c-ed4483be6e73" providerId="AD"/>
  <p188:author id="{74662360-FC5D-6BDE-B21B-AAF8B2E676B0}" name="Matt Bradbury" initials="MB" userId="S::matt.bradbury@wearelucidgroup.com::1cb24545-39cf-4132-97cf-e08e5c244205" providerId="AD"/>
  <p188:author id="{9369FC63-CE52-CF76-6E56-59BC0BB402C2}" name="Hannah Fairhurst" initials="HF" userId="S::hannah.fairhurst@wearelucidgroup.com::0b01b67d-73b2-4106-b8b9-8c4404097fd5" providerId="AD"/>
  <p188:author id="{EDC9046D-F70D-0602-6E2F-E423F7EDB27B}" name="Hannah Clarke" initials="" userId="S::hannah.clarke@wearelucidgroup.com::cdd5759f-d3f2-4938-929e-ca06e8f61a74" providerId="AD"/>
  <p188:author id="{B4756977-B51F-78DF-485B-1A8914A6BAE8}" name="Sarah Turner" initials="ST" userId="S::sarah.turner@wearelucidgroup.com::fd33087a-348c-4188-b94f-952ae3088599" providerId="AD"/>
  <p188:author id="{98D75F7B-25BD-A706-EBD4-A7C7910DF7ED}" name="Toni Batey" initials="TB" userId="S::toni.batey@wearelucidgroup.com::266201b9-09ae-4f01-a51c-6bbea604b99f" providerId="AD"/>
  <p188:author id="{9642AF7C-0EEA-F0B0-1C3A-71EA762710AE}" name="James Hadfield" initials="JH" userId="S::James.Hadfield@wearelucidgroup.com::1a41cfc6-3263-46ea-b248-8038fa063266" providerId="AD"/>
  <p188:author id="{9630FB89-0CAD-7345-DBA3-CFC6D94D9EA7}" name="Georgina Chan" initials="GC" userId="S::georgina.chan@wearelucidgroup.com::feba7d5a-a56f-4379-83e9-906216131ac5" providerId="AD"/>
  <p188:author id="{FC7B948F-10E7-8140-CC78-EA944299776B}" name="Darren Selmes (Team Unity)" initials="DS(U" userId="S::darren.selmes@wearelucidgroup.com::2e041823-bbd2-4c7b-ab6e-9e88fb8b30c8" providerId="AD"/>
  <p188:author id="{3626EA9A-39A5-0562-764E-4637B1C82C55}" name="Hannah Chaudhry" initials="HC" userId="S::hannah.chaudhry@wearelucidgroup.com::07a91980-6356-4ac0-9ceb-28212ae19a0a" providerId="AD"/>
  <p188:author id="{785C66B4-3087-D81C-BF2D-AFE3AD9E513E}" name="Deborah Clarke" initials="DC" userId="Fm6+aoMiIzJvpiTJrDXQ67nZbsUiv6Zdi5uEOUSLCR8=" providerId="None"/>
  <p188:author id="{049C7DB4-D553-3735-7437-BC2AD5B0E4F8}" name="Shenoy, Sonia" initials="SS" userId="S::shenoys_amgen.com#ext#@azcollaboration.onmicrosoft.com::e1695a2d-d4cd-4b4c-b5f6-6b59cb1e1c0a" providerId="AD"/>
  <p188:author id="{E577DBB5-AE41-963B-13DF-2745A95C7317}" name="Helen Sharland" initials="HS" userId="S::Helen.Sharland@wearelucidgroup.com::8bfc5259-829d-4d1a-84c4-afa70c74011d" providerId="AD"/>
  <p188:author id="{D1ED6DB7-D1CB-E6C8-343D-7E355CEEBA30}" name="Helen Sharland" initials="HS" userId="S::helen.sharland@wearelucidgroup.com::8bfc5259-829d-4d1a-84c4-afa70c74011d" providerId="AD"/>
  <p188:author id="{1CAFBDBD-2F92-4CB2-DA07-ADD2AB378B8F}" name="Abigail Whalley" initials="AW" userId="S::abigail.whalley@wearelucidgroup.com::bc73331d-9974-4856-b03e-c45a7ba0f34d" providerId="AD"/>
  <p188:author id="{2B1066C3-2CCD-C097-6447-DF3F75459173}" name="Gamil Bolous, Amgad" initials="GBA" userId="S::agamilbo@amgen.com::af99b8d6-b0f4-4870-8527-5c4e180521cb" providerId="AD"/>
  <p188:author id="{4360D0C3-D055-1FE7-42EA-D2F593AD1A30}" name="Mansi Patel" initials="MP" userId="S::mansi.patel@wearelucidgroup.com::e9339eb2-71f2-491f-9f29-eaf2b29d6231" providerId="AD"/>
  <p188:author id="{3BBC32C8-AFE7-548F-03B8-D26B09640E0D}" name="James Hadfield (Team Unity)" initials="JH(U" userId="James Hadfield (Team Unity)" providerId="None"/>
  <p188:author id="{764968D5-6C26-3E33-6EA9-8C05ED6E907F}" name="Niki Holroyde" initials="NH" userId="S::niki.holroyde@wearelucidgroup.com::200723aa-c021-4d00-bbe1-d8e8fe6a495f" providerId="AD"/>
  <p188:author id="{B9ED02F8-3894-EA34-0DD4-FB87642D5671}" name="Helios" initials="Helios" userId="Helios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larke, Deborah" initials="CD" lastIdx="25" clrIdx="0">
    <p:extLst>
      <p:ext uri="{19B8F6BF-5375-455C-9EA6-DF929625EA0E}">
        <p15:presenceInfo xmlns:p15="http://schemas.microsoft.com/office/powerpoint/2012/main" userId="S::kmjw807@astrazeneca.net::b46daf70-3b53-4016-9f0c-ed4483be6e73" providerId="AD"/>
      </p:ext>
    </p:extLst>
  </p:cmAuthor>
  <p:cmAuthor id="2" name="Stjepanovic, Neda" initials="SN" lastIdx="10" clrIdx="1">
    <p:extLst>
      <p:ext uri="{19B8F6BF-5375-455C-9EA6-DF929625EA0E}">
        <p15:presenceInfo xmlns:p15="http://schemas.microsoft.com/office/powerpoint/2012/main" userId="S::kblt727@astrazeneca.net::4c140e31-3e39-4a25-85ed-72b9dc67a3c3" providerId="AD"/>
      </p:ext>
    </p:extLst>
  </p:cmAuthor>
  <p:cmAuthor id="3" name="Julia Eckl-Dorna" initials="JED" lastIdx="9" clrIdx="2">
    <p:extLst>
      <p:ext uri="{19B8F6BF-5375-455C-9EA6-DF929625EA0E}">
        <p15:presenceInfo xmlns:p15="http://schemas.microsoft.com/office/powerpoint/2012/main" userId="33455d6fe718e7a0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60707"/>
    <a:srgbClr val="FFFB85"/>
    <a:srgbClr val="D1DA3A"/>
    <a:srgbClr val="E4795C"/>
    <a:srgbClr val="CF5A3A"/>
    <a:srgbClr val="3F4444"/>
    <a:srgbClr val="68D2DF"/>
    <a:srgbClr val="E73A26"/>
    <a:srgbClr val="3254A2"/>
    <a:srgbClr val="1283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6" d="100"/>
          <a:sy n="76" d="100"/>
        </p:scale>
        <p:origin x="76" y="428"/>
      </p:cViewPr>
      <p:guideLst>
        <p:guide orient="horz" pos="527"/>
        <p:guide pos="347"/>
        <p:guide orient="horz" pos="3521"/>
        <p:guide pos="538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6.xml"/><Relationship Id="rId18" Type="http://schemas.openxmlformats.org/officeDocument/2006/relationships/slide" Target="slides/slide5.xml"/><Relationship Id="rId26" Type="http://schemas.openxmlformats.org/officeDocument/2006/relationships/slide" Target="slides/slide13.xml"/><Relationship Id="rId39" Type="http://schemas.openxmlformats.org/officeDocument/2006/relationships/theme" Target="theme/theme1.xml"/><Relationship Id="rId21" Type="http://schemas.openxmlformats.org/officeDocument/2006/relationships/slide" Target="slides/slide8.xml"/><Relationship Id="rId34" Type="http://schemas.openxmlformats.org/officeDocument/2006/relationships/notesMaster" Target="notesMasters/notesMaster1.xml"/><Relationship Id="rId42" Type="http://schemas.microsoft.com/office/2018/10/relationships/authors" Target="authors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29" Type="http://schemas.openxmlformats.org/officeDocument/2006/relationships/slide" Target="slides/slide16.xml"/><Relationship Id="rId41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Master" Target="slideMasters/slideMaster4.xml"/><Relationship Id="rId24" Type="http://schemas.openxmlformats.org/officeDocument/2006/relationships/slide" Target="slides/slide11.xml"/><Relationship Id="rId32" Type="http://schemas.openxmlformats.org/officeDocument/2006/relationships/slide" Target="slides/slide19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slide" Target="slides/slide15.xml"/><Relationship Id="rId36" Type="http://schemas.openxmlformats.org/officeDocument/2006/relationships/commentAuthors" Target="commentAuthors.xml"/><Relationship Id="rId10" Type="http://schemas.openxmlformats.org/officeDocument/2006/relationships/slideMaster" Target="slideMasters/slideMaster3.xml"/><Relationship Id="rId19" Type="http://schemas.openxmlformats.org/officeDocument/2006/relationships/slide" Target="slides/slide6.xml"/><Relationship Id="rId31" Type="http://schemas.openxmlformats.org/officeDocument/2006/relationships/slide" Target="slides/slide18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2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slide" Target="slides/slide14.xml"/><Relationship Id="rId30" Type="http://schemas.openxmlformats.org/officeDocument/2006/relationships/slide" Target="slides/slide17.xml"/><Relationship Id="rId35" Type="http://schemas.openxmlformats.org/officeDocument/2006/relationships/handoutMaster" Target="handoutMasters/handoutMaster1.xml"/><Relationship Id="rId8" Type="http://schemas.openxmlformats.org/officeDocument/2006/relationships/slideMaster" Target="slideMasters/slideMaster1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5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slide" Target="slides/slide20.xml"/><Relationship Id="rId38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im Tidmuss-Grisley" userId="997b4d35-077c-4e22-8603-3a517bec95a9" providerId="ADAL" clId="{C874BD6B-651D-466C-AD40-930F4791984B}"/>
    <pc:docChg chg="custSel modSld">
      <pc:chgData name="Kim Tidmuss-Grisley" userId="997b4d35-077c-4e22-8603-3a517bec95a9" providerId="ADAL" clId="{C874BD6B-651D-466C-AD40-930F4791984B}" dt="2026-03-10T10:15:16.037" v="24" actId="313"/>
      <pc:docMkLst>
        <pc:docMk/>
      </pc:docMkLst>
      <pc:sldChg chg="modSp mod">
        <pc:chgData name="Kim Tidmuss-Grisley" userId="997b4d35-077c-4e22-8603-3a517bec95a9" providerId="ADAL" clId="{C874BD6B-651D-466C-AD40-930F4791984B}" dt="2026-03-10T10:14:56.996" v="5" actId="313"/>
        <pc:sldMkLst>
          <pc:docMk/>
          <pc:sldMk cId="2294744628" sldId="2146847406"/>
        </pc:sldMkLst>
        <pc:spChg chg="mod">
          <ac:chgData name="Kim Tidmuss-Grisley" userId="997b4d35-077c-4e22-8603-3a517bec95a9" providerId="ADAL" clId="{C874BD6B-651D-466C-AD40-930F4791984B}" dt="2026-03-10T10:14:56.996" v="5" actId="313"/>
          <ac:spMkLst>
            <pc:docMk/>
            <pc:sldMk cId="2294744628" sldId="2146847406"/>
            <ac:spMk id="9" creationId="{71AECA1A-01C4-7348-A6C1-7E803B11C9F9}"/>
          </ac:spMkLst>
        </pc:spChg>
      </pc:sldChg>
      <pc:sldChg chg="modSp mod">
        <pc:chgData name="Kim Tidmuss-Grisley" userId="997b4d35-077c-4e22-8603-3a517bec95a9" providerId="ADAL" clId="{C874BD6B-651D-466C-AD40-930F4791984B}" dt="2026-03-10T10:14:58.687" v="7" actId="313"/>
        <pc:sldMkLst>
          <pc:docMk/>
          <pc:sldMk cId="3101151265" sldId="2147482330"/>
        </pc:sldMkLst>
        <pc:spChg chg="mod">
          <ac:chgData name="Kim Tidmuss-Grisley" userId="997b4d35-077c-4e22-8603-3a517bec95a9" providerId="ADAL" clId="{C874BD6B-651D-466C-AD40-930F4791984B}" dt="2026-03-10T10:14:38.956" v="4" actId="20577"/>
          <ac:spMkLst>
            <pc:docMk/>
            <pc:sldMk cId="3101151265" sldId="2147482330"/>
            <ac:spMk id="5" creationId="{92A52B04-767D-D24F-CD0B-7C595A9FDED6}"/>
          </ac:spMkLst>
        </pc:spChg>
        <pc:spChg chg="mod">
          <ac:chgData name="Kim Tidmuss-Grisley" userId="997b4d35-077c-4e22-8603-3a517bec95a9" providerId="ADAL" clId="{C874BD6B-651D-466C-AD40-930F4791984B}" dt="2026-03-10T10:14:58.687" v="7" actId="313"/>
          <ac:spMkLst>
            <pc:docMk/>
            <pc:sldMk cId="3101151265" sldId="2147482330"/>
            <ac:spMk id="8" creationId="{AB34104D-9490-DBFE-D568-B92CBDD5511F}"/>
          </ac:spMkLst>
        </pc:spChg>
      </pc:sldChg>
      <pc:sldChg chg="modSp mod">
        <pc:chgData name="Kim Tidmuss-Grisley" userId="997b4d35-077c-4e22-8603-3a517bec95a9" providerId="ADAL" clId="{C874BD6B-651D-466C-AD40-930F4791984B}" dt="2026-03-10T10:14:59.610" v="8" actId="313"/>
        <pc:sldMkLst>
          <pc:docMk/>
          <pc:sldMk cId="1366924126" sldId="2147482332"/>
        </pc:sldMkLst>
        <pc:spChg chg="mod">
          <ac:chgData name="Kim Tidmuss-Grisley" userId="997b4d35-077c-4e22-8603-3a517bec95a9" providerId="ADAL" clId="{C874BD6B-651D-466C-AD40-930F4791984B}" dt="2026-03-10T10:14:59.610" v="8" actId="313"/>
          <ac:spMkLst>
            <pc:docMk/>
            <pc:sldMk cId="1366924126" sldId="2147482332"/>
            <ac:spMk id="8" creationId="{0E890004-1416-C178-3546-315DC3405D95}"/>
          </ac:spMkLst>
        </pc:spChg>
      </pc:sldChg>
      <pc:sldChg chg="modSp mod">
        <pc:chgData name="Kim Tidmuss-Grisley" userId="997b4d35-077c-4e22-8603-3a517bec95a9" providerId="ADAL" clId="{C874BD6B-651D-466C-AD40-930F4791984B}" dt="2026-03-10T10:15:05.024" v="14" actId="313"/>
        <pc:sldMkLst>
          <pc:docMk/>
          <pc:sldMk cId="1083246672" sldId="2147482333"/>
        </pc:sldMkLst>
        <pc:spChg chg="mod">
          <ac:chgData name="Kim Tidmuss-Grisley" userId="997b4d35-077c-4e22-8603-3a517bec95a9" providerId="ADAL" clId="{C874BD6B-651D-466C-AD40-930F4791984B}" dt="2026-03-10T10:15:05.024" v="14" actId="313"/>
          <ac:spMkLst>
            <pc:docMk/>
            <pc:sldMk cId="1083246672" sldId="2147482333"/>
            <ac:spMk id="4" creationId="{609AC6FC-AD07-420A-A699-5F71177E9ABF}"/>
          </ac:spMkLst>
        </pc:spChg>
      </pc:sldChg>
      <pc:sldChg chg="modSp mod">
        <pc:chgData name="Kim Tidmuss-Grisley" userId="997b4d35-077c-4e22-8603-3a517bec95a9" providerId="ADAL" clId="{C874BD6B-651D-466C-AD40-930F4791984B}" dt="2026-03-10T10:15:05.786" v="15" actId="313"/>
        <pc:sldMkLst>
          <pc:docMk/>
          <pc:sldMk cId="1873725888" sldId="2147482334"/>
        </pc:sldMkLst>
        <pc:spChg chg="mod">
          <ac:chgData name="Kim Tidmuss-Grisley" userId="997b4d35-077c-4e22-8603-3a517bec95a9" providerId="ADAL" clId="{C874BD6B-651D-466C-AD40-930F4791984B}" dt="2026-03-10T10:15:05.786" v="15" actId="313"/>
          <ac:spMkLst>
            <pc:docMk/>
            <pc:sldMk cId="1873725888" sldId="2147482334"/>
            <ac:spMk id="8" creationId="{9ECC3630-A888-5499-2011-3FC9750339D4}"/>
          </ac:spMkLst>
        </pc:spChg>
      </pc:sldChg>
      <pc:sldChg chg="modSp mod">
        <pc:chgData name="Kim Tidmuss-Grisley" userId="997b4d35-077c-4e22-8603-3a517bec95a9" providerId="ADAL" clId="{C874BD6B-651D-466C-AD40-930F4791984B}" dt="2026-03-10T10:15:06.554" v="16" actId="313"/>
        <pc:sldMkLst>
          <pc:docMk/>
          <pc:sldMk cId="1598626760" sldId="2147482335"/>
        </pc:sldMkLst>
        <pc:spChg chg="mod">
          <ac:chgData name="Kim Tidmuss-Grisley" userId="997b4d35-077c-4e22-8603-3a517bec95a9" providerId="ADAL" clId="{C874BD6B-651D-466C-AD40-930F4791984B}" dt="2026-03-10T10:15:06.554" v="16" actId="313"/>
          <ac:spMkLst>
            <pc:docMk/>
            <pc:sldMk cId="1598626760" sldId="2147482335"/>
            <ac:spMk id="8" creationId="{DD983604-5A53-3C52-D688-E2DF7E3AD78C}"/>
          </ac:spMkLst>
        </pc:spChg>
      </pc:sldChg>
      <pc:sldChg chg="modSp mod">
        <pc:chgData name="Kim Tidmuss-Grisley" userId="997b4d35-077c-4e22-8603-3a517bec95a9" providerId="ADAL" clId="{C874BD6B-651D-466C-AD40-930F4791984B}" dt="2026-03-10T10:15:08.332" v="17" actId="313"/>
        <pc:sldMkLst>
          <pc:docMk/>
          <pc:sldMk cId="2003891562" sldId="2147482336"/>
        </pc:sldMkLst>
        <pc:spChg chg="mod">
          <ac:chgData name="Kim Tidmuss-Grisley" userId="997b4d35-077c-4e22-8603-3a517bec95a9" providerId="ADAL" clId="{C874BD6B-651D-466C-AD40-930F4791984B}" dt="2026-03-10T10:15:08.332" v="17" actId="313"/>
          <ac:spMkLst>
            <pc:docMk/>
            <pc:sldMk cId="2003891562" sldId="2147482336"/>
            <ac:spMk id="8" creationId="{9EF5A257-D742-4355-8971-2E16AC9425FA}"/>
          </ac:spMkLst>
        </pc:spChg>
      </pc:sldChg>
      <pc:sldChg chg="modSp mod">
        <pc:chgData name="Kim Tidmuss-Grisley" userId="997b4d35-077c-4e22-8603-3a517bec95a9" providerId="ADAL" clId="{C874BD6B-651D-466C-AD40-930F4791984B}" dt="2026-03-10T10:15:11.578" v="20" actId="313"/>
        <pc:sldMkLst>
          <pc:docMk/>
          <pc:sldMk cId="3537414150" sldId="2147482338"/>
        </pc:sldMkLst>
        <pc:spChg chg="mod">
          <ac:chgData name="Kim Tidmuss-Grisley" userId="997b4d35-077c-4e22-8603-3a517bec95a9" providerId="ADAL" clId="{C874BD6B-651D-466C-AD40-930F4791984B}" dt="2026-03-10T10:15:11.578" v="20" actId="313"/>
          <ac:spMkLst>
            <pc:docMk/>
            <pc:sldMk cId="3537414150" sldId="2147482338"/>
            <ac:spMk id="8" creationId="{455935B8-170F-11D8-8A50-D1834D928F9F}"/>
          </ac:spMkLst>
        </pc:spChg>
      </pc:sldChg>
      <pc:sldChg chg="modSp mod">
        <pc:chgData name="Kim Tidmuss-Grisley" userId="997b4d35-077c-4e22-8603-3a517bec95a9" providerId="ADAL" clId="{C874BD6B-651D-466C-AD40-930F4791984B}" dt="2026-03-10T10:15:12.191" v="21" actId="313"/>
        <pc:sldMkLst>
          <pc:docMk/>
          <pc:sldMk cId="411063626" sldId="2147482339"/>
        </pc:sldMkLst>
        <pc:spChg chg="mod">
          <ac:chgData name="Kim Tidmuss-Grisley" userId="997b4d35-077c-4e22-8603-3a517bec95a9" providerId="ADAL" clId="{C874BD6B-651D-466C-AD40-930F4791984B}" dt="2026-03-10T10:15:12.191" v="21" actId="313"/>
          <ac:spMkLst>
            <pc:docMk/>
            <pc:sldMk cId="411063626" sldId="2147482339"/>
            <ac:spMk id="8" creationId="{FEFC3521-C7B3-CFD8-E165-41E2D73ABBB9}"/>
          </ac:spMkLst>
        </pc:spChg>
      </pc:sldChg>
      <pc:sldChg chg="modSp mod">
        <pc:chgData name="Kim Tidmuss-Grisley" userId="997b4d35-077c-4e22-8603-3a517bec95a9" providerId="ADAL" clId="{C874BD6B-651D-466C-AD40-930F4791984B}" dt="2026-03-10T10:15:13.424" v="22" actId="313"/>
        <pc:sldMkLst>
          <pc:docMk/>
          <pc:sldMk cId="3807113381" sldId="2147482340"/>
        </pc:sldMkLst>
        <pc:spChg chg="mod">
          <ac:chgData name="Kim Tidmuss-Grisley" userId="997b4d35-077c-4e22-8603-3a517bec95a9" providerId="ADAL" clId="{C874BD6B-651D-466C-AD40-930F4791984B}" dt="2026-03-10T10:15:13.424" v="22" actId="313"/>
          <ac:spMkLst>
            <pc:docMk/>
            <pc:sldMk cId="3807113381" sldId="2147482340"/>
            <ac:spMk id="8" creationId="{3492C44D-96F9-041A-4D43-F429A46F2DD8}"/>
          </ac:spMkLst>
        </pc:spChg>
      </pc:sldChg>
      <pc:sldChg chg="modSp mod">
        <pc:chgData name="Kim Tidmuss-Grisley" userId="997b4d35-077c-4e22-8603-3a517bec95a9" providerId="ADAL" clId="{C874BD6B-651D-466C-AD40-930F4791984B}" dt="2026-03-10T10:15:14.040" v="23" actId="313"/>
        <pc:sldMkLst>
          <pc:docMk/>
          <pc:sldMk cId="663511659" sldId="2147482341"/>
        </pc:sldMkLst>
        <pc:spChg chg="mod">
          <ac:chgData name="Kim Tidmuss-Grisley" userId="997b4d35-077c-4e22-8603-3a517bec95a9" providerId="ADAL" clId="{C874BD6B-651D-466C-AD40-930F4791984B}" dt="2026-03-10T10:15:14.040" v="23" actId="313"/>
          <ac:spMkLst>
            <pc:docMk/>
            <pc:sldMk cId="663511659" sldId="2147482341"/>
            <ac:spMk id="8" creationId="{7C840CCA-0244-7C0C-0638-06F26971DE39}"/>
          </ac:spMkLst>
        </pc:spChg>
      </pc:sldChg>
      <pc:sldChg chg="modSp mod">
        <pc:chgData name="Kim Tidmuss-Grisley" userId="997b4d35-077c-4e22-8603-3a517bec95a9" providerId="ADAL" clId="{C874BD6B-651D-466C-AD40-930F4791984B}" dt="2026-03-10T10:15:01.004" v="10" actId="313"/>
        <pc:sldMkLst>
          <pc:docMk/>
          <pc:sldMk cId="2170817393" sldId="2147482342"/>
        </pc:sldMkLst>
        <pc:spChg chg="mod">
          <ac:chgData name="Kim Tidmuss-Grisley" userId="997b4d35-077c-4e22-8603-3a517bec95a9" providerId="ADAL" clId="{C874BD6B-651D-466C-AD40-930F4791984B}" dt="2026-03-10T10:15:01.004" v="10" actId="313"/>
          <ac:spMkLst>
            <pc:docMk/>
            <pc:sldMk cId="2170817393" sldId="2147482342"/>
            <ac:spMk id="8" creationId="{EE30F45C-42B3-D100-780A-6994755261F0}"/>
          </ac:spMkLst>
        </pc:spChg>
      </pc:sldChg>
      <pc:sldChg chg="modSp mod">
        <pc:chgData name="Kim Tidmuss-Grisley" userId="997b4d35-077c-4e22-8603-3a517bec95a9" providerId="ADAL" clId="{C874BD6B-651D-466C-AD40-930F4791984B}" dt="2026-03-10T10:15:01.879" v="11" actId="313"/>
        <pc:sldMkLst>
          <pc:docMk/>
          <pc:sldMk cId="3568501108" sldId="2147482343"/>
        </pc:sldMkLst>
        <pc:spChg chg="mod">
          <ac:chgData name="Kim Tidmuss-Grisley" userId="997b4d35-077c-4e22-8603-3a517bec95a9" providerId="ADAL" clId="{C874BD6B-651D-466C-AD40-930F4791984B}" dt="2026-03-10T10:15:01.879" v="11" actId="313"/>
          <ac:spMkLst>
            <pc:docMk/>
            <pc:sldMk cId="3568501108" sldId="2147482343"/>
            <ac:spMk id="8" creationId="{7354BF7F-96A3-B747-0E70-6B71729C6257}"/>
          </ac:spMkLst>
        </pc:spChg>
      </pc:sldChg>
      <pc:sldChg chg="modSp mod">
        <pc:chgData name="Kim Tidmuss-Grisley" userId="997b4d35-077c-4e22-8603-3a517bec95a9" providerId="ADAL" clId="{C874BD6B-651D-466C-AD40-930F4791984B}" dt="2026-03-10T10:15:10.850" v="19" actId="313"/>
        <pc:sldMkLst>
          <pc:docMk/>
          <pc:sldMk cId="1873329896" sldId="2147482345"/>
        </pc:sldMkLst>
        <pc:spChg chg="mod">
          <ac:chgData name="Kim Tidmuss-Grisley" userId="997b4d35-077c-4e22-8603-3a517bec95a9" providerId="ADAL" clId="{C874BD6B-651D-466C-AD40-930F4791984B}" dt="2026-03-10T10:15:10.850" v="19" actId="313"/>
          <ac:spMkLst>
            <pc:docMk/>
            <pc:sldMk cId="1873329896" sldId="2147482345"/>
            <ac:spMk id="4" creationId="{C0E0C755-EA00-D414-A804-3EEAAD57749E}"/>
          </ac:spMkLst>
        </pc:spChg>
      </pc:sldChg>
      <pc:sldChg chg="modSp mod">
        <pc:chgData name="Kim Tidmuss-Grisley" userId="997b4d35-077c-4e22-8603-3a517bec95a9" providerId="ADAL" clId="{C874BD6B-651D-466C-AD40-930F4791984B}" dt="2026-03-10T10:15:16.037" v="24" actId="313"/>
        <pc:sldMkLst>
          <pc:docMk/>
          <pc:sldMk cId="806623793" sldId="2147482346"/>
        </pc:sldMkLst>
        <pc:spChg chg="mod">
          <ac:chgData name="Kim Tidmuss-Grisley" userId="997b4d35-077c-4e22-8603-3a517bec95a9" providerId="ADAL" clId="{C874BD6B-651D-466C-AD40-930F4791984B}" dt="2026-03-10T10:15:16.037" v="24" actId="313"/>
          <ac:spMkLst>
            <pc:docMk/>
            <pc:sldMk cId="806623793" sldId="2147482346"/>
            <ac:spMk id="8" creationId="{74A97512-5423-8DDF-14F0-4430203F1746}"/>
          </ac:spMkLst>
        </pc:spChg>
      </pc:sldChg>
      <pc:sldChg chg="modSp mod">
        <pc:chgData name="Kim Tidmuss-Grisley" userId="997b4d35-077c-4e22-8603-3a517bec95a9" providerId="ADAL" clId="{C874BD6B-651D-466C-AD40-930F4791984B}" dt="2026-03-10T10:14:57.684" v="6" actId="313"/>
        <pc:sldMkLst>
          <pc:docMk/>
          <pc:sldMk cId="3432683717" sldId="2147482347"/>
        </pc:sldMkLst>
        <pc:spChg chg="mod">
          <ac:chgData name="Kim Tidmuss-Grisley" userId="997b4d35-077c-4e22-8603-3a517bec95a9" providerId="ADAL" clId="{C874BD6B-651D-466C-AD40-930F4791984B}" dt="2026-03-10T10:14:57.684" v="6" actId="313"/>
          <ac:spMkLst>
            <pc:docMk/>
            <pc:sldMk cId="3432683717" sldId="2147482347"/>
            <ac:spMk id="4" creationId="{5F4F3E88-F9EF-DB15-409A-7DB0C1DAAC48}"/>
          </ac:spMkLst>
        </pc:spChg>
      </pc:sldChg>
      <pc:sldChg chg="modSp mod">
        <pc:chgData name="Kim Tidmuss-Grisley" userId="997b4d35-077c-4e22-8603-3a517bec95a9" providerId="ADAL" clId="{C874BD6B-651D-466C-AD40-930F4791984B}" dt="2026-03-10T10:15:10.112" v="18" actId="313"/>
        <pc:sldMkLst>
          <pc:docMk/>
          <pc:sldMk cId="4033185461" sldId="2147482348"/>
        </pc:sldMkLst>
        <pc:spChg chg="mod">
          <ac:chgData name="Kim Tidmuss-Grisley" userId="997b4d35-077c-4e22-8603-3a517bec95a9" providerId="ADAL" clId="{C874BD6B-651D-466C-AD40-930F4791984B}" dt="2026-03-10T10:15:10.112" v="18" actId="313"/>
          <ac:spMkLst>
            <pc:docMk/>
            <pc:sldMk cId="4033185461" sldId="2147482348"/>
            <ac:spMk id="8" creationId="{3BC38EB2-3309-A36C-537A-ABB25ED1EAC7}"/>
          </ac:spMkLst>
        </pc:spChg>
      </pc:sldChg>
      <pc:sldChg chg="modSp mod">
        <pc:chgData name="Kim Tidmuss-Grisley" userId="997b4d35-077c-4e22-8603-3a517bec95a9" providerId="ADAL" clId="{C874BD6B-651D-466C-AD40-930F4791984B}" dt="2026-03-10T10:15:04.164" v="13" actId="313"/>
        <pc:sldMkLst>
          <pc:docMk/>
          <pc:sldMk cId="697253974" sldId="2147482349"/>
        </pc:sldMkLst>
        <pc:spChg chg="mod">
          <ac:chgData name="Kim Tidmuss-Grisley" userId="997b4d35-077c-4e22-8603-3a517bec95a9" providerId="ADAL" clId="{C874BD6B-651D-466C-AD40-930F4791984B}" dt="2026-03-10T10:15:04.164" v="13" actId="313"/>
          <ac:spMkLst>
            <pc:docMk/>
            <pc:sldMk cId="697253974" sldId="2147482349"/>
            <ac:spMk id="8" creationId="{270BA174-1007-57A2-1200-D2B7014B81CB}"/>
          </ac:spMkLst>
        </pc:spChg>
      </pc:sldChg>
      <pc:sldChg chg="modSp mod">
        <pc:chgData name="Kim Tidmuss-Grisley" userId="997b4d35-077c-4e22-8603-3a517bec95a9" providerId="ADAL" clId="{C874BD6B-651D-466C-AD40-930F4791984B}" dt="2026-03-10T10:15:03.339" v="12" actId="313"/>
        <pc:sldMkLst>
          <pc:docMk/>
          <pc:sldMk cId="3236411775" sldId="2147482350"/>
        </pc:sldMkLst>
        <pc:spChg chg="mod">
          <ac:chgData name="Kim Tidmuss-Grisley" userId="997b4d35-077c-4e22-8603-3a517bec95a9" providerId="ADAL" clId="{C874BD6B-651D-466C-AD40-930F4791984B}" dt="2026-03-10T10:15:03.339" v="12" actId="313"/>
          <ac:spMkLst>
            <pc:docMk/>
            <pc:sldMk cId="3236411775" sldId="2147482350"/>
            <ac:spMk id="4" creationId="{8A5DD454-D788-EC2F-2C91-4FEA0BD4100A}"/>
          </ac:spMkLst>
        </pc:spChg>
      </pc:sldChg>
      <pc:sldChg chg="modSp mod">
        <pc:chgData name="Kim Tidmuss-Grisley" userId="997b4d35-077c-4e22-8603-3a517bec95a9" providerId="ADAL" clId="{C874BD6B-651D-466C-AD40-930F4791984B}" dt="2026-03-10T10:15:00.410" v="9" actId="313"/>
        <pc:sldMkLst>
          <pc:docMk/>
          <pc:sldMk cId="2346425769" sldId="2147482351"/>
        </pc:sldMkLst>
        <pc:spChg chg="mod">
          <ac:chgData name="Kim Tidmuss-Grisley" userId="997b4d35-077c-4e22-8603-3a517bec95a9" providerId="ADAL" clId="{C874BD6B-651D-466C-AD40-930F4791984B}" dt="2026-03-10T10:15:00.410" v="9" actId="313"/>
          <ac:spMkLst>
            <pc:docMk/>
            <pc:sldMk cId="2346425769" sldId="2147482351"/>
            <ac:spMk id="16" creationId="{2668B422-5E57-2C8F-BD53-72FB0E1EC4E6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Healthy</c:v>
                </c:pt>
                <c:pt idx="1">
                  <c:v>Pauci</c:v>
                </c:pt>
                <c:pt idx="2">
                  <c:v>Eosinophilic</c:v>
                </c:pt>
                <c:pt idx="3">
                  <c:v>Neutrophilic</c:v>
                </c:pt>
                <c:pt idx="4">
                  <c:v>Mixed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0-5D99-364F-81BB-A2995A6538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085823007"/>
        <c:axId val="1768543759"/>
      </c:barChart>
      <c:catAx>
        <c:axId val="10858230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68543759"/>
        <c:crosses val="autoZero"/>
        <c:auto val="1"/>
        <c:lblAlgn val="ctr"/>
        <c:lblOffset val="100"/>
        <c:noMultiLvlLbl val="0"/>
      </c:catAx>
      <c:valAx>
        <c:axId val="1768543759"/>
        <c:scaling>
          <c:orientation val="minMax"/>
          <c:max val="20"/>
          <c:min val="0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000" b="1">
                    <a:solidFill>
                      <a:schemeClr val="tx1"/>
                    </a:solidFill>
                  </a:rPr>
                  <a:t>Post-BD </a:t>
                </a:r>
                <a:r>
                  <a:rPr lang="en-GB" sz="1000" b="1" baseline="30000">
                    <a:solidFill>
                      <a:schemeClr val="tx1"/>
                    </a:solidFill>
                  </a:rPr>
                  <a:t>129</a:t>
                </a:r>
                <a:r>
                  <a:rPr lang="en-GB" sz="1000" b="1">
                    <a:solidFill>
                      <a:schemeClr val="tx1"/>
                    </a:solidFill>
                  </a:rPr>
                  <a:t>Xe MRI VDP,</a:t>
                </a:r>
                <a:r>
                  <a:rPr lang="en-GB" sz="1000" b="1" baseline="0">
                    <a:solidFill>
                      <a:schemeClr val="tx1"/>
                    </a:solidFill>
                  </a:rPr>
                  <a:t> %</a:t>
                </a:r>
                <a:endParaRPr lang="en-GB" sz="1000" b="1">
                  <a:solidFill>
                    <a:schemeClr val="tx1"/>
                  </a:solidFill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GB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1270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85823007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400E6AC-C53E-DBB9-2FE5-39669E31E1F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01CC500-429E-4BF0-E1C1-78C3726986C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2863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1F85C6-1B65-4A1E-8C7A-6536FBB22098}" type="datetimeFigureOut">
              <a:rPr lang="en-GB" smtClean="0"/>
              <a:t>10/03/2026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667090F-F66D-0CF9-1913-77A97BB0A53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34513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A5C6A6-9789-5834-A618-3DC7C733F8C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2863" y="9434513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00C1A1-125D-40BE-99A6-C4DFD315C6F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80755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7035" cy="49837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2241" y="0"/>
            <a:ext cx="2947035" cy="49837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Calibri" panose="020F0502020204030204" pitchFamily="34" charset="0"/>
              </a:defRPr>
            </a:lvl1pPr>
          </a:lstStyle>
          <a:p>
            <a:fld id="{4687D185-AFDC-174B-B3A6-C08F4A7C4325}" type="datetimeFigureOut">
              <a:rPr lang="en-GB" smtClean="0"/>
              <a:pPr/>
              <a:t>10/03/202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1425"/>
            <a:ext cx="5959475" cy="3352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085" y="4780250"/>
            <a:ext cx="5440680" cy="39111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4615"/>
            <a:ext cx="2947035" cy="49837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2241" y="9434615"/>
            <a:ext cx="2947035" cy="49837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Calibri" panose="020F0502020204030204" pitchFamily="34" charset="0"/>
              </a:defRPr>
            </a:lvl1pPr>
          </a:lstStyle>
          <a:p>
            <a:fld id="{B046004E-350C-3048-904D-E601776AB30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9868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46004E-350C-3048-904D-E601776AB30A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001921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CFBD61-0323-2EBF-43E9-1DB45B4105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371505B-F06B-AB21-EF12-BDF85AFAFB0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7D72AC2-F9B9-49A0-715F-B3AFF46C9D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309303-EEB4-FB3C-4A7D-01206BD2079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46004E-350C-3048-904D-E601776AB30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008091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BCD633-1BA8-76FA-500B-A5D22F456C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BD09073-6885-47C1-C46A-6ED967720A6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9212376-59AB-1920-997C-727FCD52B8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D1AA63-24BC-BECC-6B5D-A853342AD16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46004E-350C-3048-904D-E601776AB30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382439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36D837-D3C5-2711-50D0-EDE8AC7164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A19D840-0452-BD88-6BEE-4AC005068CB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9B53E85-A629-50AE-E9F5-7123C7B76F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9D9485-AE99-76D1-8E1E-7762ABC864A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46004E-350C-3048-904D-E601776AB30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285497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D59454-677E-20A0-794E-0084EACDEF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00A87CD-CDC3-CC05-1D1E-62C94FA3F23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64628D7-1F9C-BD5F-CF1A-66AA00085E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76116C-1D6A-292B-7BC6-4C5C04A94FF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46004E-350C-3048-904D-E601776AB30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614472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447EA4-F401-67B4-2CE9-D7F8843592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2500FB5-0812-8508-A480-E289910BAB4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2319F47-3AF9-0FA8-45F8-DD48827A9FA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21F21E-D327-FB4A-1041-4B4602A527F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46004E-350C-3048-904D-E601776AB30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445139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AEB6F0-3394-14CE-ACE5-51F7DF6747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3AF1FD7-2240-C695-5295-7C9C68B88E5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9C187C8-D558-C91B-560B-293DAFD67AF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946503-109D-002D-B532-643107C023E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46004E-350C-3048-904D-E601776AB30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703371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AD18F2-6232-35EF-1D8B-3D959A1C76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3C17935-F8DF-E439-802C-C65274D8224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E31093-CC5B-C9C6-7C84-81946BF8C5C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C11BF04-4CA0-A110-5CA2-C5A11101963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46004E-350C-3048-904D-E601776AB30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89901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D606F8-3286-A38D-E97C-3DFA8CF6E3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4E6B726-D6D1-9791-89CB-FF87F1A11E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4CC3CBF-493B-DC9F-1E16-FDE83215460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A3DA04-16AD-6BEE-629A-2C127FAC531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46004E-350C-3048-904D-E601776AB30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30799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03B2FD-5E28-6258-C42A-C4DB4DC008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29F1B16-B4EA-A79E-E739-B2836DAB157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A250346-4043-C9C1-04A3-2171C0358A4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6D8E4C-D3A7-9EF7-9729-5636B2B6883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46004E-350C-3048-904D-E601776AB30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9056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0187D1-1EB0-AAF4-DF2A-1D4664633E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E589584-A78B-63F2-03D1-03D232E5BDD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9BF56F5-A7C1-93F9-35E8-AF97E6B81DC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0AF9C2-06FA-E9E2-A6FB-BBFE31819BA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46004E-350C-3048-904D-E601776AB30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94124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836676-92B2-199A-669C-92117B8A1E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B32396F-2169-7E59-8189-A5F6BCAF9C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7B4784C-7EBE-20A2-F031-6970C91FDA2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87421D-6B7D-E1D8-F45B-B0018ACD347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46004E-350C-3048-904D-E601776AB30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66477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46004E-350C-3048-904D-E601776AB30A}" type="slidenum">
              <a:rPr lang="en-GB" smtClean="0"/>
              <a:pPr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39497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D919D4-BE5D-D094-93A3-4AF8ABDB65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CAB5690-3180-BA20-C96C-DCCA9615F8A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29DFA64-A6B1-42DD-4846-43BB235ED0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E6CE65-913A-F8CF-22DC-EB4208CF6AF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46004E-350C-3048-904D-E601776AB30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91608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FD9AF2-D881-2186-C88C-53E8E39D2A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996B8EB-C2D7-4F2A-319D-27173E8BFFC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191851C-8ACA-F933-5A4C-298094A1B94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CF2EE3E-2B3C-DAF4-F1C1-AEC7E608F34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46004E-350C-3048-904D-E601776AB30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751976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441C79-2B87-CABA-196D-C192A5F3DC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D4D249D-87D5-3960-1DE8-B62D13465CD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7AD60E6-01A4-A916-4256-514444105CB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483871-CE79-DA9D-3A6B-C95F3FD0397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46004E-350C-3048-904D-E601776AB30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28302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microsoft.com/office/2007/relationships/hdphoto" Target="../media/hdphoto1.wdp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microsoft.com/office/2007/relationships/hdphoto" Target="../media/hdphoto1.wdp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6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microsoft.com/office/2007/relationships/hdphoto" Target="../media/hdphoto1.wdp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8.sv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5.svg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- PPT Templa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CDCC3B-CA12-4A4B-B5F5-D2062F3C58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0688" y="1778257"/>
            <a:ext cx="5748545" cy="2119904"/>
          </a:xfrm>
        </p:spPr>
        <p:txBody>
          <a:bodyPr anchor="t" anchorCtr="0">
            <a:normAutofit/>
          </a:bodyPr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nter title here</a:t>
            </a:r>
            <a:br>
              <a:rPr lang="en-US"/>
            </a:br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32E5583-912E-4EA8-8EDC-7B6B86E7627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0688" y="4143688"/>
            <a:ext cx="5748545" cy="654803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lnSpc>
                <a:spcPct val="100000"/>
              </a:lnSpc>
              <a:buNone/>
              <a:defRPr sz="2000" b="1">
                <a:solidFill>
                  <a:schemeClr val="accent1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E6A1CD-3FD6-4AD3-876A-75F060E88A2E}"/>
              </a:ext>
            </a:extLst>
          </p:cNvPr>
          <p:cNvSpPr>
            <a:spLocks noGrp="1"/>
          </p:cNvSpPr>
          <p:nvPr>
            <p:ph type="dt" sz="half" idx="26"/>
          </p:nvPr>
        </p:nvSpPr>
        <p:spPr>
          <a:xfrm>
            <a:off x="420688" y="5190718"/>
            <a:ext cx="1279358" cy="309145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100000"/>
              </a:lnSpc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GB"/>
              <a:t>Date</a:t>
            </a:r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560EF075-6A46-23F3-AB6D-800C50D1CEFC}"/>
              </a:ext>
            </a:extLst>
          </p:cNvPr>
          <p:cNvSpPr/>
          <p:nvPr userDrawn="1"/>
        </p:nvSpPr>
        <p:spPr>
          <a:xfrm>
            <a:off x="6337828" y="0"/>
            <a:ext cx="5854173" cy="5842000"/>
          </a:xfrm>
          <a:custGeom>
            <a:avLst/>
            <a:gdLst>
              <a:gd name="connsiteX0" fmla="*/ 910436 w 5854173"/>
              <a:gd name="connsiteY0" fmla="*/ 0 h 5842000"/>
              <a:gd name="connsiteX1" fmla="*/ 5325511 w 5854173"/>
              <a:gd name="connsiteY1" fmla="*/ 0 h 5842000"/>
              <a:gd name="connsiteX2" fmla="*/ 5797121 w 5854173"/>
              <a:gd name="connsiteY2" fmla="*/ 0 h 5842000"/>
              <a:gd name="connsiteX3" fmla="*/ 5854173 w 5854173"/>
              <a:gd name="connsiteY3" fmla="*/ 0 h 5842000"/>
              <a:gd name="connsiteX4" fmla="*/ 5854173 w 5854173"/>
              <a:gd name="connsiteY4" fmla="*/ 5842000 h 5842000"/>
              <a:gd name="connsiteX5" fmla="*/ 5797121 w 5854173"/>
              <a:gd name="connsiteY5" fmla="*/ 5842000 h 5842000"/>
              <a:gd name="connsiteX6" fmla="*/ 5325511 w 5854173"/>
              <a:gd name="connsiteY6" fmla="*/ 5842000 h 5842000"/>
              <a:gd name="connsiteX7" fmla="*/ 1736747 w 5854173"/>
              <a:gd name="connsiteY7" fmla="*/ 5842000 h 5842000"/>
              <a:gd name="connsiteX8" fmla="*/ 1457727 w 5854173"/>
              <a:gd name="connsiteY8" fmla="*/ 5633353 h 5842000"/>
              <a:gd name="connsiteX9" fmla="*/ 0 w 5854173"/>
              <a:gd name="connsiteY9" fmla="*/ 2542308 h 5842000"/>
              <a:gd name="connsiteX10" fmla="*/ 684122 w 5854173"/>
              <a:gd name="connsiteY10" fmla="*/ 302644 h 584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854173" h="5842000">
                <a:moveTo>
                  <a:pt x="910436" y="0"/>
                </a:moveTo>
                <a:lnTo>
                  <a:pt x="5325511" y="0"/>
                </a:lnTo>
                <a:lnTo>
                  <a:pt x="5797121" y="0"/>
                </a:lnTo>
                <a:lnTo>
                  <a:pt x="5854173" y="0"/>
                </a:lnTo>
                <a:lnTo>
                  <a:pt x="5854173" y="5842000"/>
                </a:lnTo>
                <a:lnTo>
                  <a:pt x="5797121" y="5842000"/>
                </a:lnTo>
                <a:lnTo>
                  <a:pt x="5325511" y="5842000"/>
                </a:lnTo>
                <a:lnTo>
                  <a:pt x="1736747" y="5842000"/>
                </a:lnTo>
                <a:lnTo>
                  <a:pt x="1457727" y="5633353"/>
                </a:lnTo>
                <a:cubicBezTo>
                  <a:pt x="567457" y="4898636"/>
                  <a:pt x="0" y="3786740"/>
                  <a:pt x="0" y="2542308"/>
                </a:cubicBezTo>
                <a:cubicBezTo>
                  <a:pt x="0" y="1712686"/>
                  <a:pt x="252203" y="941969"/>
                  <a:pt x="684122" y="302644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err="1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BF3AA17-6B4B-2E36-93F2-773E6101B36D}"/>
              </a:ext>
            </a:extLst>
          </p:cNvPr>
          <p:cNvSpPr/>
          <p:nvPr userDrawn="1"/>
        </p:nvSpPr>
        <p:spPr>
          <a:xfrm>
            <a:off x="0" y="5842000"/>
            <a:ext cx="12192000" cy="101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err="1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7431EE63-B87E-8450-B9F3-348C3CFE4D23}"/>
              </a:ext>
            </a:extLst>
          </p:cNvPr>
          <p:cNvSpPr txBox="1">
            <a:spLocks/>
          </p:cNvSpPr>
          <p:nvPr userDrawn="1"/>
        </p:nvSpPr>
        <p:spPr>
          <a:xfrm>
            <a:off x="420688" y="404813"/>
            <a:ext cx="5184775" cy="1203767"/>
          </a:xfrm>
          <a:prstGeom prst="rect">
            <a:avLst/>
          </a:prstGeom>
        </p:spPr>
        <p:txBody>
          <a:bodyPr vert="horz" lIns="0" tIns="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8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1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21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2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GB" sz="2000" b="1">
                <a:solidFill>
                  <a:schemeClr val="accent1"/>
                </a:solidFill>
                <a:latin typeface="Helvetica" pitchFamily="2" charset="0"/>
              </a:rPr>
              <a:t>Epithelial Science Meeting organised </a:t>
            </a:r>
            <a:br>
              <a:rPr lang="en-GB" sz="2000" b="1">
                <a:solidFill>
                  <a:schemeClr val="accent1"/>
                </a:solidFill>
                <a:latin typeface="Helvetica" pitchFamily="2" charset="0"/>
              </a:rPr>
            </a:br>
            <a:r>
              <a:rPr lang="en-GB" sz="2000" b="1">
                <a:solidFill>
                  <a:schemeClr val="accent1"/>
                </a:solidFill>
                <a:latin typeface="Helvetica" pitchFamily="2" charset="0"/>
              </a:rPr>
              <a:t>by AstraZeneca in collaboration with King’s College London</a:t>
            </a:r>
            <a:endParaRPr lang="en-GB" sz="2000">
              <a:solidFill>
                <a:schemeClr val="accent1"/>
              </a:solidFill>
              <a:latin typeface="Helvetica" pitchFamily="2" charset="0"/>
            </a:endParaRP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9C70B9B4-1C56-7D54-F7D3-44C2844A9645}"/>
              </a:ext>
            </a:extLst>
          </p:cNvPr>
          <p:cNvSpPr/>
          <p:nvPr userDrawn="1"/>
        </p:nvSpPr>
        <p:spPr>
          <a:xfrm>
            <a:off x="6600751" y="0"/>
            <a:ext cx="5591249" cy="5842001"/>
          </a:xfrm>
          <a:custGeom>
            <a:avLst/>
            <a:gdLst>
              <a:gd name="connsiteX0" fmla="*/ 683248 w 5591249"/>
              <a:gd name="connsiteY0" fmla="*/ 0 h 5842001"/>
              <a:gd name="connsiteX1" fmla="*/ 5591249 w 5591249"/>
              <a:gd name="connsiteY1" fmla="*/ 0 h 5842001"/>
              <a:gd name="connsiteX2" fmla="*/ 5591249 w 5591249"/>
              <a:gd name="connsiteY2" fmla="*/ 5842001 h 5842001"/>
              <a:gd name="connsiteX3" fmla="*/ 2295285 w 5591249"/>
              <a:gd name="connsiteY3" fmla="*/ 5842001 h 5842001"/>
              <a:gd name="connsiteX4" fmla="*/ 2258025 w 5591249"/>
              <a:gd name="connsiteY4" fmla="*/ 5825156 h 5842001"/>
              <a:gd name="connsiteX5" fmla="*/ 0 w 5591249"/>
              <a:gd name="connsiteY5" fmla="*/ 2232027 h 5842001"/>
              <a:gd name="connsiteX6" fmla="*/ 680782 w 5591249"/>
              <a:gd name="connsiteY6" fmla="*/ 3297 h 5842001"/>
              <a:gd name="connsiteX7" fmla="*/ 683248 w 5591249"/>
              <a:gd name="connsiteY7" fmla="*/ 0 h 5842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91249" h="5842001">
                <a:moveTo>
                  <a:pt x="683248" y="0"/>
                </a:moveTo>
                <a:lnTo>
                  <a:pt x="5591249" y="0"/>
                </a:lnTo>
                <a:lnTo>
                  <a:pt x="5591249" y="5842001"/>
                </a:lnTo>
                <a:lnTo>
                  <a:pt x="2295285" y="5842001"/>
                </a:lnTo>
                <a:lnTo>
                  <a:pt x="2258025" y="5825156"/>
                </a:lnTo>
                <a:cubicBezTo>
                  <a:pt x="921972" y="5181380"/>
                  <a:pt x="0" y="3814373"/>
                  <a:pt x="0" y="2232027"/>
                </a:cubicBezTo>
                <a:cubicBezTo>
                  <a:pt x="0" y="1406455"/>
                  <a:pt x="250972" y="639501"/>
                  <a:pt x="680782" y="3297"/>
                </a:cubicBezTo>
                <a:lnTo>
                  <a:pt x="683248" y="0"/>
                </a:lnTo>
                <a:close/>
              </a:path>
            </a:pathLst>
          </a:custGeom>
          <a:blipFill>
            <a:blip r:embed="rId3"/>
            <a:stretch>
              <a:fillRect l="-41836" t="-3644" r="-41836" b="-3644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err="1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D17FC9ED-C136-AA40-CE59-6DF1CBCB533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20688" y="4820980"/>
            <a:ext cx="5748545" cy="336747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>
              <a:lnSpc>
                <a:spcPct val="100000"/>
              </a:lnSpc>
              <a:buNone/>
              <a:defRPr sz="2000" b="0">
                <a:solidFill>
                  <a:schemeClr val="tx1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/>
              <a:t>Presenter name</a:t>
            </a:r>
          </a:p>
        </p:txBody>
      </p:sp>
      <p:pic>
        <p:nvPicPr>
          <p:cNvPr id="6" name="Picture 2" descr="Image result for ASTRAZENECA LOGO">
            <a:extLst>
              <a:ext uri="{FF2B5EF4-FFF2-40B4-BE49-F238E27FC236}">
                <a16:creationId xmlns:a16="http://schemas.microsoft.com/office/drawing/2014/main" id="{F235FCC8-982F-C2BB-D007-7E98B7C13F5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762" y="6006362"/>
            <a:ext cx="2236795" cy="6061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D43EC90E-CBA3-6AB0-3089-BA8EB0A5E55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709957" y="6220887"/>
            <a:ext cx="6188775" cy="362351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buNone/>
              <a:defRPr sz="1050">
                <a:solidFill>
                  <a:schemeClr val="bg1"/>
                </a:solidFill>
              </a:defRPr>
            </a:lvl1pPr>
            <a:lvl2pPr marL="432000" indent="0">
              <a:buNone/>
              <a:defRPr sz="1050"/>
            </a:lvl2pPr>
            <a:lvl3pPr marL="684000" indent="0">
              <a:buNone/>
              <a:defRPr sz="1050"/>
            </a:lvl3pPr>
            <a:lvl4pPr marL="828000" indent="0">
              <a:buNone/>
              <a:defRPr sz="1050"/>
            </a:lvl4pPr>
            <a:lvl5pPr marL="959400" indent="0">
              <a:buNone/>
              <a:defRPr sz="1050"/>
            </a:lvl5pPr>
          </a:lstStyle>
          <a:p>
            <a:pPr marL="0" indent="0"/>
            <a:r>
              <a:rPr lang="en-GB"/>
              <a:t>This event is a non-promotional meeting organised and funded by AstraZeneca. For healthcare professionals only. </a:t>
            </a:r>
            <a:br>
              <a:rPr lang="en-GB"/>
            </a:br>
            <a:r>
              <a:rPr lang="en-GB"/>
              <a:t>Z4-71738</a:t>
            </a:r>
            <a:r>
              <a:rPr lang="en-GB">
                <a:solidFill>
                  <a:srgbClr val="FF0000"/>
                </a:solidFill>
              </a:rPr>
              <a:t> </a:t>
            </a:r>
            <a:r>
              <a:rPr lang="en-GB"/>
              <a:t>Date of preparation: February 2025.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4B8EFD4-1382-6160-A3CD-187647464DC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 t="4407" b="4407"/>
          <a:stretch/>
        </p:blipFill>
        <p:spPr>
          <a:xfrm>
            <a:off x="10804351" y="5969670"/>
            <a:ext cx="989888" cy="686225"/>
          </a:xfrm>
          <a:prstGeom prst="rect">
            <a:avLst/>
          </a:prstGeom>
          <a:ln w="12700">
            <a:solidFill>
              <a:schemeClr val="bg1"/>
            </a:solidFill>
          </a:ln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38688103-57B3-782A-0ABE-BAEE27EF448A}"/>
              </a:ext>
            </a:extLst>
          </p:cNvPr>
          <p:cNvSpPr txBox="1"/>
          <p:nvPr userDrawn="1"/>
        </p:nvSpPr>
        <p:spPr>
          <a:xfrm>
            <a:off x="9482043" y="6478569"/>
            <a:ext cx="135367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lang="en-GB" sz="1000" b="1">
                <a:solidFill>
                  <a:schemeClr val="bg1"/>
                </a:solidFill>
              </a:rPr>
              <a:t>In collaboration with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429746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22">
          <p15:clr>
            <a:srgbClr val="C35EA4"/>
          </p15:clr>
        </p15:guide>
        <p15:guide id="2" orient="horz" pos="1117">
          <p15:clr>
            <a:srgbClr val="FBAE40"/>
          </p15:clr>
        </p15:guide>
        <p15:guide id="3" orient="horz" pos="2455">
          <p15:clr>
            <a:srgbClr val="FBAE40"/>
          </p15:clr>
        </p15:guide>
        <p15:guide id="4" pos="3885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4D79BC-22D5-224B-A106-BAF3613F5B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77">
              <a:defRPr/>
            </a:pPr>
            <a:r>
              <a:rPr lang="en-US">
                <a:solidFill>
                  <a:srgbClr val="000000">
                    <a:tint val="75000"/>
                  </a:srgbClr>
                </a:solidFill>
              </a:rPr>
              <a:t>Click to add foot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9CA2116-3D52-3C47-BFC4-FD202C152A6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524000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title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93CC696-630E-424E-B1C6-1F3DA5D9BDF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03675"/>
            <a:ext cx="9144000" cy="1655763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accent2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101E25-0804-D54C-A53C-773CBB6689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>
              <a:defRPr/>
            </a:pPr>
            <a:fld id="{11334389-BB39-6B48-B4AD-C59C2B4ECD2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377">
                <a:defRPr/>
              </a:pPr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2370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503ACE0-BC47-0840-A6D8-8C6E2105C5B3}"/>
              </a:ext>
            </a:extLst>
          </p:cNvPr>
          <p:cNvSpPr/>
          <p:nvPr userDrawn="1"/>
        </p:nvSpPr>
        <p:spPr>
          <a:xfrm>
            <a:off x="0" y="4479403"/>
            <a:ext cx="12192000" cy="23785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4D79BC-22D5-224B-A106-BAF3613F5B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77">
              <a:defRPr/>
            </a:pPr>
            <a:r>
              <a:rPr lang="en-US">
                <a:solidFill>
                  <a:srgbClr val="000000">
                    <a:tint val="75000"/>
                  </a:srgbClr>
                </a:solidFill>
              </a:rPr>
              <a:t>Click to add foot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9CA2116-3D52-3C47-BFC4-FD202C152A6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4566" y="4795281"/>
            <a:ext cx="4886735" cy="638369"/>
          </a:xfrm>
          <a:prstGeom prst="rect">
            <a:avLst/>
          </a:prstGeom>
        </p:spPr>
        <p:txBody>
          <a:bodyPr anchor="b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93CC696-630E-424E-B1C6-1F3DA5D9BDF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4566" y="5559687"/>
            <a:ext cx="4886735" cy="32758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accent2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101E25-0804-D54C-A53C-773CBB6689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>
              <a:defRPr/>
            </a:pPr>
            <a:fld id="{11334389-BB39-6B48-B4AD-C59C2B4ECD2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377">
                <a:defRPr/>
              </a:pPr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1D984FED-28DE-744E-BCC4-01250246083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479403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E02EE2D-E572-FB44-AE12-E599EF2D574F}"/>
              </a:ext>
            </a:extLst>
          </p:cNvPr>
          <p:cNvSpPr/>
          <p:nvPr userDrawn="1"/>
        </p:nvSpPr>
        <p:spPr>
          <a:xfrm>
            <a:off x="0" y="4479403"/>
            <a:ext cx="12192000" cy="11430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88811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with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8DB06B16-4D03-814C-AECF-E9CEE37C2D4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5797CE-A83F-224D-8866-DB24B968B7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77">
              <a:defRPr/>
            </a:pPr>
            <a:r>
              <a:rPr lang="en-US">
                <a:solidFill>
                  <a:srgbClr val="000000">
                    <a:tint val="75000"/>
                  </a:srgbClr>
                </a:solidFill>
              </a:rPr>
              <a:t>Click to add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D5ED4D9-0F13-4C46-9C55-5F27EE665C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>
              <a:defRPr/>
            </a:pPr>
            <a:fld id="{11334389-BB39-6B48-B4AD-C59C2B4ECD2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377">
                <a:defRPr/>
              </a:pPr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B42CF5-5A50-4E47-8FE5-88ADDCAFFC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567" y="2497846"/>
            <a:ext cx="3877661" cy="1099855"/>
          </a:xfrm>
          <a:prstGeom prst="rect">
            <a:avLst/>
          </a:prstGeom>
        </p:spPr>
        <p:txBody>
          <a:bodyPr anchor="b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title tex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A225E-3C23-5344-8626-34C44EAC9BE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34567" y="3680254"/>
            <a:ext cx="3877661" cy="326484"/>
          </a:xfrm>
        </p:spPr>
        <p:txBody>
          <a:bodyPr anchor="t">
            <a:normAutofit/>
          </a:bodyPr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4162873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B728D49-85EE-E942-A592-38CBE217597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5797CE-A83F-224D-8866-DB24B968B7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77">
              <a:defRPr/>
            </a:pPr>
            <a:r>
              <a:rPr lang="en-US">
                <a:solidFill>
                  <a:srgbClr val="000000">
                    <a:tint val="75000"/>
                  </a:srgbClr>
                </a:solidFill>
              </a:rPr>
              <a:t>Click to add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D5ED4D9-0F13-4C46-9C55-5F27EE665C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>
              <a:defRPr/>
            </a:pPr>
            <a:fld id="{11334389-BB39-6B48-B4AD-C59C2B4ECD2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377">
                <a:defRPr/>
              </a:pPr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B42CF5-5A50-4E47-8FE5-88ADDCAFFC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6368" y="1151929"/>
            <a:ext cx="3959225" cy="513091"/>
          </a:xfrm>
          <a:prstGeom prst="rect">
            <a:avLst/>
          </a:prstGeom>
        </p:spPr>
        <p:txBody>
          <a:bodyPr anchor="b"/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Edit agenda text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E38A6B1-A908-154D-8675-8E45D6001366}"/>
              </a:ext>
            </a:extLst>
          </p:cNvPr>
          <p:cNvCxnSpPr>
            <a:cxnSpLocks/>
          </p:cNvCxnSpPr>
          <p:nvPr userDrawn="1"/>
        </p:nvCxnSpPr>
        <p:spPr>
          <a:xfrm>
            <a:off x="866368" y="1729803"/>
            <a:ext cx="3358393" cy="0"/>
          </a:xfrm>
          <a:prstGeom prst="line">
            <a:avLst/>
          </a:prstGeom>
          <a:ln w="12700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403B4D01-5123-9C45-A542-9005E4AC221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777" y="1794585"/>
            <a:ext cx="3959225" cy="3937000"/>
          </a:xfrm>
        </p:spPr>
        <p:txBody>
          <a:bodyPr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234945" indent="-228594">
              <a:lnSpc>
                <a:spcPct val="120000"/>
              </a:lnSpc>
              <a:buFont typeface="+mj-lt"/>
              <a:buAutoNum type="arabicPeriod"/>
              <a:tabLst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234945" indent="-228594">
              <a:buFont typeface="+mj-lt"/>
              <a:buAutoNum type="arabicPeriod"/>
              <a:tabLst/>
              <a:defRPr>
                <a:solidFill>
                  <a:schemeClr val="bg1"/>
                </a:solidFill>
              </a:defRPr>
            </a:lvl3pPr>
            <a:lvl4pPr marL="234945" indent="-228594">
              <a:buFont typeface="+mj-lt"/>
              <a:buAutoNum type="arabicPeriod"/>
              <a:tabLst/>
              <a:defRPr>
                <a:solidFill>
                  <a:schemeClr val="bg1"/>
                </a:solidFill>
              </a:defRPr>
            </a:lvl4pPr>
            <a:lvl5pPr marL="234945" indent="-228594">
              <a:buFont typeface="+mj-lt"/>
              <a:buAutoNum type="arabicPeriod"/>
              <a:tabLst/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US"/>
              <a:t>Edit text</a:t>
            </a:r>
          </a:p>
          <a:p>
            <a:pPr lvl="1"/>
            <a:r>
              <a:rPr lang="en-US"/>
              <a:t>Edit text</a:t>
            </a:r>
          </a:p>
          <a:p>
            <a:pPr lvl="1"/>
            <a:r>
              <a:rPr lang="en-US"/>
              <a:t>Edit text</a:t>
            </a:r>
          </a:p>
          <a:p>
            <a:pPr lvl="1"/>
            <a:r>
              <a:rPr lang="en-US"/>
              <a:t>Edit text</a:t>
            </a:r>
          </a:p>
        </p:txBody>
      </p:sp>
    </p:spTree>
    <p:extLst>
      <p:ext uri="{BB962C8B-B14F-4D97-AF65-F5344CB8AC3E}">
        <p14:creationId xmlns:p14="http://schemas.microsoft.com/office/powerpoint/2010/main" val="28526103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9DF8A4-E427-BF45-8063-41AE046BBD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77">
              <a:defRPr/>
            </a:pPr>
            <a:r>
              <a:rPr lang="en-US">
                <a:solidFill>
                  <a:srgbClr val="000000">
                    <a:tint val="75000"/>
                  </a:srgbClr>
                </a:solidFill>
              </a:rPr>
              <a:t>Click to add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5ABDA3-018D-FA4D-A6FE-0EFDDB541E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>
              <a:defRPr/>
            </a:pPr>
            <a:fld id="{11334389-BB39-6B48-B4AD-C59C2B4ECD2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377">
                <a:defRPr/>
              </a:pPr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371F629A-1172-7948-91F5-EF60A92294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566" y="118269"/>
            <a:ext cx="11338335" cy="691088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/>
              <a:t>Click to add text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0B01A58-942A-5646-B423-22C511FE18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0675" y="1535576"/>
            <a:ext cx="11353800" cy="43699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0904680-2FF2-D242-BEB7-D993425561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0213" y="1120841"/>
            <a:ext cx="5665787" cy="293687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23424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9DF8A4-E427-BF45-8063-41AE046BBD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77">
              <a:defRPr/>
            </a:pPr>
            <a:r>
              <a:rPr lang="en-US">
                <a:solidFill>
                  <a:srgbClr val="000000">
                    <a:tint val="75000"/>
                  </a:srgbClr>
                </a:solidFill>
              </a:rPr>
              <a:t>Click to add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5ABDA3-018D-FA4D-A6FE-0EFDDB541E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>
              <a:defRPr/>
            </a:pPr>
            <a:fld id="{11334389-BB39-6B48-B4AD-C59C2B4ECD2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377">
                <a:defRPr/>
              </a:pPr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371F629A-1172-7948-91F5-EF60A92294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566" y="118269"/>
            <a:ext cx="11338335" cy="691088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/>
              <a:t>Click to add text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0B01A58-942A-5646-B423-22C511FE18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0675" y="1535576"/>
            <a:ext cx="11353800" cy="43699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9EA3231-AC89-DE45-A172-8132D1AA6C66}"/>
              </a:ext>
            </a:extLst>
          </p:cNvPr>
          <p:cNvSpPr txBox="1">
            <a:spLocks/>
          </p:cNvSpPr>
          <p:nvPr userDrawn="1"/>
        </p:nvSpPr>
        <p:spPr>
          <a:xfrm>
            <a:off x="430677" y="-568691"/>
            <a:ext cx="5661025" cy="32385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 i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12266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ck to edit subtitle text</a:t>
            </a:r>
          </a:p>
        </p:txBody>
      </p:sp>
    </p:spTree>
    <p:extLst>
      <p:ext uri="{BB962C8B-B14F-4D97-AF65-F5344CB8AC3E}">
        <p14:creationId xmlns:p14="http://schemas.microsoft.com/office/powerpoint/2010/main" val="39971414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9DF8A4-E427-BF45-8063-41AE046BBD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77">
              <a:defRPr/>
            </a:pPr>
            <a:r>
              <a:rPr lang="en-US">
                <a:solidFill>
                  <a:srgbClr val="000000">
                    <a:tint val="75000"/>
                  </a:srgbClr>
                </a:solidFill>
              </a:rPr>
              <a:t>Click to add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5ABDA3-018D-FA4D-A6FE-0EFDDB541E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>
              <a:defRPr/>
            </a:pPr>
            <a:fld id="{11334389-BB39-6B48-B4AD-C59C2B4ECD2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377">
                <a:defRPr/>
              </a:pPr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371F629A-1172-7948-91F5-EF60A92294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566" y="118269"/>
            <a:ext cx="11338335" cy="691088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03656139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AF35B5-82F5-CB4B-8585-FC2408992D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77">
              <a:defRPr/>
            </a:pPr>
            <a:r>
              <a:rPr lang="en-US">
                <a:solidFill>
                  <a:srgbClr val="000000">
                    <a:tint val="75000"/>
                  </a:srgbClr>
                </a:solidFill>
              </a:rPr>
              <a:t>Click to add foot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0BE109-8FD1-9D47-B537-38801CB2AF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6402" y="1535404"/>
            <a:ext cx="11338335" cy="43700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3ADC36-9DB1-A94B-B80E-7A9A112CB2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>
              <a:defRPr/>
            </a:pPr>
            <a:fld id="{11334389-BB39-6B48-B4AD-C59C2B4ECD2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377">
                <a:defRPr/>
              </a:pPr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73308D1D-197E-3649-970C-67ADB48E62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566" y="118269"/>
            <a:ext cx="11338335" cy="691088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/>
              <a:t>Click to add text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00AB393C-62B8-6A48-AD0D-E0FAC71D336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0213" y="1120841"/>
            <a:ext cx="5665787" cy="293687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106263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/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87BE5B4-A95A-3C48-9EBD-E37EB55A40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77">
              <a:defRPr/>
            </a:pPr>
            <a:r>
              <a:rPr lang="en-US">
                <a:solidFill>
                  <a:srgbClr val="000000">
                    <a:tint val="75000"/>
                  </a:srgbClr>
                </a:solidFill>
              </a:rPr>
              <a:t>Click to add foot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B16B27-71F4-E948-BF00-D116CD5D52A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554161"/>
            <a:ext cx="51816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3886766-C200-CF49-BE7C-8D3D1CCC454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554161"/>
            <a:ext cx="51816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ABF206B-80DD-7845-8AD3-77D0BD00ED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>
              <a:defRPr/>
            </a:pPr>
            <a:fld id="{11334389-BB39-6B48-B4AD-C59C2B4ECD2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377">
                <a:defRPr/>
              </a:pPr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4E35956D-4837-4046-8835-52635C6E2C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566" y="118269"/>
            <a:ext cx="11338335" cy="691088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/>
              <a:t>Click to add text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402574A6-428D-7943-9531-15E9A9B0858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0213" y="1120841"/>
            <a:ext cx="5665787" cy="293687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4289617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/content slide(with header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706DDAC-F58F-A841-8B14-3083B5F6BA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77">
              <a:defRPr/>
            </a:pPr>
            <a:r>
              <a:rPr lang="en-US">
                <a:solidFill>
                  <a:srgbClr val="000000">
                    <a:tint val="75000"/>
                  </a:srgbClr>
                </a:solidFill>
              </a:rPr>
              <a:t>Click to add foot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F3F087-4F94-A545-8A79-C55C3DEE3B9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50467" y="1521042"/>
            <a:ext cx="5157787" cy="42279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EBCFF59-3AAF-474D-988A-79497B7F4D0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50467" y="2134078"/>
            <a:ext cx="5157787" cy="35885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481481-A8FA-4B48-A7D7-D48FE170AAD2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58346" y="1521042"/>
            <a:ext cx="5183188" cy="42279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3B406B3-DD70-1749-9E8B-CEEECE9A1BD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358346" y="2134078"/>
            <a:ext cx="5183188" cy="35885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EB25F0-64AD-4749-80D9-AB85BAA3A8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>
              <a:defRPr/>
            </a:pPr>
            <a:fld id="{11334389-BB39-6B48-B4AD-C59C2B4ECD2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377">
                <a:defRPr/>
              </a:pPr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0449BAE8-F364-1748-9670-59092787E4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566" y="118269"/>
            <a:ext cx="11338335" cy="691088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0883314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Divider (wthout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2">
            <a:extLst>
              <a:ext uri="{FF2B5EF4-FFF2-40B4-BE49-F238E27FC236}">
                <a16:creationId xmlns:a16="http://schemas.microsoft.com/office/drawing/2014/main" id="{69030922-AFB8-2E9F-8CDF-C2DC249776E5}"/>
              </a:ext>
            </a:extLst>
          </p:cNvPr>
          <p:cNvSpPr txBox="1">
            <a:spLocks/>
          </p:cNvSpPr>
          <p:nvPr userDrawn="1"/>
        </p:nvSpPr>
        <p:spPr>
          <a:xfrm>
            <a:off x="0" y="-2"/>
            <a:ext cx="5833307" cy="6858002"/>
          </a:xfrm>
          <a:custGeom>
            <a:avLst/>
            <a:gdLst>
              <a:gd name="connsiteX0" fmla="*/ 0 w 5562601"/>
              <a:gd name="connsiteY0" fmla="*/ 0 h 6858000"/>
              <a:gd name="connsiteX1" fmla="*/ 3124199 w 5562601"/>
              <a:gd name="connsiteY1" fmla="*/ 0 h 6858000"/>
              <a:gd name="connsiteX2" fmla="*/ 3694793 w 5562601"/>
              <a:gd name="connsiteY2" fmla="*/ 0 h 6858000"/>
              <a:gd name="connsiteX3" fmla="*/ 3762493 w 5562601"/>
              <a:gd name="connsiteY3" fmla="*/ 43402 h 6858000"/>
              <a:gd name="connsiteX4" fmla="*/ 5562601 w 5562601"/>
              <a:gd name="connsiteY4" fmla="*/ 3429000 h 6858000"/>
              <a:gd name="connsiteX5" fmla="*/ 3762493 w 5562601"/>
              <a:gd name="connsiteY5" fmla="*/ 6814598 h 6858000"/>
              <a:gd name="connsiteX6" fmla="*/ 3694792 w 5562601"/>
              <a:gd name="connsiteY6" fmla="*/ 6858000 h 6858000"/>
              <a:gd name="connsiteX7" fmla="*/ 0 w 5562601"/>
              <a:gd name="connsiteY7" fmla="*/ 6858000 h 6858000"/>
              <a:gd name="connsiteX8" fmla="*/ 0 w 5562601"/>
              <a:gd name="connsiteY8" fmla="*/ 2601686 h 6858000"/>
              <a:gd name="connsiteX0" fmla="*/ 0 w 5562601"/>
              <a:gd name="connsiteY0" fmla="*/ 0 h 6858000"/>
              <a:gd name="connsiteX1" fmla="*/ 3124199 w 5562601"/>
              <a:gd name="connsiteY1" fmla="*/ 0 h 6858000"/>
              <a:gd name="connsiteX2" fmla="*/ 3694793 w 5562601"/>
              <a:gd name="connsiteY2" fmla="*/ 0 h 6858000"/>
              <a:gd name="connsiteX3" fmla="*/ 3762493 w 5562601"/>
              <a:gd name="connsiteY3" fmla="*/ 43402 h 6858000"/>
              <a:gd name="connsiteX4" fmla="*/ 5562601 w 5562601"/>
              <a:gd name="connsiteY4" fmla="*/ 3429000 h 6858000"/>
              <a:gd name="connsiteX5" fmla="*/ 3762493 w 5562601"/>
              <a:gd name="connsiteY5" fmla="*/ 6814598 h 6858000"/>
              <a:gd name="connsiteX6" fmla="*/ 4266627 w 5562601"/>
              <a:gd name="connsiteY6" fmla="*/ 6858000 h 6858000"/>
              <a:gd name="connsiteX7" fmla="*/ 0 w 5562601"/>
              <a:gd name="connsiteY7" fmla="*/ 6858000 h 6858000"/>
              <a:gd name="connsiteX8" fmla="*/ 0 w 5562601"/>
              <a:gd name="connsiteY8" fmla="*/ 2601686 h 6858000"/>
              <a:gd name="connsiteX9" fmla="*/ 0 w 5562601"/>
              <a:gd name="connsiteY9" fmla="*/ 0 h 6858000"/>
              <a:gd name="connsiteX0" fmla="*/ 0 w 5581762"/>
              <a:gd name="connsiteY0" fmla="*/ 0 h 6858000"/>
              <a:gd name="connsiteX1" fmla="*/ 3124199 w 5581762"/>
              <a:gd name="connsiteY1" fmla="*/ 0 h 6858000"/>
              <a:gd name="connsiteX2" fmla="*/ 3694793 w 5581762"/>
              <a:gd name="connsiteY2" fmla="*/ 0 h 6858000"/>
              <a:gd name="connsiteX3" fmla="*/ 3762493 w 5581762"/>
              <a:gd name="connsiteY3" fmla="*/ 43402 h 6858000"/>
              <a:gd name="connsiteX4" fmla="*/ 5562601 w 5581762"/>
              <a:gd name="connsiteY4" fmla="*/ 3429000 h 6858000"/>
              <a:gd name="connsiteX5" fmla="*/ 4334328 w 5581762"/>
              <a:gd name="connsiteY5" fmla="*/ 6762046 h 6858000"/>
              <a:gd name="connsiteX6" fmla="*/ 4266627 w 5581762"/>
              <a:gd name="connsiteY6" fmla="*/ 6858000 h 6858000"/>
              <a:gd name="connsiteX7" fmla="*/ 0 w 5581762"/>
              <a:gd name="connsiteY7" fmla="*/ 6858000 h 6858000"/>
              <a:gd name="connsiteX8" fmla="*/ 0 w 5581762"/>
              <a:gd name="connsiteY8" fmla="*/ 2601686 h 6858000"/>
              <a:gd name="connsiteX9" fmla="*/ 0 w 5581762"/>
              <a:gd name="connsiteY9" fmla="*/ 0 h 6858000"/>
              <a:gd name="connsiteX0" fmla="*/ 0 w 5571598"/>
              <a:gd name="connsiteY0" fmla="*/ 0 h 6858000"/>
              <a:gd name="connsiteX1" fmla="*/ 3124199 w 5571598"/>
              <a:gd name="connsiteY1" fmla="*/ 0 h 6858000"/>
              <a:gd name="connsiteX2" fmla="*/ 3694793 w 5571598"/>
              <a:gd name="connsiteY2" fmla="*/ 0 h 6858000"/>
              <a:gd name="connsiteX3" fmla="*/ 3762493 w 5571598"/>
              <a:gd name="connsiteY3" fmla="*/ 43402 h 6858000"/>
              <a:gd name="connsiteX4" fmla="*/ 5562601 w 5571598"/>
              <a:gd name="connsiteY4" fmla="*/ 3429000 h 6858000"/>
              <a:gd name="connsiteX5" fmla="*/ 4334328 w 5571598"/>
              <a:gd name="connsiteY5" fmla="*/ 6762046 h 6858000"/>
              <a:gd name="connsiteX6" fmla="*/ 4266627 w 5571598"/>
              <a:gd name="connsiteY6" fmla="*/ 6858000 h 6858000"/>
              <a:gd name="connsiteX7" fmla="*/ 0 w 5571598"/>
              <a:gd name="connsiteY7" fmla="*/ 6858000 h 6858000"/>
              <a:gd name="connsiteX8" fmla="*/ 0 w 5571598"/>
              <a:gd name="connsiteY8" fmla="*/ 2601686 h 6858000"/>
              <a:gd name="connsiteX9" fmla="*/ 0 w 5571598"/>
              <a:gd name="connsiteY9" fmla="*/ 0 h 6858000"/>
              <a:gd name="connsiteX0" fmla="*/ 0 w 5572492"/>
              <a:gd name="connsiteY0" fmla="*/ 0 h 6858000"/>
              <a:gd name="connsiteX1" fmla="*/ 3124199 w 5572492"/>
              <a:gd name="connsiteY1" fmla="*/ 0 h 6858000"/>
              <a:gd name="connsiteX2" fmla="*/ 3694793 w 5572492"/>
              <a:gd name="connsiteY2" fmla="*/ 0 h 6858000"/>
              <a:gd name="connsiteX3" fmla="*/ 3762493 w 5572492"/>
              <a:gd name="connsiteY3" fmla="*/ 43402 h 6858000"/>
              <a:gd name="connsiteX4" fmla="*/ 5562601 w 5572492"/>
              <a:gd name="connsiteY4" fmla="*/ 3429000 h 6858000"/>
              <a:gd name="connsiteX5" fmla="*/ 4266627 w 5572492"/>
              <a:gd name="connsiteY5" fmla="*/ 6858000 h 6858000"/>
              <a:gd name="connsiteX6" fmla="*/ 0 w 5572492"/>
              <a:gd name="connsiteY6" fmla="*/ 6858000 h 6858000"/>
              <a:gd name="connsiteX7" fmla="*/ 0 w 5572492"/>
              <a:gd name="connsiteY7" fmla="*/ 2601686 h 6858000"/>
              <a:gd name="connsiteX8" fmla="*/ 0 w 5572492"/>
              <a:gd name="connsiteY8" fmla="*/ 0 h 6858000"/>
              <a:gd name="connsiteX0" fmla="*/ 0 w 5569659"/>
              <a:gd name="connsiteY0" fmla="*/ 0 h 6858000"/>
              <a:gd name="connsiteX1" fmla="*/ 3124199 w 5569659"/>
              <a:gd name="connsiteY1" fmla="*/ 0 h 6858000"/>
              <a:gd name="connsiteX2" fmla="*/ 3694793 w 5569659"/>
              <a:gd name="connsiteY2" fmla="*/ 0 h 6858000"/>
              <a:gd name="connsiteX3" fmla="*/ 3762493 w 5569659"/>
              <a:gd name="connsiteY3" fmla="*/ 43402 h 6858000"/>
              <a:gd name="connsiteX4" fmla="*/ 5562601 w 5569659"/>
              <a:gd name="connsiteY4" fmla="*/ 3429000 h 6858000"/>
              <a:gd name="connsiteX5" fmla="*/ 4266627 w 5569659"/>
              <a:gd name="connsiteY5" fmla="*/ 6858000 h 6858000"/>
              <a:gd name="connsiteX6" fmla="*/ 0 w 5569659"/>
              <a:gd name="connsiteY6" fmla="*/ 6858000 h 6858000"/>
              <a:gd name="connsiteX7" fmla="*/ 0 w 5569659"/>
              <a:gd name="connsiteY7" fmla="*/ 2601686 h 6858000"/>
              <a:gd name="connsiteX8" fmla="*/ 0 w 5569659"/>
              <a:gd name="connsiteY8" fmla="*/ 0 h 6858000"/>
              <a:gd name="connsiteX0" fmla="*/ 0 w 5567925"/>
              <a:gd name="connsiteY0" fmla="*/ 0 h 6858000"/>
              <a:gd name="connsiteX1" fmla="*/ 3124199 w 5567925"/>
              <a:gd name="connsiteY1" fmla="*/ 0 h 6858000"/>
              <a:gd name="connsiteX2" fmla="*/ 3694793 w 5567925"/>
              <a:gd name="connsiteY2" fmla="*/ 0 h 6858000"/>
              <a:gd name="connsiteX3" fmla="*/ 3762493 w 5567925"/>
              <a:gd name="connsiteY3" fmla="*/ 43402 h 6858000"/>
              <a:gd name="connsiteX4" fmla="*/ 5562601 w 5567925"/>
              <a:gd name="connsiteY4" fmla="*/ 3429000 h 6858000"/>
              <a:gd name="connsiteX5" fmla="*/ 4266627 w 5567925"/>
              <a:gd name="connsiteY5" fmla="*/ 6858000 h 6858000"/>
              <a:gd name="connsiteX6" fmla="*/ 0 w 5567925"/>
              <a:gd name="connsiteY6" fmla="*/ 6858000 h 6858000"/>
              <a:gd name="connsiteX7" fmla="*/ 0 w 5567925"/>
              <a:gd name="connsiteY7" fmla="*/ 2601686 h 6858000"/>
              <a:gd name="connsiteX8" fmla="*/ 0 w 5567925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567925" h="6858000">
                <a:moveTo>
                  <a:pt x="0" y="0"/>
                </a:moveTo>
                <a:lnTo>
                  <a:pt x="3124199" y="0"/>
                </a:lnTo>
                <a:lnTo>
                  <a:pt x="3694793" y="0"/>
                </a:lnTo>
                <a:lnTo>
                  <a:pt x="3762493" y="43402"/>
                </a:lnTo>
                <a:cubicBezTo>
                  <a:pt x="4848549" y="777127"/>
                  <a:pt x="5490701" y="2178934"/>
                  <a:pt x="5562601" y="3429000"/>
                </a:cubicBezTo>
                <a:cubicBezTo>
                  <a:pt x="5634501" y="4679066"/>
                  <a:pt x="4966559" y="6223870"/>
                  <a:pt x="4266627" y="6858000"/>
                </a:cubicBezTo>
                <a:lnTo>
                  <a:pt x="0" y="6858000"/>
                </a:lnTo>
                <a:lnTo>
                  <a:pt x="0" y="2601686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vert="horz" wrap="square" lIns="396000" tIns="2160000" rIns="0" bIns="2880000" rtlCol="0" anchor="b" anchorCtr="0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0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4447ADDD-920E-4BEB-819B-9759B3CF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-3409" y="0"/>
            <a:ext cx="5562601" cy="6858000"/>
          </a:xfrm>
          <a:custGeom>
            <a:avLst/>
            <a:gdLst>
              <a:gd name="connsiteX0" fmla="*/ 0 w 5562601"/>
              <a:gd name="connsiteY0" fmla="*/ 0 h 6858000"/>
              <a:gd name="connsiteX1" fmla="*/ 3124199 w 5562601"/>
              <a:gd name="connsiteY1" fmla="*/ 0 h 6858000"/>
              <a:gd name="connsiteX2" fmla="*/ 3694793 w 5562601"/>
              <a:gd name="connsiteY2" fmla="*/ 0 h 6858000"/>
              <a:gd name="connsiteX3" fmla="*/ 3762493 w 5562601"/>
              <a:gd name="connsiteY3" fmla="*/ 43402 h 6858000"/>
              <a:gd name="connsiteX4" fmla="*/ 5562601 w 5562601"/>
              <a:gd name="connsiteY4" fmla="*/ 3429000 h 6858000"/>
              <a:gd name="connsiteX5" fmla="*/ 3762493 w 5562601"/>
              <a:gd name="connsiteY5" fmla="*/ 6814598 h 6858000"/>
              <a:gd name="connsiteX6" fmla="*/ 3694792 w 5562601"/>
              <a:gd name="connsiteY6" fmla="*/ 6858000 h 6858000"/>
              <a:gd name="connsiteX7" fmla="*/ 0 w 5562601"/>
              <a:gd name="connsiteY7" fmla="*/ 6858000 h 6858000"/>
              <a:gd name="connsiteX8" fmla="*/ 0 w 5562601"/>
              <a:gd name="connsiteY8" fmla="*/ 260168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562601" h="6858000">
                <a:moveTo>
                  <a:pt x="0" y="0"/>
                </a:moveTo>
                <a:lnTo>
                  <a:pt x="3124199" y="0"/>
                </a:lnTo>
                <a:lnTo>
                  <a:pt x="3694793" y="0"/>
                </a:lnTo>
                <a:lnTo>
                  <a:pt x="3762493" y="43402"/>
                </a:lnTo>
                <a:cubicBezTo>
                  <a:pt x="4848549" y="777127"/>
                  <a:pt x="5562601" y="2019676"/>
                  <a:pt x="5562601" y="3429000"/>
                </a:cubicBezTo>
                <a:cubicBezTo>
                  <a:pt x="5562601" y="4838325"/>
                  <a:pt x="4848549" y="6080873"/>
                  <a:pt x="3762493" y="6814598"/>
                </a:cubicBezTo>
                <a:lnTo>
                  <a:pt x="3694792" y="6858000"/>
                </a:lnTo>
                <a:lnTo>
                  <a:pt x="0" y="6858000"/>
                </a:lnTo>
                <a:lnTo>
                  <a:pt x="0" y="2601686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396000" tIns="2160000" bIns="2880000" anchor="b" anchorCtr="0">
            <a:normAutofit/>
          </a:bodyPr>
          <a:lstStyle>
            <a:lvl1pPr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title </a:t>
            </a:r>
            <a:br>
              <a:rPr lang="en-US"/>
            </a:br>
            <a:r>
              <a:rPr lang="en-US"/>
              <a:t>without image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5758FA1-2B23-4C7E-97FD-FBA94AB3853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12930" y="4267200"/>
            <a:ext cx="4397374" cy="936167"/>
          </a:xfrm>
          <a:prstGeom prst="rect">
            <a:avLst/>
          </a:prstGeom>
        </p:spPr>
        <p:txBody>
          <a:bodyPr lIns="0"/>
          <a:lstStyle>
            <a:lvl1pPr marL="0" indent="0">
              <a:lnSpc>
                <a:spcPct val="100000"/>
              </a:lnSpc>
              <a:buNone/>
              <a:defRPr sz="2000" b="1" i="0">
                <a:solidFill>
                  <a:schemeClr val="bg1"/>
                </a:solidFill>
                <a:latin typeface="Helvetica" pitchFamily="2" charset="0"/>
              </a:defRPr>
            </a:lvl1pPr>
            <a:lvl5pPr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  <p:pic>
        <p:nvPicPr>
          <p:cNvPr id="2" name="Picture 2" descr="Image result for ASTRAZENECA LOGO">
            <a:extLst>
              <a:ext uri="{FF2B5EF4-FFF2-40B4-BE49-F238E27FC236}">
                <a16:creationId xmlns:a16="http://schemas.microsoft.com/office/drawing/2014/main" id="{4C747CF7-AD42-D132-E72B-3D6C8AB4F0E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0408" y="6137293"/>
            <a:ext cx="1753605" cy="475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2B2A2C-9186-4A8E-4347-66F6A022079B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412930" y="5221277"/>
            <a:ext cx="4397374" cy="620723"/>
          </a:xfrm>
          <a:prstGeom prst="rect">
            <a:avLst/>
          </a:prstGeom>
        </p:spPr>
        <p:txBody>
          <a:bodyPr lIns="0"/>
          <a:lstStyle>
            <a:lvl1pPr marL="0" indent="0">
              <a:lnSpc>
                <a:spcPct val="100000"/>
              </a:lnSpc>
              <a:buNone/>
              <a:defRPr sz="2000" b="0" i="0">
                <a:solidFill>
                  <a:schemeClr val="bg1"/>
                </a:solidFill>
                <a:latin typeface="Helvetica" pitchFamily="2" charset="0"/>
              </a:defRPr>
            </a:lvl1pPr>
            <a:lvl5pPr>
              <a:defRPr/>
            </a:lvl5pPr>
          </a:lstStyle>
          <a:p>
            <a:pPr lvl="0"/>
            <a:r>
              <a:rPr lang="en-US"/>
              <a:t>Speaker names</a:t>
            </a:r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8256CBF8-6C8A-B115-D4CA-58A4D7005ED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12930" y="5859910"/>
            <a:ext cx="1271951" cy="380676"/>
          </a:xfrm>
        </p:spPr>
        <p:txBody>
          <a:bodyPr lIns="0" tIns="0" rIns="0" bIns="0" anchor="ctr"/>
          <a:lstStyle>
            <a:lvl1pPr marL="0" indent="0">
              <a:buNone/>
              <a:defRPr lang="en-GB" sz="105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2200" indent="0">
              <a:buNone/>
              <a:defRPr/>
            </a:lvl2pPr>
            <a:lvl3pPr marL="462600" indent="0">
              <a:buNone/>
              <a:defRPr/>
            </a:lvl3pPr>
            <a:lvl4pPr marL="693000" indent="0">
              <a:buNone/>
              <a:defRPr/>
            </a:lvl4pPr>
            <a:lvl5pPr marL="923400" indent="0">
              <a:buNone/>
              <a:defRPr/>
            </a:lvl5pPr>
          </a:lstStyle>
          <a:p>
            <a:pPr lvl="0"/>
            <a:r>
              <a:rPr lang="en-GB"/>
              <a:t>Date</a:t>
            </a:r>
            <a:endParaRPr lang="en-US"/>
          </a:p>
        </p:txBody>
      </p:sp>
      <p:sp>
        <p:nvSpPr>
          <p:cNvPr id="10" name="Text Placeholder 96">
            <a:extLst>
              <a:ext uri="{FF2B5EF4-FFF2-40B4-BE49-F238E27FC236}">
                <a16:creationId xmlns:a16="http://schemas.microsoft.com/office/drawing/2014/main" id="{948E622D-9A5E-C482-6E21-2EDA65CEAD20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412930" y="6249381"/>
            <a:ext cx="3567399" cy="608617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00000"/>
              </a:lnSpc>
              <a:spcAft>
                <a:spcPts val="300"/>
              </a:spcAft>
              <a:buNone/>
              <a:defRPr sz="800">
                <a:solidFill>
                  <a:srgbClr val="FFFFFF"/>
                </a:solidFill>
              </a:defRPr>
            </a:lvl1pPr>
          </a:lstStyle>
          <a:p>
            <a:pPr marL="0" indent="0"/>
            <a:r>
              <a:rPr lang="en-GB"/>
              <a:t>This event is a non-promotional meeting organised and funded by AstraZeneca. </a:t>
            </a:r>
            <a:br>
              <a:rPr lang="en-GB"/>
            </a:br>
            <a:r>
              <a:rPr lang="en-GB"/>
              <a:t>For healthcare professionals only. </a:t>
            </a:r>
            <a:br>
              <a:rPr lang="en-GB"/>
            </a:br>
            <a:r>
              <a:rPr lang="en-GB"/>
              <a:t>Z4-71738</a:t>
            </a:r>
            <a:r>
              <a:rPr lang="en-GB">
                <a:solidFill>
                  <a:srgbClr val="FF0000"/>
                </a:solidFill>
              </a:rPr>
              <a:t> </a:t>
            </a:r>
            <a:r>
              <a:rPr lang="en-GB"/>
              <a:t>Date of preparation: February 2025.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8618691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706DDAC-F58F-A841-8B14-3083B5F6BA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77">
              <a:defRPr/>
            </a:pPr>
            <a:r>
              <a:rPr lang="en-US">
                <a:solidFill>
                  <a:srgbClr val="000000">
                    <a:tint val="75000"/>
                  </a:srgbClr>
                </a:solidFill>
              </a:rPr>
              <a:t>Click to add foot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F3F087-4F94-A545-8A79-C55C3DEE3B9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50467" y="1521042"/>
            <a:ext cx="5157787" cy="42279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EBCFF59-3AAF-474D-988A-79497B7F4D0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50467" y="2134078"/>
            <a:ext cx="5157787" cy="35885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481481-A8FA-4B48-A7D7-D48FE170AAD2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58346" y="1521042"/>
            <a:ext cx="5183188" cy="42279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EB25F0-64AD-4749-80D9-AB85BAA3A8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>
              <a:defRPr/>
            </a:pPr>
            <a:fld id="{11334389-BB39-6B48-B4AD-C59C2B4ECD2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377">
                <a:defRPr/>
              </a:pPr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F7C0378-4F72-1A42-B1E2-D6622BEE632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80347" y="2134870"/>
            <a:ext cx="5157788" cy="3587751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53C0F74E-152B-7946-95D4-7B795596E2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872015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75C18C-A87D-0348-9F3E-5DDFA83CA2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77">
              <a:defRPr/>
            </a:pPr>
            <a:r>
              <a:rPr lang="en-US">
                <a:solidFill>
                  <a:srgbClr val="000000">
                    <a:tint val="75000"/>
                  </a:srgbClr>
                </a:solidFill>
              </a:rPr>
              <a:t>Click to add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5F044B-552B-F24C-8539-5EF33E7613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>
              <a:defRPr/>
            </a:pPr>
            <a:fld id="{11334389-BB39-6B48-B4AD-C59C2B4ECD2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377">
                <a:defRPr/>
              </a:pPr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21126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6350B7D-FF34-3740-A410-D59B1745D4D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0B6AC69-FF18-444D-9CE3-8D0AB4A09A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77">
              <a:defRPr/>
            </a:pPr>
            <a:r>
              <a:rPr lang="en-US">
                <a:solidFill>
                  <a:srgbClr val="000000">
                    <a:tint val="75000"/>
                  </a:srgbClr>
                </a:solidFill>
              </a:rPr>
              <a:t>Click to add foot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4BE578-5154-164D-BDAC-9438E4FBAE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841526"/>
            <a:ext cx="3932237" cy="993599"/>
          </a:xfrm>
          <a:prstGeom prst="rect">
            <a:avLst/>
          </a:prstGeom>
        </p:spPr>
        <p:txBody>
          <a:bodyPr anchor="b"/>
          <a:lstStyle>
            <a:lvl1pPr>
              <a:defRPr sz="36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title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144821E-D70B-8B41-8DB2-5C15FD7892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860100"/>
            <a:ext cx="6172200" cy="5045400"/>
          </a:xfrm>
        </p:spPr>
        <p:txBody>
          <a:bodyPr/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7E3F94-16F4-E24F-A140-3C6AE96113C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D04DB13-F374-9049-BBE8-F1D61F482C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>
              <a:defRPr/>
            </a:pPr>
            <a:fld id="{11334389-BB39-6B48-B4AD-C59C2B4ECD2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377">
                <a:defRPr/>
              </a:pPr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3568B6E-6B44-0748-B60A-0AB2A26CCE56}"/>
              </a:ext>
            </a:extLst>
          </p:cNvPr>
          <p:cNvSpPr/>
          <p:nvPr userDrawn="1"/>
        </p:nvSpPr>
        <p:spPr>
          <a:xfrm>
            <a:off x="0" y="0"/>
            <a:ext cx="12192000" cy="2199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316059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90C6FF4-AF1A-8C43-A9A7-1EA8177320E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E6F2F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B71BC-B223-904C-9E83-B97E521CA3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854434"/>
            <a:ext cx="3932237" cy="903271"/>
          </a:xfrm>
          <a:prstGeom prst="rect">
            <a:avLst/>
          </a:prstGeom>
        </p:spPr>
        <p:txBody>
          <a:bodyPr anchor="b"/>
          <a:lstStyle>
            <a:lvl1pPr>
              <a:defRPr sz="32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CB188AD-4B3A-0448-8FE1-F8F053972E0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50850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9370202-8D7C-1A43-9FF7-418F15D6B57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1862329"/>
            <a:ext cx="3932237" cy="4043172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E2A62E5-2597-BA4A-80E9-DCA05BD6B2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77">
              <a:defRPr/>
            </a:pPr>
            <a:r>
              <a:rPr lang="en-US">
                <a:solidFill>
                  <a:srgbClr val="000000">
                    <a:tint val="75000"/>
                  </a:srgbClr>
                </a:solidFill>
              </a:rPr>
              <a:t>Click to add foo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0262BD-0063-164B-A535-F01E7D3896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>
              <a:defRPr/>
            </a:pPr>
            <a:fld id="{11334389-BB39-6B48-B4AD-C59C2B4ECD2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377">
                <a:defRPr/>
              </a:pPr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6F156E8-55C3-8340-A040-F954FE2662AD}"/>
              </a:ext>
            </a:extLst>
          </p:cNvPr>
          <p:cNvSpPr/>
          <p:nvPr userDrawn="1"/>
        </p:nvSpPr>
        <p:spPr>
          <a:xfrm>
            <a:off x="0" y="0"/>
            <a:ext cx="12192000" cy="2199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749986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9A10A083-CE0F-0A31-07E3-06A7A506EF83}"/>
              </a:ext>
            </a:extLst>
          </p:cNvPr>
          <p:cNvSpPr/>
          <p:nvPr userDrawn="1"/>
        </p:nvSpPr>
        <p:spPr>
          <a:xfrm rot="5400000">
            <a:off x="-381003" y="380999"/>
            <a:ext cx="6858003" cy="6096003"/>
          </a:xfrm>
          <a:custGeom>
            <a:avLst/>
            <a:gdLst>
              <a:gd name="connsiteX0" fmla="*/ 0 w 6858002"/>
              <a:gd name="connsiteY0" fmla="*/ 6096002 h 6096002"/>
              <a:gd name="connsiteX1" fmla="*/ 0 w 6858002"/>
              <a:gd name="connsiteY1" fmla="*/ 571598 h 6096002"/>
              <a:gd name="connsiteX2" fmla="*/ 26534 w 6858002"/>
              <a:gd name="connsiteY2" fmla="*/ 536116 h 6096002"/>
              <a:gd name="connsiteX3" fmla="*/ 1163343 w 6858002"/>
              <a:gd name="connsiteY3" fmla="*/ 0 h 6096002"/>
              <a:gd name="connsiteX4" fmla="*/ 5511783 w 6858002"/>
              <a:gd name="connsiteY4" fmla="*/ 0 h 6096002"/>
              <a:gd name="connsiteX5" fmla="*/ 6807193 w 6858002"/>
              <a:gd name="connsiteY5" fmla="*/ 770997 h 6096002"/>
              <a:gd name="connsiteX6" fmla="*/ 6858002 w 6858002"/>
              <a:gd name="connsiteY6" fmla="*/ 876469 h 6096002"/>
              <a:gd name="connsiteX7" fmla="*/ 6858002 w 6858002"/>
              <a:gd name="connsiteY7" fmla="*/ 6096002 h 6096002"/>
              <a:gd name="connsiteX8" fmla="*/ 0 w 6858002"/>
              <a:gd name="connsiteY8" fmla="*/ 6096002 h 6096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858002" h="6096002">
                <a:moveTo>
                  <a:pt x="0" y="6096002"/>
                </a:moveTo>
                <a:lnTo>
                  <a:pt x="0" y="571598"/>
                </a:lnTo>
                <a:lnTo>
                  <a:pt x="26534" y="536116"/>
                </a:lnTo>
                <a:cubicBezTo>
                  <a:pt x="296745" y="208697"/>
                  <a:pt x="705672" y="0"/>
                  <a:pt x="1163343" y="0"/>
                </a:cubicBezTo>
                <a:lnTo>
                  <a:pt x="5511783" y="0"/>
                </a:lnTo>
                <a:cubicBezTo>
                  <a:pt x="6071158" y="0"/>
                  <a:pt x="6557719" y="311757"/>
                  <a:pt x="6807193" y="770997"/>
                </a:cubicBezTo>
                <a:lnTo>
                  <a:pt x="6858002" y="876469"/>
                </a:lnTo>
                <a:lnTo>
                  <a:pt x="6858002" y="6096002"/>
                </a:lnTo>
                <a:lnTo>
                  <a:pt x="0" y="6096002"/>
                </a:lnTo>
                <a:close/>
              </a:path>
            </a:pathLst>
          </a:custGeom>
          <a:gradFill flip="none" rotWithShape="1">
            <a:gsLst>
              <a:gs pos="64000">
                <a:srgbClr val="A25EB5"/>
              </a:gs>
              <a:gs pos="24000">
                <a:srgbClr val="BE0F0F"/>
              </a:gs>
              <a:gs pos="0">
                <a:srgbClr val="E5500F"/>
              </a:gs>
              <a:gs pos="100000">
                <a:srgbClr val="0097A5"/>
              </a:gs>
            </a:gsLst>
            <a:lin ang="27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F018747-0B3D-0006-4060-73CB20B675B9}"/>
              </a:ext>
            </a:extLst>
          </p:cNvPr>
          <p:cNvSpPr/>
          <p:nvPr userDrawn="1"/>
        </p:nvSpPr>
        <p:spPr>
          <a:xfrm>
            <a:off x="0" y="0"/>
            <a:ext cx="2592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AC9C3D-117A-2FC8-B1EC-61FA8DB61E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7783" y="1295401"/>
            <a:ext cx="5394960" cy="2794000"/>
          </a:xfrm>
        </p:spPr>
        <p:txBody>
          <a:bodyPr anchor="ctr"/>
          <a:lstStyle>
            <a:lvl1pPr algn="l">
              <a:lnSpc>
                <a:spcPct val="85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0E473FD-C37E-EE18-2785-51A761201AF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7783" y="4203691"/>
            <a:ext cx="5394960" cy="109728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457195" indent="0" algn="ctr">
              <a:buNone/>
              <a:defRPr sz="2000"/>
            </a:lvl2pPr>
            <a:lvl3pPr marL="914388" indent="0" algn="ctr">
              <a:buNone/>
              <a:defRPr sz="1801"/>
            </a:lvl3pPr>
            <a:lvl4pPr marL="1371583" indent="0" algn="ctr">
              <a:buNone/>
              <a:defRPr sz="1600"/>
            </a:lvl4pPr>
            <a:lvl5pPr marL="1828777" indent="0" algn="ctr">
              <a:buNone/>
              <a:defRPr sz="1600"/>
            </a:lvl5pPr>
            <a:lvl6pPr marL="2285972" indent="0" algn="ctr">
              <a:buNone/>
              <a:defRPr sz="1600"/>
            </a:lvl6pPr>
            <a:lvl7pPr marL="2743166" indent="0" algn="ctr">
              <a:buNone/>
              <a:defRPr sz="1600"/>
            </a:lvl7pPr>
            <a:lvl8pPr marL="3200360" indent="0" algn="ctr">
              <a:buNone/>
              <a:defRPr sz="1600"/>
            </a:lvl8pPr>
            <a:lvl9pPr marL="3657555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F81722B-5951-3317-8551-74FC3983EF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4F2429-2ABE-4F8E-8D5F-F68F0A290780}" type="slidenum">
              <a:rPr lang="en-US" smtClean="0"/>
              <a:t>‹#›</a:t>
            </a:fld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0CF45EA-0BF8-5008-AAE4-DED0A9DD3080}"/>
              </a:ext>
            </a:extLst>
          </p:cNvPr>
          <p:cNvGrpSpPr/>
          <p:nvPr userDrawn="1"/>
        </p:nvGrpSpPr>
        <p:grpSpPr>
          <a:xfrm>
            <a:off x="6848571" y="1349376"/>
            <a:ext cx="4154396" cy="4285451"/>
            <a:chOff x="6848570" y="1349375"/>
            <a:chExt cx="4154396" cy="4285451"/>
          </a:xfrm>
        </p:grpSpPr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307B937E-47C3-F081-DC35-71CF68D7A88D}"/>
                </a:ext>
              </a:extLst>
            </p:cNvPr>
            <p:cNvSpPr/>
            <p:nvPr userDrawn="1"/>
          </p:nvSpPr>
          <p:spPr>
            <a:xfrm>
              <a:off x="7645400" y="1349375"/>
              <a:ext cx="2730499" cy="2730499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3810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69CA3057-DDFA-20CD-F48A-32B7C29293EB}"/>
                </a:ext>
              </a:extLst>
            </p:cNvPr>
            <p:cNvSpPr/>
            <p:nvPr userDrawn="1"/>
          </p:nvSpPr>
          <p:spPr>
            <a:xfrm>
              <a:off x="8200982" y="1942859"/>
              <a:ext cx="1619336" cy="1543531"/>
            </a:xfrm>
            <a:custGeom>
              <a:avLst/>
              <a:gdLst>
                <a:gd name="connsiteX0" fmla="*/ 337785 w 865308"/>
                <a:gd name="connsiteY0" fmla="*/ 507968 h 824865"/>
                <a:gd name="connsiteX1" fmla="*/ 307401 w 865308"/>
                <a:gd name="connsiteY1" fmla="*/ 513207 h 824865"/>
                <a:gd name="connsiteX2" fmla="*/ 307686 w 865308"/>
                <a:gd name="connsiteY2" fmla="*/ 532543 h 824865"/>
                <a:gd name="connsiteX3" fmla="*/ 298733 w 865308"/>
                <a:gd name="connsiteY3" fmla="*/ 542639 h 824865"/>
                <a:gd name="connsiteX4" fmla="*/ 296447 w 865308"/>
                <a:gd name="connsiteY4" fmla="*/ 542354 h 824865"/>
                <a:gd name="connsiteX5" fmla="*/ 291018 w 865308"/>
                <a:gd name="connsiteY5" fmla="*/ 533114 h 824865"/>
                <a:gd name="connsiteX6" fmla="*/ 279492 w 865308"/>
                <a:gd name="connsiteY6" fmla="*/ 486823 h 824865"/>
                <a:gd name="connsiteX7" fmla="*/ 260347 w 865308"/>
                <a:gd name="connsiteY7" fmla="*/ 537782 h 824865"/>
                <a:gd name="connsiteX8" fmla="*/ 253965 w 865308"/>
                <a:gd name="connsiteY8" fmla="*/ 557784 h 824865"/>
                <a:gd name="connsiteX9" fmla="*/ 271206 w 865308"/>
                <a:gd name="connsiteY9" fmla="*/ 584454 h 824865"/>
                <a:gd name="connsiteX10" fmla="*/ 295494 w 865308"/>
                <a:gd name="connsiteY10" fmla="*/ 577501 h 824865"/>
                <a:gd name="connsiteX11" fmla="*/ 304924 w 865308"/>
                <a:gd name="connsiteY11" fmla="*/ 584645 h 824865"/>
                <a:gd name="connsiteX12" fmla="*/ 297780 w 865308"/>
                <a:gd name="connsiteY12" fmla="*/ 596551 h 824865"/>
                <a:gd name="connsiteX13" fmla="*/ 271301 w 865308"/>
                <a:gd name="connsiteY13" fmla="*/ 604076 h 824865"/>
                <a:gd name="connsiteX14" fmla="*/ 265014 w 865308"/>
                <a:gd name="connsiteY14" fmla="*/ 620554 h 824865"/>
                <a:gd name="connsiteX15" fmla="*/ 261395 w 865308"/>
                <a:gd name="connsiteY15" fmla="*/ 630746 h 824865"/>
                <a:gd name="connsiteX16" fmla="*/ 254918 w 865308"/>
                <a:gd name="connsiteY16" fmla="*/ 643033 h 824865"/>
                <a:gd name="connsiteX17" fmla="*/ 250346 w 865308"/>
                <a:gd name="connsiteY17" fmla="*/ 643223 h 824865"/>
                <a:gd name="connsiteX18" fmla="*/ 245012 w 865308"/>
                <a:gd name="connsiteY18" fmla="*/ 636746 h 824865"/>
                <a:gd name="connsiteX19" fmla="*/ 250632 w 865308"/>
                <a:gd name="connsiteY19" fmla="*/ 612553 h 824865"/>
                <a:gd name="connsiteX20" fmla="*/ 255775 w 865308"/>
                <a:gd name="connsiteY20" fmla="*/ 595027 h 824865"/>
                <a:gd name="connsiteX21" fmla="*/ 246917 w 865308"/>
                <a:gd name="connsiteY21" fmla="*/ 577882 h 824865"/>
                <a:gd name="connsiteX22" fmla="*/ 188338 w 865308"/>
                <a:gd name="connsiteY22" fmla="*/ 656654 h 824865"/>
                <a:gd name="connsiteX23" fmla="*/ 182242 w 865308"/>
                <a:gd name="connsiteY23" fmla="*/ 657606 h 824865"/>
                <a:gd name="connsiteX24" fmla="*/ 177384 w 865308"/>
                <a:gd name="connsiteY24" fmla="*/ 652844 h 824865"/>
                <a:gd name="connsiteX25" fmla="*/ 181861 w 865308"/>
                <a:gd name="connsiteY25" fmla="*/ 639509 h 824865"/>
                <a:gd name="connsiteX26" fmla="*/ 209579 w 865308"/>
                <a:gd name="connsiteY26" fmla="*/ 613791 h 824865"/>
                <a:gd name="connsiteX27" fmla="*/ 179385 w 865308"/>
                <a:gd name="connsiteY27" fmla="*/ 607314 h 824865"/>
                <a:gd name="connsiteX28" fmla="*/ 154429 w 865308"/>
                <a:gd name="connsiteY28" fmla="*/ 611219 h 824865"/>
                <a:gd name="connsiteX29" fmla="*/ 153953 w 865308"/>
                <a:gd name="connsiteY29" fmla="*/ 611124 h 824865"/>
                <a:gd name="connsiteX30" fmla="*/ 148809 w 865308"/>
                <a:gd name="connsiteY30" fmla="*/ 599789 h 824865"/>
                <a:gd name="connsiteX31" fmla="*/ 159192 w 865308"/>
                <a:gd name="connsiteY31" fmla="*/ 591979 h 824865"/>
                <a:gd name="connsiteX32" fmla="*/ 173479 w 865308"/>
                <a:gd name="connsiteY32" fmla="*/ 589883 h 824865"/>
                <a:gd name="connsiteX33" fmla="*/ 175670 w 865308"/>
                <a:gd name="connsiteY33" fmla="*/ 588645 h 824865"/>
                <a:gd name="connsiteX34" fmla="*/ 162240 w 865308"/>
                <a:gd name="connsiteY34" fmla="*/ 567119 h 824865"/>
                <a:gd name="connsiteX35" fmla="*/ 164526 w 865308"/>
                <a:gd name="connsiteY35" fmla="*/ 553307 h 824865"/>
                <a:gd name="connsiteX36" fmla="*/ 176146 w 865308"/>
                <a:gd name="connsiteY36" fmla="*/ 554450 h 824865"/>
                <a:gd name="connsiteX37" fmla="*/ 195958 w 865308"/>
                <a:gd name="connsiteY37" fmla="*/ 586169 h 824865"/>
                <a:gd name="connsiteX38" fmla="*/ 220152 w 865308"/>
                <a:gd name="connsiteY38" fmla="*/ 597122 h 824865"/>
                <a:gd name="connsiteX39" fmla="*/ 236154 w 865308"/>
                <a:gd name="connsiteY39" fmla="*/ 559403 h 824865"/>
                <a:gd name="connsiteX40" fmla="*/ 236344 w 865308"/>
                <a:gd name="connsiteY40" fmla="*/ 558927 h 824865"/>
                <a:gd name="connsiteX41" fmla="*/ 244726 w 865308"/>
                <a:gd name="connsiteY41" fmla="*/ 533019 h 824865"/>
                <a:gd name="connsiteX42" fmla="*/ 247869 w 865308"/>
                <a:gd name="connsiteY42" fmla="*/ 523113 h 824865"/>
                <a:gd name="connsiteX43" fmla="*/ 228343 w 865308"/>
                <a:gd name="connsiteY43" fmla="*/ 509207 h 824865"/>
                <a:gd name="connsiteX44" fmla="*/ 213865 w 865308"/>
                <a:gd name="connsiteY44" fmla="*/ 521494 h 824865"/>
                <a:gd name="connsiteX45" fmla="*/ 204435 w 865308"/>
                <a:gd name="connsiteY45" fmla="*/ 525875 h 824865"/>
                <a:gd name="connsiteX46" fmla="*/ 202149 w 865308"/>
                <a:gd name="connsiteY46" fmla="*/ 524732 h 824865"/>
                <a:gd name="connsiteX47" fmla="*/ 200721 w 865308"/>
                <a:gd name="connsiteY47" fmla="*/ 511207 h 824865"/>
                <a:gd name="connsiteX48" fmla="*/ 227676 w 865308"/>
                <a:gd name="connsiteY48" fmla="*/ 489871 h 824865"/>
                <a:gd name="connsiteX49" fmla="*/ 228724 w 865308"/>
                <a:gd name="connsiteY49" fmla="*/ 460629 h 824865"/>
                <a:gd name="connsiteX50" fmla="*/ 237392 w 865308"/>
                <a:gd name="connsiteY50" fmla="*/ 450247 h 824865"/>
                <a:gd name="connsiteX51" fmla="*/ 245393 w 865308"/>
                <a:gd name="connsiteY51" fmla="*/ 459391 h 824865"/>
                <a:gd name="connsiteX52" fmla="*/ 244155 w 865308"/>
                <a:gd name="connsiteY52" fmla="*/ 493300 h 824865"/>
                <a:gd name="connsiteX53" fmla="*/ 255013 w 865308"/>
                <a:gd name="connsiteY53" fmla="*/ 501968 h 824865"/>
                <a:gd name="connsiteX54" fmla="*/ 266348 w 865308"/>
                <a:gd name="connsiteY54" fmla="*/ 476536 h 824865"/>
                <a:gd name="connsiteX55" fmla="*/ 271682 w 865308"/>
                <a:gd name="connsiteY55" fmla="*/ 467963 h 824865"/>
                <a:gd name="connsiteX56" fmla="*/ 273396 w 865308"/>
                <a:gd name="connsiteY56" fmla="*/ 465582 h 824865"/>
                <a:gd name="connsiteX57" fmla="*/ 307020 w 865308"/>
                <a:gd name="connsiteY57" fmla="*/ 442722 h 824865"/>
                <a:gd name="connsiteX58" fmla="*/ 315973 w 865308"/>
                <a:gd name="connsiteY58" fmla="*/ 450532 h 824865"/>
                <a:gd name="connsiteX59" fmla="*/ 308353 w 865308"/>
                <a:gd name="connsiteY59" fmla="*/ 461963 h 824865"/>
                <a:gd name="connsiteX60" fmla="*/ 290922 w 865308"/>
                <a:gd name="connsiteY60" fmla="*/ 471297 h 824865"/>
                <a:gd name="connsiteX61" fmla="*/ 303495 w 865308"/>
                <a:gd name="connsiteY61" fmla="*/ 494538 h 824865"/>
                <a:gd name="connsiteX62" fmla="*/ 337023 w 865308"/>
                <a:gd name="connsiteY62" fmla="*/ 488823 h 824865"/>
                <a:gd name="connsiteX63" fmla="*/ 345691 w 865308"/>
                <a:gd name="connsiteY63" fmla="*/ 497110 h 824865"/>
                <a:gd name="connsiteX64" fmla="*/ 337690 w 865308"/>
                <a:gd name="connsiteY64" fmla="*/ 508254 h 824865"/>
                <a:gd name="connsiteX65" fmla="*/ 601533 w 865308"/>
                <a:gd name="connsiteY65" fmla="*/ 476631 h 824865"/>
                <a:gd name="connsiteX66" fmla="*/ 596199 w 865308"/>
                <a:gd name="connsiteY66" fmla="*/ 468059 h 824865"/>
                <a:gd name="connsiteX67" fmla="*/ 594484 w 865308"/>
                <a:gd name="connsiteY67" fmla="*/ 465677 h 824865"/>
                <a:gd name="connsiteX68" fmla="*/ 560861 w 865308"/>
                <a:gd name="connsiteY68" fmla="*/ 442817 h 824865"/>
                <a:gd name="connsiteX69" fmla="*/ 551907 w 865308"/>
                <a:gd name="connsiteY69" fmla="*/ 450628 h 824865"/>
                <a:gd name="connsiteX70" fmla="*/ 559527 w 865308"/>
                <a:gd name="connsiteY70" fmla="*/ 462058 h 824865"/>
                <a:gd name="connsiteX71" fmla="*/ 576958 w 865308"/>
                <a:gd name="connsiteY71" fmla="*/ 471392 h 824865"/>
                <a:gd name="connsiteX72" fmla="*/ 564385 w 865308"/>
                <a:gd name="connsiteY72" fmla="*/ 494633 h 824865"/>
                <a:gd name="connsiteX73" fmla="*/ 530857 w 865308"/>
                <a:gd name="connsiteY73" fmla="*/ 488918 h 824865"/>
                <a:gd name="connsiteX74" fmla="*/ 522189 w 865308"/>
                <a:gd name="connsiteY74" fmla="*/ 497205 h 824865"/>
                <a:gd name="connsiteX75" fmla="*/ 530190 w 865308"/>
                <a:gd name="connsiteY75" fmla="*/ 508349 h 824865"/>
                <a:gd name="connsiteX76" fmla="*/ 560480 w 865308"/>
                <a:gd name="connsiteY76" fmla="*/ 513588 h 824865"/>
                <a:gd name="connsiteX77" fmla="*/ 560194 w 865308"/>
                <a:gd name="connsiteY77" fmla="*/ 532924 h 824865"/>
                <a:gd name="connsiteX78" fmla="*/ 569148 w 865308"/>
                <a:gd name="connsiteY78" fmla="*/ 543020 h 824865"/>
                <a:gd name="connsiteX79" fmla="*/ 571434 w 865308"/>
                <a:gd name="connsiteY79" fmla="*/ 542735 h 824865"/>
                <a:gd name="connsiteX80" fmla="*/ 576863 w 865308"/>
                <a:gd name="connsiteY80" fmla="*/ 533495 h 824865"/>
                <a:gd name="connsiteX81" fmla="*/ 588293 w 865308"/>
                <a:gd name="connsiteY81" fmla="*/ 487204 h 824865"/>
                <a:gd name="connsiteX82" fmla="*/ 607438 w 865308"/>
                <a:gd name="connsiteY82" fmla="*/ 538163 h 824865"/>
                <a:gd name="connsiteX83" fmla="*/ 613820 w 865308"/>
                <a:gd name="connsiteY83" fmla="*/ 558165 h 824865"/>
                <a:gd name="connsiteX84" fmla="*/ 596580 w 865308"/>
                <a:gd name="connsiteY84" fmla="*/ 584835 h 824865"/>
                <a:gd name="connsiteX85" fmla="*/ 572291 w 865308"/>
                <a:gd name="connsiteY85" fmla="*/ 577882 h 824865"/>
                <a:gd name="connsiteX86" fmla="*/ 562861 w 865308"/>
                <a:gd name="connsiteY86" fmla="*/ 585026 h 824865"/>
                <a:gd name="connsiteX87" fmla="*/ 570005 w 865308"/>
                <a:gd name="connsiteY87" fmla="*/ 596932 h 824865"/>
                <a:gd name="connsiteX88" fmla="*/ 596484 w 865308"/>
                <a:gd name="connsiteY88" fmla="*/ 604457 h 824865"/>
                <a:gd name="connsiteX89" fmla="*/ 602771 w 865308"/>
                <a:gd name="connsiteY89" fmla="*/ 620935 h 824865"/>
                <a:gd name="connsiteX90" fmla="*/ 606390 w 865308"/>
                <a:gd name="connsiteY90" fmla="*/ 631126 h 824865"/>
                <a:gd name="connsiteX91" fmla="*/ 612867 w 865308"/>
                <a:gd name="connsiteY91" fmla="*/ 643414 h 824865"/>
                <a:gd name="connsiteX92" fmla="*/ 617439 w 865308"/>
                <a:gd name="connsiteY92" fmla="*/ 643604 h 824865"/>
                <a:gd name="connsiteX93" fmla="*/ 622773 w 865308"/>
                <a:gd name="connsiteY93" fmla="*/ 637127 h 824865"/>
                <a:gd name="connsiteX94" fmla="*/ 617154 w 865308"/>
                <a:gd name="connsiteY94" fmla="*/ 612934 h 824865"/>
                <a:gd name="connsiteX95" fmla="*/ 612010 w 865308"/>
                <a:gd name="connsiteY95" fmla="*/ 595408 h 824865"/>
                <a:gd name="connsiteX96" fmla="*/ 620868 w 865308"/>
                <a:gd name="connsiteY96" fmla="*/ 578263 h 824865"/>
                <a:gd name="connsiteX97" fmla="*/ 679447 w 865308"/>
                <a:gd name="connsiteY97" fmla="*/ 657035 h 824865"/>
                <a:gd name="connsiteX98" fmla="*/ 685543 w 865308"/>
                <a:gd name="connsiteY98" fmla="*/ 657987 h 824865"/>
                <a:gd name="connsiteX99" fmla="*/ 690401 w 865308"/>
                <a:gd name="connsiteY99" fmla="*/ 653224 h 824865"/>
                <a:gd name="connsiteX100" fmla="*/ 685924 w 865308"/>
                <a:gd name="connsiteY100" fmla="*/ 639890 h 824865"/>
                <a:gd name="connsiteX101" fmla="*/ 658206 w 865308"/>
                <a:gd name="connsiteY101" fmla="*/ 614172 h 824865"/>
                <a:gd name="connsiteX102" fmla="*/ 688401 w 865308"/>
                <a:gd name="connsiteY102" fmla="*/ 607695 h 824865"/>
                <a:gd name="connsiteX103" fmla="*/ 713356 w 865308"/>
                <a:gd name="connsiteY103" fmla="*/ 611600 h 824865"/>
                <a:gd name="connsiteX104" fmla="*/ 713832 w 865308"/>
                <a:gd name="connsiteY104" fmla="*/ 611505 h 824865"/>
                <a:gd name="connsiteX105" fmla="*/ 718976 w 865308"/>
                <a:gd name="connsiteY105" fmla="*/ 600170 h 824865"/>
                <a:gd name="connsiteX106" fmla="*/ 708594 w 865308"/>
                <a:gd name="connsiteY106" fmla="*/ 592360 h 824865"/>
                <a:gd name="connsiteX107" fmla="*/ 694306 w 865308"/>
                <a:gd name="connsiteY107" fmla="*/ 590264 h 824865"/>
                <a:gd name="connsiteX108" fmla="*/ 692115 w 865308"/>
                <a:gd name="connsiteY108" fmla="*/ 589026 h 824865"/>
                <a:gd name="connsiteX109" fmla="*/ 705546 w 865308"/>
                <a:gd name="connsiteY109" fmla="*/ 567499 h 824865"/>
                <a:gd name="connsiteX110" fmla="*/ 703355 w 865308"/>
                <a:gd name="connsiteY110" fmla="*/ 553688 h 824865"/>
                <a:gd name="connsiteX111" fmla="*/ 691734 w 865308"/>
                <a:gd name="connsiteY111" fmla="*/ 554831 h 824865"/>
                <a:gd name="connsiteX112" fmla="*/ 671922 w 865308"/>
                <a:gd name="connsiteY112" fmla="*/ 586549 h 824865"/>
                <a:gd name="connsiteX113" fmla="*/ 647729 w 865308"/>
                <a:gd name="connsiteY113" fmla="*/ 597503 h 824865"/>
                <a:gd name="connsiteX114" fmla="*/ 631727 w 865308"/>
                <a:gd name="connsiteY114" fmla="*/ 559784 h 824865"/>
                <a:gd name="connsiteX115" fmla="*/ 631536 w 865308"/>
                <a:gd name="connsiteY115" fmla="*/ 559308 h 824865"/>
                <a:gd name="connsiteX116" fmla="*/ 623154 w 865308"/>
                <a:gd name="connsiteY116" fmla="*/ 533400 h 824865"/>
                <a:gd name="connsiteX117" fmla="*/ 620011 w 865308"/>
                <a:gd name="connsiteY117" fmla="*/ 523494 h 824865"/>
                <a:gd name="connsiteX118" fmla="*/ 639537 w 865308"/>
                <a:gd name="connsiteY118" fmla="*/ 509588 h 824865"/>
                <a:gd name="connsiteX119" fmla="*/ 654015 w 865308"/>
                <a:gd name="connsiteY119" fmla="*/ 521875 h 824865"/>
                <a:gd name="connsiteX120" fmla="*/ 663445 w 865308"/>
                <a:gd name="connsiteY120" fmla="*/ 526256 h 824865"/>
                <a:gd name="connsiteX121" fmla="*/ 665731 w 865308"/>
                <a:gd name="connsiteY121" fmla="*/ 525113 h 824865"/>
                <a:gd name="connsiteX122" fmla="*/ 667160 w 865308"/>
                <a:gd name="connsiteY122" fmla="*/ 511588 h 824865"/>
                <a:gd name="connsiteX123" fmla="*/ 640204 w 865308"/>
                <a:gd name="connsiteY123" fmla="*/ 490252 h 824865"/>
                <a:gd name="connsiteX124" fmla="*/ 639156 w 865308"/>
                <a:gd name="connsiteY124" fmla="*/ 461010 h 824865"/>
                <a:gd name="connsiteX125" fmla="*/ 630489 w 865308"/>
                <a:gd name="connsiteY125" fmla="*/ 450628 h 824865"/>
                <a:gd name="connsiteX126" fmla="*/ 622488 w 865308"/>
                <a:gd name="connsiteY126" fmla="*/ 459772 h 824865"/>
                <a:gd name="connsiteX127" fmla="*/ 623726 w 865308"/>
                <a:gd name="connsiteY127" fmla="*/ 493681 h 824865"/>
                <a:gd name="connsiteX128" fmla="*/ 612867 w 865308"/>
                <a:gd name="connsiteY128" fmla="*/ 502349 h 824865"/>
                <a:gd name="connsiteX129" fmla="*/ 601533 w 865308"/>
                <a:gd name="connsiteY129" fmla="*/ 476917 h 824865"/>
                <a:gd name="connsiteX130" fmla="*/ 56607 w 865308"/>
                <a:gd name="connsiteY130" fmla="*/ 425101 h 824865"/>
                <a:gd name="connsiteX131" fmla="*/ 135379 w 865308"/>
                <a:gd name="connsiteY131" fmla="*/ 423196 h 824865"/>
                <a:gd name="connsiteX132" fmla="*/ 94326 w 865308"/>
                <a:gd name="connsiteY132" fmla="*/ 355949 h 824865"/>
                <a:gd name="connsiteX133" fmla="*/ 84230 w 865308"/>
                <a:gd name="connsiteY133" fmla="*/ 374523 h 824865"/>
                <a:gd name="connsiteX134" fmla="*/ 23365 w 865308"/>
                <a:gd name="connsiteY134" fmla="*/ 341281 h 824865"/>
                <a:gd name="connsiteX135" fmla="*/ 1934 w 865308"/>
                <a:gd name="connsiteY135" fmla="*/ 347567 h 824865"/>
                <a:gd name="connsiteX136" fmla="*/ 8220 w 865308"/>
                <a:gd name="connsiteY136" fmla="*/ 368999 h 824865"/>
                <a:gd name="connsiteX137" fmla="*/ 69180 w 865308"/>
                <a:gd name="connsiteY137" fmla="*/ 402241 h 824865"/>
                <a:gd name="connsiteX138" fmla="*/ 56703 w 865308"/>
                <a:gd name="connsiteY138" fmla="*/ 425101 h 824865"/>
                <a:gd name="connsiteX139" fmla="*/ 739264 w 865308"/>
                <a:gd name="connsiteY139" fmla="*/ 462820 h 824865"/>
                <a:gd name="connsiteX140" fmla="*/ 716023 w 865308"/>
                <a:gd name="connsiteY140" fmla="*/ 461105 h 824865"/>
                <a:gd name="connsiteX141" fmla="*/ 696021 w 865308"/>
                <a:gd name="connsiteY141" fmla="*/ 449580 h 824865"/>
                <a:gd name="connsiteX142" fmla="*/ 691925 w 865308"/>
                <a:gd name="connsiteY142" fmla="*/ 415004 h 824865"/>
                <a:gd name="connsiteX143" fmla="*/ 717166 w 865308"/>
                <a:gd name="connsiteY143" fmla="*/ 373190 h 824865"/>
                <a:gd name="connsiteX144" fmla="*/ 734883 w 865308"/>
                <a:gd name="connsiteY144" fmla="*/ 328994 h 824865"/>
                <a:gd name="connsiteX145" fmla="*/ 576006 w 865308"/>
                <a:gd name="connsiteY145" fmla="*/ 174784 h 824865"/>
                <a:gd name="connsiteX146" fmla="*/ 502473 w 865308"/>
                <a:gd name="connsiteY146" fmla="*/ 202311 h 824865"/>
                <a:gd name="connsiteX147" fmla="*/ 485613 w 865308"/>
                <a:gd name="connsiteY147" fmla="*/ 161354 h 824865"/>
                <a:gd name="connsiteX148" fmla="*/ 484185 w 865308"/>
                <a:gd name="connsiteY148" fmla="*/ 118301 h 824865"/>
                <a:gd name="connsiteX149" fmla="*/ 484375 w 865308"/>
                <a:gd name="connsiteY149" fmla="*/ 87535 h 824865"/>
                <a:gd name="connsiteX150" fmla="*/ 484375 w 865308"/>
                <a:gd name="connsiteY150" fmla="*/ 73438 h 824865"/>
                <a:gd name="connsiteX151" fmla="*/ 484375 w 865308"/>
                <a:gd name="connsiteY151" fmla="*/ 13335 h 824865"/>
                <a:gd name="connsiteX152" fmla="*/ 471231 w 865308"/>
                <a:gd name="connsiteY152" fmla="*/ 190 h 824865"/>
                <a:gd name="connsiteX153" fmla="*/ 458086 w 865308"/>
                <a:gd name="connsiteY153" fmla="*/ 13335 h 824865"/>
                <a:gd name="connsiteX154" fmla="*/ 458086 w 865308"/>
                <a:gd name="connsiteY154" fmla="*/ 73438 h 824865"/>
                <a:gd name="connsiteX155" fmla="*/ 458086 w 865308"/>
                <a:gd name="connsiteY155" fmla="*/ 87725 h 824865"/>
                <a:gd name="connsiteX156" fmla="*/ 457991 w 865308"/>
                <a:gd name="connsiteY156" fmla="*/ 117348 h 824865"/>
                <a:gd name="connsiteX157" fmla="*/ 459896 w 865308"/>
                <a:gd name="connsiteY157" fmla="*/ 166497 h 824865"/>
                <a:gd name="connsiteX158" fmla="*/ 555717 w 865308"/>
                <a:gd name="connsiteY158" fmla="*/ 280321 h 824865"/>
                <a:gd name="connsiteX159" fmla="*/ 579530 w 865308"/>
                <a:gd name="connsiteY159" fmla="*/ 291370 h 824865"/>
                <a:gd name="connsiteX160" fmla="*/ 584578 w 865308"/>
                <a:gd name="connsiteY160" fmla="*/ 292418 h 824865"/>
                <a:gd name="connsiteX161" fmla="*/ 596770 w 865308"/>
                <a:gd name="connsiteY161" fmla="*/ 284321 h 824865"/>
                <a:gd name="connsiteX162" fmla="*/ 589626 w 865308"/>
                <a:gd name="connsiteY162" fmla="*/ 267081 h 824865"/>
                <a:gd name="connsiteX163" fmla="*/ 567909 w 865308"/>
                <a:gd name="connsiteY163" fmla="*/ 256984 h 824865"/>
                <a:gd name="connsiteX164" fmla="*/ 520475 w 865308"/>
                <a:gd name="connsiteY164" fmla="*/ 223361 h 824865"/>
                <a:gd name="connsiteX165" fmla="*/ 570100 w 865308"/>
                <a:gd name="connsiteY165" fmla="*/ 200311 h 824865"/>
                <a:gd name="connsiteX166" fmla="*/ 709546 w 865308"/>
                <a:gd name="connsiteY166" fmla="*/ 337376 h 824865"/>
                <a:gd name="connsiteX167" fmla="*/ 695735 w 865308"/>
                <a:gd name="connsiteY167" fmla="*/ 358140 h 824865"/>
                <a:gd name="connsiteX168" fmla="*/ 666969 w 865308"/>
                <a:gd name="connsiteY168" fmla="*/ 407289 h 824865"/>
                <a:gd name="connsiteX169" fmla="*/ 672875 w 865308"/>
                <a:gd name="connsiteY169" fmla="*/ 461677 h 824865"/>
                <a:gd name="connsiteX170" fmla="*/ 709927 w 865308"/>
                <a:gd name="connsiteY170" fmla="*/ 486632 h 824865"/>
                <a:gd name="connsiteX171" fmla="*/ 738597 w 865308"/>
                <a:gd name="connsiteY171" fmla="*/ 489109 h 824865"/>
                <a:gd name="connsiteX172" fmla="*/ 780031 w 865308"/>
                <a:gd name="connsiteY172" fmla="*/ 494062 h 824865"/>
                <a:gd name="connsiteX173" fmla="*/ 784222 w 865308"/>
                <a:gd name="connsiteY173" fmla="*/ 771144 h 824865"/>
                <a:gd name="connsiteX174" fmla="*/ 759267 w 865308"/>
                <a:gd name="connsiteY174" fmla="*/ 797338 h 824865"/>
                <a:gd name="connsiteX175" fmla="*/ 623059 w 865308"/>
                <a:gd name="connsiteY175" fmla="*/ 714470 h 824865"/>
                <a:gd name="connsiteX176" fmla="*/ 571148 w 865308"/>
                <a:gd name="connsiteY176" fmla="*/ 670655 h 824865"/>
                <a:gd name="connsiteX177" fmla="*/ 492852 w 865308"/>
                <a:gd name="connsiteY177" fmla="*/ 547878 h 824865"/>
                <a:gd name="connsiteX178" fmla="*/ 491043 w 865308"/>
                <a:gd name="connsiteY178" fmla="*/ 506349 h 824865"/>
                <a:gd name="connsiteX179" fmla="*/ 489042 w 865308"/>
                <a:gd name="connsiteY179" fmla="*/ 396431 h 824865"/>
                <a:gd name="connsiteX180" fmla="*/ 496281 w 865308"/>
                <a:gd name="connsiteY180" fmla="*/ 330518 h 824865"/>
                <a:gd name="connsiteX181" fmla="*/ 533429 w 865308"/>
                <a:gd name="connsiteY181" fmla="*/ 358902 h 824865"/>
                <a:gd name="connsiteX182" fmla="*/ 541525 w 865308"/>
                <a:gd name="connsiteY182" fmla="*/ 361664 h 824865"/>
                <a:gd name="connsiteX183" fmla="*/ 551907 w 865308"/>
                <a:gd name="connsiteY183" fmla="*/ 356616 h 824865"/>
                <a:gd name="connsiteX184" fmla="*/ 549621 w 865308"/>
                <a:gd name="connsiteY184" fmla="*/ 338137 h 824865"/>
                <a:gd name="connsiteX185" fmla="*/ 462182 w 865308"/>
                <a:gd name="connsiteY185" fmla="*/ 275749 h 824865"/>
                <a:gd name="connsiteX186" fmla="*/ 413128 w 865308"/>
                <a:gd name="connsiteY186" fmla="*/ 275463 h 824865"/>
                <a:gd name="connsiteX187" fmla="*/ 328641 w 865308"/>
                <a:gd name="connsiteY187" fmla="*/ 334328 h 824865"/>
                <a:gd name="connsiteX188" fmla="*/ 326736 w 865308"/>
                <a:gd name="connsiteY188" fmla="*/ 352806 h 824865"/>
                <a:gd name="connsiteX189" fmla="*/ 345215 w 865308"/>
                <a:gd name="connsiteY189" fmla="*/ 354711 h 824865"/>
                <a:gd name="connsiteX190" fmla="*/ 377886 w 865308"/>
                <a:gd name="connsiteY190" fmla="*/ 329279 h 824865"/>
                <a:gd name="connsiteX191" fmla="*/ 384839 w 865308"/>
                <a:gd name="connsiteY191" fmla="*/ 395954 h 824865"/>
                <a:gd name="connsiteX192" fmla="*/ 381029 w 865308"/>
                <a:gd name="connsiteY192" fmla="*/ 547878 h 824865"/>
                <a:gd name="connsiteX193" fmla="*/ 302733 w 865308"/>
                <a:gd name="connsiteY193" fmla="*/ 670655 h 824865"/>
                <a:gd name="connsiteX194" fmla="*/ 250822 w 865308"/>
                <a:gd name="connsiteY194" fmla="*/ 714470 h 824865"/>
                <a:gd name="connsiteX195" fmla="*/ 114615 w 865308"/>
                <a:gd name="connsiteY195" fmla="*/ 797338 h 824865"/>
                <a:gd name="connsiteX196" fmla="*/ 89659 w 865308"/>
                <a:gd name="connsiteY196" fmla="*/ 771144 h 824865"/>
                <a:gd name="connsiteX197" fmla="*/ 93850 w 865308"/>
                <a:gd name="connsiteY197" fmla="*/ 494062 h 824865"/>
                <a:gd name="connsiteX198" fmla="*/ 135284 w 865308"/>
                <a:gd name="connsiteY198" fmla="*/ 489109 h 824865"/>
                <a:gd name="connsiteX199" fmla="*/ 163954 w 865308"/>
                <a:gd name="connsiteY199" fmla="*/ 486632 h 824865"/>
                <a:gd name="connsiteX200" fmla="*/ 201006 w 865308"/>
                <a:gd name="connsiteY200" fmla="*/ 461677 h 824865"/>
                <a:gd name="connsiteX201" fmla="*/ 206912 w 865308"/>
                <a:gd name="connsiteY201" fmla="*/ 407289 h 824865"/>
                <a:gd name="connsiteX202" fmla="*/ 178051 w 865308"/>
                <a:gd name="connsiteY202" fmla="*/ 358045 h 824865"/>
                <a:gd name="connsiteX203" fmla="*/ 164240 w 865308"/>
                <a:gd name="connsiteY203" fmla="*/ 337280 h 824865"/>
                <a:gd name="connsiteX204" fmla="*/ 303686 w 865308"/>
                <a:gd name="connsiteY204" fmla="*/ 200215 h 824865"/>
                <a:gd name="connsiteX205" fmla="*/ 353311 w 865308"/>
                <a:gd name="connsiteY205" fmla="*/ 223361 h 824865"/>
                <a:gd name="connsiteX206" fmla="*/ 305781 w 865308"/>
                <a:gd name="connsiteY206" fmla="*/ 256889 h 824865"/>
                <a:gd name="connsiteX207" fmla="*/ 284064 w 865308"/>
                <a:gd name="connsiteY207" fmla="*/ 266986 h 824865"/>
                <a:gd name="connsiteX208" fmla="*/ 276921 w 865308"/>
                <a:gd name="connsiteY208" fmla="*/ 284131 h 824865"/>
                <a:gd name="connsiteX209" fmla="*/ 289113 w 865308"/>
                <a:gd name="connsiteY209" fmla="*/ 292227 h 824865"/>
                <a:gd name="connsiteX210" fmla="*/ 294161 w 865308"/>
                <a:gd name="connsiteY210" fmla="*/ 291179 h 824865"/>
                <a:gd name="connsiteX211" fmla="*/ 317878 w 865308"/>
                <a:gd name="connsiteY211" fmla="*/ 280130 h 824865"/>
                <a:gd name="connsiteX212" fmla="*/ 413890 w 865308"/>
                <a:gd name="connsiteY212" fmla="*/ 165354 h 824865"/>
                <a:gd name="connsiteX213" fmla="*/ 415700 w 865308"/>
                <a:gd name="connsiteY213" fmla="*/ 117062 h 824865"/>
                <a:gd name="connsiteX214" fmla="*/ 415605 w 865308"/>
                <a:gd name="connsiteY214" fmla="*/ 87440 h 824865"/>
                <a:gd name="connsiteX215" fmla="*/ 415605 w 865308"/>
                <a:gd name="connsiteY215" fmla="*/ 73152 h 824865"/>
                <a:gd name="connsiteX216" fmla="*/ 415605 w 865308"/>
                <a:gd name="connsiteY216" fmla="*/ 13144 h 824865"/>
                <a:gd name="connsiteX217" fmla="*/ 402460 w 865308"/>
                <a:gd name="connsiteY217" fmla="*/ 0 h 824865"/>
                <a:gd name="connsiteX218" fmla="*/ 389316 w 865308"/>
                <a:gd name="connsiteY218" fmla="*/ 13144 h 824865"/>
                <a:gd name="connsiteX219" fmla="*/ 389316 w 865308"/>
                <a:gd name="connsiteY219" fmla="*/ 73247 h 824865"/>
                <a:gd name="connsiteX220" fmla="*/ 389316 w 865308"/>
                <a:gd name="connsiteY220" fmla="*/ 87344 h 824865"/>
                <a:gd name="connsiteX221" fmla="*/ 389506 w 865308"/>
                <a:gd name="connsiteY221" fmla="*/ 118015 h 824865"/>
                <a:gd name="connsiteX222" fmla="*/ 387887 w 865308"/>
                <a:gd name="connsiteY222" fmla="*/ 161925 h 824865"/>
                <a:gd name="connsiteX223" fmla="*/ 371218 w 865308"/>
                <a:gd name="connsiteY223" fmla="*/ 202216 h 824865"/>
                <a:gd name="connsiteX224" fmla="*/ 297590 w 865308"/>
                <a:gd name="connsiteY224" fmla="*/ 174593 h 824865"/>
                <a:gd name="connsiteX225" fmla="*/ 138713 w 865308"/>
                <a:gd name="connsiteY225" fmla="*/ 328803 h 824865"/>
                <a:gd name="connsiteX226" fmla="*/ 156429 w 865308"/>
                <a:gd name="connsiteY226" fmla="*/ 372999 h 824865"/>
                <a:gd name="connsiteX227" fmla="*/ 181671 w 865308"/>
                <a:gd name="connsiteY227" fmla="*/ 414909 h 824865"/>
                <a:gd name="connsiteX228" fmla="*/ 177575 w 865308"/>
                <a:gd name="connsiteY228" fmla="*/ 449580 h 824865"/>
                <a:gd name="connsiteX229" fmla="*/ 157572 w 865308"/>
                <a:gd name="connsiteY229" fmla="*/ 461105 h 824865"/>
                <a:gd name="connsiteX230" fmla="*/ 134331 w 865308"/>
                <a:gd name="connsiteY230" fmla="*/ 462820 h 824865"/>
                <a:gd name="connsiteX231" fmla="*/ 69371 w 865308"/>
                <a:gd name="connsiteY231" fmla="*/ 484251 h 824865"/>
                <a:gd name="connsiteX232" fmla="*/ 66228 w 865308"/>
                <a:gd name="connsiteY232" fmla="*/ 783146 h 824865"/>
                <a:gd name="connsiteX233" fmla="*/ 106899 w 865308"/>
                <a:gd name="connsiteY233" fmla="*/ 822484 h 824865"/>
                <a:gd name="connsiteX234" fmla="*/ 123092 w 865308"/>
                <a:gd name="connsiteY234" fmla="*/ 824865 h 824865"/>
                <a:gd name="connsiteX235" fmla="*/ 268443 w 865308"/>
                <a:gd name="connsiteY235" fmla="*/ 733997 h 824865"/>
                <a:gd name="connsiteX236" fmla="*/ 317878 w 865308"/>
                <a:gd name="connsiteY236" fmla="*/ 692182 h 824865"/>
                <a:gd name="connsiteX237" fmla="*/ 407413 w 865308"/>
                <a:gd name="connsiteY237" fmla="*/ 548926 h 824865"/>
                <a:gd name="connsiteX238" fmla="*/ 411223 w 865308"/>
                <a:gd name="connsiteY238" fmla="*/ 395478 h 824865"/>
                <a:gd name="connsiteX239" fmla="*/ 401603 w 865308"/>
                <a:gd name="connsiteY239" fmla="*/ 312230 h 824865"/>
                <a:gd name="connsiteX240" fmla="*/ 421796 w 865308"/>
                <a:gd name="connsiteY240" fmla="*/ 300228 h 824865"/>
                <a:gd name="connsiteX241" fmla="*/ 452085 w 865308"/>
                <a:gd name="connsiteY241" fmla="*/ 299942 h 824865"/>
                <a:gd name="connsiteX242" fmla="*/ 472564 w 865308"/>
                <a:gd name="connsiteY242" fmla="*/ 313087 h 824865"/>
                <a:gd name="connsiteX243" fmla="*/ 462944 w 865308"/>
                <a:gd name="connsiteY243" fmla="*/ 395002 h 824865"/>
                <a:gd name="connsiteX244" fmla="*/ 464944 w 865308"/>
                <a:gd name="connsiteY244" fmla="*/ 507492 h 824865"/>
                <a:gd name="connsiteX245" fmla="*/ 466754 w 865308"/>
                <a:gd name="connsiteY245" fmla="*/ 548926 h 824865"/>
                <a:gd name="connsiteX246" fmla="*/ 556194 w 865308"/>
                <a:gd name="connsiteY246" fmla="*/ 692182 h 824865"/>
                <a:gd name="connsiteX247" fmla="*/ 605628 w 865308"/>
                <a:gd name="connsiteY247" fmla="*/ 733997 h 824865"/>
                <a:gd name="connsiteX248" fmla="*/ 750980 w 865308"/>
                <a:gd name="connsiteY248" fmla="*/ 824865 h 824865"/>
                <a:gd name="connsiteX249" fmla="*/ 767172 w 865308"/>
                <a:gd name="connsiteY249" fmla="*/ 822484 h 824865"/>
                <a:gd name="connsiteX250" fmla="*/ 807844 w 865308"/>
                <a:gd name="connsiteY250" fmla="*/ 783146 h 824865"/>
                <a:gd name="connsiteX251" fmla="*/ 804701 w 865308"/>
                <a:gd name="connsiteY251" fmla="*/ 484251 h 824865"/>
                <a:gd name="connsiteX252" fmla="*/ 739740 w 865308"/>
                <a:gd name="connsiteY252" fmla="*/ 462820 h 824865"/>
                <a:gd name="connsiteX253" fmla="*/ 863375 w 865308"/>
                <a:gd name="connsiteY253" fmla="*/ 352139 h 824865"/>
                <a:gd name="connsiteX254" fmla="*/ 841944 w 865308"/>
                <a:gd name="connsiteY254" fmla="*/ 345853 h 824865"/>
                <a:gd name="connsiteX255" fmla="*/ 789556 w 865308"/>
                <a:gd name="connsiteY255" fmla="*/ 374618 h 824865"/>
                <a:gd name="connsiteX256" fmla="*/ 779269 w 865308"/>
                <a:gd name="connsiteY256" fmla="*/ 355949 h 824865"/>
                <a:gd name="connsiteX257" fmla="*/ 738407 w 865308"/>
                <a:gd name="connsiteY257" fmla="*/ 423291 h 824865"/>
                <a:gd name="connsiteX258" fmla="*/ 817083 w 865308"/>
                <a:gd name="connsiteY258" fmla="*/ 425101 h 824865"/>
                <a:gd name="connsiteX259" fmla="*/ 804701 w 865308"/>
                <a:gd name="connsiteY259" fmla="*/ 402431 h 824865"/>
                <a:gd name="connsiteX260" fmla="*/ 857088 w 865308"/>
                <a:gd name="connsiteY260" fmla="*/ 373666 h 824865"/>
                <a:gd name="connsiteX261" fmla="*/ 863375 w 865308"/>
                <a:gd name="connsiteY261" fmla="*/ 352234 h 824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</a:cxnLst>
              <a:rect l="l" t="t" r="r" b="b"/>
              <a:pathLst>
                <a:path w="865308" h="824865">
                  <a:moveTo>
                    <a:pt x="337785" y="507968"/>
                  </a:moveTo>
                  <a:lnTo>
                    <a:pt x="307401" y="513207"/>
                  </a:lnTo>
                  <a:cubicBezTo>
                    <a:pt x="307972" y="519017"/>
                    <a:pt x="308163" y="525494"/>
                    <a:pt x="307686" y="532543"/>
                  </a:cubicBezTo>
                  <a:cubicBezTo>
                    <a:pt x="307305" y="537972"/>
                    <a:pt x="303305" y="542449"/>
                    <a:pt x="298733" y="542639"/>
                  </a:cubicBezTo>
                  <a:cubicBezTo>
                    <a:pt x="297971" y="542639"/>
                    <a:pt x="297209" y="542639"/>
                    <a:pt x="296447" y="542354"/>
                  </a:cubicBezTo>
                  <a:cubicBezTo>
                    <a:pt x="293018" y="541306"/>
                    <a:pt x="290732" y="537686"/>
                    <a:pt x="291018" y="533114"/>
                  </a:cubicBezTo>
                  <a:cubicBezTo>
                    <a:pt x="292637" y="508540"/>
                    <a:pt x="285303" y="494157"/>
                    <a:pt x="279492" y="486823"/>
                  </a:cubicBezTo>
                  <a:cubicBezTo>
                    <a:pt x="272634" y="499586"/>
                    <a:pt x="266919" y="516731"/>
                    <a:pt x="260347" y="537782"/>
                  </a:cubicBezTo>
                  <a:cubicBezTo>
                    <a:pt x="258252" y="544354"/>
                    <a:pt x="256156" y="551117"/>
                    <a:pt x="253965" y="557784"/>
                  </a:cubicBezTo>
                  <a:cubicBezTo>
                    <a:pt x="263109" y="566547"/>
                    <a:pt x="268824" y="575405"/>
                    <a:pt x="271206" y="584454"/>
                  </a:cubicBezTo>
                  <a:lnTo>
                    <a:pt x="295494" y="577501"/>
                  </a:lnTo>
                  <a:cubicBezTo>
                    <a:pt x="300066" y="576167"/>
                    <a:pt x="304257" y="579406"/>
                    <a:pt x="304924" y="584645"/>
                  </a:cubicBezTo>
                  <a:cubicBezTo>
                    <a:pt x="305591" y="589883"/>
                    <a:pt x="302352" y="595217"/>
                    <a:pt x="297780" y="596551"/>
                  </a:cubicBezTo>
                  <a:lnTo>
                    <a:pt x="271301" y="604076"/>
                  </a:lnTo>
                  <a:cubicBezTo>
                    <a:pt x="269777" y="610457"/>
                    <a:pt x="267205" y="616077"/>
                    <a:pt x="265014" y="620554"/>
                  </a:cubicBezTo>
                  <a:cubicBezTo>
                    <a:pt x="263205" y="624459"/>
                    <a:pt x="261014" y="628936"/>
                    <a:pt x="261395" y="630746"/>
                  </a:cubicBezTo>
                  <a:cubicBezTo>
                    <a:pt x="262347" y="635889"/>
                    <a:pt x="259395" y="641414"/>
                    <a:pt x="254918" y="643033"/>
                  </a:cubicBezTo>
                  <a:cubicBezTo>
                    <a:pt x="253394" y="643604"/>
                    <a:pt x="251775" y="643604"/>
                    <a:pt x="250346" y="643223"/>
                  </a:cubicBezTo>
                  <a:cubicBezTo>
                    <a:pt x="247679" y="642461"/>
                    <a:pt x="245679" y="640080"/>
                    <a:pt x="245012" y="636746"/>
                  </a:cubicBezTo>
                  <a:cubicBezTo>
                    <a:pt x="243393" y="627697"/>
                    <a:pt x="247298" y="619601"/>
                    <a:pt x="250632" y="612553"/>
                  </a:cubicBezTo>
                  <a:cubicBezTo>
                    <a:pt x="253584" y="606266"/>
                    <a:pt x="256251" y="600837"/>
                    <a:pt x="255775" y="595027"/>
                  </a:cubicBezTo>
                  <a:cubicBezTo>
                    <a:pt x="255299" y="589693"/>
                    <a:pt x="252346" y="583978"/>
                    <a:pt x="246917" y="577882"/>
                  </a:cubicBezTo>
                  <a:cubicBezTo>
                    <a:pt x="235011" y="608743"/>
                    <a:pt x="218437" y="638175"/>
                    <a:pt x="188338" y="656654"/>
                  </a:cubicBezTo>
                  <a:cubicBezTo>
                    <a:pt x="186338" y="657892"/>
                    <a:pt x="184147" y="658178"/>
                    <a:pt x="182242" y="657606"/>
                  </a:cubicBezTo>
                  <a:cubicBezTo>
                    <a:pt x="180147" y="656939"/>
                    <a:pt x="178337" y="655320"/>
                    <a:pt x="177384" y="652844"/>
                  </a:cubicBezTo>
                  <a:cubicBezTo>
                    <a:pt x="175575" y="648081"/>
                    <a:pt x="177670" y="642176"/>
                    <a:pt x="181861" y="639509"/>
                  </a:cubicBezTo>
                  <a:cubicBezTo>
                    <a:pt x="193101" y="632651"/>
                    <a:pt x="202054" y="623888"/>
                    <a:pt x="209579" y="613791"/>
                  </a:cubicBezTo>
                  <a:cubicBezTo>
                    <a:pt x="189005" y="601885"/>
                    <a:pt x="184338" y="604552"/>
                    <a:pt x="179385" y="607314"/>
                  </a:cubicBezTo>
                  <a:cubicBezTo>
                    <a:pt x="174336" y="610172"/>
                    <a:pt x="167383" y="614077"/>
                    <a:pt x="154429" y="611219"/>
                  </a:cubicBezTo>
                  <a:cubicBezTo>
                    <a:pt x="154239" y="611219"/>
                    <a:pt x="154143" y="611219"/>
                    <a:pt x="153953" y="611124"/>
                  </a:cubicBezTo>
                  <a:cubicBezTo>
                    <a:pt x="149857" y="609886"/>
                    <a:pt x="147571" y="604933"/>
                    <a:pt x="148809" y="599789"/>
                  </a:cubicBezTo>
                  <a:cubicBezTo>
                    <a:pt x="150143" y="594455"/>
                    <a:pt x="154810" y="591026"/>
                    <a:pt x="159192" y="591979"/>
                  </a:cubicBezTo>
                  <a:cubicBezTo>
                    <a:pt x="166716" y="593693"/>
                    <a:pt x="169383" y="592169"/>
                    <a:pt x="173479" y="589883"/>
                  </a:cubicBezTo>
                  <a:cubicBezTo>
                    <a:pt x="174241" y="589502"/>
                    <a:pt x="175003" y="589026"/>
                    <a:pt x="175670" y="588645"/>
                  </a:cubicBezTo>
                  <a:lnTo>
                    <a:pt x="162240" y="567119"/>
                  </a:lnTo>
                  <a:cubicBezTo>
                    <a:pt x="159668" y="563023"/>
                    <a:pt x="160716" y="556832"/>
                    <a:pt x="164526" y="553307"/>
                  </a:cubicBezTo>
                  <a:cubicBezTo>
                    <a:pt x="168336" y="549783"/>
                    <a:pt x="173574" y="550355"/>
                    <a:pt x="176146" y="554450"/>
                  </a:cubicBezTo>
                  <a:lnTo>
                    <a:pt x="195958" y="586169"/>
                  </a:lnTo>
                  <a:cubicBezTo>
                    <a:pt x="202149" y="587693"/>
                    <a:pt x="209865" y="591026"/>
                    <a:pt x="220152" y="597122"/>
                  </a:cubicBezTo>
                  <a:cubicBezTo>
                    <a:pt x="226533" y="585311"/>
                    <a:pt x="231677" y="572548"/>
                    <a:pt x="236154" y="559403"/>
                  </a:cubicBezTo>
                  <a:cubicBezTo>
                    <a:pt x="236154" y="559213"/>
                    <a:pt x="236249" y="559022"/>
                    <a:pt x="236344" y="558927"/>
                  </a:cubicBezTo>
                  <a:cubicBezTo>
                    <a:pt x="239297" y="550355"/>
                    <a:pt x="242059" y="541592"/>
                    <a:pt x="244726" y="533019"/>
                  </a:cubicBezTo>
                  <a:cubicBezTo>
                    <a:pt x="245774" y="529685"/>
                    <a:pt x="246822" y="526351"/>
                    <a:pt x="247869" y="523113"/>
                  </a:cubicBezTo>
                  <a:cubicBezTo>
                    <a:pt x="243774" y="517303"/>
                    <a:pt x="235963" y="508730"/>
                    <a:pt x="228343" y="509207"/>
                  </a:cubicBezTo>
                  <a:cubicBezTo>
                    <a:pt x="223581" y="509492"/>
                    <a:pt x="218723" y="513588"/>
                    <a:pt x="213865" y="521494"/>
                  </a:cubicBezTo>
                  <a:cubicBezTo>
                    <a:pt x="211579" y="525209"/>
                    <a:pt x="207674" y="526828"/>
                    <a:pt x="204435" y="525875"/>
                  </a:cubicBezTo>
                  <a:cubicBezTo>
                    <a:pt x="203673" y="525685"/>
                    <a:pt x="202911" y="525209"/>
                    <a:pt x="202149" y="524732"/>
                  </a:cubicBezTo>
                  <a:cubicBezTo>
                    <a:pt x="198530" y="521875"/>
                    <a:pt x="197863" y="515874"/>
                    <a:pt x="200721" y="511207"/>
                  </a:cubicBezTo>
                  <a:cubicBezTo>
                    <a:pt x="208722" y="498253"/>
                    <a:pt x="217675" y="491109"/>
                    <a:pt x="227676" y="489871"/>
                  </a:cubicBezTo>
                  <a:lnTo>
                    <a:pt x="228724" y="460629"/>
                  </a:lnTo>
                  <a:cubicBezTo>
                    <a:pt x="228915" y="455200"/>
                    <a:pt x="232820" y="450532"/>
                    <a:pt x="237392" y="450247"/>
                  </a:cubicBezTo>
                  <a:cubicBezTo>
                    <a:pt x="241964" y="449866"/>
                    <a:pt x="245583" y="453961"/>
                    <a:pt x="245393" y="459391"/>
                  </a:cubicBezTo>
                  <a:lnTo>
                    <a:pt x="244155" y="493300"/>
                  </a:lnTo>
                  <a:cubicBezTo>
                    <a:pt x="248346" y="495586"/>
                    <a:pt x="251965" y="498824"/>
                    <a:pt x="255013" y="501968"/>
                  </a:cubicBezTo>
                  <a:cubicBezTo>
                    <a:pt x="258347" y="492824"/>
                    <a:pt x="262062" y="484251"/>
                    <a:pt x="266348" y="476536"/>
                  </a:cubicBezTo>
                  <a:cubicBezTo>
                    <a:pt x="268062" y="473488"/>
                    <a:pt x="269872" y="470630"/>
                    <a:pt x="271682" y="467963"/>
                  </a:cubicBezTo>
                  <a:cubicBezTo>
                    <a:pt x="272158" y="467011"/>
                    <a:pt x="272730" y="466249"/>
                    <a:pt x="273396" y="465582"/>
                  </a:cubicBezTo>
                  <a:cubicBezTo>
                    <a:pt x="282731" y="453104"/>
                    <a:pt x="293780" y="445580"/>
                    <a:pt x="307020" y="442722"/>
                  </a:cubicBezTo>
                  <a:cubicBezTo>
                    <a:pt x="311592" y="441674"/>
                    <a:pt x="315592" y="445199"/>
                    <a:pt x="315973" y="450532"/>
                  </a:cubicBezTo>
                  <a:cubicBezTo>
                    <a:pt x="316354" y="455867"/>
                    <a:pt x="312925" y="461010"/>
                    <a:pt x="308353" y="461963"/>
                  </a:cubicBezTo>
                  <a:cubicBezTo>
                    <a:pt x="301495" y="463486"/>
                    <a:pt x="295875" y="466630"/>
                    <a:pt x="290922" y="471297"/>
                  </a:cubicBezTo>
                  <a:cubicBezTo>
                    <a:pt x="295018" y="476250"/>
                    <a:pt x="299971" y="483870"/>
                    <a:pt x="303495" y="494538"/>
                  </a:cubicBezTo>
                  <a:lnTo>
                    <a:pt x="337023" y="488823"/>
                  </a:lnTo>
                  <a:cubicBezTo>
                    <a:pt x="341595" y="488061"/>
                    <a:pt x="345501" y="491776"/>
                    <a:pt x="345691" y="497110"/>
                  </a:cubicBezTo>
                  <a:cubicBezTo>
                    <a:pt x="345882" y="502444"/>
                    <a:pt x="342262" y="507397"/>
                    <a:pt x="337690" y="508254"/>
                  </a:cubicBezTo>
                  <a:moveTo>
                    <a:pt x="601533" y="476631"/>
                  </a:moveTo>
                  <a:cubicBezTo>
                    <a:pt x="599818" y="473583"/>
                    <a:pt x="598008" y="470726"/>
                    <a:pt x="596199" y="468059"/>
                  </a:cubicBezTo>
                  <a:cubicBezTo>
                    <a:pt x="595722" y="467106"/>
                    <a:pt x="595151" y="466344"/>
                    <a:pt x="594484" y="465677"/>
                  </a:cubicBezTo>
                  <a:cubicBezTo>
                    <a:pt x="585150" y="453199"/>
                    <a:pt x="574101" y="445675"/>
                    <a:pt x="560861" y="442817"/>
                  </a:cubicBezTo>
                  <a:cubicBezTo>
                    <a:pt x="556289" y="441770"/>
                    <a:pt x="552288" y="445294"/>
                    <a:pt x="551907" y="450628"/>
                  </a:cubicBezTo>
                  <a:cubicBezTo>
                    <a:pt x="551526" y="455962"/>
                    <a:pt x="554955" y="461105"/>
                    <a:pt x="559527" y="462058"/>
                  </a:cubicBezTo>
                  <a:cubicBezTo>
                    <a:pt x="566385" y="463582"/>
                    <a:pt x="572005" y="466725"/>
                    <a:pt x="576958" y="471392"/>
                  </a:cubicBezTo>
                  <a:cubicBezTo>
                    <a:pt x="572862" y="476345"/>
                    <a:pt x="567909" y="483965"/>
                    <a:pt x="564385" y="494633"/>
                  </a:cubicBezTo>
                  <a:lnTo>
                    <a:pt x="530857" y="488918"/>
                  </a:lnTo>
                  <a:cubicBezTo>
                    <a:pt x="526285" y="488156"/>
                    <a:pt x="522380" y="491871"/>
                    <a:pt x="522189" y="497205"/>
                  </a:cubicBezTo>
                  <a:cubicBezTo>
                    <a:pt x="521999" y="502539"/>
                    <a:pt x="525618" y="507492"/>
                    <a:pt x="530190" y="508349"/>
                  </a:cubicBezTo>
                  <a:lnTo>
                    <a:pt x="560480" y="513588"/>
                  </a:lnTo>
                  <a:cubicBezTo>
                    <a:pt x="559908" y="519398"/>
                    <a:pt x="559718" y="525875"/>
                    <a:pt x="560194" y="532924"/>
                  </a:cubicBezTo>
                  <a:cubicBezTo>
                    <a:pt x="560575" y="538353"/>
                    <a:pt x="564576" y="542830"/>
                    <a:pt x="569148" y="543020"/>
                  </a:cubicBezTo>
                  <a:cubicBezTo>
                    <a:pt x="569910" y="543020"/>
                    <a:pt x="570672" y="543020"/>
                    <a:pt x="571434" y="542735"/>
                  </a:cubicBezTo>
                  <a:cubicBezTo>
                    <a:pt x="574863" y="541687"/>
                    <a:pt x="577149" y="538067"/>
                    <a:pt x="576863" y="533495"/>
                  </a:cubicBezTo>
                  <a:cubicBezTo>
                    <a:pt x="575244" y="508921"/>
                    <a:pt x="582578" y="494538"/>
                    <a:pt x="588293" y="487204"/>
                  </a:cubicBezTo>
                  <a:cubicBezTo>
                    <a:pt x="595151" y="499967"/>
                    <a:pt x="600866" y="517112"/>
                    <a:pt x="607438" y="538163"/>
                  </a:cubicBezTo>
                  <a:cubicBezTo>
                    <a:pt x="609534" y="544735"/>
                    <a:pt x="611629" y="551497"/>
                    <a:pt x="613820" y="558165"/>
                  </a:cubicBezTo>
                  <a:cubicBezTo>
                    <a:pt x="604676" y="566928"/>
                    <a:pt x="598961" y="575786"/>
                    <a:pt x="596580" y="584835"/>
                  </a:cubicBezTo>
                  <a:lnTo>
                    <a:pt x="572291" y="577882"/>
                  </a:lnTo>
                  <a:cubicBezTo>
                    <a:pt x="567719" y="576548"/>
                    <a:pt x="563528" y="579787"/>
                    <a:pt x="562861" y="585026"/>
                  </a:cubicBezTo>
                  <a:cubicBezTo>
                    <a:pt x="562194" y="590264"/>
                    <a:pt x="565433" y="595598"/>
                    <a:pt x="570005" y="596932"/>
                  </a:cubicBezTo>
                  <a:lnTo>
                    <a:pt x="596484" y="604457"/>
                  </a:lnTo>
                  <a:cubicBezTo>
                    <a:pt x="598008" y="610838"/>
                    <a:pt x="600675" y="616458"/>
                    <a:pt x="602771" y="620935"/>
                  </a:cubicBezTo>
                  <a:cubicBezTo>
                    <a:pt x="604676" y="624840"/>
                    <a:pt x="606771" y="629317"/>
                    <a:pt x="606390" y="631126"/>
                  </a:cubicBezTo>
                  <a:cubicBezTo>
                    <a:pt x="605438" y="636270"/>
                    <a:pt x="608391" y="641795"/>
                    <a:pt x="612867" y="643414"/>
                  </a:cubicBezTo>
                  <a:cubicBezTo>
                    <a:pt x="614391" y="643985"/>
                    <a:pt x="616011" y="643985"/>
                    <a:pt x="617439" y="643604"/>
                  </a:cubicBezTo>
                  <a:cubicBezTo>
                    <a:pt x="620011" y="642842"/>
                    <a:pt x="622107" y="640461"/>
                    <a:pt x="622773" y="637127"/>
                  </a:cubicBezTo>
                  <a:cubicBezTo>
                    <a:pt x="624393" y="628079"/>
                    <a:pt x="620487" y="619982"/>
                    <a:pt x="617154" y="612934"/>
                  </a:cubicBezTo>
                  <a:cubicBezTo>
                    <a:pt x="614201" y="606647"/>
                    <a:pt x="611534" y="601218"/>
                    <a:pt x="612010" y="595408"/>
                  </a:cubicBezTo>
                  <a:cubicBezTo>
                    <a:pt x="612486" y="590074"/>
                    <a:pt x="615439" y="584359"/>
                    <a:pt x="620868" y="578263"/>
                  </a:cubicBezTo>
                  <a:cubicBezTo>
                    <a:pt x="632775" y="609124"/>
                    <a:pt x="649348" y="638556"/>
                    <a:pt x="679447" y="657035"/>
                  </a:cubicBezTo>
                  <a:cubicBezTo>
                    <a:pt x="681447" y="658273"/>
                    <a:pt x="683638" y="658559"/>
                    <a:pt x="685543" y="657987"/>
                  </a:cubicBezTo>
                  <a:cubicBezTo>
                    <a:pt x="687639" y="657320"/>
                    <a:pt x="689448" y="655701"/>
                    <a:pt x="690401" y="653224"/>
                  </a:cubicBezTo>
                  <a:cubicBezTo>
                    <a:pt x="692211" y="648462"/>
                    <a:pt x="690210" y="642557"/>
                    <a:pt x="685924" y="639890"/>
                  </a:cubicBezTo>
                  <a:cubicBezTo>
                    <a:pt x="674685" y="633032"/>
                    <a:pt x="665731" y="624269"/>
                    <a:pt x="658206" y="614172"/>
                  </a:cubicBezTo>
                  <a:cubicBezTo>
                    <a:pt x="678780" y="602266"/>
                    <a:pt x="683448" y="604933"/>
                    <a:pt x="688401" y="607695"/>
                  </a:cubicBezTo>
                  <a:cubicBezTo>
                    <a:pt x="693449" y="610553"/>
                    <a:pt x="700402" y="614458"/>
                    <a:pt x="713356" y="611600"/>
                  </a:cubicBezTo>
                  <a:cubicBezTo>
                    <a:pt x="713547" y="611600"/>
                    <a:pt x="713642" y="611600"/>
                    <a:pt x="713832" y="611505"/>
                  </a:cubicBezTo>
                  <a:cubicBezTo>
                    <a:pt x="717928" y="610267"/>
                    <a:pt x="720214" y="605314"/>
                    <a:pt x="718976" y="600170"/>
                  </a:cubicBezTo>
                  <a:cubicBezTo>
                    <a:pt x="717642" y="594836"/>
                    <a:pt x="712975" y="591407"/>
                    <a:pt x="708594" y="592360"/>
                  </a:cubicBezTo>
                  <a:cubicBezTo>
                    <a:pt x="701069" y="594074"/>
                    <a:pt x="698402" y="592550"/>
                    <a:pt x="694306" y="590264"/>
                  </a:cubicBezTo>
                  <a:cubicBezTo>
                    <a:pt x="693544" y="589883"/>
                    <a:pt x="692782" y="589407"/>
                    <a:pt x="692115" y="589026"/>
                  </a:cubicBezTo>
                  <a:lnTo>
                    <a:pt x="705546" y="567499"/>
                  </a:lnTo>
                  <a:cubicBezTo>
                    <a:pt x="708117" y="563404"/>
                    <a:pt x="707165" y="557213"/>
                    <a:pt x="703355" y="553688"/>
                  </a:cubicBezTo>
                  <a:cubicBezTo>
                    <a:pt x="699545" y="550164"/>
                    <a:pt x="694401" y="550736"/>
                    <a:pt x="691734" y="554831"/>
                  </a:cubicBezTo>
                  <a:lnTo>
                    <a:pt x="671922" y="586549"/>
                  </a:lnTo>
                  <a:cubicBezTo>
                    <a:pt x="665731" y="588074"/>
                    <a:pt x="658016" y="591407"/>
                    <a:pt x="647729" y="597503"/>
                  </a:cubicBezTo>
                  <a:cubicBezTo>
                    <a:pt x="641347" y="585692"/>
                    <a:pt x="636204" y="572929"/>
                    <a:pt x="631727" y="559784"/>
                  </a:cubicBezTo>
                  <a:cubicBezTo>
                    <a:pt x="631727" y="559594"/>
                    <a:pt x="631632" y="559403"/>
                    <a:pt x="631536" y="559308"/>
                  </a:cubicBezTo>
                  <a:cubicBezTo>
                    <a:pt x="628584" y="550736"/>
                    <a:pt x="625821" y="541972"/>
                    <a:pt x="623154" y="533400"/>
                  </a:cubicBezTo>
                  <a:cubicBezTo>
                    <a:pt x="622107" y="530066"/>
                    <a:pt x="621059" y="526733"/>
                    <a:pt x="620011" y="523494"/>
                  </a:cubicBezTo>
                  <a:cubicBezTo>
                    <a:pt x="624107" y="517684"/>
                    <a:pt x="631917" y="509111"/>
                    <a:pt x="639537" y="509588"/>
                  </a:cubicBezTo>
                  <a:cubicBezTo>
                    <a:pt x="644300" y="509873"/>
                    <a:pt x="649158" y="513969"/>
                    <a:pt x="654015" y="521875"/>
                  </a:cubicBezTo>
                  <a:cubicBezTo>
                    <a:pt x="656301" y="525590"/>
                    <a:pt x="660207" y="527209"/>
                    <a:pt x="663445" y="526256"/>
                  </a:cubicBezTo>
                  <a:cubicBezTo>
                    <a:pt x="664207" y="526066"/>
                    <a:pt x="664969" y="525590"/>
                    <a:pt x="665731" y="525113"/>
                  </a:cubicBezTo>
                  <a:cubicBezTo>
                    <a:pt x="669351" y="522256"/>
                    <a:pt x="670017" y="516255"/>
                    <a:pt x="667160" y="511588"/>
                  </a:cubicBezTo>
                  <a:cubicBezTo>
                    <a:pt x="659159" y="498634"/>
                    <a:pt x="650110" y="491490"/>
                    <a:pt x="640204" y="490252"/>
                  </a:cubicBezTo>
                  <a:lnTo>
                    <a:pt x="639156" y="461010"/>
                  </a:lnTo>
                  <a:cubicBezTo>
                    <a:pt x="638966" y="455581"/>
                    <a:pt x="635061" y="450913"/>
                    <a:pt x="630489" y="450628"/>
                  </a:cubicBezTo>
                  <a:cubicBezTo>
                    <a:pt x="625917" y="450247"/>
                    <a:pt x="622297" y="454343"/>
                    <a:pt x="622488" y="459772"/>
                  </a:cubicBezTo>
                  <a:lnTo>
                    <a:pt x="623726" y="493681"/>
                  </a:lnTo>
                  <a:cubicBezTo>
                    <a:pt x="619535" y="495967"/>
                    <a:pt x="615820" y="499205"/>
                    <a:pt x="612867" y="502349"/>
                  </a:cubicBezTo>
                  <a:cubicBezTo>
                    <a:pt x="609534" y="493205"/>
                    <a:pt x="605819" y="484632"/>
                    <a:pt x="601533" y="476917"/>
                  </a:cubicBezTo>
                  <a:moveTo>
                    <a:pt x="56607" y="425101"/>
                  </a:moveTo>
                  <a:lnTo>
                    <a:pt x="135379" y="423196"/>
                  </a:lnTo>
                  <a:lnTo>
                    <a:pt x="94326" y="355949"/>
                  </a:lnTo>
                  <a:lnTo>
                    <a:pt x="84230" y="374523"/>
                  </a:lnTo>
                  <a:lnTo>
                    <a:pt x="23365" y="341281"/>
                  </a:lnTo>
                  <a:cubicBezTo>
                    <a:pt x="15745" y="337090"/>
                    <a:pt x="6125" y="339947"/>
                    <a:pt x="1934" y="347567"/>
                  </a:cubicBezTo>
                  <a:cubicBezTo>
                    <a:pt x="-2257" y="355187"/>
                    <a:pt x="600" y="364808"/>
                    <a:pt x="8220" y="368999"/>
                  </a:cubicBezTo>
                  <a:lnTo>
                    <a:pt x="69180" y="402241"/>
                  </a:lnTo>
                  <a:lnTo>
                    <a:pt x="56703" y="425101"/>
                  </a:lnTo>
                  <a:close/>
                  <a:moveTo>
                    <a:pt x="739264" y="462820"/>
                  </a:moveTo>
                  <a:cubicBezTo>
                    <a:pt x="729930" y="462439"/>
                    <a:pt x="720214" y="462153"/>
                    <a:pt x="716023" y="461105"/>
                  </a:cubicBezTo>
                  <a:cubicBezTo>
                    <a:pt x="699926" y="457105"/>
                    <a:pt x="697545" y="452438"/>
                    <a:pt x="696021" y="449580"/>
                  </a:cubicBezTo>
                  <a:cubicBezTo>
                    <a:pt x="693258" y="444246"/>
                    <a:pt x="687353" y="430244"/>
                    <a:pt x="691925" y="415004"/>
                  </a:cubicBezTo>
                  <a:cubicBezTo>
                    <a:pt x="694782" y="405479"/>
                    <a:pt x="707736" y="386810"/>
                    <a:pt x="717166" y="373190"/>
                  </a:cubicBezTo>
                  <a:cubicBezTo>
                    <a:pt x="734406" y="348329"/>
                    <a:pt x="740788" y="338995"/>
                    <a:pt x="734883" y="328994"/>
                  </a:cubicBezTo>
                  <a:cubicBezTo>
                    <a:pt x="676304" y="229172"/>
                    <a:pt x="612677" y="183547"/>
                    <a:pt x="576006" y="174784"/>
                  </a:cubicBezTo>
                  <a:cubicBezTo>
                    <a:pt x="539430" y="166116"/>
                    <a:pt x="514950" y="184690"/>
                    <a:pt x="502473" y="202311"/>
                  </a:cubicBezTo>
                  <a:cubicBezTo>
                    <a:pt x="494472" y="190405"/>
                    <a:pt x="488280" y="176784"/>
                    <a:pt x="485613" y="161354"/>
                  </a:cubicBezTo>
                  <a:cubicBezTo>
                    <a:pt x="483232" y="147257"/>
                    <a:pt x="483708" y="132493"/>
                    <a:pt x="484185" y="118301"/>
                  </a:cubicBezTo>
                  <a:cubicBezTo>
                    <a:pt x="484470" y="108014"/>
                    <a:pt x="484375" y="97822"/>
                    <a:pt x="484375" y="87535"/>
                  </a:cubicBezTo>
                  <a:cubicBezTo>
                    <a:pt x="484375" y="82867"/>
                    <a:pt x="484375" y="78200"/>
                    <a:pt x="484375" y="73438"/>
                  </a:cubicBezTo>
                  <a:lnTo>
                    <a:pt x="484375" y="13335"/>
                  </a:lnTo>
                  <a:cubicBezTo>
                    <a:pt x="484375" y="6096"/>
                    <a:pt x="478470" y="190"/>
                    <a:pt x="471231" y="190"/>
                  </a:cubicBezTo>
                  <a:cubicBezTo>
                    <a:pt x="463992" y="190"/>
                    <a:pt x="458086" y="6096"/>
                    <a:pt x="458086" y="13335"/>
                  </a:cubicBezTo>
                  <a:lnTo>
                    <a:pt x="458086" y="73438"/>
                  </a:lnTo>
                  <a:cubicBezTo>
                    <a:pt x="458086" y="78200"/>
                    <a:pt x="458086" y="82963"/>
                    <a:pt x="458086" y="87725"/>
                  </a:cubicBezTo>
                  <a:cubicBezTo>
                    <a:pt x="458086" y="97631"/>
                    <a:pt x="458277" y="107442"/>
                    <a:pt x="457991" y="117348"/>
                  </a:cubicBezTo>
                  <a:cubicBezTo>
                    <a:pt x="457515" y="132112"/>
                    <a:pt x="456943" y="148971"/>
                    <a:pt x="459896" y="166497"/>
                  </a:cubicBezTo>
                  <a:cubicBezTo>
                    <a:pt x="467611" y="211931"/>
                    <a:pt x="501711" y="252412"/>
                    <a:pt x="555717" y="280321"/>
                  </a:cubicBezTo>
                  <a:cubicBezTo>
                    <a:pt x="563242" y="284226"/>
                    <a:pt x="571243" y="287941"/>
                    <a:pt x="579530" y="291370"/>
                  </a:cubicBezTo>
                  <a:cubicBezTo>
                    <a:pt x="581149" y="292036"/>
                    <a:pt x="582864" y="292418"/>
                    <a:pt x="584578" y="292418"/>
                  </a:cubicBezTo>
                  <a:cubicBezTo>
                    <a:pt x="589722" y="292418"/>
                    <a:pt x="594675" y="289370"/>
                    <a:pt x="596770" y="284321"/>
                  </a:cubicBezTo>
                  <a:cubicBezTo>
                    <a:pt x="599532" y="277559"/>
                    <a:pt x="596389" y="269938"/>
                    <a:pt x="589626" y="267081"/>
                  </a:cubicBezTo>
                  <a:cubicBezTo>
                    <a:pt x="582006" y="263938"/>
                    <a:pt x="574672" y="260509"/>
                    <a:pt x="567909" y="256984"/>
                  </a:cubicBezTo>
                  <a:cubicBezTo>
                    <a:pt x="554574" y="250031"/>
                    <a:pt x="536382" y="238982"/>
                    <a:pt x="520475" y="223361"/>
                  </a:cubicBezTo>
                  <a:cubicBezTo>
                    <a:pt x="524285" y="215741"/>
                    <a:pt x="538763" y="192786"/>
                    <a:pt x="570100" y="200311"/>
                  </a:cubicBezTo>
                  <a:cubicBezTo>
                    <a:pt x="595151" y="206311"/>
                    <a:pt x="652301" y="241935"/>
                    <a:pt x="709546" y="337376"/>
                  </a:cubicBezTo>
                  <a:cubicBezTo>
                    <a:pt x="706593" y="342519"/>
                    <a:pt x="700497" y="351282"/>
                    <a:pt x="695735" y="358140"/>
                  </a:cubicBezTo>
                  <a:cubicBezTo>
                    <a:pt x="683543" y="375666"/>
                    <a:pt x="670970" y="393859"/>
                    <a:pt x="666969" y="407289"/>
                  </a:cubicBezTo>
                  <a:cubicBezTo>
                    <a:pt x="659826" y="431006"/>
                    <a:pt x="667636" y="451580"/>
                    <a:pt x="672875" y="461677"/>
                  </a:cubicBezTo>
                  <a:cubicBezTo>
                    <a:pt x="679447" y="474345"/>
                    <a:pt x="690496" y="481870"/>
                    <a:pt x="709927" y="486632"/>
                  </a:cubicBezTo>
                  <a:cubicBezTo>
                    <a:pt x="716785" y="488347"/>
                    <a:pt x="726882" y="488728"/>
                    <a:pt x="738597" y="489109"/>
                  </a:cubicBezTo>
                  <a:cubicBezTo>
                    <a:pt x="750218" y="489490"/>
                    <a:pt x="773840" y="490347"/>
                    <a:pt x="780031" y="494062"/>
                  </a:cubicBezTo>
                  <a:cubicBezTo>
                    <a:pt x="817560" y="605981"/>
                    <a:pt x="810225" y="720281"/>
                    <a:pt x="784222" y="771144"/>
                  </a:cubicBezTo>
                  <a:cubicBezTo>
                    <a:pt x="776888" y="785527"/>
                    <a:pt x="768220" y="794576"/>
                    <a:pt x="759267" y="797338"/>
                  </a:cubicBezTo>
                  <a:cubicBezTo>
                    <a:pt x="726501" y="807434"/>
                    <a:pt x="666588" y="753713"/>
                    <a:pt x="623059" y="714470"/>
                  </a:cubicBezTo>
                  <a:cubicBezTo>
                    <a:pt x="604009" y="697325"/>
                    <a:pt x="585912" y="681038"/>
                    <a:pt x="571148" y="670655"/>
                  </a:cubicBezTo>
                  <a:cubicBezTo>
                    <a:pt x="521618" y="635889"/>
                    <a:pt x="495615" y="614648"/>
                    <a:pt x="492852" y="547878"/>
                  </a:cubicBezTo>
                  <a:cubicBezTo>
                    <a:pt x="492186" y="532733"/>
                    <a:pt x="491614" y="519017"/>
                    <a:pt x="491043" y="506349"/>
                  </a:cubicBezTo>
                  <a:cubicBezTo>
                    <a:pt x="488852" y="458724"/>
                    <a:pt x="487423" y="427292"/>
                    <a:pt x="489042" y="396431"/>
                  </a:cubicBezTo>
                  <a:cubicBezTo>
                    <a:pt x="490281" y="372523"/>
                    <a:pt x="493710" y="347282"/>
                    <a:pt x="496281" y="330518"/>
                  </a:cubicBezTo>
                  <a:cubicBezTo>
                    <a:pt x="509045" y="340043"/>
                    <a:pt x="522475" y="350234"/>
                    <a:pt x="533429" y="358902"/>
                  </a:cubicBezTo>
                  <a:cubicBezTo>
                    <a:pt x="535810" y="360807"/>
                    <a:pt x="538668" y="361664"/>
                    <a:pt x="541525" y="361664"/>
                  </a:cubicBezTo>
                  <a:cubicBezTo>
                    <a:pt x="545430" y="361664"/>
                    <a:pt x="549336" y="359950"/>
                    <a:pt x="551907" y="356616"/>
                  </a:cubicBezTo>
                  <a:cubicBezTo>
                    <a:pt x="556384" y="350901"/>
                    <a:pt x="555336" y="342614"/>
                    <a:pt x="549621" y="338137"/>
                  </a:cubicBezTo>
                  <a:cubicBezTo>
                    <a:pt x="537715" y="328898"/>
                    <a:pt x="477708" y="282321"/>
                    <a:pt x="462182" y="275749"/>
                  </a:cubicBezTo>
                  <a:cubicBezTo>
                    <a:pt x="444370" y="268224"/>
                    <a:pt x="434274" y="268129"/>
                    <a:pt x="413128" y="275463"/>
                  </a:cubicBezTo>
                  <a:cubicBezTo>
                    <a:pt x="393792" y="282131"/>
                    <a:pt x="339309" y="325660"/>
                    <a:pt x="328641" y="334328"/>
                  </a:cubicBezTo>
                  <a:cubicBezTo>
                    <a:pt x="323022" y="338900"/>
                    <a:pt x="322164" y="347186"/>
                    <a:pt x="326736" y="352806"/>
                  </a:cubicBezTo>
                  <a:cubicBezTo>
                    <a:pt x="331308" y="358426"/>
                    <a:pt x="339595" y="359378"/>
                    <a:pt x="345215" y="354711"/>
                  </a:cubicBezTo>
                  <a:cubicBezTo>
                    <a:pt x="354740" y="346996"/>
                    <a:pt x="366456" y="337852"/>
                    <a:pt x="377886" y="329279"/>
                  </a:cubicBezTo>
                  <a:cubicBezTo>
                    <a:pt x="380743" y="345853"/>
                    <a:pt x="384363" y="371475"/>
                    <a:pt x="384839" y="395954"/>
                  </a:cubicBezTo>
                  <a:cubicBezTo>
                    <a:pt x="385601" y="436721"/>
                    <a:pt x="384172" y="474059"/>
                    <a:pt x="381029" y="547878"/>
                  </a:cubicBezTo>
                  <a:cubicBezTo>
                    <a:pt x="378267" y="614648"/>
                    <a:pt x="352263" y="635889"/>
                    <a:pt x="302733" y="670655"/>
                  </a:cubicBezTo>
                  <a:cubicBezTo>
                    <a:pt x="287970" y="681038"/>
                    <a:pt x="269872" y="697230"/>
                    <a:pt x="250822" y="714470"/>
                  </a:cubicBezTo>
                  <a:cubicBezTo>
                    <a:pt x="207198" y="753713"/>
                    <a:pt x="147476" y="807530"/>
                    <a:pt x="114615" y="797338"/>
                  </a:cubicBezTo>
                  <a:cubicBezTo>
                    <a:pt x="105661" y="794576"/>
                    <a:pt x="97089" y="785527"/>
                    <a:pt x="89659" y="771144"/>
                  </a:cubicBezTo>
                  <a:cubicBezTo>
                    <a:pt x="63561" y="720281"/>
                    <a:pt x="56226" y="606076"/>
                    <a:pt x="93850" y="494062"/>
                  </a:cubicBezTo>
                  <a:cubicBezTo>
                    <a:pt x="100041" y="490347"/>
                    <a:pt x="123759" y="489490"/>
                    <a:pt x="135284" y="489109"/>
                  </a:cubicBezTo>
                  <a:cubicBezTo>
                    <a:pt x="147000" y="488728"/>
                    <a:pt x="157096" y="488347"/>
                    <a:pt x="163954" y="486632"/>
                  </a:cubicBezTo>
                  <a:cubicBezTo>
                    <a:pt x="183290" y="481870"/>
                    <a:pt x="194434" y="474345"/>
                    <a:pt x="201006" y="461677"/>
                  </a:cubicBezTo>
                  <a:cubicBezTo>
                    <a:pt x="206245" y="451485"/>
                    <a:pt x="214056" y="430911"/>
                    <a:pt x="206912" y="407289"/>
                  </a:cubicBezTo>
                  <a:cubicBezTo>
                    <a:pt x="202816" y="393859"/>
                    <a:pt x="190243" y="375666"/>
                    <a:pt x="178051" y="358045"/>
                  </a:cubicBezTo>
                  <a:cubicBezTo>
                    <a:pt x="173289" y="351187"/>
                    <a:pt x="167193" y="342424"/>
                    <a:pt x="164240" y="337280"/>
                  </a:cubicBezTo>
                  <a:cubicBezTo>
                    <a:pt x="221485" y="241744"/>
                    <a:pt x="278635" y="206121"/>
                    <a:pt x="303686" y="200215"/>
                  </a:cubicBezTo>
                  <a:cubicBezTo>
                    <a:pt x="335023" y="192786"/>
                    <a:pt x="349501" y="215836"/>
                    <a:pt x="353311" y="223361"/>
                  </a:cubicBezTo>
                  <a:cubicBezTo>
                    <a:pt x="337309" y="238887"/>
                    <a:pt x="319212" y="249936"/>
                    <a:pt x="305781" y="256889"/>
                  </a:cubicBezTo>
                  <a:cubicBezTo>
                    <a:pt x="299019" y="260413"/>
                    <a:pt x="291684" y="263843"/>
                    <a:pt x="284064" y="266986"/>
                  </a:cubicBezTo>
                  <a:cubicBezTo>
                    <a:pt x="277397" y="269748"/>
                    <a:pt x="274158" y="277463"/>
                    <a:pt x="276921" y="284131"/>
                  </a:cubicBezTo>
                  <a:cubicBezTo>
                    <a:pt x="279016" y="289179"/>
                    <a:pt x="283874" y="292227"/>
                    <a:pt x="289113" y="292227"/>
                  </a:cubicBezTo>
                  <a:cubicBezTo>
                    <a:pt x="290827" y="292227"/>
                    <a:pt x="292542" y="291941"/>
                    <a:pt x="294161" y="291179"/>
                  </a:cubicBezTo>
                  <a:cubicBezTo>
                    <a:pt x="302448" y="287750"/>
                    <a:pt x="310449" y="284035"/>
                    <a:pt x="317878" y="280130"/>
                  </a:cubicBezTo>
                  <a:cubicBezTo>
                    <a:pt x="371980" y="252127"/>
                    <a:pt x="405984" y="211741"/>
                    <a:pt x="413890" y="165354"/>
                  </a:cubicBezTo>
                  <a:cubicBezTo>
                    <a:pt x="416652" y="148685"/>
                    <a:pt x="416081" y="131921"/>
                    <a:pt x="415700" y="117062"/>
                  </a:cubicBezTo>
                  <a:cubicBezTo>
                    <a:pt x="415414" y="107156"/>
                    <a:pt x="415509" y="97250"/>
                    <a:pt x="415605" y="87440"/>
                  </a:cubicBezTo>
                  <a:cubicBezTo>
                    <a:pt x="415605" y="82677"/>
                    <a:pt x="415605" y="77915"/>
                    <a:pt x="415605" y="73152"/>
                  </a:cubicBezTo>
                  <a:lnTo>
                    <a:pt x="415605" y="13144"/>
                  </a:lnTo>
                  <a:cubicBezTo>
                    <a:pt x="415605" y="5905"/>
                    <a:pt x="409699" y="0"/>
                    <a:pt x="402460" y="0"/>
                  </a:cubicBezTo>
                  <a:cubicBezTo>
                    <a:pt x="395221" y="0"/>
                    <a:pt x="389316" y="5905"/>
                    <a:pt x="389316" y="13144"/>
                  </a:cubicBezTo>
                  <a:lnTo>
                    <a:pt x="389316" y="73247"/>
                  </a:lnTo>
                  <a:cubicBezTo>
                    <a:pt x="389316" y="77915"/>
                    <a:pt x="389316" y="82582"/>
                    <a:pt x="389316" y="87344"/>
                  </a:cubicBezTo>
                  <a:cubicBezTo>
                    <a:pt x="389220" y="97536"/>
                    <a:pt x="389125" y="107823"/>
                    <a:pt x="389506" y="118015"/>
                  </a:cubicBezTo>
                  <a:cubicBezTo>
                    <a:pt x="389982" y="132302"/>
                    <a:pt x="390459" y="146971"/>
                    <a:pt x="387887" y="161925"/>
                  </a:cubicBezTo>
                  <a:cubicBezTo>
                    <a:pt x="385315" y="177070"/>
                    <a:pt x="379219" y="190500"/>
                    <a:pt x="371218" y="202216"/>
                  </a:cubicBezTo>
                  <a:cubicBezTo>
                    <a:pt x="358740" y="184594"/>
                    <a:pt x="334261" y="165926"/>
                    <a:pt x="297590" y="174593"/>
                  </a:cubicBezTo>
                  <a:cubicBezTo>
                    <a:pt x="260919" y="183356"/>
                    <a:pt x="197292" y="228981"/>
                    <a:pt x="138713" y="328803"/>
                  </a:cubicBezTo>
                  <a:cubicBezTo>
                    <a:pt x="132807" y="338900"/>
                    <a:pt x="139284" y="348139"/>
                    <a:pt x="156429" y="372999"/>
                  </a:cubicBezTo>
                  <a:cubicBezTo>
                    <a:pt x="165859" y="386620"/>
                    <a:pt x="178813" y="405384"/>
                    <a:pt x="181671" y="414909"/>
                  </a:cubicBezTo>
                  <a:cubicBezTo>
                    <a:pt x="186243" y="430149"/>
                    <a:pt x="180337" y="444246"/>
                    <a:pt x="177575" y="449580"/>
                  </a:cubicBezTo>
                  <a:cubicBezTo>
                    <a:pt x="176146" y="452438"/>
                    <a:pt x="173670" y="457105"/>
                    <a:pt x="157572" y="461105"/>
                  </a:cubicBezTo>
                  <a:cubicBezTo>
                    <a:pt x="153381" y="462153"/>
                    <a:pt x="143666" y="462534"/>
                    <a:pt x="134331" y="462820"/>
                  </a:cubicBezTo>
                  <a:cubicBezTo>
                    <a:pt x="105566" y="463868"/>
                    <a:pt x="75848" y="464915"/>
                    <a:pt x="69371" y="484251"/>
                  </a:cubicBezTo>
                  <a:cubicBezTo>
                    <a:pt x="28509" y="604742"/>
                    <a:pt x="36891" y="725900"/>
                    <a:pt x="66228" y="783146"/>
                  </a:cubicBezTo>
                  <a:cubicBezTo>
                    <a:pt x="77086" y="804291"/>
                    <a:pt x="90707" y="817531"/>
                    <a:pt x="106899" y="822484"/>
                  </a:cubicBezTo>
                  <a:cubicBezTo>
                    <a:pt x="112138" y="824103"/>
                    <a:pt x="117567" y="824865"/>
                    <a:pt x="123092" y="824865"/>
                  </a:cubicBezTo>
                  <a:cubicBezTo>
                    <a:pt x="167478" y="824865"/>
                    <a:pt x="220818" y="776859"/>
                    <a:pt x="268443" y="733997"/>
                  </a:cubicBezTo>
                  <a:cubicBezTo>
                    <a:pt x="286922" y="717423"/>
                    <a:pt x="304353" y="701707"/>
                    <a:pt x="317878" y="692182"/>
                  </a:cubicBezTo>
                  <a:cubicBezTo>
                    <a:pt x="371409" y="654653"/>
                    <a:pt x="404175" y="626269"/>
                    <a:pt x="407413" y="548926"/>
                  </a:cubicBezTo>
                  <a:cubicBezTo>
                    <a:pt x="410461" y="474536"/>
                    <a:pt x="411985" y="437007"/>
                    <a:pt x="411223" y="395478"/>
                  </a:cubicBezTo>
                  <a:cubicBezTo>
                    <a:pt x="410652" y="361569"/>
                    <a:pt x="404365" y="326231"/>
                    <a:pt x="401603" y="312230"/>
                  </a:cubicBezTo>
                  <a:cubicBezTo>
                    <a:pt x="410652" y="306038"/>
                    <a:pt x="417986" y="301561"/>
                    <a:pt x="421796" y="300228"/>
                  </a:cubicBezTo>
                  <a:cubicBezTo>
                    <a:pt x="437607" y="294799"/>
                    <a:pt x="440846" y="295180"/>
                    <a:pt x="452085" y="299942"/>
                  </a:cubicBezTo>
                  <a:cubicBezTo>
                    <a:pt x="455324" y="301276"/>
                    <a:pt x="462849" y="306324"/>
                    <a:pt x="472564" y="313087"/>
                  </a:cubicBezTo>
                  <a:cubicBezTo>
                    <a:pt x="470088" y="327279"/>
                    <a:pt x="464658" y="361855"/>
                    <a:pt x="462944" y="395002"/>
                  </a:cubicBezTo>
                  <a:cubicBezTo>
                    <a:pt x="461229" y="427196"/>
                    <a:pt x="462658" y="459105"/>
                    <a:pt x="464944" y="507492"/>
                  </a:cubicBezTo>
                  <a:cubicBezTo>
                    <a:pt x="465516" y="520065"/>
                    <a:pt x="466087" y="533781"/>
                    <a:pt x="466754" y="548926"/>
                  </a:cubicBezTo>
                  <a:cubicBezTo>
                    <a:pt x="469992" y="626269"/>
                    <a:pt x="502663" y="654653"/>
                    <a:pt x="556194" y="692182"/>
                  </a:cubicBezTo>
                  <a:cubicBezTo>
                    <a:pt x="569719" y="701612"/>
                    <a:pt x="587150" y="717328"/>
                    <a:pt x="605628" y="733997"/>
                  </a:cubicBezTo>
                  <a:cubicBezTo>
                    <a:pt x="653253" y="776859"/>
                    <a:pt x="706593" y="824865"/>
                    <a:pt x="750980" y="824865"/>
                  </a:cubicBezTo>
                  <a:cubicBezTo>
                    <a:pt x="756504" y="824865"/>
                    <a:pt x="761934" y="824103"/>
                    <a:pt x="767172" y="822484"/>
                  </a:cubicBezTo>
                  <a:cubicBezTo>
                    <a:pt x="783270" y="817531"/>
                    <a:pt x="796986" y="804291"/>
                    <a:pt x="807844" y="783146"/>
                  </a:cubicBezTo>
                  <a:cubicBezTo>
                    <a:pt x="837181" y="725805"/>
                    <a:pt x="845563" y="604742"/>
                    <a:pt x="804701" y="484251"/>
                  </a:cubicBezTo>
                  <a:cubicBezTo>
                    <a:pt x="798129" y="464915"/>
                    <a:pt x="768411" y="463868"/>
                    <a:pt x="739740" y="462820"/>
                  </a:cubicBezTo>
                  <a:moveTo>
                    <a:pt x="863375" y="352139"/>
                  </a:moveTo>
                  <a:cubicBezTo>
                    <a:pt x="859184" y="344519"/>
                    <a:pt x="849564" y="341662"/>
                    <a:pt x="841944" y="345853"/>
                  </a:cubicBezTo>
                  <a:lnTo>
                    <a:pt x="789556" y="374618"/>
                  </a:lnTo>
                  <a:lnTo>
                    <a:pt x="779269" y="355949"/>
                  </a:lnTo>
                  <a:lnTo>
                    <a:pt x="738407" y="423291"/>
                  </a:lnTo>
                  <a:lnTo>
                    <a:pt x="817083" y="425101"/>
                  </a:lnTo>
                  <a:lnTo>
                    <a:pt x="804701" y="402431"/>
                  </a:lnTo>
                  <a:lnTo>
                    <a:pt x="857088" y="373666"/>
                  </a:lnTo>
                  <a:cubicBezTo>
                    <a:pt x="864708" y="369475"/>
                    <a:pt x="867566" y="359855"/>
                    <a:pt x="863375" y="352234"/>
                  </a:cubicBezTo>
                </a:path>
              </a:pathLst>
            </a:custGeom>
            <a:solidFill>
              <a:schemeClr val="accent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014FF7DB-874E-0295-4BAE-869C746BEF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848570" y="4612891"/>
              <a:ext cx="4154396" cy="1021935"/>
            </a:xfrm>
            <a:prstGeom prst="rect">
              <a:avLst/>
            </a:prstGeom>
          </p:spPr>
        </p:pic>
      </p:grpSp>
      <p:pic>
        <p:nvPicPr>
          <p:cNvPr id="5" name="Graphic 4">
            <a:extLst>
              <a:ext uri="{FF2B5EF4-FFF2-40B4-BE49-F238E27FC236}">
                <a16:creationId xmlns:a16="http://schemas.microsoft.com/office/drawing/2014/main" id="{88E290E8-BB99-52CC-8D94-B33B6437126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4235" y="6008693"/>
            <a:ext cx="2971165" cy="363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1996964"/>
      </p:ext>
    </p:extLst>
  </p:cSld>
  <p:clrMapOvr>
    <a:masterClrMapping/>
  </p:clrMapOvr>
  <p:transition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F9EC25-1902-D90B-EA2B-7B0E9F7EBE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4741334"/>
            <a:ext cx="11430000" cy="702735"/>
          </a:xfrm>
        </p:spPr>
        <p:txBody>
          <a:bodyPr anchor="b"/>
          <a:lstStyle>
            <a:lvl1pPr algn="ctr"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4A9EE55-201C-A0C9-B069-7DEB2673EC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000" y="5498255"/>
            <a:ext cx="11430000" cy="657012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9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88" indent="0">
              <a:buNone/>
              <a:defRPr sz="1801">
                <a:solidFill>
                  <a:schemeClr val="tx1">
                    <a:tint val="75000"/>
                  </a:schemeClr>
                </a:solidFill>
              </a:defRPr>
            </a:lvl3pPr>
            <a:lvl4pPr marL="13715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C77BCE-14D4-FD6E-9FD8-13E8EEC7F1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4F2429-2ABE-4F8E-8D5F-F68F0A290780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52">
            <a:extLst>
              <a:ext uri="{FF2B5EF4-FFF2-40B4-BE49-F238E27FC236}">
                <a16:creationId xmlns:a16="http://schemas.microsoft.com/office/drawing/2014/main" id="{0FF71BAF-07C7-CCC7-E0B6-5F72E095FC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3" y="6612126"/>
            <a:ext cx="11430000" cy="1315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900"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footnotes/references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FF883517-86E4-76F2-4B0E-6EE15C8052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20" t="676" r="88"/>
          <a:stretch/>
        </p:blipFill>
        <p:spPr>
          <a:xfrm>
            <a:off x="0" y="1"/>
            <a:ext cx="12192000" cy="210324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5C84174F-2F5B-CEB6-81BB-31BAE91CB898}"/>
              </a:ext>
            </a:extLst>
          </p:cNvPr>
          <p:cNvSpPr/>
          <p:nvPr userDrawn="1"/>
        </p:nvSpPr>
        <p:spPr>
          <a:xfrm>
            <a:off x="0" y="1840497"/>
            <a:ext cx="12192000" cy="25766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9FFECA5-23B5-C854-C871-3613D82C983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741069" y="3834324"/>
            <a:ext cx="2719785" cy="669037"/>
          </a:xfrm>
          <a:prstGeom prst="rect">
            <a:avLst/>
          </a:prstGeom>
        </p:spPr>
      </p:pic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23208E52-8C5F-D135-6610-F1CC950D6097}"/>
              </a:ext>
            </a:extLst>
          </p:cNvPr>
          <p:cNvSpPr/>
          <p:nvPr userDrawn="1"/>
        </p:nvSpPr>
        <p:spPr>
          <a:xfrm>
            <a:off x="4892678" y="892811"/>
            <a:ext cx="2412999" cy="2412999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381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101F8397-677C-874B-8686-7DE95B15E612}"/>
              </a:ext>
            </a:extLst>
          </p:cNvPr>
          <p:cNvSpPr/>
          <p:nvPr userDrawn="1"/>
        </p:nvSpPr>
        <p:spPr>
          <a:xfrm>
            <a:off x="5383657" y="1417285"/>
            <a:ext cx="1431040" cy="1364051"/>
          </a:xfrm>
          <a:custGeom>
            <a:avLst/>
            <a:gdLst>
              <a:gd name="connsiteX0" fmla="*/ 337785 w 865308"/>
              <a:gd name="connsiteY0" fmla="*/ 507968 h 824865"/>
              <a:gd name="connsiteX1" fmla="*/ 307401 w 865308"/>
              <a:gd name="connsiteY1" fmla="*/ 513207 h 824865"/>
              <a:gd name="connsiteX2" fmla="*/ 307686 w 865308"/>
              <a:gd name="connsiteY2" fmla="*/ 532543 h 824865"/>
              <a:gd name="connsiteX3" fmla="*/ 298733 w 865308"/>
              <a:gd name="connsiteY3" fmla="*/ 542639 h 824865"/>
              <a:gd name="connsiteX4" fmla="*/ 296447 w 865308"/>
              <a:gd name="connsiteY4" fmla="*/ 542354 h 824865"/>
              <a:gd name="connsiteX5" fmla="*/ 291018 w 865308"/>
              <a:gd name="connsiteY5" fmla="*/ 533114 h 824865"/>
              <a:gd name="connsiteX6" fmla="*/ 279492 w 865308"/>
              <a:gd name="connsiteY6" fmla="*/ 486823 h 824865"/>
              <a:gd name="connsiteX7" fmla="*/ 260347 w 865308"/>
              <a:gd name="connsiteY7" fmla="*/ 537782 h 824865"/>
              <a:gd name="connsiteX8" fmla="*/ 253965 w 865308"/>
              <a:gd name="connsiteY8" fmla="*/ 557784 h 824865"/>
              <a:gd name="connsiteX9" fmla="*/ 271206 w 865308"/>
              <a:gd name="connsiteY9" fmla="*/ 584454 h 824865"/>
              <a:gd name="connsiteX10" fmla="*/ 295494 w 865308"/>
              <a:gd name="connsiteY10" fmla="*/ 577501 h 824865"/>
              <a:gd name="connsiteX11" fmla="*/ 304924 w 865308"/>
              <a:gd name="connsiteY11" fmla="*/ 584645 h 824865"/>
              <a:gd name="connsiteX12" fmla="*/ 297780 w 865308"/>
              <a:gd name="connsiteY12" fmla="*/ 596551 h 824865"/>
              <a:gd name="connsiteX13" fmla="*/ 271301 w 865308"/>
              <a:gd name="connsiteY13" fmla="*/ 604076 h 824865"/>
              <a:gd name="connsiteX14" fmla="*/ 265014 w 865308"/>
              <a:gd name="connsiteY14" fmla="*/ 620554 h 824865"/>
              <a:gd name="connsiteX15" fmla="*/ 261395 w 865308"/>
              <a:gd name="connsiteY15" fmla="*/ 630746 h 824865"/>
              <a:gd name="connsiteX16" fmla="*/ 254918 w 865308"/>
              <a:gd name="connsiteY16" fmla="*/ 643033 h 824865"/>
              <a:gd name="connsiteX17" fmla="*/ 250346 w 865308"/>
              <a:gd name="connsiteY17" fmla="*/ 643223 h 824865"/>
              <a:gd name="connsiteX18" fmla="*/ 245012 w 865308"/>
              <a:gd name="connsiteY18" fmla="*/ 636746 h 824865"/>
              <a:gd name="connsiteX19" fmla="*/ 250632 w 865308"/>
              <a:gd name="connsiteY19" fmla="*/ 612553 h 824865"/>
              <a:gd name="connsiteX20" fmla="*/ 255775 w 865308"/>
              <a:gd name="connsiteY20" fmla="*/ 595027 h 824865"/>
              <a:gd name="connsiteX21" fmla="*/ 246917 w 865308"/>
              <a:gd name="connsiteY21" fmla="*/ 577882 h 824865"/>
              <a:gd name="connsiteX22" fmla="*/ 188338 w 865308"/>
              <a:gd name="connsiteY22" fmla="*/ 656654 h 824865"/>
              <a:gd name="connsiteX23" fmla="*/ 182242 w 865308"/>
              <a:gd name="connsiteY23" fmla="*/ 657606 h 824865"/>
              <a:gd name="connsiteX24" fmla="*/ 177384 w 865308"/>
              <a:gd name="connsiteY24" fmla="*/ 652844 h 824865"/>
              <a:gd name="connsiteX25" fmla="*/ 181861 w 865308"/>
              <a:gd name="connsiteY25" fmla="*/ 639509 h 824865"/>
              <a:gd name="connsiteX26" fmla="*/ 209579 w 865308"/>
              <a:gd name="connsiteY26" fmla="*/ 613791 h 824865"/>
              <a:gd name="connsiteX27" fmla="*/ 179385 w 865308"/>
              <a:gd name="connsiteY27" fmla="*/ 607314 h 824865"/>
              <a:gd name="connsiteX28" fmla="*/ 154429 w 865308"/>
              <a:gd name="connsiteY28" fmla="*/ 611219 h 824865"/>
              <a:gd name="connsiteX29" fmla="*/ 153953 w 865308"/>
              <a:gd name="connsiteY29" fmla="*/ 611124 h 824865"/>
              <a:gd name="connsiteX30" fmla="*/ 148809 w 865308"/>
              <a:gd name="connsiteY30" fmla="*/ 599789 h 824865"/>
              <a:gd name="connsiteX31" fmla="*/ 159192 w 865308"/>
              <a:gd name="connsiteY31" fmla="*/ 591979 h 824865"/>
              <a:gd name="connsiteX32" fmla="*/ 173479 w 865308"/>
              <a:gd name="connsiteY32" fmla="*/ 589883 h 824865"/>
              <a:gd name="connsiteX33" fmla="*/ 175670 w 865308"/>
              <a:gd name="connsiteY33" fmla="*/ 588645 h 824865"/>
              <a:gd name="connsiteX34" fmla="*/ 162240 w 865308"/>
              <a:gd name="connsiteY34" fmla="*/ 567119 h 824865"/>
              <a:gd name="connsiteX35" fmla="*/ 164526 w 865308"/>
              <a:gd name="connsiteY35" fmla="*/ 553307 h 824865"/>
              <a:gd name="connsiteX36" fmla="*/ 176146 w 865308"/>
              <a:gd name="connsiteY36" fmla="*/ 554450 h 824865"/>
              <a:gd name="connsiteX37" fmla="*/ 195958 w 865308"/>
              <a:gd name="connsiteY37" fmla="*/ 586169 h 824865"/>
              <a:gd name="connsiteX38" fmla="*/ 220152 w 865308"/>
              <a:gd name="connsiteY38" fmla="*/ 597122 h 824865"/>
              <a:gd name="connsiteX39" fmla="*/ 236154 w 865308"/>
              <a:gd name="connsiteY39" fmla="*/ 559403 h 824865"/>
              <a:gd name="connsiteX40" fmla="*/ 236344 w 865308"/>
              <a:gd name="connsiteY40" fmla="*/ 558927 h 824865"/>
              <a:gd name="connsiteX41" fmla="*/ 244726 w 865308"/>
              <a:gd name="connsiteY41" fmla="*/ 533019 h 824865"/>
              <a:gd name="connsiteX42" fmla="*/ 247869 w 865308"/>
              <a:gd name="connsiteY42" fmla="*/ 523113 h 824865"/>
              <a:gd name="connsiteX43" fmla="*/ 228343 w 865308"/>
              <a:gd name="connsiteY43" fmla="*/ 509207 h 824865"/>
              <a:gd name="connsiteX44" fmla="*/ 213865 w 865308"/>
              <a:gd name="connsiteY44" fmla="*/ 521494 h 824865"/>
              <a:gd name="connsiteX45" fmla="*/ 204435 w 865308"/>
              <a:gd name="connsiteY45" fmla="*/ 525875 h 824865"/>
              <a:gd name="connsiteX46" fmla="*/ 202149 w 865308"/>
              <a:gd name="connsiteY46" fmla="*/ 524732 h 824865"/>
              <a:gd name="connsiteX47" fmla="*/ 200721 w 865308"/>
              <a:gd name="connsiteY47" fmla="*/ 511207 h 824865"/>
              <a:gd name="connsiteX48" fmla="*/ 227676 w 865308"/>
              <a:gd name="connsiteY48" fmla="*/ 489871 h 824865"/>
              <a:gd name="connsiteX49" fmla="*/ 228724 w 865308"/>
              <a:gd name="connsiteY49" fmla="*/ 460629 h 824865"/>
              <a:gd name="connsiteX50" fmla="*/ 237392 w 865308"/>
              <a:gd name="connsiteY50" fmla="*/ 450247 h 824865"/>
              <a:gd name="connsiteX51" fmla="*/ 245393 w 865308"/>
              <a:gd name="connsiteY51" fmla="*/ 459391 h 824865"/>
              <a:gd name="connsiteX52" fmla="*/ 244155 w 865308"/>
              <a:gd name="connsiteY52" fmla="*/ 493300 h 824865"/>
              <a:gd name="connsiteX53" fmla="*/ 255013 w 865308"/>
              <a:gd name="connsiteY53" fmla="*/ 501968 h 824865"/>
              <a:gd name="connsiteX54" fmla="*/ 266348 w 865308"/>
              <a:gd name="connsiteY54" fmla="*/ 476536 h 824865"/>
              <a:gd name="connsiteX55" fmla="*/ 271682 w 865308"/>
              <a:gd name="connsiteY55" fmla="*/ 467963 h 824865"/>
              <a:gd name="connsiteX56" fmla="*/ 273396 w 865308"/>
              <a:gd name="connsiteY56" fmla="*/ 465582 h 824865"/>
              <a:gd name="connsiteX57" fmla="*/ 307020 w 865308"/>
              <a:gd name="connsiteY57" fmla="*/ 442722 h 824865"/>
              <a:gd name="connsiteX58" fmla="*/ 315973 w 865308"/>
              <a:gd name="connsiteY58" fmla="*/ 450532 h 824865"/>
              <a:gd name="connsiteX59" fmla="*/ 308353 w 865308"/>
              <a:gd name="connsiteY59" fmla="*/ 461963 h 824865"/>
              <a:gd name="connsiteX60" fmla="*/ 290922 w 865308"/>
              <a:gd name="connsiteY60" fmla="*/ 471297 h 824865"/>
              <a:gd name="connsiteX61" fmla="*/ 303495 w 865308"/>
              <a:gd name="connsiteY61" fmla="*/ 494538 h 824865"/>
              <a:gd name="connsiteX62" fmla="*/ 337023 w 865308"/>
              <a:gd name="connsiteY62" fmla="*/ 488823 h 824865"/>
              <a:gd name="connsiteX63" fmla="*/ 345691 w 865308"/>
              <a:gd name="connsiteY63" fmla="*/ 497110 h 824865"/>
              <a:gd name="connsiteX64" fmla="*/ 337690 w 865308"/>
              <a:gd name="connsiteY64" fmla="*/ 508254 h 824865"/>
              <a:gd name="connsiteX65" fmla="*/ 601533 w 865308"/>
              <a:gd name="connsiteY65" fmla="*/ 476631 h 824865"/>
              <a:gd name="connsiteX66" fmla="*/ 596199 w 865308"/>
              <a:gd name="connsiteY66" fmla="*/ 468059 h 824865"/>
              <a:gd name="connsiteX67" fmla="*/ 594484 w 865308"/>
              <a:gd name="connsiteY67" fmla="*/ 465677 h 824865"/>
              <a:gd name="connsiteX68" fmla="*/ 560861 w 865308"/>
              <a:gd name="connsiteY68" fmla="*/ 442817 h 824865"/>
              <a:gd name="connsiteX69" fmla="*/ 551907 w 865308"/>
              <a:gd name="connsiteY69" fmla="*/ 450628 h 824865"/>
              <a:gd name="connsiteX70" fmla="*/ 559527 w 865308"/>
              <a:gd name="connsiteY70" fmla="*/ 462058 h 824865"/>
              <a:gd name="connsiteX71" fmla="*/ 576958 w 865308"/>
              <a:gd name="connsiteY71" fmla="*/ 471392 h 824865"/>
              <a:gd name="connsiteX72" fmla="*/ 564385 w 865308"/>
              <a:gd name="connsiteY72" fmla="*/ 494633 h 824865"/>
              <a:gd name="connsiteX73" fmla="*/ 530857 w 865308"/>
              <a:gd name="connsiteY73" fmla="*/ 488918 h 824865"/>
              <a:gd name="connsiteX74" fmla="*/ 522189 w 865308"/>
              <a:gd name="connsiteY74" fmla="*/ 497205 h 824865"/>
              <a:gd name="connsiteX75" fmla="*/ 530190 w 865308"/>
              <a:gd name="connsiteY75" fmla="*/ 508349 h 824865"/>
              <a:gd name="connsiteX76" fmla="*/ 560480 w 865308"/>
              <a:gd name="connsiteY76" fmla="*/ 513588 h 824865"/>
              <a:gd name="connsiteX77" fmla="*/ 560194 w 865308"/>
              <a:gd name="connsiteY77" fmla="*/ 532924 h 824865"/>
              <a:gd name="connsiteX78" fmla="*/ 569148 w 865308"/>
              <a:gd name="connsiteY78" fmla="*/ 543020 h 824865"/>
              <a:gd name="connsiteX79" fmla="*/ 571434 w 865308"/>
              <a:gd name="connsiteY79" fmla="*/ 542735 h 824865"/>
              <a:gd name="connsiteX80" fmla="*/ 576863 w 865308"/>
              <a:gd name="connsiteY80" fmla="*/ 533495 h 824865"/>
              <a:gd name="connsiteX81" fmla="*/ 588293 w 865308"/>
              <a:gd name="connsiteY81" fmla="*/ 487204 h 824865"/>
              <a:gd name="connsiteX82" fmla="*/ 607438 w 865308"/>
              <a:gd name="connsiteY82" fmla="*/ 538163 h 824865"/>
              <a:gd name="connsiteX83" fmla="*/ 613820 w 865308"/>
              <a:gd name="connsiteY83" fmla="*/ 558165 h 824865"/>
              <a:gd name="connsiteX84" fmla="*/ 596580 w 865308"/>
              <a:gd name="connsiteY84" fmla="*/ 584835 h 824865"/>
              <a:gd name="connsiteX85" fmla="*/ 572291 w 865308"/>
              <a:gd name="connsiteY85" fmla="*/ 577882 h 824865"/>
              <a:gd name="connsiteX86" fmla="*/ 562861 w 865308"/>
              <a:gd name="connsiteY86" fmla="*/ 585026 h 824865"/>
              <a:gd name="connsiteX87" fmla="*/ 570005 w 865308"/>
              <a:gd name="connsiteY87" fmla="*/ 596932 h 824865"/>
              <a:gd name="connsiteX88" fmla="*/ 596484 w 865308"/>
              <a:gd name="connsiteY88" fmla="*/ 604457 h 824865"/>
              <a:gd name="connsiteX89" fmla="*/ 602771 w 865308"/>
              <a:gd name="connsiteY89" fmla="*/ 620935 h 824865"/>
              <a:gd name="connsiteX90" fmla="*/ 606390 w 865308"/>
              <a:gd name="connsiteY90" fmla="*/ 631126 h 824865"/>
              <a:gd name="connsiteX91" fmla="*/ 612867 w 865308"/>
              <a:gd name="connsiteY91" fmla="*/ 643414 h 824865"/>
              <a:gd name="connsiteX92" fmla="*/ 617439 w 865308"/>
              <a:gd name="connsiteY92" fmla="*/ 643604 h 824865"/>
              <a:gd name="connsiteX93" fmla="*/ 622773 w 865308"/>
              <a:gd name="connsiteY93" fmla="*/ 637127 h 824865"/>
              <a:gd name="connsiteX94" fmla="*/ 617154 w 865308"/>
              <a:gd name="connsiteY94" fmla="*/ 612934 h 824865"/>
              <a:gd name="connsiteX95" fmla="*/ 612010 w 865308"/>
              <a:gd name="connsiteY95" fmla="*/ 595408 h 824865"/>
              <a:gd name="connsiteX96" fmla="*/ 620868 w 865308"/>
              <a:gd name="connsiteY96" fmla="*/ 578263 h 824865"/>
              <a:gd name="connsiteX97" fmla="*/ 679447 w 865308"/>
              <a:gd name="connsiteY97" fmla="*/ 657035 h 824865"/>
              <a:gd name="connsiteX98" fmla="*/ 685543 w 865308"/>
              <a:gd name="connsiteY98" fmla="*/ 657987 h 824865"/>
              <a:gd name="connsiteX99" fmla="*/ 690401 w 865308"/>
              <a:gd name="connsiteY99" fmla="*/ 653224 h 824865"/>
              <a:gd name="connsiteX100" fmla="*/ 685924 w 865308"/>
              <a:gd name="connsiteY100" fmla="*/ 639890 h 824865"/>
              <a:gd name="connsiteX101" fmla="*/ 658206 w 865308"/>
              <a:gd name="connsiteY101" fmla="*/ 614172 h 824865"/>
              <a:gd name="connsiteX102" fmla="*/ 688401 w 865308"/>
              <a:gd name="connsiteY102" fmla="*/ 607695 h 824865"/>
              <a:gd name="connsiteX103" fmla="*/ 713356 w 865308"/>
              <a:gd name="connsiteY103" fmla="*/ 611600 h 824865"/>
              <a:gd name="connsiteX104" fmla="*/ 713832 w 865308"/>
              <a:gd name="connsiteY104" fmla="*/ 611505 h 824865"/>
              <a:gd name="connsiteX105" fmla="*/ 718976 w 865308"/>
              <a:gd name="connsiteY105" fmla="*/ 600170 h 824865"/>
              <a:gd name="connsiteX106" fmla="*/ 708594 w 865308"/>
              <a:gd name="connsiteY106" fmla="*/ 592360 h 824865"/>
              <a:gd name="connsiteX107" fmla="*/ 694306 w 865308"/>
              <a:gd name="connsiteY107" fmla="*/ 590264 h 824865"/>
              <a:gd name="connsiteX108" fmla="*/ 692115 w 865308"/>
              <a:gd name="connsiteY108" fmla="*/ 589026 h 824865"/>
              <a:gd name="connsiteX109" fmla="*/ 705546 w 865308"/>
              <a:gd name="connsiteY109" fmla="*/ 567499 h 824865"/>
              <a:gd name="connsiteX110" fmla="*/ 703355 w 865308"/>
              <a:gd name="connsiteY110" fmla="*/ 553688 h 824865"/>
              <a:gd name="connsiteX111" fmla="*/ 691734 w 865308"/>
              <a:gd name="connsiteY111" fmla="*/ 554831 h 824865"/>
              <a:gd name="connsiteX112" fmla="*/ 671922 w 865308"/>
              <a:gd name="connsiteY112" fmla="*/ 586549 h 824865"/>
              <a:gd name="connsiteX113" fmla="*/ 647729 w 865308"/>
              <a:gd name="connsiteY113" fmla="*/ 597503 h 824865"/>
              <a:gd name="connsiteX114" fmla="*/ 631727 w 865308"/>
              <a:gd name="connsiteY114" fmla="*/ 559784 h 824865"/>
              <a:gd name="connsiteX115" fmla="*/ 631536 w 865308"/>
              <a:gd name="connsiteY115" fmla="*/ 559308 h 824865"/>
              <a:gd name="connsiteX116" fmla="*/ 623154 w 865308"/>
              <a:gd name="connsiteY116" fmla="*/ 533400 h 824865"/>
              <a:gd name="connsiteX117" fmla="*/ 620011 w 865308"/>
              <a:gd name="connsiteY117" fmla="*/ 523494 h 824865"/>
              <a:gd name="connsiteX118" fmla="*/ 639537 w 865308"/>
              <a:gd name="connsiteY118" fmla="*/ 509588 h 824865"/>
              <a:gd name="connsiteX119" fmla="*/ 654015 w 865308"/>
              <a:gd name="connsiteY119" fmla="*/ 521875 h 824865"/>
              <a:gd name="connsiteX120" fmla="*/ 663445 w 865308"/>
              <a:gd name="connsiteY120" fmla="*/ 526256 h 824865"/>
              <a:gd name="connsiteX121" fmla="*/ 665731 w 865308"/>
              <a:gd name="connsiteY121" fmla="*/ 525113 h 824865"/>
              <a:gd name="connsiteX122" fmla="*/ 667160 w 865308"/>
              <a:gd name="connsiteY122" fmla="*/ 511588 h 824865"/>
              <a:gd name="connsiteX123" fmla="*/ 640204 w 865308"/>
              <a:gd name="connsiteY123" fmla="*/ 490252 h 824865"/>
              <a:gd name="connsiteX124" fmla="*/ 639156 w 865308"/>
              <a:gd name="connsiteY124" fmla="*/ 461010 h 824865"/>
              <a:gd name="connsiteX125" fmla="*/ 630489 w 865308"/>
              <a:gd name="connsiteY125" fmla="*/ 450628 h 824865"/>
              <a:gd name="connsiteX126" fmla="*/ 622488 w 865308"/>
              <a:gd name="connsiteY126" fmla="*/ 459772 h 824865"/>
              <a:gd name="connsiteX127" fmla="*/ 623726 w 865308"/>
              <a:gd name="connsiteY127" fmla="*/ 493681 h 824865"/>
              <a:gd name="connsiteX128" fmla="*/ 612867 w 865308"/>
              <a:gd name="connsiteY128" fmla="*/ 502349 h 824865"/>
              <a:gd name="connsiteX129" fmla="*/ 601533 w 865308"/>
              <a:gd name="connsiteY129" fmla="*/ 476917 h 824865"/>
              <a:gd name="connsiteX130" fmla="*/ 56607 w 865308"/>
              <a:gd name="connsiteY130" fmla="*/ 425101 h 824865"/>
              <a:gd name="connsiteX131" fmla="*/ 135379 w 865308"/>
              <a:gd name="connsiteY131" fmla="*/ 423196 h 824865"/>
              <a:gd name="connsiteX132" fmla="*/ 94326 w 865308"/>
              <a:gd name="connsiteY132" fmla="*/ 355949 h 824865"/>
              <a:gd name="connsiteX133" fmla="*/ 84230 w 865308"/>
              <a:gd name="connsiteY133" fmla="*/ 374523 h 824865"/>
              <a:gd name="connsiteX134" fmla="*/ 23365 w 865308"/>
              <a:gd name="connsiteY134" fmla="*/ 341281 h 824865"/>
              <a:gd name="connsiteX135" fmla="*/ 1934 w 865308"/>
              <a:gd name="connsiteY135" fmla="*/ 347567 h 824865"/>
              <a:gd name="connsiteX136" fmla="*/ 8220 w 865308"/>
              <a:gd name="connsiteY136" fmla="*/ 368999 h 824865"/>
              <a:gd name="connsiteX137" fmla="*/ 69180 w 865308"/>
              <a:gd name="connsiteY137" fmla="*/ 402241 h 824865"/>
              <a:gd name="connsiteX138" fmla="*/ 56703 w 865308"/>
              <a:gd name="connsiteY138" fmla="*/ 425101 h 824865"/>
              <a:gd name="connsiteX139" fmla="*/ 739264 w 865308"/>
              <a:gd name="connsiteY139" fmla="*/ 462820 h 824865"/>
              <a:gd name="connsiteX140" fmla="*/ 716023 w 865308"/>
              <a:gd name="connsiteY140" fmla="*/ 461105 h 824865"/>
              <a:gd name="connsiteX141" fmla="*/ 696021 w 865308"/>
              <a:gd name="connsiteY141" fmla="*/ 449580 h 824865"/>
              <a:gd name="connsiteX142" fmla="*/ 691925 w 865308"/>
              <a:gd name="connsiteY142" fmla="*/ 415004 h 824865"/>
              <a:gd name="connsiteX143" fmla="*/ 717166 w 865308"/>
              <a:gd name="connsiteY143" fmla="*/ 373190 h 824865"/>
              <a:gd name="connsiteX144" fmla="*/ 734883 w 865308"/>
              <a:gd name="connsiteY144" fmla="*/ 328994 h 824865"/>
              <a:gd name="connsiteX145" fmla="*/ 576006 w 865308"/>
              <a:gd name="connsiteY145" fmla="*/ 174784 h 824865"/>
              <a:gd name="connsiteX146" fmla="*/ 502473 w 865308"/>
              <a:gd name="connsiteY146" fmla="*/ 202311 h 824865"/>
              <a:gd name="connsiteX147" fmla="*/ 485613 w 865308"/>
              <a:gd name="connsiteY147" fmla="*/ 161354 h 824865"/>
              <a:gd name="connsiteX148" fmla="*/ 484185 w 865308"/>
              <a:gd name="connsiteY148" fmla="*/ 118301 h 824865"/>
              <a:gd name="connsiteX149" fmla="*/ 484375 w 865308"/>
              <a:gd name="connsiteY149" fmla="*/ 87535 h 824865"/>
              <a:gd name="connsiteX150" fmla="*/ 484375 w 865308"/>
              <a:gd name="connsiteY150" fmla="*/ 73438 h 824865"/>
              <a:gd name="connsiteX151" fmla="*/ 484375 w 865308"/>
              <a:gd name="connsiteY151" fmla="*/ 13335 h 824865"/>
              <a:gd name="connsiteX152" fmla="*/ 471231 w 865308"/>
              <a:gd name="connsiteY152" fmla="*/ 190 h 824865"/>
              <a:gd name="connsiteX153" fmla="*/ 458086 w 865308"/>
              <a:gd name="connsiteY153" fmla="*/ 13335 h 824865"/>
              <a:gd name="connsiteX154" fmla="*/ 458086 w 865308"/>
              <a:gd name="connsiteY154" fmla="*/ 73438 h 824865"/>
              <a:gd name="connsiteX155" fmla="*/ 458086 w 865308"/>
              <a:gd name="connsiteY155" fmla="*/ 87725 h 824865"/>
              <a:gd name="connsiteX156" fmla="*/ 457991 w 865308"/>
              <a:gd name="connsiteY156" fmla="*/ 117348 h 824865"/>
              <a:gd name="connsiteX157" fmla="*/ 459896 w 865308"/>
              <a:gd name="connsiteY157" fmla="*/ 166497 h 824865"/>
              <a:gd name="connsiteX158" fmla="*/ 555717 w 865308"/>
              <a:gd name="connsiteY158" fmla="*/ 280321 h 824865"/>
              <a:gd name="connsiteX159" fmla="*/ 579530 w 865308"/>
              <a:gd name="connsiteY159" fmla="*/ 291370 h 824865"/>
              <a:gd name="connsiteX160" fmla="*/ 584578 w 865308"/>
              <a:gd name="connsiteY160" fmla="*/ 292418 h 824865"/>
              <a:gd name="connsiteX161" fmla="*/ 596770 w 865308"/>
              <a:gd name="connsiteY161" fmla="*/ 284321 h 824865"/>
              <a:gd name="connsiteX162" fmla="*/ 589626 w 865308"/>
              <a:gd name="connsiteY162" fmla="*/ 267081 h 824865"/>
              <a:gd name="connsiteX163" fmla="*/ 567909 w 865308"/>
              <a:gd name="connsiteY163" fmla="*/ 256984 h 824865"/>
              <a:gd name="connsiteX164" fmla="*/ 520475 w 865308"/>
              <a:gd name="connsiteY164" fmla="*/ 223361 h 824865"/>
              <a:gd name="connsiteX165" fmla="*/ 570100 w 865308"/>
              <a:gd name="connsiteY165" fmla="*/ 200311 h 824865"/>
              <a:gd name="connsiteX166" fmla="*/ 709546 w 865308"/>
              <a:gd name="connsiteY166" fmla="*/ 337376 h 824865"/>
              <a:gd name="connsiteX167" fmla="*/ 695735 w 865308"/>
              <a:gd name="connsiteY167" fmla="*/ 358140 h 824865"/>
              <a:gd name="connsiteX168" fmla="*/ 666969 w 865308"/>
              <a:gd name="connsiteY168" fmla="*/ 407289 h 824865"/>
              <a:gd name="connsiteX169" fmla="*/ 672875 w 865308"/>
              <a:gd name="connsiteY169" fmla="*/ 461677 h 824865"/>
              <a:gd name="connsiteX170" fmla="*/ 709927 w 865308"/>
              <a:gd name="connsiteY170" fmla="*/ 486632 h 824865"/>
              <a:gd name="connsiteX171" fmla="*/ 738597 w 865308"/>
              <a:gd name="connsiteY171" fmla="*/ 489109 h 824865"/>
              <a:gd name="connsiteX172" fmla="*/ 780031 w 865308"/>
              <a:gd name="connsiteY172" fmla="*/ 494062 h 824865"/>
              <a:gd name="connsiteX173" fmla="*/ 784222 w 865308"/>
              <a:gd name="connsiteY173" fmla="*/ 771144 h 824865"/>
              <a:gd name="connsiteX174" fmla="*/ 759267 w 865308"/>
              <a:gd name="connsiteY174" fmla="*/ 797338 h 824865"/>
              <a:gd name="connsiteX175" fmla="*/ 623059 w 865308"/>
              <a:gd name="connsiteY175" fmla="*/ 714470 h 824865"/>
              <a:gd name="connsiteX176" fmla="*/ 571148 w 865308"/>
              <a:gd name="connsiteY176" fmla="*/ 670655 h 824865"/>
              <a:gd name="connsiteX177" fmla="*/ 492852 w 865308"/>
              <a:gd name="connsiteY177" fmla="*/ 547878 h 824865"/>
              <a:gd name="connsiteX178" fmla="*/ 491043 w 865308"/>
              <a:gd name="connsiteY178" fmla="*/ 506349 h 824865"/>
              <a:gd name="connsiteX179" fmla="*/ 489042 w 865308"/>
              <a:gd name="connsiteY179" fmla="*/ 396431 h 824865"/>
              <a:gd name="connsiteX180" fmla="*/ 496281 w 865308"/>
              <a:gd name="connsiteY180" fmla="*/ 330518 h 824865"/>
              <a:gd name="connsiteX181" fmla="*/ 533429 w 865308"/>
              <a:gd name="connsiteY181" fmla="*/ 358902 h 824865"/>
              <a:gd name="connsiteX182" fmla="*/ 541525 w 865308"/>
              <a:gd name="connsiteY182" fmla="*/ 361664 h 824865"/>
              <a:gd name="connsiteX183" fmla="*/ 551907 w 865308"/>
              <a:gd name="connsiteY183" fmla="*/ 356616 h 824865"/>
              <a:gd name="connsiteX184" fmla="*/ 549621 w 865308"/>
              <a:gd name="connsiteY184" fmla="*/ 338137 h 824865"/>
              <a:gd name="connsiteX185" fmla="*/ 462182 w 865308"/>
              <a:gd name="connsiteY185" fmla="*/ 275749 h 824865"/>
              <a:gd name="connsiteX186" fmla="*/ 413128 w 865308"/>
              <a:gd name="connsiteY186" fmla="*/ 275463 h 824865"/>
              <a:gd name="connsiteX187" fmla="*/ 328641 w 865308"/>
              <a:gd name="connsiteY187" fmla="*/ 334328 h 824865"/>
              <a:gd name="connsiteX188" fmla="*/ 326736 w 865308"/>
              <a:gd name="connsiteY188" fmla="*/ 352806 h 824865"/>
              <a:gd name="connsiteX189" fmla="*/ 345215 w 865308"/>
              <a:gd name="connsiteY189" fmla="*/ 354711 h 824865"/>
              <a:gd name="connsiteX190" fmla="*/ 377886 w 865308"/>
              <a:gd name="connsiteY190" fmla="*/ 329279 h 824865"/>
              <a:gd name="connsiteX191" fmla="*/ 384839 w 865308"/>
              <a:gd name="connsiteY191" fmla="*/ 395954 h 824865"/>
              <a:gd name="connsiteX192" fmla="*/ 381029 w 865308"/>
              <a:gd name="connsiteY192" fmla="*/ 547878 h 824865"/>
              <a:gd name="connsiteX193" fmla="*/ 302733 w 865308"/>
              <a:gd name="connsiteY193" fmla="*/ 670655 h 824865"/>
              <a:gd name="connsiteX194" fmla="*/ 250822 w 865308"/>
              <a:gd name="connsiteY194" fmla="*/ 714470 h 824865"/>
              <a:gd name="connsiteX195" fmla="*/ 114615 w 865308"/>
              <a:gd name="connsiteY195" fmla="*/ 797338 h 824865"/>
              <a:gd name="connsiteX196" fmla="*/ 89659 w 865308"/>
              <a:gd name="connsiteY196" fmla="*/ 771144 h 824865"/>
              <a:gd name="connsiteX197" fmla="*/ 93850 w 865308"/>
              <a:gd name="connsiteY197" fmla="*/ 494062 h 824865"/>
              <a:gd name="connsiteX198" fmla="*/ 135284 w 865308"/>
              <a:gd name="connsiteY198" fmla="*/ 489109 h 824865"/>
              <a:gd name="connsiteX199" fmla="*/ 163954 w 865308"/>
              <a:gd name="connsiteY199" fmla="*/ 486632 h 824865"/>
              <a:gd name="connsiteX200" fmla="*/ 201006 w 865308"/>
              <a:gd name="connsiteY200" fmla="*/ 461677 h 824865"/>
              <a:gd name="connsiteX201" fmla="*/ 206912 w 865308"/>
              <a:gd name="connsiteY201" fmla="*/ 407289 h 824865"/>
              <a:gd name="connsiteX202" fmla="*/ 178051 w 865308"/>
              <a:gd name="connsiteY202" fmla="*/ 358045 h 824865"/>
              <a:gd name="connsiteX203" fmla="*/ 164240 w 865308"/>
              <a:gd name="connsiteY203" fmla="*/ 337280 h 824865"/>
              <a:gd name="connsiteX204" fmla="*/ 303686 w 865308"/>
              <a:gd name="connsiteY204" fmla="*/ 200215 h 824865"/>
              <a:gd name="connsiteX205" fmla="*/ 353311 w 865308"/>
              <a:gd name="connsiteY205" fmla="*/ 223361 h 824865"/>
              <a:gd name="connsiteX206" fmla="*/ 305781 w 865308"/>
              <a:gd name="connsiteY206" fmla="*/ 256889 h 824865"/>
              <a:gd name="connsiteX207" fmla="*/ 284064 w 865308"/>
              <a:gd name="connsiteY207" fmla="*/ 266986 h 824865"/>
              <a:gd name="connsiteX208" fmla="*/ 276921 w 865308"/>
              <a:gd name="connsiteY208" fmla="*/ 284131 h 824865"/>
              <a:gd name="connsiteX209" fmla="*/ 289113 w 865308"/>
              <a:gd name="connsiteY209" fmla="*/ 292227 h 824865"/>
              <a:gd name="connsiteX210" fmla="*/ 294161 w 865308"/>
              <a:gd name="connsiteY210" fmla="*/ 291179 h 824865"/>
              <a:gd name="connsiteX211" fmla="*/ 317878 w 865308"/>
              <a:gd name="connsiteY211" fmla="*/ 280130 h 824865"/>
              <a:gd name="connsiteX212" fmla="*/ 413890 w 865308"/>
              <a:gd name="connsiteY212" fmla="*/ 165354 h 824865"/>
              <a:gd name="connsiteX213" fmla="*/ 415700 w 865308"/>
              <a:gd name="connsiteY213" fmla="*/ 117062 h 824865"/>
              <a:gd name="connsiteX214" fmla="*/ 415605 w 865308"/>
              <a:gd name="connsiteY214" fmla="*/ 87440 h 824865"/>
              <a:gd name="connsiteX215" fmla="*/ 415605 w 865308"/>
              <a:gd name="connsiteY215" fmla="*/ 73152 h 824865"/>
              <a:gd name="connsiteX216" fmla="*/ 415605 w 865308"/>
              <a:gd name="connsiteY216" fmla="*/ 13144 h 824865"/>
              <a:gd name="connsiteX217" fmla="*/ 402460 w 865308"/>
              <a:gd name="connsiteY217" fmla="*/ 0 h 824865"/>
              <a:gd name="connsiteX218" fmla="*/ 389316 w 865308"/>
              <a:gd name="connsiteY218" fmla="*/ 13144 h 824865"/>
              <a:gd name="connsiteX219" fmla="*/ 389316 w 865308"/>
              <a:gd name="connsiteY219" fmla="*/ 73247 h 824865"/>
              <a:gd name="connsiteX220" fmla="*/ 389316 w 865308"/>
              <a:gd name="connsiteY220" fmla="*/ 87344 h 824865"/>
              <a:gd name="connsiteX221" fmla="*/ 389506 w 865308"/>
              <a:gd name="connsiteY221" fmla="*/ 118015 h 824865"/>
              <a:gd name="connsiteX222" fmla="*/ 387887 w 865308"/>
              <a:gd name="connsiteY222" fmla="*/ 161925 h 824865"/>
              <a:gd name="connsiteX223" fmla="*/ 371218 w 865308"/>
              <a:gd name="connsiteY223" fmla="*/ 202216 h 824865"/>
              <a:gd name="connsiteX224" fmla="*/ 297590 w 865308"/>
              <a:gd name="connsiteY224" fmla="*/ 174593 h 824865"/>
              <a:gd name="connsiteX225" fmla="*/ 138713 w 865308"/>
              <a:gd name="connsiteY225" fmla="*/ 328803 h 824865"/>
              <a:gd name="connsiteX226" fmla="*/ 156429 w 865308"/>
              <a:gd name="connsiteY226" fmla="*/ 372999 h 824865"/>
              <a:gd name="connsiteX227" fmla="*/ 181671 w 865308"/>
              <a:gd name="connsiteY227" fmla="*/ 414909 h 824865"/>
              <a:gd name="connsiteX228" fmla="*/ 177575 w 865308"/>
              <a:gd name="connsiteY228" fmla="*/ 449580 h 824865"/>
              <a:gd name="connsiteX229" fmla="*/ 157572 w 865308"/>
              <a:gd name="connsiteY229" fmla="*/ 461105 h 824865"/>
              <a:gd name="connsiteX230" fmla="*/ 134331 w 865308"/>
              <a:gd name="connsiteY230" fmla="*/ 462820 h 824865"/>
              <a:gd name="connsiteX231" fmla="*/ 69371 w 865308"/>
              <a:gd name="connsiteY231" fmla="*/ 484251 h 824865"/>
              <a:gd name="connsiteX232" fmla="*/ 66228 w 865308"/>
              <a:gd name="connsiteY232" fmla="*/ 783146 h 824865"/>
              <a:gd name="connsiteX233" fmla="*/ 106899 w 865308"/>
              <a:gd name="connsiteY233" fmla="*/ 822484 h 824865"/>
              <a:gd name="connsiteX234" fmla="*/ 123092 w 865308"/>
              <a:gd name="connsiteY234" fmla="*/ 824865 h 824865"/>
              <a:gd name="connsiteX235" fmla="*/ 268443 w 865308"/>
              <a:gd name="connsiteY235" fmla="*/ 733997 h 824865"/>
              <a:gd name="connsiteX236" fmla="*/ 317878 w 865308"/>
              <a:gd name="connsiteY236" fmla="*/ 692182 h 824865"/>
              <a:gd name="connsiteX237" fmla="*/ 407413 w 865308"/>
              <a:gd name="connsiteY237" fmla="*/ 548926 h 824865"/>
              <a:gd name="connsiteX238" fmla="*/ 411223 w 865308"/>
              <a:gd name="connsiteY238" fmla="*/ 395478 h 824865"/>
              <a:gd name="connsiteX239" fmla="*/ 401603 w 865308"/>
              <a:gd name="connsiteY239" fmla="*/ 312230 h 824865"/>
              <a:gd name="connsiteX240" fmla="*/ 421796 w 865308"/>
              <a:gd name="connsiteY240" fmla="*/ 300228 h 824865"/>
              <a:gd name="connsiteX241" fmla="*/ 452085 w 865308"/>
              <a:gd name="connsiteY241" fmla="*/ 299942 h 824865"/>
              <a:gd name="connsiteX242" fmla="*/ 472564 w 865308"/>
              <a:gd name="connsiteY242" fmla="*/ 313087 h 824865"/>
              <a:gd name="connsiteX243" fmla="*/ 462944 w 865308"/>
              <a:gd name="connsiteY243" fmla="*/ 395002 h 824865"/>
              <a:gd name="connsiteX244" fmla="*/ 464944 w 865308"/>
              <a:gd name="connsiteY244" fmla="*/ 507492 h 824865"/>
              <a:gd name="connsiteX245" fmla="*/ 466754 w 865308"/>
              <a:gd name="connsiteY245" fmla="*/ 548926 h 824865"/>
              <a:gd name="connsiteX246" fmla="*/ 556194 w 865308"/>
              <a:gd name="connsiteY246" fmla="*/ 692182 h 824865"/>
              <a:gd name="connsiteX247" fmla="*/ 605628 w 865308"/>
              <a:gd name="connsiteY247" fmla="*/ 733997 h 824865"/>
              <a:gd name="connsiteX248" fmla="*/ 750980 w 865308"/>
              <a:gd name="connsiteY248" fmla="*/ 824865 h 824865"/>
              <a:gd name="connsiteX249" fmla="*/ 767172 w 865308"/>
              <a:gd name="connsiteY249" fmla="*/ 822484 h 824865"/>
              <a:gd name="connsiteX250" fmla="*/ 807844 w 865308"/>
              <a:gd name="connsiteY250" fmla="*/ 783146 h 824865"/>
              <a:gd name="connsiteX251" fmla="*/ 804701 w 865308"/>
              <a:gd name="connsiteY251" fmla="*/ 484251 h 824865"/>
              <a:gd name="connsiteX252" fmla="*/ 739740 w 865308"/>
              <a:gd name="connsiteY252" fmla="*/ 462820 h 824865"/>
              <a:gd name="connsiteX253" fmla="*/ 863375 w 865308"/>
              <a:gd name="connsiteY253" fmla="*/ 352139 h 824865"/>
              <a:gd name="connsiteX254" fmla="*/ 841944 w 865308"/>
              <a:gd name="connsiteY254" fmla="*/ 345853 h 824865"/>
              <a:gd name="connsiteX255" fmla="*/ 789556 w 865308"/>
              <a:gd name="connsiteY255" fmla="*/ 374618 h 824865"/>
              <a:gd name="connsiteX256" fmla="*/ 779269 w 865308"/>
              <a:gd name="connsiteY256" fmla="*/ 355949 h 824865"/>
              <a:gd name="connsiteX257" fmla="*/ 738407 w 865308"/>
              <a:gd name="connsiteY257" fmla="*/ 423291 h 824865"/>
              <a:gd name="connsiteX258" fmla="*/ 817083 w 865308"/>
              <a:gd name="connsiteY258" fmla="*/ 425101 h 824865"/>
              <a:gd name="connsiteX259" fmla="*/ 804701 w 865308"/>
              <a:gd name="connsiteY259" fmla="*/ 402431 h 824865"/>
              <a:gd name="connsiteX260" fmla="*/ 857088 w 865308"/>
              <a:gd name="connsiteY260" fmla="*/ 373666 h 824865"/>
              <a:gd name="connsiteX261" fmla="*/ 863375 w 865308"/>
              <a:gd name="connsiteY261" fmla="*/ 352234 h 824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</a:cxnLst>
            <a:rect l="l" t="t" r="r" b="b"/>
            <a:pathLst>
              <a:path w="865308" h="824865">
                <a:moveTo>
                  <a:pt x="337785" y="507968"/>
                </a:moveTo>
                <a:lnTo>
                  <a:pt x="307401" y="513207"/>
                </a:lnTo>
                <a:cubicBezTo>
                  <a:pt x="307972" y="519017"/>
                  <a:pt x="308163" y="525494"/>
                  <a:pt x="307686" y="532543"/>
                </a:cubicBezTo>
                <a:cubicBezTo>
                  <a:pt x="307305" y="537972"/>
                  <a:pt x="303305" y="542449"/>
                  <a:pt x="298733" y="542639"/>
                </a:cubicBezTo>
                <a:cubicBezTo>
                  <a:pt x="297971" y="542639"/>
                  <a:pt x="297209" y="542639"/>
                  <a:pt x="296447" y="542354"/>
                </a:cubicBezTo>
                <a:cubicBezTo>
                  <a:pt x="293018" y="541306"/>
                  <a:pt x="290732" y="537686"/>
                  <a:pt x="291018" y="533114"/>
                </a:cubicBezTo>
                <a:cubicBezTo>
                  <a:pt x="292637" y="508540"/>
                  <a:pt x="285303" y="494157"/>
                  <a:pt x="279492" y="486823"/>
                </a:cubicBezTo>
                <a:cubicBezTo>
                  <a:pt x="272634" y="499586"/>
                  <a:pt x="266919" y="516731"/>
                  <a:pt x="260347" y="537782"/>
                </a:cubicBezTo>
                <a:cubicBezTo>
                  <a:pt x="258252" y="544354"/>
                  <a:pt x="256156" y="551117"/>
                  <a:pt x="253965" y="557784"/>
                </a:cubicBezTo>
                <a:cubicBezTo>
                  <a:pt x="263109" y="566547"/>
                  <a:pt x="268824" y="575405"/>
                  <a:pt x="271206" y="584454"/>
                </a:cubicBezTo>
                <a:lnTo>
                  <a:pt x="295494" y="577501"/>
                </a:lnTo>
                <a:cubicBezTo>
                  <a:pt x="300066" y="576167"/>
                  <a:pt x="304257" y="579406"/>
                  <a:pt x="304924" y="584645"/>
                </a:cubicBezTo>
                <a:cubicBezTo>
                  <a:pt x="305591" y="589883"/>
                  <a:pt x="302352" y="595217"/>
                  <a:pt x="297780" y="596551"/>
                </a:cubicBezTo>
                <a:lnTo>
                  <a:pt x="271301" y="604076"/>
                </a:lnTo>
                <a:cubicBezTo>
                  <a:pt x="269777" y="610457"/>
                  <a:pt x="267205" y="616077"/>
                  <a:pt x="265014" y="620554"/>
                </a:cubicBezTo>
                <a:cubicBezTo>
                  <a:pt x="263205" y="624459"/>
                  <a:pt x="261014" y="628936"/>
                  <a:pt x="261395" y="630746"/>
                </a:cubicBezTo>
                <a:cubicBezTo>
                  <a:pt x="262347" y="635889"/>
                  <a:pt x="259395" y="641414"/>
                  <a:pt x="254918" y="643033"/>
                </a:cubicBezTo>
                <a:cubicBezTo>
                  <a:pt x="253394" y="643604"/>
                  <a:pt x="251775" y="643604"/>
                  <a:pt x="250346" y="643223"/>
                </a:cubicBezTo>
                <a:cubicBezTo>
                  <a:pt x="247679" y="642461"/>
                  <a:pt x="245679" y="640080"/>
                  <a:pt x="245012" y="636746"/>
                </a:cubicBezTo>
                <a:cubicBezTo>
                  <a:pt x="243393" y="627697"/>
                  <a:pt x="247298" y="619601"/>
                  <a:pt x="250632" y="612553"/>
                </a:cubicBezTo>
                <a:cubicBezTo>
                  <a:pt x="253584" y="606266"/>
                  <a:pt x="256251" y="600837"/>
                  <a:pt x="255775" y="595027"/>
                </a:cubicBezTo>
                <a:cubicBezTo>
                  <a:pt x="255299" y="589693"/>
                  <a:pt x="252346" y="583978"/>
                  <a:pt x="246917" y="577882"/>
                </a:cubicBezTo>
                <a:cubicBezTo>
                  <a:pt x="235011" y="608743"/>
                  <a:pt x="218437" y="638175"/>
                  <a:pt x="188338" y="656654"/>
                </a:cubicBezTo>
                <a:cubicBezTo>
                  <a:pt x="186338" y="657892"/>
                  <a:pt x="184147" y="658178"/>
                  <a:pt x="182242" y="657606"/>
                </a:cubicBezTo>
                <a:cubicBezTo>
                  <a:pt x="180147" y="656939"/>
                  <a:pt x="178337" y="655320"/>
                  <a:pt x="177384" y="652844"/>
                </a:cubicBezTo>
                <a:cubicBezTo>
                  <a:pt x="175575" y="648081"/>
                  <a:pt x="177670" y="642176"/>
                  <a:pt x="181861" y="639509"/>
                </a:cubicBezTo>
                <a:cubicBezTo>
                  <a:pt x="193101" y="632651"/>
                  <a:pt x="202054" y="623888"/>
                  <a:pt x="209579" y="613791"/>
                </a:cubicBezTo>
                <a:cubicBezTo>
                  <a:pt x="189005" y="601885"/>
                  <a:pt x="184338" y="604552"/>
                  <a:pt x="179385" y="607314"/>
                </a:cubicBezTo>
                <a:cubicBezTo>
                  <a:pt x="174336" y="610172"/>
                  <a:pt x="167383" y="614077"/>
                  <a:pt x="154429" y="611219"/>
                </a:cubicBezTo>
                <a:cubicBezTo>
                  <a:pt x="154239" y="611219"/>
                  <a:pt x="154143" y="611219"/>
                  <a:pt x="153953" y="611124"/>
                </a:cubicBezTo>
                <a:cubicBezTo>
                  <a:pt x="149857" y="609886"/>
                  <a:pt x="147571" y="604933"/>
                  <a:pt x="148809" y="599789"/>
                </a:cubicBezTo>
                <a:cubicBezTo>
                  <a:pt x="150143" y="594455"/>
                  <a:pt x="154810" y="591026"/>
                  <a:pt x="159192" y="591979"/>
                </a:cubicBezTo>
                <a:cubicBezTo>
                  <a:pt x="166716" y="593693"/>
                  <a:pt x="169383" y="592169"/>
                  <a:pt x="173479" y="589883"/>
                </a:cubicBezTo>
                <a:cubicBezTo>
                  <a:pt x="174241" y="589502"/>
                  <a:pt x="175003" y="589026"/>
                  <a:pt x="175670" y="588645"/>
                </a:cubicBezTo>
                <a:lnTo>
                  <a:pt x="162240" y="567119"/>
                </a:lnTo>
                <a:cubicBezTo>
                  <a:pt x="159668" y="563023"/>
                  <a:pt x="160716" y="556832"/>
                  <a:pt x="164526" y="553307"/>
                </a:cubicBezTo>
                <a:cubicBezTo>
                  <a:pt x="168336" y="549783"/>
                  <a:pt x="173574" y="550355"/>
                  <a:pt x="176146" y="554450"/>
                </a:cubicBezTo>
                <a:lnTo>
                  <a:pt x="195958" y="586169"/>
                </a:lnTo>
                <a:cubicBezTo>
                  <a:pt x="202149" y="587693"/>
                  <a:pt x="209865" y="591026"/>
                  <a:pt x="220152" y="597122"/>
                </a:cubicBezTo>
                <a:cubicBezTo>
                  <a:pt x="226533" y="585311"/>
                  <a:pt x="231677" y="572548"/>
                  <a:pt x="236154" y="559403"/>
                </a:cubicBezTo>
                <a:cubicBezTo>
                  <a:pt x="236154" y="559213"/>
                  <a:pt x="236249" y="559022"/>
                  <a:pt x="236344" y="558927"/>
                </a:cubicBezTo>
                <a:cubicBezTo>
                  <a:pt x="239297" y="550355"/>
                  <a:pt x="242059" y="541592"/>
                  <a:pt x="244726" y="533019"/>
                </a:cubicBezTo>
                <a:cubicBezTo>
                  <a:pt x="245774" y="529685"/>
                  <a:pt x="246822" y="526351"/>
                  <a:pt x="247869" y="523113"/>
                </a:cubicBezTo>
                <a:cubicBezTo>
                  <a:pt x="243774" y="517303"/>
                  <a:pt x="235963" y="508730"/>
                  <a:pt x="228343" y="509207"/>
                </a:cubicBezTo>
                <a:cubicBezTo>
                  <a:pt x="223581" y="509492"/>
                  <a:pt x="218723" y="513588"/>
                  <a:pt x="213865" y="521494"/>
                </a:cubicBezTo>
                <a:cubicBezTo>
                  <a:pt x="211579" y="525209"/>
                  <a:pt x="207674" y="526828"/>
                  <a:pt x="204435" y="525875"/>
                </a:cubicBezTo>
                <a:cubicBezTo>
                  <a:pt x="203673" y="525685"/>
                  <a:pt x="202911" y="525209"/>
                  <a:pt x="202149" y="524732"/>
                </a:cubicBezTo>
                <a:cubicBezTo>
                  <a:pt x="198530" y="521875"/>
                  <a:pt x="197863" y="515874"/>
                  <a:pt x="200721" y="511207"/>
                </a:cubicBezTo>
                <a:cubicBezTo>
                  <a:pt x="208722" y="498253"/>
                  <a:pt x="217675" y="491109"/>
                  <a:pt x="227676" y="489871"/>
                </a:cubicBezTo>
                <a:lnTo>
                  <a:pt x="228724" y="460629"/>
                </a:lnTo>
                <a:cubicBezTo>
                  <a:pt x="228915" y="455200"/>
                  <a:pt x="232820" y="450532"/>
                  <a:pt x="237392" y="450247"/>
                </a:cubicBezTo>
                <a:cubicBezTo>
                  <a:pt x="241964" y="449866"/>
                  <a:pt x="245583" y="453961"/>
                  <a:pt x="245393" y="459391"/>
                </a:cubicBezTo>
                <a:lnTo>
                  <a:pt x="244155" y="493300"/>
                </a:lnTo>
                <a:cubicBezTo>
                  <a:pt x="248346" y="495586"/>
                  <a:pt x="251965" y="498824"/>
                  <a:pt x="255013" y="501968"/>
                </a:cubicBezTo>
                <a:cubicBezTo>
                  <a:pt x="258347" y="492824"/>
                  <a:pt x="262062" y="484251"/>
                  <a:pt x="266348" y="476536"/>
                </a:cubicBezTo>
                <a:cubicBezTo>
                  <a:pt x="268062" y="473488"/>
                  <a:pt x="269872" y="470630"/>
                  <a:pt x="271682" y="467963"/>
                </a:cubicBezTo>
                <a:cubicBezTo>
                  <a:pt x="272158" y="467011"/>
                  <a:pt x="272730" y="466249"/>
                  <a:pt x="273396" y="465582"/>
                </a:cubicBezTo>
                <a:cubicBezTo>
                  <a:pt x="282731" y="453104"/>
                  <a:pt x="293780" y="445580"/>
                  <a:pt x="307020" y="442722"/>
                </a:cubicBezTo>
                <a:cubicBezTo>
                  <a:pt x="311592" y="441674"/>
                  <a:pt x="315592" y="445199"/>
                  <a:pt x="315973" y="450532"/>
                </a:cubicBezTo>
                <a:cubicBezTo>
                  <a:pt x="316354" y="455867"/>
                  <a:pt x="312925" y="461010"/>
                  <a:pt x="308353" y="461963"/>
                </a:cubicBezTo>
                <a:cubicBezTo>
                  <a:pt x="301495" y="463486"/>
                  <a:pt x="295875" y="466630"/>
                  <a:pt x="290922" y="471297"/>
                </a:cubicBezTo>
                <a:cubicBezTo>
                  <a:pt x="295018" y="476250"/>
                  <a:pt x="299971" y="483870"/>
                  <a:pt x="303495" y="494538"/>
                </a:cubicBezTo>
                <a:lnTo>
                  <a:pt x="337023" y="488823"/>
                </a:lnTo>
                <a:cubicBezTo>
                  <a:pt x="341595" y="488061"/>
                  <a:pt x="345501" y="491776"/>
                  <a:pt x="345691" y="497110"/>
                </a:cubicBezTo>
                <a:cubicBezTo>
                  <a:pt x="345882" y="502444"/>
                  <a:pt x="342262" y="507397"/>
                  <a:pt x="337690" y="508254"/>
                </a:cubicBezTo>
                <a:moveTo>
                  <a:pt x="601533" y="476631"/>
                </a:moveTo>
                <a:cubicBezTo>
                  <a:pt x="599818" y="473583"/>
                  <a:pt x="598008" y="470726"/>
                  <a:pt x="596199" y="468059"/>
                </a:cubicBezTo>
                <a:cubicBezTo>
                  <a:pt x="595722" y="467106"/>
                  <a:pt x="595151" y="466344"/>
                  <a:pt x="594484" y="465677"/>
                </a:cubicBezTo>
                <a:cubicBezTo>
                  <a:pt x="585150" y="453199"/>
                  <a:pt x="574101" y="445675"/>
                  <a:pt x="560861" y="442817"/>
                </a:cubicBezTo>
                <a:cubicBezTo>
                  <a:pt x="556289" y="441770"/>
                  <a:pt x="552288" y="445294"/>
                  <a:pt x="551907" y="450628"/>
                </a:cubicBezTo>
                <a:cubicBezTo>
                  <a:pt x="551526" y="455962"/>
                  <a:pt x="554955" y="461105"/>
                  <a:pt x="559527" y="462058"/>
                </a:cubicBezTo>
                <a:cubicBezTo>
                  <a:pt x="566385" y="463582"/>
                  <a:pt x="572005" y="466725"/>
                  <a:pt x="576958" y="471392"/>
                </a:cubicBezTo>
                <a:cubicBezTo>
                  <a:pt x="572862" y="476345"/>
                  <a:pt x="567909" y="483965"/>
                  <a:pt x="564385" y="494633"/>
                </a:cubicBezTo>
                <a:lnTo>
                  <a:pt x="530857" y="488918"/>
                </a:lnTo>
                <a:cubicBezTo>
                  <a:pt x="526285" y="488156"/>
                  <a:pt x="522380" y="491871"/>
                  <a:pt x="522189" y="497205"/>
                </a:cubicBezTo>
                <a:cubicBezTo>
                  <a:pt x="521999" y="502539"/>
                  <a:pt x="525618" y="507492"/>
                  <a:pt x="530190" y="508349"/>
                </a:cubicBezTo>
                <a:lnTo>
                  <a:pt x="560480" y="513588"/>
                </a:lnTo>
                <a:cubicBezTo>
                  <a:pt x="559908" y="519398"/>
                  <a:pt x="559718" y="525875"/>
                  <a:pt x="560194" y="532924"/>
                </a:cubicBezTo>
                <a:cubicBezTo>
                  <a:pt x="560575" y="538353"/>
                  <a:pt x="564576" y="542830"/>
                  <a:pt x="569148" y="543020"/>
                </a:cubicBezTo>
                <a:cubicBezTo>
                  <a:pt x="569910" y="543020"/>
                  <a:pt x="570672" y="543020"/>
                  <a:pt x="571434" y="542735"/>
                </a:cubicBezTo>
                <a:cubicBezTo>
                  <a:pt x="574863" y="541687"/>
                  <a:pt x="577149" y="538067"/>
                  <a:pt x="576863" y="533495"/>
                </a:cubicBezTo>
                <a:cubicBezTo>
                  <a:pt x="575244" y="508921"/>
                  <a:pt x="582578" y="494538"/>
                  <a:pt x="588293" y="487204"/>
                </a:cubicBezTo>
                <a:cubicBezTo>
                  <a:pt x="595151" y="499967"/>
                  <a:pt x="600866" y="517112"/>
                  <a:pt x="607438" y="538163"/>
                </a:cubicBezTo>
                <a:cubicBezTo>
                  <a:pt x="609534" y="544735"/>
                  <a:pt x="611629" y="551497"/>
                  <a:pt x="613820" y="558165"/>
                </a:cubicBezTo>
                <a:cubicBezTo>
                  <a:pt x="604676" y="566928"/>
                  <a:pt x="598961" y="575786"/>
                  <a:pt x="596580" y="584835"/>
                </a:cubicBezTo>
                <a:lnTo>
                  <a:pt x="572291" y="577882"/>
                </a:lnTo>
                <a:cubicBezTo>
                  <a:pt x="567719" y="576548"/>
                  <a:pt x="563528" y="579787"/>
                  <a:pt x="562861" y="585026"/>
                </a:cubicBezTo>
                <a:cubicBezTo>
                  <a:pt x="562194" y="590264"/>
                  <a:pt x="565433" y="595598"/>
                  <a:pt x="570005" y="596932"/>
                </a:cubicBezTo>
                <a:lnTo>
                  <a:pt x="596484" y="604457"/>
                </a:lnTo>
                <a:cubicBezTo>
                  <a:pt x="598008" y="610838"/>
                  <a:pt x="600675" y="616458"/>
                  <a:pt x="602771" y="620935"/>
                </a:cubicBezTo>
                <a:cubicBezTo>
                  <a:pt x="604676" y="624840"/>
                  <a:pt x="606771" y="629317"/>
                  <a:pt x="606390" y="631126"/>
                </a:cubicBezTo>
                <a:cubicBezTo>
                  <a:pt x="605438" y="636270"/>
                  <a:pt x="608391" y="641795"/>
                  <a:pt x="612867" y="643414"/>
                </a:cubicBezTo>
                <a:cubicBezTo>
                  <a:pt x="614391" y="643985"/>
                  <a:pt x="616011" y="643985"/>
                  <a:pt x="617439" y="643604"/>
                </a:cubicBezTo>
                <a:cubicBezTo>
                  <a:pt x="620011" y="642842"/>
                  <a:pt x="622107" y="640461"/>
                  <a:pt x="622773" y="637127"/>
                </a:cubicBezTo>
                <a:cubicBezTo>
                  <a:pt x="624393" y="628079"/>
                  <a:pt x="620487" y="619982"/>
                  <a:pt x="617154" y="612934"/>
                </a:cubicBezTo>
                <a:cubicBezTo>
                  <a:pt x="614201" y="606647"/>
                  <a:pt x="611534" y="601218"/>
                  <a:pt x="612010" y="595408"/>
                </a:cubicBezTo>
                <a:cubicBezTo>
                  <a:pt x="612486" y="590074"/>
                  <a:pt x="615439" y="584359"/>
                  <a:pt x="620868" y="578263"/>
                </a:cubicBezTo>
                <a:cubicBezTo>
                  <a:pt x="632775" y="609124"/>
                  <a:pt x="649348" y="638556"/>
                  <a:pt x="679447" y="657035"/>
                </a:cubicBezTo>
                <a:cubicBezTo>
                  <a:pt x="681447" y="658273"/>
                  <a:pt x="683638" y="658559"/>
                  <a:pt x="685543" y="657987"/>
                </a:cubicBezTo>
                <a:cubicBezTo>
                  <a:pt x="687639" y="657320"/>
                  <a:pt x="689448" y="655701"/>
                  <a:pt x="690401" y="653224"/>
                </a:cubicBezTo>
                <a:cubicBezTo>
                  <a:pt x="692211" y="648462"/>
                  <a:pt x="690210" y="642557"/>
                  <a:pt x="685924" y="639890"/>
                </a:cubicBezTo>
                <a:cubicBezTo>
                  <a:pt x="674685" y="633032"/>
                  <a:pt x="665731" y="624269"/>
                  <a:pt x="658206" y="614172"/>
                </a:cubicBezTo>
                <a:cubicBezTo>
                  <a:pt x="678780" y="602266"/>
                  <a:pt x="683448" y="604933"/>
                  <a:pt x="688401" y="607695"/>
                </a:cubicBezTo>
                <a:cubicBezTo>
                  <a:pt x="693449" y="610553"/>
                  <a:pt x="700402" y="614458"/>
                  <a:pt x="713356" y="611600"/>
                </a:cubicBezTo>
                <a:cubicBezTo>
                  <a:pt x="713547" y="611600"/>
                  <a:pt x="713642" y="611600"/>
                  <a:pt x="713832" y="611505"/>
                </a:cubicBezTo>
                <a:cubicBezTo>
                  <a:pt x="717928" y="610267"/>
                  <a:pt x="720214" y="605314"/>
                  <a:pt x="718976" y="600170"/>
                </a:cubicBezTo>
                <a:cubicBezTo>
                  <a:pt x="717642" y="594836"/>
                  <a:pt x="712975" y="591407"/>
                  <a:pt x="708594" y="592360"/>
                </a:cubicBezTo>
                <a:cubicBezTo>
                  <a:pt x="701069" y="594074"/>
                  <a:pt x="698402" y="592550"/>
                  <a:pt x="694306" y="590264"/>
                </a:cubicBezTo>
                <a:cubicBezTo>
                  <a:pt x="693544" y="589883"/>
                  <a:pt x="692782" y="589407"/>
                  <a:pt x="692115" y="589026"/>
                </a:cubicBezTo>
                <a:lnTo>
                  <a:pt x="705546" y="567499"/>
                </a:lnTo>
                <a:cubicBezTo>
                  <a:pt x="708117" y="563404"/>
                  <a:pt x="707165" y="557213"/>
                  <a:pt x="703355" y="553688"/>
                </a:cubicBezTo>
                <a:cubicBezTo>
                  <a:pt x="699545" y="550164"/>
                  <a:pt x="694401" y="550736"/>
                  <a:pt x="691734" y="554831"/>
                </a:cubicBezTo>
                <a:lnTo>
                  <a:pt x="671922" y="586549"/>
                </a:lnTo>
                <a:cubicBezTo>
                  <a:pt x="665731" y="588074"/>
                  <a:pt x="658016" y="591407"/>
                  <a:pt x="647729" y="597503"/>
                </a:cubicBezTo>
                <a:cubicBezTo>
                  <a:pt x="641347" y="585692"/>
                  <a:pt x="636204" y="572929"/>
                  <a:pt x="631727" y="559784"/>
                </a:cubicBezTo>
                <a:cubicBezTo>
                  <a:pt x="631727" y="559594"/>
                  <a:pt x="631632" y="559403"/>
                  <a:pt x="631536" y="559308"/>
                </a:cubicBezTo>
                <a:cubicBezTo>
                  <a:pt x="628584" y="550736"/>
                  <a:pt x="625821" y="541972"/>
                  <a:pt x="623154" y="533400"/>
                </a:cubicBezTo>
                <a:cubicBezTo>
                  <a:pt x="622107" y="530066"/>
                  <a:pt x="621059" y="526733"/>
                  <a:pt x="620011" y="523494"/>
                </a:cubicBezTo>
                <a:cubicBezTo>
                  <a:pt x="624107" y="517684"/>
                  <a:pt x="631917" y="509111"/>
                  <a:pt x="639537" y="509588"/>
                </a:cubicBezTo>
                <a:cubicBezTo>
                  <a:pt x="644300" y="509873"/>
                  <a:pt x="649158" y="513969"/>
                  <a:pt x="654015" y="521875"/>
                </a:cubicBezTo>
                <a:cubicBezTo>
                  <a:pt x="656301" y="525590"/>
                  <a:pt x="660207" y="527209"/>
                  <a:pt x="663445" y="526256"/>
                </a:cubicBezTo>
                <a:cubicBezTo>
                  <a:pt x="664207" y="526066"/>
                  <a:pt x="664969" y="525590"/>
                  <a:pt x="665731" y="525113"/>
                </a:cubicBezTo>
                <a:cubicBezTo>
                  <a:pt x="669351" y="522256"/>
                  <a:pt x="670017" y="516255"/>
                  <a:pt x="667160" y="511588"/>
                </a:cubicBezTo>
                <a:cubicBezTo>
                  <a:pt x="659159" y="498634"/>
                  <a:pt x="650110" y="491490"/>
                  <a:pt x="640204" y="490252"/>
                </a:cubicBezTo>
                <a:lnTo>
                  <a:pt x="639156" y="461010"/>
                </a:lnTo>
                <a:cubicBezTo>
                  <a:pt x="638966" y="455581"/>
                  <a:pt x="635061" y="450913"/>
                  <a:pt x="630489" y="450628"/>
                </a:cubicBezTo>
                <a:cubicBezTo>
                  <a:pt x="625917" y="450247"/>
                  <a:pt x="622297" y="454343"/>
                  <a:pt x="622488" y="459772"/>
                </a:cubicBezTo>
                <a:lnTo>
                  <a:pt x="623726" y="493681"/>
                </a:lnTo>
                <a:cubicBezTo>
                  <a:pt x="619535" y="495967"/>
                  <a:pt x="615820" y="499205"/>
                  <a:pt x="612867" y="502349"/>
                </a:cubicBezTo>
                <a:cubicBezTo>
                  <a:pt x="609534" y="493205"/>
                  <a:pt x="605819" y="484632"/>
                  <a:pt x="601533" y="476917"/>
                </a:cubicBezTo>
                <a:moveTo>
                  <a:pt x="56607" y="425101"/>
                </a:moveTo>
                <a:lnTo>
                  <a:pt x="135379" y="423196"/>
                </a:lnTo>
                <a:lnTo>
                  <a:pt x="94326" y="355949"/>
                </a:lnTo>
                <a:lnTo>
                  <a:pt x="84230" y="374523"/>
                </a:lnTo>
                <a:lnTo>
                  <a:pt x="23365" y="341281"/>
                </a:lnTo>
                <a:cubicBezTo>
                  <a:pt x="15745" y="337090"/>
                  <a:pt x="6125" y="339947"/>
                  <a:pt x="1934" y="347567"/>
                </a:cubicBezTo>
                <a:cubicBezTo>
                  <a:pt x="-2257" y="355187"/>
                  <a:pt x="600" y="364808"/>
                  <a:pt x="8220" y="368999"/>
                </a:cubicBezTo>
                <a:lnTo>
                  <a:pt x="69180" y="402241"/>
                </a:lnTo>
                <a:lnTo>
                  <a:pt x="56703" y="425101"/>
                </a:lnTo>
                <a:close/>
                <a:moveTo>
                  <a:pt x="739264" y="462820"/>
                </a:moveTo>
                <a:cubicBezTo>
                  <a:pt x="729930" y="462439"/>
                  <a:pt x="720214" y="462153"/>
                  <a:pt x="716023" y="461105"/>
                </a:cubicBezTo>
                <a:cubicBezTo>
                  <a:pt x="699926" y="457105"/>
                  <a:pt x="697545" y="452438"/>
                  <a:pt x="696021" y="449580"/>
                </a:cubicBezTo>
                <a:cubicBezTo>
                  <a:pt x="693258" y="444246"/>
                  <a:pt x="687353" y="430244"/>
                  <a:pt x="691925" y="415004"/>
                </a:cubicBezTo>
                <a:cubicBezTo>
                  <a:pt x="694782" y="405479"/>
                  <a:pt x="707736" y="386810"/>
                  <a:pt x="717166" y="373190"/>
                </a:cubicBezTo>
                <a:cubicBezTo>
                  <a:pt x="734406" y="348329"/>
                  <a:pt x="740788" y="338995"/>
                  <a:pt x="734883" y="328994"/>
                </a:cubicBezTo>
                <a:cubicBezTo>
                  <a:pt x="676304" y="229172"/>
                  <a:pt x="612677" y="183547"/>
                  <a:pt x="576006" y="174784"/>
                </a:cubicBezTo>
                <a:cubicBezTo>
                  <a:pt x="539430" y="166116"/>
                  <a:pt x="514950" y="184690"/>
                  <a:pt x="502473" y="202311"/>
                </a:cubicBezTo>
                <a:cubicBezTo>
                  <a:pt x="494472" y="190405"/>
                  <a:pt x="488280" y="176784"/>
                  <a:pt x="485613" y="161354"/>
                </a:cubicBezTo>
                <a:cubicBezTo>
                  <a:pt x="483232" y="147257"/>
                  <a:pt x="483708" y="132493"/>
                  <a:pt x="484185" y="118301"/>
                </a:cubicBezTo>
                <a:cubicBezTo>
                  <a:pt x="484470" y="108014"/>
                  <a:pt x="484375" y="97822"/>
                  <a:pt x="484375" y="87535"/>
                </a:cubicBezTo>
                <a:cubicBezTo>
                  <a:pt x="484375" y="82867"/>
                  <a:pt x="484375" y="78200"/>
                  <a:pt x="484375" y="73438"/>
                </a:cubicBezTo>
                <a:lnTo>
                  <a:pt x="484375" y="13335"/>
                </a:lnTo>
                <a:cubicBezTo>
                  <a:pt x="484375" y="6096"/>
                  <a:pt x="478470" y="190"/>
                  <a:pt x="471231" y="190"/>
                </a:cubicBezTo>
                <a:cubicBezTo>
                  <a:pt x="463992" y="190"/>
                  <a:pt x="458086" y="6096"/>
                  <a:pt x="458086" y="13335"/>
                </a:cubicBezTo>
                <a:lnTo>
                  <a:pt x="458086" y="73438"/>
                </a:lnTo>
                <a:cubicBezTo>
                  <a:pt x="458086" y="78200"/>
                  <a:pt x="458086" y="82963"/>
                  <a:pt x="458086" y="87725"/>
                </a:cubicBezTo>
                <a:cubicBezTo>
                  <a:pt x="458086" y="97631"/>
                  <a:pt x="458277" y="107442"/>
                  <a:pt x="457991" y="117348"/>
                </a:cubicBezTo>
                <a:cubicBezTo>
                  <a:pt x="457515" y="132112"/>
                  <a:pt x="456943" y="148971"/>
                  <a:pt x="459896" y="166497"/>
                </a:cubicBezTo>
                <a:cubicBezTo>
                  <a:pt x="467611" y="211931"/>
                  <a:pt x="501711" y="252412"/>
                  <a:pt x="555717" y="280321"/>
                </a:cubicBezTo>
                <a:cubicBezTo>
                  <a:pt x="563242" y="284226"/>
                  <a:pt x="571243" y="287941"/>
                  <a:pt x="579530" y="291370"/>
                </a:cubicBezTo>
                <a:cubicBezTo>
                  <a:pt x="581149" y="292036"/>
                  <a:pt x="582864" y="292418"/>
                  <a:pt x="584578" y="292418"/>
                </a:cubicBezTo>
                <a:cubicBezTo>
                  <a:pt x="589722" y="292418"/>
                  <a:pt x="594675" y="289370"/>
                  <a:pt x="596770" y="284321"/>
                </a:cubicBezTo>
                <a:cubicBezTo>
                  <a:pt x="599532" y="277559"/>
                  <a:pt x="596389" y="269938"/>
                  <a:pt x="589626" y="267081"/>
                </a:cubicBezTo>
                <a:cubicBezTo>
                  <a:pt x="582006" y="263938"/>
                  <a:pt x="574672" y="260509"/>
                  <a:pt x="567909" y="256984"/>
                </a:cubicBezTo>
                <a:cubicBezTo>
                  <a:pt x="554574" y="250031"/>
                  <a:pt x="536382" y="238982"/>
                  <a:pt x="520475" y="223361"/>
                </a:cubicBezTo>
                <a:cubicBezTo>
                  <a:pt x="524285" y="215741"/>
                  <a:pt x="538763" y="192786"/>
                  <a:pt x="570100" y="200311"/>
                </a:cubicBezTo>
                <a:cubicBezTo>
                  <a:pt x="595151" y="206311"/>
                  <a:pt x="652301" y="241935"/>
                  <a:pt x="709546" y="337376"/>
                </a:cubicBezTo>
                <a:cubicBezTo>
                  <a:pt x="706593" y="342519"/>
                  <a:pt x="700497" y="351282"/>
                  <a:pt x="695735" y="358140"/>
                </a:cubicBezTo>
                <a:cubicBezTo>
                  <a:pt x="683543" y="375666"/>
                  <a:pt x="670970" y="393859"/>
                  <a:pt x="666969" y="407289"/>
                </a:cubicBezTo>
                <a:cubicBezTo>
                  <a:pt x="659826" y="431006"/>
                  <a:pt x="667636" y="451580"/>
                  <a:pt x="672875" y="461677"/>
                </a:cubicBezTo>
                <a:cubicBezTo>
                  <a:pt x="679447" y="474345"/>
                  <a:pt x="690496" y="481870"/>
                  <a:pt x="709927" y="486632"/>
                </a:cubicBezTo>
                <a:cubicBezTo>
                  <a:pt x="716785" y="488347"/>
                  <a:pt x="726882" y="488728"/>
                  <a:pt x="738597" y="489109"/>
                </a:cubicBezTo>
                <a:cubicBezTo>
                  <a:pt x="750218" y="489490"/>
                  <a:pt x="773840" y="490347"/>
                  <a:pt x="780031" y="494062"/>
                </a:cubicBezTo>
                <a:cubicBezTo>
                  <a:pt x="817560" y="605981"/>
                  <a:pt x="810225" y="720281"/>
                  <a:pt x="784222" y="771144"/>
                </a:cubicBezTo>
                <a:cubicBezTo>
                  <a:pt x="776888" y="785527"/>
                  <a:pt x="768220" y="794576"/>
                  <a:pt x="759267" y="797338"/>
                </a:cubicBezTo>
                <a:cubicBezTo>
                  <a:pt x="726501" y="807434"/>
                  <a:pt x="666588" y="753713"/>
                  <a:pt x="623059" y="714470"/>
                </a:cubicBezTo>
                <a:cubicBezTo>
                  <a:pt x="604009" y="697325"/>
                  <a:pt x="585912" y="681038"/>
                  <a:pt x="571148" y="670655"/>
                </a:cubicBezTo>
                <a:cubicBezTo>
                  <a:pt x="521618" y="635889"/>
                  <a:pt x="495615" y="614648"/>
                  <a:pt x="492852" y="547878"/>
                </a:cubicBezTo>
                <a:cubicBezTo>
                  <a:pt x="492186" y="532733"/>
                  <a:pt x="491614" y="519017"/>
                  <a:pt x="491043" y="506349"/>
                </a:cubicBezTo>
                <a:cubicBezTo>
                  <a:pt x="488852" y="458724"/>
                  <a:pt x="487423" y="427292"/>
                  <a:pt x="489042" y="396431"/>
                </a:cubicBezTo>
                <a:cubicBezTo>
                  <a:pt x="490281" y="372523"/>
                  <a:pt x="493710" y="347282"/>
                  <a:pt x="496281" y="330518"/>
                </a:cubicBezTo>
                <a:cubicBezTo>
                  <a:pt x="509045" y="340043"/>
                  <a:pt x="522475" y="350234"/>
                  <a:pt x="533429" y="358902"/>
                </a:cubicBezTo>
                <a:cubicBezTo>
                  <a:pt x="535810" y="360807"/>
                  <a:pt x="538668" y="361664"/>
                  <a:pt x="541525" y="361664"/>
                </a:cubicBezTo>
                <a:cubicBezTo>
                  <a:pt x="545430" y="361664"/>
                  <a:pt x="549336" y="359950"/>
                  <a:pt x="551907" y="356616"/>
                </a:cubicBezTo>
                <a:cubicBezTo>
                  <a:pt x="556384" y="350901"/>
                  <a:pt x="555336" y="342614"/>
                  <a:pt x="549621" y="338137"/>
                </a:cubicBezTo>
                <a:cubicBezTo>
                  <a:pt x="537715" y="328898"/>
                  <a:pt x="477708" y="282321"/>
                  <a:pt x="462182" y="275749"/>
                </a:cubicBezTo>
                <a:cubicBezTo>
                  <a:pt x="444370" y="268224"/>
                  <a:pt x="434274" y="268129"/>
                  <a:pt x="413128" y="275463"/>
                </a:cubicBezTo>
                <a:cubicBezTo>
                  <a:pt x="393792" y="282131"/>
                  <a:pt x="339309" y="325660"/>
                  <a:pt x="328641" y="334328"/>
                </a:cubicBezTo>
                <a:cubicBezTo>
                  <a:pt x="323022" y="338900"/>
                  <a:pt x="322164" y="347186"/>
                  <a:pt x="326736" y="352806"/>
                </a:cubicBezTo>
                <a:cubicBezTo>
                  <a:pt x="331308" y="358426"/>
                  <a:pt x="339595" y="359378"/>
                  <a:pt x="345215" y="354711"/>
                </a:cubicBezTo>
                <a:cubicBezTo>
                  <a:pt x="354740" y="346996"/>
                  <a:pt x="366456" y="337852"/>
                  <a:pt x="377886" y="329279"/>
                </a:cubicBezTo>
                <a:cubicBezTo>
                  <a:pt x="380743" y="345853"/>
                  <a:pt x="384363" y="371475"/>
                  <a:pt x="384839" y="395954"/>
                </a:cubicBezTo>
                <a:cubicBezTo>
                  <a:pt x="385601" y="436721"/>
                  <a:pt x="384172" y="474059"/>
                  <a:pt x="381029" y="547878"/>
                </a:cubicBezTo>
                <a:cubicBezTo>
                  <a:pt x="378267" y="614648"/>
                  <a:pt x="352263" y="635889"/>
                  <a:pt x="302733" y="670655"/>
                </a:cubicBezTo>
                <a:cubicBezTo>
                  <a:pt x="287970" y="681038"/>
                  <a:pt x="269872" y="697230"/>
                  <a:pt x="250822" y="714470"/>
                </a:cubicBezTo>
                <a:cubicBezTo>
                  <a:pt x="207198" y="753713"/>
                  <a:pt x="147476" y="807530"/>
                  <a:pt x="114615" y="797338"/>
                </a:cubicBezTo>
                <a:cubicBezTo>
                  <a:pt x="105661" y="794576"/>
                  <a:pt x="97089" y="785527"/>
                  <a:pt x="89659" y="771144"/>
                </a:cubicBezTo>
                <a:cubicBezTo>
                  <a:pt x="63561" y="720281"/>
                  <a:pt x="56226" y="606076"/>
                  <a:pt x="93850" y="494062"/>
                </a:cubicBezTo>
                <a:cubicBezTo>
                  <a:pt x="100041" y="490347"/>
                  <a:pt x="123759" y="489490"/>
                  <a:pt x="135284" y="489109"/>
                </a:cubicBezTo>
                <a:cubicBezTo>
                  <a:pt x="147000" y="488728"/>
                  <a:pt x="157096" y="488347"/>
                  <a:pt x="163954" y="486632"/>
                </a:cubicBezTo>
                <a:cubicBezTo>
                  <a:pt x="183290" y="481870"/>
                  <a:pt x="194434" y="474345"/>
                  <a:pt x="201006" y="461677"/>
                </a:cubicBezTo>
                <a:cubicBezTo>
                  <a:pt x="206245" y="451485"/>
                  <a:pt x="214056" y="430911"/>
                  <a:pt x="206912" y="407289"/>
                </a:cubicBezTo>
                <a:cubicBezTo>
                  <a:pt x="202816" y="393859"/>
                  <a:pt x="190243" y="375666"/>
                  <a:pt x="178051" y="358045"/>
                </a:cubicBezTo>
                <a:cubicBezTo>
                  <a:pt x="173289" y="351187"/>
                  <a:pt x="167193" y="342424"/>
                  <a:pt x="164240" y="337280"/>
                </a:cubicBezTo>
                <a:cubicBezTo>
                  <a:pt x="221485" y="241744"/>
                  <a:pt x="278635" y="206121"/>
                  <a:pt x="303686" y="200215"/>
                </a:cubicBezTo>
                <a:cubicBezTo>
                  <a:pt x="335023" y="192786"/>
                  <a:pt x="349501" y="215836"/>
                  <a:pt x="353311" y="223361"/>
                </a:cubicBezTo>
                <a:cubicBezTo>
                  <a:pt x="337309" y="238887"/>
                  <a:pt x="319212" y="249936"/>
                  <a:pt x="305781" y="256889"/>
                </a:cubicBezTo>
                <a:cubicBezTo>
                  <a:pt x="299019" y="260413"/>
                  <a:pt x="291684" y="263843"/>
                  <a:pt x="284064" y="266986"/>
                </a:cubicBezTo>
                <a:cubicBezTo>
                  <a:pt x="277397" y="269748"/>
                  <a:pt x="274158" y="277463"/>
                  <a:pt x="276921" y="284131"/>
                </a:cubicBezTo>
                <a:cubicBezTo>
                  <a:pt x="279016" y="289179"/>
                  <a:pt x="283874" y="292227"/>
                  <a:pt x="289113" y="292227"/>
                </a:cubicBezTo>
                <a:cubicBezTo>
                  <a:pt x="290827" y="292227"/>
                  <a:pt x="292542" y="291941"/>
                  <a:pt x="294161" y="291179"/>
                </a:cubicBezTo>
                <a:cubicBezTo>
                  <a:pt x="302448" y="287750"/>
                  <a:pt x="310449" y="284035"/>
                  <a:pt x="317878" y="280130"/>
                </a:cubicBezTo>
                <a:cubicBezTo>
                  <a:pt x="371980" y="252127"/>
                  <a:pt x="405984" y="211741"/>
                  <a:pt x="413890" y="165354"/>
                </a:cubicBezTo>
                <a:cubicBezTo>
                  <a:pt x="416652" y="148685"/>
                  <a:pt x="416081" y="131921"/>
                  <a:pt x="415700" y="117062"/>
                </a:cubicBezTo>
                <a:cubicBezTo>
                  <a:pt x="415414" y="107156"/>
                  <a:pt x="415509" y="97250"/>
                  <a:pt x="415605" y="87440"/>
                </a:cubicBezTo>
                <a:cubicBezTo>
                  <a:pt x="415605" y="82677"/>
                  <a:pt x="415605" y="77915"/>
                  <a:pt x="415605" y="73152"/>
                </a:cubicBezTo>
                <a:lnTo>
                  <a:pt x="415605" y="13144"/>
                </a:lnTo>
                <a:cubicBezTo>
                  <a:pt x="415605" y="5905"/>
                  <a:pt x="409699" y="0"/>
                  <a:pt x="402460" y="0"/>
                </a:cubicBezTo>
                <a:cubicBezTo>
                  <a:pt x="395221" y="0"/>
                  <a:pt x="389316" y="5905"/>
                  <a:pt x="389316" y="13144"/>
                </a:cubicBezTo>
                <a:lnTo>
                  <a:pt x="389316" y="73247"/>
                </a:lnTo>
                <a:cubicBezTo>
                  <a:pt x="389316" y="77915"/>
                  <a:pt x="389316" y="82582"/>
                  <a:pt x="389316" y="87344"/>
                </a:cubicBezTo>
                <a:cubicBezTo>
                  <a:pt x="389220" y="97536"/>
                  <a:pt x="389125" y="107823"/>
                  <a:pt x="389506" y="118015"/>
                </a:cubicBezTo>
                <a:cubicBezTo>
                  <a:pt x="389982" y="132302"/>
                  <a:pt x="390459" y="146971"/>
                  <a:pt x="387887" y="161925"/>
                </a:cubicBezTo>
                <a:cubicBezTo>
                  <a:pt x="385315" y="177070"/>
                  <a:pt x="379219" y="190500"/>
                  <a:pt x="371218" y="202216"/>
                </a:cubicBezTo>
                <a:cubicBezTo>
                  <a:pt x="358740" y="184594"/>
                  <a:pt x="334261" y="165926"/>
                  <a:pt x="297590" y="174593"/>
                </a:cubicBezTo>
                <a:cubicBezTo>
                  <a:pt x="260919" y="183356"/>
                  <a:pt x="197292" y="228981"/>
                  <a:pt x="138713" y="328803"/>
                </a:cubicBezTo>
                <a:cubicBezTo>
                  <a:pt x="132807" y="338900"/>
                  <a:pt x="139284" y="348139"/>
                  <a:pt x="156429" y="372999"/>
                </a:cubicBezTo>
                <a:cubicBezTo>
                  <a:pt x="165859" y="386620"/>
                  <a:pt x="178813" y="405384"/>
                  <a:pt x="181671" y="414909"/>
                </a:cubicBezTo>
                <a:cubicBezTo>
                  <a:pt x="186243" y="430149"/>
                  <a:pt x="180337" y="444246"/>
                  <a:pt x="177575" y="449580"/>
                </a:cubicBezTo>
                <a:cubicBezTo>
                  <a:pt x="176146" y="452438"/>
                  <a:pt x="173670" y="457105"/>
                  <a:pt x="157572" y="461105"/>
                </a:cubicBezTo>
                <a:cubicBezTo>
                  <a:pt x="153381" y="462153"/>
                  <a:pt x="143666" y="462534"/>
                  <a:pt x="134331" y="462820"/>
                </a:cubicBezTo>
                <a:cubicBezTo>
                  <a:pt x="105566" y="463868"/>
                  <a:pt x="75848" y="464915"/>
                  <a:pt x="69371" y="484251"/>
                </a:cubicBezTo>
                <a:cubicBezTo>
                  <a:pt x="28509" y="604742"/>
                  <a:pt x="36891" y="725900"/>
                  <a:pt x="66228" y="783146"/>
                </a:cubicBezTo>
                <a:cubicBezTo>
                  <a:pt x="77086" y="804291"/>
                  <a:pt x="90707" y="817531"/>
                  <a:pt x="106899" y="822484"/>
                </a:cubicBezTo>
                <a:cubicBezTo>
                  <a:pt x="112138" y="824103"/>
                  <a:pt x="117567" y="824865"/>
                  <a:pt x="123092" y="824865"/>
                </a:cubicBezTo>
                <a:cubicBezTo>
                  <a:pt x="167478" y="824865"/>
                  <a:pt x="220818" y="776859"/>
                  <a:pt x="268443" y="733997"/>
                </a:cubicBezTo>
                <a:cubicBezTo>
                  <a:pt x="286922" y="717423"/>
                  <a:pt x="304353" y="701707"/>
                  <a:pt x="317878" y="692182"/>
                </a:cubicBezTo>
                <a:cubicBezTo>
                  <a:pt x="371409" y="654653"/>
                  <a:pt x="404175" y="626269"/>
                  <a:pt x="407413" y="548926"/>
                </a:cubicBezTo>
                <a:cubicBezTo>
                  <a:pt x="410461" y="474536"/>
                  <a:pt x="411985" y="437007"/>
                  <a:pt x="411223" y="395478"/>
                </a:cubicBezTo>
                <a:cubicBezTo>
                  <a:pt x="410652" y="361569"/>
                  <a:pt x="404365" y="326231"/>
                  <a:pt x="401603" y="312230"/>
                </a:cubicBezTo>
                <a:cubicBezTo>
                  <a:pt x="410652" y="306038"/>
                  <a:pt x="417986" y="301561"/>
                  <a:pt x="421796" y="300228"/>
                </a:cubicBezTo>
                <a:cubicBezTo>
                  <a:pt x="437607" y="294799"/>
                  <a:pt x="440846" y="295180"/>
                  <a:pt x="452085" y="299942"/>
                </a:cubicBezTo>
                <a:cubicBezTo>
                  <a:pt x="455324" y="301276"/>
                  <a:pt x="462849" y="306324"/>
                  <a:pt x="472564" y="313087"/>
                </a:cubicBezTo>
                <a:cubicBezTo>
                  <a:pt x="470088" y="327279"/>
                  <a:pt x="464658" y="361855"/>
                  <a:pt x="462944" y="395002"/>
                </a:cubicBezTo>
                <a:cubicBezTo>
                  <a:pt x="461229" y="427196"/>
                  <a:pt x="462658" y="459105"/>
                  <a:pt x="464944" y="507492"/>
                </a:cubicBezTo>
                <a:cubicBezTo>
                  <a:pt x="465516" y="520065"/>
                  <a:pt x="466087" y="533781"/>
                  <a:pt x="466754" y="548926"/>
                </a:cubicBezTo>
                <a:cubicBezTo>
                  <a:pt x="469992" y="626269"/>
                  <a:pt x="502663" y="654653"/>
                  <a:pt x="556194" y="692182"/>
                </a:cubicBezTo>
                <a:cubicBezTo>
                  <a:pt x="569719" y="701612"/>
                  <a:pt x="587150" y="717328"/>
                  <a:pt x="605628" y="733997"/>
                </a:cubicBezTo>
                <a:cubicBezTo>
                  <a:pt x="653253" y="776859"/>
                  <a:pt x="706593" y="824865"/>
                  <a:pt x="750980" y="824865"/>
                </a:cubicBezTo>
                <a:cubicBezTo>
                  <a:pt x="756504" y="824865"/>
                  <a:pt x="761934" y="824103"/>
                  <a:pt x="767172" y="822484"/>
                </a:cubicBezTo>
                <a:cubicBezTo>
                  <a:pt x="783270" y="817531"/>
                  <a:pt x="796986" y="804291"/>
                  <a:pt x="807844" y="783146"/>
                </a:cubicBezTo>
                <a:cubicBezTo>
                  <a:pt x="837181" y="725805"/>
                  <a:pt x="845563" y="604742"/>
                  <a:pt x="804701" y="484251"/>
                </a:cubicBezTo>
                <a:cubicBezTo>
                  <a:pt x="798129" y="464915"/>
                  <a:pt x="768411" y="463868"/>
                  <a:pt x="739740" y="462820"/>
                </a:cubicBezTo>
                <a:moveTo>
                  <a:pt x="863375" y="352139"/>
                </a:moveTo>
                <a:cubicBezTo>
                  <a:pt x="859184" y="344519"/>
                  <a:pt x="849564" y="341662"/>
                  <a:pt x="841944" y="345853"/>
                </a:cubicBezTo>
                <a:lnTo>
                  <a:pt x="789556" y="374618"/>
                </a:lnTo>
                <a:lnTo>
                  <a:pt x="779269" y="355949"/>
                </a:lnTo>
                <a:lnTo>
                  <a:pt x="738407" y="423291"/>
                </a:lnTo>
                <a:lnTo>
                  <a:pt x="817083" y="425101"/>
                </a:lnTo>
                <a:lnTo>
                  <a:pt x="804701" y="402431"/>
                </a:lnTo>
                <a:lnTo>
                  <a:pt x="857088" y="373666"/>
                </a:lnTo>
                <a:cubicBezTo>
                  <a:pt x="864708" y="369475"/>
                  <a:pt x="867566" y="359855"/>
                  <a:pt x="863375" y="352234"/>
                </a:cubicBezTo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345449838"/>
      </p:ext>
    </p:extLst>
  </p:cSld>
  <p:clrMapOvr>
    <a:masterClrMapping/>
  </p:clrMapOvr>
  <p:transition>
    <p:wipe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5E-6 -0.03472 L -3.75E-6 1.85185E-6 " pathEditMode="relative" rAng="0" ptsTypes="AA">
                                      <p:cBhvr>
                                        <p:cTn id="2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6"/>
                                    </p:animMotion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5E-6 -0.03472 L -3.75E-6 1.85185E-6 " pathEditMode="relative" rAng="0" ptsTypes="AA">
                                      <p:cBhvr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6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5E-6 -0.03472 L -3.75E-6 1.85185E-6 " pathEditMode="relative" rAng="0" ptsTypes="AA">
                                      <p:cBhvr>
                                        <p:cTn id="3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" grpId="1"/>
      <p:bldP spid="3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1"/>
      <p:bldP spid="6" grpId="0"/>
      <p:bldP spid="15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10" grpId="0" animBg="1"/>
      <p:bldP spid="10" grpId="1" animBg="1"/>
      <p:bldP spid="11" grpId="0" animBg="1"/>
      <p:bldP spid="11" grpId="1" animBg="1"/>
    </p:bld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021C23-1E09-12FB-BC1A-B4E1A24420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C7E6C7-4852-2C05-E0F0-4CA7F1A6DF0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3CE730-641E-0C70-FEC7-A8E68146B6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0EE0EA-DC66-42A6-A457-9161CC2783E9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52">
            <a:extLst>
              <a:ext uri="{FF2B5EF4-FFF2-40B4-BE49-F238E27FC236}">
                <a16:creationId xmlns:a16="http://schemas.microsoft.com/office/drawing/2014/main" id="{068F5397-62E0-1008-F0CD-1F006C3C934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3" y="6612126"/>
            <a:ext cx="11430000" cy="1315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900"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footnotes/references</a:t>
            </a:r>
          </a:p>
        </p:txBody>
      </p:sp>
    </p:spTree>
    <p:extLst>
      <p:ext uri="{BB962C8B-B14F-4D97-AF65-F5344CB8AC3E}">
        <p14:creationId xmlns:p14="http://schemas.microsoft.com/office/powerpoint/2010/main" val="3531107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AEE743-CEF6-8852-6F13-055E329356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3D39A1-AEDA-2CFB-6D97-CBE102C904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0EE0EA-DC66-42A6-A457-9161CC2783E9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52">
            <a:extLst>
              <a:ext uri="{FF2B5EF4-FFF2-40B4-BE49-F238E27FC236}">
                <a16:creationId xmlns:a16="http://schemas.microsoft.com/office/drawing/2014/main" id="{8C1FD818-6DA3-D17D-9A8C-A86543C9EAB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3" y="6612126"/>
            <a:ext cx="11430000" cy="1315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900"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footnotes/references</a:t>
            </a:r>
          </a:p>
        </p:txBody>
      </p:sp>
    </p:spTree>
    <p:extLst>
      <p:ext uri="{BB962C8B-B14F-4D97-AF65-F5344CB8AC3E}">
        <p14:creationId xmlns:p14="http://schemas.microsoft.com/office/powerpoint/2010/main" val="3073057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AB565F-52C7-9258-5C9A-118353D234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7086B5-A853-3823-8DAF-E17021267F6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81001" y="1104900"/>
            <a:ext cx="5501641" cy="513238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6E33561-41EC-0ABF-39F1-2E72D7629B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9362" y="1104900"/>
            <a:ext cx="5501641" cy="513238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4B719B-4AEA-4A84-71D1-0644EB067B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0EE0EA-DC66-42A6-A457-9161CC2783E9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52">
            <a:extLst>
              <a:ext uri="{FF2B5EF4-FFF2-40B4-BE49-F238E27FC236}">
                <a16:creationId xmlns:a16="http://schemas.microsoft.com/office/drawing/2014/main" id="{68AF5BCA-1589-60B5-D6B1-BA338463BB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3" y="6612126"/>
            <a:ext cx="11430000" cy="1315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900"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footnotes/references</a:t>
            </a:r>
          </a:p>
        </p:txBody>
      </p:sp>
    </p:spTree>
    <p:extLst>
      <p:ext uri="{BB962C8B-B14F-4D97-AF65-F5344CB8AC3E}">
        <p14:creationId xmlns:p14="http://schemas.microsoft.com/office/powerpoint/2010/main" val="200815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652F01D-1ADC-0E1F-A5D7-362B4A472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5EBAA7-E33F-4C3D-B4CE-09226EB1B8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769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9635B2-3D27-4FA3-B863-05E4C9624A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2"/>
            <a:ext cx="11376024" cy="1007427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en-US"/>
              <a:t>Click to enter title her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91E4B5EC-9E53-45C3-B765-C1C483A070D0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07988" y="1567815"/>
            <a:ext cx="11376024" cy="4261047"/>
          </a:xfrm>
        </p:spPr>
        <p:txBody>
          <a:bodyPr lIns="0" tIns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2000">
                <a:latin typeface="+mn-lt"/>
              </a:defRPr>
            </a:lvl1pPr>
            <a:lvl2pPr marL="460800" indent="-228600">
              <a:lnSpc>
                <a:spcPct val="100000"/>
              </a:lnSpc>
              <a:defRPr sz="2000">
                <a:latin typeface="+mn-lt"/>
              </a:defRPr>
            </a:lvl2pPr>
            <a:lvl3pPr>
              <a:lnSpc>
                <a:spcPct val="100000"/>
              </a:lnSpc>
              <a:defRPr sz="1800">
                <a:latin typeface="+mn-lt"/>
              </a:defRPr>
            </a:lvl3pPr>
            <a:lvl4pPr>
              <a:lnSpc>
                <a:spcPct val="100000"/>
              </a:lnSpc>
              <a:defRPr sz="1800">
                <a:latin typeface="+mn-lt"/>
              </a:defRPr>
            </a:lvl4pPr>
            <a:lvl5pPr>
              <a:lnSpc>
                <a:spcPct val="100000"/>
              </a:lnSpc>
              <a:defRPr sz="1800">
                <a:latin typeface="+mn-lt"/>
              </a:defRPr>
            </a:lvl5pPr>
          </a:lstStyle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</a:t>
            </a:r>
            <a:br>
              <a:rPr lang="en-US"/>
            </a:br>
            <a:r>
              <a:rPr lang="en-US"/>
              <a:t>‘Keep text only’.</a:t>
            </a:r>
            <a:br>
              <a:rPr lang="en-US"/>
            </a:br>
            <a:r>
              <a:rPr lang="en-US"/>
              <a:t>To increase bullet level, select your text and press Tab.</a:t>
            </a:r>
            <a:br>
              <a:rPr lang="en-US"/>
            </a:br>
            <a:r>
              <a:rPr lang="en-US"/>
              <a:t>To decrease bullet level, select your bullet text and press Shift + Tab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6">
            <a:extLst>
              <a:ext uri="{FF2B5EF4-FFF2-40B4-BE49-F238E27FC236}">
                <a16:creationId xmlns:a16="http://schemas.microsoft.com/office/drawing/2014/main" id="{5BB2B602-8858-F18F-CAEC-7E56CA3410D9}"/>
              </a:ext>
            </a:extLst>
          </p:cNvPr>
          <p:cNvSpPr>
            <a:spLocks noGrp="1"/>
          </p:cNvSpPr>
          <p:nvPr>
            <p:ph type="body" sz="quarter" idx="112" hasCustomPrompt="1"/>
          </p:nvPr>
        </p:nvSpPr>
        <p:spPr>
          <a:xfrm>
            <a:off x="407987" y="5879012"/>
            <a:ext cx="11376023" cy="323850"/>
          </a:xfrm>
        </p:spPr>
        <p:txBody>
          <a:bodyPr lIns="0" tIns="0" rIns="0" bIns="0" anchor="b" anchorCtr="0">
            <a:noAutofit/>
          </a:bodyPr>
          <a:lstStyle>
            <a:lvl1pPr>
              <a:lnSpc>
                <a:spcPct val="100000"/>
              </a:lnSpc>
              <a:spcAft>
                <a:spcPts val="300"/>
              </a:spcAft>
              <a:buNone/>
              <a:defRPr sz="8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Footer content and referenc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52B4F78-BDB1-93C9-4D31-8003C0D1A594}"/>
              </a:ext>
            </a:extLst>
          </p:cNvPr>
          <p:cNvSpPr/>
          <p:nvPr userDrawn="1"/>
        </p:nvSpPr>
        <p:spPr>
          <a:xfrm>
            <a:off x="619662" y="6258617"/>
            <a:ext cx="11572337" cy="608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err="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4C6DC9F-A1C1-8B66-1901-BF0D965CB425}"/>
              </a:ext>
            </a:extLst>
          </p:cNvPr>
          <p:cNvSpPr/>
          <p:nvPr userDrawn="1"/>
        </p:nvSpPr>
        <p:spPr>
          <a:xfrm>
            <a:off x="-6954" y="6258617"/>
            <a:ext cx="632375" cy="608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err="1"/>
          </a:p>
        </p:txBody>
      </p:sp>
      <p:pic>
        <p:nvPicPr>
          <p:cNvPr id="18" name="Picture 2" descr="Image result for ASTRAZENECA LOGO">
            <a:extLst>
              <a:ext uri="{FF2B5EF4-FFF2-40B4-BE49-F238E27FC236}">
                <a16:creationId xmlns:a16="http://schemas.microsoft.com/office/drawing/2014/main" id="{3B48B060-6A27-2C40-A5C5-270474CFDD1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77168" y="6309566"/>
            <a:ext cx="1506846" cy="4083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 Placeholder 96">
            <a:extLst>
              <a:ext uri="{FF2B5EF4-FFF2-40B4-BE49-F238E27FC236}">
                <a16:creationId xmlns:a16="http://schemas.microsoft.com/office/drawing/2014/main" id="{5E9951F8-B0DC-42A8-02FE-08470842223C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897839" y="6237289"/>
            <a:ext cx="7053949" cy="620710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00000"/>
              </a:lnSpc>
              <a:spcAft>
                <a:spcPts val="300"/>
              </a:spcAft>
              <a:buNone/>
              <a:defRPr sz="800">
                <a:solidFill>
                  <a:schemeClr val="bg1"/>
                </a:solidFill>
              </a:defRPr>
            </a:lvl1pPr>
          </a:lstStyle>
          <a:p>
            <a:pPr marL="0" indent="0"/>
            <a:r>
              <a:rPr lang="en-GB"/>
              <a:t>This event is a non-promotional meeting organised and funded by AstraZeneca. For healthcare professionals only. </a:t>
            </a:r>
            <a:br>
              <a:rPr lang="en-GB"/>
            </a:br>
            <a:r>
              <a:rPr lang="en-GB"/>
              <a:t>Z4-72380</a:t>
            </a:r>
            <a:r>
              <a:rPr lang="en-GB">
                <a:solidFill>
                  <a:srgbClr val="FF0000"/>
                </a:solidFill>
              </a:rPr>
              <a:t> </a:t>
            </a:r>
            <a:r>
              <a:rPr lang="en-GB"/>
              <a:t>Date of preparation: February 2025. </a:t>
            </a:r>
          </a:p>
        </p:txBody>
      </p:sp>
      <p:sp>
        <p:nvSpPr>
          <p:cNvPr id="25" name="Slide Number Placeholder 9">
            <a:extLst>
              <a:ext uri="{FF2B5EF4-FFF2-40B4-BE49-F238E27FC236}">
                <a16:creationId xmlns:a16="http://schemas.microsoft.com/office/drawing/2014/main" id="{F1C09154-635F-DE09-72E0-11BAD80BDD7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-1" y="6253916"/>
            <a:ext cx="632373" cy="576965"/>
          </a:xfrm>
          <a:prstGeom prst="rect">
            <a:avLst/>
          </a:prstGeom>
        </p:spPr>
        <p:txBody>
          <a:bodyPr bIns="0" anchor="ctr"/>
          <a:lstStyle>
            <a:lvl1pPr algn="ctr">
              <a:lnSpc>
                <a:spcPct val="100000"/>
              </a:lnSpc>
              <a:defRPr sz="1200">
                <a:solidFill>
                  <a:schemeClr val="bg1"/>
                </a:solidFill>
              </a:defRPr>
            </a:lvl1pPr>
          </a:lstStyle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532861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391">
          <p15:clr>
            <a:srgbClr val="A4A3A4"/>
          </p15:clr>
        </p15:guide>
        <p15:guide id="2" pos="1463">
          <p15:clr>
            <a:srgbClr val="A4A3A4"/>
          </p15:clr>
        </p15:guide>
        <p15:guide id="3" pos="2598">
          <p15:clr>
            <a:srgbClr val="A4A3A4"/>
          </p15:clr>
        </p15:guide>
        <p15:guide id="4" pos="2669">
          <p15:clr>
            <a:srgbClr val="A4A3A4"/>
          </p15:clr>
        </p15:guide>
        <p15:guide id="5" pos="3804">
          <p15:clr>
            <a:srgbClr val="A4A3A4"/>
          </p15:clr>
        </p15:guide>
        <p15:guide id="6" pos="3876">
          <p15:clr>
            <a:srgbClr val="A4A3A4"/>
          </p15:clr>
        </p15:guide>
        <p15:guide id="7" pos="5009">
          <p15:clr>
            <a:srgbClr val="A4A3A4"/>
          </p15:clr>
        </p15:guide>
        <p15:guide id="8" pos="5082">
          <p15:clr>
            <a:srgbClr val="A4A3A4"/>
          </p15:clr>
        </p15:guide>
        <p15:guide id="9" pos="6215">
          <p15:clr>
            <a:srgbClr val="A4A3A4"/>
          </p15:clr>
        </p15:guide>
        <p15:guide id="10" pos="6288">
          <p15:clr>
            <a:srgbClr val="A4A3A4"/>
          </p15:clr>
        </p15:guide>
        <p15:guide id="11" orient="horz" pos="890">
          <p15:clr>
            <a:srgbClr val="C35EA4"/>
          </p15:clr>
        </p15:guide>
        <p15:guide id="12" orient="horz" pos="981">
          <p15:clr>
            <a:srgbClr val="C35EA4"/>
          </p15:clr>
        </p15:guide>
        <p15:guide id="13" orient="horz" pos="3680">
          <p15:clr>
            <a:srgbClr val="FBAE40"/>
          </p15:clr>
        </p15:guide>
        <p15:guide id="14" orient="horz" pos="3884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-Inver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AEE743-CEF6-8852-6F13-055E329356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3D39A1-AEDA-2CFB-6D97-CBE102C904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20EE0EA-DC66-42A6-A457-9161CC2783E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52">
            <a:extLst>
              <a:ext uri="{FF2B5EF4-FFF2-40B4-BE49-F238E27FC236}">
                <a16:creationId xmlns:a16="http://schemas.microsoft.com/office/drawing/2014/main" id="{56E8241F-5397-944B-E855-EE242005275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3" y="6612126"/>
            <a:ext cx="11430000" cy="1315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900"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footnotes/references</a:t>
            </a:r>
          </a:p>
        </p:txBody>
      </p:sp>
    </p:spTree>
    <p:extLst>
      <p:ext uri="{BB962C8B-B14F-4D97-AF65-F5344CB8AC3E}">
        <p14:creationId xmlns:p14="http://schemas.microsoft.com/office/powerpoint/2010/main" val="13195071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ontent-Inver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021C23-1E09-12FB-BC1A-B4E1A24420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C7E6C7-4852-2C05-E0F0-4CA7F1A6DF0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3CE730-641E-0C70-FEC7-A8E68146B6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20EE0EA-DC66-42A6-A457-9161CC2783E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52">
            <a:extLst>
              <a:ext uri="{FF2B5EF4-FFF2-40B4-BE49-F238E27FC236}">
                <a16:creationId xmlns:a16="http://schemas.microsoft.com/office/drawing/2014/main" id="{192E8CCC-A2A5-EF57-7289-EA0A420CDFF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3" y="6612126"/>
            <a:ext cx="11430000" cy="1315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900"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footnotes/references</a:t>
            </a:r>
          </a:p>
        </p:txBody>
      </p:sp>
    </p:spTree>
    <p:extLst>
      <p:ext uri="{BB962C8B-B14F-4D97-AF65-F5344CB8AC3E}">
        <p14:creationId xmlns:p14="http://schemas.microsoft.com/office/powerpoint/2010/main" val="11886515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oll-Discus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A7EC0A1-510C-82F5-45C0-88E185364353}"/>
              </a:ext>
            </a:extLst>
          </p:cNvPr>
          <p:cNvSpPr>
            <a:spLocks/>
          </p:cNvSpPr>
          <p:nvPr/>
        </p:nvSpPr>
        <p:spPr>
          <a:xfrm flipH="1">
            <a:off x="0" y="1786289"/>
            <a:ext cx="12191997" cy="2255099"/>
          </a:xfrm>
          <a:prstGeom prst="roundRect">
            <a:avLst>
              <a:gd name="adj" fmla="val 0"/>
            </a:avLst>
          </a:prstGeom>
          <a:gradFill>
            <a:gsLst>
              <a:gs pos="50000">
                <a:srgbClr val="A05EB5"/>
              </a:gs>
              <a:gs pos="0">
                <a:srgbClr val="BE0F0F"/>
              </a:gs>
              <a:gs pos="100000">
                <a:srgbClr val="0096A4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DED4D12-D722-AAAD-3725-5A60903A2368}"/>
              </a:ext>
            </a:extLst>
          </p:cNvPr>
          <p:cNvSpPr/>
          <p:nvPr/>
        </p:nvSpPr>
        <p:spPr>
          <a:xfrm>
            <a:off x="381001" y="1786289"/>
            <a:ext cx="4737633" cy="2258568"/>
          </a:xfrm>
          <a:prstGeom prst="rect">
            <a:avLst/>
          </a:prstGeom>
          <a:gradFill flip="none" rotWithShape="1">
            <a:gsLst>
              <a:gs pos="55000">
                <a:schemeClr val="accent1"/>
              </a:gs>
              <a:gs pos="99000">
                <a:schemeClr val="accent1">
                  <a:alpha val="0"/>
                </a:schemeClr>
              </a:gs>
              <a:gs pos="45000">
                <a:schemeClr val="accent1"/>
              </a:gs>
              <a:gs pos="1000">
                <a:schemeClr val="accent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240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CE7C666-21AD-429C-42C9-BCF305F0D925}"/>
              </a:ext>
            </a:extLst>
          </p:cNvPr>
          <p:cNvSpPr/>
          <p:nvPr/>
        </p:nvSpPr>
        <p:spPr>
          <a:xfrm>
            <a:off x="381001" y="1786289"/>
            <a:ext cx="4737633" cy="2258568"/>
          </a:xfrm>
          <a:prstGeom prst="rect">
            <a:avLst/>
          </a:prstGeom>
          <a:gradFill flip="none" rotWithShape="1">
            <a:gsLst>
              <a:gs pos="55000">
                <a:schemeClr val="accent2"/>
              </a:gs>
              <a:gs pos="99000">
                <a:schemeClr val="accent2">
                  <a:alpha val="0"/>
                </a:schemeClr>
              </a:gs>
              <a:gs pos="45000">
                <a:schemeClr val="accent2"/>
              </a:gs>
              <a:gs pos="1000">
                <a:schemeClr val="accent2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2400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A656CC5-E586-2647-5C07-094FDB09E59A}"/>
              </a:ext>
            </a:extLst>
          </p:cNvPr>
          <p:cNvSpPr>
            <a:spLocks/>
          </p:cNvSpPr>
          <p:nvPr/>
        </p:nvSpPr>
        <p:spPr>
          <a:xfrm flipH="1">
            <a:off x="0" y="1786289"/>
            <a:ext cx="12191997" cy="2255099"/>
          </a:xfrm>
          <a:prstGeom prst="roundRect">
            <a:avLst>
              <a:gd name="adj" fmla="val 0"/>
            </a:avLst>
          </a:prstGeom>
          <a:gradFill>
            <a:gsLst>
              <a:gs pos="50000">
                <a:srgbClr val="A05EB5"/>
              </a:gs>
              <a:gs pos="0">
                <a:srgbClr val="BE0F0F"/>
              </a:gs>
              <a:gs pos="100000">
                <a:srgbClr val="0096A4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AEE743-CEF6-8852-6F13-055E329356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9314" y="1083225"/>
            <a:ext cx="9481687" cy="680668"/>
          </a:xfrm>
        </p:spPr>
        <p:txBody>
          <a:bodyPr anchor="b"/>
          <a:lstStyle>
            <a:lvl1pPr>
              <a:defRPr cap="all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3D39A1-AEDA-2CFB-6D97-CBE102C904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20EE0EA-DC66-42A6-A457-9161CC2783E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52">
            <a:extLst>
              <a:ext uri="{FF2B5EF4-FFF2-40B4-BE49-F238E27FC236}">
                <a16:creationId xmlns:a16="http://schemas.microsoft.com/office/drawing/2014/main" id="{56E8241F-5397-944B-E855-EE242005275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3" y="6612126"/>
            <a:ext cx="11430000" cy="1315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900"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footnotes/reference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87D69E7-4986-3C5D-45ED-6AAF5E45CD20}"/>
              </a:ext>
            </a:extLst>
          </p:cNvPr>
          <p:cNvGrpSpPr/>
          <p:nvPr/>
        </p:nvGrpSpPr>
        <p:grpSpPr>
          <a:xfrm>
            <a:off x="142723" y="2360239"/>
            <a:ext cx="1717015" cy="1945463"/>
            <a:chOff x="142723" y="2049021"/>
            <a:chExt cx="2057400" cy="2331138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CEA596EF-E8CA-3576-8424-70716D0634D8}"/>
                </a:ext>
              </a:extLst>
            </p:cNvPr>
            <p:cNvSpPr/>
            <p:nvPr/>
          </p:nvSpPr>
          <p:spPr>
            <a:xfrm>
              <a:off x="228448" y="3789613"/>
              <a:ext cx="590550" cy="590546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00" b="0" i="0" u="none" strike="noStrike" kern="1200" cap="none" spc="0" normalizeH="0" baseline="0" noProof="0">
                <a:ln>
                  <a:noFill/>
                </a:ln>
                <a:solidFill>
                  <a:srgbClr val="988984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5B991EC6-3CD8-B09A-D9B4-F48AB219C01B}"/>
                </a:ext>
              </a:extLst>
            </p:cNvPr>
            <p:cNvSpPr txBox="1"/>
            <p:nvPr/>
          </p:nvSpPr>
          <p:spPr>
            <a:xfrm>
              <a:off x="142723" y="2049021"/>
              <a:ext cx="2057400" cy="2188621"/>
            </a:xfrm>
            <a:custGeom>
              <a:avLst/>
              <a:gdLst/>
              <a:ahLst/>
              <a:cxnLst/>
              <a:rect l="l" t="t" r="r" b="b"/>
              <a:pathLst>
                <a:path w="1741331" h="1852392">
                  <a:moveTo>
                    <a:pt x="320403" y="1577578"/>
                  </a:moveTo>
                  <a:cubicBezTo>
                    <a:pt x="362574" y="1578208"/>
                    <a:pt x="396085" y="1590815"/>
                    <a:pt x="420937" y="1615396"/>
                  </a:cubicBezTo>
                  <a:cubicBezTo>
                    <a:pt x="445788" y="1639978"/>
                    <a:pt x="458504" y="1672754"/>
                    <a:pt x="459083" y="1713724"/>
                  </a:cubicBezTo>
                  <a:cubicBezTo>
                    <a:pt x="458504" y="1755902"/>
                    <a:pt x="445788" y="1789414"/>
                    <a:pt x="420937" y="1814258"/>
                  </a:cubicBezTo>
                  <a:cubicBezTo>
                    <a:pt x="396085" y="1839103"/>
                    <a:pt x="362574" y="1851815"/>
                    <a:pt x="320403" y="1852392"/>
                  </a:cubicBezTo>
                  <a:cubicBezTo>
                    <a:pt x="281646" y="1851815"/>
                    <a:pt x="249503" y="1839103"/>
                    <a:pt x="223974" y="1814258"/>
                  </a:cubicBezTo>
                  <a:cubicBezTo>
                    <a:pt x="198445" y="1789414"/>
                    <a:pt x="185208" y="1755902"/>
                    <a:pt x="184261" y="1713724"/>
                  </a:cubicBezTo>
                  <a:cubicBezTo>
                    <a:pt x="185208" y="1672754"/>
                    <a:pt x="198445" y="1639978"/>
                    <a:pt x="223974" y="1615396"/>
                  </a:cubicBezTo>
                  <a:cubicBezTo>
                    <a:pt x="249503" y="1590815"/>
                    <a:pt x="281646" y="1578208"/>
                    <a:pt x="320403" y="1577578"/>
                  </a:cubicBezTo>
                  <a:close/>
                  <a:moveTo>
                    <a:pt x="0" y="0"/>
                  </a:moveTo>
                  <a:lnTo>
                    <a:pt x="1203927" y="0"/>
                  </a:lnTo>
                  <a:cubicBezTo>
                    <a:pt x="1378714" y="2931"/>
                    <a:pt x="1511822" y="50638"/>
                    <a:pt x="1603253" y="143120"/>
                  </a:cubicBezTo>
                  <a:cubicBezTo>
                    <a:pt x="1694684" y="235602"/>
                    <a:pt x="1740710" y="355274"/>
                    <a:pt x="1741331" y="502136"/>
                  </a:cubicBezTo>
                  <a:cubicBezTo>
                    <a:pt x="1739817" y="651646"/>
                    <a:pt x="1692426" y="773640"/>
                    <a:pt x="1599158" y="868117"/>
                  </a:cubicBezTo>
                  <a:cubicBezTo>
                    <a:pt x="1505889" y="962593"/>
                    <a:pt x="1375829" y="1011349"/>
                    <a:pt x="1208977" y="1014383"/>
                  </a:cubicBezTo>
                  <a:lnTo>
                    <a:pt x="567653" y="1014383"/>
                  </a:lnTo>
                  <a:cubicBezTo>
                    <a:pt x="524520" y="1014382"/>
                    <a:pt x="491486" y="1024485"/>
                    <a:pt x="468551" y="1044689"/>
                  </a:cubicBezTo>
                  <a:cubicBezTo>
                    <a:pt x="445617" y="1064894"/>
                    <a:pt x="434045" y="1095203"/>
                    <a:pt x="433834" y="1135615"/>
                  </a:cubicBezTo>
                  <a:lnTo>
                    <a:pt x="433834" y="1244078"/>
                  </a:lnTo>
                  <a:lnTo>
                    <a:pt x="201930" y="1244078"/>
                  </a:lnTo>
                  <a:lnTo>
                    <a:pt x="201930" y="1125505"/>
                  </a:lnTo>
                  <a:cubicBezTo>
                    <a:pt x="201873" y="1025312"/>
                    <a:pt x="232236" y="944380"/>
                    <a:pt x="293018" y="882707"/>
                  </a:cubicBezTo>
                  <a:cubicBezTo>
                    <a:pt x="353801" y="821035"/>
                    <a:pt x="445346" y="789308"/>
                    <a:pt x="567653" y="787527"/>
                  </a:cubicBezTo>
                  <a:lnTo>
                    <a:pt x="1206452" y="787527"/>
                  </a:lnTo>
                  <a:cubicBezTo>
                    <a:pt x="1294455" y="786685"/>
                    <a:pt x="1363362" y="762482"/>
                    <a:pt x="1413175" y="714916"/>
                  </a:cubicBezTo>
                  <a:cubicBezTo>
                    <a:pt x="1462987" y="667351"/>
                    <a:pt x="1488340" y="601475"/>
                    <a:pt x="1489234" y="517289"/>
                  </a:cubicBezTo>
                  <a:cubicBezTo>
                    <a:pt x="1488708" y="435207"/>
                    <a:pt x="1463881" y="369542"/>
                    <a:pt x="1414753" y="320293"/>
                  </a:cubicBezTo>
                  <a:cubicBezTo>
                    <a:pt x="1365624" y="271044"/>
                    <a:pt x="1295349" y="245788"/>
                    <a:pt x="1203927" y="244525"/>
                  </a:cubicBezTo>
                  <a:lnTo>
                    <a:pt x="0" y="244525"/>
                  </a:lnTo>
                  <a:close/>
                </a:path>
              </a:pathLst>
            </a:custGeom>
            <a:solidFill>
              <a:schemeClr val="tx1">
                <a:alpha val="27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b="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endParaRPr lang="en-US" sz="2400"/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CA58F9E8-A4C6-DA5F-50FB-6928E1174E9E}"/>
                </a:ext>
              </a:extLst>
            </p:cNvPr>
            <p:cNvSpPr/>
            <p:nvPr/>
          </p:nvSpPr>
          <p:spPr>
            <a:xfrm>
              <a:off x="350686" y="3911850"/>
              <a:ext cx="346074" cy="346072"/>
            </a:xfrm>
            <a:prstGeom prst="ellipse">
              <a:avLst/>
            </a:prstGeom>
            <a:gradFill>
              <a:gsLst>
                <a:gs pos="50000">
                  <a:srgbClr val="A05EB5"/>
                </a:gs>
                <a:gs pos="0">
                  <a:srgbClr val="BE0F0F"/>
                </a:gs>
                <a:gs pos="100000">
                  <a:srgbClr val="0096A4"/>
                </a:gs>
              </a:gsLst>
              <a:lin ang="19800000" scaled="0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kern="0">
                <a:solidFill>
                  <a:srgbClr val="FFFFFF"/>
                </a:solidFill>
              </a:endParaRPr>
            </a:p>
          </p:txBody>
        </p:sp>
      </p:grp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DC787-A717-1F7D-67F5-04E86DBA196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329315" y="2113739"/>
            <a:ext cx="9474200" cy="1600200"/>
          </a:xfrm>
        </p:spPr>
        <p:txBody>
          <a:bodyPr anchor="ctr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3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838381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63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43021 5.55112E-17 L 0.9724 5.55112E-17 " pathEditMode="fixed" rAng="0" ptsTypes="AA">
                                      <p:cBhvr>
                                        <p:cTn id="16" dur="22000" spd="-100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0130" y="0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1" nodeType="withEffect">
                                  <p:stCondLst>
                                    <p:cond delay="6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63" presetClass="path" presetSubtype="0" repeatCount="indefinite" fill="hold" grpId="0" nodeType="withEffect">
                                  <p:stCondLst>
                                    <p:cond delay="6000"/>
                                  </p:stCondLst>
                                  <p:childTnLst>
                                    <p:animMotion origin="layout" path="M -0.43021 5.55112E-17 L 0.96927 5.55112E-17 " pathEditMode="fixed" rAng="0" ptsTypes="AA">
                                      <p:cBhvr>
                                        <p:cTn id="20" dur="3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9974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0" grpId="1" animBg="1"/>
      <p:bldP spid="22" grpId="0" animBg="1"/>
      <p:bldP spid="22" grpId="1" animBg="1"/>
      <p:bldP spid="9" grpId="0" animBg="1"/>
      <p:bldP spid="2" grpId="0"/>
      <p:bldP spid="10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1151E9-0CB8-4D17-BCC8-31BDDDC1C9F6}" type="slidenum">
              <a:rPr lang="de-DE">
                <a:solidFill>
                  <a:srgbClr val="FFFFFF"/>
                </a:solidFill>
                <a:latin typeface="Calibri"/>
              </a:rPr>
              <a:pPr>
                <a:defRPr/>
              </a:pPr>
              <a:t>‹#›</a:t>
            </a:fld>
            <a:endParaRPr lang="de-DE">
              <a:solidFill>
                <a:srgbClr val="FFFFFF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17232299"/>
      </p:ext>
    </p:extLst>
  </p:cSld>
  <p:clrMapOvr>
    <a:masterClrMapping/>
  </p:clrMapOvr>
  <p:transition spd="slow">
    <p:wip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li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2"/>
          <p:cNvSpPr>
            <a:spLocks noGrp="1"/>
          </p:cNvSpPr>
          <p:nvPr>
            <p:ph idx="1"/>
          </p:nvPr>
        </p:nvSpPr>
        <p:spPr>
          <a:xfrm>
            <a:off x="2400001" y="1980001"/>
            <a:ext cx="8112491" cy="3681248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de-DE" err="1"/>
              <a:t>Textfomat</a:t>
            </a:r>
            <a:r>
              <a:rPr lang="de-DE"/>
              <a:t> durch Klick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FC8851-8A9A-49C3-B6E9-945C2E498AE7}" type="datetime1">
              <a:rPr lang="de-DE" smtClean="0"/>
              <a:t>10.03.2026</a:t>
            </a:fld>
            <a:endParaRPr lang="de-DE"/>
          </a:p>
        </p:txBody>
      </p:sp>
      <p:sp>
        <p:nvSpPr>
          <p:cNvPr id="5" name="Fußzeilenplatzhalt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rof. Dr. med Martin Reck, Onkologie</a:t>
            </a:r>
          </a:p>
        </p:txBody>
      </p:sp>
      <p:sp>
        <p:nvSpPr>
          <p:cNvPr id="6" name="Foliennummernplatzhalter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A03690-3245-496D-9537-5CF0ACF9EFD6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71605919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4D0175-BDD0-4664-A57C-4E111E53FC87}" type="datetimeFigureOut">
              <a:rPr lang="de-DE" smtClean="0"/>
              <a:t>10.03.2026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13E133-C834-4C21-B090-F66ED203318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340084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31371" y="1028734"/>
            <a:ext cx="7584843" cy="2237052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199456" y="3909053"/>
            <a:ext cx="9409045" cy="1752600"/>
          </a:xfrm>
        </p:spPr>
        <p:txBody>
          <a:bodyPr anchor="ctr"/>
          <a:lstStyle>
            <a:lvl1pPr marL="0" indent="0" algn="l">
              <a:buNone/>
              <a:defRPr>
                <a:solidFill>
                  <a:srgbClr val="003737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6D8CEE5-CADD-0DF2-6332-CA2DE40E87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EA6B46-CE97-4741-8A34-B0DFCE806787}" type="datetime1">
              <a:rPr lang="de-DE"/>
              <a:pPr>
                <a:defRPr/>
              </a:pPr>
              <a:t>10.03.20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772044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2"/>
          <p:cNvSpPr>
            <a:spLocks noGrp="1"/>
          </p:cNvSpPr>
          <p:nvPr>
            <p:ph idx="1"/>
          </p:nvPr>
        </p:nvSpPr>
        <p:spPr>
          <a:xfrm>
            <a:off x="1368000" y="2371200"/>
            <a:ext cx="9025003" cy="3681248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buClr>
                <a:srgbClr val="1E963C"/>
              </a:buClr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720000" y="1315201"/>
            <a:ext cx="9793088" cy="8001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2" name="Datumsplatzhalter 9">
            <a:extLst>
              <a:ext uri="{FF2B5EF4-FFF2-40B4-BE49-F238E27FC236}">
                <a16:creationId xmlns:a16="http://schemas.microsoft.com/office/drawing/2014/main" id="{9E6BF098-5B82-3BAA-3447-494A106178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588F96-8CA0-2045-9966-333F7468542A}" type="datetime1">
              <a:rPr lang="de-DE"/>
              <a:pPr>
                <a:defRPr/>
              </a:pPr>
              <a:t>10.03.2026</a:t>
            </a:fld>
            <a:endParaRPr lang="de-DE"/>
          </a:p>
        </p:txBody>
      </p:sp>
      <p:sp>
        <p:nvSpPr>
          <p:cNvPr id="3" name="Fußzeilenplatzhalter 12">
            <a:extLst>
              <a:ext uri="{FF2B5EF4-FFF2-40B4-BE49-F238E27FC236}">
                <a16:creationId xmlns:a16="http://schemas.microsoft.com/office/drawing/2014/main" id="{213101D8-704F-9FC4-7BFA-8DC11F0E59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Titel</a:t>
            </a:r>
          </a:p>
        </p:txBody>
      </p:sp>
      <p:sp>
        <p:nvSpPr>
          <p:cNvPr id="4" name="Foliennummernplatzhalter 16">
            <a:extLst>
              <a:ext uri="{FF2B5EF4-FFF2-40B4-BE49-F238E27FC236}">
                <a16:creationId xmlns:a16="http://schemas.microsoft.com/office/drawing/2014/main" id="{68081DFB-026D-6728-97B6-7BCCA9A2E5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 Seite </a:t>
            </a:r>
            <a:fld id="{5FC54F85-4BF3-5F45-ABE3-C90A7B04D45C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28147453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F67090-231C-9746-91EF-6F4FA5F16F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048" y="452424"/>
            <a:ext cx="11227904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FDD6EBA-B3E1-5F4B-8990-933C1995E5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4A698F-DFE5-3D41-B7E4-E8F7EB42528A}" type="datetimeFigureOut">
              <a:rPr lang="en-US" smtClean="0"/>
              <a:t>3/10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2DB52B-247B-D748-8F6C-4125613048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249C397-219F-FC40-B715-12F36A099A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9C1EA4-5D7C-3846-99EA-FAA01109CD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181252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AEE743-CEF6-8852-6F13-055E329356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0897" y="292609"/>
            <a:ext cx="10652761" cy="68066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3D39A1-AEDA-2CFB-6D97-CBE102C904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0EE0EA-DC66-42A6-A457-9161CC2783E9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52">
            <a:extLst>
              <a:ext uri="{FF2B5EF4-FFF2-40B4-BE49-F238E27FC236}">
                <a16:creationId xmlns:a16="http://schemas.microsoft.com/office/drawing/2014/main" id="{8C1FD818-6DA3-D17D-9A8C-A86543C9EAB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3" y="6519793"/>
            <a:ext cx="11430000" cy="22390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900"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footnotes/references</a:t>
            </a:r>
          </a:p>
        </p:txBody>
      </p:sp>
    </p:spTree>
    <p:extLst>
      <p:ext uri="{BB962C8B-B14F-4D97-AF65-F5344CB8AC3E}">
        <p14:creationId xmlns:p14="http://schemas.microsoft.com/office/powerpoint/2010/main" val="512358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9635B2-3D27-4FA3-B863-05E4C9624A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2"/>
            <a:ext cx="11376024" cy="1007427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nter title her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91E4B5EC-9E53-45C3-B765-C1C483A070D0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07988" y="1567815"/>
            <a:ext cx="5630862" cy="4261047"/>
          </a:xfrm>
        </p:spPr>
        <p:txBody>
          <a:bodyPr lIns="0" tIns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2000">
                <a:latin typeface="+mn-lt"/>
              </a:defRPr>
            </a:lvl1pPr>
            <a:lvl2pPr marL="460800" indent="-228600">
              <a:lnSpc>
                <a:spcPct val="100000"/>
              </a:lnSpc>
              <a:defRPr sz="2000">
                <a:latin typeface="+mn-lt"/>
              </a:defRPr>
            </a:lvl2pPr>
            <a:lvl3pPr>
              <a:lnSpc>
                <a:spcPct val="100000"/>
              </a:lnSpc>
              <a:defRPr sz="1800">
                <a:latin typeface="+mn-lt"/>
              </a:defRPr>
            </a:lvl3pPr>
            <a:lvl4pPr>
              <a:lnSpc>
                <a:spcPct val="100000"/>
              </a:lnSpc>
              <a:defRPr sz="1800">
                <a:latin typeface="+mn-lt"/>
              </a:defRPr>
            </a:lvl4pPr>
            <a:lvl5pPr>
              <a:lnSpc>
                <a:spcPct val="100000"/>
              </a:lnSpc>
              <a:defRPr sz="1800">
                <a:latin typeface="+mn-lt"/>
              </a:defRPr>
            </a:lvl5pPr>
          </a:lstStyle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</a:t>
            </a:r>
            <a:br>
              <a:rPr lang="en-US"/>
            </a:br>
            <a:r>
              <a:rPr lang="en-US"/>
              <a:t>‘Keep text only’.</a:t>
            </a:r>
            <a:br>
              <a:rPr lang="en-US"/>
            </a:br>
            <a:r>
              <a:rPr lang="en-US"/>
              <a:t>To increase bullet level, select your text and press Tab.</a:t>
            </a:r>
            <a:br>
              <a:rPr lang="en-US"/>
            </a:br>
            <a:r>
              <a:rPr lang="en-US"/>
              <a:t>To decrease bullet level, select your bullet text and press Shift + Tab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6">
            <a:extLst>
              <a:ext uri="{FF2B5EF4-FFF2-40B4-BE49-F238E27FC236}">
                <a16:creationId xmlns:a16="http://schemas.microsoft.com/office/drawing/2014/main" id="{5BB2B602-8858-F18F-CAEC-7E56CA3410D9}"/>
              </a:ext>
            </a:extLst>
          </p:cNvPr>
          <p:cNvSpPr>
            <a:spLocks noGrp="1"/>
          </p:cNvSpPr>
          <p:nvPr>
            <p:ph type="body" sz="quarter" idx="112" hasCustomPrompt="1"/>
          </p:nvPr>
        </p:nvSpPr>
        <p:spPr>
          <a:xfrm>
            <a:off x="407987" y="5842000"/>
            <a:ext cx="11376023" cy="323850"/>
          </a:xfrm>
        </p:spPr>
        <p:txBody>
          <a:bodyPr lIns="0" tIns="0" rIns="0" bIns="0" anchor="b" anchorCtr="0">
            <a:noAutofit/>
          </a:bodyPr>
          <a:lstStyle>
            <a:lvl1pPr>
              <a:lnSpc>
                <a:spcPct val="100000"/>
              </a:lnSpc>
              <a:spcAft>
                <a:spcPts val="300"/>
              </a:spcAft>
              <a:buNone/>
              <a:defRPr sz="8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Footer content and references</a:t>
            </a:r>
          </a:p>
        </p:txBody>
      </p:sp>
      <p:sp>
        <p:nvSpPr>
          <p:cNvPr id="4" name="Content Placeholder 7">
            <a:extLst>
              <a:ext uri="{FF2B5EF4-FFF2-40B4-BE49-F238E27FC236}">
                <a16:creationId xmlns:a16="http://schemas.microsoft.com/office/drawing/2014/main" id="{8E966D28-F1DF-4B4C-78B1-522DC6D08A98}"/>
              </a:ext>
            </a:extLst>
          </p:cNvPr>
          <p:cNvSpPr>
            <a:spLocks noGrp="1"/>
          </p:cNvSpPr>
          <p:nvPr>
            <p:ph sz="quarter" idx="113" hasCustomPrompt="1"/>
          </p:nvPr>
        </p:nvSpPr>
        <p:spPr>
          <a:xfrm>
            <a:off x="6160719" y="1567815"/>
            <a:ext cx="5630862" cy="4261047"/>
          </a:xfrm>
        </p:spPr>
        <p:txBody>
          <a:bodyPr lIns="0" tIns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2000">
                <a:latin typeface="+mn-lt"/>
              </a:defRPr>
            </a:lvl1pPr>
            <a:lvl2pPr marL="460800" indent="-228600">
              <a:lnSpc>
                <a:spcPct val="100000"/>
              </a:lnSpc>
              <a:defRPr sz="2000">
                <a:latin typeface="+mn-lt"/>
              </a:defRPr>
            </a:lvl2pPr>
            <a:lvl3pPr>
              <a:lnSpc>
                <a:spcPct val="100000"/>
              </a:lnSpc>
              <a:defRPr sz="1800">
                <a:latin typeface="+mn-lt"/>
              </a:defRPr>
            </a:lvl3pPr>
            <a:lvl4pPr>
              <a:lnSpc>
                <a:spcPct val="100000"/>
              </a:lnSpc>
              <a:defRPr sz="1800">
                <a:latin typeface="+mn-lt"/>
              </a:defRPr>
            </a:lvl4pPr>
            <a:lvl5pPr>
              <a:lnSpc>
                <a:spcPct val="100000"/>
              </a:lnSpc>
              <a:defRPr sz="1800">
                <a:latin typeface="+mn-lt"/>
              </a:defRPr>
            </a:lvl5pPr>
          </a:lstStyle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</a:t>
            </a:r>
            <a:br>
              <a:rPr lang="en-US"/>
            </a:br>
            <a:r>
              <a:rPr lang="en-US"/>
              <a:t>‘Keep text only’.</a:t>
            </a:r>
            <a:br>
              <a:rPr lang="en-US"/>
            </a:br>
            <a:r>
              <a:rPr lang="en-US"/>
              <a:t>To increase bullet level, select your text and press Tab.</a:t>
            </a:r>
            <a:br>
              <a:rPr lang="en-US"/>
            </a:br>
            <a:r>
              <a:rPr lang="en-US"/>
              <a:t>To decrease bullet level, select your bullet text and press Shift + Tab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665C31B8-7DFA-1EE9-4B0C-146C00E10D6B}"/>
              </a:ext>
            </a:extLst>
          </p:cNvPr>
          <p:cNvSpPr/>
          <p:nvPr userDrawn="1"/>
        </p:nvSpPr>
        <p:spPr>
          <a:xfrm>
            <a:off x="619662" y="6258617"/>
            <a:ext cx="11572337" cy="608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err="1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6F051E5D-B1EB-7D86-270D-AF906A1E757D}"/>
              </a:ext>
            </a:extLst>
          </p:cNvPr>
          <p:cNvSpPr/>
          <p:nvPr userDrawn="1"/>
        </p:nvSpPr>
        <p:spPr>
          <a:xfrm>
            <a:off x="-6954" y="6258617"/>
            <a:ext cx="632375" cy="608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err="1"/>
          </a:p>
        </p:txBody>
      </p:sp>
      <p:pic>
        <p:nvPicPr>
          <p:cNvPr id="41" name="Picture 2" descr="Image result for ASTRAZENECA LOGO">
            <a:extLst>
              <a:ext uri="{FF2B5EF4-FFF2-40B4-BE49-F238E27FC236}">
                <a16:creationId xmlns:a16="http://schemas.microsoft.com/office/drawing/2014/main" id="{B66D283D-D8F7-432F-0FB2-49AB8ED09A5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77168" y="6309566"/>
            <a:ext cx="1506846" cy="4083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Text Placeholder 96">
            <a:extLst>
              <a:ext uri="{FF2B5EF4-FFF2-40B4-BE49-F238E27FC236}">
                <a16:creationId xmlns:a16="http://schemas.microsoft.com/office/drawing/2014/main" id="{556CDFB8-EDE1-1A29-A95A-D1EADC617B91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897839" y="6237289"/>
            <a:ext cx="7053949" cy="620710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00000"/>
              </a:lnSpc>
              <a:spcAft>
                <a:spcPts val="300"/>
              </a:spcAft>
              <a:buNone/>
              <a:defRPr sz="800">
                <a:solidFill>
                  <a:schemeClr val="bg1"/>
                </a:solidFill>
              </a:defRPr>
            </a:lvl1pPr>
          </a:lstStyle>
          <a:p>
            <a:pPr marL="0" indent="0"/>
            <a:r>
              <a:rPr lang="en-GB"/>
              <a:t>This event is a non-promotional meeting organised and funded by AstraZeneca. For healthcare professionals only. </a:t>
            </a:r>
            <a:br>
              <a:rPr lang="en-GB"/>
            </a:br>
            <a:r>
              <a:rPr lang="en-GB"/>
              <a:t>Z4-71738</a:t>
            </a:r>
            <a:r>
              <a:rPr lang="en-GB">
                <a:solidFill>
                  <a:srgbClr val="FF0000"/>
                </a:solidFill>
              </a:rPr>
              <a:t> </a:t>
            </a:r>
            <a:r>
              <a:rPr lang="en-GB"/>
              <a:t>Date of preparation: February 2025. </a:t>
            </a:r>
          </a:p>
        </p:txBody>
      </p:sp>
      <p:sp>
        <p:nvSpPr>
          <p:cNvPr id="44" name="Slide Number Placeholder 9">
            <a:extLst>
              <a:ext uri="{FF2B5EF4-FFF2-40B4-BE49-F238E27FC236}">
                <a16:creationId xmlns:a16="http://schemas.microsoft.com/office/drawing/2014/main" id="{7E355444-45E4-1ED9-D7D7-3047C5D284F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-1" y="6253916"/>
            <a:ext cx="632373" cy="576965"/>
          </a:xfrm>
          <a:prstGeom prst="rect">
            <a:avLst/>
          </a:prstGeom>
        </p:spPr>
        <p:txBody>
          <a:bodyPr bIns="0" anchor="ctr"/>
          <a:lstStyle>
            <a:lvl1pPr algn="ctr">
              <a:lnSpc>
                <a:spcPct val="100000"/>
              </a:lnSpc>
              <a:defRPr sz="1200">
                <a:solidFill>
                  <a:schemeClr val="bg1"/>
                </a:solidFill>
              </a:defRPr>
            </a:lvl1pPr>
          </a:lstStyle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42953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391">
          <p15:clr>
            <a:srgbClr val="A4A3A4"/>
          </p15:clr>
        </p15:guide>
        <p15:guide id="2" pos="1463">
          <p15:clr>
            <a:srgbClr val="A4A3A4"/>
          </p15:clr>
        </p15:guide>
        <p15:guide id="3" pos="2598">
          <p15:clr>
            <a:srgbClr val="A4A3A4"/>
          </p15:clr>
        </p15:guide>
        <p15:guide id="4" pos="2669">
          <p15:clr>
            <a:srgbClr val="A4A3A4"/>
          </p15:clr>
        </p15:guide>
        <p15:guide id="5" pos="3804">
          <p15:clr>
            <a:srgbClr val="A4A3A4"/>
          </p15:clr>
        </p15:guide>
        <p15:guide id="6" pos="3876">
          <p15:clr>
            <a:srgbClr val="A4A3A4"/>
          </p15:clr>
        </p15:guide>
        <p15:guide id="7" pos="5009">
          <p15:clr>
            <a:srgbClr val="A4A3A4"/>
          </p15:clr>
        </p15:guide>
        <p15:guide id="8" pos="5082">
          <p15:clr>
            <a:srgbClr val="A4A3A4"/>
          </p15:clr>
        </p15:guide>
        <p15:guide id="9" pos="6215">
          <p15:clr>
            <a:srgbClr val="A4A3A4"/>
          </p15:clr>
        </p15:guide>
        <p15:guide id="10" pos="6288">
          <p15:clr>
            <a:srgbClr val="A4A3A4"/>
          </p15:clr>
        </p15:guide>
        <p15:guide id="11" orient="horz" pos="890">
          <p15:clr>
            <a:srgbClr val="C35EA4"/>
          </p15:clr>
        </p15:guide>
        <p15:guide id="12" orient="horz" pos="981">
          <p15:clr>
            <a:srgbClr val="C35EA4"/>
          </p15:clr>
        </p15:guide>
        <p15:guide id="13" orient="horz" pos="3680">
          <p15:clr>
            <a:srgbClr val="FBAE40"/>
          </p15:clr>
        </p15:guide>
        <p15:guide id="14" orient="horz" pos="3884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chart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62581"/>
            <a:ext cx="12190187" cy="11414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858162" y="2210316"/>
            <a:ext cx="10521044" cy="4114800"/>
          </a:xfrm>
        </p:spPr>
        <p:txBody>
          <a:bodyPr/>
          <a:lstStyle/>
          <a:p>
            <a:pPr lvl="0"/>
            <a:endParaRPr lang="nl-NL" noProof="0"/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54D2AC19-5913-5021-7557-7E9E775BADEE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Times New Roman" pitchFamily="18" charset="0"/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1EF6EF0C-AC65-C5A4-8C6D-627B5260A944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>
                <a:latin typeface="Times New Roman" pitchFamily="18" charset="0"/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4668F61C-4728-3985-C3B3-34064A43043B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0CDB60C-5E55-FC46-BB61-C690ED994324}" type="slidenum">
              <a:rPr lang="en-US" altLang="de-DE"/>
              <a:pPr/>
              <a:t>‹#›</a:t>
            </a:fld>
            <a:endParaRPr lang="en-US" altLang="de-DE"/>
          </a:p>
        </p:txBody>
      </p:sp>
    </p:spTree>
    <p:extLst>
      <p:ext uri="{BB962C8B-B14F-4D97-AF65-F5344CB8AC3E}">
        <p14:creationId xmlns:p14="http://schemas.microsoft.com/office/powerpoint/2010/main" val="121599827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926E69-4463-784F-98D6-C9E3793241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B0B889-C65B-FF4C-918B-4954416E1A6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371603"/>
            <a:ext cx="5181600" cy="4805363"/>
          </a:xfrm>
        </p:spPr>
        <p:txBody>
          <a:bodyPr anchor="ctr"/>
          <a:lstStyle>
            <a:lvl1pPr>
              <a:defRPr sz="21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CE3671C-C383-B348-9D73-B8EA91AEAB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371603"/>
            <a:ext cx="5181600" cy="4805363"/>
          </a:xfrm>
        </p:spPr>
        <p:txBody>
          <a:bodyPr anchor="ctr"/>
          <a:lstStyle>
            <a:lvl1pPr>
              <a:defRPr sz="21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1189228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lie Abschluss der Prä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22521914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720000" y="1315201"/>
            <a:ext cx="9793088" cy="8001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9" name="Textplatzhalter 2"/>
          <p:cNvSpPr>
            <a:spLocks noGrp="1"/>
          </p:cNvSpPr>
          <p:nvPr>
            <p:ph idx="1"/>
          </p:nvPr>
        </p:nvSpPr>
        <p:spPr>
          <a:xfrm>
            <a:off x="1368000" y="2371200"/>
            <a:ext cx="8832533" cy="3681248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 defTabSz="47999">
              <a:lnSpc>
                <a:spcPts val="3200"/>
              </a:lnSpc>
              <a:buClr>
                <a:srgbClr val="1E963C"/>
              </a:buClr>
              <a:buSzPct val="112000"/>
              <a:buFontTx/>
              <a:buNone/>
              <a:tabLst>
                <a:tab pos="191995" algn="l"/>
              </a:tabLst>
              <a:defRPr sz="2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990575" indent="-380990">
              <a:buClr>
                <a:srgbClr val="1E963C"/>
              </a:buClr>
              <a:buFont typeface="Courier New" panose="02070309020205020404" pitchFamily="49" charset="0"/>
              <a:buChar char="o"/>
              <a:defRPr sz="2800"/>
            </a:lvl2pPr>
            <a:lvl3pPr marL="1523962" indent="-304792">
              <a:buClr>
                <a:srgbClr val="1E963C"/>
              </a:buClr>
              <a:buFont typeface="Wingdings" panose="05000000000000000000" pitchFamily="2" charset="2"/>
              <a:buChar char="§"/>
              <a:defRPr sz="2800"/>
            </a:lvl3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" name="Datumsplatzhalter 9">
            <a:extLst>
              <a:ext uri="{FF2B5EF4-FFF2-40B4-BE49-F238E27FC236}">
                <a16:creationId xmlns:a16="http://schemas.microsoft.com/office/drawing/2014/main" id="{208DBB1C-6916-93A0-B682-45F2F40FBE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309A21-ABEC-DD4E-AB3A-0FD42AFE1A6C}" type="datetime1">
              <a:rPr lang="de-DE"/>
              <a:pPr>
                <a:defRPr/>
              </a:pPr>
              <a:t>10.03.2026</a:t>
            </a:fld>
            <a:endParaRPr lang="de-DE"/>
          </a:p>
        </p:txBody>
      </p:sp>
      <p:sp>
        <p:nvSpPr>
          <p:cNvPr id="3" name="Fußzeilenplatzhalter 12">
            <a:extLst>
              <a:ext uri="{FF2B5EF4-FFF2-40B4-BE49-F238E27FC236}">
                <a16:creationId xmlns:a16="http://schemas.microsoft.com/office/drawing/2014/main" id="{DD5D8B0A-06C2-A592-17B7-1BD72006D4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Titel</a:t>
            </a:r>
          </a:p>
        </p:txBody>
      </p:sp>
      <p:sp>
        <p:nvSpPr>
          <p:cNvPr id="4" name="Foliennummernplatzhalter 16">
            <a:extLst>
              <a:ext uri="{FF2B5EF4-FFF2-40B4-BE49-F238E27FC236}">
                <a16:creationId xmlns:a16="http://schemas.microsoft.com/office/drawing/2014/main" id="{BB9EE468-724B-0562-7B5D-F410F044B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 Seite </a:t>
            </a:r>
            <a:fld id="{AB4A1340-A03C-C448-91AA-C842148184F5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01429328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 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6A814DB-805B-E440-A73B-F9CEBE636CDC}"/>
              </a:ext>
            </a:extLst>
          </p:cNvPr>
          <p:cNvSpPr/>
          <p:nvPr userDrawn="1"/>
        </p:nvSpPr>
        <p:spPr>
          <a:xfrm>
            <a:off x="0" y="6788151"/>
            <a:ext cx="12192000" cy="698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1EED16E-EA97-4B19-AC65-1AC10BD1E2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936" y="1014741"/>
            <a:ext cx="115200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iseases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109B477-8C31-4B35-ADA5-43065A29C47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76B5FCD-3849-42BD-B56B-22E62382A2C3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9DFADE3-2906-4AFF-8FB1-5E5B62D9BB2C}"/>
              </a:ext>
            </a:extLst>
          </p:cNvPr>
          <p:cNvGrpSpPr/>
          <p:nvPr userDrawn="1"/>
        </p:nvGrpSpPr>
        <p:grpSpPr>
          <a:xfrm>
            <a:off x="252985" y="6547104"/>
            <a:ext cx="1432967" cy="211933"/>
            <a:chOff x="252984" y="6547104"/>
            <a:chExt cx="1432967" cy="211933"/>
          </a:xfrm>
        </p:grpSpPr>
        <p:pic>
          <p:nvPicPr>
            <p:cNvPr id="6" name="Picture 5" descr="A picture containing icon&#10;&#10;Description automatically generated">
              <a:extLst>
                <a:ext uri="{FF2B5EF4-FFF2-40B4-BE49-F238E27FC236}">
                  <a16:creationId xmlns:a16="http://schemas.microsoft.com/office/drawing/2014/main" id="{139219CF-C078-467E-9C88-184D6C317D1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1281"/>
            <a:stretch/>
          </p:blipFill>
          <p:spPr>
            <a:xfrm>
              <a:off x="252984" y="6547104"/>
              <a:ext cx="532957" cy="210312"/>
            </a:xfrm>
            <a:prstGeom prst="rect">
              <a:avLst/>
            </a:prstGeom>
            <a:noFill/>
          </p:spPr>
        </p:pic>
        <p:pic>
          <p:nvPicPr>
            <p:cNvPr id="7" name="Picture 6" descr="A picture containing icon&#10;&#10;Description automatically generated">
              <a:extLst>
                <a:ext uri="{FF2B5EF4-FFF2-40B4-BE49-F238E27FC236}">
                  <a16:creationId xmlns:a16="http://schemas.microsoft.com/office/drawing/2014/main" id="{F4D97218-5DEF-46BD-A7E4-5F5894DF795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9231"/>
            <a:stretch/>
          </p:blipFill>
          <p:spPr>
            <a:xfrm>
              <a:off x="849487" y="6548725"/>
              <a:ext cx="836464" cy="210312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8640476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4">
            <a:extLst>
              <a:ext uri="{FF2B5EF4-FFF2-40B4-BE49-F238E27FC236}">
                <a16:creationId xmlns:a16="http://schemas.microsoft.com/office/drawing/2014/main" id="{6C9E8814-47D2-4836-B428-0A1DB1842D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6063" y="6587624"/>
            <a:ext cx="346284" cy="169277"/>
          </a:xfrm>
          <a:prstGeom prst="rect">
            <a:avLst/>
          </a:prstGeom>
        </p:spPr>
        <p:txBody>
          <a:bodyPr vert="horz" wrap="square" lIns="0" tIns="0" rIns="0" bIns="0" anchor="ctr" anchorCtr="0">
            <a:spAutoFit/>
          </a:bodyPr>
          <a:lstStyle>
            <a:lvl1pPr algn="r" eaLnBrk="1" latinLnBrk="0" hangingPunct="1">
              <a:defRPr kumimoji="0" sz="1100">
                <a:solidFill>
                  <a:srgbClr val="FFFFFF"/>
                </a:solidFill>
              </a:defRPr>
            </a:lvl1pPr>
            <a:extLst/>
          </a:lstStyle>
          <a:p>
            <a:fld id="{91974DF9-AD47-4691-BA21-BBFCE3637A9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135EDCFC-1776-4EA9-B348-58F307FE313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7" y="6595505"/>
            <a:ext cx="10514012" cy="138499"/>
          </a:xfrm>
        </p:spPr>
        <p:txBody>
          <a:bodyPr wrap="square" anchor="b">
            <a:noAutofit/>
          </a:bodyPr>
          <a:lstStyle>
            <a:lvl1pPr>
              <a:spcBef>
                <a:spcPts val="40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8794852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21FEA67-EB38-9274-2C00-F953ECC55FDD}"/>
              </a:ext>
            </a:extLst>
          </p:cNvPr>
          <p:cNvSpPr/>
          <p:nvPr userDrawn="1"/>
        </p:nvSpPr>
        <p:spPr>
          <a:xfrm rot="18900000">
            <a:off x="10840255" y="-14463"/>
            <a:ext cx="1553431" cy="1075747"/>
          </a:xfrm>
          <a:custGeom>
            <a:avLst/>
            <a:gdLst>
              <a:gd name="connsiteX0" fmla="*/ 3727213 w 5917366"/>
              <a:gd name="connsiteY0" fmla="*/ 0 h 4097757"/>
              <a:gd name="connsiteX1" fmla="*/ 5917366 w 5917366"/>
              <a:gd name="connsiteY1" fmla="*/ 2190153 h 4097757"/>
              <a:gd name="connsiteX2" fmla="*/ 4009762 w 5917366"/>
              <a:gd name="connsiteY2" fmla="*/ 4097757 h 4097757"/>
              <a:gd name="connsiteX3" fmla="*/ 2048878 w 5917366"/>
              <a:gd name="connsiteY3" fmla="*/ 4097757 h 4097757"/>
              <a:gd name="connsiteX4" fmla="*/ 0 w 5917366"/>
              <a:gd name="connsiteY4" fmla="*/ 2048881 h 4097757"/>
              <a:gd name="connsiteX5" fmla="*/ 2048880 w 5917366"/>
              <a:gd name="connsiteY5" fmla="*/ 1 h 4097757"/>
              <a:gd name="connsiteX6" fmla="*/ 3727213 w 5917366"/>
              <a:gd name="connsiteY6" fmla="*/ 0 h 40977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17366" h="4097757">
                <a:moveTo>
                  <a:pt x="3727213" y="0"/>
                </a:moveTo>
                <a:lnTo>
                  <a:pt x="5917366" y="2190153"/>
                </a:lnTo>
                <a:lnTo>
                  <a:pt x="4009762" y="4097757"/>
                </a:lnTo>
                <a:lnTo>
                  <a:pt x="2048878" y="4097757"/>
                </a:lnTo>
                <a:cubicBezTo>
                  <a:pt x="917314" y="4097759"/>
                  <a:pt x="0" y="3180445"/>
                  <a:pt x="0" y="2048881"/>
                </a:cubicBezTo>
                <a:cubicBezTo>
                  <a:pt x="0" y="917315"/>
                  <a:pt x="917314" y="1"/>
                  <a:pt x="2048880" y="1"/>
                </a:cubicBezTo>
                <a:lnTo>
                  <a:pt x="3727213" y="0"/>
                </a:lnTo>
                <a:close/>
              </a:path>
            </a:pathLst>
          </a:custGeom>
          <a:solidFill>
            <a:srgbClr val="B8BA0B">
              <a:alpha val="4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900" noProof="0">
              <a:latin typeface="Arial" panose="020B0604020202020204" pitchFamily="34" charset="0"/>
            </a:endParaRPr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E57444AB-289E-E0FC-020C-F6C7C950BB36}"/>
              </a:ext>
            </a:extLst>
          </p:cNvPr>
          <p:cNvSpPr/>
          <p:nvPr userDrawn="1"/>
        </p:nvSpPr>
        <p:spPr>
          <a:xfrm flipV="1">
            <a:off x="0" y="6070463"/>
            <a:ext cx="12192000" cy="787539"/>
          </a:xfrm>
          <a:prstGeom prst="rect">
            <a:avLst/>
          </a:prstGeom>
          <a:solidFill>
            <a:srgbClr val="005A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noProof="0">
              <a:latin typeface="Arial" panose="020B0604020202020204" pitchFamily="34" charset="0"/>
            </a:endParaRPr>
          </a:p>
        </p:txBody>
      </p:sp>
      <p:sp>
        <p:nvSpPr>
          <p:cNvPr id="10" name="Segnaposto testo 26">
            <a:extLst>
              <a:ext uri="{FF2B5EF4-FFF2-40B4-BE49-F238E27FC236}">
                <a16:creationId xmlns:a16="http://schemas.microsoft.com/office/drawing/2014/main" id="{FC337677-FDB6-B325-8B5D-C3E646506C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0701" y="1260373"/>
            <a:ext cx="9182100" cy="193103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6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228594" indent="0">
              <a:buNone/>
              <a:defRPr sz="3600">
                <a:gradFill>
                  <a:gsLst>
                    <a:gs pos="0">
                      <a:srgbClr val="B8BA0B"/>
                    </a:gs>
                    <a:gs pos="100000">
                      <a:srgbClr val="005A9A"/>
                    </a:gs>
                  </a:gsLst>
                  <a:lin ang="10800000" scaled="0"/>
                </a:gradFill>
              </a:defRPr>
            </a:lvl2pPr>
            <a:lvl3pPr marL="457189" indent="0">
              <a:buNone/>
              <a:defRPr sz="3600">
                <a:gradFill>
                  <a:gsLst>
                    <a:gs pos="0">
                      <a:srgbClr val="B8BA0B"/>
                    </a:gs>
                    <a:gs pos="100000">
                      <a:srgbClr val="005A9A"/>
                    </a:gs>
                  </a:gsLst>
                  <a:lin ang="10800000" scaled="0"/>
                </a:gradFill>
              </a:defRPr>
            </a:lvl3pPr>
            <a:lvl4pPr marL="685783" indent="0">
              <a:buNone/>
              <a:defRPr sz="3600">
                <a:gradFill>
                  <a:gsLst>
                    <a:gs pos="0">
                      <a:srgbClr val="B8BA0B"/>
                    </a:gs>
                    <a:gs pos="100000">
                      <a:srgbClr val="005A9A"/>
                    </a:gs>
                  </a:gsLst>
                  <a:lin ang="10800000" scaled="0"/>
                </a:gradFill>
              </a:defRPr>
            </a:lvl4pPr>
            <a:lvl5pPr marL="914377" indent="0">
              <a:buNone/>
              <a:defRPr sz="3600">
                <a:gradFill>
                  <a:gsLst>
                    <a:gs pos="0">
                      <a:srgbClr val="B8BA0B"/>
                    </a:gs>
                    <a:gs pos="100000">
                      <a:srgbClr val="005A9A"/>
                    </a:gs>
                  </a:gsLst>
                  <a:lin ang="10800000" scaled="0"/>
                </a:gradFill>
              </a:defRPr>
            </a:lvl5pPr>
          </a:lstStyle>
          <a:p>
            <a:pPr lvl="0"/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ctetur</a:t>
            </a:r>
            <a:r>
              <a:rPr lang="en-US" noProof="0"/>
              <a:t> </a:t>
            </a:r>
            <a:r>
              <a:rPr lang="en-US" noProof="0" err="1"/>
              <a:t>adipiscing</a:t>
            </a:r>
            <a:r>
              <a:rPr lang="en-US" noProof="0"/>
              <a:t> </a:t>
            </a:r>
            <a:r>
              <a:rPr lang="en-US" noProof="0" err="1"/>
              <a:t>elit</a:t>
            </a:r>
            <a:r>
              <a:rPr lang="en-US" noProof="0"/>
              <a:t>, sed do </a:t>
            </a:r>
            <a:r>
              <a:rPr lang="en-US" noProof="0" err="1"/>
              <a:t>eius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cid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a</a:t>
            </a:r>
            <a:r>
              <a:rPr lang="en-US" noProof="0"/>
              <a:t>. Ut </a:t>
            </a:r>
            <a:r>
              <a:rPr lang="en-US" noProof="0" err="1"/>
              <a:t>enim</a:t>
            </a:r>
            <a:r>
              <a:rPr lang="en-US" noProof="0"/>
              <a:t> ad minim </a:t>
            </a:r>
            <a:r>
              <a:rPr lang="en-US" noProof="0" err="1"/>
              <a:t>veniam</a:t>
            </a:r>
            <a:r>
              <a:rPr lang="en-US" noProof="0"/>
              <a:t>, </a:t>
            </a:r>
            <a:r>
              <a:rPr lang="en-US" noProof="0" err="1"/>
              <a:t>quis</a:t>
            </a:r>
            <a:r>
              <a:rPr lang="en-US" noProof="0"/>
              <a:t> </a:t>
            </a:r>
            <a:r>
              <a:rPr lang="en-US" noProof="0" err="1"/>
              <a:t>nostrud</a:t>
            </a:r>
            <a:r>
              <a:rPr lang="en-US" noProof="0"/>
              <a:t> exercitation </a:t>
            </a:r>
            <a:r>
              <a:rPr lang="en-US" noProof="0" err="1"/>
              <a:t>ullamco</a:t>
            </a:r>
            <a:r>
              <a:rPr lang="en-US" noProof="0"/>
              <a:t> </a:t>
            </a:r>
            <a:r>
              <a:rPr lang="en-US" noProof="0" err="1"/>
              <a:t>laboris</a:t>
            </a:r>
            <a:r>
              <a:rPr lang="en-US" noProof="0"/>
              <a:t> nisi </a:t>
            </a:r>
            <a:r>
              <a:rPr lang="en-US" noProof="0" err="1"/>
              <a:t>ut</a:t>
            </a:r>
            <a:r>
              <a:rPr lang="en-US" noProof="0"/>
              <a:t> </a:t>
            </a:r>
            <a:r>
              <a:rPr lang="en-US" noProof="0" err="1"/>
              <a:t>aliquip</a:t>
            </a:r>
            <a:r>
              <a:rPr lang="en-US" noProof="0"/>
              <a:t> ex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commodo</a:t>
            </a:r>
            <a:r>
              <a:rPr lang="en-US" noProof="0"/>
              <a:t> </a:t>
            </a:r>
            <a:r>
              <a:rPr lang="en-US" noProof="0" err="1"/>
              <a:t>consequat</a:t>
            </a:r>
            <a:r>
              <a:rPr lang="en-US" noProof="0"/>
              <a:t>. Duis </a:t>
            </a:r>
            <a:r>
              <a:rPr lang="en-US" noProof="0" err="1"/>
              <a:t>aute</a:t>
            </a:r>
            <a:r>
              <a:rPr lang="en-US" noProof="0"/>
              <a:t> </a:t>
            </a:r>
            <a:r>
              <a:rPr lang="en-US" noProof="0" err="1"/>
              <a:t>irure</a:t>
            </a:r>
            <a:r>
              <a:rPr lang="en-US" noProof="0"/>
              <a:t> dolor in </a:t>
            </a:r>
            <a:r>
              <a:rPr lang="en-US" noProof="0" err="1"/>
              <a:t>reprehenderit</a:t>
            </a:r>
            <a:r>
              <a:rPr lang="en-US" noProof="0"/>
              <a:t> in </a:t>
            </a:r>
            <a:r>
              <a:rPr lang="en-US" noProof="0" err="1"/>
              <a:t>voluptate</a:t>
            </a:r>
            <a:r>
              <a:rPr lang="en-US" noProof="0"/>
              <a:t> </a:t>
            </a:r>
            <a:r>
              <a:rPr lang="en-US" noProof="0" err="1"/>
              <a:t>velit</a:t>
            </a:r>
            <a:r>
              <a:rPr lang="en-US" noProof="0"/>
              <a:t> </a:t>
            </a:r>
            <a:r>
              <a:rPr lang="en-US" noProof="0" err="1"/>
              <a:t>esse</a:t>
            </a:r>
            <a:r>
              <a:rPr lang="en-US" noProof="0"/>
              <a:t> </a:t>
            </a:r>
            <a:r>
              <a:rPr lang="en-US" noProof="0" err="1"/>
              <a:t>cillum</a:t>
            </a:r>
            <a:r>
              <a:rPr lang="en-US" noProof="0"/>
              <a:t> dolore </a:t>
            </a:r>
            <a:r>
              <a:rPr lang="en-US" noProof="0" err="1"/>
              <a:t>eu</a:t>
            </a:r>
            <a:r>
              <a:rPr lang="en-US" noProof="0"/>
              <a:t> </a:t>
            </a:r>
            <a:r>
              <a:rPr lang="en-US" noProof="0" err="1"/>
              <a:t>fugiat</a:t>
            </a:r>
            <a:r>
              <a:rPr lang="en-US" noProof="0"/>
              <a:t> </a:t>
            </a:r>
            <a:r>
              <a:rPr lang="en-US" noProof="0" err="1"/>
              <a:t>nulla</a:t>
            </a:r>
            <a:r>
              <a:rPr lang="en-US" noProof="0"/>
              <a:t> </a:t>
            </a:r>
            <a:r>
              <a:rPr lang="en-US" noProof="0" err="1"/>
              <a:t>pariatur</a:t>
            </a:r>
            <a:r>
              <a:rPr lang="en-US" noProof="0"/>
              <a:t>. </a:t>
            </a:r>
            <a:r>
              <a:rPr lang="en-US" noProof="0" err="1"/>
              <a:t>Excepteur</a:t>
            </a:r>
            <a:r>
              <a:rPr lang="en-US" noProof="0"/>
              <a:t> </a:t>
            </a:r>
            <a:r>
              <a:rPr lang="en-US" noProof="0" err="1"/>
              <a:t>sint</a:t>
            </a:r>
            <a:r>
              <a:rPr lang="en-US" noProof="0"/>
              <a:t> </a:t>
            </a:r>
            <a:r>
              <a:rPr lang="en-US" noProof="0" err="1"/>
              <a:t>occaecat</a:t>
            </a:r>
            <a:r>
              <a:rPr lang="en-US" noProof="0"/>
              <a:t> </a:t>
            </a:r>
            <a:r>
              <a:rPr lang="en-US" noProof="0" err="1"/>
              <a:t>cupidatat</a:t>
            </a:r>
            <a:r>
              <a:rPr lang="en-US" noProof="0"/>
              <a:t> non </a:t>
            </a:r>
            <a:r>
              <a:rPr lang="en-US" noProof="0" err="1"/>
              <a:t>proident</a:t>
            </a:r>
            <a:r>
              <a:rPr lang="en-US" noProof="0"/>
              <a:t>, sunt in culpa qui </a:t>
            </a:r>
            <a:r>
              <a:rPr lang="en-US" noProof="0" err="1"/>
              <a:t>officia</a:t>
            </a:r>
            <a:r>
              <a:rPr lang="en-US" noProof="0"/>
              <a:t> </a:t>
            </a:r>
            <a:r>
              <a:rPr lang="en-US" noProof="0" err="1"/>
              <a:t>deserunt</a:t>
            </a:r>
            <a:r>
              <a:rPr lang="en-US" noProof="0"/>
              <a:t> </a:t>
            </a:r>
            <a:r>
              <a:rPr lang="en-US" noProof="0" err="1"/>
              <a:t>mollit</a:t>
            </a:r>
            <a:r>
              <a:rPr lang="en-US" noProof="0"/>
              <a:t> </a:t>
            </a:r>
            <a:r>
              <a:rPr lang="en-US" noProof="0" err="1"/>
              <a:t>anim</a:t>
            </a:r>
            <a:r>
              <a:rPr lang="en-US" noProof="0"/>
              <a:t> id </a:t>
            </a:r>
            <a:r>
              <a:rPr lang="en-US" noProof="0" err="1"/>
              <a:t>est</a:t>
            </a:r>
            <a:r>
              <a:rPr lang="en-US" noProof="0"/>
              <a:t> </a:t>
            </a:r>
            <a:r>
              <a:rPr lang="en-US" noProof="0" err="1"/>
              <a:t>laborum</a:t>
            </a:r>
            <a:endParaRPr lang="en-US" noProof="0"/>
          </a:p>
        </p:txBody>
      </p:sp>
      <p:sp>
        <p:nvSpPr>
          <p:cNvPr id="12" name="Titolo 11">
            <a:extLst>
              <a:ext uri="{FF2B5EF4-FFF2-40B4-BE49-F238E27FC236}">
                <a16:creationId xmlns:a16="http://schemas.microsoft.com/office/drawing/2014/main" id="{B3BC17B4-6A87-8321-8D2D-EC06CBBEB6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700" y="388253"/>
            <a:ext cx="10515600" cy="499977"/>
          </a:xfrm>
          <a:prstGeom prst="rect">
            <a:avLst/>
          </a:prstGeom>
        </p:spPr>
        <p:txBody>
          <a:bodyPr/>
          <a:lstStyle>
            <a:lvl1pPr>
              <a:defRPr sz="2700" b="1">
                <a:gradFill>
                  <a:gsLst>
                    <a:gs pos="0">
                      <a:srgbClr val="005A9A"/>
                    </a:gs>
                    <a:gs pos="100000">
                      <a:srgbClr val="B8BA0B"/>
                    </a:gs>
                  </a:gsLst>
                  <a:lin ang="0" scaled="0"/>
                </a:gradFill>
              </a:defRPr>
            </a:lvl1pPr>
          </a:lstStyle>
          <a:p>
            <a:pPr lvl="0"/>
            <a:r>
              <a:rPr lang="en-US" noProof="0"/>
              <a:t>Lorem ipsum dolor sit amet, consectetur</a:t>
            </a:r>
          </a:p>
        </p:txBody>
      </p:sp>
      <p:pic>
        <p:nvPicPr>
          <p:cNvPr id="3" name="Immagine 2" descr="Immagine che contiene testo, schermata, Carattere, grafica&#10;&#10;Descrizione generata automaticamente">
            <a:extLst>
              <a:ext uri="{FF2B5EF4-FFF2-40B4-BE49-F238E27FC236}">
                <a16:creationId xmlns:a16="http://schemas.microsoft.com/office/drawing/2014/main" id="{AD69097C-48ED-5327-7058-419F0E206C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02681" y="6169308"/>
            <a:ext cx="3372295" cy="505845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D2B0104F-F7E5-12DB-179E-7FADD98F3AA9}"/>
              </a:ext>
            </a:extLst>
          </p:cNvPr>
          <p:cNvGrpSpPr/>
          <p:nvPr userDrawn="1"/>
        </p:nvGrpSpPr>
        <p:grpSpPr>
          <a:xfrm>
            <a:off x="247308" y="6342415"/>
            <a:ext cx="1679917" cy="263616"/>
            <a:chOff x="6794127" y="650034"/>
            <a:chExt cx="10561638" cy="1657350"/>
          </a:xfrm>
          <a:solidFill>
            <a:schemeClr val="bg1"/>
          </a:solidFill>
        </p:grpSpPr>
        <p:sp>
          <p:nvSpPr>
            <p:cNvPr id="4" name="Freeform 26">
              <a:extLst>
                <a:ext uri="{FF2B5EF4-FFF2-40B4-BE49-F238E27FC236}">
                  <a16:creationId xmlns:a16="http://schemas.microsoft.com/office/drawing/2014/main" id="{9E70CF78-9B4C-8C62-91A1-D40F980C92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94127" y="716709"/>
              <a:ext cx="965200" cy="1571625"/>
            </a:xfrm>
            <a:custGeom>
              <a:avLst/>
              <a:gdLst>
                <a:gd name="T0" fmla="*/ 214 w 447"/>
                <a:gd name="T1" fmla="*/ 411 h 728"/>
                <a:gd name="T2" fmla="*/ 214 w 447"/>
                <a:gd name="T3" fmla="*/ 411 h 728"/>
                <a:gd name="T4" fmla="*/ 305 w 447"/>
                <a:gd name="T5" fmla="*/ 388 h 728"/>
                <a:gd name="T6" fmla="*/ 368 w 447"/>
                <a:gd name="T7" fmla="*/ 325 h 728"/>
                <a:gd name="T8" fmla="*/ 391 w 447"/>
                <a:gd name="T9" fmla="*/ 233 h 728"/>
                <a:gd name="T10" fmla="*/ 368 w 447"/>
                <a:gd name="T11" fmla="*/ 142 h 728"/>
                <a:gd name="T12" fmla="*/ 305 w 447"/>
                <a:gd name="T13" fmla="*/ 79 h 728"/>
                <a:gd name="T14" fmla="*/ 214 w 447"/>
                <a:gd name="T15" fmla="*/ 56 h 728"/>
                <a:gd name="T16" fmla="*/ 56 w 447"/>
                <a:gd name="T17" fmla="*/ 56 h 728"/>
                <a:gd name="T18" fmla="*/ 56 w 447"/>
                <a:gd name="T19" fmla="*/ 411 h 728"/>
                <a:gd name="T20" fmla="*/ 214 w 447"/>
                <a:gd name="T21" fmla="*/ 411 h 728"/>
                <a:gd name="T22" fmla="*/ 8 w 447"/>
                <a:gd name="T23" fmla="*/ 720 h 728"/>
                <a:gd name="T24" fmla="*/ 8 w 447"/>
                <a:gd name="T25" fmla="*/ 720 h 728"/>
                <a:gd name="T26" fmla="*/ 0 w 447"/>
                <a:gd name="T27" fmla="*/ 700 h 728"/>
                <a:gd name="T28" fmla="*/ 0 w 447"/>
                <a:gd name="T29" fmla="*/ 28 h 728"/>
                <a:gd name="T30" fmla="*/ 8 w 447"/>
                <a:gd name="T31" fmla="*/ 7 h 728"/>
                <a:gd name="T32" fmla="*/ 28 w 447"/>
                <a:gd name="T33" fmla="*/ 0 h 728"/>
                <a:gd name="T34" fmla="*/ 214 w 447"/>
                <a:gd name="T35" fmla="*/ 0 h 728"/>
                <a:gd name="T36" fmla="*/ 334 w 447"/>
                <a:gd name="T37" fmla="*/ 30 h 728"/>
                <a:gd name="T38" fmla="*/ 417 w 447"/>
                <a:gd name="T39" fmla="*/ 113 h 728"/>
                <a:gd name="T40" fmla="*/ 447 w 447"/>
                <a:gd name="T41" fmla="*/ 233 h 728"/>
                <a:gd name="T42" fmla="*/ 417 w 447"/>
                <a:gd name="T43" fmla="*/ 354 h 728"/>
                <a:gd name="T44" fmla="*/ 334 w 447"/>
                <a:gd name="T45" fmla="*/ 437 h 728"/>
                <a:gd name="T46" fmla="*/ 214 w 447"/>
                <a:gd name="T47" fmla="*/ 467 h 728"/>
                <a:gd name="T48" fmla="*/ 56 w 447"/>
                <a:gd name="T49" fmla="*/ 467 h 728"/>
                <a:gd name="T50" fmla="*/ 56 w 447"/>
                <a:gd name="T51" fmla="*/ 700 h 728"/>
                <a:gd name="T52" fmla="*/ 48 w 447"/>
                <a:gd name="T53" fmla="*/ 720 h 728"/>
                <a:gd name="T54" fmla="*/ 28 w 447"/>
                <a:gd name="T55" fmla="*/ 728 h 728"/>
                <a:gd name="T56" fmla="*/ 8 w 447"/>
                <a:gd name="T57" fmla="*/ 720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47" h="728">
                  <a:moveTo>
                    <a:pt x="214" y="411"/>
                  </a:moveTo>
                  <a:lnTo>
                    <a:pt x="214" y="411"/>
                  </a:lnTo>
                  <a:cubicBezTo>
                    <a:pt x="248" y="411"/>
                    <a:pt x="279" y="403"/>
                    <a:pt x="305" y="388"/>
                  </a:cubicBezTo>
                  <a:cubicBezTo>
                    <a:pt x="332" y="373"/>
                    <a:pt x="353" y="352"/>
                    <a:pt x="368" y="325"/>
                  </a:cubicBezTo>
                  <a:cubicBezTo>
                    <a:pt x="383" y="298"/>
                    <a:pt x="391" y="267"/>
                    <a:pt x="391" y="233"/>
                  </a:cubicBezTo>
                  <a:cubicBezTo>
                    <a:pt x="391" y="199"/>
                    <a:pt x="383" y="168"/>
                    <a:pt x="368" y="142"/>
                  </a:cubicBezTo>
                  <a:cubicBezTo>
                    <a:pt x="353" y="115"/>
                    <a:pt x="332" y="94"/>
                    <a:pt x="305" y="79"/>
                  </a:cubicBezTo>
                  <a:cubicBezTo>
                    <a:pt x="279" y="63"/>
                    <a:pt x="248" y="56"/>
                    <a:pt x="214" y="56"/>
                  </a:cubicBezTo>
                  <a:lnTo>
                    <a:pt x="56" y="56"/>
                  </a:lnTo>
                  <a:lnTo>
                    <a:pt x="56" y="411"/>
                  </a:lnTo>
                  <a:lnTo>
                    <a:pt x="214" y="411"/>
                  </a:lnTo>
                  <a:close/>
                  <a:moveTo>
                    <a:pt x="8" y="720"/>
                  </a:moveTo>
                  <a:lnTo>
                    <a:pt x="8" y="720"/>
                  </a:lnTo>
                  <a:cubicBezTo>
                    <a:pt x="2" y="715"/>
                    <a:pt x="0" y="708"/>
                    <a:pt x="0" y="700"/>
                  </a:cubicBezTo>
                  <a:lnTo>
                    <a:pt x="0" y="28"/>
                  </a:lnTo>
                  <a:cubicBezTo>
                    <a:pt x="0" y="19"/>
                    <a:pt x="2" y="12"/>
                    <a:pt x="8" y="7"/>
                  </a:cubicBezTo>
                  <a:cubicBezTo>
                    <a:pt x="13" y="2"/>
                    <a:pt x="19" y="0"/>
                    <a:pt x="28" y="0"/>
                  </a:cubicBezTo>
                  <a:lnTo>
                    <a:pt x="214" y="0"/>
                  </a:lnTo>
                  <a:cubicBezTo>
                    <a:pt x="259" y="0"/>
                    <a:pt x="299" y="10"/>
                    <a:pt x="334" y="30"/>
                  </a:cubicBezTo>
                  <a:cubicBezTo>
                    <a:pt x="370" y="50"/>
                    <a:pt x="397" y="77"/>
                    <a:pt x="417" y="113"/>
                  </a:cubicBezTo>
                  <a:cubicBezTo>
                    <a:pt x="437" y="148"/>
                    <a:pt x="447" y="188"/>
                    <a:pt x="447" y="233"/>
                  </a:cubicBezTo>
                  <a:cubicBezTo>
                    <a:pt x="447" y="278"/>
                    <a:pt x="437" y="319"/>
                    <a:pt x="417" y="354"/>
                  </a:cubicBezTo>
                  <a:cubicBezTo>
                    <a:pt x="397" y="389"/>
                    <a:pt x="370" y="417"/>
                    <a:pt x="334" y="437"/>
                  </a:cubicBezTo>
                  <a:cubicBezTo>
                    <a:pt x="299" y="457"/>
                    <a:pt x="259" y="467"/>
                    <a:pt x="214" y="467"/>
                  </a:cubicBezTo>
                  <a:lnTo>
                    <a:pt x="56" y="467"/>
                  </a:lnTo>
                  <a:lnTo>
                    <a:pt x="56" y="700"/>
                  </a:lnTo>
                  <a:cubicBezTo>
                    <a:pt x="56" y="708"/>
                    <a:pt x="53" y="715"/>
                    <a:pt x="48" y="720"/>
                  </a:cubicBezTo>
                  <a:cubicBezTo>
                    <a:pt x="43" y="725"/>
                    <a:pt x="36" y="728"/>
                    <a:pt x="28" y="728"/>
                  </a:cubicBezTo>
                  <a:cubicBezTo>
                    <a:pt x="19" y="728"/>
                    <a:pt x="13" y="725"/>
                    <a:pt x="8" y="72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Arial" panose="020B0604020202020204" pitchFamily="34" charset="0"/>
              </a:endParaRPr>
            </a:p>
          </p:txBody>
        </p:sp>
        <p:sp>
          <p:nvSpPr>
            <p:cNvPr id="5" name="Freeform 27">
              <a:extLst>
                <a:ext uri="{FF2B5EF4-FFF2-40B4-BE49-F238E27FC236}">
                  <a16:creationId xmlns:a16="http://schemas.microsoft.com/office/drawing/2014/main" id="{1F0C0D58-1C6B-DBAB-AEF3-B17053FBF0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06940" y="716709"/>
              <a:ext cx="1349375" cy="1571625"/>
            </a:xfrm>
            <a:custGeom>
              <a:avLst/>
              <a:gdLst>
                <a:gd name="T0" fmla="*/ 481 w 625"/>
                <a:gd name="T1" fmla="*/ 495 h 728"/>
                <a:gd name="T2" fmla="*/ 481 w 625"/>
                <a:gd name="T3" fmla="*/ 495 h 728"/>
                <a:gd name="T4" fmla="*/ 312 w 625"/>
                <a:gd name="T5" fmla="*/ 92 h 728"/>
                <a:gd name="T6" fmla="*/ 144 w 625"/>
                <a:gd name="T7" fmla="*/ 495 h 728"/>
                <a:gd name="T8" fmla="*/ 481 w 625"/>
                <a:gd name="T9" fmla="*/ 495 h 728"/>
                <a:gd name="T10" fmla="*/ 625 w 625"/>
                <a:gd name="T11" fmla="*/ 700 h 728"/>
                <a:gd name="T12" fmla="*/ 625 w 625"/>
                <a:gd name="T13" fmla="*/ 700 h 728"/>
                <a:gd name="T14" fmla="*/ 617 w 625"/>
                <a:gd name="T15" fmla="*/ 719 h 728"/>
                <a:gd name="T16" fmla="*/ 597 w 625"/>
                <a:gd name="T17" fmla="*/ 728 h 728"/>
                <a:gd name="T18" fmla="*/ 571 w 625"/>
                <a:gd name="T19" fmla="*/ 710 h 728"/>
                <a:gd name="T20" fmla="*/ 502 w 625"/>
                <a:gd name="T21" fmla="*/ 545 h 728"/>
                <a:gd name="T22" fmla="*/ 123 w 625"/>
                <a:gd name="T23" fmla="*/ 545 h 728"/>
                <a:gd name="T24" fmla="*/ 54 w 625"/>
                <a:gd name="T25" fmla="*/ 710 h 728"/>
                <a:gd name="T26" fmla="*/ 28 w 625"/>
                <a:gd name="T27" fmla="*/ 728 h 728"/>
                <a:gd name="T28" fmla="*/ 7 w 625"/>
                <a:gd name="T29" fmla="*/ 719 h 728"/>
                <a:gd name="T30" fmla="*/ 0 w 625"/>
                <a:gd name="T31" fmla="*/ 700 h 728"/>
                <a:gd name="T32" fmla="*/ 3 w 625"/>
                <a:gd name="T33" fmla="*/ 688 h 728"/>
                <a:gd name="T34" fmla="*/ 285 w 625"/>
                <a:gd name="T35" fmla="*/ 19 h 728"/>
                <a:gd name="T36" fmla="*/ 312 w 625"/>
                <a:gd name="T37" fmla="*/ 0 h 728"/>
                <a:gd name="T38" fmla="*/ 339 w 625"/>
                <a:gd name="T39" fmla="*/ 19 h 728"/>
                <a:gd name="T40" fmla="*/ 622 w 625"/>
                <a:gd name="T41" fmla="*/ 688 h 728"/>
                <a:gd name="T42" fmla="*/ 625 w 625"/>
                <a:gd name="T43" fmla="*/ 700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25" h="728">
                  <a:moveTo>
                    <a:pt x="481" y="495"/>
                  </a:moveTo>
                  <a:lnTo>
                    <a:pt x="481" y="495"/>
                  </a:lnTo>
                  <a:lnTo>
                    <a:pt x="312" y="92"/>
                  </a:lnTo>
                  <a:lnTo>
                    <a:pt x="144" y="495"/>
                  </a:lnTo>
                  <a:lnTo>
                    <a:pt x="481" y="495"/>
                  </a:lnTo>
                  <a:close/>
                  <a:moveTo>
                    <a:pt x="625" y="700"/>
                  </a:moveTo>
                  <a:lnTo>
                    <a:pt x="625" y="700"/>
                  </a:lnTo>
                  <a:cubicBezTo>
                    <a:pt x="625" y="707"/>
                    <a:pt x="622" y="714"/>
                    <a:pt x="617" y="719"/>
                  </a:cubicBezTo>
                  <a:cubicBezTo>
                    <a:pt x="611" y="725"/>
                    <a:pt x="605" y="728"/>
                    <a:pt x="597" y="728"/>
                  </a:cubicBezTo>
                  <a:cubicBezTo>
                    <a:pt x="585" y="728"/>
                    <a:pt x="576" y="722"/>
                    <a:pt x="571" y="710"/>
                  </a:cubicBezTo>
                  <a:lnTo>
                    <a:pt x="502" y="545"/>
                  </a:lnTo>
                  <a:lnTo>
                    <a:pt x="123" y="545"/>
                  </a:lnTo>
                  <a:lnTo>
                    <a:pt x="54" y="710"/>
                  </a:lnTo>
                  <a:cubicBezTo>
                    <a:pt x="49" y="722"/>
                    <a:pt x="41" y="728"/>
                    <a:pt x="28" y="728"/>
                  </a:cubicBezTo>
                  <a:cubicBezTo>
                    <a:pt x="19" y="728"/>
                    <a:pt x="12" y="725"/>
                    <a:pt x="7" y="719"/>
                  </a:cubicBezTo>
                  <a:cubicBezTo>
                    <a:pt x="2" y="714"/>
                    <a:pt x="0" y="707"/>
                    <a:pt x="0" y="700"/>
                  </a:cubicBezTo>
                  <a:cubicBezTo>
                    <a:pt x="0" y="695"/>
                    <a:pt x="1" y="691"/>
                    <a:pt x="3" y="688"/>
                  </a:cubicBezTo>
                  <a:lnTo>
                    <a:pt x="285" y="19"/>
                  </a:lnTo>
                  <a:cubicBezTo>
                    <a:pt x="290" y="6"/>
                    <a:pt x="299" y="0"/>
                    <a:pt x="312" y="0"/>
                  </a:cubicBezTo>
                  <a:cubicBezTo>
                    <a:pt x="324" y="0"/>
                    <a:pt x="333" y="6"/>
                    <a:pt x="339" y="19"/>
                  </a:cubicBezTo>
                  <a:lnTo>
                    <a:pt x="622" y="688"/>
                  </a:lnTo>
                  <a:cubicBezTo>
                    <a:pt x="624" y="691"/>
                    <a:pt x="625" y="695"/>
                    <a:pt x="625" y="7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Arial" panose="020B0604020202020204" pitchFamily="34" charset="0"/>
              </a:endParaRPr>
            </a:p>
          </p:txBody>
        </p:sp>
        <p:sp>
          <p:nvSpPr>
            <p:cNvPr id="9" name="Freeform 28">
              <a:extLst>
                <a:ext uri="{FF2B5EF4-FFF2-40B4-BE49-F238E27FC236}">
                  <a16:creationId xmlns:a16="http://schemas.microsoft.com/office/drawing/2014/main" id="{D72E5940-6071-412A-2B21-9E3C607DF75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0252" y="716709"/>
              <a:ext cx="1247775" cy="1571625"/>
            </a:xfrm>
            <a:custGeom>
              <a:avLst/>
              <a:gdLst>
                <a:gd name="T0" fmla="*/ 571 w 578"/>
                <a:gd name="T1" fmla="*/ 7 h 728"/>
                <a:gd name="T2" fmla="*/ 571 w 578"/>
                <a:gd name="T3" fmla="*/ 7 h 728"/>
                <a:gd name="T4" fmla="*/ 578 w 578"/>
                <a:gd name="T5" fmla="*/ 25 h 728"/>
                <a:gd name="T6" fmla="*/ 571 w 578"/>
                <a:gd name="T7" fmla="*/ 43 h 728"/>
                <a:gd name="T8" fmla="*/ 553 w 578"/>
                <a:gd name="T9" fmla="*/ 50 h 728"/>
                <a:gd name="T10" fmla="*/ 317 w 578"/>
                <a:gd name="T11" fmla="*/ 50 h 728"/>
                <a:gd name="T12" fmla="*/ 317 w 578"/>
                <a:gd name="T13" fmla="*/ 700 h 728"/>
                <a:gd name="T14" fmla="*/ 309 w 578"/>
                <a:gd name="T15" fmla="*/ 720 h 728"/>
                <a:gd name="T16" fmla="*/ 289 w 578"/>
                <a:gd name="T17" fmla="*/ 728 h 728"/>
                <a:gd name="T18" fmla="*/ 269 w 578"/>
                <a:gd name="T19" fmla="*/ 720 h 728"/>
                <a:gd name="T20" fmla="*/ 261 w 578"/>
                <a:gd name="T21" fmla="*/ 700 h 728"/>
                <a:gd name="T22" fmla="*/ 261 w 578"/>
                <a:gd name="T23" fmla="*/ 50 h 728"/>
                <a:gd name="T24" fmla="*/ 26 w 578"/>
                <a:gd name="T25" fmla="*/ 50 h 728"/>
                <a:gd name="T26" fmla="*/ 7 w 578"/>
                <a:gd name="T27" fmla="*/ 43 h 728"/>
                <a:gd name="T28" fmla="*/ 0 w 578"/>
                <a:gd name="T29" fmla="*/ 25 h 728"/>
                <a:gd name="T30" fmla="*/ 7 w 578"/>
                <a:gd name="T31" fmla="*/ 7 h 728"/>
                <a:gd name="T32" fmla="*/ 26 w 578"/>
                <a:gd name="T33" fmla="*/ 0 h 728"/>
                <a:gd name="T34" fmla="*/ 553 w 578"/>
                <a:gd name="T35" fmla="*/ 0 h 728"/>
                <a:gd name="T36" fmla="*/ 571 w 578"/>
                <a:gd name="T37" fmla="*/ 7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78" h="728">
                  <a:moveTo>
                    <a:pt x="571" y="7"/>
                  </a:moveTo>
                  <a:lnTo>
                    <a:pt x="571" y="7"/>
                  </a:lnTo>
                  <a:cubicBezTo>
                    <a:pt x="576" y="12"/>
                    <a:pt x="578" y="18"/>
                    <a:pt x="578" y="25"/>
                  </a:cubicBezTo>
                  <a:cubicBezTo>
                    <a:pt x="578" y="33"/>
                    <a:pt x="576" y="39"/>
                    <a:pt x="571" y="43"/>
                  </a:cubicBezTo>
                  <a:cubicBezTo>
                    <a:pt x="567" y="48"/>
                    <a:pt x="560" y="50"/>
                    <a:pt x="553" y="50"/>
                  </a:cubicBezTo>
                  <a:lnTo>
                    <a:pt x="317" y="50"/>
                  </a:lnTo>
                  <a:lnTo>
                    <a:pt x="317" y="700"/>
                  </a:lnTo>
                  <a:cubicBezTo>
                    <a:pt x="317" y="708"/>
                    <a:pt x="315" y="715"/>
                    <a:pt x="309" y="720"/>
                  </a:cubicBezTo>
                  <a:cubicBezTo>
                    <a:pt x="304" y="725"/>
                    <a:pt x="297" y="728"/>
                    <a:pt x="289" y="728"/>
                  </a:cubicBezTo>
                  <a:cubicBezTo>
                    <a:pt x="281" y="728"/>
                    <a:pt x="275" y="725"/>
                    <a:pt x="269" y="720"/>
                  </a:cubicBezTo>
                  <a:cubicBezTo>
                    <a:pt x="264" y="715"/>
                    <a:pt x="261" y="708"/>
                    <a:pt x="261" y="700"/>
                  </a:cubicBezTo>
                  <a:lnTo>
                    <a:pt x="261" y="50"/>
                  </a:lnTo>
                  <a:lnTo>
                    <a:pt x="26" y="50"/>
                  </a:lnTo>
                  <a:cubicBezTo>
                    <a:pt x="18" y="50"/>
                    <a:pt x="12" y="48"/>
                    <a:pt x="7" y="43"/>
                  </a:cubicBezTo>
                  <a:cubicBezTo>
                    <a:pt x="3" y="39"/>
                    <a:pt x="0" y="33"/>
                    <a:pt x="0" y="25"/>
                  </a:cubicBezTo>
                  <a:cubicBezTo>
                    <a:pt x="0" y="18"/>
                    <a:pt x="3" y="12"/>
                    <a:pt x="7" y="7"/>
                  </a:cubicBezTo>
                  <a:cubicBezTo>
                    <a:pt x="12" y="2"/>
                    <a:pt x="18" y="0"/>
                    <a:pt x="26" y="0"/>
                  </a:cubicBezTo>
                  <a:lnTo>
                    <a:pt x="553" y="0"/>
                  </a:lnTo>
                  <a:cubicBezTo>
                    <a:pt x="560" y="0"/>
                    <a:pt x="567" y="2"/>
                    <a:pt x="571" y="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Arial" panose="020B0604020202020204" pitchFamily="34" charset="0"/>
              </a:endParaRPr>
            </a:p>
          </p:txBody>
        </p:sp>
        <p:sp>
          <p:nvSpPr>
            <p:cNvPr id="11" name="Freeform 29">
              <a:extLst>
                <a:ext uri="{FF2B5EF4-FFF2-40B4-BE49-F238E27FC236}">
                  <a16:creationId xmlns:a16="http://schemas.microsoft.com/office/drawing/2014/main" id="{56662F49-8C5E-DEB7-9F25-63430E9B1A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8840" y="716709"/>
              <a:ext cx="1258888" cy="1571625"/>
            </a:xfrm>
            <a:custGeom>
              <a:avLst/>
              <a:gdLst>
                <a:gd name="T0" fmla="*/ 8 w 583"/>
                <a:gd name="T1" fmla="*/ 720 h 728"/>
                <a:gd name="T2" fmla="*/ 8 w 583"/>
                <a:gd name="T3" fmla="*/ 720 h 728"/>
                <a:gd name="T4" fmla="*/ 0 w 583"/>
                <a:gd name="T5" fmla="*/ 700 h 728"/>
                <a:gd name="T6" fmla="*/ 0 w 583"/>
                <a:gd name="T7" fmla="*/ 28 h 728"/>
                <a:gd name="T8" fmla="*/ 8 w 583"/>
                <a:gd name="T9" fmla="*/ 8 h 728"/>
                <a:gd name="T10" fmla="*/ 28 w 583"/>
                <a:gd name="T11" fmla="*/ 0 h 728"/>
                <a:gd name="T12" fmla="*/ 48 w 583"/>
                <a:gd name="T13" fmla="*/ 8 h 728"/>
                <a:gd name="T14" fmla="*/ 56 w 583"/>
                <a:gd name="T15" fmla="*/ 28 h 728"/>
                <a:gd name="T16" fmla="*/ 56 w 583"/>
                <a:gd name="T17" fmla="*/ 335 h 728"/>
                <a:gd name="T18" fmla="*/ 527 w 583"/>
                <a:gd name="T19" fmla="*/ 335 h 728"/>
                <a:gd name="T20" fmla="*/ 527 w 583"/>
                <a:gd name="T21" fmla="*/ 28 h 728"/>
                <a:gd name="T22" fmla="*/ 535 w 583"/>
                <a:gd name="T23" fmla="*/ 8 h 728"/>
                <a:gd name="T24" fmla="*/ 555 w 583"/>
                <a:gd name="T25" fmla="*/ 0 h 728"/>
                <a:gd name="T26" fmla="*/ 574 w 583"/>
                <a:gd name="T27" fmla="*/ 8 h 728"/>
                <a:gd name="T28" fmla="*/ 583 w 583"/>
                <a:gd name="T29" fmla="*/ 28 h 728"/>
                <a:gd name="T30" fmla="*/ 583 w 583"/>
                <a:gd name="T31" fmla="*/ 700 h 728"/>
                <a:gd name="T32" fmla="*/ 574 w 583"/>
                <a:gd name="T33" fmla="*/ 720 h 728"/>
                <a:gd name="T34" fmla="*/ 555 w 583"/>
                <a:gd name="T35" fmla="*/ 728 h 728"/>
                <a:gd name="T36" fmla="*/ 535 w 583"/>
                <a:gd name="T37" fmla="*/ 720 h 728"/>
                <a:gd name="T38" fmla="*/ 527 w 583"/>
                <a:gd name="T39" fmla="*/ 700 h 728"/>
                <a:gd name="T40" fmla="*/ 527 w 583"/>
                <a:gd name="T41" fmla="*/ 386 h 728"/>
                <a:gd name="T42" fmla="*/ 56 w 583"/>
                <a:gd name="T43" fmla="*/ 386 h 728"/>
                <a:gd name="T44" fmla="*/ 56 w 583"/>
                <a:gd name="T45" fmla="*/ 700 h 728"/>
                <a:gd name="T46" fmla="*/ 48 w 583"/>
                <a:gd name="T47" fmla="*/ 720 h 728"/>
                <a:gd name="T48" fmla="*/ 28 w 583"/>
                <a:gd name="T49" fmla="*/ 728 h 728"/>
                <a:gd name="T50" fmla="*/ 8 w 583"/>
                <a:gd name="T51" fmla="*/ 720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83" h="728">
                  <a:moveTo>
                    <a:pt x="8" y="720"/>
                  </a:moveTo>
                  <a:lnTo>
                    <a:pt x="8" y="720"/>
                  </a:lnTo>
                  <a:cubicBezTo>
                    <a:pt x="3" y="715"/>
                    <a:pt x="0" y="708"/>
                    <a:pt x="0" y="700"/>
                  </a:cubicBezTo>
                  <a:lnTo>
                    <a:pt x="0" y="28"/>
                  </a:lnTo>
                  <a:cubicBezTo>
                    <a:pt x="0" y="20"/>
                    <a:pt x="3" y="13"/>
                    <a:pt x="8" y="8"/>
                  </a:cubicBezTo>
                  <a:cubicBezTo>
                    <a:pt x="13" y="3"/>
                    <a:pt x="20" y="0"/>
                    <a:pt x="28" y="0"/>
                  </a:cubicBezTo>
                  <a:cubicBezTo>
                    <a:pt x="36" y="0"/>
                    <a:pt x="43" y="3"/>
                    <a:pt x="48" y="8"/>
                  </a:cubicBezTo>
                  <a:cubicBezTo>
                    <a:pt x="53" y="13"/>
                    <a:pt x="56" y="20"/>
                    <a:pt x="56" y="28"/>
                  </a:cubicBezTo>
                  <a:lnTo>
                    <a:pt x="56" y="335"/>
                  </a:lnTo>
                  <a:lnTo>
                    <a:pt x="527" y="335"/>
                  </a:lnTo>
                  <a:lnTo>
                    <a:pt x="527" y="28"/>
                  </a:lnTo>
                  <a:cubicBezTo>
                    <a:pt x="527" y="20"/>
                    <a:pt x="529" y="13"/>
                    <a:pt x="535" y="8"/>
                  </a:cubicBezTo>
                  <a:cubicBezTo>
                    <a:pt x="540" y="3"/>
                    <a:pt x="547" y="0"/>
                    <a:pt x="555" y="0"/>
                  </a:cubicBezTo>
                  <a:cubicBezTo>
                    <a:pt x="562" y="0"/>
                    <a:pt x="569" y="3"/>
                    <a:pt x="574" y="8"/>
                  </a:cubicBezTo>
                  <a:cubicBezTo>
                    <a:pt x="580" y="13"/>
                    <a:pt x="583" y="20"/>
                    <a:pt x="583" y="28"/>
                  </a:cubicBezTo>
                  <a:lnTo>
                    <a:pt x="583" y="700"/>
                  </a:lnTo>
                  <a:cubicBezTo>
                    <a:pt x="583" y="708"/>
                    <a:pt x="580" y="715"/>
                    <a:pt x="574" y="720"/>
                  </a:cubicBezTo>
                  <a:cubicBezTo>
                    <a:pt x="569" y="725"/>
                    <a:pt x="562" y="728"/>
                    <a:pt x="555" y="728"/>
                  </a:cubicBezTo>
                  <a:cubicBezTo>
                    <a:pt x="547" y="728"/>
                    <a:pt x="540" y="725"/>
                    <a:pt x="535" y="720"/>
                  </a:cubicBezTo>
                  <a:cubicBezTo>
                    <a:pt x="529" y="715"/>
                    <a:pt x="527" y="708"/>
                    <a:pt x="527" y="700"/>
                  </a:cubicBezTo>
                  <a:lnTo>
                    <a:pt x="527" y="386"/>
                  </a:lnTo>
                  <a:lnTo>
                    <a:pt x="56" y="386"/>
                  </a:lnTo>
                  <a:lnTo>
                    <a:pt x="56" y="700"/>
                  </a:lnTo>
                  <a:cubicBezTo>
                    <a:pt x="56" y="708"/>
                    <a:pt x="53" y="715"/>
                    <a:pt x="48" y="720"/>
                  </a:cubicBezTo>
                  <a:cubicBezTo>
                    <a:pt x="43" y="725"/>
                    <a:pt x="36" y="728"/>
                    <a:pt x="28" y="728"/>
                  </a:cubicBezTo>
                  <a:cubicBezTo>
                    <a:pt x="20" y="728"/>
                    <a:pt x="13" y="725"/>
                    <a:pt x="8" y="72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Arial" panose="020B0604020202020204" pitchFamily="34" charset="0"/>
              </a:endParaRPr>
            </a:p>
          </p:txBody>
        </p:sp>
        <p:sp>
          <p:nvSpPr>
            <p:cNvPr id="13" name="Freeform 30">
              <a:extLst>
                <a:ext uri="{FF2B5EF4-FFF2-40B4-BE49-F238E27FC236}">
                  <a16:creationId xmlns:a16="http://schemas.microsoft.com/office/drawing/2014/main" id="{71B35FA0-45F1-7908-6400-953A34C57D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24902" y="716709"/>
              <a:ext cx="1770063" cy="1571625"/>
            </a:xfrm>
            <a:custGeom>
              <a:avLst/>
              <a:gdLst>
                <a:gd name="T0" fmla="*/ 813 w 820"/>
                <a:gd name="T1" fmla="*/ 8 h 728"/>
                <a:gd name="T2" fmla="*/ 813 w 820"/>
                <a:gd name="T3" fmla="*/ 8 h 728"/>
                <a:gd name="T4" fmla="*/ 820 w 820"/>
                <a:gd name="T5" fmla="*/ 29 h 728"/>
                <a:gd name="T6" fmla="*/ 818 w 820"/>
                <a:gd name="T7" fmla="*/ 42 h 728"/>
                <a:gd name="T8" fmla="*/ 626 w 820"/>
                <a:gd name="T9" fmla="*/ 704 h 728"/>
                <a:gd name="T10" fmla="*/ 615 w 820"/>
                <a:gd name="T11" fmla="*/ 721 h 728"/>
                <a:gd name="T12" fmla="*/ 597 w 820"/>
                <a:gd name="T13" fmla="*/ 728 h 728"/>
                <a:gd name="T14" fmla="*/ 579 w 820"/>
                <a:gd name="T15" fmla="*/ 721 h 728"/>
                <a:gd name="T16" fmla="*/ 568 w 820"/>
                <a:gd name="T17" fmla="*/ 704 h 728"/>
                <a:gd name="T18" fmla="*/ 410 w 820"/>
                <a:gd name="T19" fmla="*/ 143 h 728"/>
                <a:gd name="T20" fmla="*/ 253 w 820"/>
                <a:gd name="T21" fmla="*/ 704 h 728"/>
                <a:gd name="T22" fmla="*/ 224 w 820"/>
                <a:gd name="T23" fmla="*/ 728 h 728"/>
                <a:gd name="T24" fmla="*/ 205 w 820"/>
                <a:gd name="T25" fmla="*/ 721 h 728"/>
                <a:gd name="T26" fmla="*/ 195 w 820"/>
                <a:gd name="T27" fmla="*/ 704 h 728"/>
                <a:gd name="T28" fmla="*/ 2 w 820"/>
                <a:gd name="T29" fmla="*/ 42 h 728"/>
                <a:gd name="T30" fmla="*/ 0 w 820"/>
                <a:gd name="T31" fmla="*/ 30 h 728"/>
                <a:gd name="T32" fmla="*/ 7 w 820"/>
                <a:gd name="T33" fmla="*/ 8 h 728"/>
                <a:gd name="T34" fmla="*/ 28 w 820"/>
                <a:gd name="T35" fmla="*/ 0 h 728"/>
                <a:gd name="T36" fmla="*/ 55 w 820"/>
                <a:gd name="T37" fmla="*/ 21 h 728"/>
                <a:gd name="T38" fmla="*/ 224 w 820"/>
                <a:gd name="T39" fmla="*/ 605 h 728"/>
                <a:gd name="T40" fmla="*/ 384 w 820"/>
                <a:gd name="T41" fmla="*/ 46 h 728"/>
                <a:gd name="T42" fmla="*/ 394 w 820"/>
                <a:gd name="T43" fmla="*/ 33 h 728"/>
                <a:gd name="T44" fmla="*/ 410 w 820"/>
                <a:gd name="T45" fmla="*/ 28 h 728"/>
                <a:gd name="T46" fmla="*/ 427 w 820"/>
                <a:gd name="T47" fmla="*/ 33 h 728"/>
                <a:gd name="T48" fmla="*/ 437 w 820"/>
                <a:gd name="T49" fmla="*/ 46 h 728"/>
                <a:gd name="T50" fmla="*/ 597 w 820"/>
                <a:gd name="T51" fmla="*/ 605 h 728"/>
                <a:gd name="T52" fmla="*/ 766 w 820"/>
                <a:gd name="T53" fmla="*/ 19 h 728"/>
                <a:gd name="T54" fmla="*/ 775 w 820"/>
                <a:gd name="T55" fmla="*/ 5 h 728"/>
                <a:gd name="T56" fmla="*/ 793 w 820"/>
                <a:gd name="T57" fmla="*/ 0 h 728"/>
                <a:gd name="T58" fmla="*/ 813 w 820"/>
                <a:gd name="T59" fmla="*/ 8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20" h="728">
                  <a:moveTo>
                    <a:pt x="813" y="8"/>
                  </a:moveTo>
                  <a:lnTo>
                    <a:pt x="813" y="8"/>
                  </a:lnTo>
                  <a:cubicBezTo>
                    <a:pt x="818" y="13"/>
                    <a:pt x="820" y="20"/>
                    <a:pt x="820" y="29"/>
                  </a:cubicBezTo>
                  <a:cubicBezTo>
                    <a:pt x="820" y="31"/>
                    <a:pt x="819" y="36"/>
                    <a:pt x="818" y="42"/>
                  </a:cubicBezTo>
                  <a:lnTo>
                    <a:pt x="626" y="704"/>
                  </a:lnTo>
                  <a:cubicBezTo>
                    <a:pt x="624" y="711"/>
                    <a:pt x="620" y="717"/>
                    <a:pt x="615" y="721"/>
                  </a:cubicBezTo>
                  <a:cubicBezTo>
                    <a:pt x="609" y="726"/>
                    <a:pt x="603" y="728"/>
                    <a:pt x="597" y="728"/>
                  </a:cubicBezTo>
                  <a:cubicBezTo>
                    <a:pt x="590" y="728"/>
                    <a:pt x="584" y="726"/>
                    <a:pt x="579" y="721"/>
                  </a:cubicBezTo>
                  <a:cubicBezTo>
                    <a:pt x="574" y="717"/>
                    <a:pt x="570" y="711"/>
                    <a:pt x="568" y="704"/>
                  </a:cubicBezTo>
                  <a:lnTo>
                    <a:pt x="410" y="143"/>
                  </a:lnTo>
                  <a:lnTo>
                    <a:pt x="253" y="704"/>
                  </a:lnTo>
                  <a:cubicBezTo>
                    <a:pt x="247" y="720"/>
                    <a:pt x="237" y="728"/>
                    <a:pt x="224" y="728"/>
                  </a:cubicBezTo>
                  <a:cubicBezTo>
                    <a:pt x="217" y="728"/>
                    <a:pt x="211" y="725"/>
                    <a:pt x="205" y="721"/>
                  </a:cubicBezTo>
                  <a:cubicBezTo>
                    <a:pt x="200" y="716"/>
                    <a:pt x="197" y="710"/>
                    <a:pt x="195" y="704"/>
                  </a:cubicBezTo>
                  <a:lnTo>
                    <a:pt x="2" y="42"/>
                  </a:lnTo>
                  <a:cubicBezTo>
                    <a:pt x="0" y="36"/>
                    <a:pt x="0" y="32"/>
                    <a:pt x="0" y="30"/>
                  </a:cubicBezTo>
                  <a:cubicBezTo>
                    <a:pt x="0" y="21"/>
                    <a:pt x="2" y="14"/>
                    <a:pt x="7" y="8"/>
                  </a:cubicBezTo>
                  <a:cubicBezTo>
                    <a:pt x="12" y="3"/>
                    <a:pt x="19" y="0"/>
                    <a:pt x="28" y="0"/>
                  </a:cubicBezTo>
                  <a:cubicBezTo>
                    <a:pt x="42" y="0"/>
                    <a:pt x="51" y="7"/>
                    <a:pt x="55" y="21"/>
                  </a:cubicBezTo>
                  <a:lnTo>
                    <a:pt x="224" y="605"/>
                  </a:lnTo>
                  <a:lnTo>
                    <a:pt x="384" y="46"/>
                  </a:lnTo>
                  <a:cubicBezTo>
                    <a:pt x="385" y="41"/>
                    <a:pt x="388" y="36"/>
                    <a:pt x="394" y="33"/>
                  </a:cubicBezTo>
                  <a:cubicBezTo>
                    <a:pt x="399" y="30"/>
                    <a:pt x="404" y="28"/>
                    <a:pt x="410" y="28"/>
                  </a:cubicBezTo>
                  <a:cubicBezTo>
                    <a:pt x="416" y="28"/>
                    <a:pt x="422" y="30"/>
                    <a:pt x="427" y="33"/>
                  </a:cubicBezTo>
                  <a:cubicBezTo>
                    <a:pt x="432" y="36"/>
                    <a:pt x="435" y="41"/>
                    <a:pt x="437" y="46"/>
                  </a:cubicBezTo>
                  <a:lnTo>
                    <a:pt x="597" y="605"/>
                  </a:lnTo>
                  <a:lnTo>
                    <a:pt x="766" y="19"/>
                  </a:lnTo>
                  <a:cubicBezTo>
                    <a:pt x="767" y="13"/>
                    <a:pt x="770" y="8"/>
                    <a:pt x="775" y="5"/>
                  </a:cubicBezTo>
                  <a:cubicBezTo>
                    <a:pt x="780" y="2"/>
                    <a:pt x="786" y="0"/>
                    <a:pt x="793" y="0"/>
                  </a:cubicBezTo>
                  <a:cubicBezTo>
                    <a:pt x="801" y="0"/>
                    <a:pt x="808" y="3"/>
                    <a:pt x="813" y="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Arial" panose="020B0604020202020204" pitchFamily="34" charset="0"/>
              </a:endParaRPr>
            </a:p>
          </p:txBody>
        </p:sp>
        <p:sp>
          <p:nvSpPr>
            <p:cNvPr id="14" name="Freeform 31">
              <a:extLst>
                <a:ext uri="{FF2B5EF4-FFF2-40B4-BE49-F238E27FC236}">
                  <a16:creationId xmlns:a16="http://schemas.microsoft.com/office/drawing/2014/main" id="{DE60E321-CB83-2FF3-64E8-C6D8B39874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493377" y="716709"/>
              <a:ext cx="1349375" cy="1571625"/>
            </a:xfrm>
            <a:custGeom>
              <a:avLst/>
              <a:gdLst>
                <a:gd name="T0" fmla="*/ 481 w 625"/>
                <a:gd name="T1" fmla="*/ 495 h 728"/>
                <a:gd name="T2" fmla="*/ 481 w 625"/>
                <a:gd name="T3" fmla="*/ 495 h 728"/>
                <a:gd name="T4" fmla="*/ 312 w 625"/>
                <a:gd name="T5" fmla="*/ 92 h 728"/>
                <a:gd name="T6" fmla="*/ 145 w 625"/>
                <a:gd name="T7" fmla="*/ 495 h 728"/>
                <a:gd name="T8" fmla="*/ 481 w 625"/>
                <a:gd name="T9" fmla="*/ 495 h 728"/>
                <a:gd name="T10" fmla="*/ 625 w 625"/>
                <a:gd name="T11" fmla="*/ 700 h 728"/>
                <a:gd name="T12" fmla="*/ 625 w 625"/>
                <a:gd name="T13" fmla="*/ 700 h 728"/>
                <a:gd name="T14" fmla="*/ 617 w 625"/>
                <a:gd name="T15" fmla="*/ 719 h 728"/>
                <a:gd name="T16" fmla="*/ 597 w 625"/>
                <a:gd name="T17" fmla="*/ 728 h 728"/>
                <a:gd name="T18" fmla="*/ 571 w 625"/>
                <a:gd name="T19" fmla="*/ 710 h 728"/>
                <a:gd name="T20" fmla="*/ 502 w 625"/>
                <a:gd name="T21" fmla="*/ 545 h 728"/>
                <a:gd name="T22" fmla="*/ 123 w 625"/>
                <a:gd name="T23" fmla="*/ 545 h 728"/>
                <a:gd name="T24" fmla="*/ 54 w 625"/>
                <a:gd name="T25" fmla="*/ 710 h 728"/>
                <a:gd name="T26" fmla="*/ 28 w 625"/>
                <a:gd name="T27" fmla="*/ 728 h 728"/>
                <a:gd name="T28" fmla="*/ 8 w 625"/>
                <a:gd name="T29" fmla="*/ 719 h 728"/>
                <a:gd name="T30" fmla="*/ 0 w 625"/>
                <a:gd name="T31" fmla="*/ 700 h 728"/>
                <a:gd name="T32" fmla="*/ 3 w 625"/>
                <a:gd name="T33" fmla="*/ 688 h 728"/>
                <a:gd name="T34" fmla="*/ 285 w 625"/>
                <a:gd name="T35" fmla="*/ 19 h 728"/>
                <a:gd name="T36" fmla="*/ 312 w 625"/>
                <a:gd name="T37" fmla="*/ 0 h 728"/>
                <a:gd name="T38" fmla="*/ 339 w 625"/>
                <a:gd name="T39" fmla="*/ 19 h 728"/>
                <a:gd name="T40" fmla="*/ 623 w 625"/>
                <a:gd name="T41" fmla="*/ 688 h 728"/>
                <a:gd name="T42" fmla="*/ 625 w 625"/>
                <a:gd name="T43" fmla="*/ 700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25" h="728">
                  <a:moveTo>
                    <a:pt x="481" y="495"/>
                  </a:moveTo>
                  <a:lnTo>
                    <a:pt x="481" y="495"/>
                  </a:lnTo>
                  <a:lnTo>
                    <a:pt x="312" y="92"/>
                  </a:lnTo>
                  <a:lnTo>
                    <a:pt x="145" y="495"/>
                  </a:lnTo>
                  <a:lnTo>
                    <a:pt x="481" y="495"/>
                  </a:lnTo>
                  <a:close/>
                  <a:moveTo>
                    <a:pt x="625" y="700"/>
                  </a:moveTo>
                  <a:lnTo>
                    <a:pt x="625" y="700"/>
                  </a:lnTo>
                  <a:cubicBezTo>
                    <a:pt x="625" y="707"/>
                    <a:pt x="623" y="714"/>
                    <a:pt x="617" y="719"/>
                  </a:cubicBezTo>
                  <a:cubicBezTo>
                    <a:pt x="611" y="725"/>
                    <a:pt x="605" y="728"/>
                    <a:pt x="597" y="728"/>
                  </a:cubicBezTo>
                  <a:cubicBezTo>
                    <a:pt x="585" y="728"/>
                    <a:pt x="576" y="722"/>
                    <a:pt x="571" y="710"/>
                  </a:cubicBezTo>
                  <a:lnTo>
                    <a:pt x="502" y="545"/>
                  </a:lnTo>
                  <a:lnTo>
                    <a:pt x="123" y="545"/>
                  </a:lnTo>
                  <a:lnTo>
                    <a:pt x="54" y="710"/>
                  </a:lnTo>
                  <a:cubicBezTo>
                    <a:pt x="50" y="722"/>
                    <a:pt x="41" y="728"/>
                    <a:pt x="28" y="728"/>
                  </a:cubicBezTo>
                  <a:cubicBezTo>
                    <a:pt x="19" y="728"/>
                    <a:pt x="12" y="725"/>
                    <a:pt x="8" y="719"/>
                  </a:cubicBezTo>
                  <a:cubicBezTo>
                    <a:pt x="3" y="714"/>
                    <a:pt x="0" y="707"/>
                    <a:pt x="0" y="700"/>
                  </a:cubicBezTo>
                  <a:cubicBezTo>
                    <a:pt x="0" y="695"/>
                    <a:pt x="1" y="691"/>
                    <a:pt x="3" y="688"/>
                  </a:cubicBezTo>
                  <a:lnTo>
                    <a:pt x="285" y="19"/>
                  </a:lnTo>
                  <a:cubicBezTo>
                    <a:pt x="290" y="6"/>
                    <a:pt x="299" y="0"/>
                    <a:pt x="312" y="0"/>
                  </a:cubicBezTo>
                  <a:cubicBezTo>
                    <a:pt x="325" y="0"/>
                    <a:pt x="334" y="6"/>
                    <a:pt x="339" y="19"/>
                  </a:cubicBezTo>
                  <a:lnTo>
                    <a:pt x="623" y="688"/>
                  </a:lnTo>
                  <a:cubicBezTo>
                    <a:pt x="624" y="691"/>
                    <a:pt x="625" y="695"/>
                    <a:pt x="625" y="7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Arial" panose="020B0604020202020204" pitchFamily="34" charset="0"/>
              </a:endParaRPr>
            </a:p>
          </p:txBody>
        </p:sp>
        <p:sp>
          <p:nvSpPr>
            <p:cNvPr id="16" name="Freeform 32">
              <a:extLst>
                <a:ext uri="{FF2B5EF4-FFF2-40B4-BE49-F238E27FC236}">
                  <a16:creationId xmlns:a16="http://schemas.microsoft.com/office/drawing/2014/main" id="{BF8A2A88-D687-EEE3-3203-99152F7E39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19127" y="697659"/>
              <a:ext cx="1036638" cy="1609725"/>
            </a:xfrm>
            <a:custGeom>
              <a:avLst/>
              <a:gdLst>
                <a:gd name="T0" fmla="*/ 99 w 480"/>
                <a:gd name="T1" fmla="*/ 710 h 746"/>
                <a:gd name="T2" fmla="*/ 99 w 480"/>
                <a:gd name="T3" fmla="*/ 710 h 746"/>
                <a:gd name="T4" fmla="*/ 3 w 480"/>
                <a:gd name="T5" fmla="*/ 612 h 746"/>
                <a:gd name="T6" fmla="*/ 0 w 480"/>
                <a:gd name="T7" fmla="*/ 601 h 746"/>
                <a:gd name="T8" fmla="*/ 8 w 480"/>
                <a:gd name="T9" fmla="*/ 582 h 746"/>
                <a:gd name="T10" fmla="*/ 29 w 480"/>
                <a:gd name="T11" fmla="*/ 575 h 746"/>
                <a:gd name="T12" fmla="*/ 56 w 480"/>
                <a:gd name="T13" fmla="*/ 592 h 746"/>
                <a:gd name="T14" fmla="*/ 131 w 480"/>
                <a:gd name="T15" fmla="*/ 665 h 746"/>
                <a:gd name="T16" fmla="*/ 251 w 480"/>
                <a:gd name="T17" fmla="*/ 690 h 746"/>
                <a:gd name="T18" fmla="*/ 377 w 480"/>
                <a:gd name="T19" fmla="*/ 650 h 746"/>
                <a:gd name="T20" fmla="*/ 424 w 480"/>
                <a:gd name="T21" fmla="*/ 536 h 746"/>
                <a:gd name="T22" fmla="*/ 378 w 480"/>
                <a:gd name="T23" fmla="*/ 432 h 746"/>
                <a:gd name="T24" fmla="*/ 245 w 480"/>
                <a:gd name="T25" fmla="*/ 378 h 746"/>
                <a:gd name="T26" fmla="*/ 82 w 480"/>
                <a:gd name="T27" fmla="*/ 310 h 746"/>
                <a:gd name="T28" fmla="*/ 23 w 480"/>
                <a:gd name="T29" fmla="*/ 182 h 746"/>
                <a:gd name="T30" fmla="*/ 50 w 480"/>
                <a:gd name="T31" fmla="*/ 87 h 746"/>
                <a:gd name="T32" fmla="*/ 128 w 480"/>
                <a:gd name="T33" fmla="*/ 22 h 746"/>
                <a:gd name="T34" fmla="*/ 243 w 480"/>
                <a:gd name="T35" fmla="*/ 0 h 746"/>
                <a:gd name="T36" fmla="*/ 368 w 480"/>
                <a:gd name="T37" fmla="*/ 32 h 746"/>
                <a:gd name="T38" fmla="*/ 452 w 480"/>
                <a:gd name="T39" fmla="*/ 110 h 746"/>
                <a:gd name="T40" fmla="*/ 455 w 480"/>
                <a:gd name="T41" fmla="*/ 125 h 746"/>
                <a:gd name="T42" fmla="*/ 451 w 480"/>
                <a:gd name="T43" fmla="*/ 139 h 746"/>
                <a:gd name="T44" fmla="*/ 439 w 480"/>
                <a:gd name="T45" fmla="*/ 149 h 746"/>
                <a:gd name="T46" fmla="*/ 428 w 480"/>
                <a:gd name="T47" fmla="*/ 151 h 746"/>
                <a:gd name="T48" fmla="*/ 402 w 480"/>
                <a:gd name="T49" fmla="*/ 137 h 746"/>
                <a:gd name="T50" fmla="*/ 243 w 480"/>
                <a:gd name="T51" fmla="*/ 55 h 746"/>
                <a:gd name="T52" fmla="*/ 122 w 480"/>
                <a:gd name="T53" fmla="*/ 90 h 746"/>
                <a:gd name="T54" fmla="*/ 79 w 480"/>
                <a:gd name="T55" fmla="*/ 188 h 746"/>
                <a:gd name="T56" fmla="*/ 122 w 480"/>
                <a:gd name="T57" fmla="*/ 275 h 746"/>
                <a:gd name="T58" fmla="*/ 254 w 480"/>
                <a:gd name="T59" fmla="*/ 326 h 746"/>
                <a:gd name="T60" fmla="*/ 425 w 480"/>
                <a:gd name="T61" fmla="*/ 398 h 746"/>
                <a:gd name="T62" fmla="*/ 480 w 480"/>
                <a:gd name="T63" fmla="*/ 536 h 746"/>
                <a:gd name="T64" fmla="*/ 451 w 480"/>
                <a:gd name="T65" fmla="*/ 648 h 746"/>
                <a:gd name="T66" fmla="*/ 371 w 480"/>
                <a:gd name="T67" fmla="*/ 721 h 746"/>
                <a:gd name="T68" fmla="*/ 251 w 480"/>
                <a:gd name="T69" fmla="*/ 746 h 746"/>
                <a:gd name="T70" fmla="*/ 99 w 480"/>
                <a:gd name="T71" fmla="*/ 710 h 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80" h="746">
                  <a:moveTo>
                    <a:pt x="99" y="710"/>
                  </a:moveTo>
                  <a:lnTo>
                    <a:pt x="99" y="710"/>
                  </a:lnTo>
                  <a:cubicBezTo>
                    <a:pt x="56" y="686"/>
                    <a:pt x="24" y="654"/>
                    <a:pt x="3" y="612"/>
                  </a:cubicBezTo>
                  <a:cubicBezTo>
                    <a:pt x="1" y="608"/>
                    <a:pt x="0" y="604"/>
                    <a:pt x="0" y="601"/>
                  </a:cubicBezTo>
                  <a:cubicBezTo>
                    <a:pt x="0" y="593"/>
                    <a:pt x="3" y="587"/>
                    <a:pt x="8" y="582"/>
                  </a:cubicBezTo>
                  <a:cubicBezTo>
                    <a:pt x="14" y="577"/>
                    <a:pt x="21" y="575"/>
                    <a:pt x="29" y="575"/>
                  </a:cubicBezTo>
                  <a:cubicBezTo>
                    <a:pt x="42" y="575"/>
                    <a:pt x="51" y="581"/>
                    <a:pt x="56" y="592"/>
                  </a:cubicBezTo>
                  <a:cubicBezTo>
                    <a:pt x="73" y="623"/>
                    <a:pt x="98" y="647"/>
                    <a:pt x="131" y="665"/>
                  </a:cubicBezTo>
                  <a:cubicBezTo>
                    <a:pt x="165" y="682"/>
                    <a:pt x="205" y="690"/>
                    <a:pt x="251" y="690"/>
                  </a:cubicBezTo>
                  <a:cubicBezTo>
                    <a:pt x="305" y="690"/>
                    <a:pt x="347" y="677"/>
                    <a:pt x="377" y="650"/>
                  </a:cubicBezTo>
                  <a:cubicBezTo>
                    <a:pt x="408" y="623"/>
                    <a:pt x="424" y="585"/>
                    <a:pt x="424" y="536"/>
                  </a:cubicBezTo>
                  <a:cubicBezTo>
                    <a:pt x="424" y="494"/>
                    <a:pt x="409" y="459"/>
                    <a:pt x="378" y="432"/>
                  </a:cubicBezTo>
                  <a:cubicBezTo>
                    <a:pt x="348" y="404"/>
                    <a:pt x="304" y="386"/>
                    <a:pt x="245" y="378"/>
                  </a:cubicBezTo>
                  <a:cubicBezTo>
                    <a:pt x="176" y="368"/>
                    <a:pt x="121" y="345"/>
                    <a:pt x="82" y="310"/>
                  </a:cubicBezTo>
                  <a:cubicBezTo>
                    <a:pt x="43" y="275"/>
                    <a:pt x="23" y="233"/>
                    <a:pt x="23" y="182"/>
                  </a:cubicBezTo>
                  <a:cubicBezTo>
                    <a:pt x="23" y="146"/>
                    <a:pt x="32" y="114"/>
                    <a:pt x="50" y="87"/>
                  </a:cubicBezTo>
                  <a:cubicBezTo>
                    <a:pt x="69" y="59"/>
                    <a:pt x="94" y="38"/>
                    <a:pt x="128" y="22"/>
                  </a:cubicBezTo>
                  <a:cubicBezTo>
                    <a:pt x="161" y="7"/>
                    <a:pt x="199" y="0"/>
                    <a:pt x="243" y="0"/>
                  </a:cubicBezTo>
                  <a:cubicBezTo>
                    <a:pt x="288" y="0"/>
                    <a:pt x="330" y="10"/>
                    <a:pt x="368" y="32"/>
                  </a:cubicBezTo>
                  <a:cubicBezTo>
                    <a:pt x="406" y="54"/>
                    <a:pt x="434" y="80"/>
                    <a:pt x="452" y="110"/>
                  </a:cubicBezTo>
                  <a:cubicBezTo>
                    <a:pt x="454" y="115"/>
                    <a:pt x="455" y="120"/>
                    <a:pt x="455" y="125"/>
                  </a:cubicBezTo>
                  <a:cubicBezTo>
                    <a:pt x="455" y="130"/>
                    <a:pt x="454" y="135"/>
                    <a:pt x="451" y="139"/>
                  </a:cubicBezTo>
                  <a:cubicBezTo>
                    <a:pt x="448" y="143"/>
                    <a:pt x="444" y="146"/>
                    <a:pt x="439" y="149"/>
                  </a:cubicBezTo>
                  <a:cubicBezTo>
                    <a:pt x="437" y="150"/>
                    <a:pt x="433" y="151"/>
                    <a:pt x="428" y="151"/>
                  </a:cubicBezTo>
                  <a:cubicBezTo>
                    <a:pt x="417" y="151"/>
                    <a:pt x="408" y="146"/>
                    <a:pt x="402" y="137"/>
                  </a:cubicBezTo>
                  <a:cubicBezTo>
                    <a:pt x="366" y="83"/>
                    <a:pt x="312" y="55"/>
                    <a:pt x="243" y="55"/>
                  </a:cubicBezTo>
                  <a:cubicBezTo>
                    <a:pt x="191" y="55"/>
                    <a:pt x="151" y="67"/>
                    <a:pt x="122" y="90"/>
                  </a:cubicBezTo>
                  <a:cubicBezTo>
                    <a:pt x="93" y="114"/>
                    <a:pt x="79" y="146"/>
                    <a:pt x="79" y="188"/>
                  </a:cubicBezTo>
                  <a:cubicBezTo>
                    <a:pt x="79" y="223"/>
                    <a:pt x="93" y="252"/>
                    <a:pt x="122" y="275"/>
                  </a:cubicBezTo>
                  <a:cubicBezTo>
                    <a:pt x="150" y="299"/>
                    <a:pt x="194" y="316"/>
                    <a:pt x="254" y="326"/>
                  </a:cubicBezTo>
                  <a:cubicBezTo>
                    <a:pt x="332" y="339"/>
                    <a:pt x="389" y="363"/>
                    <a:pt x="425" y="398"/>
                  </a:cubicBezTo>
                  <a:cubicBezTo>
                    <a:pt x="462" y="433"/>
                    <a:pt x="480" y="479"/>
                    <a:pt x="480" y="536"/>
                  </a:cubicBezTo>
                  <a:cubicBezTo>
                    <a:pt x="480" y="579"/>
                    <a:pt x="470" y="617"/>
                    <a:pt x="451" y="648"/>
                  </a:cubicBezTo>
                  <a:cubicBezTo>
                    <a:pt x="432" y="680"/>
                    <a:pt x="405" y="704"/>
                    <a:pt x="371" y="721"/>
                  </a:cubicBezTo>
                  <a:cubicBezTo>
                    <a:pt x="336" y="738"/>
                    <a:pt x="297" y="746"/>
                    <a:pt x="251" y="746"/>
                  </a:cubicBezTo>
                  <a:cubicBezTo>
                    <a:pt x="193" y="746"/>
                    <a:pt x="142" y="734"/>
                    <a:pt x="99" y="71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Arial" panose="020B0604020202020204" pitchFamily="34" charset="0"/>
              </a:endParaRPr>
            </a:p>
          </p:txBody>
        </p:sp>
        <p:sp>
          <p:nvSpPr>
            <p:cNvPr id="17" name="Freeform 33">
              <a:extLst>
                <a:ext uri="{FF2B5EF4-FFF2-40B4-BE49-F238E27FC236}">
                  <a16:creationId xmlns:a16="http://schemas.microsoft.com/office/drawing/2014/main" id="{E5D56F78-7DF8-50BE-9DEA-704DD1CA45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74527" y="1013572"/>
              <a:ext cx="682625" cy="1276350"/>
            </a:xfrm>
            <a:custGeom>
              <a:avLst/>
              <a:gdLst>
                <a:gd name="T0" fmla="*/ 308 w 316"/>
                <a:gd name="T1" fmla="*/ 8 h 592"/>
                <a:gd name="T2" fmla="*/ 308 w 316"/>
                <a:gd name="T3" fmla="*/ 8 h 592"/>
                <a:gd name="T4" fmla="*/ 278 w 316"/>
                <a:gd name="T5" fmla="*/ 8 h 592"/>
                <a:gd name="T6" fmla="*/ 193 w 316"/>
                <a:gd name="T7" fmla="*/ 94 h 592"/>
                <a:gd name="T8" fmla="*/ 187 w 316"/>
                <a:gd name="T9" fmla="*/ 110 h 592"/>
                <a:gd name="T10" fmla="*/ 187 w 316"/>
                <a:gd name="T11" fmla="*/ 114 h 592"/>
                <a:gd name="T12" fmla="*/ 187 w 316"/>
                <a:gd name="T13" fmla="*/ 175 h 592"/>
                <a:gd name="T14" fmla="*/ 182 w 316"/>
                <a:gd name="T15" fmla="*/ 174 h 592"/>
                <a:gd name="T16" fmla="*/ 133 w 316"/>
                <a:gd name="T17" fmla="*/ 174 h 592"/>
                <a:gd name="T18" fmla="*/ 129 w 316"/>
                <a:gd name="T19" fmla="*/ 175 h 592"/>
                <a:gd name="T20" fmla="*/ 129 w 316"/>
                <a:gd name="T21" fmla="*/ 114 h 592"/>
                <a:gd name="T22" fmla="*/ 129 w 316"/>
                <a:gd name="T23" fmla="*/ 110 h 592"/>
                <a:gd name="T24" fmla="*/ 123 w 316"/>
                <a:gd name="T25" fmla="*/ 94 h 592"/>
                <a:gd name="T26" fmla="*/ 38 w 316"/>
                <a:gd name="T27" fmla="*/ 8 h 592"/>
                <a:gd name="T28" fmla="*/ 8 w 316"/>
                <a:gd name="T29" fmla="*/ 8 h 592"/>
                <a:gd name="T30" fmla="*/ 8 w 316"/>
                <a:gd name="T31" fmla="*/ 38 h 592"/>
                <a:gd name="T32" fmla="*/ 87 w 316"/>
                <a:gd name="T33" fmla="*/ 117 h 592"/>
                <a:gd name="T34" fmla="*/ 87 w 316"/>
                <a:gd name="T35" fmla="*/ 571 h 592"/>
                <a:gd name="T36" fmla="*/ 108 w 316"/>
                <a:gd name="T37" fmla="*/ 592 h 592"/>
                <a:gd name="T38" fmla="*/ 129 w 316"/>
                <a:gd name="T39" fmla="*/ 571 h 592"/>
                <a:gd name="T40" fmla="*/ 129 w 316"/>
                <a:gd name="T41" fmla="*/ 225 h 592"/>
                <a:gd name="T42" fmla="*/ 133 w 316"/>
                <a:gd name="T43" fmla="*/ 225 h 592"/>
                <a:gd name="T44" fmla="*/ 182 w 316"/>
                <a:gd name="T45" fmla="*/ 225 h 592"/>
                <a:gd name="T46" fmla="*/ 187 w 316"/>
                <a:gd name="T47" fmla="*/ 225 h 592"/>
                <a:gd name="T48" fmla="*/ 187 w 316"/>
                <a:gd name="T49" fmla="*/ 571 h 592"/>
                <a:gd name="T50" fmla="*/ 208 w 316"/>
                <a:gd name="T51" fmla="*/ 592 h 592"/>
                <a:gd name="T52" fmla="*/ 229 w 316"/>
                <a:gd name="T53" fmla="*/ 571 h 592"/>
                <a:gd name="T54" fmla="*/ 229 w 316"/>
                <a:gd name="T55" fmla="*/ 117 h 592"/>
                <a:gd name="T56" fmla="*/ 308 w 316"/>
                <a:gd name="T57" fmla="*/ 38 h 592"/>
                <a:gd name="T58" fmla="*/ 308 w 316"/>
                <a:gd name="T59" fmla="*/ 8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16" h="592">
                  <a:moveTo>
                    <a:pt x="308" y="8"/>
                  </a:moveTo>
                  <a:lnTo>
                    <a:pt x="308" y="8"/>
                  </a:lnTo>
                  <a:cubicBezTo>
                    <a:pt x="300" y="0"/>
                    <a:pt x="286" y="0"/>
                    <a:pt x="278" y="8"/>
                  </a:cubicBezTo>
                  <a:lnTo>
                    <a:pt x="193" y="94"/>
                  </a:lnTo>
                  <a:cubicBezTo>
                    <a:pt x="188" y="98"/>
                    <a:pt x="186" y="104"/>
                    <a:pt x="187" y="110"/>
                  </a:cubicBezTo>
                  <a:cubicBezTo>
                    <a:pt x="187" y="111"/>
                    <a:pt x="187" y="112"/>
                    <a:pt x="187" y="114"/>
                  </a:cubicBezTo>
                  <a:lnTo>
                    <a:pt x="187" y="175"/>
                  </a:lnTo>
                  <a:cubicBezTo>
                    <a:pt x="185" y="175"/>
                    <a:pt x="184" y="174"/>
                    <a:pt x="182" y="174"/>
                  </a:cubicBezTo>
                  <a:lnTo>
                    <a:pt x="133" y="174"/>
                  </a:lnTo>
                  <a:cubicBezTo>
                    <a:pt x="132" y="174"/>
                    <a:pt x="130" y="175"/>
                    <a:pt x="129" y="175"/>
                  </a:cubicBezTo>
                  <a:lnTo>
                    <a:pt x="129" y="114"/>
                  </a:lnTo>
                  <a:cubicBezTo>
                    <a:pt x="129" y="112"/>
                    <a:pt x="129" y="111"/>
                    <a:pt x="129" y="110"/>
                  </a:cubicBezTo>
                  <a:cubicBezTo>
                    <a:pt x="129" y="104"/>
                    <a:pt x="127" y="98"/>
                    <a:pt x="123" y="94"/>
                  </a:cubicBezTo>
                  <a:lnTo>
                    <a:pt x="38" y="8"/>
                  </a:lnTo>
                  <a:cubicBezTo>
                    <a:pt x="29" y="0"/>
                    <a:pt x="16" y="0"/>
                    <a:pt x="8" y="8"/>
                  </a:cubicBezTo>
                  <a:cubicBezTo>
                    <a:pt x="0" y="16"/>
                    <a:pt x="0" y="30"/>
                    <a:pt x="8" y="38"/>
                  </a:cubicBezTo>
                  <a:lnTo>
                    <a:pt x="87" y="117"/>
                  </a:lnTo>
                  <a:lnTo>
                    <a:pt x="87" y="571"/>
                  </a:lnTo>
                  <a:cubicBezTo>
                    <a:pt x="87" y="582"/>
                    <a:pt x="97" y="592"/>
                    <a:pt x="108" y="592"/>
                  </a:cubicBezTo>
                  <a:cubicBezTo>
                    <a:pt x="120" y="592"/>
                    <a:pt x="129" y="582"/>
                    <a:pt x="129" y="571"/>
                  </a:cubicBezTo>
                  <a:lnTo>
                    <a:pt x="129" y="225"/>
                  </a:lnTo>
                  <a:cubicBezTo>
                    <a:pt x="130" y="225"/>
                    <a:pt x="132" y="225"/>
                    <a:pt x="133" y="225"/>
                  </a:cubicBezTo>
                  <a:lnTo>
                    <a:pt x="182" y="225"/>
                  </a:lnTo>
                  <a:cubicBezTo>
                    <a:pt x="184" y="225"/>
                    <a:pt x="185" y="225"/>
                    <a:pt x="187" y="225"/>
                  </a:cubicBezTo>
                  <a:lnTo>
                    <a:pt x="187" y="571"/>
                  </a:lnTo>
                  <a:cubicBezTo>
                    <a:pt x="187" y="582"/>
                    <a:pt x="196" y="592"/>
                    <a:pt x="208" y="592"/>
                  </a:cubicBezTo>
                  <a:cubicBezTo>
                    <a:pt x="219" y="592"/>
                    <a:pt x="229" y="582"/>
                    <a:pt x="229" y="571"/>
                  </a:cubicBezTo>
                  <a:lnTo>
                    <a:pt x="229" y="117"/>
                  </a:lnTo>
                  <a:lnTo>
                    <a:pt x="308" y="38"/>
                  </a:lnTo>
                  <a:cubicBezTo>
                    <a:pt x="316" y="30"/>
                    <a:pt x="316" y="16"/>
                    <a:pt x="308" y="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Arial" panose="020B0604020202020204" pitchFamily="34" charset="0"/>
              </a:endParaRPr>
            </a:p>
          </p:txBody>
        </p:sp>
        <p:sp>
          <p:nvSpPr>
            <p:cNvPr id="18" name="Freeform 34">
              <a:extLst>
                <a:ext uri="{FF2B5EF4-FFF2-40B4-BE49-F238E27FC236}">
                  <a16:creationId xmlns:a16="http://schemas.microsoft.com/office/drawing/2014/main" id="{E8364D7A-1FA9-9A43-7DF0-CB8FA1A366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2390" y="650034"/>
              <a:ext cx="369888" cy="369888"/>
            </a:xfrm>
            <a:custGeom>
              <a:avLst/>
              <a:gdLst>
                <a:gd name="T0" fmla="*/ 38 w 171"/>
                <a:gd name="T1" fmla="*/ 163 h 171"/>
                <a:gd name="T2" fmla="*/ 38 w 171"/>
                <a:gd name="T3" fmla="*/ 163 h 171"/>
                <a:gd name="T4" fmla="*/ 163 w 171"/>
                <a:gd name="T5" fmla="*/ 38 h 171"/>
                <a:gd name="T6" fmla="*/ 163 w 171"/>
                <a:gd name="T7" fmla="*/ 9 h 171"/>
                <a:gd name="T8" fmla="*/ 133 w 171"/>
                <a:gd name="T9" fmla="*/ 9 h 171"/>
                <a:gd name="T10" fmla="*/ 8 w 171"/>
                <a:gd name="T11" fmla="*/ 133 h 171"/>
                <a:gd name="T12" fmla="*/ 8 w 171"/>
                <a:gd name="T13" fmla="*/ 163 h 171"/>
                <a:gd name="T14" fmla="*/ 38 w 171"/>
                <a:gd name="T15" fmla="*/ 163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171">
                  <a:moveTo>
                    <a:pt x="38" y="163"/>
                  </a:moveTo>
                  <a:lnTo>
                    <a:pt x="38" y="163"/>
                  </a:lnTo>
                  <a:lnTo>
                    <a:pt x="163" y="38"/>
                  </a:lnTo>
                  <a:cubicBezTo>
                    <a:pt x="171" y="30"/>
                    <a:pt x="171" y="17"/>
                    <a:pt x="163" y="9"/>
                  </a:cubicBezTo>
                  <a:cubicBezTo>
                    <a:pt x="155" y="0"/>
                    <a:pt x="141" y="0"/>
                    <a:pt x="133" y="9"/>
                  </a:cubicBezTo>
                  <a:lnTo>
                    <a:pt x="8" y="133"/>
                  </a:lnTo>
                  <a:cubicBezTo>
                    <a:pt x="0" y="141"/>
                    <a:pt x="0" y="155"/>
                    <a:pt x="8" y="163"/>
                  </a:cubicBezTo>
                  <a:cubicBezTo>
                    <a:pt x="17" y="171"/>
                    <a:pt x="30" y="171"/>
                    <a:pt x="38" y="16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Arial" panose="020B0604020202020204" pitchFamily="34" charset="0"/>
              </a:endParaRPr>
            </a:p>
          </p:txBody>
        </p:sp>
        <p:sp>
          <p:nvSpPr>
            <p:cNvPr id="19" name="Freeform 35">
              <a:extLst>
                <a:ext uri="{FF2B5EF4-FFF2-40B4-BE49-F238E27FC236}">
                  <a16:creationId xmlns:a16="http://schemas.microsoft.com/office/drawing/2014/main" id="{285657DA-032F-FE93-C893-49A860236B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20640" y="767509"/>
              <a:ext cx="517525" cy="517525"/>
            </a:xfrm>
            <a:custGeom>
              <a:avLst/>
              <a:gdLst>
                <a:gd name="T0" fmla="*/ 232 w 240"/>
                <a:gd name="T1" fmla="*/ 8 h 240"/>
                <a:gd name="T2" fmla="*/ 232 w 240"/>
                <a:gd name="T3" fmla="*/ 8 h 240"/>
                <a:gd name="T4" fmla="*/ 203 w 240"/>
                <a:gd name="T5" fmla="*/ 8 h 240"/>
                <a:gd name="T6" fmla="*/ 8 w 240"/>
                <a:gd name="T7" fmla="*/ 203 h 240"/>
                <a:gd name="T8" fmla="*/ 8 w 240"/>
                <a:gd name="T9" fmla="*/ 232 h 240"/>
                <a:gd name="T10" fmla="*/ 38 w 240"/>
                <a:gd name="T11" fmla="*/ 232 h 240"/>
                <a:gd name="T12" fmla="*/ 232 w 240"/>
                <a:gd name="T13" fmla="*/ 38 h 240"/>
                <a:gd name="T14" fmla="*/ 232 w 240"/>
                <a:gd name="T15" fmla="*/ 8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0" h="240">
                  <a:moveTo>
                    <a:pt x="232" y="8"/>
                  </a:moveTo>
                  <a:lnTo>
                    <a:pt x="232" y="8"/>
                  </a:lnTo>
                  <a:cubicBezTo>
                    <a:pt x="224" y="0"/>
                    <a:pt x="211" y="0"/>
                    <a:pt x="203" y="8"/>
                  </a:cubicBezTo>
                  <a:lnTo>
                    <a:pt x="8" y="203"/>
                  </a:lnTo>
                  <a:cubicBezTo>
                    <a:pt x="0" y="211"/>
                    <a:pt x="0" y="224"/>
                    <a:pt x="8" y="232"/>
                  </a:cubicBezTo>
                  <a:cubicBezTo>
                    <a:pt x="16" y="240"/>
                    <a:pt x="30" y="240"/>
                    <a:pt x="38" y="232"/>
                  </a:cubicBezTo>
                  <a:lnTo>
                    <a:pt x="232" y="38"/>
                  </a:lnTo>
                  <a:cubicBezTo>
                    <a:pt x="240" y="30"/>
                    <a:pt x="240" y="16"/>
                    <a:pt x="232" y="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Arial" panose="020B0604020202020204" pitchFamily="34" charset="0"/>
              </a:endParaRPr>
            </a:p>
          </p:txBody>
        </p:sp>
        <p:sp>
          <p:nvSpPr>
            <p:cNvPr id="20" name="Freeform 36">
              <a:extLst>
                <a:ext uri="{FF2B5EF4-FFF2-40B4-BE49-F238E27FC236}">
                  <a16:creationId xmlns:a16="http://schemas.microsoft.com/office/drawing/2014/main" id="{A673F52D-5E3D-D740-DA85-842A7FCE92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10990" y="650034"/>
              <a:ext cx="366713" cy="369888"/>
            </a:xfrm>
            <a:custGeom>
              <a:avLst/>
              <a:gdLst>
                <a:gd name="T0" fmla="*/ 133 w 170"/>
                <a:gd name="T1" fmla="*/ 163 h 171"/>
                <a:gd name="T2" fmla="*/ 133 w 170"/>
                <a:gd name="T3" fmla="*/ 163 h 171"/>
                <a:gd name="T4" fmla="*/ 162 w 170"/>
                <a:gd name="T5" fmla="*/ 163 h 171"/>
                <a:gd name="T6" fmla="*/ 162 w 170"/>
                <a:gd name="T7" fmla="*/ 133 h 171"/>
                <a:gd name="T8" fmla="*/ 38 w 170"/>
                <a:gd name="T9" fmla="*/ 9 h 171"/>
                <a:gd name="T10" fmla="*/ 8 w 170"/>
                <a:gd name="T11" fmla="*/ 9 h 171"/>
                <a:gd name="T12" fmla="*/ 8 w 170"/>
                <a:gd name="T13" fmla="*/ 38 h 171"/>
                <a:gd name="T14" fmla="*/ 133 w 170"/>
                <a:gd name="T15" fmla="*/ 163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0" h="171">
                  <a:moveTo>
                    <a:pt x="133" y="163"/>
                  </a:moveTo>
                  <a:lnTo>
                    <a:pt x="133" y="163"/>
                  </a:lnTo>
                  <a:cubicBezTo>
                    <a:pt x="141" y="171"/>
                    <a:pt x="154" y="171"/>
                    <a:pt x="162" y="163"/>
                  </a:cubicBezTo>
                  <a:cubicBezTo>
                    <a:pt x="170" y="155"/>
                    <a:pt x="170" y="141"/>
                    <a:pt x="162" y="133"/>
                  </a:cubicBezTo>
                  <a:lnTo>
                    <a:pt x="38" y="9"/>
                  </a:lnTo>
                  <a:cubicBezTo>
                    <a:pt x="29" y="0"/>
                    <a:pt x="16" y="0"/>
                    <a:pt x="8" y="9"/>
                  </a:cubicBezTo>
                  <a:cubicBezTo>
                    <a:pt x="0" y="17"/>
                    <a:pt x="0" y="30"/>
                    <a:pt x="8" y="38"/>
                  </a:cubicBezTo>
                  <a:lnTo>
                    <a:pt x="133" y="16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Arial" panose="020B0604020202020204" pitchFamily="34" charset="0"/>
              </a:endParaRPr>
            </a:p>
          </p:txBody>
        </p:sp>
        <p:sp>
          <p:nvSpPr>
            <p:cNvPr id="21" name="Freeform 37">
              <a:extLst>
                <a:ext uri="{FF2B5EF4-FFF2-40B4-BE49-F238E27FC236}">
                  <a16:creationId xmlns:a16="http://schemas.microsoft.com/office/drawing/2014/main" id="{5976F001-61DC-5EB3-D736-6ADBBE39E5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91927" y="767509"/>
              <a:ext cx="520700" cy="517525"/>
            </a:xfrm>
            <a:custGeom>
              <a:avLst/>
              <a:gdLst>
                <a:gd name="T0" fmla="*/ 38 w 241"/>
                <a:gd name="T1" fmla="*/ 8 h 240"/>
                <a:gd name="T2" fmla="*/ 38 w 241"/>
                <a:gd name="T3" fmla="*/ 8 h 240"/>
                <a:gd name="T4" fmla="*/ 8 w 241"/>
                <a:gd name="T5" fmla="*/ 8 h 240"/>
                <a:gd name="T6" fmla="*/ 8 w 241"/>
                <a:gd name="T7" fmla="*/ 38 h 240"/>
                <a:gd name="T8" fmla="*/ 203 w 241"/>
                <a:gd name="T9" fmla="*/ 232 h 240"/>
                <a:gd name="T10" fmla="*/ 232 w 241"/>
                <a:gd name="T11" fmla="*/ 232 h 240"/>
                <a:gd name="T12" fmla="*/ 232 w 241"/>
                <a:gd name="T13" fmla="*/ 203 h 240"/>
                <a:gd name="T14" fmla="*/ 38 w 241"/>
                <a:gd name="T15" fmla="*/ 8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1" h="240">
                  <a:moveTo>
                    <a:pt x="38" y="8"/>
                  </a:moveTo>
                  <a:lnTo>
                    <a:pt x="38" y="8"/>
                  </a:lnTo>
                  <a:cubicBezTo>
                    <a:pt x="30" y="0"/>
                    <a:pt x="17" y="0"/>
                    <a:pt x="8" y="8"/>
                  </a:cubicBezTo>
                  <a:cubicBezTo>
                    <a:pt x="0" y="16"/>
                    <a:pt x="0" y="30"/>
                    <a:pt x="8" y="38"/>
                  </a:cubicBezTo>
                  <a:lnTo>
                    <a:pt x="203" y="232"/>
                  </a:lnTo>
                  <a:cubicBezTo>
                    <a:pt x="211" y="240"/>
                    <a:pt x="224" y="240"/>
                    <a:pt x="232" y="232"/>
                  </a:cubicBezTo>
                  <a:cubicBezTo>
                    <a:pt x="241" y="224"/>
                    <a:pt x="241" y="211"/>
                    <a:pt x="232" y="203"/>
                  </a:cubicBezTo>
                  <a:lnTo>
                    <a:pt x="38" y="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Arial" panose="020B0604020202020204" pitchFamily="34" charset="0"/>
              </a:endParaRPr>
            </a:p>
          </p:txBody>
        </p:sp>
      </p:grp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DA12679A-1683-1F4D-6698-116CE2B30CE9}"/>
              </a:ext>
            </a:extLst>
          </p:cNvPr>
          <p:cNvSpPr/>
          <p:nvPr userDrawn="1"/>
        </p:nvSpPr>
        <p:spPr>
          <a:xfrm rot="18900000">
            <a:off x="-24720" y="5197865"/>
            <a:ext cx="989240" cy="1265839"/>
          </a:xfrm>
          <a:custGeom>
            <a:avLst/>
            <a:gdLst>
              <a:gd name="connsiteX0" fmla="*/ 2968030 w 3885365"/>
              <a:gd name="connsiteY0" fmla="*/ 718585 h 4971741"/>
              <a:gd name="connsiteX1" fmla="*/ 3885365 w 3885365"/>
              <a:gd name="connsiteY1" fmla="*/ 2933228 h 4971741"/>
              <a:gd name="connsiteX2" fmla="*/ 3217358 w 3885365"/>
              <a:gd name="connsiteY2" fmla="*/ 4866871 h 4971741"/>
              <a:gd name="connsiteX3" fmla="*/ 3128688 w 3885365"/>
              <a:gd name="connsiteY3" fmla="*/ 4971741 h 4971741"/>
              <a:gd name="connsiteX4" fmla="*/ 0 w 3885365"/>
              <a:gd name="connsiteY4" fmla="*/ 1843052 h 4971741"/>
              <a:gd name="connsiteX5" fmla="*/ 1843052 w 3885365"/>
              <a:gd name="connsiteY5" fmla="*/ 0 h 4971741"/>
              <a:gd name="connsiteX6" fmla="*/ 1972494 w 3885365"/>
              <a:gd name="connsiteY6" fmla="*/ 47377 h 4971741"/>
              <a:gd name="connsiteX7" fmla="*/ 2968030 w 3885365"/>
              <a:gd name="connsiteY7" fmla="*/ 718585 h 49717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85365" h="4971741">
                <a:moveTo>
                  <a:pt x="2968030" y="718585"/>
                </a:moveTo>
                <a:cubicBezTo>
                  <a:pt x="3534807" y="1285362"/>
                  <a:pt x="3885365" y="2068358"/>
                  <a:pt x="3885365" y="2933228"/>
                </a:cubicBezTo>
                <a:cubicBezTo>
                  <a:pt x="3885365" y="3662964"/>
                  <a:pt x="3635798" y="4334410"/>
                  <a:pt x="3217358" y="4866871"/>
                </a:cubicBezTo>
                <a:lnTo>
                  <a:pt x="3128688" y="4971741"/>
                </a:lnTo>
                <a:lnTo>
                  <a:pt x="0" y="1843052"/>
                </a:lnTo>
                <a:lnTo>
                  <a:pt x="1843052" y="0"/>
                </a:lnTo>
                <a:lnTo>
                  <a:pt x="1972494" y="47377"/>
                </a:lnTo>
                <a:cubicBezTo>
                  <a:pt x="2347199" y="205863"/>
                  <a:pt x="2684642" y="435197"/>
                  <a:pt x="2968030" y="718585"/>
                </a:cubicBezTo>
                <a:close/>
              </a:path>
            </a:pathLst>
          </a:custGeom>
          <a:solidFill>
            <a:srgbClr val="005A9A">
              <a:alpha val="1531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900" noProof="0">
              <a:latin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3CF2CF3-B11D-6D53-9B29-8A38453293D5}"/>
              </a:ext>
            </a:extLst>
          </p:cNvPr>
          <p:cNvSpPr txBox="1"/>
          <p:nvPr userDrawn="1"/>
        </p:nvSpPr>
        <p:spPr>
          <a:xfrm>
            <a:off x="7401464" y="6650433"/>
            <a:ext cx="48362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T-US-2404118 v1.0- P Exp Date 05/22/2024.</a:t>
            </a:r>
          </a:p>
        </p:txBody>
      </p:sp>
    </p:spTree>
    <p:extLst>
      <p:ext uri="{BB962C8B-B14F-4D97-AF65-F5344CB8AC3E}">
        <p14:creationId xmlns:p14="http://schemas.microsoft.com/office/powerpoint/2010/main" val="157849270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0D7C727-4EDB-5403-73C1-B8C5F700CE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1901402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0D7C727-4EDB-5403-73C1-B8C5F700CE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D9635B2-3D27-4FA3-B863-05E4C9624A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nter title her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91E4B5EC-9E53-45C3-B765-C1C483A070D0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07988" y="1567815"/>
            <a:ext cx="11376024" cy="4608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1pPr>
            <a:lvl2pPr marL="460788" indent="-228594">
              <a:lnSpc>
                <a:spcPct val="100000"/>
              </a:lnSpc>
              <a:buFont typeface="Symbol" panose="05050102010706020507" pitchFamily="18" charset="2"/>
              <a:buChar char="-"/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</a:t>
            </a:r>
            <a:br>
              <a:rPr lang="en-US"/>
            </a:br>
            <a:r>
              <a:rPr lang="en-US"/>
              <a:t>To increase bullet level, select your text and press Tab.</a:t>
            </a:r>
            <a:br>
              <a:rPr lang="en-US"/>
            </a:br>
            <a:r>
              <a:rPr lang="en-US"/>
              <a:t>To decrease bullet level, select your bullet text and press Shift + Tab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002CC1A-50FF-4A50-8660-D325E3429D9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E938F29-84D5-4449-9358-343332B4BEF7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ext Placeholder 96">
            <a:extLst>
              <a:ext uri="{FF2B5EF4-FFF2-40B4-BE49-F238E27FC236}">
                <a16:creationId xmlns:a16="http://schemas.microsoft.com/office/drawing/2014/main" id="{C949FF72-87ED-4607-89DB-176C532FA3A0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407989" y="6200776"/>
            <a:ext cx="9729787" cy="657225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/>
              <a:t>Footnot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076326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391">
          <p15:clr>
            <a:srgbClr val="A4A3A4"/>
          </p15:clr>
        </p15:guide>
        <p15:guide id="2" pos="1463">
          <p15:clr>
            <a:srgbClr val="A4A3A4"/>
          </p15:clr>
        </p15:guide>
        <p15:guide id="3" pos="2598">
          <p15:clr>
            <a:srgbClr val="A4A3A4"/>
          </p15:clr>
        </p15:guide>
        <p15:guide id="4" pos="2669">
          <p15:clr>
            <a:srgbClr val="A4A3A4"/>
          </p15:clr>
        </p15:guide>
        <p15:guide id="5" pos="3804">
          <p15:clr>
            <a:srgbClr val="A4A3A4"/>
          </p15:clr>
        </p15:guide>
        <p15:guide id="6" pos="3876">
          <p15:clr>
            <a:srgbClr val="A4A3A4"/>
          </p15:clr>
        </p15:guide>
        <p15:guide id="7" pos="5009">
          <p15:clr>
            <a:srgbClr val="A4A3A4"/>
          </p15:clr>
        </p15:guide>
        <p15:guide id="8" pos="5082">
          <p15:clr>
            <a:srgbClr val="A4A3A4"/>
          </p15:clr>
        </p15:guide>
        <p15:guide id="9" pos="6215">
          <p15:clr>
            <a:srgbClr val="A4A3A4"/>
          </p15:clr>
        </p15:guide>
        <p15:guide id="10" pos="6288">
          <p15:clr>
            <a:srgbClr val="A4A3A4"/>
          </p15:clr>
        </p15:guide>
        <p15:guide id="11" orient="horz" pos="890">
          <p15:clr>
            <a:srgbClr val="C35EA4"/>
          </p15:clr>
        </p15:guide>
        <p15:guide id="12" orient="horz" pos="981">
          <p15:clr>
            <a:srgbClr val="C35EA4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Shape, rectangle&#10;&#10;Description automatically generated">
            <a:extLst>
              <a:ext uri="{FF2B5EF4-FFF2-40B4-BE49-F238E27FC236}">
                <a16:creationId xmlns:a16="http://schemas.microsoft.com/office/drawing/2014/main" id="{0A33316F-B1D5-114A-BEC0-14F0E4D0EDB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204800" cy="68652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B9366448-9A2D-6E4B-9F8A-769DE0B745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2892" t="50777" r="34380"/>
          <a:stretch/>
        </p:blipFill>
        <p:spPr>
          <a:xfrm>
            <a:off x="1" y="0"/>
            <a:ext cx="12192000" cy="39924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59087D1D-B2D6-D44A-900D-872BD4C324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48000" y="3186000"/>
            <a:ext cx="6480000" cy="1800000"/>
          </a:xfrm>
          <a:prstGeom prst="rect">
            <a:avLst/>
          </a:prstGeom>
        </p:spPr>
        <p:txBody>
          <a:bodyPr wrap="square" rIns="0" anchor="b" anchorCtr="0"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defRPr lang="en-GB" sz="3600" b="1" i="0" kern="12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br>
              <a:rPr lang="en-US"/>
            </a:br>
            <a:r>
              <a:rPr lang="en-US"/>
              <a:t>Click to edit</a:t>
            </a:r>
            <a:br>
              <a:rPr lang="en-US"/>
            </a:br>
            <a:r>
              <a:rPr lang="en-US"/>
              <a:t>presentation title</a:t>
            </a:r>
            <a:endParaRPr lang="en-GB"/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685BB56C-E7A2-1545-B6B6-4C9C64D1020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8000" y="5148000"/>
            <a:ext cx="6480000" cy="612000"/>
          </a:xfrm>
          <a:prstGeom prst="rect">
            <a:avLst/>
          </a:prstGeom>
          <a:noFill/>
        </p:spPr>
        <p:txBody>
          <a:bodyPr wrap="square" r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lang="en-US" sz="2000" b="1" i="0" kern="1200" dirty="0" smtClean="0">
                <a:solidFill>
                  <a:schemeClr val="bg2"/>
                </a:solidFill>
                <a:latin typeface="Calibri" panose="020F0502020204030204" pitchFamily="34" charset="0"/>
                <a:ea typeface="Roboto" panose="02000000000000000000" pitchFamily="2" charset="0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TITLE</a:t>
            </a:r>
            <a:endParaRPr lang="en-GB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449528B1-EF8B-074A-A297-A83026E04D4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269200" y="5405896"/>
            <a:ext cx="3756215" cy="142560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BB34DF1-84BC-413D-8901-57B0C9CA5E3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48000" y="6199200"/>
            <a:ext cx="6480000" cy="28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726788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 2">
            <a:extLst>
              <a:ext uri="{FF2B5EF4-FFF2-40B4-BE49-F238E27FC236}">
                <a16:creationId xmlns:a16="http://schemas.microsoft.com/office/drawing/2014/main" id="{F9C8A500-4B81-7B48-A31E-8B8957A3E24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8000" y="5148000"/>
            <a:ext cx="6480000" cy="612000"/>
          </a:xfrm>
          <a:prstGeom prst="rect">
            <a:avLst/>
          </a:prstGeom>
          <a:noFill/>
        </p:spPr>
        <p:txBody>
          <a:bodyPr wrap="square" r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lang="en-US" sz="2000" b="1" i="0" kern="1200" dirty="0" smtClean="0">
                <a:solidFill>
                  <a:schemeClr val="bg2"/>
                </a:solidFill>
                <a:latin typeface="Calibri" panose="020F0502020204030204" pitchFamily="34" charset="0"/>
                <a:ea typeface="Roboto" panose="02000000000000000000" pitchFamily="2" charset="0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TITLE</a:t>
            </a:r>
            <a:endParaRPr lang="en-GB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CF7CA3F-1067-F24A-AC49-D34BAF0EEC2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48000" y="3186000"/>
            <a:ext cx="6480000" cy="1800000"/>
          </a:xfrm>
          <a:prstGeom prst="rect">
            <a:avLst/>
          </a:prstGeom>
        </p:spPr>
        <p:txBody>
          <a:bodyPr wrap="square" rIns="0" anchor="b" anchorCtr="0"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defRPr lang="en-GB" sz="3600" b="1" i="0" kern="1200" dirty="0">
                <a:solidFill>
                  <a:schemeClr val="accent3"/>
                </a:solidFill>
                <a:latin typeface="Cambria" panose="02040503050406030204" pitchFamily="18" charset="0"/>
                <a:ea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presentation title</a:t>
            </a:r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8BD62869-30B7-9B4F-8192-18507D9EB5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269200" y="5407200"/>
            <a:ext cx="3756218" cy="14256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F6CCC59-4C24-6A48-9D5A-52104DDB4F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13072" t="50777" r="33463"/>
          <a:stretch/>
        </p:blipFill>
        <p:spPr>
          <a:xfrm>
            <a:off x="0" y="0"/>
            <a:ext cx="12192000" cy="3992400"/>
          </a:xfrm>
          <a:prstGeom prst="rect">
            <a:avLst/>
          </a:prstGeom>
          <a:effectLst/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4E426A2-D813-4668-B846-DD006E76DEC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48000" y="6199200"/>
            <a:ext cx="6480000" cy="288000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92651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9635B2-3D27-4FA3-B863-05E4C9624A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2"/>
            <a:ext cx="11376024" cy="1007427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nter title here</a:t>
            </a:r>
          </a:p>
        </p:txBody>
      </p:sp>
      <p:sp>
        <p:nvSpPr>
          <p:cNvPr id="5" name="Text Placeholder 96">
            <a:extLst>
              <a:ext uri="{FF2B5EF4-FFF2-40B4-BE49-F238E27FC236}">
                <a16:creationId xmlns:a16="http://schemas.microsoft.com/office/drawing/2014/main" id="{3BB94BA0-28A3-DAB4-B93F-D5BC2A38D3B6}"/>
              </a:ext>
            </a:extLst>
          </p:cNvPr>
          <p:cNvSpPr>
            <a:spLocks noGrp="1"/>
          </p:cNvSpPr>
          <p:nvPr>
            <p:ph type="body" sz="quarter" idx="112" hasCustomPrompt="1"/>
          </p:nvPr>
        </p:nvSpPr>
        <p:spPr>
          <a:xfrm>
            <a:off x="407987" y="5842000"/>
            <a:ext cx="11376023" cy="323850"/>
          </a:xfrm>
        </p:spPr>
        <p:txBody>
          <a:bodyPr lIns="0" tIns="0" rIns="0" bIns="0" anchor="b" anchorCtr="0">
            <a:noAutofit/>
          </a:bodyPr>
          <a:lstStyle>
            <a:lvl1pPr>
              <a:lnSpc>
                <a:spcPct val="100000"/>
              </a:lnSpc>
              <a:spcAft>
                <a:spcPts val="300"/>
              </a:spcAft>
              <a:buNone/>
              <a:defRPr sz="8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Footer content and reference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79D43C9-A2F3-749C-D338-7894ABC74D94}"/>
              </a:ext>
            </a:extLst>
          </p:cNvPr>
          <p:cNvSpPr/>
          <p:nvPr userDrawn="1"/>
        </p:nvSpPr>
        <p:spPr>
          <a:xfrm>
            <a:off x="619662" y="6258617"/>
            <a:ext cx="11572337" cy="608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err="1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65984C8F-66E8-6655-3505-206C85DD7CAD}"/>
              </a:ext>
            </a:extLst>
          </p:cNvPr>
          <p:cNvSpPr/>
          <p:nvPr userDrawn="1"/>
        </p:nvSpPr>
        <p:spPr>
          <a:xfrm>
            <a:off x="-6954" y="6258617"/>
            <a:ext cx="632375" cy="608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err="1"/>
          </a:p>
        </p:txBody>
      </p:sp>
      <p:pic>
        <p:nvPicPr>
          <p:cNvPr id="39" name="Picture 2" descr="Image result for ASTRAZENECA LOGO">
            <a:extLst>
              <a:ext uri="{FF2B5EF4-FFF2-40B4-BE49-F238E27FC236}">
                <a16:creationId xmlns:a16="http://schemas.microsoft.com/office/drawing/2014/main" id="{F3989158-8F2F-A00C-C438-A775C313157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77168" y="6309566"/>
            <a:ext cx="1506846" cy="4083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Text Placeholder 96">
            <a:extLst>
              <a:ext uri="{FF2B5EF4-FFF2-40B4-BE49-F238E27FC236}">
                <a16:creationId xmlns:a16="http://schemas.microsoft.com/office/drawing/2014/main" id="{11C79EA9-23FF-DAD9-309A-4A6F776ECDA0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897839" y="6237289"/>
            <a:ext cx="7053949" cy="620710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00000"/>
              </a:lnSpc>
              <a:spcAft>
                <a:spcPts val="300"/>
              </a:spcAft>
              <a:buNone/>
              <a:defRPr sz="800">
                <a:solidFill>
                  <a:schemeClr val="bg1"/>
                </a:solidFill>
              </a:defRPr>
            </a:lvl1pPr>
          </a:lstStyle>
          <a:p>
            <a:pPr marL="0" indent="0"/>
            <a:r>
              <a:rPr lang="en-GB"/>
              <a:t>This event is a non-promotional meeting organised and funded by AstraZeneca. For healthcare professionals only. </a:t>
            </a:r>
            <a:br>
              <a:rPr lang="en-GB"/>
            </a:br>
            <a:r>
              <a:rPr lang="en-GB"/>
              <a:t>Z4-71738</a:t>
            </a:r>
            <a:r>
              <a:rPr lang="en-GB">
                <a:solidFill>
                  <a:srgbClr val="FF0000"/>
                </a:solidFill>
              </a:rPr>
              <a:t> </a:t>
            </a:r>
            <a:r>
              <a:rPr lang="en-GB"/>
              <a:t>Date of preparation: February 2025. </a:t>
            </a:r>
          </a:p>
        </p:txBody>
      </p:sp>
      <p:sp>
        <p:nvSpPr>
          <p:cNvPr id="42" name="Slide Number Placeholder 9">
            <a:extLst>
              <a:ext uri="{FF2B5EF4-FFF2-40B4-BE49-F238E27FC236}">
                <a16:creationId xmlns:a16="http://schemas.microsoft.com/office/drawing/2014/main" id="{BEA66DF2-E735-3BC1-80F3-DEA7E7566405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-1" y="6253916"/>
            <a:ext cx="632373" cy="576965"/>
          </a:xfrm>
          <a:prstGeom prst="rect">
            <a:avLst/>
          </a:prstGeom>
        </p:spPr>
        <p:txBody>
          <a:bodyPr bIns="0" anchor="ctr"/>
          <a:lstStyle>
            <a:lvl1pPr algn="ctr">
              <a:lnSpc>
                <a:spcPct val="100000"/>
              </a:lnSpc>
              <a:defRPr sz="1200">
                <a:solidFill>
                  <a:schemeClr val="bg1"/>
                </a:solidFill>
              </a:defRPr>
            </a:lvl1pPr>
          </a:lstStyle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63319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391">
          <p15:clr>
            <a:srgbClr val="A4A3A4"/>
          </p15:clr>
        </p15:guide>
        <p15:guide id="2" pos="1463">
          <p15:clr>
            <a:srgbClr val="A4A3A4"/>
          </p15:clr>
        </p15:guide>
        <p15:guide id="3" pos="2598">
          <p15:clr>
            <a:srgbClr val="A4A3A4"/>
          </p15:clr>
        </p15:guide>
        <p15:guide id="4" pos="2669">
          <p15:clr>
            <a:srgbClr val="A4A3A4"/>
          </p15:clr>
        </p15:guide>
        <p15:guide id="5" pos="3804">
          <p15:clr>
            <a:srgbClr val="A4A3A4"/>
          </p15:clr>
        </p15:guide>
        <p15:guide id="6" pos="3876">
          <p15:clr>
            <a:srgbClr val="A4A3A4"/>
          </p15:clr>
        </p15:guide>
        <p15:guide id="7" pos="5009">
          <p15:clr>
            <a:srgbClr val="A4A3A4"/>
          </p15:clr>
        </p15:guide>
        <p15:guide id="8" pos="5082">
          <p15:clr>
            <a:srgbClr val="A4A3A4"/>
          </p15:clr>
        </p15:guide>
        <p15:guide id="9" pos="6215">
          <p15:clr>
            <a:srgbClr val="A4A3A4"/>
          </p15:clr>
        </p15:guide>
        <p15:guide id="10" pos="6288">
          <p15:clr>
            <a:srgbClr val="A4A3A4"/>
          </p15:clr>
        </p15:guide>
        <p15:guide id="11" orient="horz" pos="890">
          <p15:clr>
            <a:srgbClr val="C35EA4"/>
          </p15:clr>
        </p15:guide>
        <p15:guide id="12" orient="horz" pos="981">
          <p15:clr>
            <a:srgbClr val="C35EA4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>
            <a:extLst>
              <a:ext uri="{FF2B5EF4-FFF2-40B4-BE49-F238E27FC236}">
                <a16:creationId xmlns:a16="http://schemas.microsoft.com/office/drawing/2014/main" id="{FBECC1AF-2988-4AB4-93E1-CF5B1CE82B4A}"/>
              </a:ext>
            </a:extLst>
          </p:cNvPr>
          <p:cNvSpPr/>
          <p:nvPr userDrawn="1"/>
        </p:nvSpPr>
        <p:spPr>
          <a:xfrm>
            <a:off x="11246400" y="6209041"/>
            <a:ext cx="468000" cy="46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A95CC4F6-0757-4B3C-87C4-C2F950410E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50000"/>
          </a:blip>
          <a:srcRect l="2960" t="41940" r="57633"/>
          <a:stretch/>
        </p:blipFill>
        <p:spPr>
          <a:xfrm rot="20836538" flipH="1">
            <a:off x="-798425" y="-1039782"/>
            <a:ext cx="11407289" cy="5977918"/>
          </a:xfrm>
          <a:custGeom>
            <a:avLst/>
            <a:gdLst>
              <a:gd name="connsiteX0" fmla="*/ 10057435 w 11407289"/>
              <a:gd name="connsiteY0" fmla="*/ 0 h 5977918"/>
              <a:gd name="connsiteX1" fmla="*/ 0 w 11407289"/>
              <a:gd name="connsiteY1" fmla="*/ 2271036 h 5977918"/>
              <a:gd name="connsiteX2" fmla="*/ 0 w 11407289"/>
              <a:gd name="connsiteY2" fmla="*/ 5977918 h 5977918"/>
              <a:gd name="connsiteX3" fmla="*/ 11407289 w 11407289"/>
              <a:gd name="connsiteY3" fmla="*/ 5977918 h 5977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07289" h="5977918">
                <a:moveTo>
                  <a:pt x="10057435" y="0"/>
                </a:moveTo>
                <a:lnTo>
                  <a:pt x="0" y="2271036"/>
                </a:lnTo>
                <a:lnTo>
                  <a:pt x="0" y="5977918"/>
                </a:lnTo>
                <a:lnTo>
                  <a:pt x="11407289" y="5977918"/>
                </a:lnTo>
                <a:close/>
              </a:path>
            </a:pathLst>
          </a:cu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07F21C2C-15A4-7F45-B0CB-86AEEB9C483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48000" y="4021055"/>
            <a:ext cx="6480000" cy="1198800"/>
          </a:xfrm>
          <a:prstGeom prst="rect">
            <a:avLst/>
          </a:prstGeom>
        </p:spPr>
        <p:txBody>
          <a:bodyPr wrap="square" rIns="0" anchor="b" anchorCtr="0"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defRPr lang="en-GB" sz="3600" b="1" i="0" kern="1200" dirty="0">
                <a:solidFill>
                  <a:schemeClr val="accent3"/>
                </a:solidFill>
                <a:latin typeface="Cambria" panose="02040503050406030204" pitchFamily="18" charset="0"/>
                <a:ea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section title</a:t>
            </a:r>
            <a:endParaRPr lang="en-GB"/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AE22EDCA-5C28-E347-ACF4-79FD5EE059C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8000" y="5349600"/>
            <a:ext cx="6480000" cy="612000"/>
          </a:xfrm>
          <a:prstGeom prst="rect">
            <a:avLst/>
          </a:prstGeom>
          <a:noFill/>
        </p:spPr>
        <p:txBody>
          <a:bodyPr wrap="square" r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lang="en-US" sz="2000" b="1" i="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Roboto" panose="02000000000000000000" pitchFamily="2" charset="0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TITLE</a:t>
            </a:r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05027B8-451C-0745-8CDE-BE69F40B167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9223200" y="100800"/>
            <a:ext cx="2739898" cy="1039876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4C1C3BD2-E178-F345-B79F-1DD61424D982}"/>
              </a:ext>
            </a:extLst>
          </p:cNvPr>
          <p:cNvSpPr/>
          <p:nvPr userDrawn="1"/>
        </p:nvSpPr>
        <p:spPr>
          <a:xfrm>
            <a:off x="11659209" y="6116400"/>
            <a:ext cx="185282" cy="18528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188705B-688D-4BBE-AFA8-803C008BA5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48000" y="6199200"/>
            <a:ext cx="6480000" cy="28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97530E-185C-4015-9C90-EA4D9289A8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64400" y="6331441"/>
            <a:ext cx="432000" cy="223200"/>
          </a:xfrm>
          <a:noFill/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38BAEAC-A895-4A01-AB9B-F6141799970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93887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>
            <a:extLst>
              <a:ext uri="{FF2B5EF4-FFF2-40B4-BE49-F238E27FC236}">
                <a16:creationId xmlns:a16="http://schemas.microsoft.com/office/drawing/2014/main" id="{90CEEC2E-124A-4F43-BAB2-FA91BE5909C2}"/>
              </a:ext>
            </a:extLst>
          </p:cNvPr>
          <p:cNvSpPr/>
          <p:nvPr userDrawn="1"/>
        </p:nvSpPr>
        <p:spPr>
          <a:xfrm>
            <a:off x="11246400" y="6209041"/>
            <a:ext cx="468000" cy="468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30CAC459-CD5F-4270-8F31-936D759727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50000"/>
          </a:blip>
          <a:srcRect l="-1" t="38029" r="58511"/>
          <a:stretch/>
        </p:blipFill>
        <p:spPr>
          <a:xfrm rot="20820000" flipH="1">
            <a:off x="-850331" y="-1600212"/>
            <a:ext cx="12010007" cy="6380624"/>
          </a:xfrm>
          <a:custGeom>
            <a:avLst/>
            <a:gdLst>
              <a:gd name="connsiteX0" fmla="*/ 0 w 12010007"/>
              <a:gd name="connsiteY0" fmla="*/ 2944750 h 6380624"/>
              <a:gd name="connsiteX1" fmla="*/ 0 w 12010007"/>
              <a:gd name="connsiteY1" fmla="*/ 6380624 h 6380624"/>
              <a:gd name="connsiteX2" fmla="*/ 12010007 w 12010007"/>
              <a:gd name="connsiteY2" fmla="*/ 6380624 h 6380624"/>
              <a:gd name="connsiteX3" fmla="*/ 12010007 w 12010007"/>
              <a:gd name="connsiteY3" fmla="*/ 5755018 h 6380624"/>
              <a:gd name="connsiteX4" fmla="*/ 11893580 w 12010007"/>
              <a:gd name="connsiteY4" fmla="*/ 5781898 h 6380624"/>
              <a:gd name="connsiteX5" fmla="*/ 10669867 w 12010007"/>
              <a:gd name="connsiteY5" fmla="*/ 481418 h 6380624"/>
              <a:gd name="connsiteX6" fmla="*/ 0 w 12010007"/>
              <a:gd name="connsiteY6" fmla="*/ 0 h 6380624"/>
              <a:gd name="connsiteX7" fmla="*/ 0 w 12010007"/>
              <a:gd name="connsiteY7" fmla="*/ 193017 h 6380624"/>
              <a:gd name="connsiteX8" fmla="*/ 836047 w 12010007"/>
              <a:gd name="connsiteY8" fmla="*/ 0 h 63806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010007" h="6380624">
                <a:moveTo>
                  <a:pt x="0" y="2944750"/>
                </a:moveTo>
                <a:lnTo>
                  <a:pt x="0" y="6380624"/>
                </a:lnTo>
                <a:lnTo>
                  <a:pt x="12010007" y="6380624"/>
                </a:lnTo>
                <a:lnTo>
                  <a:pt x="12010007" y="5755018"/>
                </a:lnTo>
                <a:lnTo>
                  <a:pt x="11893580" y="5781898"/>
                </a:lnTo>
                <a:lnTo>
                  <a:pt x="10669867" y="481418"/>
                </a:lnTo>
                <a:close/>
                <a:moveTo>
                  <a:pt x="0" y="0"/>
                </a:moveTo>
                <a:lnTo>
                  <a:pt x="0" y="193017"/>
                </a:lnTo>
                <a:lnTo>
                  <a:pt x="836047" y="0"/>
                </a:lnTo>
                <a:close/>
              </a:path>
            </a:pathLst>
          </a:cu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AEEA461E-D8BF-5C4F-A437-9C7C874F9B3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9223200" y="100800"/>
            <a:ext cx="2739898" cy="1039876"/>
          </a:xfrm>
          <a:prstGeom prst="rect">
            <a:avLst/>
          </a:prstGeom>
        </p:spPr>
      </p:pic>
      <p:sp>
        <p:nvSpPr>
          <p:cNvPr id="18" name="Oval 17">
            <a:extLst>
              <a:ext uri="{FF2B5EF4-FFF2-40B4-BE49-F238E27FC236}">
                <a16:creationId xmlns:a16="http://schemas.microsoft.com/office/drawing/2014/main" id="{C95BE32C-A41F-A240-843B-0AD0696F6938}"/>
              </a:ext>
            </a:extLst>
          </p:cNvPr>
          <p:cNvSpPr/>
          <p:nvPr userDrawn="1"/>
        </p:nvSpPr>
        <p:spPr>
          <a:xfrm>
            <a:off x="11659209" y="6116400"/>
            <a:ext cx="185282" cy="18528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A0B13B9-CAF2-4EC9-A8F3-F68487F929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48000" y="4021200"/>
            <a:ext cx="6480000" cy="1198800"/>
          </a:xfrm>
          <a:prstGeom prst="rect">
            <a:avLst/>
          </a:prstGeom>
        </p:spPr>
        <p:txBody>
          <a:bodyPr wrap="square" rIns="0" anchor="b" anchorCtr="0"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defRPr lang="en-GB" sz="3600" b="1" i="0" kern="1200" dirty="0">
                <a:solidFill>
                  <a:schemeClr val="accent3"/>
                </a:solidFill>
                <a:latin typeface="Cambria" panose="02040503050406030204" pitchFamily="18" charset="0"/>
                <a:ea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section title</a:t>
            </a:r>
            <a:endParaRPr lang="en-GB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3A914C4-D3BA-45F7-9461-428FDE0928E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8000" y="5349600"/>
            <a:ext cx="6480000" cy="612000"/>
          </a:xfrm>
          <a:prstGeom prst="rect">
            <a:avLst/>
          </a:prstGeom>
          <a:noFill/>
        </p:spPr>
        <p:txBody>
          <a:bodyPr wrap="square" r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lang="en-US" sz="2000" b="1" i="0" kern="1200" dirty="0" smtClean="0">
                <a:solidFill>
                  <a:schemeClr val="bg2"/>
                </a:solidFill>
                <a:latin typeface="Calibri" panose="020F0502020204030204" pitchFamily="34" charset="0"/>
                <a:ea typeface="Roboto" panose="02000000000000000000" pitchFamily="2" charset="0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TITLE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49F15BE-4C55-4B27-97B4-2BDB6EB08C0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48000" y="6199200"/>
            <a:ext cx="6480000" cy="288000"/>
          </a:xfrm>
        </p:spPr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607CB13-19E5-4C77-B31A-083A9D11C03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64400" y="6331441"/>
            <a:ext cx="432000" cy="2232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38BAEAC-A895-4A01-AB9B-F6141799970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884187"/>
      </p:ext>
    </p:extLst>
  </p:cSld>
  <p:clrMapOvr>
    <a:masterClrMapping/>
  </p:clrMapOvr>
  <p:hf sldNum="0" hdr="0" ft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99E0E6-DC75-4B44-AE36-90944DF9C9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282" y="180000"/>
            <a:ext cx="8640000" cy="720000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4AEFFC-91EA-4EA6-9D8A-02E7CDB261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88000" indent="-288000">
              <a:spcBef>
                <a:spcPts val="1200"/>
              </a:spcBef>
              <a:defRPr/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39826C-2064-4F91-A3A3-C86CC191A0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B9DD31-4D3B-4AB0-A929-416CE8A189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38BAEAC-A895-4A01-AB9B-F6141799970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28029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A3E7CD-F305-43E9-86B0-12355525B2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282" y="180000"/>
            <a:ext cx="8640000" cy="720000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148EA7-F68C-47EF-BEC4-187C77088E8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48282" y="1404000"/>
            <a:ext cx="5400000" cy="4608000"/>
          </a:xfrm>
        </p:spPr>
        <p:txBody>
          <a:bodyPr/>
          <a:lstStyle>
            <a:lvl1pPr marL="288000" indent="-288000">
              <a:spcBef>
                <a:spcPts val="1200"/>
              </a:spcBef>
              <a:defRPr/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59AFFAC-B44A-4106-AB5E-D7FEA683682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3482" y="1404000"/>
            <a:ext cx="5400000" cy="4608000"/>
          </a:xfrm>
        </p:spPr>
        <p:txBody>
          <a:bodyPr/>
          <a:lstStyle>
            <a:lvl1pPr marL="288000" indent="-288000">
              <a:spcBef>
                <a:spcPts val="1200"/>
              </a:spcBef>
              <a:defRPr/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4F9E53D-E52D-454C-938F-BD750C99C6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C92742F-FE91-4920-B471-B84AE25750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38BAEAC-A895-4A01-AB9B-F6141799970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057552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8106F4-133B-44D2-AA79-8FBAC23B12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25D279-184B-4E37-B15A-E9263DAE6D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92B3700-D5D0-420F-B1E0-32686E1D77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38BAEAC-A895-4A01-AB9B-F6141799970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606929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5FADB3-9D36-42DA-9911-2902163F9A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DB33BC-1427-482B-92FA-142499FF1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38BAEAC-A895-4A01-AB9B-F6141799970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69168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9635B2-3D27-4FA3-B863-05E4C9624A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nter title her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91E4B5EC-9E53-45C3-B765-C1C483A070D0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07988" y="1567815"/>
            <a:ext cx="11376024" cy="4608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1pPr>
            <a:lvl2pPr marL="460800" indent="-228600"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</a:t>
            </a:r>
            <a:br>
              <a:rPr lang="en-US"/>
            </a:br>
            <a:r>
              <a:rPr lang="en-US"/>
              <a:t>To increase bullet level, select your text and press Tab.</a:t>
            </a:r>
            <a:br>
              <a:rPr lang="en-US"/>
            </a:br>
            <a:r>
              <a:rPr lang="en-US"/>
              <a:t>To decrease bullet level, select your bullet text and press Shift + Tab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002CC1A-50FF-4A50-8660-D325E3429D9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E938F29-84D5-4449-9358-343332B4BEF7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ext Placeholder 96">
            <a:extLst>
              <a:ext uri="{FF2B5EF4-FFF2-40B4-BE49-F238E27FC236}">
                <a16:creationId xmlns:a16="http://schemas.microsoft.com/office/drawing/2014/main" id="{C949FF72-87ED-4607-89DB-176C532FA3A0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407988" y="6200774"/>
            <a:ext cx="9729787" cy="657225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300"/>
              </a:spcAft>
              <a:buNone/>
              <a:defRPr sz="800"/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D795F394-3C35-7467-7DB0-59F113F3FE7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498785" y="6408662"/>
            <a:ext cx="7194429" cy="241980"/>
          </a:xfr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pPr marL="0" indent="0"/>
            <a:r>
              <a:rPr lang="en-GB"/>
              <a:t>This event is a non-promotional meeting organised and funded by AstraZeneca. For healthcare professionals only. </a:t>
            </a:r>
            <a:br>
              <a:rPr lang="en-GB"/>
            </a:br>
            <a:r>
              <a:rPr lang="en-GB"/>
              <a:t>Z4-71738</a:t>
            </a:r>
            <a:r>
              <a:rPr lang="en-GB">
                <a:solidFill>
                  <a:srgbClr val="FF0000"/>
                </a:solidFill>
              </a:rPr>
              <a:t> </a:t>
            </a:r>
            <a:r>
              <a:rPr lang="en-GB"/>
              <a:t>Date of preparation: February 2025.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388511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391">
          <p15:clr>
            <a:srgbClr val="A4A3A4"/>
          </p15:clr>
        </p15:guide>
        <p15:guide id="2" pos="1463">
          <p15:clr>
            <a:srgbClr val="A4A3A4"/>
          </p15:clr>
        </p15:guide>
        <p15:guide id="3" pos="2598">
          <p15:clr>
            <a:srgbClr val="A4A3A4"/>
          </p15:clr>
        </p15:guide>
        <p15:guide id="4" pos="2669">
          <p15:clr>
            <a:srgbClr val="A4A3A4"/>
          </p15:clr>
        </p15:guide>
        <p15:guide id="5" pos="3804">
          <p15:clr>
            <a:srgbClr val="A4A3A4"/>
          </p15:clr>
        </p15:guide>
        <p15:guide id="6" pos="3876">
          <p15:clr>
            <a:srgbClr val="A4A3A4"/>
          </p15:clr>
        </p15:guide>
        <p15:guide id="7" pos="5009">
          <p15:clr>
            <a:srgbClr val="A4A3A4"/>
          </p15:clr>
        </p15:guide>
        <p15:guide id="8" pos="5082">
          <p15:clr>
            <a:srgbClr val="A4A3A4"/>
          </p15:clr>
        </p15:guide>
        <p15:guide id="9" pos="6215">
          <p15:clr>
            <a:srgbClr val="A4A3A4"/>
          </p15:clr>
        </p15:guide>
        <p15:guide id="10" pos="6288">
          <p15:clr>
            <a:srgbClr val="A4A3A4"/>
          </p15:clr>
        </p15:guide>
        <p15:guide id="11" orient="horz" pos="890">
          <p15:clr>
            <a:srgbClr val="C35EA4"/>
          </p15:clr>
        </p15:guide>
        <p15:guide id="12" orient="horz" pos="981">
          <p15:clr>
            <a:srgbClr val="C35E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Section Divider (wthout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2">
            <a:extLst>
              <a:ext uri="{FF2B5EF4-FFF2-40B4-BE49-F238E27FC236}">
                <a16:creationId xmlns:a16="http://schemas.microsoft.com/office/drawing/2014/main" id="{69030922-AFB8-2E9F-8CDF-C2DC249776E5}"/>
              </a:ext>
            </a:extLst>
          </p:cNvPr>
          <p:cNvSpPr txBox="1">
            <a:spLocks/>
          </p:cNvSpPr>
          <p:nvPr userDrawn="1"/>
        </p:nvSpPr>
        <p:spPr>
          <a:xfrm>
            <a:off x="0" y="-2"/>
            <a:ext cx="5833307" cy="6858002"/>
          </a:xfrm>
          <a:custGeom>
            <a:avLst/>
            <a:gdLst>
              <a:gd name="connsiteX0" fmla="*/ 0 w 5562601"/>
              <a:gd name="connsiteY0" fmla="*/ 0 h 6858000"/>
              <a:gd name="connsiteX1" fmla="*/ 3124199 w 5562601"/>
              <a:gd name="connsiteY1" fmla="*/ 0 h 6858000"/>
              <a:gd name="connsiteX2" fmla="*/ 3694793 w 5562601"/>
              <a:gd name="connsiteY2" fmla="*/ 0 h 6858000"/>
              <a:gd name="connsiteX3" fmla="*/ 3762493 w 5562601"/>
              <a:gd name="connsiteY3" fmla="*/ 43402 h 6858000"/>
              <a:gd name="connsiteX4" fmla="*/ 5562601 w 5562601"/>
              <a:gd name="connsiteY4" fmla="*/ 3429000 h 6858000"/>
              <a:gd name="connsiteX5" fmla="*/ 3762493 w 5562601"/>
              <a:gd name="connsiteY5" fmla="*/ 6814598 h 6858000"/>
              <a:gd name="connsiteX6" fmla="*/ 3694792 w 5562601"/>
              <a:gd name="connsiteY6" fmla="*/ 6858000 h 6858000"/>
              <a:gd name="connsiteX7" fmla="*/ 0 w 5562601"/>
              <a:gd name="connsiteY7" fmla="*/ 6858000 h 6858000"/>
              <a:gd name="connsiteX8" fmla="*/ 0 w 5562601"/>
              <a:gd name="connsiteY8" fmla="*/ 2601686 h 6858000"/>
              <a:gd name="connsiteX0" fmla="*/ 0 w 5562601"/>
              <a:gd name="connsiteY0" fmla="*/ 0 h 6858000"/>
              <a:gd name="connsiteX1" fmla="*/ 3124199 w 5562601"/>
              <a:gd name="connsiteY1" fmla="*/ 0 h 6858000"/>
              <a:gd name="connsiteX2" fmla="*/ 3694793 w 5562601"/>
              <a:gd name="connsiteY2" fmla="*/ 0 h 6858000"/>
              <a:gd name="connsiteX3" fmla="*/ 3762493 w 5562601"/>
              <a:gd name="connsiteY3" fmla="*/ 43402 h 6858000"/>
              <a:gd name="connsiteX4" fmla="*/ 5562601 w 5562601"/>
              <a:gd name="connsiteY4" fmla="*/ 3429000 h 6858000"/>
              <a:gd name="connsiteX5" fmla="*/ 3762493 w 5562601"/>
              <a:gd name="connsiteY5" fmla="*/ 6814598 h 6858000"/>
              <a:gd name="connsiteX6" fmla="*/ 4266627 w 5562601"/>
              <a:gd name="connsiteY6" fmla="*/ 6858000 h 6858000"/>
              <a:gd name="connsiteX7" fmla="*/ 0 w 5562601"/>
              <a:gd name="connsiteY7" fmla="*/ 6858000 h 6858000"/>
              <a:gd name="connsiteX8" fmla="*/ 0 w 5562601"/>
              <a:gd name="connsiteY8" fmla="*/ 2601686 h 6858000"/>
              <a:gd name="connsiteX9" fmla="*/ 0 w 5562601"/>
              <a:gd name="connsiteY9" fmla="*/ 0 h 6858000"/>
              <a:gd name="connsiteX0" fmla="*/ 0 w 5581762"/>
              <a:gd name="connsiteY0" fmla="*/ 0 h 6858000"/>
              <a:gd name="connsiteX1" fmla="*/ 3124199 w 5581762"/>
              <a:gd name="connsiteY1" fmla="*/ 0 h 6858000"/>
              <a:gd name="connsiteX2" fmla="*/ 3694793 w 5581762"/>
              <a:gd name="connsiteY2" fmla="*/ 0 h 6858000"/>
              <a:gd name="connsiteX3" fmla="*/ 3762493 w 5581762"/>
              <a:gd name="connsiteY3" fmla="*/ 43402 h 6858000"/>
              <a:gd name="connsiteX4" fmla="*/ 5562601 w 5581762"/>
              <a:gd name="connsiteY4" fmla="*/ 3429000 h 6858000"/>
              <a:gd name="connsiteX5" fmla="*/ 4334328 w 5581762"/>
              <a:gd name="connsiteY5" fmla="*/ 6762046 h 6858000"/>
              <a:gd name="connsiteX6" fmla="*/ 4266627 w 5581762"/>
              <a:gd name="connsiteY6" fmla="*/ 6858000 h 6858000"/>
              <a:gd name="connsiteX7" fmla="*/ 0 w 5581762"/>
              <a:gd name="connsiteY7" fmla="*/ 6858000 h 6858000"/>
              <a:gd name="connsiteX8" fmla="*/ 0 w 5581762"/>
              <a:gd name="connsiteY8" fmla="*/ 2601686 h 6858000"/>
              <a:gd name="connsiteX9" fmla="*/ 0 w 5581762"/>
              <a:gd name="connsiteY9" fmla="*/ 0 h 6858000"/>
              <a:gd name="connsiteX0" fmla="*/ 0 w 5571598"/>
              <a:gd name="connsiteY0" fmla="*/ 0 h 6858000"/>
              <a:gd name="connsiteX1" fmla="*/ 3124199 w 5571598"/>
              <a:gd name="connsiteY1" fmla="*/ 0 h 6858000"/>
              <a:gd name="connsiteX2" fmla="*/ 3694793 w 5571598"/>
              <a:gd name="connsiteY2" fmla="*/ 0 h 6858000"/>
              <a:gd name="connsiteX3" fmla="*/ 3762493 w 5571598"/>
              <a:gd name="connsiteY3" fmla="*/ 43402 h 6858000"/>
              <a:gd name="connsiteX4" fmla="*/ 5562601 w 5571598"/>
              <a:gd name="connsiteY4" fmla="*/ 3429000 h 6858000"/>
              <a:gd name="connsiteX5" fmla="*/ 4334328 w 5571598"/>
              <a:gd name="connsiteY5" fmla="*/ 6762046 h 6858000"/>
              <a:gd name="connsiteX6" fmla="*/ 4266627 w 5571598"/>
              <a:gd name="connsiteY6" fmla="*/ 6858000 h 6858000"/>
              <a:gd name="connsiteX7" fmla="*/ 0 w 5571598"/>
              <a:gd name="connsiteY7" fmla="*/ 6858000 h 6858000"/>
              <a:gd name="connsiteX8" fmla="*/ 0 w 5571598"/>
              <a:gd name="connsiteY8" fmla="*/ 2601686 h 6858000"/>
              <a:gd name="connsiteX9" fmla="*/ 0 w 5571598"/>
              <a:gd name="connsiteY9" fmla="*/ 0 h 6858000"/>
              <a:gd name="connsiteX0" fmla="*/ 0 w 5572492"/>
              <a:gd name="connsiteY0" fmla="*/ 0 h 6858000"/>
              <a:gd name="connsiteX1" fmla="*/ 3124199 w 5572492"/>
              <a:gd name="connsiteY1" fmla="*/ 0 h 6858000"/>
              <a:gd name="connsiteX2" fmla="*/ 3694793 w 5572492"/>
              <a:gd name="connsiteY2" fmla="*/ 0 h 6858000"/>
              <a:gd name="connsiteX3" fmla="*/ 3762493 w 5572492"/>
              <a:gd name="connsiteY3" fmla="*/ 43402 h 6858000"/>
              <a:gd name="connsiteX4" fmla="*/ 5562601 w 5572492"/>
              <a:gd name="connsiteY4" fmla="*/ 3429000 h 6858000"/>
              <a:gd name="connsiteX5" fmla="*/ 4266627 w 5572492"/>
              <a:gd name="connsiteY5" fmla="*/ 6858000 h 6858000"/>
              <a:gd name="connsiteX6" fmla="*/ 0 w 5572492"/>
              <a:gd name="connsiteY6" fmla="*/ 6858000 h 6858000"/>
              <a:gd name="connsiteX7" fmla="*/ 0 w 5572492"/>
              <a:gd name="connsiteY7" fmla="*/ 2601686 h 6858000"/>
              <a:gd name="connsiteX8" fmla="*/ 0 w 5572492"/>
              <a:gd name="connsiteY8" fmla="*/ 0 h 6858000"/>
              <a:gd name="connsiteX0" fmla="*/ 0 w 5569659"/>
              <a:gd name="connsiteY0" fmla="*/ 0 h 6858000"/>
              <a:gd name="connsiteX1" fmla="*/ 3124199 w 5569659"/>
              <a:gd name="connsiteY1" fmla="*/ 0 h 6858000"/>
              <a:gd name="connsiteX2" fmla="*/ 3694793 w 5569659"/>
              <a:gd name="connsiteY2" fmla="*/ 0 h 6858000"/>
              <a:gd name="connsiteX3" fmla="*/ 3762493 w 5569659"/>
              <a:gd name="connsiteY3" fmla="*/ 43402 h 6858000"/>
              <a:gd name="connsiteX4" fmla="*/ 5562601 w 5569659"/>
              <a:gd name="connsiteY4" fmla="*/ 3429000 h 6858000"/>
              <a:gd name="connsiteX5" fmla="*/ 4266627 w 5569659"/>
              <a:gd name="connsiteY5" fmla="*/ 6858000 h 6858000"/>
              <a:gd name="connsiteX6" fmla="*/ 0 w 5569659"/>
              <a:gd name="connsiteY6" fmla="*/ 6858000 h 6858000"/>
              <a:gd name="connsiteX7" fmla="*/ 0 w 5569659"/>
              <a:gd name="connsiteY7" fmla="*/ 2601686 h 6858000"/>
              <a:gd name="connsiteX8" fmla="*/ 0 w 5569659"/>
              <a:gd name="connsiteY8" fmla="*/ 0 h 6858000"/>
              <a:gd name="connsiteX0" fmla="*/ 0 w 5567925"/>
              <a:gd name="connsiteY0" fmla="*/ 0 h 6858000"/>
              <a:gd name="connsiteX1" fmla="*/ 3124199 w 5567925"/>
              <a:gd name="connsiteY1" fmla="*/ 0 h 6858000"/>
              <a:gd name="connsiteX2" fmla="*/ 3694793 w 5567925"/>
              <a:gd name="connsiteY2" fmla="*/ 0 h 6858000"/>
              <a:gd name="connsiteX3" fmla="*/ 3762493 w 5567925"/>
              <a:gd name="connsiteY3" fmla="*/ 43402 h 6858000"/>
              <a:gd name="connsiteX4" fmla="*/ 5562601 w 5567925"/>
              <a:gd name="connsiteY4" fmla="*/ 3429000 h 6858000"/>
              <a:gd name="connsiteX5" fmla="*/ 4266627 w 5567925"/>
              <a:gd name="connsiteY5" fmla="*/ 6858000 h 6858000"/>
              <a:gd name="connsiteX6" fmla="*/ 0 w 5567925"/>
              <a:gd name="connsiteY6" fmla="*/ 6858000 h 6858000"/>
              <a:gd name="connsiteX7" fmla="*/ 0 w 5567925"/>
              <a:gd name="connsiteY7" fmla="*/ 2601686 h 6858000"/>
              <a:gd name="connsiteX8" fmla="*/ 0 w 5567925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567925" h="6858000">
                <a:moveTo>
                  <a:pt x="0" y="0"/>
                </a:moveTo>
                <a:lnTo>
                  <a:pt x="3124199" y="0"/>
                </a:lnTo>
                <a:lnTo>
                  <a:pt x="3694793" y="0"/>
                </a:lnTo>
                <a:lnTo>
                  <a:pt x="3762493" y="43402"/>
                </a:lnTo>
                <a:cubicBezTo>
                  <a:pt x="4848549" y="777127"/>
                  <a:pt x="5490701" y="2178934"/>
                  <a:pt x="5562601" y="3429000"/>
                </a:cubicBezTo>
                <a:cubicBezTo>
                  <a:pt x="5634501" y="4679066"/>
                  <a:pt x="4966559" y="6223870"/>
                  <a:pt x="4266627" y="6858000"/>
                </a:cubicBezTo>
                <a:lnTo>
                  <a:pt x="0" y="6858000"/>
                </a:lnTo>
                <a:lnTo>
                  <a:pt x="0" y="2601686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vert="horz" wrap="square" lIns="396000" tIns="2160000" rIns="0" bIns="2880000" rtlCol="0" anchor="b" anchorCtr="0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0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4447ADDD-920E-4BEB-819B-9759B3CF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-3409" y="0"/>
            <a:ext cx="5562601" cy="6858000"/>
          </a:xfrm>
          <a:custGeom>
            <a:avLst/>
            <a:gdLst>
              <a:gd name="connsiteX0" fmla="*/ 0 w 5562601"/>
              <a:gd name="connsiteY0" fmla="*/ 0 h 6858000"/>
              <a:gd name="connsiteX1" fmla="*/ 3124199 w 5562601"/>
              <a:gd name="connsiteY1" fmla="*/ 0 h 6858000"/>
              <a:gd name="connsiteX2" fmla="*/ 3694793 w 5562601"/>
              <a:gd name="connsiteY2" fmla="*/ 0 h 6858000"/>
              <a:gd name="connsiteX3" fmla="*/ 3762493 w 5562601"/>
              <a:gd name="connsiteY3" fmla="*/ 43402 h 6858000"/>
              <a:gd name="connsiteX4" fmla="*/ 5562601 w 5562601"/>
              <a:gd name="connsiteY4" fmla="*/ 3429000 h 6858000"/>
              <a:gd name="connsiteX5" fmla="*/ 3762493 w 5562601"/>
              <a:gd name="connsiteY5" fmla="*/ 6814598 h 6858000"/>
              <a:gd name="connsiteX6" fmla="*/ 3694792 w 5562601"/>
              <a:gd name="connsiteY6" fmla="*/ 6858000 h 6858000"/>
              <a:gd name="connsiteX7" fmla="*/ 0 w 5562601"/>
              <a:gd name="connsiteY7" fmla="*/ 6858000 h 6858000"/>
              <a:gd name="connsiteX8" fmla="*/ 0 w 5562601"/>
              <a:gd name="connsiteY8" fmla="*/ 260168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562601" h="6858000">
                <a:moveTo>
                  <a:pt x="0" y="0"/>
                </a:moveTo>
                <a:lnTo>
                  <a:pt x="3124199" y="0"/>
                </a:lnTo>
                <a:lnTo>
                  <a:pt x="3694793" y="0"/>
                </a:lnTo>
                <a:lnTo>
                  <a:pt x="3762493" y="43402"/>
                </a:lnTo>
                <a:cubicBezTo>
                  <a:pt x="4848549" y="777127"/>
                  <a:pt x="5562601" y="2019676"/>
                  <a:pt x="5562601" y="3429000"/>
                </a:cubicBezTo>
                <a:cubicBezTo>
                  <a:pt x="5562601" y="4838325"/>
                  <a:pt x="4848549" y="6080873"/>
                  <a:pt x="3762493" y="6814598"/>
                </a:cubicBezTo>
                <a:lnTo>
                  <a:pt x="3694792" y="6858000"/>
                </a:lnTo>
                <a:lnTo>
                  <a:pt x="0" y="6858000"/>
                </a:lnTo>
                <a:lnTo>
                  <a:pt x="0" y="2601686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396000" tIns="2160000" bIns="2880000" anchor="b" anchorCtr="0">
            <a:normAutofit/>
          </a:bodyPr>
          <a:lstStyle>
            <a:lvl1pPr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title </a:t>
            </a:r>
            <a:br>
              <a:rPr lang="en-US"/>
            </a:br>
            <a:r>
              <a:rPr lang="en-US"/>
              <a:t>without image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60AE4F3-AAA3-4B8D-A01A-1FF9B8F9F42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28095" y="863767"/>
            <a:ext cx="1203158" cy="1203158"/>
          </a:xfrm>
          <a:prstGeom prst="ellipse">
            <a:avLst/>
          </a:prstGeom>
          <a:solidFill>
            <a:schemeClr val="bg1"/>
          </a:solidFill>
        </p:spPr>
        <p:txBody>
          <a:bodyPr wrap="none" bIns="0"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6000" b="1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5758FA1-2B23-4C7E-97FD-FBA94AB3853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12930" y="4267200"/>
            <a:ext cx="4397374" cy="936167"/>
          </a:xfrm>
          <a:prstGeom prst="rect">
            <a:avLst/>
          </a:prstGeom>
        </p:spPr>
        <p:txBody>
          <a:bodyPr lIns="0"/>
          <a:lstStyle>
            <a:lvl1pPr marL="0" indent="0">
              <a:lnSpc>
                <a:spcPct val="100000"/>
              </a:lnSpc>
              <a:buNone/>
              <a:defRPr sz="2000" b="1" i="0">
                <a:solidFill>
                  <a:schemeClr val="bg1"/>
                </a:solidFill>
                <a:latin typeface="Helvetica" pitchFamily="2" charset="0"/>
              </a:defRPr>
            </a:lvl1pPr>
            <a:lvl5pPr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  <p:pic>
        <p:nvPicPr>
          <p:cNvPr id="2" name="Picture 2" descr="Image result for ASTRAZENECA LOGO">
            <a:extLst>
              <a:ext uri="{FF2B5EF4-FFF2-40B4-BE49-F238E27FC236}">
                <a16:creationId xmlns:a16="http://schemas.microsoft.com/office/drawing/2014/main" id="{4C747CF7-AD42-D132-E72B-3D6C8AB4F0E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0408" y="6137293"/>
            <a:ext cx="1753605" cy="475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2B2A2C-9186-4A8E-4347-66F6A022079B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412930" y="5221277"/>
            <a:ext cx="4397374" cy="620723"/>
          </a:xfrm>
          <a:prstGeom prst="rect">
            <a:avLst/>
          </a:prstGeom>
        </p:spPr>
        <p:txBody>
          <a:bodyPr lIns="0"/>
          <a:lstStyle>
            <a:lvl1pPr marL="0" indent="0">
              <a:lnSpc>
                <a:spcPct val="100000"/>
              </a:lnSpc>
              <a:buNone/>
              <a:defRPr sz="2000" b="0" i="0">
                <a:solidFill>
                  <a:schemeClr val="bg1"/>
                </a:solidFill>
                <a:latin typeface="Helvetica" pitchFamily="2" charset="0"/>
              </a:defRPr>
            </a:lvl1pPr>
            <a:lvl5pPr>
              <a:defRPr/>
            </a:lvl5pPr>
          </a:lstStyle>
          <a:p>
            <a:pPr lvl="0"/>
            <a:r>
              <a:rPr lang="en-US"/>
              <a:t>Speaker names</a:t>
            </a:r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8256CBF8-6C8A-B115-D4CA-58A4D7005ED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12930" y="5859910"/>
            <a:ext cx="1271951" cy="380676"/>
          </a:xfrm>
        </p:spPr>
        <p:txBody>
          <a:bodyPr lIns="0" tIns="0" rIns="0" bIns="0" anchor="ctr"/>
          <a:lstStyle>
            <a:lvl1pPr marL="0" indent="0">
              <a:buNone/>
              <a:defRPr lang="en-GB" sz="105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2200" indent="0">
              <a:buNone/>
              <a:defRPr/>
            </a:lvl2pPr>
            <a:lvl3pPr marL="462600" indent="0">
              <a:buNone/>
              <a:defRPr/>
            </a:lvl3pPr>
            <a:lvl4pPr marL="693000" indent="0">
              <a:buNone/>
              <a:defRPr/>
            </a:lvl4pPr>
            <a:lvl5pPr marL="923400" indent="0">
              <a:buNone/>
              <a:defRPr/>
            </a:lvl5pPr>
          </a:lstStyle>
          <a:p>
            <a:pPr lvl="0"/>
            <a:r>
              <a:rPr lang="en-GB"/>
              <a:t>Date</a:t>
            </a:r>
            <a:endParaRPr lang="en-US"/>
          </a:p>
        </p:txBody>
      </p:sp>
      <p:sp>
        <p:nvSpPr>
          <p:cNvPr id="10" name="Text Placeholder 96">
            <a:extLst>
              <a:ext uri="{FF2B5EF4-FFF2-40B4-BE49-F238E27FC236}">
                <a16:creationId xmlns:a16="http://schemas.microsoft.com/office/drawing/2014/main" id="{948E622D-9A5E-C482-6E21-2EDA65CEAD20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412930" y="6249381"/>
            <a:ext cx="3567399" cy="608617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00000"/>
              </a:lnSpc>
              <a:spcAft>
                <a:spcPts val="300"/>
              </a:spcAft>
              <a:buNone/>
              <a:defRPr sz="800">
                <a:solidFill>
                  <a:srgbClr val="FFFFFF"/>
                </a:solidFill>
              </a:defRPr>
            </a:lvl1pPr>
          </a:lstStyle>
          <a:p>
            <a:pPr marL="0" indent="0"/>
            <a:r>
              <a:rPr lang="en-GB"/>
              <a:t>This event is a non-promotional meeting organised and funded by AstraZeneca. </a:t>
            </a:r>
            <a:br>
              <a:rPr lang="en-GB"/>
            </a:br>
            <a:r>
              <a:rPr lang="en-GB"/>
              <a:t>For healthcare professionals only. </a:t>
            </a:r>
            <a:br>
              <a:rPr lang="en-GB"/>
            </a:br>
            <a:r>
              <a:rPr lang="en-GB"/>
              <a:t>Z4-71738</a:t>
            </a:r>
            <a:r>
              <a:rPr lang="en-GB">
                <a:solidFill>
                  <a:srgbClr val="FF0000"/>
                </a:solidFill>
              </a:rPr>
              <a:t> </a:t>
            </a:r>
            <a:r>
              <a:rPr lang="en-GB"/>
              <a:t>Date of preparation: February 2025.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200714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9635B2-3D27-4FA3-B863-05E4C9624A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nter title her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91E4B5EC-9E53-45C3-B765-C1C483A070D0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07988" y="1567815"/>
            <a:ext cx="11376024" cy="4608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1pPr>
            <a:lvl2pPr marL="460800" indent="-228600"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</a:t>
            </a:r>
            <a:br>
              <a:rPr lang="en-US"/>
            </a:br>
            <a:r>
              <a:rPr lang="en-US"/>
              <a:t>To increase bullet level, select your text and press Tab.</a:t>
            </a:r>
            <a:br>
              <a:rPr lang="en-US"/>
            </a:br>
            <a:r>
              <a:rPr lang="en-US"/>
              <a:t>To decrease bullet level, select your bullet text and press Shift + Tab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002CC1A-50FF-4A50-8660-D325E3429D9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E938F29-84D5-4449-9358-343332B4BEF7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ext Placeholder 96">
            <a:extLst>
              <a:ext uri="{FF2B5EF4-FFF2-40B4-BE49-F238E27FC236}">
                <a16:creationId xmlns:a16="http://schemas.microsoft.com/office/drawing/2014/main" id="{C949FF72-87ED-4607-89DB-176C532FA3A0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407988" y="6200774"/>
            <a:ext cx="9729787" cy="657225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300"/>
              </a:spcAft>
              <a:buNone/>
              <a:defRPr sz="800"/>
            </a:lvl1pPr>
          </a:lstStyle>
          <a:p>
            <a:pPr lvl="0"/>
            <a:r>
              <a:rPr lang="en-US"/>
              <a:t>Footnot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D1800E3-9804-1FE7-9754-1FECFDDA14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" r="44453" b="57917"/>
          <a:stretch/>
        </p:blipFill>
        <p:spPr>
          <a:xfrm>
            <a:off x="407987" y="6343600"/>
            <a:ext cx="1178766" cy="50234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04949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391">
          <p15:clr>
            <a:srgbClr val="A4A3A4"/>
          </p15:clr>
        </p15:guide>
        <p15:guide id="2" pos="1463">
          <p15:clr>
            <a:srgbClr val="A4A3A4"/>
          </p15:clr>
        </p15:guide>
        <p15:guide id="3" pos="2598">
          <p15:clr>
            <a:srgbClr val="A4A3A4"/>
          </p15:clr>
        </p15:guide>
        <p15:guide id="4" pos="2669">
          <p15:clr>
            <a:srgbClr val="A4A3A4"/>
          </p15:clr>
        </p15:guide>
        <p15:guide id="5" pos="3804">
          <p15:clr>
            <a:srgbClr val="A4A3A4"/>
          </p15:clr>
        </p15:guide>
        <p15:guide id="6" pos="3876">
          <p15:clr>
            <a:srgbClr val="A4A3A4"/>
          </p15:clr>
        </p15:guide>
        <p15:guide id="7" pos="5009">
          <p15:clr>
            <a:srgbClr val="A4A3A4"/>
          </p15:clr>
        </p15:guide>
        <p15:guide id="8" pos="5082">
          <p15:clr>
            <a:srgbClr val="A4A3A4"/>
          </p15:clr>
        </p15:guide>
        <p15:guide id="9" pos="6215">
          <p15:clr>
            <a:srgbClr val="A4A3A4"/>
          </p15:clr>
        </p15:guide>
        <p15:guide id="10" pos="6288">
          <p15:clr>
            <a:srgbClr val="A4A3A4"/>
          </p15:clr>
        </p15:guide>
        <p15:guide id="11" orient="horz" pos="890">
          <p15:clr>
            <a:srgbClr val="C35EA4"/>
          </p15:clr>
        </p15:guide>
        <p15:guide id="12" orient="horz" pos="981">
          <p15:clr>
            <a:srgbClr val="C35E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9EB43B-2925-ECC2-5597-0D73EA6B50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36195D9-A24F-F1F4-1F00-1FEB16E53D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27077D-7C78-8107-17BE-EA19D10542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9ACA5F4-23A6-450C-B9ED-6390B1765CAB}" type="datetime1">
              <a:rPr lang="de-DE"/>
              <a:pPr>
                <a:defRPr/>
              </a:pPr>
              <a:t>10.03.2026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4AD2BC-0392-1E42-1057-981364494A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Tit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B0FD0C-034F-A3B0-8813-1FDC6DB896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Seite </a:t>
            </a:r>
            <a:fld id="{27C9C931-014E-4FB2-B7EA-CF297A2F814F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9708549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slideLayout" Target="../slideLayouts/slideLayout2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8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image" Target="../media/image6.png"/><Relationship Id="rId2" Type="http://schemas.openxmlformats.org/officeDocument/2006/relationships/slideLayout" Target="../slideLayouts/slideLayout34.xml"/><Relationship Id="rId16" Type="http://schemas.openxmlformats.org/officeDocument/2006/relationships/theme" Target="../theme/theme5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image" Target="../media/image19.png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image" Target="../media/image18.svg"/><Relationship Id="rId2" Type="http://schemas.openxmlformats.org/officeDocument/2006/relationships/slideLayout" Target="../slideLayouts/slideLayout49.xml"/><Relationship Id="rId16" Type="http://schemas.openxmlformats.org/officeDocument/2006/relationships/image" Target="../media/image22.png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image" Target="../media/image17.png"/><Relationship Id="rId5" Type="http://schemas.openxmlformats.org/officeDocument/2006/relationships/slideLayout" Target="../slideLayouts/slideLayout52.xml"/><Relationship Id="rId15" Type="http://schemas.openxmlformats.org/officeDocument/2006/relationships/image" Target="../media/image21.svg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51.xml"/><Relationship Id="rId9" Type="http://schemas.openxmlformats.org/officeDocument/2006/relationships/theme" Target="../theme/theme6.xml"/><Relationship Id="rId14" Type="http://schemas.openxmlformats.org/officeDocument/2006/relationships/image" Target="../media/image20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5884D0-6C0A-4957-A521-E7AECDD8A6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404812"/>
            <a:ext cx="11376025" cy="100742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nter title here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E248C0A-0C4B-4F9E-B86F-C76D98029E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7" y="1557338"/>
            <a:ext cx="11376025" cy="4636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use the Paste and Match Formatting shortcut (</a:t>
            </a:r>
            <a:r>
              <a:rPr lang="en-US" err="1"/>
              <a:t>Cmd</a:t>
            </a:r>
            <a:r>
              <a:rPr lang="en-US"/>
              <a:t> + Option + Shift + V).</a:t>
            </a:r>
            <a:br>
              <a:rPr lang="en-US"/>
            </a:br>
            <a:r>
              <a:rPr lang="en-US"/>
              <a:t>To increase bullet level, select your text and press Tab.</a:t>
            </a:r>
            <a:br>
              <a:rPr lang="en-US"/>
            </a:br>
            <a:r>
              <a:rPr lang="en-US"/>
              <a:t>To decrease bullet level, select your bullet text and press Shift + Tab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396743BA-6915-784C-0640-9F4D915FA273}"/>
              </a:ext>
            </a:extLst>
          </p:cNvPr>
          <p:cNvSpPr txBox="1">
            <a:spLocks/>
          </p:cNvSpPr>
          <p:nvPr userDrawn="1"/>
        </p:nvSpPr>
        <p:spPr>
          <a:xfrm>
            <a:off x="3503613" y="6417129"/>
            <a:ext cx="5184775" cy="24198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8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1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21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2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9" name="Date Placeholder 6">
            <a:extLst>
              <a:ext uri="{FF2B5EF4-FFF2-40B4-BE49-F238E27FC236}">
                <a16:creationId xmlns:a16="http://schemas.microsoft.com/office/drawing/2014/main" id="{0D8AA6A8-951F-3E10-28C0-676ABD36CCD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582381" y="6249381"/>
            <a:ext cx="834639" cy="581500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Text Placeholder 96">
            <a:extLst>
              <a:ext uri="{FF2B5EF4-FFF2-40B4-BE49-F238E27FC236}">
                <a16:creationId xmlns:a16="http://schemas.microsoft.com/office/drawing/2014/main" id="{866AB08A-E8B8-9879-6C2A-C9BEFF216301}"/>
              </a:ext>
            </a:extLst>
          </p:cNvPr>
          <p:cNvSpPr txBox="1">
            <a:spLocks/>
          </p:cNvSpPr>
          <p:nvPr userDrawn="1"/>
        </p:nvSpPr>
        <p:spPr>
          <a:xfrm>
            <a:off x="897839" y="6249381"/>
            <a:ext cx="9160562" cy="608617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608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1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21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2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lang="en-US"/>
              <a:t>Footer content</a:t>
            </a:r>
          </a:p>
        </p:txBody>
      </p:sp>
      <p:sp>
        <p:nvSpPr>
          <p:cNvPr id="12" name="Slide Number Placeholder 9">
            <a:extLst>
              <a:ext uri="{FF2B5EF4-FFF2-40B4-BE49-F238E27FC236}">
                <a16:creationId xmlns:a16="http://schemas.microsoft.com/office/drawing/2014/main" id="{CD2B6D4A-5E80-CFAE-C39C-A8DBE6854E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1" y="6253916"/>
            <a:ext cx="632373" cy="576965"/>
          </a:xfrm>
          <a:prstGeom prst="rect">
            <a:avLst/>
          </a:prstGeom>
        </p:spPr>
        <p:txBody>
          <a:bodyPr bIns="0" anchor="ctr"/>
          <a:lstStyle>
            <a:lvl1pPr algn="ctr">
              <a:lnSpc>
                <a:spcPct val="100000"/>
              </a:lnSpc>
              <a:defRPr sz="1200">
                <a:solidFill>
                  <a:schemeClr val="bg1"/>
                </a:solidFill>
              </a:defRPr>
            </a:lvl1pPr>
          </a:lstStyle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</p:spTree>
    <p:custDataLst>
      <p:tags r:id="rId10"/>
    </p:custDataLst>
    <p:extLst>
      <p:ext uri="{BB962C8B-B14F-4D97-AF65-F5344CB8AC3E}">
        <p14:creationId xmlns:p14="http://schemas.microsoft.com/office/powerpoint/2010/main" val="32376721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4" r:id="rId1"/>
    <p:sldLayoutId id="2147483805" r:id="rId2"/>
    <p:sldLayoutId id="2147483806" r:id="rId3"/>
    <p:sldLayoutId id="2147483807" r:id="rId4"/>
    <p:sldLayoutId id="2147483808" r:id="rId5"/>
    <p:sldLayoutId id="2147483809" r:id="rId6"/>
    <p:sldLayoutId id="2147483810" r:id="rId7"/>
    <p:sldLayoutId id="2147483811" r:id="rId8"/>
  </p:sldLayoutIdLst>
  <p:hf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60800" marR="0" indent="-22860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800"/>
        </a:spcAft>
        <a:buClrTx/>
        <a:buSzPct val="100000"/>
        <a:buFont typeface="Arial" panose="020B0604020202020204" pitchFamily="34" charset="0"/>
        <a:buChar char="•"/>
        <a:tabLst/>
        <a:defRPr lang="en-US" sz="2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691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Tx/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21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Tx/>
        <a:buSzPct val="100000"/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152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Tx/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7">
          <p15:clr>
            <a:srgbClr val="C35EA4"/>
          </p15:clr>
        </p15:guide>
        <p15:guide id="2" pos="7423">
          <p15:clr>
            <a:srgbClr val="C35EA4"/>
          </p15:clr>
        </p15:guide>
        <p15:guide id="3" orient="horz" pos="3929">
          <p15:clr>
            <a:srgbClr val="C35EA4"/>
          </p15:clr>
        </p15:guide>
        <p15:guide id="4" orient="horz" pos="255">
          <p15:clr>
            <a:srgbClr val="C35EA4"/>
          </p15:clr>
        </p15:guide>
        <p15:guide id="5" orient="horz" pos="413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0" y="0"/>
            <a:ext cx="12192000" cy="967317"/>
          </a:xfrm>
          <a:prstGeom prst="rect">
            <a:avLst/>
          </a:prstGeom>
          <a:solidFill>
            <a:srgbClr val="0037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b"/>
          <a:lstStyle/>
          <a:p>
            <a:pPr algn="ctr" eaLnBrk="1" hangingPunct="1">
              <a:defRPr/>
            </a:pPr>
            <a:endParaRPr lang="de-DE" sz="240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719667" y="1316567"/>
            <a:ext cx="9601200" cy="8001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Überschrift Calibri </a:t>
            </a:r>
          </a:p>
        </p:txBody>
      </p:sp>
      <p:sp>
        <p:nvSpPr>
          <p:cNvPr id="2052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1367367" y="2372784"/>
            <a:ext cx="8953500" cy="3384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 Calibri</a:t>
            </a:r>
          </a:p>
          <a:p>
            <a:pPr lvl="0"/>
            <a:r>
              <a:rPr lang="de-DE" altLang="de-DE"/>
              <a:t>Farbe Petrol, RGB 0/55/55</a:t>
            </a:r>
          </a:p>
          <a:p>
            <a:pPr lvl="0"/>
            <a:endParaRPr lang="de-DE" altLang="de-DE"/>
          </a:p>
          <a:p>
            <a:pPr lvl="0"/>
            <a:endParaRPr lang="de-DE" altLang="de-DE"/>
          </a:p>
          <a:p>
            <a:pPr lvl="0"/>
            <a:endParaRPr lang="de-DE" altLang="de-DE"/>
          </a:p>
          <a:p>
            <a:pPr lvl="0"/>
            <a:endParaRPr lang="de-DE" altLang="de-DE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2"/>
          </p:nvPr>
        </p:nvSpPr>
        <p:spPr>
          <a:xfrm>
            <a:off x="143933" y="6405033"/>
            <a:ext cx="2844800" cy="366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600">
                <a:solidFill>
                  <a:srgbClr val="003737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9ACA5F4-23A6-450C-B9ED-6390B1765CAB}" type="datetime1">
              <a:rPr lang="de-DE"/>
              <a:pPr>
                <a:defRPr/>
              </a:pPr>
              <a:t>10.03.2026</a:t>
            </a:fld>
            <a:endParaRPr lang="de-DE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3"/>
          </p:nvPr>
        </p:nvSpPr>
        <p:spPr>
          <a:xfrm>
            <a:off x="8113184" y="300567"/>
            <a:ext cx="3860800" cy="366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600">
                <a:solidFill>
                  <a:srgbClr val="9BD29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Titel</a:t>
            </a:r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4"/>
          </p:nvPr>
        </p:nvSpPr>
        <p:spPr>
          <a:xfrm>
            <a:off x="9167284" y="6405033"/>
            <a:ext cx="2844800" cy="366184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>
                <a:solidFill>
                  <a:srgbClr val="003737"/>
                </a:solidFill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de-DE" altLang="de-DE"/>
              <a:t>Seite </a:t>
            </a:r>
            <a:fld id="{27C9C931-014E-4FB2-B7EA-CF297A2F814F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  <p:pic>
        <p:nvPicPr>
          <p:cNvPr id="2056" name="Grafik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734733" cy="9673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865945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7" r:id="rId1"/>
  </p:sldLayoutIdLst>
  <p:hf hdr="0"/>
  <p:txStyles>
    <p:titleStyle>
      <a:lvl1pPr algn="l" rtl="0" eaLnBrk="0" fontAlgn="base" hangingPunct="0">
        <a:lnSpc>
          <a:spcPts val="3733"/>
        </a:lnSpc>
        <a:spcBef>
          <a:spcPct val="0"/>
        </a:spcBef>
        <a:spcAft>
          <a:spcPct val="0"/>
        </a:spcAft>
        <a:defRPr sz="3333" kern="1200" spc="133">
          <a:solidFill>
            <a:srgbClr val="1E963C"/>
          </a:solidFill>
          <a:latin typeface="Calibri" pitchFamily="34" charset="0"/>
          <a:ea typeface="Calibri" pitchFamily="34" charset="0"/>
          <a:cs typeface="Calibri" pitchFamily="34" charset="0"/>
        </a:defRPr>
      </a:lvl1pPr>
      <a:lvl2pPr algn="l" rtl="0" eaLnBrk="0" fontAlgn="base" hangingPunct="0">
        <a:lnSpc>
          <a:spcPts val="3733"/>
        </a:lnSpc>
        <a:spcBef>
          <a:spcPct val="0"/>
        </a:spcBef>
        <a:spcAft>
          <a:spcPct val="0"/>
        </a:spcAft>
        <a:defRPr sz="3333">
          <a:solidFill>
            <a:srgbClr val="1E963C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0" fontAlgn="base" hangingPunct="0">
        <a:lnSpc>
          <a:spcPts val="3733"/>
        </a:lnSpc>
        <a:spcBef>
          <a:spcPct val="0"/>
        </a:spcBef>
        <a:spcAft>
          <a:spcPct val="0"/>
        </a:spcAft>
        <a:defRPr sz="3333">
          <a:solidFill>
            <a:srgbClr val="1E963C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0" fontAlgn="base" hangingPunct="0">
        <a:lnSpc>
          <a:spcPts val="3733"/>
        </a:lnSpc>
        <a:spcBef>
          <a:spcPct val="0"/>
        </a:spcBef>
        <a:spcAft>
          <a:spcPct val="0"/>
        </a:spcAft>
        <a:defRPr sz="3333">
          <a:solidFill>
            <a:srgbClr val="1E963C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0" fontAlgn="base" hangingPunct="0">
        <a:lnSpc>
          <a:spcPts val="3733"/>
        </a:lnSpc>
        <a:spcBef>
          <a:spcPct val="0"/>
        </a:spcBef>
        <a:spcAft>
          <a:spcPct val="0"/>
        </a:spcAft>
        <a:defRPr sz="3333">
          <a:solidFill>
            <a:srgbClr val="1E963C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609570" algn="l" rtl="0" fontAlgn="base">
        <a:lnSpc>
          <a:spcPts val="3733"/>
        </a:lnSpc>
        <a:spcBef>
          <a:spcPct val="0"/>
        </a:spcBef>
        <a:spcAft>
          <a:spcPct val="0"/>
        </a:spcAft>
        <a:defRPr sz="3333">
          <a:solidFill>
            <a:srgbClr val="262626"/>
          </a:solidFill>
          <a:latin typeface="Calibri" pitchFamily="34" charset="0"/>
          <a:ea typeface="Calibri" pitchFamily="34" charset="0"/>
          <a:cs typeface="Calibri" pitchFamily="34" charset="0"/>
        </a:defRPr>
      </a:lvl6pPr>
      <a:lvl7pPr marL="1219140" algn="l" rtl="0" fontAlgn="base">
        <a:lnSpc>
          <a:spcPts val="3733"/>
        </a:lnSpc>
        <a:spcBef>
          <a:spcPct val="0"/>
        </a:spcBef>
        <a:spcAft>
          <a:spcPct val="0"/>
        </a:spcAft>
        <a:defRPr sz="3333">
          <a:solidFill>
            <a:srgbClr val="262626"/>
          </a:solidFill>
          <a:latin typeface="Calibri" pitchFamily="34" charset="0"/>
          <a:ea typeface="Calibri" pitchFamily="34" charset="0"/>
          <a:cs typeface="Calibri" pitchFamily="34" charset="0"/>
        </a:defRPr>
      </a:lvl7pPr>
      <a:lvl8pPr marL="1828709" algn="l" rtl="0" fontAlgn="base">
        <a:lnSpc>
          <a:spcPts val="3733"/>
        </a:lnSpc>
        <a:spcBef>
          <a:spcPct val="0"/>
        </a:spcBef>
        <a:spcAft>
          <a:spcPct val="0"/>
        </a:spcAft>
        <a:defRPr sz="3333">
          <a:solidFill>
            <a:srgbClr val="262626"/>
          </a:solidFill>
          <a:latin typeface="Calibri" pitchFamily="34" charset="0"/>
          <a:ea typeface="Calibri" pitchFamily="34" charset="0"/>
          <a:cs typeface="Calibri" pitchFamily="34" charset="0"/>
        </a:defRPr>
      </a:lvl8pPr>
      <a:lvl9pPr marL="2438278" algn="l" rtl="0" fontAlgn="base">
        <a:lnSpc>
          <a:spcPts val="3733"/>
        </a:lnSpc>
        <a:spcBef>
          <a:spcPct val="0"/>
        </a:spcBef>
        <a:spcAft>
          <a:spcPct val="0"/>
        </a:spcAft>
        <a:defRPr sz="3333">
          <a:solidFill>
            <a:srgbClr val="262626"/>
          </a:solidFill>
          <a:latin typeface="Calibri" pitchFamily="34" charset="0"/>
          <a:ea typeface="Calibri" pitchFamily="34" charset="0"/>
          <a:cs typeface="Calibri" pitchFamily="34" charset="0"/>
        </a:defRPr>
      </a:lvl9pPr>
    </p:titleStyle>
    <p:bodyStyle>
      <a:lvl1pPr indent="-457178" algn="l" rtl="0" eaLnBrk="0" fontAlgn="base" hangingPunct="0">
        <a:lnSpc>
          <a:spcPts val="3200"/>
        </a:lnSpc>
        <a:spcBef>
          <a:spcPct val="20000"/>
        </a:spcBef>
        <a:spcAft>
          <a:spcPct val="0"/>
        </a:spcAft>
        <a:buFont typeface="Arial" panose="020B0604020202020204" pitchFamily="34" charset="0"/>
        <a:defRPr sz="2800" kern="1200">
          <a:solidFill>
            <a:srgbClr val="003737"/>
          </a:solidFill>
          <a:latin typeface="+mn-lt"/>
          <a:ea typeface="+mn-ea"/>
          <a:cs typeface="Arial" pitchFamily="34" charset="0"/>
        </a:defRPr>
      </a:lvl1pPr>
      <a:lvl2pPr marL="990550" indent="-380981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Arial" charset="0"/>
        </a:defRPr>
      </a:lvl2pPr>
      <a:lvl3pPr marL="1523925" indent="-304784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Arial" charset="0"/>
        </a:defRPr>
      </a:lvl3pPr>
      <a:lvl4pPr marL="2133493" indent="-304784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Arial" charset="0"/>
        </a:defRPr>
      </a:lvl4pPr>
      <a:lvl5pPr marL="2743062" indent="-304784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Arial" charset="0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4EE3FFF-5B2F-E445-A08B-BE6B69352EAE}"/>
              </a:ext>
            </a:extLst>
          </p:cNvPr>
          <p:cNvSpPr/>
          <p:nvPr userDrawn="1"/>
        </p:nvSpPr>
        <p:spPr>
          <a:xfrm>
            <a:off x="1" y="951520"/>
            <a:ext cx="12191999" cy="5906480"/>
          </a:xfrm>
          <a:prstGeom prst="rect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AA06C02-DF0A-E743-91C3-364D111698B9}"/>
              </a:ext>
            </a:extLst>
          </p:cNvPr>
          <p:cNvSpPr/>
          <p:nvPr userDrawn="1"/>
        </p:nvSpPr>
        <p:spPr>
          <a:xfrm>
            <a:off x="0" y="-978"/>
            <a:ext cx="12192000" cy="952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ttangolo 9">
            <a:extLst>
              <a:ext uri="{FF2B5EF4-FFF2-40B4-BE49-F238E27FC236}">
                <a16:creationId xmlns:a16="http://schemas.microsoft.com/office/drawing/2014/main" id="{4AE8507F-919B-EC49-B268-9DF8C51C8177}"/>
              </a:ext>
            </a:extLst>
          </p:cNvPr>
          <p:cNvSpPr/>
          <p:nvPr userDrawn="1"/>
        </p:nvSpPr>
        <p:spPr>
          <a:xfrm>
            <a:off x="0" y="876592"/>
            <a:ext cx="12192000" cy="9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40D4BB-E484-524A-9CE3-81FBA38002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4565" y="6356351"/>
            <a:ext cx="10360435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>
              <a:defRPr/>
            </a:pPr>
            <a:r>
              <a:rPr lang="en-US">
                <a:solidFill>
                  <a:srgbClr val="000000">
                    <a:tint val="75000"/>
                  </a:srgbClr>
                </a:solidFill>
              </a:rPr>
              <a:t>Click to add foot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171E2BF-22AF-2F4D-8916-C146091F9C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4566" y="1555141"/>
            <a:ext cx="11338335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D506ED-9F6B-5241-8A79-5A299E3945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568" y="6338094"/>
            <a:ext cx="527867" cy="40163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>
              <a:defRPr/>
            </a:pPr>
            <a:fld id="{11334389-BB39-6B48-B4AD-C59C2B4ECD2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377">
                <a:defRPr/>
              </a:pPr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277612C8-9986-DA4A-B75A-34EC0496A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566" y="118269"/>
            <a:ext cx="11338335" cy="691088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41664595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  <p:sldLayoutId id="2147483844" r:id="rId10"/>
    <p:sldLayoutId id="2147483845" r:id="rId11"/>
    <p:sldLayoutId id="2147483846" r:id="rId12"/>
    <p:sldLayoutId id="2147483847" r:id="rId13"/>
    <p:sldLayoutId id="2147483848" r:id="rId14"/>
  </p:sldLayoutIdLst>
  <p:hf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400" b="1" i="0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528">
          <p15:clr>
            <a:srgbClr val="F26B43"/>
          </p15:clr>
        </p15:guide>
        <p15:guide id="4" orient="horz" pos="3888">
          <p15:clr>
            <a:srgbClr val="F26B43"/>
          </p15:clr>
        </p15:guide>
        <p15:guide id="5" pos="264">
          <p15:clr>
            <a:srgbClr val="F26B43"/>
          </p15:clr>
        </p15:guide>
        <p15:guide id="6" pos="7416">
          <p15:clr>
            <a:srgbClr val="F26B43"/>
          </p15:clr>
        </p15:guide>
        <p15:guide id="7" orient="horz" pos="72">
          <p15:clr>
            <a:srgbClr val="F26B43"/>
          </p15:clr>
        </p15:guide>
        <p15:guide id="8" orient="horz" pos="960">
          <p15:clr>
            <a:srgbClr val="F26B43"/>
          </p15:clr>
        </p15:guide>
        <p15:guide id="9" orient="horz" pos="3720">
          <p15:clr>
            <a:srgbClr val="F26B43"/>
          </p15:clr>
        </p15:guide>
        <p15:guide id="10" orient="horz" pos="424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3D56D2CD-2BB1-6C44-42B4-EFF8BA2A1C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003" y="1104901"/>
            <a:ext cx="11430000" cy="51323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2A0F69A7-0027-E1EE-8E27-B1628C2F78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87201" y="6597396"/>
            <a:ext cx="195792" cy="146304"/>
          </a:xfrm>
          <a:prstGeom prst="rect">
            <a:avLst/>
          </a:prstGeom>
        </p:spPr>
        <p:txBody>
          <a:bodyPr wrap="none" lIns="0" tIns="0" rIns="0" bIns="0" anchor="b" anchorCtr="0">
            <a:noAutofit/>
          </a:bodyPr>
          <a:lstStyle>
            <a:lvl1pPr algn="r">
              <a:defRPr lang="en-GB" sz="1001" smtClean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fld id="{F41D4F9E-48B8-4133-A328-678119B2C4E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 Placeholder 12">
            <a:extLst>
              <a:ext uri="{FF2B5EF4-FFF2-40B4-BE49-F238E27FC236}">
                <a16:creationId xmlns:a16="http://schemas.microsoft.com/office/drawing/2014/main" id="{1C28718F-D5A0-777A-55FC-68BFAC977E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190501"/>
            <a:ext cx="9728772" cy="68066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add title</a:t>
            </a:r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972392B5-D250-98AB-EA23-A7A55C9280FC}"/>
              </a:ext>
            </a:extLst>
          </p:cNvPr>
          <p:cNvGrpSpPr/>
          <p:nvPr userDrawn="1"/>
        </p:nvGrpSpPr>
        <p:grpSpPr>
          <a:xfrm>
            <a:off x="10299700" y="279511"/>
            <a:ext cx="1610041" cy="261355"/>
            <a:chOff x="10299698" y="279510"/>
            <a:chExt cx="1610041" cy="261355"/>
          </a:xfrm>
        </p:grpSpPr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E6544693-8AB7-8BA4-E0FD-1FF00315D4BC}"/>
                </a:ext>
              </a:extLst>
            </p:cNvPr>
            <p:cNvGrpSpPr/>
            <p:nvPr userDrawn="1"/>
          </p:nvGrpSpPr>
          <p:grpSpPr>
            <a:xfrm>
              <a:off x="10299698" y="279510"/>
              <a:ext cx="325175" cy="261355"/>
              <a:chOff x="6842944" y="4553246"/>
              <a:chExt cx="838625" cy="674038"/>
            </a:xfrm>
          </p:grpSpPr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1F53C3F5-FACD-DB3D-231E-A2FA5CA3A470}"/>
                  </a:ext>
                </a:extLst>
              </p:cNvPr>
              <p:cNvSpPr/>
              <p:nvPr/>
            </p:nvSpPr>
            <p:spPr>
              <a:xfrm>
                <a:off x="6842944" y="4743651"/>
                <a:ext cx="295585" cy="483633"/>
              </a:xfrm>
              <a:custGeom>
                <a:avLst/>
                <a:gdLst>
                  <a:gd name="connsiteX0" fmla="*/ 0 w 443388"/>
                  <a:gd name="connsiteY0" fmla="*/ 443400 h 725465"/>
                  <a:gd name="connsiteX1" fmla="*/ 0 w 443388"/>
                  <a:gd name="connsiteY1" fmla="*/ 280904 h 725465"/>
                  <a:gd name="connsiteX2" fmla="*/ 21336 w 443388"/>
                  <a:gd name="connsiteY2" fmla="*/ 228230 h 725465"/>
                  <a:gd name="connsiteX3" fmla="*/ 428244 w 443388"/>
                  <a:gd name="connsiteY3" fmla="*/ 869 h 725465"/>
                  <a:gd name="connsiteX4" fmla="*/ 443389 w 443388"/>
                  <a:gd name="connsiteY4" fmla="*/ 11441 h 725465"/>
                  <a:gd name="connsiteX5" fmla="*/ 443389 w 443388"/>
                  <a:gd name="connsiteY5" fmla="*/ 172128 h 725465"/>
                  <a:gd name="connsiteX6" fmla="*/ 434626 w 443388"/>
                  <a:gd name="connsiteY6" fmla="*/ 187178 h 725465"/>
                  <a:gd name="connsiteX7" fmla="*/ 153924 w 443388"/>
                  <a:gd name="connsiteY7" fmla="*/ 329576 h 725465"/>
                  <a:gd name="connsiteX8" fmla="*/ 153924 w 443388"/>
                  <a:gd name="connsiteY8" fmla="*/ 394537 h 725465"/>
                  <a:gd name="connsiteX9" fmla="*/ 435674 w 443388"/>
                  <a:gd name="connsiteY9" fmla="*/ 536174 h 725465"/>
                  <a:gd name="connsiteX10" fmla="*/ 443389 w 443388"/>
                  <a:gd name="connsiteY10" fmla="*/ 550747 h 725465"/>
                  <a:gd name="connsiteX11" fmla="*/ 443389 w 443388"/>
                  <a:gd name="connsiteY11" fmla="*/ 714101 h 725465"/>
                  <a:gd name="connsiteX12" fmla="*/ 428244 w 443388"/>
                  <a:gd name="connsiteY12" fmla="*/ 724578 h 725465"/>
                  <a:gd name="connsiteX13" fmla="*/ 21336 w 443388"/>
                  <a:gd name="connsiteY13" fmla="*/ 496073 h 725465"/>
                  <a:gd name="connsiteX14" fmla="*/ 0 w 443388"/>
                  <a:gd name="connsiteY14" fmla="*/ 443400 h 7254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443388" h="725465">
                    <a:moveTo>
                      <a:pt x="0" y="443400"/>
                    </a:moveTo>
                    <a:lnTo>
                      <a:pt x="0" y="280904"/>
                    </a:lnTo>
                    <a:cubicBezTo>
                      <a:pt x="0" y="256615"/>
                      <a:pt x="8668" y="235279"/>
                      <a:pt x="21336" y="228230"/>
                    </a:cubicBezTo>
                    <a:lnTo>
                      <a:pt x="428244" y="869"/>
                    </a:lnTo>
                    <a:cubicBezTo>
                      <a:pt x="433197" y="-1894"/>
                      <a:pt x="443389" y="2012"/>
                      <a:pt x="443389" y="11441"/>
                    </a:cubicBezTo>
                    <a:lnTo>
                      <a:pt x="443389" y="172128"/>
                    </a:lnTo>
                    <a:cubicBezTo>
                      <a:pt x="443389" y="178415"/>
                      <a:pt x="440531" y="184130"/>
                      <a:pt x="434626" y="187178"/>
                    </a:cubicBezTo>
                    <a:lnTo>
                      <a:pt x="153924" y="329576"/>
                    </a:lnTo>
                    <a:cubicBezTo>
                      <a:pt x="135731" y="338720"/>
                      <a:pt x="135731" y="385298"/>
                      <a:pt x="153924" y="394537"/>
                    </a:cubicBezTo>
                    <a:lnTo>
                      <a:pt x="435674" y="536174"/>
                    </a:lnTo>
                    <a:cubicBezTo>
                      <a:pt x="439007" y="537888"/>
                      <a:pt x="443389" y="544460"/>
                      <a:pt x="443389" y="550747"/>
                    </a:cubicBezTo>
                    <a:lnTo>
                      <a:pt x="443389" y="714101"/>
                    </a:lnTo>
                    <a:cubicBezTo>
                      <a:pt x="443389" y="723245"/>
                      <a:pt x="433769" y="727436"/>
                      <a:pt x="428244" y="724578"/>
                    </a:cubicBezTo>
                    <a:lnTo>
                      <a:pt x="21336" y="496073"/>
                    </a:lnTo>
                    <a:cubicBezTo>
                      <a:pt x="8668" y="489025"/>
                      <a:pt x="0" y="467594"/>
                      <a:pt x="0" y="443400"/>
                    </a:cubicBezTo>
                  </a:path>
                </a:pathLst>
              </a:custGeom>
              <a:solidFill>
                <a:srgbClr val="B2BCC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2545302E-C9E0-1025-6EF8-59F1F42AFCF1}"/>
                  </a:ext>
                </a:extLst>
              </p:cNvPr>
              <p:cNvSpPr/>
              <p:nvPr userDrawn="1"/>
            </p:nvSpPr>
            <p:spPr>
              <a:xfrm>
                <a:off x="7138593" y="4553246"/>
                <a:ext cx="542976" cy="488338"/>
              </a:xfrm>
              <a:custGeom>
                <a:avLst/>
                <a:gdLst>
                  <a:gd name="connsiteX0" fmla="*/ 0 w 814482"/>
                  <a:gd name="connsiteY0" fmla="*/ 14192 h 732524"/>
                  <a:gd name="connsiteX1" fmla="*/ 0 w 814482"/>
                  <a:gd name="connsiteY1" fmla="*/ 175260 h 732524"/>
                  <a:gd name="connsiteX2" fmla="*/ 10287 w 814482"/>
                  <a:gd name="connsiteY2" fmla="*/ 188786 h 732524"/>
                  <a:gd name="connsiteX3" fmla="*/ 534448 w 814482"/>
                  <a:gd name="connsiteY3" fmla="*/ 332994 h 732524"/>
                  <a:gd name="connsiteX4" fmla="*/ 534448 w 814482"/>
                  <a:gd name="connsiteY4" fmla="*/ 398621 h 732524"/>
                  <a:gd name="connsiteX5" fmla="*/ 10287 w 814482"/>
                  <a:gd name="connsiteY5" fmla="*/ 543878 h 732524"/>
                  <a:gd name="connsiteX6" fmla="*/ 0 w 814482"/>
                  <a:gd name="connsiteY6" fmla="*/ 557403 h 732524"/>
                  <a:gd name="connsiteX7" fmla="*/ 0 w 814482"/>
                  <a:gd name="connsiteY7" fmla="*/ 718471 h 732524"/>
                  <a:gd name="connsiteX8" fmla="*/ 18193 w 814482"/>
                  <a:gd name="connsiteY8" fmla="*/ 731901 h 732524"/>
                  <a:gd name="connsiteX9" fmla="*/ 775430 w 814482"/>
                  <a:gd name="connsiteY9" fmla="*/ 499967 h 732524"/>
                  <a:gd name="connsiteX10" fmla="*/ 814483 w 814482"/>
                  <a:gd name="connsiteY10" fmla="*/ 447199 h 732524"/>
                  <a:gd name="connsiteX11" fmla="*/ 814483 w 814482"/>
                  <a:gd name="connsiteY11" fmla="*/ 284321 h 732524"/>
                  <a:gd name="connsiteX12" fmla="*/ 775335 w 814482"/>
                  <a:gd name="connsiteY12" fmla="*/ 231458 h 732524"/>
                  <a:gd name="connsiteX13" fmla="*/ 18193 w 814482"/>
                  <a:gd name="connsiteY13" fmla="*/ 667 h 732524"/>
                  <a:gd name="connsiteX14" fmla="*/ 14097 w 814482"/>
                  <a:gd name="connsiteY14" fmla="*/ 0 h 732524"/>
                  <a:gd name="connsiteX15" fmla="*/ 95 w 814482"/>
                  <a:gd name="connsiteY15" fmla="*/ 14097 h 7325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14482" h="732524">
                    <a:moveTo>
                      <a:pt x="0" y="14192"/>
                    </a:moveTo>
                    <a:lnTo>
                      <a:pt x="0" y="175260"/>
                    </a:lnTo>
                    <a:cubicBezTo>
                      <a:pt x="0" y="181547"/>
                      <a:pt x="4191" y="187166"/>
                      <a:pt x="10287" y="188786"/>
                    </a:cubicBezTo>
                    <a:lnTo>
                      <a:pt x="534448" y="332994"/>
                    </a:lnTo>
                    <a:cubicBezTo>
                      <a:pt x="567690" y="342138"/>
                      <a:pt x="567785" y="389382"/>
                      <a:pt x="534448" y="398621"/>
                    </a:cubicBezTo>
                    <a:lnTo>
                      <a:pt x="10287" y="543878"/>
                    </a:lnTo>
                    <a:cubicBezTo>
                      <a:pt x="4191" y="545592"/>
                      <a:pt x="0" y="551212"/>
                      <a:pt x="0" y="557403"/>
                    </a:cubicBezTo>
                    <a:lnTo>
                      <a:pt x="0" y="718471"/>
                    </a:lnTo>
                    <a:cubicBezTo>
                      <a:pt x="0" y="727901"/>
                      <a:pt x="9144" y="734663"/>
                      <a:pt x="18193" y="731901"/>
                    </a:cubicBezTo>
                    <a:lnTo>
                      <a:pt x="775430" y="499967"/>
                    </a:lnTo>
                    <a:cubicBezTo>
                      <a:pt x="798671" y="492824"/>
                      <a:pt x="814483" y="471488"/>
                      <a:pt x="814483" y="447199"/>
                    </a:cubicBezTo>
                    <a:lnTo>
                      <a:pt x="814483" y="284321"/>
                    </a:lnTo>
                    <a:cubicBezTo>
                      <a:pt x="814483" y="260033"/>
                      <a:pt x="798576" y="238601"/>
                      <a:pt x="775335" y="231458"/>
                    </a:cubicBezTo>
                    <a:lnTo>
                      <a:pt x="18193" y="667"/>
                    </a:lnTo>
                    <a:cubicBezTo>
                      <a:pt x="16859" y="286"/>
                      <a:pt x="15430" y="0"/>
                      <a:pt x="14097" y="0"/>
                    </a:cubicBezTo>
                    <a:cubicBezTo>
                      <a:pt x="6572" y="0"/>
                      <a:pt x="95" y="6096"/>
                      <a:pt x="95" y="14097"/>
                    </a:cubicBezTo>
                  </a:path>
                </a:pathLst>
              </a:custGeom>
              <a:gradFill>
                <a:gsLst>
                  <a:gs pos="39000">
                    <a:srgbClr val="BA56A7"/>
                  </a:gs>
                  <a:gs pos="51000">
                    <a:srgbClr val="A05EB5"/>
                  </a:gs>
                  <a:gs pos="14000">
                    <a:srgbClr val="BE0F0F"/>
                  </a:gs>
                  <a:gs pos="100000">
                    <a:srgbClr val="0096A4"/>
                  </a:gs>
                </a:gsLst>
                <a:lin ang="9000000" scaled="0"/>
              </a:gradFill>
              <a:ln w="0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28A34496-A6C4-7E61-B442-E644C9988099}"/>
                </a:ext>
              </a:extLst>
            </p:cNvPr>
            <p:cNvSpPr/>
            <p:nvPr userDrawn="1"/>
          </p:nvSpPr>
          <p:spPr>
            <a:xfrm>
              <a:off x="10663996" y="294836"/>
              <a:ext cx="1245743" cy="239815"/>
            </a:xfrm>
            <a:custGeom>
              <a:avLst/>
              <a:gdLst>
                <a:gd name="connsiteX0" fmla="*/ 847627 w 3212772"/>
                <a:gd name="connsiteY0" fmla="*/ 0 h 618484"/>
                <a:gd name="connsiteX1" fmla="*/ 609133 w 3212772"/>
                <a:gd name="connsiteY1" fmla="*/ 0 h 618484"/>
                <a:gd name="connsiteX2" fmla="*/ 609133 w 3212772"/>
                <a:gd name="connsiteY2" fmla="*/ 618485 h 618484"/>
                <a:gd name="connsiteX3" fmla="*/ 847627 w 3212772"/>
                <a:gd name="connsiteY3" fmla="*/ 618485 h 618484"/>
                <a:gd name="connsiteX4" fmla="*/ 1055643 w 3212772"/>
                <a:gd name="connsiteY4" fmla="*/ 457857 h 618484"/>
                <a:gd name="connsiteX5" fmla="*/ 1055643 w 3212772"/>
                <a:gd name="connsiteY5" fmla="*/ 160628 h 618484"/>
                <a:gd name="connsiteX6" fmla="*/ 847627 w 3212772"/>
                <a:gd name="connsiteY6" fmla="*/ 0 h 618484"/>
                <a:gd name="connsiteX7" fmla="*/ 917040 w 3212772"/>
                <a:gd name="connsiteY7" fmla="*/ 419591 h 618484"/>
                <a:gd name="connsiteX8" fmla="*/ 830942 w 3212772"/>
                <a:gd name="connsiteY8" fmla="*/ 494788 h 618484"/>
                <a:gd name="connsiteX9" fmla="*/ 747736 w 3212772"/>
                <a:gd name="connsiteY9" fmla="*/ 494788 h 618484"/>
                <a:gd name="connsiteX10" fmla="*/ 747736 w 3212772"/>
                <a:gd name="connsiteY10" fmla="*/ 123474 h 618484"/>
                <a:gd name="connsiteX11" fmla="*/ 830942 w 3212772"/>
                <a:gd name="connsiteY11" fmla="*/ 123474 h 618484"/>
                <a:gd name="connsiteX12" fmla="*/ 917040 w 3212772"/>
                <a:gd name="connsiteY12" fmla="*/ 198672 h 618484"/>
                <a:gd name="connsiteX13" fmla="*/ 917040 w 3212772"/>
                <a:gd name="connsiteY13" fmla="*/ 419591 h 618484"/>
                <a:gd name="connsiteX14" fmla="*/ 555739 w 3212772"/>
                <a:gd name="connsiteY14" fmla="*/ 604469 h 618484"/>
                <a:gd name="connsiteX15" fmla="*/ 545505 w 3212772"/>
                <a:gd name="connsiteY15" fmla="*/ 618262 h 618484"/>
                <a:gd name="connsiteX16" fmla="*/ 423143 w 3212772"/>
                <a:gd name="connsiteY16" fmla="*/ 618262 h 618484"/>
                <a:gd name="connsiteX17" fmla="*/ 412909 w 3212772"/>
                <a:gd name="connsiteY17" fmla="*/ 610476 h 618484"/>
                <a:gd name="connsiteX18" fmla="*/ 302561 w 3212772"/>
                <a:gd name="connsiteY18" fmla="*/ 212465 h 618484"/>
                <a:gd name="connsiteX19" fmla="*/ 252726 w 3212772"/>
                <a:gd name="connsiteY19" fmla="*/ 212465 h 618484"/>
                <a:gd name="connsiteX20" fmla="*/ 143268 w 3212772"/>
                <a:gd name="connsiteY20" fmla="*/ 610476 h 618484"/>
                <a:gd name="connsiteX21" fmla="*/ 133034 w 3212772"/>
                <a:gd name="connsiteY21" fmla="*/ 618262 h 618484"/>
                <a:gd name="connsiteX22" fmla="*/ 10672 w 3212772"/>
                <a:gd name="connsiteY22" fmla="*/ 618262 h 618484"/>
                <a:gd name="connsiteX23" fmla="*/ 438 w 3212772"/>
                <a:gd name="connsiteY23" fmla="*/ 604469 h 618484"/>
                <a:gd name="connsiteX24" fmla="*/ 175749 w 3212772"/>
                <a:gd name="connsiteY24" fmla="*/ 29589 h 618484"/>
                <a:gd name="connsiteX25" fmla="*/ 215795 w 3212772"/>
                <a:gd name="connsiteY25" fmla="*/ 0 h 618484"/>
                <a:gd name="connsiteX26" fmla="*/ 339492 w 3212772"/>
                <a:gd name="connsiteY26" fmla="*/ 0 h 618484"/>
                <a:gd name="connsiteX27" fmla="*/ 379537 w 3212772"/>
                <a:gd name="connsiteY27" fmla="*/ 29589 h 618484"/>
                <a:gd name="connsiteX28" fmla="*/ 555739 w 3212772"/>
                <a:gd name="connsiteY28" fmla="*/ 604469 h 618484"/>
                <a:gd name="connsiteX29" fmla="*/ 1641868 w 3212772"/>
                <a:gd name="connsiteY29" fmla="*/ 13794 h 618484"/>
                <a:gd name="connsiteX30" fmla="*/ 1466556 w 3212772"/>
                <a:gd name="connsiteY30" fmla="*/ 588673 h 618484"/>
                <a:gd name="connsiteX31" fmla="*/ 1426511 w 3212772"/>
                <a:gd name="connsiteY31" fmla="*/ 618262 h 618484"/>
                <a:gd name="connsiteX32" fmla="*/ 1302814 w 3212772"/>
                <a:gd name="connsiteY32" fmla="*/ 618262 h 618484"/>
                <a:gd name="connsiteX33" fmla="*/ 1262768 w 3212772"/>
                <a:gd name="connsiteY33" fmla="*/ 588673 h 618484"/>
                <a:gd name="connsiteX34" fmla="*/ 1086567 w 3212772"/>
                <a:gd name="connsiteY34" fmla="*/ 13794 h 618484"/>
                <a:gd name="connsiteX35" fmla="*/ 1096801 w 3212772"/>
                <a:gd name="connsiteY35" fmla="*/ 0 h 618484"/>
                <a:gd name="connsiteX36" fmla="*/ 1219163 w 3212772"/>
                <a:gd name="connsiteY36" fmla="*/ 0 h 618484"/>
                <a:gd name="connsiteX37" fmla="*/ 1229397 w 3212772"/>
                <a:gd name="connsiteY37" fmla="*/ 7787 h 618484"/>
                <a:gd name="connsiteX38" fmla="*/ 1251867 w 3212772"/>
                <a:gd name="connsiteY38" fmla="*/ 88768 h 618484"/>
                <a:gd name="connsiteX39" fmla="*/ 1251867 w 3212772"/>
                <a:gd name="connsiteY39" fmla="*/ 89658 h 618484"/>
                <a:gd name="connsiteX40" fmla="*/ 1260766 w 3212772"/>
                <a:gd name="connsiteY40" fmla="*/ 120805 h 618484"/>
                <a:gd name="connsiteX41" fmla="*/ 1260766 w 3212772"/>
                <a:gd name="connsiteY41" fmla="*/ 120805 h 618484"/>
                <a:gd name="connsiteX42" fmla="*/ 1339745 w 3212772"/>
                <a:gd name="connsiteY42" fmla="*/ 406020 h 618484"/>
                <a:gd name="connsiteX43" fmla="*/ 1389580 w 3212772"/>
                <a:gd name="connsiteY43" fmla="*/ 406020 h 618484"/>
                <a:gd name="connsiteX44" fmla="*/ 1436300 w 3212772"/>
                <a:gd name="connsiteY44" fmla="*/ 236937 h 618484"/>
                <a:gd name="connsiteX45" fmla="*/ 1436077 w 3212772"/>
                <a:gd name="connsiteY45" fmla="*/ 236937 h 618484"/>
                <a:gd name="connsiteX46" fmla="*/ 1476790 w 3212772"/>
                <a:gd name="connsiteY46" fmla="*/ 88991 h 618484"/>
                <a:gd name="connsiteX47" fmla="*/ 1499260 w 3212772"/>
                <a:gd name="connsiteY47" fmla="*/ 8009 h 618484"/>
                <a:gd name="connsiteX48" fmla="*/ 1509494 w 3212772"/>
                <a:gd name="connsiteY48" fmla="*/ 222 h 618484"/>
                <a:gd name="connsiteX49" fmla="*/ 1631856 w 3212772"/>
                <a:gd name="connsiteY49" fmla="*/ 222 h 618484"/>
                <a:gd name="connsiteX50" fmla="*/ 1642090 w 3212772"/>
                <a:gd name="connsiteY50" fmla="*/ 14016 h 618484"/>
                <a:gd name="connsiteX51" fmla="*/ 1699044 w 3212772"/>
                <a:gd name="connsiteY51" fmla="*/ 667 h 618484"/>
                <a:gd name="connsiteX52" fmla="*/ 2090157 w 3212772"/>
                <a:gd name="connsiteY52" fmla="*/ 667 h 618484"/>
                <a:gd name="connsiteX53" fmla="*/ 2090157 w 3212772"/>
                <a:gd name="connsiteY53" fmla="*/ 123697 h 618484"/>
                <a:gd name="connsiteX54" fmla="*/ 1839204 w 3212772"/>
                <a:gd name="connsiteY54" fmla="*/ 123697 h 618484"/>
                <a:gd name="connsiteX55" fmla="*/ 1839204 w 3212772"/>
                <a:gd name="connsiteY55" fmla="*/ 236715 h 618484"/>
                <a:gd name="connsiteX56" fmla="*/ 2070579 w 3212772"/>
                <a:gd name="connsiteY56" fmla="*/ 236715 h 618484"/>
                <a:gd name="connsiteX57" fmla="*/ 2070579 w 3212772"/>
                <a:gd name="connsiteY57" fmla="*/ 359745 h 618484"/>
                <a:gd name="connsiteX58" fmla="*/ 1839204 w 3212772"/>
                <a:gd name="connsiteY58" fmla="*/ 359745 h 618484"/>
                <a:gd name="connsiteX59" fmla="*/ 1839204 w 3212772"/>
                <a:gd name="connsiteY59" fmla="*/ 493898 h 618484"/>
                <a:gd name="connsiteX60" fmla="*/ 2090157 w 3212772"/>
                <a:gd name="connsiteY60" fmla="*/ 493898 h 618484"/>
                <a:gd name="connsiteX61" fmla="*/ 2090157 w 3212772"/>
                <a:gd name="connsiteY61" fmla="*/ 616927 h 618484"/>
                <a:gd name="connsiteX62" fmla="*/ 1699044 w 3212772"/>
                <a:gd name="connsiteY62" fmla="*/ 616927 h 618484"/>
                <a:gd name="connsiteX63" fmla="*/ 1699044 w 3212772"/>
                <a:gd name="connsiteY63" fmla="*/ 445 h 618484"/>
                <a:gd name="connsiteX64" fmla="*/ 2540672 w 3212772"/>
                <a:gd name="connsiteY64" fmla="*/ 667 h 618484"/>
                <a:gd name="connsiteX65" fmla="*/ 2674158 w 3212772"/>
                <a:gd name="connsiteY65" fmla="*/ 667 h 618484"/>
                <a:gd name="connsiteX66" fmla="*/ 2674158 w 3212772"/>
                <a:gd name="connsiteY66" fmla="*/ 616927 h 618484"/>
                <a:gd name="connsiteX67" fmla="*/ 2501516 w 3212772"/>
                <a:gd name="connsiteY67" fmla="*/ 616927 h 618484"/>
                <a:gd name="connsiteX68" fmla="*/ 2298173 w 3212772"/>
                <a:gd name="connsiteY68" fmla="*/ 211575 h 618484"/>
                <a:gd name="connsiteX69" fmla="*/ 2298173 w 3212772"/>
                <a:gd name="connsiteY69" fmla="*/ 616927 h 618484"/>
                <a:gd name="connsiteX70" fmla="*/ 2164687 w 3212772"/>
                <a:gd name="connsiteY70" fmla="*/ 616927 h 618484"/>
                <a:gd name="connsiteX71" fmla="*/ 2164687 w 3212772"/>
                <a:gd name="connsiteY71" fmla="*/ 445 h 618484"/>
                <a:gd name="connsiteX72" fmla="*/ 2336439 w 3212772"/>
                <a:gd name="connsiteY72" fmla="*/ 445 h 618484"/>
                <a:gd name="connsiteX73" fmla="*/ 2540894 w 3212772"/>
                <a:gd name="connsiteY73" fmla="*/ 425153 h 618484"/>
                <a:gd name="connsiteX74" fmla="*/ 2540894 w 3212772"/>
                <a:gd name="connsiteY74" fmla="*/ 445 h 618484"/>
                <a:gd name="connsiteX75" fmla="*/ 3212772 w 3212772"/>
                <a:gd name="connsiteY75" fmla="*/ 667 h 618484"/>
                <a:gd name="connsiteX76" fmla="*/ 3212772 w 3212772"/>
                <a:gd name="connsiteY76" fmla="*/ 123697 h 618484"/>
                <a:gd name="connsiteX77" fmla="*/ 3045693 w 3212772"/>
                <a:gd name="connsiteY77" fmla="*/ 123697 h 618484"/>
                <a:gd name="connsiteX78" fmla="*/ 3045693 w 3212772"/>
                <a:gd name="connsiteY78" fmla="*/ 616927 h 618484"/>
                <a:gd name="connsiteX79" fmla="*/ 2905755 w 3212772"/>
                <a:gd name="connsiteY79" fmla="*/ 616927 h 618484"/>
                <a:gd name="connsiteX80" fmla="*/ 2905755 w 3212772"/>
                <a:gd name="connsiteY80" fmla="*/ 123474 h 618484"/>
                <a:gd name="connsiteX81" fmla="*/ 2738676 w 3212772"/>
                <a:gd name="connsiteY81" fmla="*/ 123474 h 618484"/>
                <a:gd name="connsiteX82" fmla="*/ 2738676 w 3212772"/>
                <a:gd name="connsiteY82" fmla="*/ 445 h 618484"/>
                <a:gd name="connsiteX83" fmla="*/ 3212772 w 3212772"/>
                <a:gd name="connsiteY83" fmla="*/ 445 h 618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3212772" h="618484">
                  <a:moveTo>
                    <a:pt x="847627" y="0"/>
                  </a:moveTo>
                  <a:lnTo>
                    <a:pt x="609133" y="0"/>
                  </a:lnTo>
                  <a:lnTo>
                    <a:pt x="609133" y="618485"/>
                  </a:lnTo>
                  <a:lnTo>
                    <a:pt x="847627" y="618485"/>
                  </a:lnTo>
                  <a:cubicBezTo>
                    <a:pt x="999356" y="618485"/>
                    <a:pt x="1055643" y="540396"/>
                    <a:pt x="1055643" y="457857"/>
                  </a:cubicBezTo>
                  <a:lnTo>
                    <a:pt x="1055643" y="160628"/>
                  </a:lnTo>
                  <a:cubicBezTo>
                    <a:pt x="1055643" y="76977"/>
                    <a:pt x="999134" y="0"/>
                    <a:pt x="847627" y="0"/>
                  </a:cubicBezTo>
                  <a:moveTo>
                    <a:pt x="917040" y="419591"/>
                  </a:moveTo>
                  <a:cubicBezTo>
                    <a:pt x="917040" y="467868"/>
                    <a:pt x="900354" y="494788"/>
                    <a:pt x="830942" y="494788"/>
                  </a:cubicBezTo>
                  <a:lnTo>
                    <a:pt x="747736" y="494788"/>
                  </a:lnTo>
                  <a:lnTo>
                    <a:pt x="747736" y="123474"/>
                  </a:lnTo>
                  <a:lnTo>
                    <a:pt x="830942" y="123474"/>
                  </a:lnTo>
                  <a:cubicBezTo>
                    <a:pt x="900354" y="123474"/>
                    <a:pt x="917040" y="150394"/>
                    <a:pt x="917040" y="198672"/>
                  </a:cubicBezTo>
                  <a:lnTo>
                    <a:pt x="917040" y="419591"/>
                  </a:lnTo>
                  <a:close/>
                  <a:moveTo>
                    <a:pt x="555739" y="604469"/>
                  </a:moveTo>
                  <a:cubicBezTo>
                    <a:pt x="557741" y="611366"/>
                    <a:pt x="552624" y="618262"/>
                    <a:pt x="545505" y="618262"/>
                  </a:cubicBezTo>
                  <a:lnTo>
                    <a:pt x="423143" y="618262"/>
                  </a:lnTo>
                  <a:cubicBezTo>
                    <a:pt x="418248" y="618262"/>
                    <a:pt x="414244" y="615148"/>
                    <a:pt x="412909" y="610476"/>
                  </a:cubicBezTo>
                  <a:lnTo>
                    <a:pt x="302561" y="212465"/>
                  </a:lnTo>
                  <a:cubicBezTo>
                    <a:pt x="295664" y="187103"/>
                    <a:pt x="259845" y="187103"/>
                    <a:pt x="252726" y="212465"/>
                  </a:cubicBezTo>
                  <a:lnTo>
                    <a:pt x="143268" y="610476"/>
                  </a:lnTo>
                  <a:cubicBezTo>
                    <a:pt x="141933" y="615148"/>
                    <a:pt x="137706" y="618262"/>
                    <a:pt x="133034" y="618262"/>
                  </a:cubicBezTo>
                  <a:lnTo>
                    <a:pt x="10672" y="618262"/>
                  </a:lnTo>
                  <a:cubicBezTo>
                    <a:pt x="3552" y="618262"/>
                    <a:pt x="-1564" y="611366"/>
                    <a:pt x="438" y="604469"/>
                  </a:cubicBezTo>
                  <a:lnTo>
                    <a:pt x="175749" y="29589"/>
                  </a:lnTo>
                  <a:cubicBezTo>
                    <a:pt x="181088" y="12014"/>
                    <a:pt x="197329" y="0"/>
                    <a:pt x="215795" y="0"/>
                  </a:cubicBezTo>
                  <a:lnTo>
                    <a:pt x="339492" y="0"/>
                  </a:lnTo>
                  <a:cubicBezTo>
                    <a:pt x="357957" y="0"/>
                    <a:pt x="374198" y="12014"/>
                    <a:pt x="379537" y="29589"/>
                  </a:cubicBezTo>
                  <a:lnTo>
                    <a:pt x="555739" y="604469"/>
                  </a:lnTo>
                  <a:close/>
                  <a:moveTo>
                    <a:pt x="1641868" y="13794"/>
                  </a:moveTo>
                  <a:lnTo>
                    <a:pt x="1466556" y="588673"/>
                  </a:lnTo>
                  <a:cubicBezTo>
                    <a:pt x="1461217" y="606249"/>
                    <a:pt x="1444976" y="618262"/>
                    <a:pt x="1426511" y="618262"/>
                  </a:cubicBezTo>
                  <a:lnTo>
                    <a:pt x="1302814" y="618262"/>
                  </a:lnTo>
                  <a:cubicBezTo>
                    <a:pt x="1284348" y="618262"/>
                    <a:pt x="1268108" y="606249"/>
                    <a:pt x="1262768" y="588673"/>
                  </a:cubicBezTo>
                  <a:lnTo>
                    <a:pt x="1086567" y="13794"/>
                  </a:lnTo>
                  <a:cubicBezTo>
                    <a:pt x="1084342" y="6897"/>
                    <a:pt x="1089682" y="0"/>
                    <a:pt x="1096801" y="0"/>
                  </a:cubicBezTo>
                  <a:lnTo>
                    <a:pt x="1219163" y="0"/>
                  </a:lnTo>
                  <a:cubicBezTo>
                    <a:pt x="1224057" y="0"/>
                    <a:pt x="1228062" y="3115"/>
                    <a:pt x="1229397" y="7787"/>
                  </a:cubicBezTo>
                  <a:lnTo>
                    <a:pt x="1251867" y="88768"/>
                  </a:lnTo>
                  <a:lnTo>
                    <a:pt x="1251867" y="89658"/>
                  </a:lnTo>
                  <a:cubicBezTo>
                    <a:pt x="1251867" y="89658"/>
                    <a:pt x="1260766" y="120805"/>
                    <a:pt x="1260766" y="120805"/>
                  </a:cubicBezTo>
                  <a:lnTo>
                    <a:pt x="1260766" y="120805"/>
                  </a:lnTo>
                  <a:lnTo>
                    <a:pt x="1339745" y="406020"/>
                  </a:lnTo>
                  <a:cubicBezTo>
                    <a:pt x="1346864" y="431160"/>
                    <a:pt x="1382460" y="431160"/>
                    <a:pt x="1389580" y="406020"/>
                  </a:cubicBezTo>
                  <a:lnTo>
                    <a:pt x="1436300" y="236937"/>
                  </a:lnTo>
                  <a:lnTo>
                    <a:pt x="1436077" y="236937"/>
                  </a:lnTo>
                  <a:lnTo>
                    <a:pt x="1476790" y="88991"/>
                  </a:lnTo>
                  <a:lnTo>
                    <a:pt x="1499260" y="8009"/>
                  </a:lnTo>
                  <a:cubicBezTo>
                    <a:pt x="1500595" y="3337"/>
                    <a:pt x="1504822" y="222"/>
                    <a:pt x="1509494" y="222"/>
                  </a:cubicBezTo>
                  <a:lnTo>
                    <a:pt x="1631856" y="222"/>
                  </a:lnTo>
                  <a:cubicBezTo>
                    <a:pt x="1638975" y="222"/>
                    <a:pt x="1644092" y="7119"/>
                    <a:pt x="1642090" y="14016"/>
                  </a:cubicBezTo>
                  <a:moveTo>
                    <a:pt x="1699044" y="667"/>
                  </a:moveTo>
                  <a:lnTo>
                    <a:pt x="2090157" y="667"/>
                  </a:lnTo>
                  <a:lnTo>
                    <a:pt x="2090157" y="123697"/>
                  </a:lnTo>
                  <a:lnTo>
                    <a:pt x="1839204" y="123697"/>
                  </a:lnTo>
                  <a:lnTo>
                    <a:pt x="1839204" y="236715"/>
                  </a:lnTo>
                  <a:lnTo>
                    <a:pt x="2070579" y="236715"/>
                  </a:lnTo>
                  <a:lnTo>
                    <a:pt x="2070579" y="359745"/>
                  </a:lnTo>
                  <a:lnTo>
                    <a:pt x="1839204" y="359745"/>
                  </a:lnTo>
                  <a:lnTo>
                    <a:pt x="1839204" y="493898"/>
                  </a:lnTo>
                  <a:lnTo>
                    <a:pt x="2090157" y="493898"/>
                  </a:lnTo>
                  <a:lnTo>
                    <a:pt x="2090157" y="616927"/>
                  </a:lnTo>
                  <a:lnTo>
                    <a:pt x="1699044" y="616927"/>
                  </a:lnTo>
                  <a:lnTo>
                    <a:pt x="1699044" y="445"/>
                  </a:lnTo>
                  <a:close/>
                  <a:moveTo>
                    <a:pt x="2540672" y="667"/>
                  </a:moveTo>
                  <a:lnTo>
                    <a:pt x="2674158" y="667"/>
                  </a:lnTo>
                  <a:lnTo>
                    <a:pt x="2674158" y="616927"/>
                  </a:lnTo>
                  <a:lnTo>
                    <a:pt x="2501516" y="616927"/>
                  </a:lnTo>
                  <a:lnTo>
                    <a:pt x="2298173" y="211575"/>
                  </a:lnTo>
                  <a:lnTo>
                    <a:pt x="2298173" y="616927"/>
                  </a:lnTo>
                  <a:lnTo>
                    <a:pt x="2164687" y="616927"/>
                  </a:lnTo>
                  <a:lnTo>
                    <a:pt x="2164687" y="445"/>
                  </a:lnTo>
                  <a:lnTo>
                    <a:pt x="2336439" y="445"/>
                  </a:lnTo>
                  <a:lnTo>
                    <a:pt x="2540894" y="425153"/>
                  </a:lnTo>
                  <a:lnTo>
                    <a:pt x="2540894" y="445"/>
                  </a:lnTo>
                  <a:close/>
                  <a:moveTo>
                    <a:pt x="3212772" y="667"/>
                  </a:moveTo>
                  <a:lnTo>
                    <a:pt x="3212772" y="123697"/>
                  </a:lnTo>
                  <a:lnTo>
                    <a:pt x="3045693" y="123697"/>
                  </a:lnTo>
                  <a:lnTo>
                    <a:pt x="3045693" y="616927"/>
                  </a:lnTo>
                  <a:lnTo>
                    <a:pt x="2905755" y="616927"/>
                  </a:lnTo>
                  <a:lnTo>
                    <a:pt x="2905755" y="123474"/>
                  </a:lnTo>
                  <a:lnTo>
                    <a:pt x="2738676" y="123474"/>
                  </a:lnTo>
                  <a:lnTo>
                    <a:pt x="2738676" y="445"/>
                  </a:lnTo>
                  <a:lnTo>
                    <a:pt x="3212772" y="445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7" name="Graphic 28">
            <a:extLst>
              <a:ext uri="{FF2B5EF4-FFF2-40B4-BE49-F238E27FC236}">
                <a16:creationId xmlns:a16="http://schemas.microsoft.com/office/drawing/2014/main" id="{6A651EB4-B13C-70E0-3D4A-66C192FEB95B}"/>
              </a:ext>
            </a:extLst>
          </p:cNvPr>
          <p:cNvGrpSpPr/>
          <p:nvPr userDrawn="1"/>
        </p:nvGrpSpPr>
        <p:grpSpPr>
          <a:xfrm>
            <a:off x="10803373" y="581544"/>
            <a:ext cx="1035419" cy="92297"/>
            <a:chOff x="10803373" y="581542"/>
            <a:chExt cx="1035419" cy="92297"/>
          </a:xfrm>
          <a:solidFill>
            <a:schemeClr val="tx1"/>
          </a:solidFill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7F605A79-5E8F-552B-ACC7-9557EA7955E3}"/>
                </a:ext>
              </a:extLst>
            </p:cNvPr>
            <p:cNvSpPr/>
            <p:nvPr/>
          </p:nvSpPr>
          <p:spPr>
            <a:xfrm>
              <a:off x="10803373" y="598245"/>
              <a:ext cx="50798" cy="74561"/>
            </a:xfrm>
            <a:custGeom>
              <a:avLst/>
              <a:gdLst>
                <a:gd name="connsiteX0" fmla="*/ 15670 w 50798"/>
                <a:gd name="connsiteY0" fmla="*/ 2841 h 74561"/>
                <a:gd name="connsiteX1" fmla="*/ 27035 w 50798"/>
                <a:gd name="connsiteY1" fmla="*/ 0 h 74561"/>
                <a:gd name="connsiteX2" fmla="*/ 39175 w 50798"/>
                <a:gd name="connsiteY2" fmla="*/ 3186 h 74561"/>
                <a:gd name="connsiteX3" fmla="*/ 47699 w 50798"/>
                <a:gd name="connsiteY3" fmla="*/ 12140 h 74561"/>
                <a:gd name="connsiteX4" fmla="*/ 50798 w 50798"/>
                <a:gd name="connsiteY4" fmla="*/ 25571 h 74561"/>
                <a:gd name="connsiteX5" fmla="*/ 47699 w 50798"/>
                <a:gd name="connsiteY5" fmla="*/ 39089 h 74561"/>
                <a:gd name="connsiteX6" fmla="*/ 39175 w 50798"/>
                <a:gd name="connsiteY6" fmla="*/ 48301 h 74561"/>
                <a:gd name="connsiteX7" fmla="*/ 27035 w 50798"/>
                <a:gd name="connsiteY7" fmla="*/ 51573 h 74561"/>
                <a:gd name="connsiteX8" fmla="*/ 15756 w 50798"/>
                <a:gd name="connsiteY8" fmla="*/ 48732 h 74561"/>
                <a:gd name="connsiteX9" fmla="*/ 8352 w 50798"/>
                <a:gd name="connsiteY9" fmla="*/ 41585 h 74561"/>
                <a:gd name="connsiteX10" fmla="*/ 8352 w 50798"/>
                <a:gd name="connsiteY10" fmla="*/ 74561 h 74561"/>
                <a:gd name="connsiteX11" fmla="*/ 0 w 50798"/>
                <a:gd name="connsiteY11" fmla="*/ 74561 h 74561"/>
                <a:gd name="connsiteX12" fmla="*/ 0 w 50798"/>
                <a:gd name="connsiteY12" fmla="*/ 775 h 74561"/>
                <a:gd name="connsiteX13" fmla="*/ 8352 w 50798"/>
                <a:gd name="connsiteY13" fmla="*/ 775 h 74561"/>
                <a:gd name="connsiteX14" fmla="*/ 8352 w 50798"/>
                <a:gd name="connsiteY14" fmla="*/ 9987 h 74561"/>
                <a:gd name="connsiteX15" fmla="*/ 15670 w 50798"/>
                <a:gd name="connsiteY15" fmla="*/ 2841 h 74561"/>
                <a:gd name="connsiteX16" fmla="*/ 40036 w 50798"/>
                <a:gd name="connsiteY16" fmla="*/ 15756 h 74561"/>
                <a:gd name="connsiteX17" fmla="*/ 33837 w 50798"/>
                <a:gd name="connsiteY17" fmla="*/ 9385 h 74561"/>
                <a:gd name="connsiteX18" fmla="*/ 25313 w 50798"/>
                <a:gd name="connsiteY18" fmla="*/ 7232 h 74561"/>
                <a:gd name="connsiteX19" fmla="*/ 16875 w 50798"/>
                <a:gd name="connsiteY19" fmla="*/ 9471 h 74561"/>
                <a:gd name="connsiteX20" fmla="*/ 10676 w 50798"/>
                <a:gd name="connsiteY20" fmla="*/ 15928 h 74561"/>
                <a:gd name="connsiteX21" fmla="*/ 8352 w 50798"/>
                <a:gd name="connsiteY21" fmla="*/ 25743 h 74561"/>
                <a:gd name="connsiteX22" fmla="*/ 10676 w 50798"/>
                <a:gd name="connsiteY22" fmla="*/ 35645 h 74561"/>
                <a:gd name="connsiteX23" fmla="*/ 16875 w 50798"/>
                <a:gd name="connsiteY23" fmla="*/ 42102 h 74561"/>
                <a:gd name="connsiteX24" fmla="*/ 25313 w 50798"/>
                <a:gd name="connsiteY24" fmla="*/ 44341 h 74561"/>
                <a:gd name="connsiteX25" fmla="*/ 33837 w 50798"/>
                <a:gd name="connsiteY25" fmla="*/ 42102 h 74561"/>
                <a:gd name="connsiteX26" fmla="*/ 40036 w 50798"/>
                <a:gd name="connsiteY26" fmla="*/ 35645 h 74561"/>
                <a:gd name="connsiteX27" fmla="*/ 42360 w 50798"/>
                <a:gd name="connsiteY27" fmla="*/ 25657 h 74561"/>
                <a:gd name="connsiteX28" fmla="*/ 40036 w 50798"/>
                <a:gd name="connsiteY28" fmla="*/ 15756 h 7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0798" h="74561">
                  <a:moveTo>
                    <a:pt x="15670" y="2841"/>
                  </a:moveTo>
                  <a:cubicBezTo>
                    <a:pt x="18942" y="947"/>
                    <a:pt x="22730" y="0"/>
                    <a:pt x="27035" y="0"/>
                  </a:cubicBezTo>
                  <a:cubicBezTo>
                    <a:pt x="31340" y="0"/>
                    <a:pt x="35473" y="1033"/>
                    <a:pt x="39175" y="3186"/>
                  </a:cubicBezTo>
                  <a:cubicBezTo>
                    <a:pt x="42791" y="5338"/>
                    <a:pt x="45632" y="8352"/>
                    <a:pt x="47699" y="12140"/>
                  </a:cubicBezTo>
                  <a:cubicBezTo>
                    <a:pt x="49765" y="16014"/>
                    <a:pt x="50798" y="20491"/>
                    <a:pt x="50798" y="25571"/>
                  </a:cubicBezTo>
                  <a:cubicBezTo>
                    <a:pt x="50798" y="30651"/>
                    <a:pt x="49765" y="35128"/>
                    <a:pt x="47699" y="39089"/>
                  </a:cubicBezTo>
                  <a:cubicBezTo>
                    <a:pt x="45632" y="43049"/>
                    <a:pt x="42791" y="46149"/>
                    <a:pt x="39175" y="48301"/>
                  </a:cubicBezTo>
                  <a:cubicBezTo>
                    <a:pt x="35559" y="50454"/>
                    <a:pt x="31512" y="51573"/>
                    <a:pt x="27035" y="51573"/>
                  </a:cubicBezTo>
                  <a:cubicBezTo>
                    <a:pt x="22558" y="51573"/>
                    <a:pt x="19028" y="50626"/>
                    <a:pt x="15756" y="48732"/>
                  </a:cubicBezTo>
                  <a:cubicBezTo>
                    <a:pt x="12484" y="46837"/>
                    <a:pt x="9987" y="44427"/>
                    <a:pt x="8352" y="41585"/>
                  </a:cubicBezTo>
                  <a:lnTo>
                    <a:pt x="8352" y="74561"/>
                  </a:lnTo>
                  <a:lnTo>
                    <a:pt x="0" y="74561"/>
                  </a:lnTo>
                  <a:lnTo>
                    <a:pt x="0" y="775"/>
                  </a:lnTo>
                  <a:lnTo>
                    <a:pt x="8352" y="775"/>
                  </a:lnTo>
                  <a:lnTo>
                    <a:pt x="8352" y="9987"/>
                  </a:lnTo>
                  <a:cubicBezTo>
                    <a:pt x="9987" y="7146"/>
                    <a:pt x="12484" y="4735"/>
                    <a:pt x="15670" y="2841"/>
                  </a:cubicBezTo>
                  <a:close/>
                  <a:moveTo>
                    <a:pt x="40036" y="15756"/>
                  </a:moveTo>
                  <a:cubicBezTo>
                    <a:pt x="38486" y="12915"/>
                    <a:pt x="36420" y="10848"/>
                    <a:pt x="33837" y="9385"/>
                  </a:cubicBezTo>
                  <a:cubicBezTo>
                    <a:pt x="31254" y="7921"/>
                    <a:pt x="28412" y="7232"/>
                    <a:pt x="25313" y="7232"/>
                  </a:cubicBezTo>
                  <a:cubicBezTo>
                    <a:pt x="22213" y="7232"/>
                    <a:pt x="19458" y="8007"/>
                    <a:pt x="16875" y="9471"/>
                  </a:cubicBezTo>
                  <a:cubicBezTo>
                    <a:pt x="14292" y="10934"/>
                    <a:pt x="12226" y="13087"/>
                    <a:pt x="10676" y="15928"/>
                  </a:cubicBezTo>
                  <a:cubicBezTo>
                    <a:pt x="9126" y="18769"/>
                    <a:pt x="8352" y="22041"/>
                    <a:pt x="8352" y="25743"/>
                  </a:cubicBezTo>
                  <a:cubicBezTo>
                    <a:pt x="8352" y="29446"/>
                    <a:pt x="9126" y="32803"/>
                    <a:pt x="10676" y="35645"/>
                  </a:cubicBezTo>
                  <a:cubicBezTo>
                    <a:pt x="12226" y="38486"/>
                    <a:pt x="14292" y="40638"/>
                    <a:pt x="16875" y="42102"/>
                  </a:cubicBezTo>
                  <a:cubicBezTo>
                    <a:pt x="19458" y="43566"/>
                    <a:pt x="22300" y="44341"/>
                    <a:pt x="25313" y="44341"/>
                  </a:cubicBezTo>
                  <a:cubicBezTo>
                    <a:pt x="28326" y="44341"/>
                    <a:pt x="31254" y="43566"/>
                    <a:pt x="33837" y="42102"/>
                  </a:cubicBezTo>
                  <a:cubicBezTo>
                    <a:pt x="36420" y="40638"/>
                    <a:pt x="38486" y="38486"/>
                    <a:pt x="40036" y="35645"/>
                  </a:cubicBezTo>
                  <a:cubicBezTo>
                    <a:pt x="41586" y="32803"/>
                    <a:pt x="42360" y="29446"/>
                    <a:pt x="42360" y="25657"/>
                  </a:cubicBezTo>
                  <a:cubicBezTo>
                    <a:pt x="42360" y="21869"/>
                    <a:pt x="41586" y="18597"/>
                    <a:pt x="40036" y="15756"/>
                  </a:cubicBezTo>
                  <a:close/>
                </a:path>
              </a:pathLst>
            </a:custGeom>
            <a:grpFill/>
            <a:ln w="86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61A1260-0DA4-E887-15EE-9CF30F145F5A}"/>
                </a:ext>
              </a:extLst>
            </p:cNvPr>
            <p:cNvSpPr/>
            <p:nvPr/>
          </p:nvSpPr>
          <p:spPr>
            <a:xfrm>
              <a:off x="10864589" y="599106"/>
              <a:ext cx="44943" cy="50797"/>
            </a:xfrm>
            <a:custGeom>
              <a:avLst/>
              <a:gdLst>
                <a:gd name="connsiteX0" fmla="*/ 44857 w 44943"/>
                <a:gd name="connsiteY0" fmla="*/ 0 h 50797"/>
                <a:gd name="connsiteX1" fmla="*/ 44857 w 44943"/>
                <a:gd name="connsiteY1" fmla="*/ 50023 h 50797"/>
                <a:gd name="connsiteX2" fmla="*/ 36506 w 44943"/>
                <a:gd name="connsiteY2" fmla="*/ 50023 h 50797"/>
                <a:gd name="connsiteX3" fmla="*/ 36506 w 44943"/>
                <a:gd name="connsiteY3" fmla="*/ 42619 h 50797"/>
                <a:gd name="connsiteX4" fmla="*/ 29876 w 44943"/>
                <a:gd name="connsiteY4" fmla="*/ 48646 h 50797"/>
                <a:gd name="connsiteX5" fmla="*/ 20491 w 44943"/>
                <a:gd name="connsiteY5" fmla="*/ 50798 h 50797"/>
                <a:gd name="connsiteX6" fmla="*/ 9987 w 44943"/>
                <a:gd name="connsiteY6" fmla="*/ 48387 h 50797"/>
                <a:gd name="connsiteX7" fmla="*/ 2669 w 44943"/>
                <a:gd name="connsiteY7" fmla="*/ 41155 h 50797"/>
                <a:gd name="connsiteX8" fmla="*/ 0 w 44943"/>
                <a:gd name="connsiteY8" fmla="*/ 29360 h 50797"/>
                <a:gd name="connsiteX9" fmla="*/ 0 w 44943"/>
                <a:gd name="connsiteY9" fmla="*/ 86 h 50797"/>
                <a:gd name="connsiteX10" fmla="*/ 8179 w 44943"/>
                <a:gd name="connsiteY10" fmla="*/ 86 h 50797"/>
                <a:gd name="connsiteX11" fmla="*/ 8179 w 44943"/>
                <a:gd name="connsiteY11" fmla="*/ 28326 h 50797"/>
                <a:gd name="connsiteX12" fmla="*/ 11968 w 44943"/>
                <a:gd name="connsiteY12" fmla="*/ 39691 h 50797"/>
                <a:gd name="connsiteX13" fmla="*/ 22213 w 44943"/>
                <a:gd name="connsiteY13" fmla="*/ 43652 h 50797"/>
                <a:gd name="connsiteX14" fmla="*/ 32717 w 44943"/>
                <a:gd name="connsiteY14" fmla="*/ 39519 h 50797"/>
                <a:gd name="connsiteX15" fmla="*/ 36592 w 44943"/>
                <a:gd name="connsiteY15" fmla="*/ 27551 h 50797"/>
                <a:gd name="connsiteX16" fmla="*/ 36592 w 44943"/>
                <a:gd name="connsiteY16" fmla="*/ 86 h 50797"/>
                <a:gd name="connsiteX17" fmla="*/ 44943 w 44943"/>
                <a:gd name="connsiteY17" fmla="*/ 86 h 50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4943" h="50797">
                  <a:moveTo>
                    <a:pt x="44857" y="0"/>
                  </a:moveTo>
                  <a:lnTo>
                    <a:pt x="44857" y="50023"/>
                  </a:lnTo>
                  <a:lnTo>
                    <a:pt x="36506" y="50023"/>
                  </a:lnTo>
                  <a:lnTo>
                    <a:pt x="36506" y="42619"/>
                  </a:lnTo>
                  <a:cubicBezTo>
                    <a:pt x="34956" y="45202"/>
                    <a:pt x="32717" y="47182"/>
                    <a:pt x="29876" y="48646"/>
                  </a:cubicBezTo>
                  <a:cubicBezTo>
                    <a:pt x="27035" y="50109"/>
                    <a:pt x="23935" y="50798"/>
                    <a:pt x="20491" y="50798"/>
                  </a:cubicBezTo>
                  <a:cubicBezTo>
                    <a:pt x="16617" y="50798"/>
                    <a:pt x="13087" y="50023"/>
                    <a:pt x="9987" y="48387"/>
                  </a:cubicBezTo>
                  <a:cubicBezTo>
                    <a:pt x="6888" y="46751"/>
                    <a:pt x="4391" y="44341"/>
                    <a:pt x="2669" y="41155"/>
                  </a:cubicBezTo>
                  <a:cubicBezTo>
                    <a:pt x="861" y="37883"/>
                    <a:pt x="0" y="34009"/>
                    <a:pt x="0" y="29360"/>
                  </a:cubicBezTo>
                  <a:lnTo>
                    <a:pt x="0" y="86"/>
                  </a:lnTo>
                  <a:lnTo>
                    <a:pt x="8179" y="86"/>
                  </a:lnTo>
                  <a:lnTo>
                    <a:pt x="8179" y="28326"/>
                  </a:lnTo>
                  <a:cubicBezTo>
                    <a:pt x="8179" y="33234"/>
                    <a:pt x="9471" y="37022"/>
                    <a:pt x="11968" y="39691"/>
                  </a:cubicBezTo>
                  <a:cubicBezTo>
                    <a:pt x="14465" y="42360"/>
                    <a:pt x="17908" y="43652"/>
                    <a:pt x="22213" y="43652"/>
                  </a:cubicBezTo>
                  <a:cubicBezTo>
                    <a:pt x="26518" y="43652"/>
                    <a:pt x="30134" y="42274"/>
                    <a:pt x="32717" y="39519"/>
                  </a:cubicBezTo>
                  <a:cubicBezTo>
                    <a:pt x="35300" y="36764"/>
                    <a:pt x="36592" y="32803"/>
                    <a:pt x="36592" y="27551"/>
                  </a:cubicBezTo>
                  <a:lnTo>
                    <a:pt x="36592" y="86"/>
                  </a:lnTo>
                  <a:lnTo>
                    <a:pt x="44943" y="86"/>
                  </a:lnTo>
                  <a:close/>
                </a:path>
              </a:pathLst>
            </a:custGeom>
            <a:grpFill/>
            <a:ln w="86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F067774C-9019-C345-F1A9-32B4E8F4CBF0}"/>
                </a:ext>
              </a:extLst>
            </p:cNvPr>
            <p:cNvSpPr/>
            <p:nvPr/>
          </p:nvSpPr>
          <p:spPr>
            <a:xfrm>
              <a:off x="10923481" y="581542"/>
              <a:ext cx="8351" cy="67587"/>
            </a:xfrm>
            <a:custGeom>
              <a:avLst/>
              <a:gdLst>
                <a:gd name="connsiteX0" fmla="*/ 8352 w 8351"/>
                <a:gd name="connsiteY0" fmla="*/ 0 h 67587"/>
                <a:gd name="connsiteX1" fmla="*/ 8352 w 8351"/>
                <a:gd name="connsiteY1" fmla="*/ 67587 h 67587"/>
                <a:gd name="connsiteX2" fmla="*/ 0 w 8351"/>
                <a:gd name="connsiteY2" fmla="*/ 67587 h 67587"/>
                <a:gd name="connsiteX3" fmla="*/ 0 w 8351"/>
                <a:gd name="connsiteY3" fmla="*/ 0 h 67587"/>
                <a:gd name="connsiteX4" fmla="*/ 8352 w 8351"/>
                <a:gd name="connsiteY4" fmla="*/ 0 h 67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351" h="67587">
                  <a:moveTo>
                    <a:pt x="8352" y="0"/>
                  </a:moveTo>
                  <a:lnTo>
                    <a:pt x="8352" y="67587"/>
                  </a:lnTo>
                  <a:lnTo>
                    <a:pt x="0" y="67587"/>
                  </a:lnTo>
                  <a:lnTo>
                    <a:pt x="0" y="0"/>
                  </a:lnTo>
                  <a:lnTo>
                    <a:pt x="8352" y="0"/>
                  </a:lnTo>
                  <a:close/>
                </a:path>
              </a:pathLst>
            </a:custGeom>
            <a:grpFill/>
            <a:ln w="86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BDBDE3E2-1C06-433C-E2EE-10C059F4D712}"/>
                </a:ext>
              </a:extLst>
            </p:cNvPr>
            <p:cNvSpPr/>
            <p:nvPr/>
          </p:nvSpPr>
          <p:spPr>
            <a:xfrm>
              <a:off x="10945780" y="598245"/>
              <a:ext cx="80674" cy="50884"/>
            </a:xfrm>
            <a:custGeom>
              <a:avLst/>
              <a:gdLst>
                <a:gd name="connsiteX0" fmla="*/ 70773 w 80674"/>
                <a:gd name="connsiteY0" fmla="*/ 2325 h 50884"/>
                <a:gd name="connsiteX1" fmla="*/ 78005 w 80674"/>
                <a:gd name="connsiteY1" fmla="*/ 9557 h 50884"/>
                <a:gd name="connsiteX2" fmla="*/ 80674 w 80674"/>
                <a:gd name="connsiteY2" fmla="*/ 21352 h 50884"/>
                <a:gd name="connsiteX3" fmla="*/ 80674 w 80674"/>
                <a:gd name="connsiteY3" fmla="*/ 50884 h 50884"/>
                <a:gd name="connsiteX4" fmla="*/ 72409 w 80674"/>
                <a:gd name="connsiteY4" fmla="*/ 50884 h 50884"/>
                <a:gd name="connsiteX5" fmla="*/ 72409 w 80674"/>
                <a:gd name="connsiteY5" fmla="*/ 22558 h 50884"/>
                <a:gd name="connsiteX6" fmla="*/ 68707 w 80674"/>
                <a:gd name="connsiteY6" fmla="*/ 11107 h 50884"/>
                <a:gd name="connsiteX7" fmla="*/ 58719 w 80674"/>
                <a:gd name="connsiteY7" fmla="*/ 7146 h 50884"/>
                <a:gd name="connsiteX8" fmla="*/ 48387 w 80674"/>
                <a:gd name="connsiteY8" fmla="*/ 11279 h 50884"/>
                <a:gd name="connsiteX9" fmla="*/ 44513 w 80674"/>
                <a:gd name="connsiteY9" fmla="*/ 23333 h 50884"/>
                <a:gd name="connsiteX10" fmla="*/ 44513 w 80674"/>
                <a:gd name="connsiteY10" fmla="*/ 50884 h 50884"/>
                <a:gd name="connsiteX11" fmla="*/ 36247 w 80674"/>
                <a:gd name="connsiteY11" fmla="*/ 50884 h 50884"/>
                <a:gd name="connsiteX12" fmla="*/ 36247 w 80674"/>
                <a:gd name="connsiteY12" fmla="*/ 22558 h 50884"/>
                <a:gd name="connsiteX13" fmla="*/ 32545 w 80674"/>
                <a:gd name="connsiteY13" fmla="*/ 11107 h 50884"/>
                <a:gd name="connsiteX14" fmla="*/ 22558 w 80674"/>
                <a:gd name="connsiteY14" fmla="*/ 7146 h 50884"/>
                <a:gd name="connsiteX15" fmla="*/ 12226 w 80674"/>
                <a:gd name="connsiteY15" fmla="*/ 11279 h 50884"/>
                <a:gd name="connsiteX16" fmla="*/ 8352 w 80674"/>
                <a:gd name="connsiteY16" fmla="*/ 23333 h 50884"/>
                <a:gd name="connsiteX17" fmla="*/ 8352 w 80674"/>
                <a:gd name="connsiteY17" fmla="*/ 50884 h 50884"/>
                <a:gd name="connsiteX18" fmla="*/ 0 w 80674"/>
                <a:gd name="connsiteY18" fmla="*/ 50884 h 50884"/>
                <a:gd name="connsiteX19" fmla="*/ 0 w 80674"/>
                <a:gd name="connsiteY19" fmla="*/ 861 h 50884"/>
                <a:gd name="connsiteX20" fmla="*/ 8352 w 80674"/>
                <a:gd name="connsiteY20" fmla="*/ 861 h 50884"/>
                <a:gd name="connsiteX21" fmla="*/ 8352 w 80674"/>
                <a:gd name="connsiteY21" fmla="*/ 8093 h 50884"/>
                <a:gd name="connsiteX22" fmla="*/ 14981 w 80674"/>
                <a:gd name="connsiteY22" fmla="*/ 2066 h 50884"/>
                <a:gd name="connsiteX23" fmla="*/ 24194 w 80674"/>
                <a:gd name="connsiteY23" fmla="*/ 0 h 50884"/>
                <a:gd name="connsiteX24" fmla="*/ 35300 w 80674"/>
                <a:gd name="connsiteY24" fmla="*/ 2841 h 50884"/>
                <a:gd name="connsiteX25" fmla="*/ 42533 w 80674"/>
                <a:gd name="connsiteY25" fmla="*/ 11107 h 50884"/>
                <a:gd name="connsiteX26" fmla="*/ 49507 w 80674"/>
                <a:gd name="connsiteY26" fmla="*/ 2927 h 50884"/>
                <a:gd name="connsiteX27" fmla="*/ 60269 w 80674"/>
                <a:gd name="connsiteY27" fmla="*/ 0 h 50884"/>
                <a:gd name="connsiteX28" fmla="*/ 70687 w 80674"/>
                <a:gd name="connsiteY28" fmla="*/ 2411 h 50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80674" h="50884">
                  <a:moveTo>
                    <a:pt x="70773" y="2325"/>
                  </a:moveTo>
                  <a:cubicBezTo>
                    <a:pt x="73786" y="3961"/>
                    <a:pt x="76197" y="6371"/>
                    <a:pt x="78005" y="9557"/>
                  </a:cubicBezTo>
                  <a:cubicBezTo>
                    <a:pt x="79727" y="12829"/>
                    <a:pt x="80674" y="16703"/>
                    <a:pt x="80674" y="21352"/>
                  </a:cubicBezTo>
                  <a:lnTo>
                    <a:pt x="80674" y="50884"/>
                  </a:lnTo>
                  <a:lnTo>
                    <a:pt x="72409" y="50884"/>
                  </a:lnTo>
                  <a:lnTo>
                    <a:pt x="72409" y="22558"/>
                  </a:lnTo>
                  <a:cubicBezTo>
                    <a:pt x="72409" y="17564"/>
                    <a:pt x="71203" y="13776"/>
                    <a:pt x="68707" y="11107"/>
                  </a:cubicBezTo>
                  <a:cubicBezTo>
                    <a:pt x="66210" y="8438"/>
                    <a:pt x="62938" y="7146"/>
                    <a:pt x="58719" y="7146"/>
                  </a:cubicBezTo>
                  <a:cubicBezTo>
                    <a:pt x="54500" y="7146"/>
                    <a:pt x="50970" y="8524"/>
                    <a:pt x="48387" y="11279"/>
                  </a:cubicBezTo>
                  <a:cubicBezTo>
                    <a:pt x="45804" y="14034"/>
                    <a:pt x="44513" y="18081"/>
                    <a:pt x="44513" y="23333"/>
                  </a:cubicBezTo>
                  <a:lnTo>
                    <a:pt x="44513" y="50884"/>
                  </a:lnTo>
                  <a:lnTo>
                    <a:pt x="36247" y="50884"/>
                  </a:lnTo>
                  <a:lnTo>
                    <a:pt x="36247" y="22558"/>
                  </a:lnTo>
                  <a:cubicBezTo>
                    <a:pt x="36247" y="17564"/>
                    <a:pt x="35042" y="13776"/>
                    <a:pt x="32545" y="11107"/>
                  </a:cubicBezTo>
                  <a:cubicBezTo>
                    <a:pt x="30048" y="8438"/>
                    <a:pt x="26777" y="7146"/>
                    <a:pt x="22558" y="7146"/>
                  </a:cubicBezTo>
                  <a:cubicBezTo>
                    <a:pt x="18339" y="7146"/>
                    <a:pt x="14809" y="8524"/>
                    <a:pt x="12226" y="11279"/>
                  </a:cubicBezTo>
                  <a:cubicBezTo>
                    <a:pt x="9643" y="14034"/>
                    <a:pt x="8352" y="18081"/>
                    <a:pt x="8352" y="23333"/>
                  </a:cubicBezTo>
                  <a:lnTo>
                    <a:pt x="8352" y="50884"/>
                  </a:lnTo>
                  <a:lnTo>
                    <a:pt x="0" y="50884"/>
                  </a:lnTo>
                  <a:lnTo>
                    <a:pt x="0" y="861"/>
                  </a:lnTo>
                  <a:lnTo>
                    <a:pt x="8352" y="861"/>
                  </a:lnTo>
                  <a:lnTo>
                    <a:pt x="8352" y="8093"/>
                  </a:lnTo>
                  <a:cubicBezTo>
                    <a:pt x="9987" y="5510"/>
                    <a:pt x="12226" y="3444"/>
                    <a:pt x="14981" y="2066"/>
                  </a:cubicBezTo>
                  <a:cubicBezTo>
                    <a:pt x="17736" y="689"/>
                    <a:pt x="20836" y="0"/>
                    <a:pt x="24194" y="0"/>
                  </a:cubicBezTo>
                  <a:cubicBezTo>
                    <a:pt x="28412" y="0"/>
                    <a:pt x="32115" y="947"/>
                    <a:pt x="35300" y="2841"/>
                  </a:cubicBezTo>
                  <a:cubicBezTo>
                    <a:pt x="38572" y="4735"/>
                    <a:pt x="40897" y="7491"/>
                    <a:pt x="42533" y="11107"/>
                  </a:cubicBezTo>
                  <a:cubicBezTo>
                    <a:pt x="43910" y="7577"/>
                    <a:pt x="46235" y="4822"/>
                    <a:pt x="49507" y="2927"/>
                  </a:cubicBezTo>
                  <a:cubicBezTo>
                    <a:pt x="52778" y="947"/>
                    <a:pt x="56308" y="0"/>
                    <a:pt x="60269" y="0"/>
                  </a:cubicBezTo>
                  <a:cubicBezTo>
                    <a:pt x="64229" y="0"/>
                    <a:pt x="67673" y="775"/>
                    <a:pt x="70687" y="2411"/>
                  </a:cubicBezTo>
                  <a:close/>
                </a:path>
              </a:pathLst>
            </a:custGeom>
            <a:grpFill/>
            <a:ln w="86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2D4717F9-432C-787A-C926-7C5569B6FD20}"/>
                </a:ext>
              </a:extLst>
            </p:cNvPr>
            <p:cNvSpPr/>
            <p:nvPr/>
          </p:nvSpPr>
          <p:spPr>
            <a:xfrm>
              <a:off x="11036958" y="598073"/>
              <a:ext cx="50798" cy="51745"/>
            </a:xfrm>
            <a:custGeom>
              <a:avLst/>
              <a:gdLst>
                <a:gd name="connsiteX0" fmla="*/ 12226 w 50798"/>
                <a:gd name="connsiteY0" fmla="*/ 48646 h 51745"/>
                <a:gd name="connsiteX1" fmla="*/ 3272 w 50798"/>
                <a:gd name="connsiteY1" fmla="*/ 39519 h 51745"/>
                <a:gd name="connsiteX2" fmla="*/ 0 w 50798"/>
                <a:gd name="connsiteY2" fmla="*/ 25829 h 51745"/>
                <a:gd name="connsiteX3" fmla="*/ 3358 w 50798"/>
                <a:gd name="connsiteY3" fmla="*/ 12226 h 51745"/>
                <a:gd name="connsiteX4" fmla="*/ 12484 w 50798"/>
                <a:gd name="connsiteY4" fmla="*/ 3186 h 51745"/>
                <a:gd name="connsiteX5" fmla="*/ 25399 w 50798"/>
                <a:gd name="connsiteY5" fmla="*/ 0 h 51745"/>
                <a:gd name="connsiteX6" fmla="*/ 38314 w 50798"/>
                <a:gd name="connsiteY6" fmla="*/ 3186 h 51745"/>
                <a:gd name="connsiteX7" fmla="*/ 47440 w 50798"/>
                <a:gd name="connsiteY7" fmla="*/ 12140 h 51745"/>
                <a:gd name="connsiteX8" fmla="*/ 50798 w 50798"/>
                <a:gd name="connsiteY8" fmla="*/ 25743 h 51745"/>
                <a:gd name="connsiteX9" fmla="*/ 47354 w 50798"/>
                <a:gd name="connsiteY9" fmla="*/ 39433 h 51745"/>
                <a:gd name="connsiteX10" fmla="*/ 38056 w 50798"/>
                <a:gd name="connsiteY10" fmla="*/ 48559 h 51745"/>
                <a:gd name="connsiteX11" fmla="*/ 25055 w 50798"/>
                <a:gd name="connsiteY11" fmla="*/ 51745 h 51745"/>
                <a:gd name="connsiteX12" fmla="*/ 12312 w 50798"/>
                <a:gd name="connsiteY12" fmla="*/ 48559 h 51745"/>
                <a:gd name="connsiteX13" fmla="*/ 33406 w 50798"/>
                <a:gd name="connsiteY13" fmla="*/ 42446 h 51745"/>
                <a:gd name="connsiteX14" fmla="*/ 39778 w 50798"/>
                <a:gd name="connsiteY14" fmla="*/ 36161 h 51745"/>
                <a:gd name="connsiteX15" fmla="*/ 42188 w 50798"/>
                <a:gd name="connsiteY15" fmla="*/ 25916 h 51745"/>
                <a:gd name="connsiteX16" fmla="*/ 39778 w 50798"/>
                <a:gd name="connsiteY16" fmla="*/ 15670 h 51745"/>
                <a:gd name="connsiteX17" fmla="*/ 33578 w 50798"/>
                <a:gd name="connsiteY17" fmla="*/ 9385 h 51745"/>
                <a:gd name="connsiteX18" fmla="*/ 25227 w 50798"/>
                <a:gd name="connsiteY18" fmla="*/ 7318 h 51745"/>
                <a:gd name="connsiteX19" fmla="*/ 16875 w 50798"/>
                <a:gd name="connsiteY19" fmla="*/ 9385 h 51745"/>
                <a:gd name="connsiteX20" fmla="*/ 10762 w 50798"/>
                <a:gd name="connsiteY20" fmla="*/ 15670 h 51745"/>
                <a:gd name="connsiteX21" fmla="*/ 8438 w 50798"/>
                <a:gd name="connsiteY21" fmla="*/ 25916 h 51745"/>
                <a:gd name="connsiteX22" fmla="*/ 10676 w 50798"/>
                <a:gd name="connsiteY22" fmla="*/ 36247 h 51745"/>
                <a:gd name="connsiteX23" fmla="*/ 16617 w 50798"/>
                <a:gd name="connsiteY23" fmla="*/ 42533 h 51745"/>
                <a:gd name="connsiteX24" fmla="*/ 24796 w 50798"/>
                <a:gd name="connsiteY24" fmla="*/ 44599 h 51745"/>
                <a:gd name="connsiteX25" fmla="*/ 33234 w 50798"/>
                <a:gd name="connsiteY25" fmla="*/ 42533 h 51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50798" h="51745">
                  <a:moveTo>
                    <a:pt x="12226" y="48646"/>
                  </a:moveTo>
                  <a:cubicBezTo>
                    <a:pt x="8438" y="46493"/>
                    <a:pt x="5424" y="43480"/>
                    <a:pt x="3272" y="39519"/>
                  </a:cubicBezTo>
                  <a:cubicBezTo>
                    <a:pt x="1119" y="35559"/>
                    <a:pt x="0" y="31081"/>
                    <a:pt x="0" y="25829"/>
                  </a:cubicBezTo>
                  <a:cubicBezTo>
                    <a:pt x="0" y="20577"/>
                    <a:pt x="1119" y="16186"/>
                    <a:pt x="3358" y="12226"/>
                  </a:cubicBezTo>
                  <a:cubicBezTo>
                    <a:pt x="5596" y="8265"/>
                    <a:pt x="8610" y="5252"/>
                    <a:pt x="12484" y="3186"/>
                  </a:cubicBezTo>
                  <a:cubicBezTo>
                    <a:pt x="16359" y="1119"/>
                    <a:pt x="20578" y="0"/>
                    <a:pt x="25399" y="0"/>
                  </a:cubicBezTo>
                  <a:cubicBezTo>
                    <a:pt x="30221" y="0"/>
                    <a:pt x="34439" y="1033"/>
                    <a:pt x="38314" y="3186"/>
                  </a:cubicBezTo>
                  <a:cubicBezTo>
                    <a:pt x="42188" y="5252"/>
                    <a:pt x="45202" y="8265"/>
                    <a:pt x="47440" y="12140"/>
                  </a:cubicBezTo>
                  <a:cubicBezTo>
                    <a:pt x="49679" y="16014"/>
                    <a:pt x="50798" y="20577"/>
                    <a:pt x="50798" y="25743"/>
                  </a:cubicBezTo>
                  <a:cubicBezTo>
                    <a:pt x="50798" y="30909"/>
                    <a:pt x="49679" y="35472"/>
                    <a:pt x="47354" y="39433"/>
                  </a:cubicBezTo>
                  <a:cubicBezTo>
                    <a:pt x="45030" y="43394"/>
                    <a:pt x="42016" y="46407"/>
                    <a:pt x="38056" y="48559"/>
                  </a:cubicBezTo>
                  <a:cubicBezTo>
                    <a:pt x="34181" y="50712"/>
                    <a:pt x="29790" y="51745"/>
                    <a:pt x="25055" y="51745"/>
                  </a:cubicBezTo>
                  <a:cubicBezTo>
                    <a:pt x="20319" y="51745"/>
                    <a:pt x="16100" y="50712"/>
                    <a:pt x="12312" y="48559"/>
                  </a:cubicBezTo>
                  <a:close/>
                  <a:moveTo>
                    <a:pt x="33406" y="42446"/>
                  </a:moveTo>
                  <a:cubicBezTo>
                    <a:pt x="35989" y="41069"/>
                    <a:pt x="38142" y="38916"/>
                    <a:pt x="39778" y="36161"/>
                  </a:cubicBezTo>
                  <a:cubicBezTo>
                    <a:pt x="41413" y="33406"/>
                    <a:pt x="42188" y="29962"/>
                    <a:pt x="42188" y="25916"/>
                  </a:cubicBezTo>
                  <a:cubicBezTo>
                    <a:pt x="42188" y="21869"/>
                    <a:pt x="41413" y="18511"/>
                    <a:pt x="39778" y="15670"/>
                  </a:cubicBezTo>
                  <a:cubicBezTo>
                    <a:pt x="38228" y="12829"/>
                    <a:pt x="36161" y="10762"/>
                    <a:pt x="33578" y="9385"/>
                  </a:cubicBezTo>
                  <a:cubicBezTo>
                    <a:pt x="30995" y="8007"/>
                    <a:pt x="28240" y="7318"/>
                    <a:pt x="25227" y="7318"/>
                  </a:cubicBezTo>
                  <a:cubicBezTo>
                    <a:pt x="22213" y="7318"/>
                    <a:pt x="19372" y="8007"/>
                    <a:pt x="16875" y="9385"/>
                  </a:cubicBezTo>
                  <a:cubicBezTo>
                    <a:pt x="14378" y="10762"/>
                    <a:pt x="12312" y="12829"/>
                    <a:pt x="10762" y="15670"/>
                  </a:cubicBezTo>
                  <a:cubicBezTo>
                    <a:pt x="9213" y="18511"/>
                    <a:pt x="8438" y="21869"/>
                    <a:pt x="8438" y="25916"/>
                  </a:cubicBezTo>
                  <a:cubicBezTo>
                    <a:pt x="8438" y="29962"/>
                    <a:pt x="9213" y="33406"/>
                    <a:pt x="10676" y="36247"/>
                  </a:cubicBezTo>
                  <a:cubicBezTo>
                    <a:pt x="12140" y="39089"/>
                    <a:pt x="14120" y="41155"/>
                    <a:pt x="16617" y="42533"/>
                  </a:cubicBezTo>
                  <a:cubicBezTo>
                    <a:pt x="19114" y="43910"/>
                    <a:pt x="21869" y="44599"/>
                    <a:pt x="24796" y="44599"/>
                  </a:cubicBezTo>
                  <a:cubicBezTo>
                    <a:pt x="27724" y="44599"/>
                    <a:pt x="30565" y="43910"/>
                    <a:pt x="33234" y="42533"/>
                  </a:cubicBezTo>
                  <a:close/>
                </a:path>
              </a:pathLst>
            </a:custGeom>
            <a:grpFill/>
            <a:ln w="86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D235580-9960-5E0B-FE1F-8D5C8332F528}"/>
                </a:ext>
              </a:extLst>
            </p:cNvPr>
            <p:cNvSpPr/>
            <p:nvPr/>
          </p:nvSpPr>
          <p:spPr>
            <a:xfrm>
              <a:off x="11098519" y="598245"/>
              <a:ext cx="44857" cy="50884"/>
            </a:xfrm>
            <a:custGeom>
              <a:avLst/>
              <a:gdLst>
                <a:gd name="connsiteX0" fmla="*/ 39175 w 44857"/>
                <a:gd name="connsiteY0" fmla="*/ 5424 h 50884"/>
                <a:gd name="connsiteX1" fmla="*/ 44857 w 44857"/>
                <a:gd name="connsiteY1" fmla="*/ 21352 h 50884"/>
                <a:gd name="connsiteX2" fmla="*/ 44857 w 44857"/>
                <a:gd name="connsiteY2" fmla="*/ 50884 h 50884"/>
                <a:gd name="connsiteX3" fmla="*/ 36678 w 44857"/>
                <a:gd name="connsiteY3" fmla="*/ 50884 h 50884"/>
                <a:gd name="connsiteX4" fmla="*/ 36678 w 44857"/>
                <a:gd name="connsiteY4" fmla="*/ 22558 h 50884"/>
                <a:gd name="connsiteX5" fmla="*/ 32890 w 44857"/>
                <a:gd name="connsiteY5" fmla="*/ 11107 h 50884"/>
                <a:gd name="connsiteX6" fmla="*/ 22644 w 44857"/>
                <a:gd name="connsiteY6" fmla="*/ 7146 h 50884"/>
                <a:gd name="connsiteX7" fmla="*/ 12226 w 44857"/>
                <a:gd name="connsiteY7" fmla="*/ 11279 h 50884"/>
                <a:gd name="connsiteX8" fmla="*/ 8352 w 44857"/>
                <a:gd name="connsiteY8" fmla="*/ 23247 h 50884"/>
                <a:gd name="connsiteX9" fmla="*/ 8352 w 44857"/>
                <a:gd name="connsiteY9" fmla="*/ 50884 h 50884"/>
                <a:gd name="connsiteX10" fmla="*/ 0 w 44857"/>
                <a:gd name="connsiteY10" fmla="*/ 50884 h 50884"/>
                <a:gd name="connsiteX11" fmla="*/ 0 w 44857"/>
                <a:gd name="connsiteY11" fmla="*/ 861 h 50884"/>
                <a:gd name="connsiteX12" fmla="*/ 8352 w 44857"/>
                <a:gd name="connsiteY12" fmla="*/ 861 h 50884"/>
                <a:gd name="connsiteX13" fmla="*/ 8352 w 44857"/>
                <a:gd name="connsiteY13" fmla="*/ 8007 h 50884"/>
                <a:gd name="connsiteX14" fmla="*/ 15067 w 44857"/>
                <a:gd name="connsiteY14" fmla="*/ 2066 h 50884"/>
                <a:gd name="connsiteX15" fmla="*/ 24452 w 44857"/>
                <a:gd name="connsiteY15" fmla="*/ 0 h 50884"/>
                <a:gd name="connsiteX16" fmla="*/ 39261 w 44857"/>
                <a:gd name="connsiteY16" fmla="*/ 5510 h 50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4857" h="50884">
                  <a:moveTo>
                    <a:pt x="39175" y="5424"/>
                  </a:moveTo>
                  <a:cubicBezTo>
                    <a:pt x="42963" y="9126"/>
                    <a:pt x="44857" y="14378"/>
                    <a:pt x="44857" y="21352"/>
                  </a:cubicBezTo>
                  <a:lnTo>
                    <a:pt x="44857" y="50884"/>
                  </a:lnTo>
                  <a:lnTo>
                    <a:pt x="36678" y="50884"/>
                  </a:lnTo>
                  <a:lnTo>
                    <a:pt x="36678" y="22558"/>
                  </a:lnTo>
                  <a:cubicBezTo>
                    <a:pt x="36678" y="17564"/>
                    <a:pt x="35386" y="13776"/>
                    <a:pt x="32890" y="11107"/>
                  </a:cubicBezTo>
                  <a:cubicBezTo>
                    <a:pt x="30393" y="8438"/>
                    <a:pt x="26949" y="7146"/>
                    <a:pt x="22644" y="7146"/>
                  </a:cubicBezTo>
                  <a:cubicBezTo>
                    <a:pt x="18339" y="7146"/>
                    <a:pt x="14809" y="8524"/>
                    <a:pt x="12226" y="11279"/>
                  </a:cubicBezTo>
                  <a:cubicBezTo>
                    <a:pt x="9643" y="14034"/>
                    <a:pt x="8352" y="17995"/>
                    <a:pt x="8352" y="23247"/>
                  </a:cubicBezTo>
                  <a:lnTo>
                    <a:pt x="8352" y="50884"/>
                  </a:lnTo>
                  <a:lnTo>
                    <a:pt x="0" y="50884"/>
                  </a:lnTo>
                  <a:lnTo>
                    <a:pt x="0" y="861"/>
                  </a:lnTo>
                  <a:lnTo>
                    <a:pt x="8352" y="861"/>
                  </a:lnTo>
                  <a:lnTo>
                    <a:pt x="8352" y="8007"/>
                  </a:lnTo>
                  <a:cubicBezTo>
                    <a:pt x="9987" y="5424"/>
                    <a:pt x="12226" y="3444"/>
                    <a:pt x="15067" y="2066"/>
                  </a:cubicBezTo>
                  <a:cubicBezTo>
                    <a:pt x="17908" y="689"/>
                    <a:pt x="21008" y="0"/>
                    <a:pt x="24452" y="0"/>
                  </a:cubicBezTo>
                  <a:cubicBezTo>
                    <a:pt x="30565" y="0"/>
                    <a:pt x="35473" y="1808"/>
                    <a:pt x="39261" y="5510"/>
                  </a:cubicBezTo>
                  <a:close/>
                </a:path>
              </a:pathLst>
            </a:custGeom>
            <a:grpFill/>
            <a:ln w="86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908809E2-AAA2-6653-3C3D-A37BC53477EA}"/>
                </a:ext>
              </a:extLst>
            </p:cNvPr>
            <p:cNvSpPr/>
            <p:nvPr/>
          </p:nvSpPr>
          <p:spPr>
            <a:xfrm>
              <a:off x="11153794" y="598073"/>
              <a:ext cx="50798" cy="51745"/>
            </a:xfrm>
            <a:custGeom>
              <a:avLst/>
              <a:gdLst>
                <a:gd name="connsiteX0" fmla="*/ 12226 w 50798"/>
                <a:gd name="connsiteY0" fmla="*/ 48646 h 51745"/>
                <a:gd name="connsiteX1" fmla="*/ 3272 w 50798"/>
                <a:gd name="connsiteY1" fmla="*/ 39519 h 51745"/>
                <a:gd name="connsiteX2" fmla="*/ 0 w 50798"/>
                <a:gd name="connsiteY2" fmla="*/ 25829 h 51745"/>
                <a:gd name="connsiteX3" fmla="*/ 3358 w 50798"/>
                <a:gd name="connsiteY3" fmla="*/ 12226 h 51745"/>
                <a:gd name="connsiteX4" fmla="*/ 12484 w 50798"/>
                <a:gd name="connsiteY4" fmla="*/ 3186 h 51745"/>
                <a:gd name="connsiteX5" fmla="*/ 25399 w 50798"/>
                <a:gd name="connsiteY5" fmla="*/ 0 h 51745"/>
                <a:gd name="connsiteX6" fmla="*/ 38314 w 50798"/>
                <a:gd name="connsiteY6" fmla="*/ 3186 h 51745"/>
                <a:gd name="connsiteX7" fmla="*/ 47440 w 50798"/>
                <a:gd name="connsiteY7" fmla="*/ 12140 h 51745"/>
                <a:gd name="connsiteX8" fmla="*/ 50798 w 50798"/>
                <a:gd name="connsiteY8" fmla="*/ 25743 h 51745"/>
                <a:gd name="connsiteX9" fmla="*/ 47354 w 50798"/>
                <a:gd name="connsiteY9" fmla="*/ 39433 h 51745"/>
                <a:gd name="connsiteX10" fmla="*/ 38056 w 50798"/>
                <a:gd name="connsiteY10" fmla="*/ 48559 h 51745"/>
                <a:gd name="connsiteX11" fmla="*/ 25055 w 50798"/>
                <a:gd name="connsiteY11" fmla="*/ 51745 h 51745"/>
                <a:gd name="connsiteX12" fmla="*/ 12312 w 50798"/>
                <a:gd name="connsiteY12" fmla="*/ 48559 h 51745"/>
                <a:gd name="connsiteX13" fmla="*/ 33406 w 50798"/>
                <a:gd name="connsiteY13" fmla="*/ 42446 h 51745"/>
                <a:gd name="connsiteX14" fmla="*/ 39778 w 50798"/>
                <a:gd name="connsiteY14" fmla="*/ 36161 h 51745"/>
                <a:gd name="connsiteX15" fmla="*/ 42188 w 50798"/>
                <a:gd name="connsiteY15" fmla="*/ 25916 h 51745"/>
                <a:gd name="connsiteX16" fmla="*/ 39778 w 50798"/>
                <a:gd name="connsiteY16" fmla="*/ 15670 h 51745"/>
                <a:gd name="connsiteX17" fmla="*/ 33578 w 50798"/>
                <a:gd name="connsiteY17" fmla="*/ 9385 h 51745"/>
                <a:gd name="connsiteX18" fmla="*/ 25227 w 50798"/>
                <a:gd name="connsiteY18" fmla="*/ 7318 h 51745"/>
                <a:gd name="connsiteX19" fmla="*/ 16875 w 50798"/>
                <a:gd name="connsiteY19" fmla="*/ 9385 h 51745"/>
                <a:gd name="connsiteX20" fmla="*/ 10762 w 50798"/>
                <a:gd name="connsiteY20" fmla="*/ 15670 h 51745"/>
                <a:gd name="connsiteX21" fmla="*/ 8438 w 50798"/>
                <a:gd name="connsiteY21" fmla="*/ 25916 h 51745"/>
                <a:gd name="connsiteX22" fmla="*/ 10676 w 50798"/>
                <a:gd name="connsiteY22" fmla="*/ 36247 h 51745"/>
                <a:gd name="connsiteX23" fmla="*/ 16617 w 50798"/>
                <a:gd name="connsiteY23" fmla="*/ 42533 h 51745"/>
                <a:gd name="connsiteX24" fmla="*/ 24796 w 50798"/>
                <a:gd name="connsiteY24" fmla="*/ 44599 h 51745"/>
                <a:gd name="connsiteX25" fmla="*/ 33234 w 50798"/>
                <a:gd name="connsiteY25" fmla="*/ 42533 h 51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50798" h="51745">
                  <a:moveTo>
                    <a:pt x="12226" y="48646"/>
                  </a:moveTo>
                  <a:cubicBezTo>
                    <a:pt x="8438" y="46493"/>
                    <a:pt x="5424" y="43480"/>
                    <a:pt x="3272" y="39519"/>
                  </a:cubicBezTo>
                  <a:cubicBezTo>
                    <a:pt x="1119" y="35559"/>
                    <a:pt x="0" y="31081"/>
                    <a:pt x="0" y="25829"/>
                  </a:cubicBezTo>
                  <a:cubicBezTo>
                    <a:pt x="0" y="20577"/>
                    <a:pt x="1119" y="16186"/>
                    <a:pt x="3358" y="12226"/>
                  </a:cubicBezTo>
                  <a:cubicBezTo>
                    <a:pt x="5596" y="8265"/>
                    <a:pt x="8610" y="5252"/>
                    <a:pt x="12484" y="3186"/>
                  </a:cubicBezTo>
                  <a:cubicBezTo>
                    <a:pt x="16359" y="1119"/>
                    <a:pt x="20578" y="0"/>
                    <a:pt x="25399" y="0"/>
                  </a:cubicBezTo>
                  <a:cubicBezTo>
                    <a:pt x="30221" y="0"/>
                    <a:pt x="34439" y="1033"/>
                    <a:pt x="38314" y="3186"/>
                  </a:cubicBezTo>
                  <a:cubicBezTo>
                    <a:pt x="42188" y="5252"/>
                    <a:pt x="45202" y="8265"/>
                    <a:pt x="47440" y="12140"/>
                  </a:cubicBezTo>
                  <a:cubicBezTo>
                    <a:pt x="49679" y="16014"/>
                    <a:pt x="50798" y="20577"/>
                    <a:pt x="50798" y="25743"/>
                  </a:cubicBezTo>
                  <a:cubicBezTo>
                    <a:pt x="50798" y="30909"/>
                    <a:pt x="49679" y="35472"/>
                    <a:pt x="47354" y="39433"/>
                  </a:cubicBezTo>
                  <a:cubicBezTo>
                    <a:pt x="45030" y="43394"/>
                    <a:pt x="42016" y="46407"/>
                    <a:pt x="38056" y="48559"/>
                  </a:cubicBezTo>
                  <a:cubicBezTo>
                    <a:pt x="34181" y="50712"/>
                    <a:pt x="29790" y="51745"/>
                    <a:pt x="25055" y="51745"/>
                  </a:cubicBezTo>
                  <a:cubicBezTo>
                    <a:pt x="20319" y="51745"/>
                    <a:pt x="16100" y="50712"/>
                    <a:pt x="12312" y="48559"/>
                  </a:cubicBezTo>
                  <a:close/>
                  <a:moveTo>
                    <a:pt x="33406" y="42446"/>
                  </a:moveTo>
                  <a:cubicBezTo>
                    <a:pt x="35989" y="41069"/>
                    <a:pt x="38142" y="38916"/>
                    <a:pt x="39778" y="36161"/>
                  </a:cubicBezTo>
                  <a:cubicBezTo>
                    <a:pt x="41413" y="33406"/>
                    <a:pt x="42188" y="29962"/>
                    <a:pt x="42188" y="25916"/>
                  </a:cubicBezTo>
                  <a:cubicBezTo>
                    <a:pt x="42188" y="21869"/>
                    <a:pt x="41413" y="18511"/>
                    <a:pt x="39778" y="15670"/>
                  </a:cubicBezTo>
                  <a:cubicBezTo>
                    <a:pt x="38228" y="12829"/>
                    <a:pt x="36161" y="10762"/>
                    <a:pt x="33578" y="9385"/>
                  </a:cubicBezTo>
                  <a:cubicBezTo>
                    <a:pt x="30995" y="8007"/>
                    <a:pt x="28240" y="7318"/>
                    <a:pt x="25227" y="7318"/>
                  </a:cubicBezTo>
                  <a:cubicBezTo>
                    <a:pt x="22213" y="7318"/>
                    <a:pt x="19372" y="8007"/>
                    <a:pt x="16875" y="9385"/>
                  </a:cubicBezTo>
                  <a:cubicBezTo>
                    <a:pt x="14378" y="10762"/>
                    <a:pt x="12312" y="12829"/>
                    <a:pt x="10762" y="15670"/>
                  </a:cubicBezTo>
                  <a:cubicBezTo>
                    <a:pt x="9213" y="18511"/>
                    <a:pt x="8438" y="21869"/>
                    <a:pt x="8438" y="25916"/>
                  </a:cubicBezTo>
                  <a:cubicBezTo>
                    <a:pt x="8438" y="29962"/>
                    <a:pt x="9213" y="33406"/>
                    <a:pt x="10676" y="36247"/>
                  </a:cubicBezTo>
                  <a:cubicBezTo>
                    <a:pt x="12140" y="39089"/>
                    <a:pt x="14120" y="41155"/>
                    <a:pt x="16617" y="42533"/>
                  </a:cubicBezTo>
                  <a:cubicBezTo>
                    <a:pt x="19114" y="43910"/>
                    <a:pt x="21869" y="44599"/>
                    <a:pt x="24796" y="44599"/>
                  </a:cubicBezTo>
                  <a:cubicBezTo>
                    <a:pt x="27724" y="44599"/>
                    <a:pt x="30565" y="43910"/>
                    <a:pt x="33234" y="42533"/>
                  </a:cubicBezTo>
                  <a:close/>
                </a:path>
              </a:pathLst>
            </a:custGeom>
            <a:grpFill/>
            <a:ln w="86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696D27C6-C361-63E5-A8CF-270E548DEC8C}"/>
                </a:ext>
              </a:extLst>
            </p:cNvPr>
            <p:cNvSpPr/>
            <p:nvPr/>
          </p:nvSpPr>
          <p:spPr>
            <a:xfrm>
              <a:off x="11215354" y="581542"/>
              <a:ext cx="8351" cy="67587"/>
            </a:xfrm>
            <a:custGeom>
              <a:avLst/>
              <a:gdLst>
                <a:gd name="connsiteX0" fmla="*/ 8352 w 8351"/>
                <a:gd name="connsiteY0" fmla="*/ 0 h 67587"/>
                <a:gd name="connsiteX1" fmla="*/ 8352 w 8351"/>
                <a:gd name="connsiteY1" fmla="*/ 67587 h 67587"/>
                <a:gd name="connsiteX2" fmla="*/ 0 w 8351"/>
                <a:gd name="connsiteY2" fmla="*/ 67587 h 67587"/>
                <a:gd name="connsiteX3" fmla="*/ 0 w 8351"/>
                <a:gd name="connsiteY3" fmla="*/ 0 h 67587"/>
                <a:gd name="connsiteX4" fmla="*/ 8352 w 8351"/>
                <a:gd name="connsiteY4" fmla="*/ 0 h 67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351" h="67587">
                  <a:moveTo>
                    <a:pt x="8352" y="0"/>
                  </a:moveTo>
                  <a:lnTo>
                    <a:pt x="8352" y="67587"/>
                  </a:lnTo>
                  <a:lnTo>
                    <a:pt x="0" y="67587"/>
                  </a:lnTo>
                  <a:lnTo>
                    <a:pt x="0" y="0"/>
                  </a:lnTo>
                  <a:lnTo>
                    <a:pt x="8352" y="0"/>
                  </a:lnTo>
                  <a:close/>
                </a:path>
              </a:pathLst>
            </a:custGeom>
            <a:grpFill/>
            <a:ln w="86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F1271425-149C-71D6-B705-01DAEF0E8DA9}"/>
                </a:ext>
              </a:extLst>
            </p:cNvPr>
            <p:cNvSpPr/>
            <p:nvPr/>
          </p:nvSpPr>
          <p:spPr>
            <a:xfrm>
              <a:off x="11234727" y="598073"/>
              <a:ext cx="50798" cy="51745"/>
            </a:xfrm>
            <a:custGeom>
              <a:avLst/>
              <a:gdLst>
                <a:gd name="connsiteX0" fmla="*/ 12226 w 50798"/>
                <a:gd name="connsiteY0" fmla="*/ 48646 h 51745"/>
                <a:gd name="connsiteX1" fmla="*/ 3272 w 50798"/>
                <a:gd name="connsiteY1" fmla="*/ 39519 h 51745"/>
                <a:gd name="connsiteX2" fmla="*/ 0 w 50798"/>
                <a:gd name="connsiteY2" fmla="*/ 25829 h 51745"/>
                <a:gd name="connsiteX3" fmla="*/ 3358 w 50798"/>
                <a:gd name="connsiteY3" fmla="*/ 12226 h 51745"/>
                <a:gd name="connsiteX4" fmla="*/ 12484 w 50798"/>
                <a:gd name="connsiteY4" fmla="*/ 3186 h 51745"/>
                <a:gd name="connsiteX5" fmla="*/ 25399 w 50798"/>
                <a:gd name="connsiteY5" fmla="*/ 0 h 51745"/>
                <a:gd name="connsiteX6" fmla="*/ 38314 w 50798"/>
                <a:gd name="connsiteY6" fmla="*/ 3186 h 51745"/>
                <a:gd name="connsiteX7" fmla="*/ 47440 w 50798"/>
                <a:gd name="connsiteY7" fmla="*/ 12140 h 51745"/>
                <a:gd name="connsiteX8" fmla="*/ 50798 w 50798"/>
                <a:gd name="connsiteY8" fmla="*/ 25743 h 51745"/>
                <a:gd name="connsiteX9" fmla="*/ 47354 w 50798"/>
                <a:gd name="connsiteY9" fmla="*/ 39433 h 51745"/>
                <a:gd name="connsiteX10" fmla="*/ 38056 w 50798"/>
                <a:gd name="connsiteY10" fmla="*/ 48559 h 51745"/>
                <a:gd name="connsiteX11" fmla="*/ 25055 w 50798"/>
                <a:gd name="connsiteY11" fmla="*/ 51745 h 51745"/>
                <a:gd name="connsiteX12" fmla="*/ 12312 w 50798"/>
                <a:gd name="connsiteY12" fmla="*/ 48559 h 51745"/>
                <a:gd name="connsiteX13" fmla="*/ 33406 w 50798"/>
                <a:gd name="connsiteY13" fmla="*/ 42446 h 51745"/>
                <a:gd name="connsiteX14" fmla="*/ 39778 w 50798"/>
                <a:gd name="connsiteY14" fmla="*/ 36161 h 51745"/>
                <a:gd name="connsiteX15" fmla="*/ 42188 w 50798"/>
                <a:gd name="connsiteY15" fmla="*/ 25916 h 51745"/>
                <a:gd name="connsiteX16" fmla="*/ 39778 w 50798"/>
                <a:gd name="connsiteY16" fmla="*/ 15670 h 51745"/>
                <a:gd name="connsiteX17" fmla="*/ 33578 w 50798"/>
                <a:gd name="connsiteY17" fmla="*/ 9385 h 51745"/>
                <a:gd name="connsiteX18" fmla="*/ 25227 w 50798"/>
                <a:gd name="connsiteY18" fmla="*/ 7318 h 51745"/>
                <a:gd name="connsiteX19" fmla="*/ 16875 w 50798"/>
                <a:gd name="connsiteY19" fmla="*/ 9385 h 51745"/>
                <a:gd name="connsiteX20" fmla="*/ 10762 w 50798"/>
                <a:gd name="connsiteY20" fmla="*/ 15670 h 51745"/>
                <a:gd name="connsiteX21" fmla="*/ 8438 w 50798"/>
                <a:gd name="connsiteY21" fmla="*/ 25916 h 51745"/>
                <a:gd name="connsiteX22" fmla="*/ 10676 w 50798"/>
                <a:gd name="connsiteY22" fmla="*/ 36247 h 51745"/>
                <a:gd name="connsiteX23" fmla="*/ 16617 w 50798"/>
                <a:gd name="connsiteY23" fmla="*/ 42533 h 51745"/>
                <a:gd name="connsiteX24" fmla="*/ 24796 w 50798"/>
                <a:gd name="connsiteY24" fmla="*/ 44599 h 51745"/>
                <a:gd name="connsiteX25" fmla="*/ 33234 w 50798"/>
                <a:gd name="connsiteY25" fmla="*/ 42533 h 51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50798" h="51745">
                  <a:moveTo>
                    <a:pt x="12226" y="48646"/>
                  </a:moveTo>
                  <a:cubicBezTo>
                    <a:pt x="8438" y="46493"/>
                    <a:pt x="5424" y="43480"/>
                    <a:pt x="3272" y="39519"/>
                  </a:cubicBezTo>
                  <a:cubicBezTo>
                    <a:pt x="1119" y="35559"/>
                    <a:pt x="0" y="31081"/>
                    <a:pt x="0" y="25829"/>
                  </a:cubicBezTo>
                  <a:cubicBezTo>
                    <a:pt x="0" y="20577"/>
                    <a:pt x="1119" y="16186"/>
                    <a:pt x="3358" y="12226"/>
                  </a:cubicBezTo>
                  <a:cubicBezTo>
                    <a:pt x="5596" y="8265"/>
                    <a:pt x="8610" y="5252"/>
                    <a:pt x="12484" y="3186"/>
                  </a:cubicBezTo>
                  <a:cubicBezTo>
                    <a:pt x="16359" y="1119"/>
                    <a:pt x="20578" y="0"/>
                    <a:pt x="25399" y="0"/>
                  </a:cubicBezTo>
                  <a:cubicBezTo>
                    <a:pt x="30221" y="0"/>
                    <a:pt x="34439" y="1033"/>
                    <a:pt x="38314" y="3186"/>
                  </a:cubicBezTo>
                  <a:cubicBezTo>
                    <a:pt x="42188" y="5252"/>
                    <a:pt x="45202" y="8265"/>
                    <a:pt x="47440" y="12140"/>
                  </a:cubicBezTo>
                  <a:cubicBezTo>
                    <a:pt x="49679" y="16014"/>
                    <a:pt x="50798" y="20577"/>
                    <a:pt x="50798" y="25743"/>
                  </a:cubicBezTo>
                  <a:cubicBezTo>
                    <a:pt x="50798" y="30909"/>
                    <a:pt x="49679" y="35472"/>
                    <a:pt x="47354" y="39433"/>
                  </a:cubicBezTo>
                  <a:cubicBezTo>
                    <a:pt x="45030" y="43394"/>
                    <a:pt x="42016" y="46407"/>
                    <a:pt x="38056" y="48559"/>
                  </a:cubicBezTo>
                  <a:cubicBezTo>
                    <a:pt x="34181" y="50712"/>
                    <a:pt x="29790" y="51745"/>
                    <a:pt x="25055" y="51745"/>
                  </a:cubicBezTo>
                  <a:cubicBezTo>
                    <a:pt x="20319" y="51745"/>
                    <a:pt x="16100" y="50712"/>
                    <a:pt x="12312" y="48559"/>
                  </a:cubicBezTo>
                  <a:close/>
                  <a:moveTo>
                    <a:pt x="33406" y="42446"/>
                  </a:moveTo>
                  <a:cubicBezTo>
                    <a:pt x="35989" y="41069"/>
                    <a:pt x="38142" y="38916"/>
                    <a:pt x="39778" y="36161"/>
                  </a:cubicBezTo>
                  <a:cubicBezTo>
                    <a:pt x="41413" y="33406"/>
                    <a:pt x="42188" y="29962"/>
                    <a:pt x="42188" y="25916"/>
                  </a:cubicBezTo>
                  <a:cubicBezTo>
                    <a:pt x="42188" y="21869"/>
                    <a:pt x="41413" y="18511"/>
                    <a:pt x="39778" y="15670"/>
                  </a:cubicBezTo>
                  <a:cubicBezTo>
                    <a:pt x="38228" y="12829"/>
                    <a:pt x="36161" y="10762"/>
                    <a:pt x="33578" y="9385"/>
                  </a:cubicBezTo>
                  <a:cubicBezTo>
                    <a:pt x="30995" y="8007"/>
                    <a:pt x="28240" y="7318"/>
                    <a:pt x="25227" y="7318"/>
                  </a:cubicBezTo>
                  <a:cubicBezTo>
                    <a:pt x="22213" y="7318"/>
                    <a:pt x="19372" y="8007"/>
                    <a:pt x="16875" y="9385"/>
                  </a:cubicBezTo>
                  <a:cubicBezTo>
                    <a:pt x="14378" y="10762"/>
                    <a:pt x="12312" y="12829"/>
                    <a:pt x="10762" y="15670"/>
                  </a:cubicBezTo>
                  <a:cubicBezTo>
                    <a:pt x="9213" y="18511"/>
                    <a:pt x="8438" y="21869"/>
                    <a:pt x="8438" y="25916"/>
                  </a:cubicBezTo>
                  <a:cubicBezTo>
                    <a:pt x="8438" y="29962"/>
                    <a:pt x="9213" y="33406"/>
                    <a:pt x="10676" y="36247"/>
                  </a:cubicBezTo>
                  <a:cubicBezTo>
                    <a:pt x="12140" y="39089"/>
                    <a:pt x="14120" y="41155"/>
                    <a:pt x="16617" y="42533"/>
                  </a:cubicBezTo>
                  <a:cubicBezTo>
                    <a:pt x="19114" y="43910"/>
                    <a:pt x="21869" y="44599"/>
                    <a:pt x="24796" y="44599"/>
                  </a:cubicBezTo>
                  <a:cubicBezTo>
                    <a:pt x="27724" y="44599"/>
                    <a:pt x="30565" y="43910"/>
                    <a:pt x="33234" y="42533"/>
                  </a:cubicBezTo>
                  <a:close/>
                </a:path>
              </a:pathLst>
            </a:custGeom>
            <a:grpFill/>
            <a:ln w="86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6E6AA9F6-5011-DF8D-A2B1-8CDBA0EEEF99}"/>
                </a:ext>
              </a:extLst>
            </p:cNvPr>
            <p:cNvSpPr/>
            <p:nvPr/>
          </p:nvSpPr>
          <p:spPr>
            <a:xfrm>
              <a:off x="11293101" y="598417"/>
              <a:ext cx="50884" cy="75422"/>
            </a:xfrm>
            <a:custGeom>
              <a:avLst/>
              <a:gdLst>
                <a:gd name="connsiteX0" fmla="*/ 35214 w 50884"/>
                <a:gd name="connsiteY0" fmla="*/ 2669 h 75422"/>
                <a:gd name="connsiteX1" fmla="*/ 42447 w 50884"/>
                <a:gd name="connsiteY1" fmla="*/ 9815 h 75422"/>
                <a:gd name="connsiteX2" fmla="*/ 42447 w 50884"/>
                <a:gd name="connsiteY2" fmla="*/ 689 h 75422"/>
                <a:gd name="connsiteX3" fmla="*/ 50884 w 50884"/>
                <a:gd name="connsiteY3" fmla="*/ 689 h 75422"/>
                <a:gd name="connsiteX4" fmla="*/ 50884 w 50884"/>
                <a:gd name="connsiteY4" fmla="*/ 51831 h 75422"/>
                <a:gd name="connsiteX5" fmla="*/ 47957 w 50884"/>
                <a:gd name="connsiteY5" fmla="*/ 64057 h 75422"/>
                <a:gd name="connsiteX6" fmla="*/ 39605 w 50884"/>
                <a:gd name="connsiteY6" fmla="*/ 72409 h 75422"/>
                <a:gd name="connsiteX7" fmla="*/ 26949 w 50884"/>
                <a:gd name="connsiteY7" fmla="*/ 75422 h 75422"/>
                <a:gd name="connsiteX8" fmla="*/ 10504 w 50884"/>
                <a:gd name="connsiteY8" fmla="*/ 70773 h 75422"/>
                <a:gd name="connsiteX9" fmla="*/ 2755 w 50884"/>
                <a:gd name="connsiteY9" fmla="*/ 58116 h 75422"/>
                <a:gd name="connsiteX10" fmla="*/ 10935 w 50884"/>
                <a:gd name="connsiteY10" fmla="*/ 58116 h 75422"/>
                <a:gd name="connsiteX11" fmla="*/ 16617 w 50884"/>
                <a:gd name="connsiteY11" fmla="*/ 65435 h 75422"/>
                <a:gd name="connsiteX12" fmla="*/ 26949 w 50884"/>
                <a:gd name="connsiteY12" fmla="*/ 68190 h 75422"/>
                <a:gd name="connsiteX13" fmla="*/ 38142 w 50884"/>
                <a:gd name="connsiteY13" fmla="*/ 63885 h 75422"/>
                <a:gd name="connsiteX14" fmla="*/ 42447 w 50884"/>
                <a:gd name="connsiteY14" fmla="*/ 51831 h 75422"/>
                <a:gd name="connsiteX15" fmla="*/ 42447 w 50884"/>
                <a:gd name="connsiteY15" fmla="*/ 41327 h 75422"/>
                <a:gd name="connsiteX16" fmla="*/ 35128 w 50884"/>
                <a:gd name="connsiteY16" fmla="*/ 48645 h 75422"/>
                <a:gd name="connsiteX17" fmla="*/ 23763 w 50884"/>
                <a:gd name="connsiteY17" fmla="*/ 51573 h 75422"/>
                <a:gd name="connsiteX18" fmla="*/ 11623 w 50884"/>
                <a:gd name="connsiteY18" fmla="*/ 48301 h 75422"/>
                <a:gd name="connsiteX19" fmla="*/ 3100 w 50884"/>
                <a:gd name="connsiteY19" fmla="*/ 39089 h 75422"/>
                <a:gd name="connsiteX20" fmla="*/ 0 w 50884"/>
                <a:gd name="connsiteY20" fmla="*/ 25571 h 75422"/>
                <a:gd name="connsiteX21" fmla="*/ 3100 w 50884"/>
                <a:gd name="connsiteY21" fmla="*/ 12140 h 75422"/>
                <a:gd name="connsiteX22" fmla="*/ 11623 w 50884"/>
                <a:gd name="connsiteY22" fmla="*/ 3186 h 75422"/>
                <a:gd name="connsiteX23" fmla="*/ 23763 w 50884"/>
                <a:gd name="connsiteY23" fmla="*/ 0 h 75422"/>
                <a:gd name="connsiteX24" fmla="*/ 35128 w 50884"/>
                <a:gd name="connsiteY24" fmla="*/ 2841 h 75422"/>
                <a:gd name="connsiteX25" fmla="*/ 40208 w 50884"/>
                <a:gd name="connsiteY25" fmla="*/ 15756 h 75422"/>
                <a:gd name="connsiteX26" fmla="*/ 34009 w 50884"/>
                <a:gd name="connsiteY26" fmla="*/ 9299 h 75422"/>
                <a:gd name="connsiteX27" fmla="*/ 25485 w 50884"/>
                <a:gd name="connsiteY27" fmla="*/ 7060 h 75422"/>
                <a:gd name="connsiteX28" fmla="*/ 16961 w 50884"/>
                <a:gd name="connsiteY28" fmla="*/ 9213 h 75422"/>
                <a:gd name="connsiteX29" fmla="*/ 10848 w 50884"/>
                <a:gd name="connsiteY29" fmla="*/ 15584 h 75422"/>
                <a:gd name="connsiteX30" fmla="*/ 8524 w 50884"/>
                <a:gd name="connsiteY30" fmla="*/ 25485 h 75422"/>
                <a:gd name="connsiteX31" fmla="*/ 10848 w 50884"/>
                <a:gd name="connsiteY31" fmla="*/ 35472 h 75422"/>
                <a:gd name="connsiteX32" fmla="*/ 16961 w 50884"/>
                <a:gd name="connsiteY32" fmla="*/ 41930 h 75422"/>
                <a:gd name="connsiteX33" fmla="*/ 25485 w 50884"/>
                <a:gd name="connsiteY33" fmla="*/ 44168 h 75422"/>
                <a:gd name="connsiteX34" fmla="*/ 34009 w 50884"/>
                <a:gd name="connsiteY34" fmla="*/ 41930 h 75422"/>
                <a:gd name="connsiteX35" fmla="*/ 40208 w 50884"/>
                <a:gd name="connsiteY35" fmla="*/ 35472 h 75422"/>
                <a:gd name="connsiteX36" fmla="*/ 42533 w 50884"/>
                <a:gd name="connsiteY36" fmla="*/ 25571 h 75422"/>
                <a:gd name="connsiteX37" fmla="*/ 40208 w 50884"/>
                <a:gd name="connsiteY37" fmla="*/ 15670 h 75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50884" h="75422">
                  <a:moveTo>
                    <a:pt x="35214" y="2669"/>
                  </a:moveTo>
                  <a:cubicBezTo>
                    <a:pt x="38486" y="4563"/>
                    <a:pt x="40897" y="6974"/>
                    <a:pt x="42447" y="9815"/>
                  </a:cubicBezTo>
                  <a:lnTo>
                    <a:pt x="42447" y="689"/>
                  </a:lnTo>
                  <a:lnTo>
                    <a:pt x="50884" y="689"/>
                  </a:lnTo>
                  <a:lnTo>
                    <a:pt x="50884" y="51831"/>
                  </a:lnTo>
                  <a:cubicBezTo>
                    <a:pt x="50884" y="56394"/>
                    <a:pt x="49937" y="60441"/>
                    <a:pt x="47957" y="64057"/>
                  </a:cubicBezTo>
                  <a:cubicBezTo>
                    <a:pt x="45977" y="67587"/>
                    <a:pt x="43221" y="70428"/>
                    <a:pt x="39605" y="72409"/>
                  </a:cubicBezTo>
                  <a:cubicBezTo>
                    <a:pt x="35989" y="74389"/>
                    <a:pt x="31770" y="75422"/>
                    <a:pt x="26949" y="75422"/>
                  </a:cubicBezTo>
                  <a:cubicBezTo>
                    <a:pt x="20405" y="75422"/>
                    <a:pt x="14895" y="73872"/>
                    <a:pt x="10504" y="70773"/>
                  </a:cubicBezTo>
                  <a:cubicBezTo>
                    <a:pt x="6113" y="67673"/>
                    <a:pt x="3530" y="63454"/>
                    <a:pt x="2755" y="58116"/>
                  </a:cubicBezTo>
                  <a:lnTo>
                    <a:pt x="10935" y="58116"/>
                  </a:lnTo>
                  <a:cubicBezTo>
                    <a:pt x="11882" y="61130"/>
                    <a:pt x="13776" y="63627"/>
                    <a:pt x="16617" y="65435"/>
                  </a:cubicBezTo>
                  <a:cubicBezTo>
                    <a:pt x="19458" y="67243"/>
                    <a:pt x="22902" y="68190"/>
                    <a:pt x="26949" y="68190"/>
                  </a:cubicBezTo>
                  <a:cubicBezTo>
                    <a:pt x="31512" y="68190"/>
                    <a:pt x="35214" y="66726"/>
                    <a:pt x="38142" y="63885"/>
                  </a:cubicBezTo>
                  <a:cubicBezTo>
                    <a:pt x="41069" y="61044"/>
                    <a:pt x="42447" y="56997"/>
                    <a:pt x="42447" y="51831"/>
                  </a:cubicBezTo>
                  <a:lnTo>
                    <a:pt x="42447" y="41327"/>
                  </a:lnTo>
                  <a:cubicBezTo>
                    <a:pt x="40811" y="44255"/>
                    <a:pt x="38400" y="46665"/>
                    <a:pt x="35128" y="48645"/>
                  </a:cubicBezTo>
                  <a:cubicBezTo>
                    <a:pt x="31856" y="50626"/>
                    <a:pt x="28154" y="51573"/>
                    <a:pt x="23763" y="51573"/>
                  </a:cubicBezTo>
                  <a:cubicBezTo>
                    <a:pt x="19372" y="51573"/>
                    <a:pt x="15326" y="50454"/>
                    <a:pt x="11623" y="48301"/>
                  </a:cubicBezTo>
                  <a:cubicBezTo>
                    <a:pt x="8007" y="46149"/>
                    <a:pt x="5166" y="43049"/>
                    <a:pt x="3100" y="39089"/>
                  </a:cubicBezTo>
                  <a:cubicBezTo>
                    <a:pt x="1033" y="35128"/>
                    <a:pt x="0" y="30651"/>
                    <a:pt x="0" y="25571"/>
                  </a:cubicBezTo>
                  <a:cubicBezTo>
                    <a:pt x="0" y="20491"/>
                    <a:pt x="1033" y="15928"/>
                    <a:pt x="3100" y="12140"/>
                  </a:cubicBezTo>
                  <a:cubicBezTo>
                    <a:pt x="5166" y="8265"/>
                    <a:pt x="8007" y="5252"/>
                    <a:pt x="11623" y="3186"/>
                  </a:cubicBezTo>
                  <a:cubicBezTo>
                    <a:pt x="15239" y="1033"/>
                    <a:pt x="19286" y="0"/>
                    <a:pt x="23763" y="0"/>
                  </a:cubicBezTo>
                  <a:cubicBezTo>
                    <a:pt x="28240" y="0"/>
                    <a:pt x="31856" y="947"/>
                    <a:pt x="35128" y="2841"/>
                  </a:cubicBezTo>
                  <a:close/>
                  <a:moveTo>
                    <a:pt x="40208" y="15756"/>
                  </a:moveTo>
                  <a:cubicBezTo>
                    <a:pt x="38658" y="12915"/>
                    <a:pt x="36592" y="10848"/>
                    <a:pt x="34009" y="9299"/>
                  </a:cubicBezTo>
                  <a:cubicBezTo>
                    <a:pt x="31426" y="7835"/>
                    <a:pt x="28585" y="7060"/>
                    <a:pt x="25485" y="7060"/>
                  </a:cubicBezTo>
                  <a:cubicBezTo>
                    <a:pt x="22386" y="7060"/>
                    <a:pt x="19544" y="7749"/>
                    <a:pt x="16961" y="9213"/>
                  </a:cubicBezTo>
                  <a:cubicBezTo>
                    <a:pt x="14378" y="10676"/>
                    <a:pt x="12398" y="12829"/>
                    <a:pt x="10848" y="15584"/>
                  </a:cubicBezTo>
                  <a:cubicBezTo>
                    <a:pt x="9299" y="18425"/>
                    <a:pt x="8524" y="21697"/>
                    <a:pt x="8524" y="25485"/>
                  </a:cubicBezTo>
                  <a:cubicBezTo>
                    <a:pt x="8524" y="29273"/>
                    <a:pt x="9299" y="32631"/>
                    <a:pt x="10848" y="35472"/>
                  </a:cubicBezTo>
                  <a:cubicBezTo>
                    <a:pt x="12398" y="38314"/>
                    <a:pt x="14378" y="40466"/>
                    <a:pt x="16961" y="41930"/>
                  </a:cubicBezTo>
                  <a:cubicBezTo>
                    <a:pt x="19544" y="43394"/>
                    <a:pt x="22386" y="44168"/>
                    <a:pt x="25485" y="44168"/>
                  </a:cubicBezTo>
                  <a:cubicBezTo>
                    <a:pt x="28585" y="44168"/>
                    <a:pt x="31426" y="43394"/>
                    <a:pt x="34009" y="41930"/>
                  </a:cubicBezTo>
                  <a:cubicBezTo>
                    <a:pt x="36592" y="40466"/>
                    <a:pt x="38658" y="38314"/>
                    <a:pt x="40208" y="35472"/>
                  </a:cubicBezTo>
                  <a:cubicBezTo>
                    <a:pt x="41758" y="32631"/>
                    <a:pt x="42533" y="29360"/>
                    <a:pt x="42533" y="25571"/>
                  </a:cubicBezTo>
                  <a:cubicBezTo>
                    <a:pt x="42533" y="21783"/>
                    <a:pt x="41758" y="18511"/>
                    <a:pt x="40208" y="15670"/>
                  </a:cubicBezTo>
                  <a:close/>
                </a:path>
              </a:pathLst>
            </a:custGeom>
            <a:grpFill/>
            <a:ln w="86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F4A06E63-6083-18B5-9045-864D07C8F2D1}"/>
                </a:ext>
              </a:extLst>
            </p:cNvPr>
            <p:cNvSpPr/>
            <p:nvPr/>
          </p:nvSpPr>
          <p:spPr>
            <a:xfrm>
              <a:off x="11352165" y="599106"/>
              <a:ext cx="48990" cy="73614"/>
            </a:xfrm>
            <a:custGeom>
              <a:avLst/>
              <a:gdLst>
                <a:gd name="connsiteX0" fmla="*/ 48990 w 48990"/>
                <a:gd name="connsiteY0" fmla="*/ 0 h 73614"/>
                <a:gd name="connsiteX1" fmla="*/ 18856 w 48990"/>
                <a:gd name="connsiteY1" fmla="*/ 73614 h 73614"/>
                <a:gd name="connsiteX2" fmla="*/ 10246 w 48990"/>
                <a:gd name="connsiteY2" fmla="*/ 73614 h 73614"/>
                <a:gd name="connsiteX3" fmla="*/ 20147 w 48990"/>
                <a:gd name="connsiteY3" fmla="*/ 49507 h 73614"/>
                <a:gd name="connsiteX4" fmla="*/ 0 w 48990"/>
                <a:gd name="connsiteY4" fmla="*/ 0 h 73614"/>
                <a:gd name="connsiteX5" fmla="*/ 9213 w 48990"/>
                <a:gd name="connsiteY5" fmla="*/ 0 h 73614"/>
                <a:gd name="connsiteX6" fmla="*/ 24882 w 48990"/>
                <a:gd name="connsiteY6" fmla="*/ 40552 h 73614"/>
                <a:gd name="connsiteX7" fmla="*/ 40380 w 48990"/>
                <a:gd name="connsiteY7" fmla="*/ 0 h 73614"/>
                <a:gd name="connsiteX8" fmla="*/ 48990 w 48990"/>
                <a:gd name="connsiteY8" fmla="*/ 0 h 73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990" h="73614">
                  <a:moveTo>
                    <a:pt x="48990" y="0"/>
                  </a:moveTo>
                  <a:lnTo>
                    <a:pt x="18856" y="73614"/>
                  </a:lnTo>
                  <a:lnTo>
                    <a:pt x="10246" y="73614"/>
                  </a:lnTo>
                  <a:lnTo>
                    <a:pt x="20147" y="49507"/>
                  </a:lnTo>
                  <a:lnTo>
                    <a:pt x="0" y="0"/>
                  </a:lnTo>
                  <a:lnTo>
                    <a:pt x="9213" y="0"/>
                  </a:lnTo>
                  <a:lnTo>
                    <a:pt x="24882" y="40552"/>
                  </a:lnTo>
                  <a:lnTo>
                    <a:pt x="40380" y="0"/>
                  </a:lnTo>
                  <a:lnTo>
                    <a:pt x="48990" y="0"/>
                  </a:lnTo>
                  <a:close/>
                </a:path>
              </a:pathLst>
            </a:custGeom>
            <a:grpFill/>
            <a:ln w="86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F896D5F-B36C-040A-C3B2-785C7F4D959B}"/>
                </a:ext>
              </a:extLst>
            </p:cNvPr>
            <p:cNvSpPr/>
            <p:nvPr/>
          </p:nvSpPr>
          <p:spPr>
            <a:xfrm>
              <a:off x="11434389" y="607372"/>
              <a:ext cx="22471" cy="22471"/>
            </a:xfrm>
            <a:custGeom>
              <a:avLst/>
              <a:gdLst>
                <a:gd name="connsiteX0" fmla="*/ 3272 w 22471"/>
                <a:gd name="connsiteY0" fmla="*/ 19200 h 22471"/>
                <a:gd name="connsiteX1" fmla="*/ 0 w 22471"/>
                <a:gd name="connsiteY1" fmla="*/ 11279 h 22471"/>
                <a:gd name="connsiteX2" fmla="*/ 3272 w 22471"/>
                <a:gd name="connsiteY2" fmla="*/ 3272 h 22471"/>
                <a:gd name="connsiteX3" fmla="*/ 11193 w 22471"/>
                <a:gd name="connsiteY3" fmla="*/ 0 h 22471"/>
                <a:gd name="connsiteX4" fmla="*/ 19200 w 22471"/>
                <a:gd name="connsiteY4" fmla="*/ 3272 h 22471"/>
                <a:gd name="connsiteX5" fmla="*/ 22472 w 22471"/>
                <a:gd name="connsiteY5" fmla="*/ 11279 h 22471"/>
                <a:gd name="connsiteX6" fmla="*/ 19200 w 22471"/>
                <a:gd name="connsiteY6" fmla="*/ 19200 h 22471"/>
                <a:gd name="connsiteX7" fmla="*/ 11193 w 22471"/>
                <a:gd name="connsiteY7" fmla="*/ 22472 h 22471"/>
                <a:gd name="connsiteX8" fmla="*/ 3272 w 22471"/>
                <a:gd name="connsiteY8" fmla="*/ 19200 h 22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471" h="22471">
                  <a:moveTo>
                    <a:pt x="3272" y="19200"/>
                  </a:moveTo>
                  <a:cubicBezTo>
                    <a:pt x="1119" y="17047"/>
                    <a:pt x="0" y="14378"/>
                    <a:pt x="0" y="11279"/>
                  </a:cubicBezTo>
                  <a:cubicBezTo>
                    <a:pt x="0" y="8179"/>
                    <a:pt x="1119" y="5424"/>
                    <a:pt x="3272" y="3272"/>
                  </a:cubicBezTo>
                  <a:cubicBezTo>
                    <a:pt x="5424" y="1119"/>
                    <a:pt x="8093" y="0"/>
                    <a:pt x="11193" y="0"/>
                  </a:cubicBezTo>
                  <a:cubicBezTo>
                    <a:pt x="14292" y="0"/>
                    <a:pt x="17048" y="1119"/>
                    <a:pt x="19200" y="3272"/>
                  </a:cubicBezTo>
                  <a:cubicBezTo>
                    <a:pt x="21353" y="5424"/>
                    <a:pt x="22472" y="8093"/>
                    <a:pt x="22472" y="11279"/>
                  </a:cubicBezTo>
                  <a:cubicBezTo>
                    <a:pt x="22472" y="14464"/>
                    <a:pt x="21353" y="17047"/>
                    <a:pt x="19200" y="19200"/>
                  </a:cubicBezTo>
                  <a:cubicBezTo>
                    <a:pt x="17048" y="21352"/>
                    <a:pt x="14292" y="22472"/>
                    <a:pt x="11193" y="22472"/>
                  </a:cubicBezTo>
                  <a:cubicBezTo>
                    <a:pt x="8093" y="22472"/>
                    <a:pt x="5424" y="21438"/>
                    <a:pt x="3272" y="19200"/>
                  </a:cubicBezTo>
                  <a:close/>
                </a:path>
              </a:pathLst>
            </a:custGeom>
            <a:grpFill/>
            <a:ln w="86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E72AAEB-0DA2-3F3E-DE37-FDD1765CCB84}"/>
                </a:ext>
              </a:extLst>
            </p:cNvPr>
            <p:cNvSpPr/>
            <p:nvPr/>
          </p:nvSpPr>
          <p:spPr>
            <a:xfrm>
              <a:off x="11492850" y="598331"/>
              <a:ext cx="50798" cy="51658"/>
            </a:xfrm>
            <a:custGeom>
              <a:avLst/>
              <a:gdLst>
                <a:gd name="connsiteX0" fmla="*/ 3013 w 50798"/>
                <a:gd name="connsiteY0" fmla="*/ 12140 h 51658"/>
                <a:gd name="connsiteX1" fmla="*/ 11537 w 50798"/>
                <a:gd name="connsiteY1" fmla="*/ 3186 h 51658"/>
                <a:gd name="connsiteX2" fmla="*/ 23677 w 50798"/>
                <a:gd name="connsiteY2" fmla="*/ 0 h 51658"/>
                <a:gd name="connsiteX3" fmla="*/ 35128 w 50798"/>
                <a:gd name="connsiteY3" fmla="*/ 2841 h 51658"/>
                <a:gd name="connsiteX4" fmla="*/ 42360 w 50798"/>
                <a:gd name="connsiteY4" fmla="*/ 9987 h 51658"/>
                <a:gd name="connsiteX5" fmla="*/ 42360 w 50798"/>
                <a:gd name="connsiteY5" fmla="*/ 861 h 51658"/>
                <a:gd name="connsiteX6" fmla="*/ 50798 w 50798"/>
                <a:gd name="connsiteY6" fmla="*/ 861 h 51658"/>
                <a:gd name="connsiteX7" fmla="*/ 50798 w 50798"/>
                <a:gd name="connsiteY7" fmla="*/ 50884 h 51658"/>
                <a:gd name="connsiteX8" fmla="*/ 42360 w 50798"/>
                <a:gd name="connsiteY8" fmla="*/ 50884 h 51658"/>
                <a:gd name="connsiteX9" fmla="*/ 42360 w 50798"/>
                <a:gd name="connsiteY9" fmla="*/ 41585 h 51658"/>
                <a:gd name="connsiteX10" fmla="*/ 35042 w 50798"/>
                <a:gd name="connsiteY10" fmla="*/ 48818 h 51658"/>
                <a:gd name="connsiteX11" fmla="*/ 23677 w 50798"/>
                <a:gd name="connsiteY11" fmla="*/ 51659 h 51658"/>
                <a:gd name="connsiteX12" fmla="*/ 11623 w 50798"/>
                <a:gd name="connsiteY12" fmla="*/ 48387 h 51658"/>
                <a:gd name="connsiteX13" fmla="*/ 3100 w 50798"/>
                <a:gd name="connsiteY13" fmla="*/ 39175 h 51658"/>
                <a:gd name="connsiteX14" fmla="*/ 0 w 50798"/>
                <a:gd name="connsiteY14" fmla="*/ 25657 h 51658"/>
                <a:gd name="connsiteX15" fmla="*/ 3100 w 50798"/>
                <a:gd name="connsiteY15" fmla="*/ 12226 h 51658"/>
                <a:gd name="connsiteX16" fmla="*/ 40036 w 50798"/>
                <a:gd name="connsiteY16" fmla="*/ 15842 h 51658"/>
                <a:gd name="connsiteX17" fmla="*/ 33837 w 50798"/>
                <a:gd name="connsiteY17" fmla="*/ 9385 h 51658"/>
                <a:gd name="connsiteX18" fmla="*/ 25313 w 50798"/>
                <a:gd name="connsiteY18" fmla="*/ 7146 h 51658"/>
                <a:gd name="connsiteX19" fmla="*/ 16789 w 50798"/>
                <a:gd name="connsiteY19" fmla="*/ 9299 h 51658"/>
                <a:gd name="connsiteX20" fmla="*/ 10676 w 50798"/>
                <a:gd name="connsiteY20" fmla="*/ 15670 h 51658"/>
                <a:gd name="connsiteX21" fmla="*/ 8352 w 50798"/>
                <a:gd name="connsiteY21" fmla="*/ 25571 h 51658"/>
                <a:gd name="connsiteX22" fmla="*/ 10676 w 50798"/>
                <a:gd name="connsiteY22" fmla="*/ 35559 h 51658"/>
                <a:gd name="connsiteX23" fmla="*/ 16789 w 50798"/>
                <a:gd name="connsiteY23" fmla="*/ 42016 h 51658"/>
                <a:gd name="connsiteX24" fmla="*/ 25313 w 50798"/>
                <a:gd name="connsiteY24" fmla="*/ 44255 h 51658"/>
                <a:gd name="connsiteX25" fmla="*/ 33837 w 50798"/>
                <a:gd name="connsiteY25" fmla="*/ 42016 h 51658"/>
                <a:gd name="connsiteX26" fmla="*/ 40036 w 50798"/>
                <a:gd name="connsiteY26" fmla="*/ 35559 h 51658"/>
                <a:gd name="connsiteX27" fmla="*/ 42360 w 50798"/>
                <a:gd name="connsiteY27" fmla="*/ 25657 h 51658"/>
                <a:gd name="connsiteX28" fmla="*/ 40036 w 50798"/>
                <a:gd name="connsiteY28" fmla="*/ 15756 h 51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0798" h="51658">
                  <a:moveTo>
                    <a:pt x="3013" y="12140"/>
                  </a:moveTo>
                  <a:cubicBezTo>
                    <a:pt x="5080" y="8265"/>
                    <a:pt x="7921" y="5252"/>
                    <a:pt x="11537" y="3186"/>
                  </a:cubicBezTo>
                  <a:cubicBezTo>
                    <a:pt x="15153" y="1033"/>
                    <a:pt x="19200" y="0"/>
                    <a:pt x="23677" y="0"/>
                  </a:cubicBezTo>
                  <a:cubicBezTo>
                    <a:pt x="28154" y="0"/>
                    <a:pt x="31856" y="947"/>
                    <a:pt x="35128" y="2841"/>
                  </a:cubicBezTo>
                  <a:cubicBezTo>
                    <a:pt x="38314" y="4735"/>
                    <a:pt x="40725" y="7146"/>
                    <a:pt x="42360" y="9987"/>
                  </a:cubicBezTo>
                  <a:lnTo>
                    <a:pt x="42360" y="861"/>
                  </a:lnTo>
                  <a:lnTo>
                    <a:pt x="50798" y="861"/>
                  </a:lnTo>
                  <a:lnTo>
                    <a:pt x="50798" y="50884"/>
                  </a:lnTo>
                  <a:lnTo>
                    <a:pt x="42360" y="50884"/>
                  </a:lnTo>
                  <a:lnTo>
                    <a:pt x="42360" y="41585"/>
                  </a:lnTo>
                  <a:cubicBezTo>
                    <a:pt x="40725" y="44513"/>
                    <a:pt x="38228" y="46924"/>
                    <a:pt x="35042" y="48818"/>
                  </a:cubicBezTo>
                  <a:cubicBezTo>
                    <a:pt x="31856" y="50712"/>
                    <a:pt x="27982" y="51659"/>
                    <a:pt x="23677" y="51659"/>
                  </a:cubicBezTo>
                  <a:cubicBezTo>
                    <a:pt x="19372" y="51659"/>
                    <a:pt x="15239" y="50540"/>
                    <a:pt x="11623" y="48387"/>
                  </a:cubicBezTo>
                  <a:cubicBezTo>
                    <a:pt x="8007" y="46235"/>
                    <a:pt x="5166" y="43135"/>
                    <a:pt x="3100" y="39175"/>
                  </a:cubicBezTo>
                  <a:cubicBezTo>
                    <a:pt x="1033" y="35214"/>
                    <a:pt x="0" y="30737"/>
                    <a:pt x="0" y="25657"/>
                  </a:cubicBezTo>
                  <a:cubicBezTo>
                    <a:pt x="0" y="20577"/>
                    <a:pt x="1033" y="16014"/>
                    <a:pt x="3100" y="12226"/>
                  </a:cubicBezTo>
                  <a:close/>
                  <a:moveTo>
                    <a:pt x="40036" y="15842"/>
                  </a:moveTo>
                  <a:cubicBezTo>
                    <a:pt x="38486" y="13001"/>
                    <a:pt x="36420" y="10934"/>
                    <a:pt x="33837" y="9385"/>
                  </a:cubicBezTo>
                  <a:cubicBezTo>
                    <a:pt x="31254" y="7921"/>
                    <a:pt x="28413" y="7146"/>
                    <a:pt x="25313" y="7146"/>
                  </a:cubicBezTo>
                  <a:cubicBezTo>
                    <a:pt x="22213" y="7146"/>
                    <a:pt x="19372" y="7835"/>
                    <a:pt x="16789" y="9299"/>
                  </a:cubicBezTo>
                  <a:cubicBezTo>
                    <a:pt x="14206" y="10762"/>
                    <a:pt x="12226" y="12915"/>
                    <a:pt x="10676" y="15670"/>
                  </a:cubicBezTo>
                  <a:cubicBezTo>
                    <a:pt x="9126" y="18511"/>
                    <a:pt x="8352" y="21783"/>
                    <a:pt x="8352" y="25571"/>
                  </a:cubicBezTo>
                  <a:cubicBezTo>
                    <a:pt x="8352" y="29360"/>
                    <a:pt x="9126" y="32717"/>
                    <a:pt x="10676" y="35559"/>
                  </a:cubicBezTo>
                  <a:cubicBezTo>
                    <a:pt x="12226" y="38400"/>
                    <a:pt x="14206" y="40552"/>
                    <a:pt x="16789" y="42016"/>
                  </a:cubicBezTo>
                  <a:cubicBezTo>
                    <a:pt x="19372" y="43480"/>
                    <a:pt x="22213" y="44255"/>
                    <a:pt x="25313" y="44255"/>
                  </a:cubicBezTo>
                  <a:cubicBezTo>
                    <a:pt x="28413" y="44255"/>
                    <a:pt x="31254" y="43480"/>
                    <a:pt x="33837" y="42016"/>
                  </a:cubicBezTo>
                  <a:cubicBezTo>
                    <a:pt x="36420" y="40552"/>
                    <a:pt x="38486" y="38400"/>
                    <a:pt x="40036" y="35559"/>
                  </a:cubicBezTo>
                  <a:cubicBezTo>
                    <a:pt x="41586" y="32717"/>
                    <a:pt x="42360" y="29446"/>
                    <a:pt x="42360" y="25657"/>
                  </a:cubicBezTo>
                  <a:cubicBezTo>
                    <a:pt x="42360" y="21869"/>
                    <a:pt x="41586" y="18597"/>
                    <a:pt x="40036" y="15756"/>
                  </a:cubicBezTo>
                  <a:close/>
                </a:path>
              </a:pathLst>
            </a:custGeom>
            <a:grpFill/>
            <a:ln w="86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B901E593-C66F-EEE1-8687-166BD4BF571C}"/>
                </a:ext>
              </a:extLst>
            </p:cNvPr>
            <p:cNvSpPr/>
            <p:nvPr/>
          </p:nvSpPr>
          <p:spPr>
            <a:xfrm>
              <a:off x="11554841" y="598159"/>
              <a:ext cx="38658" cy="51658"/>
            </a:xfrm>
            <a:custGeom>
              <a:avLst/>
              <a:gdLst>
                <a:gd name="connsiteX0" fmla="*/ 10160 w 38658"/>
                <a:gd name="connsiteY0" fmla="*/ 49851 h 51658"/>
                <a:gd name="connsiteX1" fmla="*/ 2927 w 38658"/>
                <a:gd name="connsiteY1" fmla="*/ 44341 h 51658"/>
                <a:gd name="connsiteX2" fmla="*/ 0 w 38658"/>
                <a:gd name="connsiteY2" fmla="*/ 36247 h 51658"/>
                <a:gd name="connsiteX3" fmla="*/ 8610 w 38658"/>
                <a:gd name="connsiteY3" fmla="*/ 36247 h 51658"/>
                <a:gd name="connsiteX4" fmla="*/ 12140 w 38658"/>
                <a:gd name="connsiteY4" fmla="*/ 42360 h 51658"/>
                <a:gd name="connsiteX5" fmla="*/ 20405 w 38658"/>
                <a:gd name="connsiteY5" fmla="*/ 44771 h 51658"/>
                <a:gd name="connsiteX6" fmla="*/ 27896 w 38658"/>
                <a:gd name="connsiteY6" fmla="*/ 42705 h 51658"/>
                <a:gd name="connsiteX7" fmla="*/ 30651 w 38658"/>
                <a:gd name="connsiteY7" fmla="*/ 37367 h 51658"/>
                <a:gd name="connsiteX8" fmla="*/ 27724 w 38658"/>
                <a:gd name="connsiteY8" fmla="*/ 32459 h 51658"/>
                <a:gd name="connsiteX9" fmla="*/ 18683 w 38658"/>
                <a:gd name="connsiteY9" fmla="*/ 29273 h 51658"/>
                <a:gd name="connsiteX10" fmla="*/ 9557 w 38658"/>
                <a:gd name="connsiteY10" fmla="*/ 26346 h 51658"/>
                <a:gd name="connsiteX11" fmla="*/ 3530 w 38658"/>
                <a:gd name="connsiteY11" fmla="*/ 21869 h 51658"/>
                <a:gd name="connsiteX12" fmla="*/ 1033 w 38658"/>
                <a:gd name="connsiteY12" fmla="*/ 14034 h 51658"/>
                <a:gd name="connsiteX13" fmla="*/ 3358 w 38658"/>
                <a:gd name="connsiteY13" fmla="*/ 6974 h 51658"/>
                <a:gd name="connsiteX14" fmla="*/ 9815 w 38658"/>
                <a:gd name="connsiteY14" fmla="*/ 1894 h 51658"/>
                <a:gd name="connsiteX15" fmla="*/ 19372 w 38658"/>
                <a:gd name="connsiteY15" fmla="*/ 0 h 51658"/>
                <a:gd name="connsiteX16" fmla="*/ 32803 w 38658"/>
                <a:gd name="connsiteY16" fmla="*/ 4219 h 51658"/>
                <a:gd name="connsiteX17" fmla="*/ 38314 w 38658"/>
                <a:gd name="connsiteY17" fmla="*/ 15756 h 51658"/>
                <a:gd name="connsiteX18" fmla="*/ 29962 w 38658"/>
                <a:gd name="connsiteY18" fmla="*/ 15756 h 51658"/>
                <a:gd name="connsiteX19" fmla="*/ 26777 w 38658"/>
                <a:gd name="connsiteY19" fmla="*/ 9471 h 51658"/>
                <a:gd name="connsiteX20" fmla="*/ 19028 w 38658"/>
                <a:gd name="connsiteY20" fmla="*/ 7060 h 51658"/>
                <a:gd name="connsiteX21" fmla="*/ 11882 w 38658"/>
                <a:gd name="connsiteY21" fmla="*/ 8954 h 51658"/>
                <a:gd name="connsiteX22" fmla="*/ 9213 w 38658"/>
                <a:gd name="connsiteY22" fmla="*/ 13948 h 51658"/>
                <a:gd name="connsiteX23" fmla="*/ 10848 w 38658"/>
                <a:gd name="connsiteY23" fmla="*/ 17995 h 51658"/>
                <a:gd name="connsiteX24" fmla="*/ 14895 w 38658"/>
                <a:gd name="connsiteY24" fmla="*/ 20578 h 51658"/>
                <a:gd name="connsiteX25" fmla="*/ 21611 w 38658"/>
                <a:gd name="connsiteY25" fmla="*/ 22730 h 51658"/>
                <a:gd name="connsiteX26" fmla="*/ 30393 w 38658"/>
                <a:gd name="connsiteY26" fmla="*/ 25571 h 51658"/>
                <a:gd name="connsiteX27" fmla="*/ 36161 w 38658"/>
                <a:gd name="connsiteY27" fmla="*/ 29790 h 51658"/>
                <a:gd name="connsiteX28" fmla="*/ 38658 w 38658"/>
                <a:gd name="connsiteY28" fmla="*/ 37194 h 51658"/>
                <a:gd name="connsiteX29" fmla="*/ 36334 w 38658"/>
                <a:gd name="connsiteY29" fmla="*/ 44599 h 51658"/>
                <a:gd name="connsiteX30" fmla="*/ 29876 w 38658"/>
                <a:gd name="connsiteY30" fmla="*/ 49765 h 51658"/>
                <a:gd name="connsiteX31" fmla="*/ 20319 w 38658"/>
                <a:gd name="connsiteY31" fmla="*/ 51659 h 51658"/>
                <a:gd name="connsiteX32" fmla="*/ 9987 w 38658"/>
                <a:gd name="connsiteY32" fmla="*/ 49679 h 51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38658" h="51658">
                  <a:moveTo>
                    <a:pt x="10160" y="49851"/>
                  </a:moveTo>
                  <a:cubicBezTo>
                    <a:pt x="7146" y="48559"/>
                    <a:pt x="4735" y="46751"/>
                    <a:pt x="2927" y="44341"/>
                  </a:cubicBezTo>
                  <a:cubicBezTo>
                    <a:pt x="1119" y="42016"/>
                    <a:pt x="172" y="39261"/>
                    <a:pt x="0" y="36247"/>
                  </a:cubicBezTo>
                  <a:lnTo>
                    <a:pt x="8610" y="36247"/>
                  </a:lnTo>
                  <a:cubicBezTo>
                    <a:pt x="8868" y="38744"/>
                    <a:pt x="9987" y="40811"/>
                    <a:pt x="12140" y="42360"/>
                  </a:cubicBezTo>
                  <a:cubicBezTo>
                    <a:pt x="14206" y="43910"/>
                    <a:pt x="16961" y="44771"/>
                    <a:pt x="20405" y="44771"/>
                  </a:cubicBezTo>
                  <a:cubicBezTo>
                    <a:pt x="23591" y="44771"/>
                    <a:pt x="26088" y="44082"/>
                    <a:pt x="27896" y="42705"/>
                  </a:cubicBezTo>
                  <a:cubicBezTo>
                    <a:pt x="29704" y="41327"/>
                    <a:pt x="30651" y="39519"/>
                    <a:pt x="30651" y="37367"/>
                  </a:cubicBezTo>
                  <a:cubicBezTo>
                    <a:pt x="30651" y="35214"/>
                    <a:pt x="29704" y="33578"/>
                    <a:pt x="27724" y="32459"/>
                  </a:cubicBezTo>
                  <a:cubicBezTo>
                    <a:pt x="25743" y="31426"/>
                    <a:pt x="22730" y="30307"/>
                    <a:pt x="18683" y="29273"/>
                  </a:cubicBezTo>
                  <a:cubicBezTo>
                    <a:pt x="14981" y="28326"/>
                    <a:pt x="11968" y="27293"/>
                    <a:pt x="9557" y="26346"/>
                  </a:cubicBezTo>
                  <a:cubicBezTo>
                    <a:pt x="7232" y="25313"/>
                    <a:pt x="5166" y="23849"/>
                    <a:pt x="3530" y="21869"/>
                  </a:cubicBezTo>
                  <a:cubicBezTo>
                    <a:pt x="1894" y="19889"/>
                    <a:pt x="1033" y="17306"/>
                    <a:pt x="1033" y="14034"/>
                  </a:cubicBezTo>
                  <a:cubicBezTo>
                    <a:pt x="1033" y="11451"/>
                    <a:pt x="1808" y="9126"/>
                    <a:pt x="3358" y="6974"/>
                  </a:cubicBezTo>
                  <a:cubicBezTo>
                    <a:pt x="4908" y="4822"/>
                    <a:pt x="7060" y="3186"/>
                    <a:pt x="9815" y="1894"/>
                  </a:cubicBezTo>
                  <a:cubicBezTo>
                    <a:pt x="12656" y="603"/>
                    <a:pt x="15842" y="0"/>
                    <a:pt x="19372" y="0"/>
                  </a:cubicBezTo>
                  <a:cubicBezTo>
                    <a:pt x="24882" y="0"/>
                    <a:pt x="29360" y="1378"/>
                    <a:pt x="32803" y="4219"/>
                  </a:cubicBezTo>
                  <a:cubicBezTo>
                    <a:pt x="36248" y="7060"/>
                    <a:pt x="38056" y="10848"/>
                    <a:pt x="38314" y="15756"/>
                  </a:cubicBezTo>
                  <a:lnTo>
                    <a:pt x="29962" y="15756"/>
                  </a:lnTo>
                  <a:cubicBezTo>
                    <a:pt x="29790" y="13173"/>
                    <a:pt x="28757" y="11021"/>
                    <a:pt x="26777" y="9471"/>
                  </a:cubicBezTo>
                  <a:cubicBezTo>
                    <a:pt x="24882" y="7921"/>
                    <a:pt x="22299" y="7060"/>
                    <a:pt x="19028" y="7060"/>
                  </a:cubicBezTo>
                  <a:cubicBezTo>
                    <a:pt x="16014" y="7060"/>
                    <a:pt x="13690" y="7663"/>
                    <a:pt x="11882" y="8954"/>
                  </a:cubicBezTo>
                  <a:cubicBezTo>
                    <a:pt x="10074" y="10246"/>
                    <a:pt x="9213" y="11882"/>
                    <a:pt x="9213" y="13948"/>
                  </a:cubicBezTo>
                  <a:cubicBezTo>
                    <a:pt x="9213" y="15584"/>
                    <a:pt x="9729" y="16961"/>
                    <a:pt x="10848" y="17995"/>
                  </a:cubicBezTo>
                  <a:cubicBezTo>
                    <a:pt x="11882" y="19028"/>
                    <a:pt x="13259" y="19889"/>
                    <a:pt x="14895" y="20578"/>
                  </a:cubicBezTo>
                  <a:cubicBezTo>
                    <a:pt x="16531" y="21180"/>
                    <a:pt x="18770" y="21955"/>
                    <a:pt x="21611" y="22730"/>
                  </a:cubicBezTo>
                  <a:cubicBezTo>
                    <a:pt x="25227" y="23677"/>
                    <a:pt x="28154" y="24624"/>
                    <a:pt x="30393" y="25571"/>
                  </a:cubicBezTo>
                  <a:cubicBezTo>
                    <a:pt x="32631" y="26518"/>
                    <a:pt x="34612" y="27896"/>
                    <a:pt x="36161" y="29790"/>
                  </a:cubicBezTo>
                  <a:cubicBezTo>
                    <a:pt x="37797" y="31684"/>
                    <a:pt x="38572" y="34181"/>
                    <a:pt x="38658" y="37194"/>
                  </a:cubicBezTo>
                  <a:cubicBezTo>
                    <a:pt x="38658" y="39950"/>
                    <a:pt x="37883" y="42360"/>
                    <a:pt x="36334" y="44599"/>
                  </a:cubicBezTo>
                  <a:cubicBezTo>
                    <a:pt x="34784" y="46751"/>
                    <a:pt x="32631" y="48559"/>
                    <a:pt x="29876" y="49765"/>
                  </a:cubicBezTo>
                  <a:cubicBezTo>
                    <a:pt x="27121" y="50970"/>
                    <a:pt x="23935" y="51659"/>
                    <a:pt x="20319" y="51659"/>
                  </a:cubicBezTo>
                  <a:cubicBezTo>
                    <a:pt x="16445" y="51659"/>
                    <a:pt x="13001" y="50970"/>
                    <a:pt x="9987" y="49679"/>
                  </a:cubicBezTo>
                  <a:close/>
                </a:path>
              </a:pathLst>
            </a:custGeom>
            <a:grpFill/>
            <a:ln w="86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1A9F1C0A-0492-53EC-8FF7-87960AEDF140}"/>
                </a:ext>
              </a:extLst>
            </p:cNvPr>
            <p:cNvSpPr/>
            <p:nvPr/>
          </p:nvSpPr>
          <p:spPr>
            <a:xfrm>
              <a:off x="11600731" y="586622"/>
              <a:ext cx="27895" cy="62593"/>
            </a:xfrm>
            <a:custGeom>
              <a:avLst/>
              <a:gdLst>
                <a:gd name="connsiteX0" fmla="*/ 14723 w 27895"/>
                <a:gd name="connsiteY0" fmla="*/ 19286 h 62593"/>
                <a:gd name="connsiteX1" fmla="*/ 14723 w 27895"/>
                <a:gd name="connsiteY1" fmla="*/ 48818 h 62593"/>
                <a:gd name="connsiteX2" fmla="*/ 16273 w 27895"/>
                <a:gd name="connsiteY2" fmla="*/ 53984 h 62593"/>
                <a:gd name="connsiteX3" fmla="*/ 21697 w 27895"/>
                <a:gd name="connsiteY3" fmla="*/ 55533 h 62593"/>
                <a:gd name="connsiteX4" fmla="*/ 27810 w 27895"/>
                <a:gd name="connsiteY4" fmla="*/ 55533 h 62593"/>
                <a:gd name="connsiteX5" fmla="*/ 27810 w 27895"/>
                <a:gd name="connsiteY5" fmla="*/ 62593 h 62593"/>
                <a:gd name="connsiteX6" fmla="*/ 20319 w 27895"/>
                <a:gd name="connsiteY6" fmla="*/ 62593 h 62593"/>
                <a:gd name="connsiteX7" fmla="*/ 9901 w 27895"/>
                <a:gd name="connsiteY7" fmla="*/ 59408 h 62593"/>
                <a:gd name="connsiteX8" fmla="*/ 6457 w 27895"/>
                <a:gd name="connsiteY8" fmla="*/ 48904 h 62593"/>
                <a:gd name="connsiteX9" fmla="*/ 6457 w 27895"/>
                <a:gd name="connsiteY9" fmla="*/ 19372 h 62593"/>
                <a:gd name="connsiteX10" fmla="*/ 0 w 27895"/>
                <a:gd name="connsiteY10" fmla="*/ 19372 h 62593"/>
                <a:gd name="connsiteX11" fmla="*/ 0 w 27895"/>
                <a:gd name="connsiteY11" fmla="*/ 12570 h 62593"/>
                <a:gd name="connsiteX12" fmla="*/ 6457 w 27895"/>
                <a:gd name="connsiteY12" fmla="*/ 12570 h 62593"/>
                <a:gd name="connsiteX13" fmla="*/ 6457 w 27895"/>
                <a:gd name="connsiteY13" fmla="*/ 0 h 62593"/>
                <a:gd name="connsiteX14" fmla="*/ 14809 w 27895"/>
                <a:gd name="connsiteY14" fmla="*/ 0 h 62593"/>
                <a:gd name="connsiteX15" fmla="*/ 14809 w 27895"/>
                <a:gd name="connsiteY15" fmla="*/ 12570 h 62593"/>
                <a:gd name="connsiteX16" fmla="*/ 27896 w 27895"/>
                <a:gd name="connsiteY16" fmla="*/ 12570 h 62593"/>
                <a:gd name="connsiteX17" fmla="*/ 27896 w 27895"/>
                <a:gd name="connsiteY17" fmla="*/ 19372 h 62593"/>
                <a:gd name="connsiteX18" fmla="*/ 14809 w 27895"/>
                <a:gd name="connsiteY18" fmla="*/ 19372 h 62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7895" h="62593">
                  <a:moveTo>
                    <a:pt x="14723" y="19286"/>
                  </a:moveTo>
                  <a:lnTo>
                    <a:pt x="14723" y="48818"/>
                  </a:lnTo>
                  <a:cubicBezTo>
                    <a:pt x="14723" y="51228"/>
                    <a:pt x="15239" y="52950"/>
                    <a:pt x="16273" y="53984"/>
                  </a:cubicBezTo>
                  <a:cubicBezTo>
                    <a:pt x="17306" y="55017"/>
                    <a:pt x="19114" y="55533"/>
                    <a:pt x="21697" y="55533"/>
                  </a:cubicBezTo>
                  <a:lnTo>
                    <a:pt x="27810" y="55533"/>
                  </a:lnTo>
                  <a:lnTo>
                    <a:pt x="27810" y="62593"/>
                  </a:lnTo>
                  <a:lnTo>
                    <a:pt x="20319" y="62593"/>
                  </a:lnTo>
                  <a:cubicBezTo>
                    <a:pt x="15670" y="62593"/>
                    <a:pt x="12226" y="61560"/>
                    <a:pt x="9901" y="59408"/>
                  </a:cubicBezTo>
                  <a:cubicBezTo>
                    <a:pt x="7577" y="57255"/>
                    <a:pt x="6457" y="53811"/>
                    <a:pt x="6457" y="48904"/>
                  </a:cubicBezTo>
                  <a:lnTo>
                    <a:pt x="6457" y="19372"/>
                  </a:lnTo>
                  <a:lnTo>
                    <a:pt x="0" y="19372"/>
                  </a:lnTo>
                  <a:lnTo>
                    <a:pt x="0" y="12570"/>
                  </a:lnTo>
                  <a:lnTo>
                    <a:pt x="6457" y="12570"/>
                  </a:lnTo>
                  <a:lnTo>
                    <a:pt x="6457" y="0"/>
                  </a:lnTo>
                  <a:lnTo>
                    <a:pt x="14809" y="0"/>
                  </a:lnTo>
                  <a:lnTo>
                    <a:pt x="14809" y="12570"/>
                  </a:lnTo>
                  <a:lnTo>
                    <a:pt x="27896" y="12570"/>
                  </a:lnTo>
                  <a:lnTo>
                    <a:pt x="27896" y="19372"/>
                  </a:lnTo>
                  <a:lnTo>
                    <a:pt x="14809" y="19372"/>
                  </a:lnTo>
                  <a:close/>
                </a:path>
              </a:pathLst>
            </a:custGeom>
            <a:grpFill/>
            <a:ln w="86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F9AF4996-878E-83DA-B1CF-2276720D424A}"/>
                </a:ext>
              </a:extLst>
            </p:cNvPr>
            <p:cNvSpPr/>
            <p:nvPr/>
          </p:nvSpPr>
          <p:spPr>
            <a:xfrm>
              <a:off x="11638442" y="581542"/>
              <a:ext cx="44857" cy="67587"/>
            </a:xfrm>
            <a:custGeom>
              <a:avLst/>
              <a:gdLst>
                <a:gd name="connsiteX0" fmla="*/ 35128 w 44857"/>
                <a:gd name="connsiteY0" fmla="*/ 19028 h 67587"/>
                <a:gd name="connsiteX1" fmla="*/ 42274 w 44857"/>
                <a:gd name="connsiteY1" fmla="*/ 26260 h 67587"/>
                <a:gd name="connsiteX2" fmla="*/ 44857 w 44857"/>
                <a:gd name="connsiteY2" fmla="*/ 38055 h 67587"/>
                <a:gd name="connsiteX3" fmla="*/ 44857 w 44857"/>
                <a:gd name="connsiteY3" fmla="*/ 67587 h 67587"/>
                <a:gd name="connsiteX4" fmla="*/ 36678 w 44857"/>
                <a:gd name="connsiteY4" fmla="*/ 67587 h 67587"/>
                <a:gd name="connsiteX5" fmla="*/ 36678 w 44857"/>
                <a:gd name="connsiteY5" fmla="*/ 39261 h 67587"/>
                <a:gd name="connsiteX6" fmla="*/ 32890 w 44857"/>
                <a:gd name="connsiteY6" fmla="*/ 27810 h 67587"/>
                <a:gd name="connsiteX7" fmla="*/ 22644 w 44857"/>
                <a:gd name="connsiteY7" fmla="*/ 23849 h 67587"/>
                <a:gd name="connsiteX8" fmla="*/ 12226 w 44857"/>
                <a:gd name="connsiteY8" fmla="*/ 27982 h 67587"/>
                <a:gd name="connsiteX9" fmla="*/ 8352 w 44857"/>
                <a:gd name="connsiteY9" fmla="*/ 39950 h 67587"/>
                <a:gd name="connsiteX10" fmla="*/ 8352 w 44857"/>
                <a:gd name="connsiteY10" fmla="*/ 67587 h 67587"/>
                <a:gd name="connsiteX11" fmla="*/ 0 w 44857"/>
                <a:gd name="connsiteY11" fmla="*/ 67587 h 67587"/>
                <a:gd name="connsiteX12" fmla="*/ 0 w 44857"/>
                <a:gd name="connsiteY12" fmla="*/ 0 h 67587"/>
                <a:gd name="connsiteX13" fmla="*/ 8352 w 44857"/>
                <a:gd name="connsiteY13" fmla="*/ 0 h 67587"/>
                <a:gd name="connsiteX14" fmla="*/ 8352 w 44857"/>
                <a:gd name="connsiteY14" fmla="*/ 24624 h 67587"/>
                <a:gd name="connsiteX15" fmla="*/ 15153 w 44857"/>
                <a:gd name="connsiteY15" fmla="*/ 18683 h 67587"/>
                <a:gd name="connsiteX16" fmla="*/ 24882 w 44857"/>
                <a:gd name="connsiteY16" fmla="*/ 16617 h 67587"/>
                <a:gd name="connsiteX17" fmla="*/ 35128 w 44857"/>
                <a:gd name="connsiteY17" fmla="*/ 19028 h 67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4857" h="67587">
                  <a:moveTo>
                    <a:pt x="35128" y="19028"/>
                  </a:moveTo>
                  <a:cubicBezTo>
                    <a:pt x="38142" y="20664"/>
                    <a:pt x="40552" y="23074"/>
                    <a:pt x="42274" y="26260"/>
                  </a:cubicBezTo>
                  <a:cubicBezTo>
                    <a:pt x="43996" y="29532"/>
                    <a:pt x="44857" y="33406"/>
                    <a:pt x="44857" y="38055"/>
                  </a:cubicBezTo>
                  <a:lnTo>
                    <a:pt x="44857" y="67587"/>
                  </a:lnTo>
                  <a:lnTo>
                    <a:pt x="36678" y="67587"/>
                  </a:lnTo>
                  <a:lnTo>
                    <a:pt x="36678" y="39261"/>
                  </a:lnTo>
                  <a:cubicBezTo>
                    <a:pt x="36678" y="34267"/>
                    <a:pt x="35386" y="30479"/>
                    <a:pt x="32890" y="27810"/>
                  </a:cubicBezTo>
                  <a:cubicBezTo>
                    <a:pt x="30393" y="25141"/>
                    <a:pt x="26949" y="23849"/>
                    <a:pt x="22644" y="23849"/>
                  </a:cubicBezTo>
                  <a:cubicBezTo>
                    <a:pt x="18339" y="23849"/>
                    <a:pt x="14809" y="25227"/>
                    <a:pt x="12226" y="27982"/>
                  </a:cubicBezTo>
                  <a:cubicBezTo>
                    <a:pt x="9643" y="30737"/>
                    <a:pt x="8352" y="34698"/>
                    <a:pt x="8352" y="39950"/>
                  </a:cubicBezTo>
                  <a:lnTo>
                    <a:pt x="8352" y="67587"/>
                  </a:lnTo>
                  <a:lnTo>
                    <a:pt x="0" y="67587"/>
                  </a:lnTo>
                  <a:lnTo>
                    <a:pt x="0" y="0"/>
                  </a:lnTo>
                  <a:lnTo>
                    <a:pt x="8352" y="0"/>
                  </a:lnTo>
                  <a:lnTo>
                    <a:pt x="8352" y="24624"/>
                  </a:lnTo>
                  <a:cubicBezTo>
                    <a:pt x="9987" y="22041"/>
                    <a:pt x="12226" y="20061"/>
                    <a:pt x="15153" y="18683"/>
                  </a:cubicBezTo>
                  <a:cubicBezTo>
                    <a:pt x="18081" y="17306"/>
                    <a:pt x="21266" y="16617"/>
                    <a:pt x="24882" y="16617"/>
                  </a:cubicBezTo>
                  <a:cubicBezTo>
                    <a:pt x="28671" y="16617"/>
                    <a:pt x="32029" y="17392"/>
                    <a:pt x="35128" y="19028"/>
                  </a:cubicBezTo>
                  <a:close/>
                </a:path>
              </a:pathLst>
            </a:custGeom>
            <a:grpFill/>
            <a:ln w="86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443A1B45-99EF-ACC7-EA28-292642719118}"/>
                </a:ext>
              </a:extLst>
            </p:cNvPr>
            <p:cNvSpPr/>
            <p:nvPr/>
          </p:nvSpPr>
          <p:spPr>
            <a:xfrm>
              <a:off x="11696817" y="598245"/>
              <a:ext cx="80674" cy="50884"/>
            </a:xfrm>
            <a:custGeom>
              <a:avLst/>
              <a:gdLst>
                <a:gd name="connsiteX0" fmla="*/ 70773 w 80674"/>
                <a:gd name="connsiteY0" fmla="*/ 2325 h 50884"/>
                <a:gd name="connsiteX1" fmla="*/ 78005 w 80674"/>
                <a:gd name="connsiteY1" fmla="*/ 9557 h 50884"/>
                <a:gd name="connsiteX2" fmla="*/ 80674 w 80674"/>
                <a:gd name="connsiteY2" fmla="*/ 21352 h 50884"/>
                <a:gd name="connsiteX3" fmla="*/ 80674 w 80674"/>
                <a:gd name="connsiteY3" fmla="*/ 50884 h 50884"/>
                <a:gd name="connsiteX4" fmla="*/ 72409 w 80674"/>
                <a:gd name="connsiteY4" fmla="*/ 50884 h 50884"/>
                <a:gd name="connsiteX5" fmla="*/ 72409 w 80674"/>
                <a:gd name="connsiteY5" fmla="*/ 22558 h 50884"/>
                <a:gd name="connsiteX6" fmla="*/ 68707 w 80674"/>
                <a:gd name="connsiteY6" fmla="*/ 11107 h 50884"/>
                <a:gd name="connsiteX7" fmla="*/ 58719 w 80674"/>
                <a:gd name="connsiteY7" fmla="*/ 7146 h 50884"/>
                <a:gd name="connsiteX8" fmla="*/ 48387 w 80674"/>
                <a:gd name="connsiteY8" fmla="*/ 11279 h 50884"/>
                <a:gd name="connsiteX9" fmla="*/ 44513 w 80674"/>
                <a:gd name="connsiteY9" fmla="*/ 23333 h 50884"/>
                <a:gd name="connsiteX10" fmla="*/ 44513 w 80674"/>
                <a:gd name="connsiteY10" fmla="*/ 50884 h 50884"/>
                <a:gd name="connsiteX11" fmla="*/ 36247 w 80674"/>
                <a:gd name="connsiteY11" fmla="*/ 50884 h 50884"/>
                <a:gd name="connsiteX12" fmla="*/ 36247 w 80674"/>
                <a:gd name="connsiteY12" fmla="*/ 22558 h 50884"/>
                <a:gd name="connsiteX13" fmla="*/ 32545 w 80674"/>
                <a:gd name="connsiteY13" fmla="*/ 11107 h 50884"/>
                <a:gd name="connsiteX14" fmla="*/ 22558 w 80674"/>
                <a:gd name="connsiteY14" fmla="*/ 7146 h 50884"/>
                <a:gd name="connsiteX15" fmla="*/ 12226 w 80674"/>
                <a:gd name="connsiteY15" fmla="*/ 11279 h 50884"/>
                <a:gd name="connsiteX16" fmla="*/ 8352 w 80674"/>
                <a:gd name="connsiteY16" fmla="*/ 23333 h 50884"/>
                <a:gd name="connsiteX17" fmla="*/ 8352 w 80674"/>
                <a:gd name="connsiteY17" fmla="*/ 50884 h 50884"/>
                <a:gd name="connsiteX18" fmla="*/ 0 w 80674"/>
                <a:gd name="connsiteY18" fmla="*/ 50884 h 50884"/>
                <a:gd name="connsiteX19" fmla="*/ 0 w 80674"/>
                <a:gd name="connsiteY19" fmla="*/ 861 h 50884"/>
                <a:gd name="connsiteX20" fmla="*/ 8352 w 80674"/>
                <a:gd name="connsiteY20" fmla="*/ 861 h 50884"/>
                <a:gd name="connsiteX21" fmla="*/ 8352 w 80674"/>
                <a:gd name="connsiteY21" fmla="*/ 8093 h 50884"/>
                <a:gd name="connsiteX22" fmla="*/ 14981 w 80674"/>
                <a:gd name="connsiteY22" fmla="*/ 2066 h 50884"/>
                <a:gd name="connsiteX23" fmla="*/ 24194 w 80674"/>
                <a:gd name="connsiteY23" fmla="*/ 0 h 50884"/>
                <a:gd name="connsiteX24" fmla="*/ 35300 w 80674"/>
                <a:gd name="connsiteY24" fmla="*/ 2841 h 50884"/>
                <a:gd name="connsiteX25" fmla="*/ 42533 w 80674"/>
                <a:gd name="connsiteY25" fmla="*/ 11107 h 50884"/>
                <a:gd name="connsiteX26" fmla="*/ 49507 w 80674"/>
                <a:gd name="connsiteY26" fmla="*/ 2927 h 50884"/>
                <a:gd name="connsiteX27" fmla="*/ 60269 w 80674"/>
                <a:gd name="connsiteY27" fmla="*/ 0 h 50884"/>
                <a:gd name="connsiteX28" fmla="*/ 70687 w 80674"/>
                <a:gd name="connsiteY28" fmla="*/ 2411 h 50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80674" h="50884">
                  <a:moveTo>
                    <a:pt x="70773" y="2325"/>
                  </a:moveTo>
                  <a:cubicBezTo>
                    <a:pt x="73786" y="3961"/>
                    <a:pt x="76197" y="6371"/>
                    <a:pt x="78005" y="9557"/>
                  </a:cubicBezTo>
                  <a:cubicBezTo>
                    <a:pt x="79727" y="12829"/>
                    <a:pt x="80674" y="16703"/>
                    <a:pt x="80674" y="21352"/>
                  </a:cubicBezTo>
                  <a:lnTo>
                    <a:pt x="80674" y="50884"/>
                  </a:lnTo>
                  <a:lnTo>
                    <a:pt x="72409" y="50884"/>
                  </a:lnTo>
                  <a:lnTo>
                    <a:pt x="72409" y="22558"/>
                  </a:lnTo>
                  <a:cubicBezTo>
                    <a:pt x="72409" y="17564"/>
                    <a:pt x="71203" y="13776"/>
                    <a:pt x="68707" y="11107"/>
                  </a:cubicBezTo>
                  <a:cubicBezTo>
                    <a:pt x="66210" y="8438"/>
                    <a:pt x="62938" y="7146"/>
                    <a:pt x="58719" y="7146"/>
                  </a:cubicBezTo>
                  <a:cubicBezTo>
                    <a:pt x="54500" y="7146"/>
                    <a:pt x="50970" y="8524"/>
                    <a:pt x="48387" y="11279"/>
                  </a:cubicBezTo>
                  <a:cubicBezTo>
                    <a:pt x="45804" y="14034"/>
                    <a:pt x="44513" y="18081"/>
                    <a:pt x="44513" y="23333"/>
                  </a:cubicBezTo>
                  <a:lnTo>
                    <a:pt x="44513" y="50884"/>
                  </a:lnTo>
                  <a:lnTo>
                    <a:pt x="36247" y="50884"/>
                  </a:lnTo>
                  <a:lnTo>
                    <a:pt x="36247" y="22558"/>
                  </a:lnTo>
                  <a:cubicBezTo>
                    <a:pt x="36247" y="17564"/>
                    <a:pt x="35042" y="13776"/>
                    <a:pt x="32545" y="11107"/>
                  </a:cubicBezTo>
                  <a:cubicBezTo>
                    <a:pt x="30048" y="8438"/>
                    <a:pt x="26777" y="7146"/>
                    <a:pt x="22558" y="7146"/>
                  </a:cubicBezTo>
                  <a:cubicBezTo>
                    <a:pt x="18339" y="7146"/>
                    <a:pt x="14809" y="8524"/>
                    <a:pt x="12226" y="11279"/>
                  </a:cubicBezTo>
                  <a:cubicBezTo>
                    <a:pt x="9643" y="14034"/>
                    <a:pt x="8352" y="18081"/>
                    <a:pt x="8352" y="23333"/>
                  </a:cubicBezTo>
                  <a:lnTo>
                    <a:pt x="8352" y="50884"/>
                  </a:lnTo>
                  <a:lnTo>
                    <a:pt x="0" y="50884"/>
                  </a:lnTo>
                  <a:lnTo>
                    <a:pt x="0" y="861"/>
                  </a:lnTo>
                  <a:lnTo>
                    <a:pt x="8352" y="861"/>
                  </a:lnTo>
                  <a:lnTo>
                    <a:pt x="8352" y="8093"/>
                  </a:lnTo>
                  <a:cubicBezTo>
                    <a:pt x="9987" y="5510"/>
                    <a:pt x="12226" y="3444"/>
                    <a:pt x="14981" y="2066"/>
                  </a:cubicBezTo>
                  <a:cubicBezTo>
                    <a:pt x="17736" y="689"/>
                    <a:pt x="20836" y="0"/>
                    <a:pt x="24194" y="0"/>
                  </a:cubicBezTo>
                  <a:cubicBezTo>
                    <a:pt x="28413" y="0"/>
                    <a:pt x="32115" y="947"/>
                    <a:pt x="35300" y="2841"/>
                  </a:cubicBezTo>
                  <a:cubicBezTo>
                    <a:pt x="38572" y="4735"/>
                    <a:pt x="40897" y="7491"/>
                    <a:pt x="42533" y="11107"/>
                  </a:cubicBezTo>
                  <a:cubicBezTo>
                    <a:pt x="43910" y="7577"/>
                    <a:pt x="46235" y="4822"/>
                    <a:pt x="49507" y="2927"/>
                  </a:cubicBezTo>
                  <a:cubicBezTo>
                    <a:pt x="52778" y="947"/>
                    <a:pt x="56308" y="0"/>
                    <a:pt x="60269" y="0"/>
                  </a:cubicBezTo>
                  <a:cubicBezTo>
                    <a:pt x="64229" y="0"/>
                    <a:pt x="67673" y="775"/>
                    <a:pt x="70687" y="2411"/>
                  </a:cubicBezTo>
                  <a:close/>
                </a:path>
              </a:pathLst>
            </a:custGeom>
            <a:grpFill/>
            <a:ln w="86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9D13EE5B-D9D1-21C9-4B56-A036DDCEBE92}"/>
                </a:ext>
              </a:extLst>
            </p:cNvPr>
            <p:cNvSpPr/>
            <p:nvPr/>
          </p:nvSpPr>
          <p:spPr>
            <a:xfrm>
              <a:off x="11787995" y="598331"/>
              <a:ext cx="50798" cy="51658"/>
            </a:xfrm>
            <a:custGeom>
              <a:avLst/>
              <a:gdLst>
                <a:gd name="connsiteX0" fmla="*/ 3013 w 50798"/>
                <a:gd name="connsiteY0" fmla="*/ 12140 h 51658"/>
                <a:gd name="connsiteX1" fmla="*/ 11537 w 50798"/>
                <a:gd name="connsiteY1" fmla="*/ 3186 h 51658"/>
                <a:gd name="connsiteX2" fmla="*/ 23677 w 50798"/>
                <a:gd name="connsiteY2" fmla="*/ 0 h 51658"/>
                <a:gd name="connsiteX3" fmla="*/ 35128 w 50798"/>
                <a:gd name="connsiteY3" fmla="*/ 2841 h 51658"/>
                <a:gd name="connsiteX4" fmla="*/ 42360 w 50798"/>
                <a:gd name="connsiteY4" fmla="*/ 9987 h 51658"/>
                <a:gd name="connsiteX5" fmla="*/ 42360 w 50798"/>
                <a:gd name="connsiteY5" fmla="*/ 861 h 51658"/>
                <a:gd name="connsiteX6" fmla="*/ 50798 w 50798"/>
                <a:gd name="connsiteY6" fmla="*/ 861 h 51658"/>
                <a:gd name="connsiteX7" fmla="*/ 50798 w 50798"/>
                <a:gd name="connsiteY7" fmla="*/ 50884 h 51658"/>
                <a:gd name="connsiteX8" fmla="*/ 42360 w 50798"/>
                <a:gd name="connsiteY8" fmla="*/ 50884 h 51658"/>
                <a:gd name="connsiteX9" fmla="*/ 42360 w 50798"/>
                <a:gd name="connsiteY9" fmla="*/ 41585 h 51658"/>
                <a:gd name="connsiteX10" fmla="*/ 35042 w 50798"/>
                <a:gd name="connsiteY10" fmla="*/ 48818 h 51658"/>
                <a:gd name="connsiteX11" fmla="*/ 23677 w 50798"/>
                <a:gd name="connsiteY11" fmla="*/ 51659 h 51658"/>
                <a:gd name="connsiteX12" fmla="*/ 11623 w 50798"/>
                <a:gd name="connsiteY12" fmla="*/ 48387 h 51658"/>
                <a:gd name="connsiteX13" fmla="*/ 3100 w 50798"/>
                <a:gd name="connsiteY13" fmla="*/ 39175 h 51658"/>
                <a:gd name="connsiteX14" fmla="*/ 0 w 50798"/>
                <a:gd name="connsiteY14" fmla="*/ 25657 h 51658"/>
                <a:gd name="connsiteX15" fmla="*/ 3100 w 50798"/>
                <a:gd name="connsiteY15" fmla="*/ 12226 h 51658"/>
                <a:gd name="connsiteX16" fmla="*/ 40036 w 50798"/>
                <a:gd name="connsiteY16" fmla="*/ 15842 h 51658"/>
                <a:gd name="connsiteX17" fmla="*/ 33837 w 50798"/>
                <a:gd name="connsiteY17" fmla="*/ 9385 h 51658"/>
                <a:gd name="connsiteX18" fmla="*/ 25313 w 50798"/>
                <a:gd name="connsiteY18" fmla="*/ 7146 h 51658"/>
                <a:gd name="connsiteX19" fmla="*/ 16789 w 50798"/>
                <a:gd name="connsiteY19" fmla="*/ 9299 h 51658"/>
                <a:gd name="connsiteX20" fmla="*/ 10676 w 50798"/>
                <a:gd name="connsiteY20" fmla="*/ 15670 h 51658"/>
                <a:gd name="connsiteX21" fmla="*/ 8352 w 50798"/>
                <a:gd name="connsiteY21" fmla="*/ 25571 h 51658"/>
                <a:gd name="connsiteX22" fmla="*/ 10676 w 50798"/>
                <a:gd name="connsiteY22" fmla="*/ 35559 h 51658"/>
                <a:gd name="connsiteX23" fmla="*/ 16789 w 50798"/>
                <a:gd name="connsiteY23" fmla="*/ 42016 h 51658"/>
                <a:gd name="connsiteX24" fmla="*/ 25313 w 50798"/>
                <a:gd name="connsiteY24" fmla="*/ 44255 h 51658"/>
                <a:gd name="connsiteX25" fmla="*/ 33837 w 50798"/>
                <a:gd name="connsiteY25" fmla="*/ 42016 h 51658"/>
                <a:gd name="connsiteX26" fmla="*/ 40036 w 50798"/>
                <a:gd name="connsiteY26" fmla="*/ 35559 h 51658"/>
                <a:gd name="connsiteX27" fmla="*/ 42360 w 50798"/>
                <a:gd name="connsiteY27" fmla="*/ 25657 h 51658"/>
                <a:gd name="connsiteX28" fmla="*/ 40036 w 50798"/>
                <a:gd name="connsiteY28" fmla="*/ 15756 h 51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0798" h="51658">
                  <a:moveTo>
                    <a:pt x="3013" y="12140"/>
                  </a:moveTo>
                  <a:cubicBezTo>
                    <a:pt x="5080" y="8265"/>
                    <a:pt x="7921" y="5252"/>
                    <a:pt x="11537" y="3186"/>
                  </a:cubicBezTo>
                  <a:cubicBezTo>
                    <a:pt x="15153" y="1033"/>
                    <a:pt x="19200" y="0"/>
                    <a:pt x="23677" y="0"/>
                  </a:cubicBezTo>
                  <a:cubicBezTo>
                    <a:pt x="28154" y="0"/>
                    <a:pt x="31856" y="947"/>
                    <a:pt x="35128" y="2841"/>
                  </a:cubicBezTo>
                  <a:cubicBezTo>
                    <a:pt x="38314" y="4735"/>
                    <a:pt x="40725" y="7146"/>
                    <a:pt x="42360" y="9987"/>
                  </a:cubicBezTo>
                  <a:lnTo>
                    <a:pt x="42360" y="861"/>
                  </a:lnTo>
                  <a:lnTo>
                    <a:pt x="50798" y="861"/>
                  </a:lnTo>
                  <a:lnTo>
                    <a:pt x="50798" y="50884"/>
                  </a:lnTo>
                  <a:lnTo>
                    <a:pt x="42360" y="50884"/>
                  </a:lnTo>
                  <a:lnTo>
                    <a:pt x="42360" y="41585"/>
                  </a:lnTo>
                  <a:cubicBezTo>
                    <a:pt x="40725" y="44513"/>
                    <a:pt x="38228" y="46924"/>
                    <a:pt x="35042" y="48818"/>
                  </a:cubicBezTo>
                  <a:cubicBezTo>
                    <a:pt x="31856" y="50712"/>
                    <a:pt x="27982" y="51659"/>
                    <a:pt x="23677" y="51659"/>
                  </a:cubicBezTo>
                  <a:cubicBezTo>
                    <a:pt x="19372" y="51659"/>
                    <a:pt x="15239" y="50540"/>
                    <a:pt x="11623" y="48387"/>
                  </a:cubicBezTo>
                  <a:cubicBezTo>
                    <a:pt x="8007" y="46235"/>
                    <a:pt x="5166" y="43135"/>
                    <a:pt x="3100" y="39175"/>
                  </a:cubicBezTo>
                  <a:cubicBezTo>
                    <a:pt x="1033" y="35214"/>
                    <a:pt x="0" y="30737"/>
                    <a:pt x="0" y="25657"/>
                  </a:cubicBezTo>
                  <a:cubicBezTo>
                    <a:pt x="0" y="20577"/>
                    <a:pt x="1033" y="16014"/>
                    <a:pt x="3100" y="12226"/>
                  </a:cubicBezTo>
                  <a:close/>
                  <a:moveTo>
                    <a:pt x="40036" y="15842"/>
                  </a:moveTo>
                  <a:cubicBezTo>
                    <a:pt x="38486" y="13001"/>
                    <a:pt x="36420" y="10934"/>
                    <a:pt x="33837" y="9385"/>
                  </a:cubicBezTo>
                  <a:cubicBezTo>
                    <a:pt x="31254" y="7921"/>
                    <a:pt x="28413" y="7146"/>
                    <a:pt x="25313" y="7146"/>
                  </a:cubicBezTo>
                  <a:cubicBezTo>
                    <a:pt x="22213" y="7146"/>
                    <a:pt x="19372" y="7835"/>
                    <a:pt x="16789" y="9299"/>
                  </a:cubicBezTo>
                  <a:cubicBezTo>
                    <a:pt x="14206" y="10762"/>
                    <a:pt x="12226" y="12915"/>
                    <a:pt x="10676" y="15670"/>
                  </a:cubicBezTo>
                  <a:cubicBezTo>
                    <a:pt x="9126" y="18511"/>
                    <a:pt x="8352" y="21783"/>
                    <a:pt x="8352" y="25571"/>
                  </a:cubicBezTo>
                  <a:cubicBezTo>
                    <a:pt x="8352" y="29360"/>
                    <a:pt x="9126" y="32717"/>
                    <a:pt x="10676" y="35559"/>
                  </a:cubicBezTo>
                  <a:cubicBezTo>
                    <a:pt x="12226" y="38400"/>
                    <a:pt x="14206" y="40552"/>
                    <a:pt x="16789" y="42016"/>
                  </a:cubicBezTo>
                  <a:cubicBezTo>
                    <a:pt x="19372" y="43480"/>
                    <a:pt x="22213" y="44255"/>
                    <a:pt x="25313" y="44255"/>
                  </a:cubicBezTo>
                  <a:cubicBezTo>
                    <a:pt x="28413" y="44255"/>
                    <a:pt x="31254" y="43480"/>
                    <a:pt x="33837" y="42016"/>
                  </a:cubicBezTo>
                  <a:cubicBezTo>
                    <a:pt x="36420" y="40552"/>
                    <a:pt x="38486" y="38400"/>
                    <a:pt x="40036" y="35559"/>
                  </a:cubicBezTo>
                  <a:cubicBezTo>
                    <a:pt x="41586" y="32717"/>
                    <a:pt x="42360" y="29446"/>
                    <a:pt x="42360" y="25657"/>
                  </a:cubicBezTo>
                  <a:cubicBezTo>
                    <a:pt x="42360" y="21869"/>
                    <a:pt x="41586" y="18597"/>
                    <a:pt x="40036" y="15756"/>
                  </a:cubicBezTo>
                  <a:close/>
                </a:path>
              </a:pathLst>
            </a:custGeom>
            <a:grpFill/>
            <a:ln w="86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1060FA14-7419-A986-9E4B-1757A055C961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5893563" y="63501"/>
            <a:ext cx="433388" cy="153888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pt-BR" sz="1000">
                <a:solidFill>
                  <a:srgbClr val="4A569E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9522959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  <p:sldLayoutId id="2147483854" r:id="rId5"/>
    <p:sldLayoutId id="2147483855" r:id="rId6"/>
    <p:sldLayoutId id="2147483856" r:id="rId7"/>
    <p:sldLayoutId id="2147483857" r:id="rId8"/>
    <p:sldLayoutId id="2147483858" r:id="rId9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eaLnBrk="1" hangingPunct="1">
        <a:lnSpc>
          <a:spcPct val="85000"/>
        </a:lnSpc>
        <a:defRPr sz="2800" b="0" i="0" dirty="0">
          <a:solidFill>
            <a:schemeClr val="tx1"/>
          </a:solidFill>
          <a:latin typeface="+mn-lt"/>
          <a:ea typeface="+mj-ea"/>
          <a:cs typeface="+mn-cs"/>
        </a:defRPr>
      </a:lvl1pPr>
    </p:titleStyle>
    <p:bodyStyle>
      <a:lvl1pPr marL="228598" indent="-228598" eaLnBrk="1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•"/>
        <a:defRPr sz="2400" b="0" i="0">
          <a:solidFill>
            <a:schemeClr val="tx1"/>
          </a:solidFill>
          <a:latin typeface="+mn-lt"/>
          <a:ea typeface="+mj-ea"/>
          <a:cs typeface="+mn-cs"/>
        </a:defRPr>
      </a:lvl1pPr>
      <a:lvl2pPr marL="514344" indent="-177798" eaLnBrk="1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2pPr>
      <a:lvl3pPr marL="860414" indent="-184147" eaLnBrk="1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198549" indent="-177798" eaLnBrk="1" hangingPunct="1">
        <a:lnSpc>
          <a:spcPct val="90000"/>
        </a:lnSpc>
        <a:spcBef>
          <a:spcPts val="201"/>
        </a:spcBef>
        <a:buFont typeface="Arial" panose="020B0604020202020204" pitchFamily="34" charset="0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544620" indent="-177798" eaLnBrk="1" hangingPunct="1">
        <a:lnSpc>
          <a:spcPct val="90000"/>
        </a:lnSpc>
        <a:spcBef>
          <a:spcPts val="201"/>
        </a:spcBef>
        <a:buFont typeface="Arial" panose="020B0604020202020204" pitchFamily="34" charset="0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1386233" eaLnBrk="1" hangingPunct="1">
        <a:defRPr>
          <a:latin typeface="+mn-lt"/>
          <a:ea typeface="+mn-ea"/>
          <a:cs typeface="+mn-cs"/>
        </a:defRPr>
      </a:lvl6pPr>
      <a:lvl7pPr marL="1663480" eaLnBrk="1" hangingPunct="1">
        <a:defRPr>
          <a:latin typeface="+mn-lt"/>
          <a:ea typeface="+mn-ea"/>
          <a:cs typeface="+mn-cs"/>
        </a:defRPr>
      </a:lvl7pPr>
      <a:lvl8pPr marL="1940726" eaLnBrk="1" hangingPunct="1">
        <a:defRPr>
          <a:latin typeface="+mn-lt"/>
          <a:ea typeface="+mn-ea"/>
          <a:cs typeface="+mn-cs"/>
        </a:defRPr>
      </a:lvl8pPr>
      <a:lvl9pPr marL="2217975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277246" eaLnBrk="1" hangingPunct="1">
        <a:defRPr>
          <a:latin typeface="+mn-lt"/>
          <a:ea typeface="+mn-ea"/>
          <a:cs typeface="+mn-cs"/>
        </a:defRPr>
      </a:lvl2pPr>
      <a:lvl3pPr marL="554493" eaLnBrk="1" hangingPunct="1">
        <a:defRPr>
          <a:latin typeface="+mn-lt"/>
          <a:ea typeface="+mn-ea"/>
          <a:cs typeface="+mn-cs"/>
        </a:defRPr>
      </a:lvl3pPr>
      <a:lvl4pPr marL="831739" eaLnBrk="1" hangingPunct="1">
        <a:defRPr>
          <a:latin typeface="+mn-lt"/>
          <a:ea typeface="+mn-ea"/>
          <a:cs typeface="+mn-cs"/>
        </a:defRPr>
      </a:lvl4pPr>
      <a:lvl5pPr marL="1108987" eaLnBrk="1" hangingPunct="1">
        <a:defRPr>
          <a:latin typeface="+mn-lt"/>
          <a:ea typeface="+mn-ea"/>
          <a:cs typeface="+mn-cs"/>
        </a:defRPr>
      </a:lvl5pPr>
      <a:lvl6pPr marL="1386233" eaLnBrk="1" hangingPunct="1">
        <a:defRPr>
          <a:latin typeface="+mn-lt"/>
          <a:ea typeface="+mn-ea"/>
          <a:cs typeface="+mn-cs"/>
        </a:defRPr>
      </a:lvl6pPr>
      <a:lvl7pPr marL="1663480" eaLnBrk="1" hangingPunct="1">
        <a:defRPr>
          <a:latin typeface="+mn-lt"/>
          <a:ea typeface="+mn-ea"/>
          <a:cs typeface="+mn-cs"/>
        </a:defRPr>
      </a:lvl7pPr>
      <a:lvl8pPr marL="1940726" eaLnBrk="1" hangingPunct="1">
        <a:defRPr>
          <a:latin typeface="+mn-lt"/>
          <a:ea typeface="+mn-ea"/>
          <a:cs typeface="+mn-cs"/>
        </a:defRPr>
      </a:lvl8pPr>
      <a:lvl9pPr marL="2217975" eaLnBrk="1" hangingPunct="1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48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696">
          <p15:clr>
            <a:srgbClr val="F26B43"/>
          </p15:clr>
        </p15:guide>
        <p15:guide id="4" pos="240">
          <p15:clr>
            <a:srgbClr val="F26B43"/>
          </p15:clr>
        </p15:guide>
        <p15:guide id="5" pos="7440">
          <p15:clr>
            <a:srgbClr val="F26B43"/>
          </p15:clr>
        </p15:guide>
        <p15:guide id="9" orient="horz" pos="3929">
          <p15:clr>
            <a:srgbClr val="F26B43"/>
          </p15:clr>
        </p15:guide>
        <p15:guide id="10" orient="horz" pos="12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0" y="0"/>
            <a:ext cx="12192000" cy="967317"/>
          </a:xfrm>
          <a:prstGeom prst="rect">
            <a:avLst/>
          </a:prstGeom>
          <a:solidFill>
            <a:srgbClr val="0037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b"/>
          <a:lstStyle/>
          <a:p>
            <a:pPr algn="ctr" eaLnBrk="1" hangingPunct="1">
              <a:defRPr/>
            </a:pPr>
            <a:endParaRPr lang="de-DE" sz="240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719667" y="1316567"/>
            <a:ext cx="9601200" cy="8001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Überschrift Calibri </a:t>
            </a:r>
          </a:p>
        </p:txBody>
      </p:sp>
      <p:sp>
        <p:nvSpPr>
          <p:cNvPr id="2052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1367367" y="2372784"/>
            <a:ext cx="8953500" cy="3384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 Calibri</a:t>
            </a:r>
          </a:p>
          <a:p>
            <a:pPr lvl="0"/>
            <a:r>
              <a:rPr lang="de-DE" altLang="de-DE"/>
              <a:t>Farbe Petrol, RGB 0/55/55</a:t>
            </a:r>
          </a:p>
          <a:p>
            <a:pPr lvl="0"/>
            <a:endParaRPr lang="de-DE" altLang="de-DE"/>
          </a:p>
          <a:p>
            <a:pPr lvl="0"/>
            <a:endParaRPr lang="de-DE" altLang="de-DE"/>
          </a:p>
          <a:p>
            <a:pPr lvl="0"/>
            <a:endParaRPr lang="de-DE" altLang="de-DE"/>
          </a:p>
          <a:p>
            <a:pPr lvl="0"/>
            <a:endParaRPr lang="de-DE" altLang="de-DE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2"/>
          </p:nvPr>
        </p:nvSpPr>
        <p:spPr>
          <a:xfrm>
            <a:off x="143933" y="6405033"/>
            <a:ext cx="2844800" cy="366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600">
                <a:solidFill>
                  <a:srgbClr val="003737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9ACA5F4-23A6-450C-B9ED-6390B1765CAB}" type="datetime1">
              <a:rPr lang="de-DE"/>
              <a:pPr>
                <a:defRPr/>
              </a:pPr>
              <a:t>10.03.2026</a:t>
            </a:fld>
            <a:endParaRPr lang="de-DE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3"/>
          </p:nvPr>
        </p:nvSpPr>
        <p:spPr>
          <a:xfrm>
            <a:off x="8113184" y="300567"/>
            <a:ext cx="3860800" cy="366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600">
                <a:solidFill>
                  <a:srgbClr val="9BD29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Titel</a:t>
            </a:r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4"/>
          </p:nvPr>
        </p:nvSpPr>
        <p:spPr>
          <a:xfrm>
            <a:off x="9167284" y="6405033"/>
            <a:ext cx="2844800" cy="366184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>
                <a:solidFill>
                  <a:srgbClr val="003737"/>
                </a:solidFill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de-DE" altLang="de-DE"/>
              <a:t>Seite </a:t>
            </a:r>
            <a:fld id="{27C9C931-014E-4FB2-B7EA-CF297A2F814F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  <p:pic>
        <p:nvPicPr>
          <p:cNvPr id="2056" name="Grafik 2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734733" cy="9673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776762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2" r:id="rId1"/>
    <p:sldLayoutId id="2147483873" r:id="rId2"/>
    <p:sldLayoutId id="2147483874" r:id="rId3"/>
    <p:sldLayoutId id="2147483875" r:id="rId4"/>
    <p:sldLayoutId id="2147483876" r:id="rId5"/>
    <p:sldLayoutId id="2147483877" r:id="rId6"/>
    <p:sldLayoutId id="2147483878" r:id="rId7"/>
    <p:sldLayoutId id="2147483879" r:id="rId8"/>
    <p:sldLayoutId id="2147483880" r:id="rId9"/>
    <p:sldLayoutId id="2147483881" r:id="rId10"/>
    <p:sldLayoutId id="2147483882" r:id="rId11"/>
    <p:sldLayoutId id="2147483883" r:id="rId12"/>
    <p:sldLayoutId id="2147483884" r:id="rId13"/>
    <p:sldLayoutId id="2147483886" r:id="rId14"/>
    <p:sldLayoutId id="2147483887" r:id="rId15"/>
  </p:sldLayoutIdLst>
  <p:hf hdr="0"/>
  <p:txStyles>
    <p:titleStyle>
      <a:lvl1pPr algn="l" rtl="0" eaLnBrk="0" fontAlgn="base" hangingPunct="0">
        <a:lnSpc>
          <a:spcPts val="3733"/>
        </a:lnSpc>
        <a:spcBef>
          <a:spcPct val="0"/>
        </a:spcBef>
        <a:spcAft>
          <a:spcPct val="0"/>
        </a:spcAft>
        <a:defRPr sz="3333" kern="1200" spc="133">
          <a:solidFill>
            <a:srgbClr val="1E963C"/>
          </a:solidFill>
          <a:latin typeface="Calibri" pitchFamily="34" charset="0"/>
          <a:ea typeface="Calibri" pitchFamily="34" charset="0"/>
          <a:cs typeface="Calibri" pitchFamily="34" charset="0"/>
        </a:defRPr>
      </a:lvl1pPr>
      <a:lvl2pPr algn="l" rtl="0" eaLnBrk="0" fontAlgn="base" hangingPunct="0">
        <a:lnSpc>
          <a:spcPts val="3733"/>
        </a:lnSpc>
        <a:spcBef>
          <a:spcPct val="0"/>
        </a:spcBef>
        <a:spcAft>
          <a:spcPct val="0"/>
        </a:spcAft>
        <a:defRPr sz="3333">
          <a:solidFill>
            <a:srgbClr val="1E963C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0" fontAlgn="base" hangingPunct="0">
        <a:lnSpc>
          <a:spcPts val="3733"/>
        </a:lnSpc>
        <a:spcBef>
          <a:spcPct val="0"/>
        </a:spcBef>
        <a:spcAft>
          <a:spcPct val="0"/>
        </a:spcAft>
        <a:defRPr sz="3333">
          <a:solidFill>
            <a:srgbClr val="1E963C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0" fontAlgn="base" hangingPunct="0">
        <a:lnSpc>
          <a:spcPts val="3733"/>
        </a:lnSpc>
        <a:spcBef>
          <a:spcPct val="0"/>
        </a:spcBef>
        <a:spcAft>
          <a:spcPct val="0"/>
        </a:spcAft>
        <a:defRPr sz="3333">
          <a:solidFill>
            <a:srgbClr val="1E963C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0" fontAlgn="base" hangingPunct="0">
        <a:lnSpc>
          <a:spcPts val="3733"/>
        </a:lnSpc>
        <a:spcBef>
          <a:spcPct val="0"/>
        </a:spcBef>
        <a:spcAft>
          <a:spcPct val="0"/>
        </a:spcAft>
        <a:defRPr sz="3333">
          <a:solidFill>
            <a:srgbClr val="1E963C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609570" algn="l" rtl="0" fontAlgn="base">
        <a:lnSpc>
          <a:spcPts val="3733"/>
        </a:lnSpc>
        <a:spcBef>
          <a:spcPct val="0"/>
        </a:spcBef>
        <a:spcAft>
          <a:spcPct val="0"/>
        </a:spcAft>
        <a:defRPr sz="3333">
          <a:solidFill>
            <a:srgbClr val="262626"/>
          </a:solidFill>
          <a:latin typeface="Calibri" pitchFamily="34" charset="0"/>
          <a:ea typeface="Calibri" pitchFamily="34" charset="0"/>
          <a:cs typeface="Calibri" pitchFamily="34" charset="0"/>
        </a:defRPr>
      </a:lvl6pPr>
      <a:lvl7pPr marL="1219140" algn="l" rtl="0" fontAlgn="base">
        <a:lnSpc>
          <a:spcPts val="3733"/>
        </a:lnSpc>
        <a:spcBef>
          <a:spcPct val="0"/>
        </a:spcBef>
        <a:spcAft>
          <a:spcPct val="0"/>
        </a:spcAft>
        <a:defRPr sz="3333">
          <a:solidFill>
            <a:srgbClr val="262626"/>
          </a:solidFill>
          <a:latin typeface="Calibri" pitchFamily="34" charset="0"/>
          <a:ea typeface="Calibri" pitchFamily="34" charset="0"/>
          <a:cs typeface="Calibri" pitchFamily="34" charset="0"/>
        </a:defRPr>
      </a:lvl7pPr>
      <a:lvl8pPr marL="1828709" algn="l" rtl="0" fontAlgn="base">
        <a:lnSpc>
          <a:spcPts val="3733"/>
        </a:lnSpc>
        <a:spcBef>
          <a:spcPct val="0"/>
        </a:spcBef>
        <a:spcAft>
          <a:spcPct val="0"/>
        </a:spcAft>
        <a:defRPr sz="3333">
          <a:solidFill>
            <a:srgbClr val="262626"/>
          </a:solidFill>
          <a:latin typeface="Calibri" pitchFamily="34" charset="0"/>
          <a:ea typeface="Calibri" pitchFamily="34" charset="0"/>
          <a:cs typeface="Calibri" pitchFamily="34" charset="0"/>
        </a:defRPr>
      </a:lvl8pPr>
      <a:lvl9pPr marL="2438278" algn="l" rtl="0" fontAlgn="base">
        <a:lnSpc>
          <a:spcPts val="3733"/>
        </a:lnSpc>
        <a:spcBef>
          <a:spcPct val="0"/>
        </a:spcBef>
        <a:spcAft>
          <a:spcPct val="0"/>
        </a:spcAft>
        <a:defRPr sz="3333">
          <a:solidFill>
            <a:srgbClr val="262626"/>
          </a:solidFill>
          <a:latin typeface="Calibri" pitchFamily="34" charset="0"/>
          <a:ea typeface="Calibri" pitchFamily="34" charset="0"/>
          <a:cs typeface="Calibri" pitchFamily="34" charset="0"/>
        </a:defRPr>
      </a:lvl9pPr>
    </p:titleStyle>
    <p:bodyStyle>
      <a:lvl1pPr indent="-457178" algn="l" rtl="0" eaLnBrk="0" fontAlgn="base" hangingPunct="0">
        <a:lnSpc>
          <a:spcPts val="3200"/>
        </a:lnSpc>
        <a:spcBef>
          <a:spcPct val="20000"/>
        </a:spcBef>
        <a:spcAft>
          <a:spcPct val="0"/>
        </a:spcAft>
        <a:buFont typeface="Arial" panose="020B0604020202020204" pitchFamily="34" charset="0"/>
        <a:defRPr sz="2800" kern="1200">
          <a:solidFill>
            <a:srgbClr val="003737"/>
          </a:solidFill>
          <a:latin typeface="+mn-lt"/>
          <a:ea typeface="+mn-ea"/>
          <a:cs typeface="Arial" pitchFamily="34" charset="0"/>
        </a:defRPr>
      </a:lvl1pPr>
      <a:lvl2pPr marL="990550" indent="-380981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Arial" charset="0"/>
        </a:defRPr>
      </a:lvl2pPr>
      <a:lvl3pPr marL="1523925" indent="-304784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Arial" charset="0"/>
        </a:defRPr>
      </a:lvl3pPr>
      <a:lvl4pPr marL="2133493" indent="-304784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Arial" charset="0"/>
        </a:defRPr>
      </a:lvl4pPr>
      <a:lvl5pPr marL="2743062" indent="-304784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Arial" charset="0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>
            <a:extLst>
              <a:ext uri="{FF2B5EF4-FFF2-40B4-BE49-F238E27FC236}">
                <a16:creationId xmlns:a16="http://schemas.microsoft.com/office/drawing/2014/main" id="{E8CF534C-5B06-49AE-9538-F6125E0A2656}"/>
              </a:ext>
            </a:extLst>
          </p:cNvPr>
          <p:cNvSpPr/>
          <p:nvPr userDrawn="1"/>
        </p:nvSpPr>
        <p:spPr>
          <a:xfrm>
            <a:off x="11246400" y="6209041"/>
            <a:ext cx="468000" cy="468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0" name="Picture 19" descr="Shape, rectangle&#10;&#10;Description automatically generated">
            <a:extLst>
              <a:ext uri="{FF2B5EF4-FFF2-40B4-BE49-F238E27FC236}">
                <a16:creationId xmlns:a16="http://schemas.microsoft.com/office/drawing/2014/main" id="{A3A3EF61-82F0-4FC3-AA94-9B4DC9F89509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0" y="0"/>
            <a:ext cx="12191999" cy="1141125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1A2AE35B-3713-4E04-BD23-89F85FEA0452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223200" y="100800"/>
            <a:ext cx="2741277" cy="10404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470CB6ED-94F4-43D5-A7E6-1775F1190F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alphaModFix amt="10000"/>
          </a:blip>
          <a:srcRect l="59157" t="44809"/>
          <a:stretch/>
        </p:blipFill>
        <p:spPr>
          <a:xfrm>
            <a:off x="-1" y="0"/>
            <a:ext cx="7097485" cy="3411301"/>
          </a:xfrm>
          <a:prstGeom prst="rect">
            <a:avLst/>
          </a:prstGeom>
          <a:effectLst/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BDFCBA9-E3AE-429C-BF56-B86D80AA05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8282" y="1404000"/>
            <a:ext cx="11095200" cy="460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288000" lvl="0" indent="-288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FontTx/>
              <a:buBlip>
                <a:blip r:embed="rId14">
                  <a:extLst>
                    <a:ext uri="{96DAC541-7B7A-43D3-8B79-37D633B846F1}">
                      <asvg:svgBlip xmlns:asvg="http://schemas.microsoft.com/office/drawing/2016/SVG/main" r:embed="rId15"/>
                    </a:ext>
                  </a:extLst>
                </a:blip>
              </a:buBlip>
            </a:pPr>
            <a:r>
              <a:rPr lang="en-GB"/>
              <a:t>Click to edit Master text styles</a:t>
            </a:r>
          </a:p>
          <a:p>
            <a:pPr marL="288000" lvl="1" indent="-288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FontTx/>
              <a:buBlip>
                <a:blip r:embed="rId14">
                  <a:extLst>
                    <a:ext uri="{96DAC541-7B7A-43D3-8B79-37D633B846F1}">
                      <asvg:svgBlip xmlns:asvg="http://schemas.microsoft.com/office/drawing/2016/SVG/main" r:embed="rId15"/>
                    </a:ext>
                  </a:extLst>
                </a:blip>
              </a:buBlip>
            </a:pPr>
            <a:r>
              <a:rPr lang="en-GB"/>
              <a:t>Second level</a:t>
            </a:r>
          </a:p>
          <a:p>
            <a:pPr marL="288000" lvl="2" indent="-288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FontTx/>
              <a:buBlip>
                <a:blip r:embed="rId14">
                  <a:extLst>
                    <a:ext uri="{96DAC541-7B7A-43D3-8B79-37D633B846F1}">
                      <asvg:svgBlip xmlns:asvg="http://schemas.microsoft.com/office/drawing/2016/SVG/main" r:embed="rId15"/>
                    </a:ext>
                  </a:extLst>
                </a:blip>
              </a:buBlip>
            </a:pPr>
            <a:r>
              <a:rPr lang="en-GB"/>
              <a:t>Third level</a:t>
            </a:r>
          </a:p>
          <a:p>
            <a:pPr marL="288000" lvl="3" indent="-288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FontTx/>
              <a:buBlip>
                <a:blip r:embed="rId14">
                  <a:extLst>
                    <a:ext uri="{96DAC541-7B7A-43D3-8B79-37D633B846F1}">
                      <asvg:svgBlip xmlns:asvg="http://schemas.microsoft.com/office/drawing/2016/SVG/main" r:embed="rId15"/>
                    </a:ext>
                  </a:extLst>
                </a:blip>
              </a:buBlip>
            </a:pPr>
            <a:r>
              <a:rPr lang="en-GB"/>
              <a:t>Fourth level</a:t>
            </a:r>
          </a:p>
          <a:p>
            <a:pPr marL="288000" lvl="4" indent="-288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FontTx/>
              <a:buBlip>
                <a:blip r:embed="rId14">
                  <a:extLst>
                    <a:ext uri="{96DAC541-7B7A-43D3-8B79-37D633B846F1}">
                      <asvg:svgBlip xmlns:asvg="http://schemas.microsoft.com/office/drawing/2016/SVG/main" r:embed="rId15"/>
                    </a:ext>
                  </a:extLst>
                </a:blip>
              </a:buBlip>
            </a:pPr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9A56D7-EF10-4FA1-90DA-39844C4B581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8282" y="6303600"/>
            <a:ext cx="10512000" cy="288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900" spc="20" baseline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DFBB6F-2A7B-435B-891F-1EA962315F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4400" y="6331998"/>
            <a:ext cx="432000" cy="22208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900" b="1">
                <a:solidFill>
                  <a:schemeClr val="bg1"/>
                </a:solidFill>
              </a:defRPr>
            </a:lvl1pPr>
          </a:lstStyle>
          <a:p>
            <a:fld id="{D38BAEAC-A895-4A01-AB9B-F6141799970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595B33-58AD-4532-AEF7-AB747A0478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282" y="180000"/>
            <a:ext cx="11095200" cy="72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E74B1F8B-EED3-42C5-95CD-0CEF1606DC1B}"/>
              </a:ext>
            </a:extLst>
          </p:cNvPr>
          <p:cNvSpPr/>
          <p:nvPr userDrawn="1"/>
        </p:nvSpPr>
        <p:spPr>
          <a:xfrm>
            <a:off x="11659209" y="6116400"/>
            <a:ext cx="185282" cy="18528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34358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9" r:id="rId1"/>
    <p:sldLayoutId id="2147483890" r:id="rId2"/>
    <p:sldLayoutId id="2147483891" r:id="rId3"/>
    <p:sldLayoutId id="2147483892" r:id="rId4"/>
    <p:sldLayoutId id="2147483893" r:id="rId5"/>
    <p:sldLayoutId id="2147483894" r:id="rId6"/>
    <p:sldLayoutId id="2147483895" r:id="rId7"/>
    <p:sldLayoutId id="2147483896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Tx/>
        <a:buBlip>
          <a:blip r:embed="rId16"/>
        </a:buBlip>
        <a:defRPr lang="en-US" sz="2000" b="0" i="0" kern="1200" dirty="0" smtClean="0">
          <a:solidFill>
            <a:schemeClr val="tx1"/>
          </a:solidFill>
          <a:latin typeface="Calibri" panose="020F0502020204030204" pitchFamily="34" charset="0"/>
          <a:ea typeface="Roboto" panose="02000000000000000000" pitchFamily="2" charset="0"/>
          <a:cs typeface="Calibri" panose="020F050202020403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600"/>
        </a:spcBef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600"/>
        </a:spcBef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600"/>
        </a:spcBef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600"/>
        </a:spcBef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3.xml"/><Relationship Id="rId4" Type="http://schemas.openxmlformats.org/officeDocument/2006/relationships/image" Target="../media/image4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3.xml"/><Relationship Id="rId4" Type="http://schemas.openxmlformats.org/officeDocument/2006/relationships/image" Target="../media/image4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3.xml"/><Relationship Id="rId5" Type="http://schemas.openxmlformats.org/officeDocument/2006/relationships/image" Target="../media/image48.jpeg"/><Relationship Id="rId4" Type="http://schemas.openxmlformats.org/officeDocument/2006/relationships/image" Target="../media/image47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2.xml"/><Relationship Id="rId4" Type="http://schemas.microsoft.com/office/2007/relationships/hdphoto" Target="../media/hdphoto3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3.xml"/><Relationship Id="rId4" Type="http://schemas.openxmlformats.org/officeDocument/2006/relationships/image" Target="../media/image3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3.xml"/><Relationship Id="rId4" Type="http://schemas.openxmlformats.org/officeDocument/2006/relationships/image" Target="../media/image3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3.xml"/><Relationship Id="rId5" Type="http://schemas.openxmlformats.org/officeDocument/2006/relationships/image" Target="../media/image22.png"/><Relationship Id="rId4" Type="http://schemas.openxmlformats.org/officeDocument/2006/relationships/image" Target="../media/image3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3.xml"/><Relationship Id="rId4" Type="http://schemas.openxmlformats.org/officeDocument/2006/relationships/image" Target="../media/image3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FFA6BFC-0BEE-6742-B0BE-0DAAF034AF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8000" y="2997977"/>
            <a:ext cx="6480000" cy="1800000"/>
          </a:xfrm>
        </p:spPr>
        <p:txBody>
          <a:bodyPr rIns="0"/>
          <a:lstStyle/>
          <a:p>
            <a:r>
              <a:rPr lang="en-GB" sz="3600" b="1" noProof="0"/>
              <a:t>Mucus metaplasia and hypersecretion in patients with epithelial-driven disease</a:t>
            </a:r>
            <a:endParaRPr lang="en-GB" noProof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1AECA1A-01C4-7348-A6C1-7E803B11C9F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48000" y="6303601"/>
            <a:ext cx="10520282" cy="2880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2026 AstraZeneca. All Rights Reserved. This information is intended for healthcare professionals only.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piCentral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is sponsored and developed by AstraZeneca.</a:t>
            </a:r>
            <a:b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B-73345 | Date of preparation: March 2026</a:t>
            </a:r>
          </a:p>
        </p:txBody>
      </p:sp>
      <p:sp>
        <p:nvSpPr>
          <p:cNvPr id="11" name="Date Placeholder 9">
            <a:extLst>
              <a:ext uri="{FF2B5EF4-FFF2-40B4-BE49-F238E27FC236}">
                <a16:creationId xmlns:a16="http://schemas.microsoft.com/office/drawing/2014/main" id="{AA8CF5B6-82C2-9449-949A-779FD2BC4571}"/>
              </a:ext>
            </a:extLst>
          </p:cNvPr>
          <p:cNvSpPr txBox="1">
            <a:spLocks/>
          </p:cNvSpPr>
          <p:nvPr/>
        </p:nvSpPr>
        <p:spPr>
          <a:xfrm>
            <a:off x="1794738" y="2569999"/>
            <a:ext cx="2743200" cy="222181"/>
          </a:xfrm>
          <a:prstGeom prst="rect">
            <a:avLst/>
          </a:prstGeom>
          <a:noFill/>
        </p:spPr>
        <p:txBody>
          <a:bodyPr lIns="0" rIns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900" b="1" i="0" kern="1200" spc="2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2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5E1E0E1B-7A60-7D1B-EAEE-6CCB33C92B6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8000" y="5137367"/>
            <a:ext cx="6480000" cy="612000"/>
          </a:xfr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GB" sz="2000" b="1" noProof="0">
                <a:latin typeface="Calibri"/>
                <a:ea typeface="Roboto"/>
                <a:cs typeface="Calibri"/>
              </a:rPr>
              <a:t>Developed in collaboration with Dr Helena Aegerter</a:t>
            </a:r>
          </a:p>
          <a:p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2947446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ADB81A-74C9-0D04-7962-57F7BF0FDC6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noProof="0"/>
              <a:t>Interaction of mucus plugs and the epithelium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04210B4-D3BB-F925-3358-5F03F29824E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Footer Placeholder 8">
            <a:extLst>
              <a:ext uri="{FF2B5EF4-FFF2-40B4-BE49-F238E27FC236}">
                <a16:creationId xmlns:a16="http://schemas.microsoft.com/office/drawing/2014/main" id="{609AC6FC-AD07-420A-A699-5F71177E9AB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48000" y="6303601"/>
            <a:ext cx="10520282" cy="288000"/>
          </a:xfrm>
        </p:spPr>
        <p:txBody>
          <a:bodyPr/>
          <a:lstStyle/>
          <a:p>
            <a:pPr lvl="0">
              <a:defRPr/>
            </a:pPr>
            <a:r>
              <a:rPr lang="en-GB" spc="0" dirty="0">
                <a:solidFill>
                  <a:srgbClr val="FFFFFF"/>
                </a:solidFill>
              </a:rPr>
              <a:t>© 2026 AstraZeneca. All Rights Reserved. This information is intended for healthcare professionals only. </a:t>
            </a:r>
            <a:r>
              <a:rPr lang="en-GB" spc="0" dirty="0" err="1">
                <a:solidFill>
                  <a:srgbClr val="FFFFFF"/>
                </a:solidFill>
              </a:rPr>
              <a:t>EpiCentral</a:t>
            </a:r>
            <a:r>
              <a:rPr lang="en-GB" spc="0" dirty="0">
                <a:solidFill>
                  <a:srgbClr val="FFFFFF"/>
                </a:solidFill>
              </a:rPr>
              <a:t> is sponsored and developed by AstraZeneca.</a:t>
            </a:r>
            <a:b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B-73345 | Date of preparation: </a:t>
            </a:r>
            <a:r>
              <a:rPr lang="en-GB" spc="0" dirty="0"/>
              <a:t>March 2026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32466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94EC29-2C99-2028-0B2C-650CBD8A12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3F96333-E329-CB22-6EA8-628A9CC6B0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Ins="0"/>
          <a:lstStyle/>
          <a:p>
            <a:r>
              <a:rPr lang="en-GB" noProof="0"/>
              <a:t>The pathology of the mucus plug</a:t>
            </a:r>
            <a:r>
              <a:rPr lang="en-GB" baseline="30000" noProof="0"/>
              <a:t>1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07D5539-FEE9-EAB9-B659-E5DB3B710D91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lvl="0">
              <a:defRPr/>
            </a:pPr>
            <a:r>
              <a:rPr lang="en-GB" sz="1800"/>
              <a:t>There are multiple components in a mucus plug, including:</a:t>
            </a:r>
            <a:r>
              <a:rPr lang="en-GB" sz="1800" baseline="30000"/>
              <a:t>1,2</a:t>
            </a:r>
          </a:p>
          <a:p>
            <a:pPr lvl="1">
              <a:buClr>
                <a:srgbClr val="28ABE1"/>
              </a:buClr>
              <a:defRPr/>
            </a:pPr>
            <a:r>
              <a:rPr lang="en-GB" sz="1600"/>
              <a:t>Fibrin</a:t>
            </a:r>
          </a:p>
          <a:p>
            <a:pPr lvl="1">
              <a:buClr>
                <a:srgbClr val="28ABE1"/>
              </a:buClr>
              <a:defRPr/>
            </a:pPr>
            <a:r>
              <a:rPr lang="en-GB" sz="1600"/>
              <a:t>Mucins</a:t>
            </a:r>
          </a:p>
          <a:p>
            <a:pPr lvl="1">
              <a:buClr>
                <a:srgbClr val="28ABE1"/>
              </a:buClr>
              <a:defRPr/>
            </a:pPr>
            <a:r>
              <a:rPr lang="en-GB" sz="1600"/>
              <a:t>Albumin</a:t>
            </a:r>
          </a:p>
          <a:p>
            <a:pPr lvl="1">
              <a:buClr>
                <a:srgbClr val="28ABE1"/>
              </a:buClr>
              <a:defRPr/>
            </a:pPr>
            <a:r>
              <a:rPr lang="en-GB" sz="1600"/>
              <a:t>Extracellular DNA</a:t>
            </a:r>
          </a:p>
          <a:p>
            <a:pPr lvl="1">
              <a:buClr>
                <a:srgbClr val="28ABE1"/>
              </a:buClr>
              <a:defRPr/>
            </a:pPr>
            <a:r>
              <a:rPr lang="en-GB" sz="1600"/>
              <a:t>Charcot-Leyden crystals</a:t>
            </a:r>
          </a:p>
          <a:p>
            <a:pPr lvl="1">
              <a:buClr>
                <a:srgbClr val="28ABE1"/>
              </a:buClr>
              <a:defRPr/>
            </a:pPr>
            <a:r>
              <a:rPr lang="en-GB" sz="1600"/>
              <a:t>Immune cells</a:t>
            </a:r>
          </a:p>
          <a:p>
            <a:pPr lvl="1">
              <a:buClr>
                <a:srgbClr val="28ABE1"/>
              </a:buClr>
              <a:defRPr/>
            </a:pPr>
            <a:endParaRPr lang="en-GB" sz="1600"/>
          </a:p>
          <a:p>
            <a:r>
              <a:rPr lang="en-GB" sz="1800"/>
              <a:t>Fungi and bacteria can contribute to mucus plugs, and their inclusion affects the properties of the mucus plug:</a:t>
            </a:r>
            <a:r>
              <a:rPr lang="en-GB" sz="1800" baseline="30000"/>
              <a:t>2</a:t>
            </a:r>
          </a:p>
          <a:p>
            <a:pPr lvl="1"/>
            <a:r>
              <a:rPr lang="en-GB" sz="1600" i="1"/>
              <a:t>Aspergillus hyphae: </a:t>
            </a:r>
            <a:r>
              <a:rPr lang="en-GB" sz="1600"/>
              <a:t>Brown flakes</a:t>
            </a:r>
            <a:endParaRPr lang="en-GB" sz="1600" i="1"/>
          </a:p>
          <a:p>
            <a:pPr lvl="1"/>
            <a:r>
              <a:rPr lang="en-GB" sz="1600" i="1"/>
              <a:t>Pseudomonas: </a:t>
            </a:r>
            <a:r>
              <a:rPr lang="en-GB" sz="1600"/>
              <a:t>Green sputum</a:t>
            </a:r>
          </a:p>
          <a:p>
            <a:endParaRPr lang="en-GB"/>
          </a:p>
        </p:txBody>
      </p:sp>
      <p:sp>
        <p:nvSpPr>
          <p:cNvPr id="8" name="Footer Placeholder 8">
            <a:extLst>
              <a:ext uri="{FF2B5EF4-FFF2-40B4-BE49-F238E27FC236}">
                <a16:creationId xmlns:a16="http://schemas.microsoft.com/office/drawing/2014/main" id="{9ECC3630-A888-5499-2011-3FC9750339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z="800" noProof="0" dirty="0"/>
              <a:t>1. </a:t>
            </a:r>
            <a:r>
              <a:rPr lang="en-GB" sz="800" dirty="0"/>
              <a:t>Hill DB, et al. </a:t>
            </a:r>
            <a:r>
              <a:rPr lang="en-GB" sz="800" dirty="0" err="1"/>
              <a:t>Physiol</a:t>
            </a:r>
            <a:r>
              <a:rPr lang="en-GB" sz="800" dirty="0"/>
              <a:t> Rev. 2022;102(4):1757-1836; 2. </a:t>
            </a:r>
            <a:r>
              <a:rPr lang="en-GB" sz="800" noProof="0" dirty="0" err="1"/>
              <a:t>Panchabhai</a:t>
            </a:r>
            <a:r>
              <a:rPr lang="en-GB" sz="800" noProof="0" dirty="0"/>
              <a:t> TS, et al. Clin Chest Med. 2016;37(3):463-74; 2. </a:t>
            </a:r>
            <a:br>
              <a:rPr lang="en-GB" sz="800" noProof="0" dirty="0"/>
            </a:b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656665"/>
                </a:solidFill>
                <a:effectLst/>
                <a:uLnTx/>
                <a:uFillTx/>
                <a:ea typeface="+mn-ea"/>
                <a:cs typeface="+mn-cs"/>
              </a:rPr>
              <a:t>GB-73345 | Date of preparation: </a:t>
            </a:r>
            <a:r>
              <a:rPr lang="en-GB" sz="800" spc="0" dirty="0">
                <a:solidFill>
                  <a:srgbClr val="656665"/>
                </a:solidFill>
              </a:rPr>
              <a:t>March 2026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656665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C6429DB-75D4-DF98-9F4A-1BDE008325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8BAEAC-A895-4A01-AB9B-F6141799970D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9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94" name="Group 293">
            <a:extLst>
              <a:ext uri="{FF2B5EF4-FFF2-40B4-BE49-F238E27FC236}">
                <a16:creationId xmlns:a16="http://schemas.microsoft.com/office/drawing/2014/main" id="{12022A2E-E593-DA8B-07CA-D753D6CA74F4}"/>
              </a:ext>
            </a:extLst>
          </p:cNvPr>
          <p:cNvGrpSpPr/>
          <p:nvPr/>
        </p:nvGrpSpPr>
        <p:grpSpPr>
          <a:xfrm>
            <a:off x="330702" y="2480547"/>
            <a:ext cx="5609435" cy="3222475"/>
            <a:chOff x="330702" y="2150039"/>
            <a:chExt cx="5609435" cy="3222475"/>
          </a:xfrm>
        </p:grpSpPr>
        <p:sp>
          <p:nvSpPr>
            <p:cNvPr id="29" name="!!mucus">
              <a:extLst>
                <a:ext uri="{FF2B5EF4-FFF2-40B4-BE49-F238E27FC236}">
                  <a16:creationId xmlns:a16="http://schemas.microsoft.com/office/drawing/2014/main" id="{1439EBBB-FA87-75CB-C48D-CB2EA2E9B211}"/>
                </a:ext>
              </a:extLst>
            </p:cNvPr>
            <p:cNvSpPr/>
            <p:nvPr/>
          </p:nvSpPr>
          <p:spPr>
            <a:xfrm rot="10800000">
              <a:off x="1370512" y="2564606"/>
              <a:ext cx="3518795" cy="846282"/>
            </a:xfrm>
            <a:custGeom>
              <a:avLst/>
              <a:gdLst>
                <a:gd name="connsiteX0" fmla="*/ 0 w 11280654"/>
                <a:gd name="connsiteY0" fmla="*/ 91352 h 1986246"/>
                <a:gd name="connsiteX1" fmla="*/ 10868 w 11280654"/>
                <a:gd name="connsiteY1" fmla="*/ 745642 h 1986246"/>
                <a:gd name="connsiteX2" fmla="*/ 260587 w 11280654"/>
                <a:gd name="connsiteY2" fmla="*/ 915580 h 1986246"/>
                <a:gd name="connsiteX3" fmla="*/ 282300 w 11280654"/>
                <a:gd name="connsiteY3" fmla="*/ 1077031 h 1986246"/>
                <a:gd name="connsiteX4" fmla="*/ 510305 w 11280654"/>
                <a:gd name="connsiteY4" fmla="*/ 1416926 h 1986246"/>
                <a:gd name="connsiteX5" fmla="*/ 640587 w 11280654"/>
                <a:gd name="connsiteY5" fmla="*/ 1595370 h 1986246"/>
                <a:gd name="connsiteX6" fmla="*/ 694882 w 11280654"/>
                <a:gd name="connsiteY6" fmla="*/ 1790808 h 1986246"/>
                <a:gd name="connsiteX7" fmla="*/ 857746 w 11280654"/>
                <a:gd name="connsiteY7" fmla="*/ 1986246 h 1986246"/>
                <a:gd name="connsiteX8" fmla="*/ 1020610 w 11280654"/>
                <a:gd name="connsiteY8" fmla="*/ 1858784 h 1986246"/>
                <a:gd name="connsiteX9" fmla="*/ 1042324 w 11280654"/>
                <a:gd name="connsiteY9" fmla="*/ 1595370 h 1986246"/>
                <a:gd name="connsiteX10" fmla="*/ 1194319 w 11280654"/>
                <a:gd name="connsiteY10" fmla="*/ 1510401 h 1986246"/>
                <a:gd name="connsiteX11" fmla="*/ 1302887 w 11280654"/>
                <a:gd name="connsiteY11" fmla="*/ 1229994 h 1986246"/>
                <a:gd name="connsiteX12" fmla="*/ 1411455 w 11280654"/>
                <a:gd name="connsiteY12" fmla="*/ 873105 h 1986246"/>
                <a:gd name="connsiteX13" fmla="*/ 1563450 w 11280654"/>
                <a:gd name="connsiteY13" fmla="*/ 737154 h 1986246"/>
                <a:gd name="connsiteX14" fmla="*/ 1867441 w 11280654"/>
                <a:gd name="connsiteY14" fmla="*/ 737154 h 1986246"/>
                <a:gd name="connsiteX15" fmla="*/ 2442864 w 11280654"/>
                <a:gd name="connsiteY15" fmla="*/ 754148 h 1986246"/>
                <a:gd name="connsiteX16" fmla="*/ 3582863 w 11280654"/>
                <a:gd name="connsiteY16" fmla="*/ 754148 h 1986246"/>
                <a:gd name="connsiteX17" fmla="*/ 4277722 w 11280654"/>
                <a:gd name="connsiteY17" fmla="*/ 788136 h 1986246"/>
                <a:gd name="connsiteX18" fmla="*/ 4733732 w 11280654"/>
                <a:gd name="connsiteY18" fmla="*/ 728648 h 1986246"/>
                <a:gd name="connsiteX19" fmla="*/ 5211454 w 11280654"/>
                <a:gd name="connsiteY19" fmla="*/ 728648 h 1986246"/>
                <a:gd name="connsiteX20" fmla="*/ 5982323 w 11280654"/>
                <a:gd name="connsiteY20" fmla="*/ 771142 h 1986246"/>
                <a:gd name="connsiteX21" fmla="*/ 6861759 w 11280654"/>
                <a:gd name="connsiteY21" fmla="*/ 754148 h 1986246"/>
                <a:gd name="connsiteX22" fmla="*/ 7491477 w 11280654"/>
                <a:gd name="connsiteY22" fmla="*/ 762654 h 1986246"/>
                <a:gd name="connsiteX23" fmla="*/ 8327487 w 11280654"/>
                <a:gd name="connsiteY23" fmla="*/ 762654 h 1986246"/>
                <a:gd name="connsiteX24" fmla="*/ 9391500 w 11280654"/>
                <a:gd name="connsiteY24" fmla="*/ 788154 h 1986246"/>
                <a:gd name="connsiteX25" fmla="*/ 10140655 w 11280654"/>
                <a:gd name="connsiteY25" fmla="*/ 779648 h 1986246"/>
                <a:gd name="connsiteX26" fmla="*/ 10672650 w 11280654"/>
                <a:gd name="connsiteY26" fmla="*/ 771142 h 1986246"/>
                <a:gd name="connsiteX27" fmla="*/ 11150373 w 11280654"/>
                <a:gd name="connsiteY27" fmla="*/ 737154 h 1986246"/>
                <a:gd name="connsiteX28" fmla="*/ 11280654 w 11280654"/>
                <a:gd name="connsiteY28" fmla="*/ 754148 h 1986246"/>
                <a:gd name="connsiteX29" fmla="*/ 11280654 w 11280654"/>
                <a:gd name="connsiteY29" fmla="*/ 133791 h 1986246"/>
                <a:gd name="connsiteX30" fmla="*/ 11096078 w 11280654"/>
                <a:gd name="connsiteY30" fmla="*/ 65870 h 1986246"/>
                <a:gd name="connsiteX31" fmla="*/ 10281782 w 11280654"/>
                <a:gd name="connsiteY31" fmla="*/ 14889 h 1986246"/>
                <a:gd name="connsiteX32" fmla="*/ 9695491 w 11280654"/>
                <a:gd name="connsiteY32" fmla="*/ 108364 h 1986246"/>
                <a:gd name="connsiteX33" fmla="*/ 8794341 w 11280654"/>
                <a:gd name="connsiteY33" fmla="*/ 201839 h 1986246"/>
                <a:gd name="connsiteX34" fmla="*/ 7828050 w 11280654"/>
                <a:gd name="connsiteY34" fmla="*/ 201839 h 1986246"/>
                <a:gd name="connsiteX35" fmla="*/ 6101760 w 11280654"/>
                <a:gd name="connsiteY35" fmla="*/ 193333 h 1986246"/>
                <a:gd name="connsiteX36" fmla="*/ 5016032 w 11280654"/>
                <a:gd name="connsiteY36" fmla="*/ 65870 h 1986246"/>
                <a:gd name="connsiteX37" fmla="*/ 3224600 w 11280654"/>
                <a:gd name="connsiteY37" fmla="*/ 57364 h 1986246"/>
                <a:gd name="connsiteX38" fmla="*/ 2171455 w 11280654"/>
                <a:gd name="connsiteY38" fmla="*/ 82864 h 1986246"/>
                <a:gd name="connsiteX39" fmla="*/ 760023 w 11280654"/>
                <a:gd name="connsiteY39" fmla="*/ 116852 h 1986246"/>
                <a:gd name="connsiteX40" fmla="*/ 0 w 11280654"/>
                <a:gd name="connsiteY40" fmla="*/ 91352 h 1986246"/>
                <a:gd name="connsiteX0" fmla="*/ 0 w 11280654"/>
                <a:gd name="connsiteY0" fmla="*/ 91352 h 1994638"/>
                <a:gd name="connsiteX1" fmla="*/ 10868 w 11280654"/>
                <a:gd name="connsiteY1" fmla="*/ 745642 h 1994638"/>
                <a:gd name="connsiteX2" fmla="*/ 260587 w 11280654"/>
                <a:gd name="connsiteY2" fmla="*/ 915580 h 1994638"/>
                <a:gd name="connsiteX3" fmla="*/ 282300 w 11280654"/>
                <a:gd name="connsiteY3" fmla="*/ 1077031 h 1994638"/>
                <a:gd name="connsiteX4" fmla="*/ 510305 w 11280654"/>
                <a:gd name="connsiteY4" fmla="*/ 1416926 h 1994638"/>
                <a:gd name="connsiteX5" fmla="*/ 640587 w 11280654"/>
                <a:gd name="connsiteY5" fmla="*/ 1595370 h 1994638"/>
                <a:gd name="connsiteX6" fmla="*/ 694882 w 11280654"/>
                <a:gd name="connsiteY6" fmla="*/ 1790808 h 1994638"/>
                <a:gd name="connsiteX7" fmla="*/ 857746 w 11280654"/>
                <a:gd name="connsiteY7" fmla="*/ 1986246 h 1994638"/>
                <a:gd name="connsiteX8" fmla="*/ 1020610 w 11280654"/>
                <a:gd name="connsiteY8" fmla="*/ 1858784 h 1994638"/>
                <a:gd name="connsiteX9" fmla="*/ 1042324 w 11280654"/>
                <a:gd name="connsiteY9" fmla="*/ 1595370 h 1994638"/>
                <a:gd name="connsiteX10" fmla="*/ 1194319 w 11280654"/>
                <a:gd name="connsiteY10" fmla="*/ 1510401 h 1994638"/>
                <a:gd name="connsiteX11" fmla="*/ 1302887 w 11280654"/>
                <a:gd name="connsiteY11" fmla="*/ 1229994 h 1994638"/>
                <a:gd name="connsiteX12" fmla="*/ 1411455 w 11280654"/>
                <a:gd name="connsiteY12" fmla="*/ 873105 h 1994638"/>
                <a:gd name="connsiteX13" fmla="*/ 1563450 w 11280654"/>
                <a:gd name="connsiteY13" fmla="*/ 737154 h 1994638"/>
                <a:gd name="connsiteX14" fmla="*/ 1867441 w 11280654"/>
                <a:gd name="connsiteY14" fmla="*/ 737154 h 1994638"/>
                <a:gd name="connsiteX15" fmla="*/ 2442864 w 11280654"/>
                <a:gd name="connsiteY15" fmla="*/ 754148 h 1994638"/>
                <a:gd name="connsiteX16" fmla="*/ 3582863 w 11280654"/>
                <a:gd name="connsiteY16" fmla="*/ 754148 h 1994638"/>
                <a:gd name="connsiteX17" fmla="*/ 4277722 w 11280654"/>
                <a:gd name="connsiteY17" fmla="*/ 788136 h 1994638"/>
                <a:gd name="connsiteX18" fmla="*/ 4733732 w 11280654"/>
                <a:gd name="connsiteY18" fmla="*/ 728648 h 1994638"/>
                <a:gd name="connsiteX19" fmla="*/ 5211454 w 11280654"/>
                <a:gd name="connsiteY19" fmla="*/ 728648 h 1994638"/>
                <a:gd name="connsiteX20" fmla="*/ 5982323 w 11280654"/>
                <a:gd name="connsiteY20" fmla="*/ 771142 h 1994638"/>
                <a:gd name="connsiteX21" fmla="*/ 6861759 w 11280654"/>
                <a:gd name="connsiteY21" fmla="*/ 754148 h 1994638"/>
                <a:gd name="connsiteX22" fmla="*/ 7491477 w 11280654"/>
                <a:gd name="connsiteY22" fmla="*/ 762654 h 1994638"/>
                <a:gd name="connsiteX23" fmla="*/ 8327487 w 11280654"/>
                <a:gd name="connsiteY23" fmla="*/ 762654 h 1994638"/>
                <a:gd name="connsiteX24" fmla="*/ 9391500 w 11280654"/>
                <a:gd name="connsiteY24" fmla="*/ 788154 h 1994638"/>
                <a:gd name="connsiteX25" fmla="*/ 10140655 w 11280654"/>
                <a:gd name="connsiteY25" fmla="*/ 779648 h 1994638"/>
                <a:gd name="connsiteX26" fmla="*/ 10672650 w 11280654"/>
                <a:gd name="connsiteY26" fmla="*/ 771142 h 1994638"/>
                <a:gd name="connsiteX27" fmla="*/ 11150373 w 11280654"/>
                <a:gd name="connsiteY27" fmla="*/ 737154 h 1994638"/>
                <a:gd name="connsiteX28" fmla="*/ 11280654 w 11280654"/>
                <a:gd name="connsiteY28" fmla="*/ 754148 h 1994638"/>
                <a:gd name="connsiteX29" fmla="*/ 11280654 w 11280654"/>
                <a:gd name="connsiteY29" fmla="*/ 133791 h 1994638"/>
                <a:gd name="connsiteX30" fmla="*/ 11096078 w 11280654"/>
                <a:gd name="connsiteY30" fmla="*/ 65870 h 1994638"/>
                <a:gd name="connsiteX31" fmla="*/ 10281782 w 11280654"/>
                <a:gd name="connsiteY31" fmla="*/ 14889 h 1994638"/>
                <a:gd name="connsiteX32" fmla="*/ 9695491 w 11280654"/>
                <a:gd name="connsiteY32" fmla="*/ 108364 h 1994638"/>
                <a:gd name="connsiteX33" fmla="*/ 8794341 w 11280654"/>
                <a:gd name="connsiteY33" fmla="*/ 201839 h 1994638"/>
                <a:gd name="connsiteX34" fmla="*/ 7828050 w 11280654"/>
                <a:gd name="connsiteY34" fmla="*/ 201839 h 1994638"/>
                <a:gd name="connsiteX35" fmla="*/ 6101760 w 11280654"/>
                <a:gd name="connsiteY35" fmla="*/ 193333 h 1994638"/>
                <a:gd name="connsiteX36" fmla="*/ 5016032 w 11280654"/>
                <a:gd name="connsiteY36" fmla="*/ 65870 h 1994638"/>
                <a:gd name="connsiteX37" fmla="*/ 3224600 w 11280654"/>
                <a:gd name="connsiteY37" fmla="*/ 57364 h 1994638"/>
                <a:gd name="connsiteX38" fmla="*/ 2171455 w 11280654"/>
                <a:gd name="connsiteY38" fmla="*/ 82864 h 1994638"/>
                <a:gd name="connsiteX39" fmla="*/ 760023 w 11280654"/>
                <a:gd name="connsiteY39" fmla="*/ 116852 h 1994638"/>
                <a:gd name="connsiteX40" fmla="*/ 0 w 11280654"/>
                <a:gd name="connsiteY40" fmla="*/ 91352 h 1994638"/>
                <a:gd name="connsiteX0" fmla="*/ 2673914 w 11269790"/>
                <a:gd name="connsiteY0" fmla="*/ 66415 h 1994638"/>
                <a:gd name="connsiteX1" fmla="*/ 4 w 11269790"/>
                <a:gd name="connsiteY1" fmla="*/ 745642 h 1994638"/>
                <a:gd name="connsiteX2" fmla="*/ 249723 w 11269790"/>
                <a:gd name="connsiteY2" fmla="*/ 915580 h 1994638"/>
                <a:gd name="connsiteX3" fmla="*/ 271436 w 11269790"/>
                <a:gd name="connsiteY3" fmla="*/ 1077031 h 1994638"/>
                <a:gd name="connsiteX4" fmla="*/ 499441 w 11269790"/>
                <a:gd name="connsiteY4" fmla="*/ 1416926 h 1994638"/>
                <a:gd name="connsiteX5" fmla="*/ 629723 w 11269790"/>
                <a:gd name="connsiteY5" fmla="*/ 1595370 h 1994638"/>
                <a:gd name="connsiteX6" fmla="*/ 684018 w 11269790"/>
                <a:gd name="connsiteY6" fmla="*/ 1790808 h 1994638"/>
                <a:gd name="connsiteX7" fmla="*/ 846882 w 11269790"/>
                <a:gd name="connsiteY7" fmla="*/ 1986246 h 1994638"/>
                <a:gd name="connsiteX8" fmla="*/ 1009746 w 11269790"/>
                <a:gd name="connsiteY8" fmla="*/ 1858784 h 1994638"/>
                <a:gd name="connsiteX9" fmla="*/ 1031460 w 11269790"/>
                <a:gd name="connsiteY9" fmla="*/ 1595370 h 1994638"/>
                <a:gd name="connsiteX10" fmla="*/ 1183455 w 11269790"/>
                <a:gd name="connsiteY10" fmla="*/ 1510401 h 1994638"/>
                <a:gd name="connsiteX11" fmla="*/ 1292023 w 11269790"/>
                <a:gd name="connsiteY11" fmla="*/ 1229994 h 1994638"/>
                <a:gd name="connsiteX12" fmla="*/ 1400591 w 11269790"/>
                <a:gd name="connsiteY12" fmla="*/ 873105 h 1994638"/>
                <a:gd name="connsiteX13" fmla="*/ 1552586 w 11269790"/>
                <a:gd name="connsiteY13" fmla="*/ 737154 h 1994638"/>
                <a:gd name="connsiteX14" fmla="*/ 1856577 w 11269790"/>
                <a:gd name="connsiteY14" fmla="*/ 737154 h 1994638"/>
                <a:gd name="connsiteX15" fmla="*/ 2432000 w 11269790"/>
                <a:gd name="connsiteY15" fmla="*/ 754148 h 1994638"/>
                <a:gd name="connsiteX16" fmla="*/ 3571999 w 11269790"/>
                <a:gd name="connsiteY16" fmla="*/ 754148 h 1994638"/>
                <a:gd name="connsiteX17" fmla="*/ 4266858 w 11269790"/>
                <a:gd name="connsiteY17" fmla="*/ 788136 h 1994638"/>
                <a:gd name="connsiteX18" fmla="*/ 4722868 w 11269790"/>
                <a:gd name="connsiteY18" fmla="*/ 728648 h 1994638"/>
                <a:gd name="connsiteX19" fmla="*/ 5200590 w 11269790"/>
                <a:gd name="connsiteY19" fmla="*/ 728648 h 1994638"/>
                <a:gd name="connsiteX20" fmla="*/ 5971459 w 11269790"/>
                <a:gd name="connsiteY20" fmla="*/ 771142 h 1994638"/>
                <a:gd name="connsiteX21" fmla="*/ 6850895 w 11269790"/>
                <a:gd name="connsiteY21" fmla="*/ 754148 h 1994638"/>
                <a:gd name="connsiteX22" fmla="*/ 7480613 w 11269790"/>
                <a:gd name="connsiteY22" fmla="*/ 762654 h 1994638"/>
                <a:gd name="connsiteX23" fmla="*/ 8316623 w 11269790"/>
                <a:gd name="connsiteY23" fmla="*/ 762654 h 1994638"/>
                <a:gd name="connsiteX24" fmla="*/ 9380636 w 11269790"/>
                <a:gd name="connsiteY24" fmla="*/ 788154 h 1994638"/>
                <a:gd name="connsiteX25" fmla="*/ 10129791 w 11269790"/>
                <a:gd name="connsiteY25" fmla="*/ 779648 h 1994638"/>
                <a:gd name="connsiteX26" fmla="*/ 10661786 w 11269790"/>
                <a:gd name="connsiteY26" fmla="*/ 771142 h 1994638"/>
                <a:gd name="connsiteX27" fmla="*/ 11139509 w 11269790"/>
                <a:gd name="connsiteY27" fmla="*/ 737154 h 1994638"/>
                <a:gd name="connsiteX28" fmla="*/ 11269790 w 11269790"/>
                <a:gd name="connsiteY28" fmla="*/ 754148 h 1994638"/>
                <a:gd name="connsiteX29" fmla="*/ 11269790 w 11269790"/>
                <a:gd name="connsiteY29" fmla="*/ 133791 h 1994638"/>
                <a:gd name="connsiteX30" fmla="*/ 11085214 w 11269790"/>
                <a:gd name="connsiteY30" fmla="*/ 65870 h 1994638"/>
                <a:gd name="connsiteX31" fmla="*/ 10270918 w 11269790"/>
                <a:gd name="connsiteY31" fmla="*/ 14889 h 1994638"/>
                <a:gd name="connsiteX32" fmla="*/ 9684627 w 11269790"/>
                <a:gd name="connsiteY32" fmla="*/ 108364 h 1994638"/>
                <a:gd name="connsiteX33" fmla="*/ 8783477 w 11269790"/>
                <a:gd name="connsiteY33" fmla="*/ 201839 h 1994638"/>
                <a:gd name="connsiteX34" fmla="*/ 7817186 w 11269790"/>
                <a:gd name="connsiteY34" fmla="*/ 201839 h 1994638"/>
                <a:gd name="connsiteX35" fmla="*/ 6090896 w 11269790"/>
                <a:gd name="connsiteY35" fmla="*/ 193333 h 1994638"/>
                <a:gd name="connsiteX36" fmla="*/ 5005168 w 11269790"/>
                <a:gd name="connsiteY36" fmla="*/ 65870 h 1994638"/>
                <a:gd name="connsiteX37" fmla="*/ 3213736 w 11269790"/>
                <a:gd name="connsiteY37" fmla="*/ 57364 h 1994638"/>
                <a:gd name="connsiteX38" fmla="*/ 2160591 w 11269790"/>
                <a:gd name="connsiteY38" fmla="*/ 82864 h 1994638"/>
                <a:gd name="connsiteX39" fmla="*/ 749159 w 11269790"/>
                <a:gd name="connsiteY39" fmla="*/ 116852 h 1994638"/>
                <a:gd name="connsiteX40" fmla="*/ 2673914 w 11269790"/>
                <a:gd name="connsiteY40" fmla="*/ 66415 h 1994638"/>
                <a:gd name="connsiteX0" fmla="*/ 2673914 w 11269790"/>
                <a:gd name="connsiteY0" fmla="*/ 66415 h 1994638"/>
                <a:gd name="connsiteX1" fmla="*/ 4 w 11269790"/>
                <a:gd name="connsiteY1" fmla="*/ 745642 h 1994638"/>
                <a:gd name="connsiteX2" fmla="*/ 249723 w 11269790"/>
                <a:gd name="connsiteY2" fmla="*/ 915580 h 1994638"/>
                <a:gd name="connsiteX3" fmla="*/ 271436 w 11269790"/>
                <a:gd name="connsiteY3" fmla="*/ 1077031 h 1994638"/>
                <a:gd name="connsiteX4" fmla="*/ 499441 w 11269790"/>
                <a:gd name="connsiteY4" fmla="*/ 1416926 h 1994638"/>
                <a:gd name="connsiteX5" fmla="*/ 629723 w 11269790"/>
                <a:gd name="connsiteY5" fmla="*/ 1595370 h 1994638"/>
                <a:gd name="connsiteX6" fmla="*/ 684018 w 11269790"/>
                <a:gd name="connsiteY6" fmla="*/ 1790808 h 1994638"/>
                <a:gd name="connsiteX7" fmla="*/ 846882 w 11269790"/>
                <a:gd name="connsiteY7" fmla="*/ 1986246 h 1994638"/>
                <a:gd name="connsiteX8" fmla="*/ 1009746 w 11269790"/>
                <a:gd name="connsiteY8" fmla="*/ 1858784 h 1994638"/>
                <a:gd name="connsiteX9" fmla="*/ 1031460 w 11269790"/>
                <a:gd name="connsiteY9" fmla="*/ 1595370 h 1994638"/>
                <a:gd name="connsiteX10" fmla="*/ 1183455 w 11269790"/>
                <a:gd name="connsiteY10" fmla="*/ 1510401 h 1994638"/>
                <a:gd name="connsiteX11" fmla="*/ 1292023 w 11269790"/>
                <a:gd name="connsiteY11" fmla="*/ 1229994 h 1994638"/>
                <a:gd name="connsiteX12" fmla="*/ 1400591 w 11269790"/>
                <a:gd name="connsiteY12" fmla="*/ 873105 h 1994638"/>
                <a:gd name="connsiteX13" fmla="*/ 1552586 w 11269790"/>
                <a:gd name="connsiteY13" fmla="*/ 737154 h 1994638"/>
                <a:gd name="connsiteX14" fmla="*/ 1856577 w 11269790"/>
                <a:gd name="connsiteY14" fmla="*/ 737154 h 1994638"/>
                <a:gd name="connsiteX15" fmla="*/ 2432000 w 11269790"/>
                <a:gd name="connsiteY15" fmla="*/ 754148 h 1994638"/>
                <a:gd name="connsiteX16" fmla="*/ 3571999 w 11269790"/>
                <a:gd name="connsiteY16" fmla="*/ 754148 h 1994638"/>
                <a:gd name="connsiteX17" fmla="*/ 4266858 w 11269790"/>
                <a:gd name="connsiteY17" fmla="*/ 788136 h 1994638"/>
                <a:gd name="connsiteX18" fmla="*/ 4722868 w 11269790"/>
                <a:gd name="connsiteY18" fmla="*/ 728648 h 1994638"/>
                <a:gd name="connsiteX19" fmla="*/ 5200590 w 11269790"/>
                <a:gd name="connsiteY19" fmla="*/ 728648 h 1994638"/>
                <a:gd name="connsiteX20" fmla="*/ 5971459 w 11269790"/>
                <a:gd name="connsiteY20" fmla="*/ 771142 h 1994638"/>
                <a:gd name="connsiteX21" fmla="*/ 6850895 w 11269790"/>
                <a:gd name="connsiteY21" fmla="*/ 754148 h 1994638"/>
                <a:gd name="connsiteX22" fmla="*/ 7480613 w 11269790"/>
                <a:gd name="connsiteY22" fmla="*/ 762654 h 1994638"/>
                <a:gd name="connsiteX23" fmla="*/ 8316623 w 11269790"/>
                <a:gd name="connsiteY23" fmla="*/ 762654 h 1994638"/>
                <a:gd name="connsiteX24" fmla="*/ 9380636 w 11269790"/>
                <a:gd name="connsiteY24" fmla="*/ 788154 h 1994638"/>
                <a:gd name="connsiteX25" fmla="*/ 10129791 w 11269790"/>
                <a:gd name="connsiteY25" fmla="*/ 779648 h 1994638"/>
                <a:gd name="connsiteX26" fmla="*/ 10661786 w 11269790"/>
                <a:gd name="connsiteY26" fmla="*/ 771142 h 1994638"/>
                <a:gd name="connsiteX27" fmla="*/ 11139509 w 11269790"/>
                <a:gd name="connsiteY27" fmla="*/ 737154 h 1994638"/>
                <a:gd name="connsiteX28" fmla="*/ 11269790 w 11269790"/>
                <a:gd name="connsiteY28" fmla="*/ 754148 h 1994638"/>
                <a:gd name="connsiteX29" fmla="*/ 11269790 w 11269790"/>
                <a:gd name="connsiteY29" fmla="*/ 133791 h 1994638"/>
                <a:gd name="connsiteX30" fmla="*/ 11085214 w 11269790"/>
                <a:gd name="connsiteY30" fmla="*/ 65870 h 1994638"/>
                <a:gd name="connsiteX31" fmla="*/ 10270918 w 11269790"/>
                <a:gd name="connsiteY31" fmla="*/ 14889 h 1994638"/>
                <a:gd name="connsiteX32" fmla="*/ 9684627 w 11269790"/>
                <a:gd name="connsiteY32" fmla="*/ 108364 h 1994638"/>
                <a:gd name="connsiteX33" fmla="*/ 8783477 w 11269790"/>
                <a:gd name="connsiteY33" fmla="*/ 201839 h 1994638"/>
                <a:gd name="connsiteX34" fmla="*/ 7817186 w 11269790"/>
                <a:gd name="connsiteY34" fmla="*/ 201839 h 1994638"/>
                <a:gd name="connsiteX35" fmla="*/ 6090896 w 11269790"/>
                <a:gd name="connsiteY35" fmla="*/ 193333 h 1994638"/>
                <a:gd name="connsiteX36" fmla="*/ 5005168 w 11269790"/>
                <a:gd name="connsiteY36" fmla="*/ 65870 h 1994638"/>
                <a:gd name="connsiteX37" fmla="*/ 3213736 w 11269790"/>
                <a:gd name="connsiteY37" fmla="*/ 57364 h 1994638"/>
                <a:gd name="connsiteX38" fmla="*/ 2160591 w 11269790"/>
                <a:gd name="connsiteY38" fmla="*/ 82864 h 1994638"/>
                <a:gd name="connsiteX39" fmla="*/ 2673914 w 11269790"/>
                <a:gd name="connsiteY39" fmla="*/ 66415 h 1994638"/>
                <a:gd name="connsiteX0" fmla="*/ 2673914 w 11269790"/>
                <a:gd name="connsiteY0" fmla="*/ 66415 h 1994638"/>
                <a:gd name="connsiteX1" fmla="*/ 4 w 11269790"/>
                <a:gd name="connsiteY1" fmla="*/ 745642 h 1994638"/>
                <a:gd name="connsiteX2" fmla="*/ 249723 w 11269790"/>
                <a:gd name="connsiteY2" fmla="*/ 915580 h 1994638"/>
                <a:gd name="connsiteX3" fmla="*/ 271436 w 11269790"/>
                <a:gd name="connsiteY3" fmla="*/ 1077031 h 1994638"/>
                <a:gd name="connsiteX4" fmla="*/ 499441 w 11269790"/>
                <a:gd name="connsiteY4" fmla="*/ 1416926 h 1994638"/>
                <a:gd name="connsiteX5" fmla="*/ 629723 w 11269790"/>
                <a:gd name="connsiteY5" fmla="*/ 1595370 h 1994638"/>
                <a:gd name="connsiteX6" fmla="*/ 684018 w 11269790"/>
                <a:gd name="connsiteY6" fmla="*/ 1790808 h 1994638"/>
                <a:gd name="connsiteX7" fmla="*/ 846882 w 11269790"/>
                <a:gd name="connsiteY7" fmla="*/ 1986246 h 1994638"/>
                <a:gd name="connsiteX8" fmla="*/ 1009746 w 11269790"/>
                <a:gd name="connsiteY8" fmla="*/ 1858784 h 1994638"/>
                <a:gd name="connsiteX9" fmla="*/ 1031460 w 11269790"/>
                <a:gd name="connsiteY9" fmla="*/ 1595370 h 1994638"/>
                <a:gd name="connsiteX10" fmla="*/ 1183455 w 11269790"/>
                <a:gd name="connsiteY10" fmla="*/ 1510401 h 1994638"/>
                <a:gd name="connsiteX11" fmla="*/ 1292023 w 11269790"/>
                <a:gd name="connsiteY11" fmla="*/ 1229994 h 1994638"/>
                <a:gd name="connsiteX12" fmla="*/ 1400591 w 11269790"/>
                <a:gd name="connsiteY12" fmla="*/ 873105 h 1994638"/>
                <a:gd name="connsiteX13" fmla="*/ 1552586 w 11269790"/>
                <a:gd name="connsiteY13" fmla="*/ 737154 h 1994638"/>
                <a:gd name="connsiteX14" fmla="*/ 1856577 w 11269790"/>
                <a:gd name="connsiteY14" fmla="*/ 737154 h 1994638"/>
                <a:gd name="connsiteX15" fmla="*/ 2432000 w 11269790"/>
                <a:gd name="connsiteY15" fmla="*/ 754148 h 1994638"/>
                <a:gd name="connsiteX16" fmla="*/ 3571999 w 11269790"/>
                <a:gd name="connsiteY16" fmla="*/ 754148 h 1994638"/>
                <a:gd name="connsiteX17" fmla="*/ 4266858 w 11269790"/>
                <a:gd name="connsiteY17" fmla="*/ 788136 h 1994638"/>
                <a:gd name="connsiteX18" fmla="*/ 4722868 w 11269790"/>
                <a:gd name="connsiteY18" fmla="*/ 728648 h 1994638"/>
                <a:gd name="connsiteX19" fmla="*/ 5200590 w 11269790"/>
                <a:gd name="connsiteY19" fmla="*/ 728648 h 1994638"/>
                <a:gd name="connsiteX20" fmla="*/ 5971459 w 11269790"/>
                <a:gd name="connsiteY20" fmla="*/ 771142 h 1994638"/>
                <a:gd name="connsiteX21" fmla="*/ 6850895 w 11269790"/>
                <a:gd name="connsiteY21" fmla="*/ 754148 h 1994638"/>
                <a:gd name="connsiteX22" fmla="*/ 7480613 w 11269790"/>
                <a:gd name="connsiteY22" fmla="*/ 762654 h 1994638"/>
                <a:gd name="connsiteX23" fmla="*/ 8316623 w 11269790"/>
                <a:gd name="connsiteY23" fmla="*/ 762654 h 1994638"/>
                <a:gd name="connsiteX24" fmla="*/ 9380636 w 11269790"/>
                <a:gd name="connsiteY24" fmla="*/ 788154 h 1994638"/>
                <a:gd name="connsiteX25" fmla="*/ 10129791 w 11269790"/>
                <a:gd name="connsiteY25" fmla="*/ 779648 h 1994638"/>
                <a:gd name="connsiteX26" fmla="*/ 10661786 w 11269790"/>
                <a:gd name="connsiteY26" fmla="*/ 771142 h 1994638"/>
                <a:gd name="connsiteX27" fmla="*/ 11139509 w 11269790"/>
                <a:gd name="connsiteY27" fmla="*/ 737154 h 1994638"/>
                <a:gd name="connsiteX28" fmla="*/ 11269790 w 11269790"/>
                <a:gd name="connsiteY28" fmla="*/ 754148 h 1994638"/>
                <a:gd name="connsiteX29" fmla="*/ 11269790 w 11269790"/>
                <a:gd name="connsiteY29" fmla="*/ 133791 h 1994638"/>
                <a:gd name="connsiteX30" fmla="*/ 11085214 w 11269790"/>
                <a:gd name="connsiteY30" fmla="*/ 65870 h 1994638"/>
                <a:gd name="connsiteX31" fmla="*/ 10270918 w 11269790"/>
                <a:gd name="connsiteY31" fmla="*/ 14889 h 1994638"/>
                <a:gd name="connsiteX32" fmla="*/ 9684627 w 11269790"/>
                <a:gd name="connsiteY32" fmla="*/ 108364 h 1994638"/>
                <a:gd name="connsiteX33" fmla="*/ 8783477 w 11269790"/>
                <a:gd name="connsiteY33" fmla="*/ 201839 h 1994638"/>
                <a:gd name="connsiteX34" fmla="*/ 7817186 w 11269790"/>
                <a:gd name="connsiteY34" fmla="*/ 201839 h 1994638"/>
                <a:gd name="connsiteX35" fmla="*/ 6090896 w 11269790"/>
                <a:gd name="connsiteY35" fmla="*/ 193333 h 1994638"/>
                <a:gd name="connsiteX36" fmla="*/ 5005168 w 11269790"/>
                <a:gd name="connsiteY36" fmla="*/ 65870 h 1994638"/>
                <a:gd name="connsiteX37" fmla="*/ 3213736 w 11269790"/>
                <a:gd name="connsiteY37" fmla="*/ 57364 h 1994638"/>
                <a:gd name="connsiteX38" fmla="*/ 2673914 w 11269790"/>
                <a:gd name="connsiteY38" fmla="*/ 66415 h 1994638"/>
                <a:gd name="connsiteX0" fmla="*/ 2598674 w 11194550"/>
                <a:gd name="connsiteY0" fmla="*/ 66415 h 1994638"/>
                <a:gd name="connsiteX1" fmla="*/ 174483 w 11194550"/>
                <a:gd name="connsiteY1" fmla="*/ 915580 h 1994638"/>
                <a:gd name="connsiteX2" fmla="*/ 196196 w 11194550"/>
                <a:gd name="connsiteY2" fmla="*/ 1077031 h 1994638"/>
                <a:gd name="connsiteX3" fmla="*/ 424201 w 11194550"/>
                <a:gd name="connsiteY3" fmla="*/ 1416926 h 1994638"/>
                <a:gd name="connsiteX4" fmla="*/ 554483 w 11194550"/>
                <a:gd name="connsiteY4" fmla="*/ 1595370 h 1994638"/>
                <a:gd name="connsiteX5" fmla="*/ 608778 w 11194550"/>
                <a:gd name="connsiteY5" fmla="*/ 1790808 h 1994638"/>
                <a:gd name="connsiteX6" fmla="*/ 771642 w 11194550"/>
                <a:gd name="connsiteY6" fmla="*/ 1986246 h 1994638"/>
                <a:gd name="connsiteX7" fmla="*/ 934506 w 11194550"/>
                <a:gd name="connsiteY7" fmla="*/ 1858784 h 1994638"/>
                <a:gd name="connsiteX8" fmla="*/ 956220 w 11194550"/>
                <a:gd name="connsiteY8" fmla="*/ 1595370 h 1994638"/>
                <a:gd name="connsiteX9" fmla="*/ 1108215 w 11194550"/>
                <a:gd name="connsiteY9" fmla="*/ 1510401 h 1994638"/>
                <a:gd name="connsiteX10" fmla="*/ 1216783 w 11194550"/>
                <a:gd name="connsiteY10" fmla="*/ 1229994 h 1994638"/>
                <a:gd name="connsiteX11" fmla="*/ 1325351 w 11194550"/>
                <a:gd name="connsiteY11" fmla="*/ 873105 h 1994638"/>
                <a:gd name="connsiteX12" fmla="*/ 1477346 w 11194550"/>
                <a:gd name="connsiteY12" fmla="*/ 737154 h 1994638"/>
                <a:gd name="connsiteX13" fmla="*/ 1781337 w 11194550"/>
                <a:gd name="connsiteY13" fmla="*/ 737154 h 1994638"/>
                <a:gd name="connsiteX14" fmla="*/ 2356760 w 11194550"/>
                <a:gd name="connsiteY14" fmla="*/ 754148 h 1994638"/>
                <a:gd name="connsiteX15" fmla="*/ 3496759 w 11194550"/>
                <a:gd name="connsiteY15" fmla="*/ 754148 h 1994638"/>
                <a:gd name="connsiteX16" fmla="*/ 4191618 w 11194550"/>
                <a:gd name="connsiteY16" fmla="*/ 788136 h 1994638"/>
                <a:gd name="connsiteX17" fmla="*/ 4647628 w 11194550"/>
                <a:gd name="connsiteY17" fmla="*/ 728648 h 1994638"/>
                <a:gd name="connsiteX18" fmla="*/ 5125350 w 11194550"/>
                <a:gd name="connsiteY18" fmla="*/ 728648 h 1994638"/>
                <a:gd name="connsiteX19" fmla="*/ 5896219 w 11194550"/>
                <a:gd name="connsiteY19" fmla="*/ 771142 h 1994638"/>
                <a:gd name="connsiteX20" fmla="*/ 6775655 w 11194550"/>
                <a:gd name="connsiteY20" fmla="*/ 754148 h 1994638"/>
                <a:gd name="connsiteX21" fmla="*/ 7405373 w 11194550"/>
                <a:gd name="connsiteY21" fmla="*/ 762654 h 1994638"/>
                <a:gd name="connsiteX22" fmla="*/ 8241383 w 11194550"/>
                <a:gd name="connsiteY22" fmla="*/ 762654 h 1994638"/>
                <a:gd name="connsiteX23" fmla="*/ 9305396 w 11194550"/>
                <a:gd name="connsiteY23" fmla="*/ 788154 h 1994638"/>
                <a:gd name="connsiteX24" fmla="*/ 10054551 w 11194550"/>
                <a:gd name="connsiteY24" fmla="*/ 779648 h 1994638"/>
                <a:gd name="connsiteX25" fmla="*/ 10586546 w 11194550"/>
                <a:gd name="connsiteY25" fmla="*/ 771142 h 1994638"/>
                <a:gd name="connsiteX26" fmla="*/ 11064269 w 11194550"/>
                <a:gd name="connsiteY26" fmla="*/ 737154 h 1994638"/>
                <a:gd name="connsiteX27" fmla="*/ 11194550 w 11194550"/>
                <a:gd name="connsiteY27" fmla="*/ 754148 h 1994638"/>
                <a:gd name="connsiteX28" fmla="*/ 11194550 w 11194550"/>
                <a:gd name="connsiteY28" fmla="*/ 133791 h 1994638"/>
                <a:gd name="connsiteX29" fmla="*/ 11009974 w 11194550"/>
                <a:gd name="connsiteY29" fmla="*/ 65870 h 1994638"/>
                <a:gd name="connsiteX30" fmla="*/ 10195678 w 11194550"/>
                <a:gd name="connsiteY30" fmla="*/ 14889 h 1994638"/>
                <a:gd name="connsiteX31" fmla="*/ 9609387 w 11194550"/>
                <a:gd name="connsiteY31" fmla="*/ 108364 h 1994638"/>
                <a:gd name="connsiteX32" fmla="*/ 8708237 w 11194550"/>
                <a:gd name="connsiteY32" fmla="*/ 201839 h 1994638"/>
                <a:gd name="connsiteX33" fmla="*/ 7741946 w 11194550"/>
                <a:gd name="connsiteY33" fmla="*/ 201839 h 1994638"/>
                <a:gd name="connsiteX34" fmla="*/ 6015656 w 11194550"/>
                <a:gd name="connsiteY34" fmla="*/ 193333 h 1994638"/>
                <a:gd name="connsiteX35" fmla="*/ 4929928 w 11194550"/>
                <a:gd name="connsiteY35" fmla="*/ 65870 h 1994638"/>
                <a:gd name="connsiteX36" fmla="*/ 3138496 w 11194550"/>
                <a:gd name="connsiteY36" fmla="*/ 57364 h 1994638"/>
                <a:gd name="connsiteX37" fmla="*/ 2598674 w 11194550"/>
                <a:gd name="connsiteY37" fmla="*/ 66415 h 1994638"/>
                <a:gd name="connsiteX0" fmla="*/ 2523012 w 11118888"/>
                <a:gd name="connsiteY0" fmla="*/ 66415 h 1994638"/>
                <a:gd name="connsiteX1" fmla="*/ 2391070 w 11118888"/>
                <a:gd name="connsiteY1" fmla="*/ 622730 h 1994638"/>
                <a:gd name="connsiteX2" fmla="*/ 120534 w 11118888"/>
                <a:gd name="connsiteY2" fmla="*/ 1077031 h 1994638"/>
                <a:gd name="connsiteX3" fmla="*/ 348539 w 11118888"/>
                <a:gd name="connsiteY3" fmla="*/ 1416926 h 1994638"/>
                <a:gd name="connsiteX4" fmla="*/ 478821 w 11118888"/>
                <a:gd name="connsiteY4" fmla="*/ 1595370 h 1994638"/>
                <a:gd name="connsiteX5" fmla="*/ 533116 w 11118888"/>
                <a:gd name="connsiteY5" fmla="*/ 1790808 h 1994638"/>
                <a:gd name="connsiteX6" fmla="*/ 695980 w 11118888"/>
                <a:gd name="connsiteY6" fmla="*/ 1986246 h 1994638"/>
                <a:gd name="connsiteX7" fmla="*/ 858844 w 11118888"/>
                <a:gd name="connsiteY7" fmla="*/ 1858784 h 1994638"/>
                <a:gd name="connsiteX8" fmla="*/ 880558 w 11118888"/>
                <a:gd name="connsiteY8" fmla="*/ 1595370 h 1994638"/>
                <a:gd name="connsiteX9" fmla="*/ 1032553 w 11118888"/>
                <a:gd name="connsiteY9" fmla="*/ 1510401 h 1994638"/>
                <a:gd name="connsiteX10" fmla="*/ 1141121 w 11118888"/>
                <a:gd name="connsiteY10" fmla="*/ 1229994 h 1994638"/>
                <a:gd name="connsiteX11" fmla="*/ 1249689 w 11118888"/>
                <a:gd name="connsiteY11" fmla="*/ 873105 h 1994638"/>
                <a:gd name="connsiteX12" fmla="*/ 1401684 w 11118888"/>
                <a:gd name="connsiteY12" fmla="*/ 737154 h 1994638"/>
                <a:gd name="connsiteX13" fmla="*/ 1705675 w 11118888"/>
                <a:gd name="connsiteY13" fmla="*/ 737154 h 1994638"/>
                <a:gd name="connsiteX14" fmla="*/ 2281098 w 11118888"/>
                <a:gd name="connsiteY14" fmla="*/ 754148 h 1994638"/>
                <a:gd name="connsiteX15" fmla="*/ 3421097 w 11118888"/>
                <a:gd name="connsiteY15" fmla="*/ 754148 h 1994638"/>
                <a:gd name="connsiteX16" fmla="*/ 4115956 w 11118888"/>
                <a:gd name="connsiteY16" fmla="*/ 788136 h 1994638"/>
                <a:gd name="connsiteX17" fmla="*/ 4571966 w 11118888"/>
                <a:gd name="connsiteY17" fmla="*/ 728648 h 1994638"/>
                <a:gd name="connsiteX18" fmla="*/ 5049688 w 11118888"/>
                <a:gd name="connsiteY18" fmla="*/ 728648 h 1994638"/>
                <a:gd name="connsiteX19" fmla="*/ 5820557 w 11118888"/>
                <a:gd name="connsiteY19" fmla="*/ 771142 h 1994638"/>
                <a:gd name="connsiteX20" fmla="*/ 6699993 w 11118888"/>
                <a:gd name="connsiteY20" fmla="*/ 754148 h 1994638"/>
                <a:gd name="connsiteX21" fmla="*/ 7329711 w 11118888"/>
                <a:gd name="connsiteY21" fmla="*/ 762654 h 1994638"/>
                <a:gd name="connsiteX22" fmla="*/ 8165721 w 11118888"/>
                <a:gd name="connsiteY22" fmla="*/ 762654 h 1994638"/>
                <a:gd name="connsiteX23" fmla="*/ 9229734 w 11118888"/>
                <a:gd name="connsiteY23" fmla="*/ 788154 h 1994638"/>
                <a:gd name="connsiteX24" fmla="*/ 9978889 w 11118888"/>
                <a:gd name="connsiteY24" fmla="*/ 779648 h 1994638"/>
                <a:gd name="connsiteX25" fmla="*/ 10510884 w 11118888"/>
                <a:gd name="connsiteY25" fmla="*/ 771142 h 1994638"/>
                <a:gd name="connsiteX26" fmla="*/ 10988607 w 11118888"/>
                <a:gd name="connsiteY26" fmla="*/ 737154 h 1994638"/>
                <a:gd name="connsiteX27" fmla="*/ 11118888 w 11118888"/>
                <a:gd name="connsiteY27" fmla="*/ 754148 h 1994638"/>
                <a:gd name="connsiteX28" fmla="*/ 11118888 w 11118888"/>
                <a:gd name="connsiteY28" fmla="*/ 133791 h 1994638"/>
                <a:gd name="connsiteX29" fmla="*/ 10934312 w 11118888"/>
                <a:gd name="connsiteY29" fmla="*/ 65870 h 1994638"/>
                <a:gd name="connsiteX30" fmla="*/ 10120016 w 11118888"/>
                <a:gd name="connsiteY30" fmla="*/ 14889 h 1994638"/>
                <a:gd name="connsiteX31" fmla="*/ 9533725 w 11118888"/>
                <a:gd name="connsiteY31" fmla="*/ 108364 h 1994638"/>
                <a:gd name="connsiteX32" fmla="*/ 8632575 w 11118888"/>
                <a:gd name="connsiteY32" fmla="*/ 201839 h 1994638"/>
                <a:gd name="connsiteX33" fmla="*/ 7666284 w 11118888"/>
                <a:gd name="connsiteY33" fmla="*/ 201839 h 1994638"/>
                <a:gd name="connsiteX34" fmla="*/ 5939994 w 11118888"/>
                <a:gd name="connsiteY34" fmla="*/ 193333 h 1994638"/>
                <a:gd name="connsiteX35" fmla="*/ 4854266 w 11118888"/>
                <a:gd name="connsiteY35" fmla="*/ 65870 h 1994638"/>
                <a:gd name="connsiteX36" fmla="*/ 3062834 w 11118888"/>
                <a:gd name="connsiteY36" fmla="*/ 57364 h 1994638"/>
                <a:gd name="connsiteX37" fmla="*/ 2523012 w 11118888"/>
                <a:gd name="connsiteY37" fmla="*/ 66415 h 1994638"/>
                <a:gd name="connsiteX0" fmla="*/ 2523012 w 11118888"/>
                <a:gd name="connsiteY0" fmla="*/ 66415 h 1994638"/>
                <a:gd name="connsiteX1" fmla="*/ 2391070 w 11118888"/>
                <a:gd name="connsiteY1" fmla="*/ 622730 h 1994638"/>
                <a:gd name="connsiteX2" fmla="*/ 120534 w 11118888"/>
                <a:gd name="connsiteY2" fmla="*/ 1077031 h 1994638"/>
                <a:gd name="connsiteX3" fmla="*/ 348539 w 11118888"/>
                <a:gd name="connsiteY3" fmla="*/ 1416926 h 1994638"/>
                <a:gd name="connsiteX4" fmla="*/ 478821 w 11118888"/>
                <a:gd name="connsiteY4" fmla="*/ 1595370 h 1994638"/>
                <a:gd name="connsiteX5" fmla="*/ 533116 w 11118888"/>
                <a:gd name="connsiteY5" fmla="*/ 1790808 h 1994638"/>
                <a:gd name="connsiteX6" fmla="*/ 695980 w 11118888"/>
                <a:gd name="connsiteY6" fmla="*/ 1986246 h 1994638"/>
                <a:gd name="connsiteX7" fmla="*/ 858844 w 11118888"/>
                <a:gd name="connsiteY7" fmla="*/ 1858784 h 1994638"/>
                <a:gd name="connsiteX8" fmla="*/ 880558 w 11118888"/>
                <a:gd name="connsiteY8" fmla="*/ 1595370 h 1994638"/>
                <a:gd name="connsiteX9" fmla="*/ 1032553 w 11118888"/>
                <a:gd name="connsiteY9" fmla="*/ 1510401 h 1994638"/>
                <a:gd name="connsiteX10" fmla="*/ 1141121 w 11118888"/>
                <a:gd name="connsiteY10" fmla="*/ 1229994 h 1994638"/>
                <a:gd name="connsiteX11" fmla="*/ 1249689 w 11118888"/>
                <a:gd name="connsiteY11" fmla="*/ 873105 h 1994638"/>
                <a:gd name="connsiteX12" fmla="*/ 1401684 w 11118888"/>
                <a:gd name="connsiteY12" fmla="*/ 737154 h 1994638"/>
                <a:gd name="connsiteX13" fmla="*/ 1705675 w 11118888"/>
                <a:gd name="connsiteY13" fmla="*/ 737154 h 1994638"/>
                <a:gd name="connsiteX14" fmla="*/ 2281098 w 11118888"/>
                <a:gd name="connsiteY14" fmla="*/ 754148 h 1994638"/>
                <a:gd name="connsiteX15" fmla="*/ 3421097 w 11118888"/>
                <a:gd name="connsiteY15" fmla="*/ 754148 h 1994638"/>
                <a:gd name="connsiteX16" fmla="*/ 4115956 w 11118888"/>
                <a:gd name="connsiteY16" fmla="*/ 788136 h 1994638"/>
                <a:gd name="connsiteX17" fmla="*/ 4571966 w 11118888"/>
                <a:gd name="connsiteY17" fmla="*/ 728648 h 1994638"/>
                <a:gd name="connsiteX18" fmla="*/ 5049688 w 11118888"/>
                <a:gd name="connsiteY18" fmla="*/ 728648 h 1994638"/>
                <a:gd name="connsiteX19" fmla="*/ 5820557 w 11118888"/>
                <a:gd name="connsiteY19" fmla="*/ 771142 h 1994638"/>
                <a:gd name="connsiteX20" fmla="*/ 6699993 w 11118888"/>
                <a:gd name="connsiteY20" fmla="*/ 754148 h 1994638"/>
                <a:gd name="connsiteX21" fmla="*/ 7329711 w 11118888"/>
                <a:gd name="connsiteY21" fmla="*/ 762654 h 1994638"/>
                <a:gd name="connsiteX22" fmla="*/ 8165721 w 11118888"/>
                <a:gd name="connsiteY22" fmla="*/ 762654 h 1994638"/>
                <a:gd name="connsiteX23" fmla="*/ 9229734 w 11118888"/>
                <a:gd name="connsiteY23" fmla="*/ 788154 h 1994638"/>
                <a:gd name="connsiteX24" fmla="*/ 9978889 w 11118888"/>
                <a:gd name="connsiteY24" fmla="*/ 779648 h 1994638"/>
                <a:gd name="connsiteX25" fmla="*/ 10510884 w 11118888"/>
                <a:gd name="connsiteY25" fmla="*/ 771142 h 1994638"/>
                <a:gd name="connsiteX26" fmla="*/ 10988607 w 11118888"/>
                <a:gd name="connsiteY26" fmla="*/ 737154 h 1994638"/>
                <a:gd name="connsiteX27" fmla="*/ 11118888 w 11118888"/>
                <a:gd name="connsiteY27" fmla="*/ 754148 h 1994638"/>
                <a:gd name="connsiteX28" fmla="*/ 11118888 w 11118888"/>
                <a:gd name="connsiteY28" fmla="*/ 133791 h 1994638"/>
                <a:gd name="connsiteX29" fmla="*/ 10934312 w 11118888"/>
                <a:gd name="connsiteY29" fmla="*/ 65870 h 1994638"/>
                <a:gd name="connsiteX30" fmla="*/ 10120016 w 11118888"/>
                <a:gd name="connsiteY30" fmla="*/ 14889 h 1994638"/>
                <a:gd name="connsiteX31" fmla="*/ 9533725 w 11118888"/>
                <a:gd name="connsiteY31" fmla="*/ 108364 h 1994638"/>
                <a:gd name="connsiteX32" fmla="*/ 8632575 w 11118888"/>
                <a:gd name="connsiteY32" fmla="*/ 201839 h 1994638"/>
                <a:gd name="connsiteX33" fmla="*/ 7666284 w 11118888"/>
                <a:gd name="connsiteY33" fmla="*/ 201839 h 1994638"/>
                <a:gd name="connsiteX34" fmla="*/ 5939994 w 11118888"/>
                <a:gd name="connsiteY34" fmla="*/ 193333 h 1994638"/>
                <a:gd name="connsiteX35" fmla="*/ 4854266 w 11118888"/>
                <a:gd name="connsiteY35" fmla="*/ 65870 h 1994638"/>
                <a:gd name="connsiteX36" fmla="*/ 3062834 w 11118888"/>
                <a:gd name="connsiteY36" fmla="*/ 57364 h 1994638"/>
                <a:gd name="connsiteX37" fmla="*/ 2523012 w 11118888"/>
                <a:gd name="connsiteY37" fmla="*/ 66415 h 1994638"/>
                <a:gd name="connsiteX0" fmla="*/ 2532379 w 11128255"/>
                <a:gd name="connsiteY0" fmla="*/ 66415 h 1994638"/>
                <a:gd name="connsiteX1" fmla="*/ 129901 w 11128255"/>
                <a:gd name="connsiteY1" fmla="*/ 1077031 h 1994638"/>
                <a:gd name="connsiteX2" fmla="*/ 357906 w 11128255"/>
                <a:gd name="connsiteY2" fmla="*/ 1416926 h 1994638"/>
                <a:gd name="connsiteX3" fmla="*/ 488188 w 11128255"/>
                <a:gd name="connsiteY3" fmla="*/ 1595370 h 1994638"/>
                <a:gd name="connsiteX4" fmla="*/ 542483 w 11128255"/>
                <a:gd name="connsiteY4" fmla="*/ 1790808 h 1994638"/>
                <a:gd name="connsiteX5" fmla="*/ 705347 w 11128255"/>
                <a:gd name="connsiteY5" fmla="*/ 1986246 h 1994638"/>
                <a:gd name="connsiteX6" fmla="*/ 868211 w 11128255"/>
                <a:gd name="connsiteY6" fmla="*/ 1858784 h 1994638"/>
                <a:gd name="connsiteX7" fmla="*/ 889925 w 11128255"/>
                <a:gd name="connsiteY7" fmla="*/ 1595370 h 1994638"/>
                <a:gd name="connsiteX8" fmla="*/ 1041920 w 11128255"/>
                <a:gd name="connsiteY8" fmla="*/ 1510401 h 1994638"/>
                <a:gd name="connsiteX9" fmla="*/ 1150488 w 11128255"/>
                <a:gd name="connsiteY9" fmla="*/ 1229994 h 1994638"/>
                <a:gd name="connsiteX10" fmla="*/ 1259056 w 11128255"/>
                <a:gd name="connsiteY10" fmla="*/ 873105 h 1994638"/>
                <a:gd name="connsiteX11" fmla="*/ 1411051 w 11128255"/>
                <a:gd name="connsiteY11" fmla="*/ 737154 h 1994638"/>
                <a:gd name="connsiteX12" fmla="*/ 1715042 w 11128255"/>
                <a:gd name="connsiteY12" fmla="*/ 737154 h 1994638"/>
                <a:gd name="connsiteX13" fmla="*/ 2290465 w 11128255"/>
                <a:gd name="connsiteY13" fmla="*/ 754148 h 1994638"/>
                <a:gd name="connsiteX14" fmla="*/ 3430464 w 11128255"/>
                <a:gd name="connsiteY14" fmla="*/ 754148 h 1994638"/>
                <a:gd name="connsiteX15" fmla="*/ 4125323 w 11128255"/>
                <a:gd name="connsiteY15" fmla="*/ 788136 h 1994638"/>
                <a:gd name="connsiteX16" fmla="*/ 4581333 w 11128255"/>
                <a:gd name="connsiteY16" fmla="*/ 728648 h 1994638"/>
                <a:gd name="connsiteX17" fmla="*/ 5059055 w 11128255"/>
                <a:gd name="connsiteY17" fmla="*/ 728648 h 1994638"/>
                <a:gd name="connsiteX18" fmla="*/ 5829924 w 11128255"/>
                <a:gd name="connsiteY18" fmla="*/ 771142 h 1994638"/>
                <a:gd name="connsiteX19" fmla="*/ 6709360 w 11128255"/>
                <a:gd name="connsiteY19" fmla="*/ 754148 h 1994638"/>
                <a:gd name="connsiteX20" fmla="*/ 7339078 w 11128255"/>
                <a:gd name="connsiteY20" fmla="*/ 762654 h 1994638"/>
                <a:gd name="connsiteX21" fmla="*/ 8175088 w 11128255"/>
                <a:gd name="connsiteY21" fmla="*/ 762654 h 1994638"/>
                <a:gd name="connsiteX22" fmla="*/ 9239101 w 11128255"/>
                <a:gd name="connsiteY22" fmla="*/ 788154 h 1994638"/>
                <a:gd name="connsiteX23" fmla="*/ 9988256 w 11128255"/>
                <a:gd name="connsiteY23" fmla="*/ 779648 h 1994638"/>
                <a:gd name="connsiteX24" fmla="*/ 10520251 w 11128255"/>
                <a:gd name="connsiteY24" fmla="*/ 771142 h 1994638"/>
                <a:gd name="connsiteX25" fmla="*/ 10997974 w 11128255"/>
                <a:gd name="connsiteY25" fmla="*/ 737154 h 1994638"/>
                <a:gd name="connsiteX26" fmla="*/ 11128255 w 11128255"/>
                <a:gd name="connsiteY26" fmla="*/ 754148 h 1994638"/>
                <a:gd name="connsiteX27" fmla="*/ 11128255 w 11128255"/>
                <a:gd name="connsiteY27" fmla="*/ 133791 h 1994638"/>
                <a:gd name="connsiteX28" fmla="*/ 10943679 w 11128255"/>
                <a:gd name="connsiteY28" fmla="*/ 65870 h 1994638"/>
                <a:gd name="connsiteX29" fmla="*/ 10129383 w 11128255"/>
                <a:gd name="connsiteY29" fmla="*/ 14889 h 1994638"/>
                <a:gd name="connsiteX30" fmla="*/ 9543092 w 11128255"/>
                <a:gd name="connsiteY30" fmla="*/ 108364 h 1994638"/>
                <a:gd name="connsiteX31" fmla="*/ 8641942 w 11128255"/>
                <a:gd name="connsiteY31" fmla="*/ 201839 h 1994638"/>
                <a:gd name="connsiteX32" fmla="*/ 7675651 w 11128255"/>
                <a:gd name="connsiteY32" fmla="*/ 201839 h 1994638"/>
                <a:gd name="connsiteX33" fmla="*/ 5949361 w 11128255"/>
                <a:gd name="connsiteY33" fmla="*/ 193333 h 1994638"/>
                <a:gd name="connsiteX34" fmla="*/ 4863633 w 11128255"/>
                <a:gd name="connsiteY34" fmla="*/ 65870 h 1994638"/>
                <a:gd name="connsiteX35" fmla="*/ 3072201 w 11128255"/>
                <a:gd name="connsiteY35" fmla="*/ 57364 h 1994638"/>
                <a:gd name="connsiteX36" fmla="*/ 2532379 w 11128255"/>
                <a:gd name="connsiteY36" fmla="*/ 66415 h 1994638"/>
                <a:gd name="connsiteX0" fmla="*/ 2290884 w 10886760"/>
                <a:gd name="connsiteY0" fmla="*/ 66415 h 1994638"/>
                <a:gd name="connsiteX1" fmla="*/ 2173324 w 10886760"/>
                <a:gd name="connsiteY1" fmla="*/ 625754 h 1994638"/>
                <a:gd name="connsiteX2" fmla="*/ 116411 w 10886760"/>
                <a:gd name="connsiteY2" fmla="*/ 1416926 h 1994638"/>
                <a:gd name="connsiteX3" fmla="*/ 246693 w 10886760"/>
                <a:gd name="connsiteY3" fmla="*/ 1595370 h 1994638"/>
                <a:gd name="connsiteX4" fmla="*/ 300988 w 10886760"/>
                <a:gd name="connsiteY4" fmla="*/ 1790808 h 1994638"/>
                <a:gd name="connsiteX5" fmla="*/ 463852 w 10886760"/>
                <a:gd name="connsiteY5" fmla="*/ 1986246 h 1994638"/>
                <a:gd name="connsiteX6" fmla="*/ 626716 w 10886760"/>
                <a:gd name="connsiteY6" fmla="*/ 1858784 h 1994638"/>
                <a:gd name="connsiteX7" fmla="*/ 648430 w 10886760"/>
                <a:gd name="connsiteY7" fmla="*/ 1595370 h 1994638"/>
                <a:gd name="connsiteX8" fmla="*/ 800425 w 10886760"/>
                <a:gd name="connsiteY8" fmla="*/ 1510401 h 1994638"/>
                <a:gd name="connsiteX9" fmla="*/ 908993 w 10886760"/>
                <a:gd name="connsiteY9" fmla="*/ 1229994 h 1994638"/>
                <a:gd name="connsiteX10" fmla="*/ 1017561 w 10886760"/>
                <a:gd name="connsiteY10" fmla="*/ 873105 h 1994638"/>
                <a:gd name="connsiteX11" fmla="*/ 1169556 w 10886760"/>
                <a:gd name="connsiteY11" fmla="*/ 737154 h 1994638"/>
                <a:gd name="connsiteX12" fmla="*/ 1473547 w 10886760"/>
                <a:gd name="connsiteY12" fmla="*/ 737154 h 1994638"/>
                <a:gd name="connsiteX13" fmla="*/ 2048970 w 10886760"/>
                <a:gd name="connsiteY13" fmla="*/ 754148 h 1994638"/>
                <a:gd name="connsiteX14" fmla="*/ 3188969 w 10886760"/>
                <a:gd name="connsiteY14" fmla="*/ 754148 h 1994638"/>
                <a:gd name="connsiteX15" fmla="*/ 3883828 w 10886760"/>
                <a:gd name="connsiteY15" fmla="*/ 788136 h 1994638"/>
                <a:gd name="connsiteX16" fmla="*/ 4339838 w 10886760"/>
                <a:gd name="connsiteY16" fmla="*/ 728648 h 1994638"/>
                <a:gd name="connsiteX17" fmla="*/ 4817560 w 10886760"/>
                <a:gd name="connsiteY17" fmla="*/ 728648 h 1994638"/>
                <a:gd name="connsiteX18" fmla="*/ 5588429 w 10886760"/>
                <a:gd name="connsiteY18" fmla="*/ 771142 h 1994638"/>
                <a:gd name="connsiteX19" fmla="*/ 6467865 w 10886760"/>
                <a:gd name="connsiteY19" fmla="*/ 754148 h 1994638"/>
                <a:gd name="connsiteX20" fmla="*/ 7097583 w 10886760"/>
                <a:gd name="connsiteY20" fmla="*/ 762654 h 1994638"/>
                <a:gd name="connsiteX21" fmla="*/ 7933593 w 10886760"/>
                <a:gd name="connsiteY21" fmla="*/ 762654 h 1994638"/>
                <a:gd name="connsiteX22" fmla="*/ 8997606 w 10886760"/>
                <a:gd name="connsiteY22" fmla="*/ 788154 h 1994638"/>
                <a:gd name="connsiteX23" fmla="*/ 9746761 w 10886760"/>
                <a:gd name="connsiteY23" fmla="*/ 779648 h 1994638"/>
                <a:gd name="connsiteX24" fmla="*/ 10278756 w 10886760"/>
                <a:gd name="connsiteY24" fmla="*/ 771142 h 1994638"/>
                <a:gd name="connsiteX25" fmla="*/ 10756479 w 10886760"/>
                <a:gd name="connsiteY25" fmla="*/ 737154 h 1994638"/>
                <a:gd name="connsiteX26" fmla="*/ 10886760 w 10886760"/>
                <a:gd name="connsiteY26" fmla="*/ 754148 h 1994638"/>
                <a:gd name="connsiteX27" fmla="*/ 10886760 w 10886760"/>
                <a:gd name="connsiteY27" fmla="*/ 133791 h 1994638"/>
                <a:gd name="connsiteX28" fmla="*/ 10702184 w 10886760"/>
                <a:gd name="connsiteY28" fmla="*/ 65870 h 1994638"/>
                <a:gd name="connsiteX29" fmla="*/ 9887888 w 10886760"/>
                <a:gd name="connsiteY29" fmla="*/ 14889 h 1994638"/>
                <a:gd name="connsiteX30" fmla="*/ 9301597 w 10886760"/>
                <a:gd name="connsiteY30" fmla="*/ 108364 h 1994638"/>
                <a:gd name="connsiteX31" fmla="*/ 8400447 w 10886760"/>
                <a:gd name="connsiteY31" fmla="*/ 201839 h 1994638"/>
                <a:gd name="connsiteX32" fmla="*/ 7434156 w 10886760"/>
                <a:gd name="connsiteY32" fmla="*/ 201839 h 1994638"/>
                <a:gd name="connsiteX33" fmla="*/ 5707866 w 10886760"/>
                <a:gd name="connsiteY33" fmla="*/ 193333 h 1994638"/>
                <a:gd name="connsiteX34" fmla="*/ 4622138 w 10886760"/>
                <a:gd name="connsiteY34" fmla="*/ 65870 h 1994638"/>
                <a:gd name="connsiteX35" fmla="*/ 2830706 w 10886760"/>
                <a:gd name="connsiteY35" fmla="*/ 57364 h 1994638"/>
                <a:gd name="connsiteX36" fmla="*/ 2290884 w 10886760"/>
                <a:gd name="connsiteY36" fmla="*/ 66415 h 1994638"/>
                <a:gd name="connsiteX0" fmla="*/ 2179017 w 10774893"/>
                <a:gd name="connsiteY0" fmla="*/ 66415 h 1994638"/>
                <a:gd name="connsiteX1" fmla="*/ 2061457 w 10774893"/>
                <a:gd name="connsiteY1" fmla="*/ 625754 h 1994638"/>
                <a:gd name="connsiteX2" fmla="*/ 134826 w 10774893"/>
                <a:gd name="connsiteY2" fmla="*/ 1595370 h 1994638"/>
                <a:gd name="connsiteX3" fmla="*/ 189121 w 10774893"/>
                <a:gd name="connsiteY3" fmla="*/ 1790808 h 1994638"/>
                <a:gd name="connsiteX4" fmla="*/ 351985 w 10774893"/>
                <a:gd name="connsiteY4" fmla="*/ 1986246 h 1994638"/>
                <a:gd name="connsiteX5" fmla="*/ 514849 w 10774893"/>
                <a:gd name="connsiteY5" fmla="*/ 1858784 h 1994638"/>
                <a:gd name="connsiteX6" fmla="*/ 536563 w 10774893"/>
                <a:gd name="connsiteY6" fmla="*/ 1595370 h 1994638"/>
                <a:gd name="connsiteX7" fmla="*/ 688558 w 10774893"/>
                <a:gd name="connsiteY7" fmla="*/ 1510401 h 1994638"/>
                <a:gd name="connsiteX8" fmla="*/ 797126 w 10774893"/>
                <a:gd name="connsiteY8" fmla="*/ 1229994 h 1994638"/>
                <a:gd name="connsiteX9" fmla="*/ 905694 w 10774893"/>
                <a:gd name="connsiteY9" fmla="*/ 873105 h 1994638"/>
                <a:gd name="connsiteX10" fmla="*/ 1057689 w 10774893"/>
                <a:gd name="connsiteY10" fmla="*/ 737154 h 1994638"/>
                <a:gd name="connsiteX11" fmla="*/ 1361680 w 10774893"/>
                <a:gd name="connsiteY11" fmla="*/ 737154 h 1994638"/>
                <a:gd name="connsiteX12" fmla="*/ 1937103 w 10774893"/>
                <a:gd name="connsiteY12" fmla="*/ 754148 h 1994638"/>
                <a:gd name="connsiteX13" fmla="*/ 3077102 w 10774893"/>
                <a:gd name="connsiteY13" fmla="*/ 754148 h 1994638"/>
                <a:gd name="connsiteX14" fmla="*/ 3771961 w 10774893"/>
                <a:gd name="connsiteY14" fmla="*/ 788136 h 1994638"/>
                <a:gd name="connsiteX15" fmla="*/ 4227971 w 10774893"/>
                <a:gd name="connsiteY15" fmla="*/ 728648 h 1994638"/>
                <a:gd name="connsiteX16" fmla="*/ 4705693 w 10774893"/>
                <a:gd name="connsiteY16" fmla="*/ 728648 h 1994638"/>
                <a:gd name="connsiteX17" fmla="*/ 5476562 w 10774893"/>
                <a:gd name="connsiteY17" fmla="*/ 771142 h 1994638"/>
                <a:gd name="connsiteX18" fmla="*/ 6355998 w 10774893"/>
                <a:gd name="connsiteY18" fmla="*/ 754148 h 1994638"/>
                <a:gd name="connsiteX19" fmla="*/ 6985716 w 10774893"/>
                <a:gd name="connsiteY19" fmla="*/ 762654 h 1994638"/>
                <a:gd name="connsiteX20" fmla="*/ 7821726 w 10774893"/>
                <a:gd name="connsiteY20" fmla="*/ 762654 h 1994638"/>
                <a:gd name="connsiteX21" fmla="*/ 8885739 w 10774893"/>
                <a:gd name="connsiteY21" fmla="*/ 788154 h 1994638"/>
                <a:gd name="connsiteX22" fmla="*/ 9634894 w 10774893"/>
                <a:gd name="connsiteY22" fmla="*/ 779648 h 1994638"/>
                <a:gd name="connsiteX23" fmla="*/ 10166889 w 10774893"/>
                <a:gd name="connsiteY23" fmla="*/ 771142 h 1994638"/>
                <a:gd name="connsiteX24" fmla="*/ 10644612 w 10774893"/>
                <a:gd name="connsiteY24" fmla="*/ 737154 h 1994638"/>
                <a:gd name="connsiteX25" fmla="*/ 10774893 w 10774893"/>
                <a:gd name="connsiteY25" fmla="*/ 754148 h 1994638"/>
                <a:gd name="connsiteX26" fmla="*/ 10774893 w 10774893"/>
                <a:gd name="connsiteY26" fmla="*/ 133791 h 1994638"/>
                <a:gd name="connsiteX27" fmla="*/ 10590317 w 10774893"/>
                <a:gd name="connsiteY27" fmla="*/ 65870 h 1994638"/>
                <a:gd name="connsiteX28" fmla="*/ 9776021 w 10774893"/>
                <a:gd name="connsiteY28" fmla="*/ 14889 h 1994638"/>
                <a:gd name="connsiteX29" fmla="*/ 9189730 w 10774893"/>
                <a:gd name="connsiteY29" fmla="*/ 108364 h 1994638"/>
                <a:gd name="connsiteX30" fmla="*/ 8288580 w 10774893"/>
                <a:gd name="connsiteY30" fmla="*/ 201839 h 1994638"/>
                <a:gd name="connsiteX31" fmla="*/ 7322289 w 10774893"/>
                <a:gd name="connsiteY31" fmla="*/ 201839 h 1994638"/>
                <a:gd name="connsiteX32" fmla="*/ 5595999 w 10774893"/>
                <a:gd name="connsiteY32" fmla="*/ 193333 h 1994638"/>
                <a:gd name="connsiteX33" fmla="*/ 4510271 w 10774893"/>
                <a:gd name="connsiteY33" fmla="*/ 65870 h 1994638"/>
                <a:gd name="connsiteX34" fmla="*/ 2718839 w 10774893"/>
                <a:gd name="connsiteY34" fmla="*/ 57364 h 1994638"/>
                <a:gd name="connsiteX35" fmla="*/ 2179017 w 10774893"/>
                <a:gd name="connsiteY35" fmla="*/ 66415 h 1994638"/>
                <a:gd name="connsiteX0" fmla="*/ 2100767 w 10696643"/>
                <a:gd name="connsiteY0" fmla="*/ 66415 h 2006207"/>
                <a:gd name="connsiteX1" fmla="*/ 1983207 w 10696643"/>
                <a:gd name="connsiteY1" fmla="*/ 625754 h 2006207"/>
                <a:gd name="connsiteX2" fmla="*/ 110871 w 10696643"/>
                <a:gd name="connsiteY2" fmla="*/ 1790808 h 2006207"/>
                <a:gd name="connsiteX3" fmla="*/ 273735 w 10696643"/>
                <a:gd name="connsiteY3" fmla="*/ 1986246 h 2006207"/>
                <a:gd name="connsiteX4" fmla="*/ 436599 w 10696643"/>
                <a:gd name="connsiteY4" fmla="*/ 1858784 h 2006207"/>
                <a:gd name="connsiteX5" fmla="*/ 458313 w 10696643"/>
                <a:gd name="connsiteY5" fmla="*/ 1595370 h 2006207"/>
                <a:gd name="connsiteX6" fmla="*/ 610308 w 10696643"/>
                <a:gd name="connsiteY6" fmla="*/ 1510401 h 2006207"/>
                <a:gd name="connsiteX7" fmla="*/ 718876 w 10696643"/>
                <a:gd name="connsiteY7" fmla="*/ 1229994 h 2006207"/>
                <a:gd name="connsiteX8" fmla="*/ 827444 w 10696643"/>
                <a:gd name="connsiteY8" fmla="*/ 873105 h 2006207"/>
                <a:gd name="connsiteX9" fmla="*/ 979439 w 10696643"/>
                <a:gd name="connsiteY9" fmla="*/ 737154 h 2006207"/>
                <a:gd name="connsiteX10" fmla="*/ 1283430 w 10696643"/>
                <a:gd name="connsiteY10" fmla="*/ 737154 h 2006207"/>
                <a:gd name="connsiteX11" fmla="*/ 1858853 w 10696643"/>
                <a:gd name="connsiteY11" fmla="*/ 754148 h 2006207"/>
                <a:gd name="connsiteX12" fmla="*/ 2998852 w 10696643"/>
                <a:gd name="connsiteY12" fmla="*/ 754148 h 2006207"/>
                <a:gd name="connsiteX13" fmla="*/ 3693711 w 10696643"/>
                <a:gd name="connsiteY13" fmla="*/ 788136 h 2006207"/>
                <a:gd name="connsiteX14" fmla="*/ 4149721 w 10696643"/>
                <a:gd name="connsiteY14" fmla="*/ 728648 h 2006207"/>
                <a:gd name="connsiteX15" fmla="*/ 4627443 w 10696643"/>
                <a:gd name="connsiteY15" fmla="*/ 728648 h 2006207"/>
                <a:gd name="connsiteX16" fmla="*/ 5398312 w 10696643"/>
                <a:gd name="connsiteY16" fmla="*/ 771142 h 2006207"/>
                <a:gd name="connsiteX17" fmla="*/ 6277748 w 10696643"/>
                <a:gd name="connsiteY17" fmla="*/ 754148 h 2006207"/>
                <a:gd name="connsiteX18" fmla="*/ 6907466 w 10696643"/>
                <a:gd name="connsiteY18" fmla="*/ 762654 h 2006207"/>
                <a:gd name="connsiteX19" fmla="*/ 7743476 w 10696643"/>
                <a:gd name="connsiteY19" fmla="*/ 762654 h 2006207"/>
                <a:gd name="connsiteX20" fmla="*/ 8807489 w 10696643"/>
                <a:gd name="connsiteY20" fmla="*/ 788154 h 2006207"/>
                <a:gd name="connsiteX21" fmla="*/ 9556644 w 10696643"/>
                <a:gd name="connsiteY21" fmla="*/ 779648 h 2006207"/>
                <a:gd name="connsiteX22" fmla="*/ 10088639 w 10696643"/>
                <a:gd name="connsiteY22" fmla="*/ 771142 h 2006207"/>
                <a:gd name="connsiteX23" fmla="*/ 10566362 w 10696643"/>
                <a:gd name="connsiteY23" fmla="*/ 737154 h 2006207"/>
                <a:gd name="connsiteX24" fmla="*/ 10696643 w 10696643"/>
                <a:gd name="connsiteY24" fmla="*/ 754148 h 2006207"/>
                <a:gd name="connsiteX25" fmla="*/ 10696643 w 10696643"/>
                <a:gd name="connsiteY25" fmla="*/ 133791 h 2006207"/>
                <a:gd name="connsiteX26" fmla="*/ 10512067 w 10696643"/>
                <a:gd name="connsiteY26" fmla="*/ 65870 h 2006207"/>
                <a:gd name="connsiteX27" fmla="*/ 9697771 w 10696643"/>
                <a:gd name="connsiteY27" fmla="*/ 14889 h 2006207"/>
                <a:gd name="connsiteX28" fmla="*/ 9111480 w 10696643"/>
                <a:gd name="connsiteY28" fmla="*/ 108364 h 2006207"/>
                <a:gd name="connsiteX29" fmla="*/ 8210330 w 10696643"/>
                <a:gd name="connsiteY29" fmla="*/ 201839 h 2006207"/>
                <a:gd name="connsiteX30" fmla="*/ 7244039 w 10696643"/>
                <a:gd name="connsiteY30" fmla="*/ 201839 h 2006207"/>
                <a:gd name="connsiteX31" fmla="*/ 5517749 w 10696643"/>
                <a:gd name="connsiteY31" fmla="*/ 193333 h 2006207"/>
                <a:gd name="connsiteX32" fmla="*/ 4432021 w 10696643"/>
                <a:gd name="connsiteY32" fmla="*/ 65870 h 2006207"/>
                <a:gd name="connsiteX33" fmla="*/ 2640589 w 10696643"/>
                <a:gd name="connsiteY33" fmla="*/ 57364 h 2006207"/>
                <a:gd name="connsiteX34" fmla="*/ 2100767 w 10696643"/>
                <a:gd name="connsiteY34" fmla="*/ 66415 h 2006207"/>
                <a:gd name="connsiteX0" fmla="*/ 1827032 w 10422908"/>
                <a:gd name="connsiteY0" fmla="*/ 66415 h 1986245"/>
                <a:gd name="connsiteX1" fmla="*/ 1709472 w 10422908"/>
                <a:gd name="connsiteY1" fmla="*/ 625754 h 1986245"/>
                <a:gd name="connsiteX2" fmla="*/ 0 w 10422908"/>
                <a:gd name="connsiteY2" fmla="*/ 1986246 h 1986245"/>
                <a:gd name="connsiteX3" fmla="*/ 162864 w 10422908"/>
                <a:gd name="connsiteY3" fmla="*/ 1858784 h 1986245"/>
                <a:gd name="connsiteX4" fmla="*/ 184578 w 10422908"/>
                <a:gd name="connsiteY4" fmla="*/ 1595370 h 1986245"/>
                <a:gd name="connsiteX5" fmla="*/ 336573 w 10422908"/>
                <a:gd name="connsiteY5" fmla="*/ 1510401 h 1986245"/>
                <a:gd name="connsiteX6" fmla="*/ 445141 w 10422908"/>
                <a:gd name="connsiteY6" fmla="*/ 1229994 h 1986245"/>
                <a:gd name="connsiteX7" fmla="*/ 553709 w 10422908"/>
                <a:gd name="connsiteY7" fmla="*/ 873105 h 1986245"/>
                <a:gd name="connsiteX8" fmla="*/ 705704 w 10422908"/>
                <a:gd name="connsiteY8" fmla="*/ 737154 h 1986245"/>
                <a:gd name="connsiteX9" fmla="*/ 1009695 w 10422908"/>
                <a:gd name="connsiteY9" fmla="*/ 737154 h 1986245"/>
                <a:gd name="connsiteX10" fmla="*/ 1585118 w 10422908"/>
                <a:gd name="connsiteY10" fmla="*/ 754148 h 1986245"/>
                <a:gd name="connsiteX11" fmla="*/ 2725117 w 10422908"/>
                <a:gd name="connsiteY11" fmla="*/ 754148 h 1986245"/>
                <a:gd name="connsiteX12" fmla="*/ 3419976 w 10422908"/>
                <a:gd name="connsiteY12" fmla="*/ 788136 h 1986245"/>
                <a:gd name="connsiteX13" fmla="*/ 3875986 w 10422908"/>
                <a:gd name="connsiteY13" fmla="*/ 728648 h 1986245"/>
                <a:gd name="connsiteX14" fmla="*/ 4353708 w 10422908"/>
                <a:gd name="connsiteY14" fmla="*/ 728648 h 1986245"/>
                <a:gd name="connsiteX15" fmla="*/ 5124577 w 10422908"/>
                <a:gd name="connsiteY15" fmla="*/ 771142 h 1986245"/>
                <a:gd name="connsiteX16" fmla="*/ 6004013 w 10422908"/>
                <a:gd name="connsiteY16" fmla="*/ 754148 h 1986245"/>
                <a:gd name="connsiteX17" fmla="*/ 6633731 w 10422908"/>
                <a:gd name="connsiteY17" fmla="*/ 762654 h 1986245"/>
                <a:gd name="connsiteX18" fmla="*/ 7469741 w 10422908"/>
                <a:gd name="connsiteY18" fmla="*/ 762654 h 1986245"/>
                <a:gd name="connsiteX19" fmla="*/ 8533754 w 10422908"/>
                <a:gd name="connsiteY19" fmla="*/ 788154 h 1986245"/>
                <a:gd name="connsiteX20" fmla="*/ 9282909 w 10422908"/>
                <a:gd name="connsiteY20" fmla="*/ 779648 h 1986245"/>
                <a:gd name="connsiteX21" fmla="*/ 9814904 w 10422908"/>
                <a:gd name="connsiteY21" fmla="*/ 771142 h 1986245"/>
                <a:gd name="connsiteX22" fmla="*/ 10292627 w 10422908"/>
                <a:gd name="connsiteY22" fmla="*/ 737154 h 1986245"/>
                <a:gd name="connsiteX23" fmla="*/ 10422908 w 10422908"/>
                <a:gd name="connsiteY23" fmla="*/ 754148 h 1986245"/>
                <a:gd name="connsiteX24" fmla="*/ 10422908 w 10422908"/>
                <a:gd name="connsiteY24" fmla="*/ 133791 h 1986245"/>
                <a:gd name="connsiteX25" fmla="*/ 10238332 w 10422908"/>
                <a:gd name="connsiteY25" fmla="*/ 65870 h 1986245"/>
                <a:gd name="connsiteX26" fmla="*/ 9424036 w 10422908"/>
                <a:gd name="connsiteY26" fmla="*/ 14889 h 1986245"/>
                <a:gd name="connsiteX27" fmla="*/ 8837745 w 10422908"/>
                <a:gd name="connsiteY27" fmla="*/ 108364 h 1986245"/>
                <a:gd name="connsiteX28" fmla="*/ 7936595 w 10422908"/>
                <a:gd name="connsiteY28" fmla="*/ 201839 h 1986245"/>
                <a:gd name="connsiteX29" fmla="*/ 6970304 w 10422908"/>
                <a:gd name="connsiteY29" fmla="*/ 201839 h 1986245"/>
                <a:gd name="connsiteX30" fmla="*/ 5244014 w 10422908"/>
                <a:gd name="connsiteY30" fmla="*/ 193333 h 1986245"/>
                <a:gd name="connsiteX31" fmla="*/ 4158286 w 10422908"/>
                <a:gd name="connsiteY31" fmla="*/ 65870 h 1986245"/>
                <a:gd name="connsiteX32" fmla="*/ 2366854 w 10422908"/>
                <a:gd name="connsiteY32" fmla="*/ 57364 h 1986245"/>
                <a:gd name="connsiteX33" fmla="*/ 1827032 w 10422908"/>
                <a:gd name="connsiteY33" fmla="*/ 66415 h 1986245"/>
                <a:gd name="connsiteX0" fmla="*/ 1786453 w 10382329"/>
                <a:gd name="connsiteY0" fmla="*/ 66415 h 1901488"/>
                <a:gd name="connsiteX1" fmla="*/ 1668893 w 10382329"/>
                <a:gd name="connsiteY1" fmla="*/ 625754 h 1901488"/>
                <a:gd name="connsiteX2" fmla="*/ 122285 w 10382329"/>
                <a:gd name="connsiteY2" fmla="*/ 1858784 h 1901488"/>
                <a:gd name="connsiteX3" fmla="*/ 143999 w 10382329"/>
                <a:gd name="connsiteY3" fmla="*/ 1595370 h 1901488"/>
                <a:gd name="connsiteX4" fmla="*/ 295994 w 10382329"/>
                <a:gd name="connsiteY4" fmla="*/ 1510401 h 1901488"/>
                <a:gd name="connsiteX5" fmla="*/ 404562 w 10382329"/>
                <a:gd name="connsiteY5" fmla="*/ 1229994 h 1901488"/>
                <a:gd name="connsiteX6" fmla="*/ 513130 w 10382329"/>
                <a:gd name="connsiteY6" fmla="*/ 873105 h 1901488"/>
                <a:gd name="connsiteX7" fmla="*/ 665125 w 10382329"/>
                <a:gd name="connsiteY7" fmla="*/ 737154 h 1901488"/>
                <a:gd name="connsiteX8" fmla="*/ 969116 w 10382329"/>
                <a:gd name="connsiteY8" fmla="*/ 737154 h 1901488"/>
                <a:gd name="connsiteX9" fmla="*/ 1544539 w 10382329"/>
                <a:gd name="connsiteY9" fmla="*/ 754148 h 1901488"/>
                <a:gd name="connsiteX10" fmla="*/ 2684538 w 10382329"/>
                <a:gd name="connsiteY10" fmla="*/ 754148 h 1901488"/>
                <a:gd name="connsiteX11" fmla="*/ 3379397 w 10382329"/>
                <a:gd name="connsiteY11" fmla="*/ 788136 h 1901488"/>
                <a:gd name="connsiteX12" fmla="*/ 3835407 w 10382329"/>
                <a:gd name="connsiteY12" fmla="*/ 728648 h 1901488"/>
                <a:gd name="connsiteX13" fmla="*/ 4313129 w 10382329"/>
                <a:gd name="connsiteY13" fmla="*/ 728648 h 1901488"/>
                <a:gd name="connsiteX14" fmla="*/ 5083998 w 10382329"/>
                <a:gd name="connsiteY14" fmla="*/ 771142 h 1901488"/>
                <a:gd name="connsiteX15" fmla="*/ 5963434 w 10382329"/>
                <a:gd name="connsiteY15" fmla="*/ 754148 h 1901488"/>
                <a:gd name="connsiteX16" fmla="*/ 6593152 w 10382329"/>
                <a:gd name="connsiteY16" fmla="*/ 762654 h 1901488"/>
                <a:gd name="connsiteX17" fmla="*/ 7429162 w 10382329"/>
                <a:gd name="connsiteY17" fmla="*/ 762654 h 1901488"/>
                <a:gd name="connsiteX18" fmla="*/ 8493175 w 10382329"/>
                <a:gd name="connsiteY18" fmla="*/ 788154 h 1901488"/>
                <a:gd name="connsiteX19" fmla="*/ 9242330 w 10382329"/>
                <a:gd name="connsiteY19" fmla="*/ 779648 h 1901488"/>
                <a:gd name="connsiteX20" fmla="*/ 9774325 w 10382329"/>
                <a:gd name="connsiteY20" fmla="*/ 771142 h 1901488"/>
                <a:gd name="connsiteX21" fmla="*/ 10252048 w 10382329"/>
                <a:gd name="connsiteY21" fmla="*/ 737154 h 1901488"/>
                <a:gd name="connsiteX22" fmla="*/ 10382329 w 10382329"/>
                <a:gd name="connsiteY22" fmla="*/ 754148 h 1901488"/>
                <a:gd name="connsiteX23" fmla="*/ 10382329 w 10382329"/>
                <a:gd name="connsiteY23" fmla="*/ 133791 h 1901488"/>
                <a:gd name="connsiteX24" fmla="*/ 10197753 w 10382329"/>
                <a:gd name="connsiteY24" fmla="*/ 65870 h 1901488"/>
                <a:gd name="connsiteX25" fmla="*/ 9383457 w 10382329"/>
                <a:gd name="connsiteY25" fmla="*/ 14889 h 1901488"/>
                <a:gd name="connsiteX26" fmla="*/ 8797166 w 10382329"/>
                <a:gd name="connsiteY26" fmla="*/ 108364 h 1901488"/>
                <a:gd name="connsiteX27" fmla="*/ 7896016 w 10382329"/>
                <a:gd name="connsiteY27" fmla="*/ 201839 h 1901488"/>
                <a:gd name="connsiteX28" fmla="*/ 6929725 w 10382329"/>
                <a:gd name="connsiteY28" fmla="*/ 201839 h 1901488"/>
                <a:gd name="connsiteX29" fmla="*/ 5203435 w 10382329"/>
                <a:gd name="connsiteY29" fmla="*/ 193333 h 1901488"/>
                <a:gd name="connsiteX30" fmla="*/ 4117707 w 10382329"/>
                <a:gd name="connsiteY30" fmla="*/ 65870 h 1901488"/>
                <a:gd name="connsiteX31" fmla="*/ 2326275 w 10382329"/>
                <a:gd name="connsiteY31" fmla="*/ 57364 h 1901488"/>
                <a:gd name="connsiteX32" fmla="*/ 1786453 w 10382329"/>
                <a:gd name="connsiteY32" fmla="*/ 66415 h 1901488"/>
                <a:gd name="connsiteX0" fmla="*/ 1724759 w 10320635"/>
                <a:gd name="connsiteY0" fmla="*/ 66415 h 1652063"/>
                <a:gd name="connsiteX1" fmla="*/ 1607199 w 10320635"/>
                <a:gd name="connsiteY1" fmla="*/ 625754 h 1652063"/>
                <a:gd name="connsiteX2" fmla="*/ 82305 w 10320635"/>
                <a:gd name="connsiteY2" fmla="*/ 1595370 h 1652063"/>
                <a:gd name="connsiteX3" fmla="*/ 234300 w 10320635"/>
                <a:gd name="connsiteY3" fmla="*/ 1510401 h 1652063"/>
                <a:gd name="connsiteX4" fmla="*/ 342868 w 10320635"/>
                <a:gd name="connsiteY4" fmla="*/ 1229994 h 1652063"/>
                <a:gd name="connsiteX5" fmla="*/ 451436 w 10320635"/>
                <a:gd name="connsiteY5" fmla="*/ 873105 h 1652063"/>
                <a:gd name="connsiteX6" fmla="*/ 603431 w 10320635"/>
                <a:gd name="connsiteY6" fmla="*/ 737154 h 1652063"/>
                <a:gd name="connsiteX7" fmla="*/ 907422 w 10320635"/>
                <a:gd name="connsiteY7" fmla="*/ 737154 h 1652063"/>
                <a:gd name="connsiteX8" fmla="*/ 1482845 w 10320635"/>
                <a:gd name="connsiteY8" fmla="*/ 754148 h 1652063"/>
                <a:gd name="connsiteX9" fmla="*/ 2622844 w 10320635"/>
                <a:gd name="connsiteY9" fmla="*/ 754148 h 1652063"/>
                <a:gd name="connsiteX10" fmla="*/ 3317703 w 10320635"/>
                <a:gd name="connsiteY10" fmla="*/ 788136 h 1652063"/>
                <a:gd name="connsiteX11" fmla="*/ 3773713 w 10320635"/>
                <a:gd name="connsiteY11" fmla="*/ 728648 h 1652063"/>
                <a:gd name="connsiteX12" fmla="*/ 4251435 w 10320635"/>
                <a:gd name="connsiteY12" fmla="*/ 728648 h 1652063"/>
                <a:gd name="connsiteX13" fmla="*/ 5022304 w 10320635"/>
                <a:gd name="connsiteY13" fmla="*/ 771142 h 1652063"/>
                <a:gd name="connsiteX14" fmla="*/ 5901740 w 10320635"/>
                <a:gd name="connsiteY14" fmla="*/ 754148 h 1652063"/>
                <a:gd name="connsiteX15" fmla="*/ 6531458 w 10320635"/>
                <a:gd name="connsiteY15" fmla="*/ 762654 h 1652063"/>
                <a:gd name="connsiteX16" fmla="*/ 7367468 w 10320635"/>
                <a:gd name="connsiteY16" fmla="*/ 762654 h 1652063"/>
                <a:gd name="connsiteX17" fmla="*/ 8431481 w 10320635"/>
                <a:gd name="connsiteY17" fmla="*/ 788154 h 1652063"/>
                <a:gd name="connsiteX18" fmla="*/ 9180636 w 10320635"/>
                <a:gd name="connsiteY18" fmla="*/ 779648 h 1652063"/>
                <a:gd name="connsiteX19" fmla="*/ 9712631 w 10320635"/>
                <a:gd name="connsiteY19" fmla="*/ 771142 h 1652063"/>
                <a:gd name="connsiteX20" fmla="*/ 10190354 w 10320635"/>
                <a:gd name="connsiteY20" fmla="*/ 737154 h 1652063"/>
                <a:gd name="connsiteX21" fmla="*/ 10320635 w 10320635"/>
                <a:gd name="connsiteY21" fmla="*/ 754148 h 1652063"/>
                <a:gd name="connsiteX22" fmla="*/ 10320635 w 10320635"/>
                <a:gd name="connsiteY22" fmla="*/ 133791 h 1652063"/>
                <a:gd name="connsiteX23" fmla="*/ 10136059 w 10320635"/>
                <a:gd name="connsiteY23" fmla="*/ 65870 h 1652063"/>
                <a:gd name="connsiteX24" fmla="*/ 9321763 w 10320635"/>
                <a:gd name="connsiteY24" fmla="*/ 14889 h 1652063"/>
                <a:gd name="connsiteX25" fmla="*/ 8735472 w 10320635"/>
                <a:gd name="connsiteY25" fmla="*/ 108364 h 1652063"/>
                <a:gd name="connsiteX26" fmla="*/ 7834322 w 10320635"/>
                <a:gd name="connsiteY26" fmla="*/ 201839 h 1652063"/>
                <a:gd name="connsiteX27" fmla="*/ 6868031 w 10320635"/>
                <a:gd name="connsiteY27" fmla="*/ 201839 h 1652063"/>
                <a:gd name="connsiteX28" fmla="*/ 5141741 w 10320635"/>
                <a:gd name="connsiteY28" fmla="*/ 193333 h 1652063"/>
                <a:gd name="connsiteX29" fmla="*/ 4056013 w 10320635"/>
                <a:gd name="connsiteY29" fmla="*/ 65870 h 1652063"/>
                <a:gd name="connsiteX30" fmla="*/ 2264581 w 10320635"/>
                <a:gd name="connsiteY30" fmla="*/ 57364 h 1652063"/>
                <a:gd name="connsiteX31" fmla="*/ 1724759 w 10320635"/>
                <a:gd name="connsiteY31" fmla="*/ 66415 h 1652063"/>
                <a:gd name="connsiteX0" fmla="*/ 1567192 w 10163068"/>
                <a:gd name="connsiteY0" fmla="*/ 66415 h 1535484"/>
                <a:gd name="connsiteX1" fmla="*/ 1449632 w 10163068"/>
                <a:gd name="connsiteY1" fmla="*/ 625754 h 1535484"/>
                <a:gd name="connsiteX2" fmla="*/ 76733 w 10163068"/>
                <a:gd name="connsiteY2" fmla="*/ 1510401 h 1535484"/>
                <a:gd name="connsiteX3" fmla="*/ 185301 w 10163068"/>
                <a:gd name="connsiteY3" fmla="*/ 1229994 h 1535484"/>
                <a:gd name="connsiteX4" fmla="*/ 293869 w 10163068"/>
                <a:gd name="connsiteY4" fmla="*/ 873105 h 1535484"/>
                <a:gd name="connsiteX5" fmla="*/ 445864 w 10163068"/>
                <a:gd name="connsiteY5" fmla="*/ 737154 h 1535484"/>
                <a:gd name="connsiteX6" fmla="*/ 749855 w 10163068"/>
                <a:gd name="connsiteY6" fmla="*/ 737154 h 1535484"/>
                <a:gd name="connsiteX7" fmla="*/ 1325278 w 10163068"/>
                <a:gd name="connsiteY7" fmla="*/ 754148 h 1535484"/>
                <a:gd name="connsiteX8" fmla="*/ 2465277 w 10163068"/>
                <a:gd name="connsiteY8" fmla="*/ 754148 h 1535484"/>
                <a:gd name="connsiteX9" fmla="*/ 3160136 w 10163068"/>
                <a:gd name="connsiteY9" fmla="*/ 788136 h 1535484"/>
                <a:gd name="connsiteX10" fmla="*/ 3616146 w 10163068"/>
                <a:gd name="connsiteY10" fmla="*/ 728648 h 1535484"/>
                <a:gd name="connsiteX11" fmla="*/ 4093868 w 10163068"/>
                <a:gd name="connsiteY11" fmla="*/ 728648 h 1535484"/>
                <a:gd name="connsiteX12" fmla="*/ 4864737 w 10163068"/>
                <a:gd name="connsiteY12" fmla="*/ 771142 h 1535484"/>
                <a:gd name="connsiteX13" fmla="*/ 5744173 w 10163068"/>
                <a:gd name="connsiteY13" fmla="*/ 754148 h 1535484"/>
                <a:gd name="connsiteX14" fmla="*/ 6373891 w 10163068"/>
                <a:gd name="connsiteY14" fmla="*/ 762654 h 1535484"/>
                <a:gd name="connsiteX15" fmla="*/ 7209901 w 10163068"/>
                <a:gd name="connsiteY15" fmla="*/ 762654 h 1535484"/>
                <a:gd name="connsiteX16" fmla="*/ 8273914 w 10163068"/>
                <a:gd name="connsiteY16" fmla="*/ 788154 h 1535484"/>
                <a:gd name="connsiteX17" fmla="*/ 9023069 w 10163068"/>
                <a:gd name="connsiteY17" fmla="*/ 779648 h 1535484"/>
                <a:gd name="connsiteX18" fmla="*/ 9555064 w 10163068"/>
                <a:gd name="connsiteY18" fmla="*/ 771142 h 1535484"/>
                <a:gd name="connsiteX19" fmla="*/ 10032787 w 10163068"/>
                <a:gd name="connsiteY19" fmla="*/ 737154 h 1535484"/>
                <a:gd name="connsiteX20" fmla="*/ 10163068 w 10163068"/>
                <a:gd name="connsiteY20" fmla="*/ 754148 h 1535484"/>
                <a:gd name="connsiteX21" fmla="*/ 10163068 w 10163068"/>
                <a:gd name="connsiteY21" fmla="*/ 133791 h 1535484"/>
                <a:gd name="connsiteX22" fmla="*/ 9978492 w 10163068"/>
                <a:gd name="connsiteY22" fmla="*/ 65870 h 1535484"/>
                <a:gd name="connsiteX23" fmla="*/ 9164196 w 10163068"/>
                <a:gd name="connsiteY23" fmla="*/ 14889 h 1535484"/>
                <a:gd name="connsiteX24" fmla="*/ 8577905 w 10163068"/>
                <a:gd name="connsiteY24" fmla="*/ 108364 h 1535484"/>
                <a:gd name="connsiteX25" fmla="*/ 7676755 w 10163068"/>
                <a:gd name="connsiteY25" fmla="*/ 201839 h 1535484"/>
                <a:gd name="connsiteX26" fmla="*/ 6710464 w 10163068"/>
                <a:gd name="connsiteY26" fmla="*/ 201839 h 1535484"/>
                <a:gd name="connsiteX27" fmla="*/ 4984174 w 10163068"/>
                <a:gd name="connsiteY27" fmla="*/ 193333 h 1535484"/>
                <a:gd name="connsiteX28" fmla="*/ 3898446 w 10163068"/>
                <a:gd name="connsiteY28" fmla="*/ 65870 h 1535484"/>
                <a:gd name="connsiteX29" fmla="*/ 2107014 w 10163068"/>
                <a:gd name="connsiteY29" fmla="*/ 57364 h 1535484"/>
                <a:gd name="connsiteX30" fmla="*/ 1567192 w 10163068"/>
                <a:gd name="connsiteY30" fmla="*/ 66415 h 1535484"/>
                <a:gd name="connsiteX0" fmla="*/ 1453651 w 10049527"/>
                <a:gd name="connsiteY0" fmla="*/ 66415 h 1233597"/>
                <a:gd name="connsiteX1" fmla="*/ 1336091 w 10049527"/>
                <a:gd name="connsiteY1" fmla="*/ 625754 h 1233597"/>
                <a:gd name="connsiteX2" fmla="*/ 71760 w 10049527"/>
                <a:gd name="connsiteY2" fmla="*/ 1229994 h 1233597"/>
                <a:gd name="connsiteX3" fmla="*/ 180328 w 10049527"/>
                <a:gd name="connsiteY3" fmla="*/ 873105 h 1233597"/>
                <a:gd name="connsiteX4" fmla="*/ 332323 w 10049527"/>
                <a:gd name="connsiteY4" fmla="*/ 737154 h 1233597"/>
                <a:gd name="connsiteX5" fmla="*/ 636314 w 10049527"/>
                <a:gd name="connsiteY5" fmla="*/ 737154 h 1233597"/>
                <a:gd name="connsiteX6" fmla="*/ 1211737 w 10049527"/>
                <a:gd name="connsiteY6" fmla="*/ 754148 h 1233597"/>
                <a:gd name="connsiteX7" fmla="*/ 2351736 w 10049527"/>
                <a:gd name="connsiteY7" fmla="*/ 754148 h 1233597"/>
                <a:gd name="connsiteX8" fmla="*/ 3046595 w 10049527"/>
                <a:gd name="connsiteY8" fmla="*/ 788136 h 1233597"/>
                <a:gd name="connsiteX9" fmla="*/ 3502605 w 10049527"/>
                <a:gd name="connsiteY9" fmla="*/ 728648 h 1233597"/>
                <a:gd name="connsiteX10" fmla="*/ 3980327 w 10049527"/>
                <a:gd name="connsiteY10" fmla="*/ 728648 h 1233597"/>
                <a:gd name="connsiteX11" fmla="*/ 4751196 w 10049527"/>
                <a:gd name="connsiteY11" fmla="*/ 771142 h 1233597"/>
                <a:gd name="connsiteX12" fmla="*/ 5630632 w 10049527"/>
                <a:gd name="connsiteY12" fmla="*/ 754148 h 1233597"/>
                <a:gd name="connsiteX13" fmla="*/ 6260350 w 10049527"/>
                <a:gd name="connsiteY13" fmla="*/ 762654 h 1233597"/>
                <a:gd name="connsiteX14" fmla="*/ 7096360 w 10049527"/>
                <a:gd name="connsiteY14" fmla="*/ 762654 h 1233597"/>
                <a:gd name="connsiteX15" fmla="*/ 8160373 w 10049527"/>
                <a:gd name="connsiteY15" fmla="*/ 788154 h 1233597"/>
                <a:gd name="connsiteX16" fmla="*/ 8909528 w 10049527"/>
                <a:gd name="connsiteY16" fmla="*/ 779648 h 1233597"/>
                <a:gd name="connsiteX17" fmla="*/ 9441523 w 10049527"/>
                <a:gd name="connsiteY17" fmla="*/ 771142 h 1233597"/>
                <a:gd name="connsiteX18" fmla="*/ 9919246 w 10049527"/>
                <a:gd name="connsiteY18" fmla="*/ 737154 h 1233597"/>
                <a:gd name="connsiteX19" fmla="*/ 10049527 w 10049527"/>
                <a:gd name="connsiteY19" fmla="*/ 754148 h 1233597"/>
                <a:gd name="connsiteX20" fmla="*/ 10049527 w 10049527"/>
                <a:gd name="connsiteY20" fmla="*/ 133791 h 1233597"/>
                <a:gd name="connsiteX21" fmla="*/ 9864951 w 10049527"/>
                <a:gd name="connsiteY21" fmla="*/ 65870 h 1233597"/>
                <a:gd name="connsiteX22" fmla="*/ 9050655 w 10049527"/>
                <a:gd name="connsiteY22" fmla="*/ 14889 h 1233597"/>
                <a:gd name="connsiteX23" fmla="*/ 8464364 w 10049527"/>
                <a:gd name="connsiteY23" fmla="*/ 108364 h 1233597"/>
                <a:gd name="connsiteX24" fmla="*/ 7563214 w 10049527"/>
                <a:gd name="connsiteY24" fmla="*/ 201839 h 1233597"/>
                <a:gd name="connsiteX25" fmla="*/ 6596923 w 10049527"/>
                <a:gd name="connsiteY25" fmla="*/ 201839 h 1233597"/>
                <a:gd name="connsiteX26" fmla="*/ 4870633 w 10049527"/>
                <a:gd name="connsiteY26" fmla="*/ 193333 h 1233597"/>
                <a:gd name="connsiteX27" fmla="*/ 3784905 w 10049527"/>
                <a:gd name="connsiteY27" fmla="*/ 65870 h 1233597"/>
                <a:gd name="connsiteX28" fmla="*/ 1993473 w 10049527"/>
                <a:gd name="connsiteY28" fmla="*/ 57364 h 1233597"/>
                <a:gd name="connsiteX29" fmla="*/ 1453651 w 10049527"/>
                <a:gd name="connsiteY29" fmla="*/ 66415 h 1233597"/>
                <a:gd name="connsiteX0" fmla="*/ 1428093 w 10023969"/>
                <a:gd name="connsiteY0" fmla="*/ 66415 h 1230579"/>
                <a:gd name="connsiteX1" fmla="*/ 1310533 w 10023969"/>
                <a:gd name="connsiteY1" fmla="*/ 625754 h 1230579"/>
                <a:gd name="connsiteX2" fmla="*/ 46202 w 10023969"/>
                <a:gd name="connsiteY2" fmla="*/ 1229994 h 1230579"/>
                <a:gd name="connsiteX3" fmla="*/ 306765 w 10023969"/>
                <a:gd name="connsiteY3" fmla="*/ 737154 h 1230579"/>
                <a:gd name="connsiteX4" fmla="*/ 610756 w 10023969"/>
                <a:gd name="connsiteY4" fmla="*/ 737154 h 1230579"/>
                <a:gd name="connsiteX5" fmla="*/ 1186179 w 10023969"/>
                <a:gd name="connsiteY5" fmla="*/ 754148 h 1230579"/>
                <a:gd name="connsiteX6" fmla="*/ 2326178 w 10023969"/>
                <a:gd name="connsiteY6" fmla="*/ 754148 h 1230579"/>
                <a:gd name="connsiteX7" fmla="*/ 3021037 w 10023969"/>
                <a:gd name="connsiteY7" fmla="*/ 788136 h 1230579"/>
                <a:gd name="connsiteX8" fmla="*/ 3477047 w 10023969"/>
                <a:gd name="connsiteY8" fmla="*/ 728648 h 1230579"/>
                <a:gd name="connsiteX9" fmla="*/ 3954769 w 10023969"/>
                <a:gd name="connsiteY9" fmla="*/ 728648 h 1230579"/>
                <a:gd name="connsiteX10" fmla="*/ 4725638 w 10023969"/>
                <a:gd name="connsiteY10" fmla="*/ 771142 h 1230579"/>
                <a:gd name="connsiteX11" fmla="*/ 5605074 w 10023969"/>
                <a:gd name="connsiteY11" fmla="*/ 754148 h 1230579"/>
                <a:gd name="connsiteX12" fmla="*/ 6234792 w 10023969"/>
                <a:gd name="connsiteY12" fmla="*/ 762654 h 1230579"/>
                <a:gd name="connsiteX13" fmla="*/ 7070802 w 10023969"/>
                <a:gd name="connsiteY13" fmla="*/ 762654 h 1230579"/>
                <a:gd name="connsiteX14" fmla="*/ 8134815 w 10023969"/>
                <a:gd name="connsiteY14" fmla="*/ 788154 h 1230579"/>
                <a:gd name="connsiteX15" fmla="*/ 8883970 w 10023969"/>
                <a:gd name="connsiteY15" fmla="*/ 779648 h 1230579"/>
                <a:gd name="connsiteX16" fmla="*/ 9415965 w 10023969"/>
                <a:gd name="connsiteY16" fmla="*/ 771142 h 1230579"/>
                <a:gd name="connsiteX17" fmla="*/ 9893688 w 10023969"/>
                <a:gd name="connsiteY17" fmla="*/ 737154 h 1230579"/>
                <a:gd name="connsiteX18" fmla="*/ 10023969 w 10023969"/>
                <a:gd name="connsiteY18" fmla="*/ 754148 h 1230579"/>
                <a:gd name="connsiteX19" fmla="*/ 10023969 w 10023969"/>
                <a:gd name="connsiteY19" fmla="*/ 133791 h 1230579"/>
                <a:gd name="connsiteX20" fmla="*/ 9839393 w 10023969"/>
                <a:gd name="connsiteY20" fmla="*/ 65870 h 1230579"/>
                <a:gd name="connsiteX21" fmla="*/ 9025097 w 10023969"/>
                <a:gd name="connsiteY21" fmla="*/ 14889 h 1230579"/>
                <a:gd name="connsiteX22" fmla="*/ 8438806 w 10023969"/>
                <a:gd name="connsiteY22" fmla="*/ 108364 h 1230579"/>
                <a:gd name="connsiteX23" fmla="*/ 7537656 w 10023969"/>
                <a:gd name="connsiteY23" fmla="*/ 201839 h 1230579"/>
                <a:gd name="connsiteX24" fmla="*/ 6571365 w 10023969"/>
                <a:gd name="connsiteY24" fmla="*/ 201839 h 1230579"/>
                <a:gd name="connsiteX25" fmla="*/ 4845075 w 10023969"/>
                <a:gd name="connsiteY25" fmla="*/ 193333 h 1230579"/>
                <a:gd name="connsiteX26" fmla="*/ 3759347 w 10023969"/>
                <a:gd name="connsiteY26" fmla="*/ 65870 h 1230579"/>
                <a:gd name="connsiteX27" fmla="*/ 1967915 w 10023969"/>
                <a:gd name="connsiteY27" fmla="*/ 57364 h 1230579"/>
                <a:gd name="connsiteX28" fmla="*/ 1428093 w 10023969"/>
                <a:gd name="connsiteY28" fmla="*/ 66415 h 1230579"/>
                <a:gd name="connsiteX0" fmla="*/ 1143230 w 9739106"/>
                <a:gd name="connsiteY0" fmla="*/ 66415 h 797578"/>
                <a:gd name="connsiteX1" fmla="*/ 1025670 w 9739106"/>
                <a:gd name="connsiteY1" fmla="*/ 625754 h 797578"/>
                <a:gd name="connsiteX2" fmla="*/ 21902 w 9739106"/>
                <a:gd name="connsiteY2" fmla="*/ 737154 h 797578"/>
                <a:gd name="connsiteX3" fmla="*/ 325893 w 9739106"/>
                <a:gd name="connsiteY3" fmla="*/ 737154 h 797578"/>
                <a:gd name="connsiteX4" fmla="*/ 901316 w 9739106"/>
                <a:gd name="connsiteY4" fmla="*/ 754148 h 797578"/>
                <a:gd name="connsiteX5" fmla="*/ 2041315 w 9739106"/>
                <a:gd name="connsiteY5" fmla="*/ 754148 h 797578"/>
                <a:gd name="connsiteX6" fmla="*/ 2736174 w 9739106"/>
                <a:gd name="connsiteY6" fmla="*/ 788136 h 797578"/>
                <a:gd name="connsiteX7" fmla="*/ 3192184 w 9739106"/>
                <a:gd name="connsiteY7" fmla="*/ 728648 h 797578"/>
                <a:gd name="connsiteX8" fmla="*/ 3669906 w 9739106"/>
                <a:gd name="connsiteY8" fmla="*/ 728648 h 797578"/>
                <a:gd name="connsiteX9" fmla="*/ 4440775 w 9739106"/>
                <a:gd name="connsiteY9" fmla="*/ 771142 h 797578"/>
                <a:gd name="connsiteX10" fmla="*/ 5320211 w 9739106"/>
                <a:gd name="connsiteY10" fmla="*/ 754148 h 797578"/>
                <a:gd name="connsiteX11" fmla="*/ 5949929 w 9739106"/>
                <a:gd name="connsiteY11" fmla="*/ 762654 h 797578"/>
                <a:gd name="connsiteX12" fmla="*/ 6785939 w 9739106"/>
                <a:gd name="connsiteY12" fmla="*/ 762654 h 797578"/>
                <a:gd name="connsiteX13" fmla="*/ 7849952 w 9739106"/>
                <a:gd name="connsiteY13" fmla="*/ 788154 h 797578"/>
                <a:gd name="connsiteX14" fmla="*/ 8599107 w 9739106"/>
                <a:gd name="connsiteY14" fmla="*/ 779648 h 797578"/>
                <a:gd name="connsiteX15" fmla="*/ 9131102 w 9739106"/>
                <a:gd name="connsiteY15" fmla="*/ 771142 h 797578"/>
                <a:gd name="connsiteX16" fmla="*/ 9608825 w 9739106"/>
                <a:gd name="connsiteY16" fmla="*/ 737154 h 797578"/>
                <a:gd name="connsiteX17" fmla="*/ 9739106 w 9739106"/>
                <a:gd name="connsiteY17" fmla="*/ 754148 h 797578"/>
                <a:gd name="connsiteX18" fmla="*/ 9739106 w 9739106"/>
                <a:gd name="connsiteY18" fmla="*/ 133791 h 797578"/>
                <a:gd name="connsiteX19" fmla="*/ 9554530 w 9739106"/>
                <a:gd name="connsiteY19" fmla="*/ 65870 h 797578"/>
                <a:gd name="connsiteX20" fmla="*/ 8740234 w 9739106"/>
                <a:gd name="connsiteY20" fmla="*/ 14889 h 797578"/>
                <a:gd name="connsiteX21" fmla="*/ 8153943 w 9739106"/>
                <a:gd name="connsiteY21" fmla="*/ 108364 h 797578"/>
                <a:gd name="connsiteX22" fmla="*/ 7252793 w 9739106"/>
                <a:gd name="connsiteY22" fmla="*/ 201839 h 797578"/>
                <a:gd name="connsiteX23" fmla="*/ 6286502 w 9739106"/>
                <a:gd name="connsiteY23" fmla="*/ 201839 h 797578"/>
                <a:gd name="connsiteX24" fmla="*/ 4560212 w 9739106"/>
                <a:gd name="connsiteY24" fmla="*/ 193333 h 797578"/>
                <a:gd name="connsiteX25" fmla="*/ 3474484 w 9739106"/>
                <a:gd name="connsiteY25" fmla="*/ 65870 h 797578"/>
                <a:gd name="connsiteX26" fmla="*/ 1683052 w 9739106"/>
                <a:gd name="connsiteY26" fmla="*/ 57364 h 797578"/>
                <a:gd name="connsiteX27" fmla="*/ 1143230 w 9739106"/>
                <a:gd name="connsiteY27" fmla="*/ 66415 h 797578"/>
                <a:gd name="connsiteX0" fmla="*/ 817337 w 9413213"/>
                <a:gd name="connsiteY0" fmla="*/ 66415 h 797576"/>
                <a:gd name="connsiteX1" fmla="*/ 699777 w 9413213"/>
                <a:gd name="connsiteY1" fmla="*/ 625754 h 797576"/>
                <a:gd name="connsiteX2" fmla="*/ 0 w 9413213"/>
                <a:gd name="connsiteY2" fmla="*/ 737154 h 797576"/>
                <a:gd name="connsiteX3" fmla="*/ 575423 w 9413213"/>
                <a:gd name="connsiteY3" fmla="*/ 754148 h 797576"/>
                <a:gd name="connsiteX4" fmla="*/ 1715422 w 9413213"/>
                <a:gd name="connsiteY4" fmla="*/ 754148 h 797576"/>
                <a:gd name="connsiteX5" fmla="*/ 2410281 w 9413213"/>
                <a:gd name="connsiteY5" fmla="*/ 788136 h 797576"/>
                <a:gd name="connsiteX6" fmla="*/ 2866291 w 9413213"/>
                <a:gd name="connsiteY6" fmla="*/ 728648 h 797576"/>
                <a:gd name="connsiteX7" fmla="*/ 3344013 w 9413213"/>
                <a:gd name="connsiteY7" fmla="*/ 728648 h 797576"/>
                <a:gd name="connsiteX8" fmla="*/ 4114882 w 9413213"/>
                <a:gd name="connsiteY8" fmla="*/ 771142 h 797576"/>
                <a:gd name="connsiteX9" fmla="*/ 4994318 w 9413213"/>
                <a:gd name="connsiteY9" fmla="*/ 754148 h 797576"/>
                <a:gd name="connsiteX10" fmla="*/ 5624036 w 9413213"/>
                <a:gd name="connsiteY10" fmla="*/ 762654 h 797576"/>
                <a:gd name="connsiteX11" fmla="*/ 6460046 w 9413213"/>
                <a:gd name="connsiteY11" fmla="*/ 762654 h 797576"/>
                <a:gd name="connsiteX12" fmla="*/ 7524059 w 9413213"/>
                <a:gd name="connsiteY12" fmla="*/ 788154 h 797576"/>
                <a:gd name="connsiteX13" fmla="*/ 8273214 w 9413213"/>
                <a:gd name="connsiteY13" fmla="*/ 779648 h 797576"/>
                <a:gd name="connsiteX14" fmla="*/ 8805209 w 9413213"/>
                <a:gd name="connsiteY14" fmla="*/ 771142 h 797576"/>
                <a:gd name="connsiteX15" fmla="*/ 9282932 w 9413213"/>
                <a:gd name="connsiteY15" fmla="*/ 737154 h 797576"/>
                <a:gd name="connsiteX16" fmla="*/ 9413213 w 9413213"/>
                <a:gd name="connsiteY16" fmla="*/ 754148 h 797576"/>
                <a:gd name="connsiteX17" fmla="*/ 9413213 w 9413213"/>
                <a:gd name="connsiteY17" fmla="*/ 133791 h 797576"/>
                <a:gd name="connsiteX18" fmla="*/ 9228637 w 9413213"/>
                <a:gd name="connsiteY18" fmla="*/ 65870 h 797576"/>
                <a:gd name="connsiteX19" fmla="*/ 8414341 w 9413213"/>
                <a:gd name="connsiteY19" fmla="*/ 14889 h 797576"/>
                <a:gd name="connsiteX20" fmla="*/ 7828050 w 9413213"/>
                <a:gd name="connsiteY20" fmla="*/ 108364 h 797576"/>
                <a:gd name="connsiteX21" fmla="*/ 6926900 w 9413213"/>
                <a:gd name="connsiteY21" fmla="*/ 201839 h 797576"/>
                <a:gd name="connsiteX22" fmla="*/ 5960609 w 9413213"/>
                <a:gd name="connsiteY22" fmla="*/ 201839 h 797576"/>
                <a:gd name="connsiteX23" fmla="*/ 4234319 w 9413213"/>
                <a:gd name="connsiteY23" fmla="*/ 193333 h 797576"/>
                <a:gd name="connsiteX24" fmla="*/ 3148591 w 9413213"/>
                <a:gd name="connsiteY24" fmla="*/ 65870 h 797576"/>
                <a:gd name="connsiteX25" fmla="*/ 1357159 w 9413213"/>
                <a:gd name="connsiteY25" fmla="*/ 57364 h 797576"/>
                <a:gd name="connsiteX26" fmla="*/ 817337 w 9413213"/>
                <a:gd name="connsiteY26" fmla="*/ 66415 h 797576"/>
                <a:gd name="connsiteX0" fmla="*/ 299581 w 8895457"/>
                <a:gd name="connsiteY0" fmla="*/ 66415 h 797578"/>
                <a:gd name="connsiteX1" fmla="*/ 182021 w 8895457"/>
                <a:gd name="connsiteY1" fmla="*/ 625754 h 797578"/>
                <a:gd name="connsiteX2" fmla="*/ 57667 w 8895457"/>
                <a:gd name="connsiteY2" fmla="*/ 754148 h 797578"/>
                <a:gd name="connsiteX3" fmla="*/ 1197666 w 8895457"/>
                <a:gd name="connsiteY3" fmla="*/ 754148 h 797578"/>
                <a:gd name="connsiteX4" fmla="*/ 1892525 w 8895457"/>
                <a:gd name="connsiteY4" fmla="*/ 788136 h 797578"/>
                <a:gd name="connsiteX5" fmla="*/ 2348535 w 8895457"/>
                <a:gd name="connsiteY5" fmla="*/ 728648 h 797578"/>
                <a:gd name="connsiteX6" fmla="*/ 2826257 w 8895457"/>
                <a:gd name="connsiteY6" fmla="*/ 728648 h 797578"/>
                <a:gd name="connsiteX7" fmla="*/ 3597126 w 8895457"/>
                <a:gd name="connsiteY7" fmla="*/ 771142 h 797578"/>
                <a:gd name="connsiteX8" fmla="*/ 4476562 w 8895457"/>
                <a:gd name="connsiteY8" fmla="*/ 754148 h 797578"/>
                <a:gd name="connsiteX9" fmla="*/ 5106280 w 8895457"/>
                <a:gd name="connsiteY9" fmla="*/ 762654 h 797578"/>
                <a:gd name="connsiteX10" fmla="*/ 5942290 w 8895457"/>
                <a:gd name="connsiteY10" fmla="*/ 762654 h 797578"/>
                <a:gd name="connsiteX11" fmla="*/ 7006303 w 8895457"/>
                <a:gd name="connsiteY11" fmla="*/ 788154 h 797578"/>
                <a:gd name="connsiteX12" fmla="*/ 7755458 w 8895457"/>
                <a:gd name="connsiteY12" fmla="*/ 779648 h 797578"/>
                <a:gd name="connsiteX13" fmla="*/ 8287453 w 8895457"/>
                <a:gd name="connsiteY13" fmla="*/ 771142 h 797578"/>
                <a:gd name="connsiteX14" fmla="*/ 8765176 w 8895457"/>
                <a:gd name="connsiteY14" fmla="*/ 737154 h 797578"/>
                <a:gd name="connsiteX15" fmla="*/ 8895457 w 8895457"/>
                <a:gd name="connsiteY15" fmla="*/ 754148 h 797578"/>
                <a:gd name="connsiteX16" fmla="*/ 8895457 w 8895457"/>
                <a:gd name="connsiteY16" fmla="*/ 133791 h 797578"/>
                <a:gd name="connsiteX17" fmla="*/ 8710881 w 8895457"/>
                <a:gd name="connsiteY17" fmla="*/ 65870 h 797578"/>
                <a:gd name="connsiteX18" fmla="*/ 7896585 w 8895457"/>
                <a:gd name="connsiteY18" fmla="*/ 14889 h 797578"/>
                <a:gd name="connsiteX19" fmla="*/ 7310294 w 8895457"/>
                <a:gd name="connsiteY19" fmla="*/ 108364 h 797578"/>
                <a:gd name="connsiteX20" fmla="*/ 6409144 w 8895457"/>
                <a:gd name="connsiteY20" fmla="*/ 201839 h 797578"/>
                <a:gd name="connsiteX21" fmla="*/ 5442853 w 8895457"/>
                <a:gd name="connsiteY21" fmla="*/ 201839 h 797578"/>
                <a:gd name="connsiteX22" fmla="*/ 3716563 w 8895457"/>
                <a:gd name="connsiteY22" fmla="*/ 193333 h 797578"/>
                <a:gd name="connsiteX23" fmla="*/ 2630835 w 8895457"/>
                <a:gd name="connsiteY23" fmla="*/ 65870 h 797578"/>
                <a:gd name="connsiteX24" fmla="*/ 839403 w 8895457"/>
                <a:gd name="connsiteY24" fmla="*/ 57364 h 797578"/>
                <a:gd name="connsiteX25" fmla="*/ 299581 w 8895457"/>
                <a:gd name="connsiteY25" fmla="*/ 66415 h 797578"/>
                <a:gd name="connsiteX0" fmla="*/ 300385 w 8896261"/>
                <a:gd name="connsiteY0" fmla="*/ 66415 h 797969"/>
                <a:gd name="connsiteX1" fmla="*/ 182825 w 8896261"/>
                <a:gd name="connsiteY1" fmla="*/ 625754 h 797969"/>
                <a:gd name="connsiteX2" fmla="*/ 1198470 w 8896261"/>
                <a:gd name="connsiteY2" fmla="*/ 754148 h 797969"/>
                <a:gd name="connsiteX3" fmla="*/ 1893329 w 8896261"/>
                <a:gd name="connsiteY3" fmla="*/ 788136 h 797969"/>
                <a:gd name="connsiteX4" fmla="*/ 2349339 w 8896261"/>
                <a:gd name="connsiteY4" fmla="*/ 728648 h 797969"/>
                <a:gd name="connsiteX5" fmla="*/ 2827061 w 8896261"/>
                <a:gd name="connsiteY5" fmla="*/ 728648 h 797969"/>
                <a:gd name="connsiteX6" fmla="*/ 3597930 w 8896261"/>
                <a:gd name="connsiteY6" fmla="*/ 771142 h 797969"/>
                <a:gd name="connsiteX7" fmla="*/ 4477366 w 8896261"/>
                <a:gd name="connsiteY7" fmla="*/ 754148 h 797969"/>
                <a:gd name="connsiteX8" fmla="*/ 5107084 w 8896261"/>
                <a:gd name="connsiteY8" fmla="*/ 762654 h 797969"/>
                <a:gd name="connsiteX9" fmla="*/ 5943094 w 8896261"/>
                <a:gd name="connsiteY9" fmla="*/ 762654 h 797969"/>
                <a:gd name="connsiteX10" fmla="*/ 7007107 w 8896261"/>
                <a:gd name="connsiteY10" fmla="*/ 788154 h 797969"/>
                <a:gd name="connsiteX11" fmla="*/ 7756262 w 8896261"/>
                <a:gd name="connsiteY11" fmla="*/ 779648 h 797969"/>
                <a:gd name="connsiteX12" fmla="*/ 8288257 w 8896261"/>
                <a:gd name="connsiteY12" fmla="*/ 771142 h 797969"/>
                <a:gd name="connsiteX13" fmla="*/ 8765980 w 8896261"/>
                <a:gd name="connsiteY13" fmla="*/ 737154 h 797969"/>
                <a:gd name="connsiteX14" fmla="*/ 8896261 w 8896261"/>
                <a:gd name="connsiteY14" fmla="*/ 754148 h 797969"/>
                <a:gd name="connsiteX15" fmla="*/ 8896261 w 8896261"/>
                <a:gd name="connsiteY15" fmla="*/ 133791 h 797969"/>
                <a:gd name="connsiteX16" fmla="*/ 8711685 w 8896261"/>
                <a:gd name="connsiteY16" fmla="*/ 65870 h 797969"/>
                <a:gd name="connsiteX17" fmla="*/ 7897389 w 8896261"/>
                <a:gd name="connsiteY17" fmla="*/ 14889 h 797969"/>
                <a:gd name="connsiteX18" fmla="*/ 7311098 w 8896261"/>
                <a:gd name="connsiteY18" fmla="*/ 108364 h 797969"/>
                <a:gd name="connsiteX19" fmla="*/ 6409948 w 8896261"/>
                <a:gd name="connsiteY19" fmla="*/ 201839 h 797969"/>
                <a:gd name="connsiteX20" fmla="*/ 5443657 w 8896261"/>
                <a:gd name="connsiteY20" fmla="*/ 201839 h 797969"/>
                <a:gd name="connsiteX21" fmla="*/ 3717367 w 8896261"/>
                <a:gd name="connsiteY21" fmla="*/ 193333 h 797969"/>
                <a:gd name="connsiteX22" fmla="*/ 2631639 w 8896261"/>
                <a:gd name="connsiteY22" fmla="*/ 65870 h 797969"/>
                <a:gd name="connsiteX23" fmla="*/ 840207 w 8896261"/>
                <a:gd name="connsiteY23" fmla="*/ 57364 h 797969"/>
                <a:gd name="connsiteX24" fmla="*/ 300385 w 8896261"/>
                <a:gd name="connsiteY24" fmla="*/ 66415 h 797969"/>
                <a:gd name="connsiteX0" fmla="*/ 263649 w 8859525"/>
                <a:gd name="connsiteY0" fmla="*/ 66415 h 795901"/>
                <a:gd name="connsiteX1" fmla="*/ 238952 w 8859525"/>
                <a:gd name="connsiteY1" fmla="*/ 726571 h 795901"/>
                <a:gd name="connsiteX2" fmla="*/ 1161734 w 8859525"/>
                <a:gd name="connsiteY2" fmla="*/ 754148 h 795901"/>
                <a:gd name="connsiteX3" fmla="*/ 1856593 w 8859525"/>
                <a:gd name="connsiteY3" fmla="*/ 788136 h 795901"/>
                <a:gd name="connsiteX4" fmla="*/ 2312603 w 8859525"/>
                <a:gd name="connsiteY4" fmla="*/ 728648 h 795901"/>
                <a:gd name="connsiteX5" fmla="*/ 2790325 w 8859525"/>
                <a:gd name="connsiteY5" fmla="*/ 728648 h 795901"/>
                <a:gd name="connsiteX6" fmla="*/ 3561194 w 8859525"/>
                <a:gd name="connsiteY6" fmla="*/ 771142 h 795901"/>
                <a:gd name="connsiteX7" fmla="*/ 4440630 w 8859525"/>
                <a:gd name="connsiteY7" fmla="*/ 754148 h 795901"/>
                <a:gd name="connsiteX8" fmla="*/ 5070348 w 8859525"/>
                <a:gd name="connsiteY8" fmla="*/ 762654 h 795901"/>
                <a:gd name="connsiteX9" fmla="*/ 5906358 w 8859525"/>
                <a:gd name="connsiteY9" fmla="*/ 762654 h 795901"/>
                <a:gd name="connsiteX10" fmla="*/ 6970371 w 8859525"/>
                <a:gd name="connsiteY10" fmla="*/ 788154 h 795901"/>
                <a:gd name="connsiteX11" fmla="*/ 7719526 w 8859525"/>
                <a:gd name="connsiteY11" fmla="*/ 779648 h 795901"/>
                <a:gd name="connsiteX12" fmla="*/ 8251521 w 8859525"/>
                <a:gd name="connsiteY12" fmla="*/ 771142 h 795901"/>
                <a:gd name="connsiteX13" fmla="*/ 8729244 w 8859525"/>
                <a:gd name="connsiteY13" fmla="*/ 737154 h 795901"/>
                <a:gd name="connsiteX14" fmla="*/ 8859525 w 8859525"/>
                <a:gd name="connsiteY14" fmla="*/ 754148 h 795901"/>
                <a:gd name="connsiteX15" fmla="*/ 8859525 w 8859525"/>
                <a:gd name="connsiteY15" fmla="*/ 133791 h 795901"/>
                <a:gd name="connsiteX16" fmla="*/ 8674949 w 8859525"/>
                <a:gd name="connsiteY16" fmla="*/ 65870 h 795901"/>
                <a:gd name="connsiteX17" fmla="*/ 7860653 w 8859525"/>
                <a:gd name="connsiteY17" fmla="*/ 14889 h 795901"/>
                <a:gd name="connsiteX18" fmla="*/ 7274362 w 8859525"/>
                <a:gd name="connsiteY18" fmla="*/ 108364 h 795901"/>
                <a:gd name="connsiteX19" fmla="*/ 6373212 w 8859525"/>
                <a:gd name="connsiteY19" fmla="*/ 201839 h 795901"/>
                <a:gd name="connsiteX20" fmla="*/ 5406921 w 8859525"/>
                <a:gd name="connsiteY20" fmla="*/ 201839 h 795901"/>
                <a:gd name="connsiteX21" fmla="*/ 3680631 w 8859525"/>
                <a:gd name="connsiteY21" fmla="*/ 193333 h 795901"/>
                <a:gd name="connsiteX22" fmla="*/ 2594903 w 8859525"/>
                <a:gd name="connsiteY22" fmla="*/ 65870 h 795901"/>
                <a:gd name="connsiteX23" fmla="*/ 803471 w 8859525"/>
                <a:gd name="connsiteY23" fmla="*/ 57364 h 795901"/>
                <a:gd name="connsiteX24" fmla="*/ 263649 w 8859525"/>
                <a:gd name="connsiteY24" fmla="*/ 66415 h 795901"/>
                <a:gd name="connsiteX0" fmla="*/ 224684 w 8820560"/>
                <a:gd name="connsiteY0" fmla="*/ 66415 h 815564"/>
                <a:gd name="connsiteX1" fmla="*/ 199987 w 8820560"/>
                <a:gd name="connsiteY1" fmla="*/ 726571 h 815564"/>
                <a:gd name="connsiteX2" fmla="*/ 1122769 w 8820560"/>
                <a:gd name="connsiteY2" fmla="*/ 754148 h 815564"/>
                <a:gd name="connsiteX3" fmla="*/ 1817628 w 8820560"/>
                <a:gd name="connsiteY3" fmla="*/ 788136 h 815564"/>
                <a:gd name="connsiteX4" fmla="*/ 2273638 w 8820560"/>
                <a:gd name="connsiteY4" fmla="*/ 728648 h 815564"/>
                <a:gd name="connsiteX5" fmla="*/ 2751360 w 8820560"/>
                <a:gd name="connsiteY5" fmla="*/ 728648 h 815564"/>
                <a:gd name="connsiteX6" fmla="*/ 3522229 w 8820560"/>
                <a:gd name="connsiteY6" fmla="*/ 771142 h 815564"/>
                <a:gd name="connsiteX7" fmla="*/ 4401665 w 8820560"/>
                <a:gd name="connsiteY7" fmla="*/ 754148 h 815564"/>
                <a:gd name="connsiteX8" fmla="*/ 5031383 w 8820560"/>
                <a:gd name="connsiteY8" fmla="*/ 762654 h 815564"/>
                <a:gd name="connsiteX9" fmla="*/ 5867393 w 8820560"/>
                <a:gd name="connsiteY9" fmla="*/ 762654 h 815564"/>
                <a:gd name="connsiteX10" fmla="*/ 6931406 w 8820560"/>
                <a:gd name="connsiteY10" fmla="*/ 788154 h 815564"/>
                <a:gd name="connsiteX11" fmla="*/ 7680561 w 8820560"/>
                <a:gd name="connsiteY11" fmla="*/ 779648 h 815564"/>
                <a:gd name="connsiteX12" fmla="*/ 8212556 w 8820560"/>
                <a:gd name="connsiteY12" fmla="*/ 771142 h 815564"/>
                <a:gd name="connsiteX13" fmla="*/ 8690279 w 8820560"/>
                <a:gd name="connsiteY13" fmla="*/ 737154 h 815564"/>
                <a:gd name="connsiteX14" fmla="*/ 8820560 w 8820560"/>
                <a:gd name="connsiteY14" fmla="*/ 754148 h 815564"/>
                <a:gd name="connsiteX15" fmla="*/ 8820560 w 8820560"/>
                <a:gd name="connsiteY15" fmla="*/ 133791 h 815564"/>
                <a:gd name="connsiteX16" fmla="*/ 8635984 w 8820560"/>
                <a:gd name="connsiteY16" fmla="*/ 65870 h 815564"/>
                <a:gd name="connsiteX17" fmla="*/ 7821688 w 8820560"/>
                <a:gd name="connsiteY17" fmla="*/ 14889 h 815564"/>
                <a:gd name="connsiteX18" fmla="*/ 7235397 w 8820560"/>
                <a:gd name="connsiteY18" fmla="*/ 108364 h 815564"/>
                <a:gd name="connsiteX19" fmla="*/ 6334247 w 8820560"/>
                <a:gd name="connsiteY19" fmla="*/ 201839 h 815564"/>
                <a:gd name="connsiteX20" fmla="*/ 5367956 w 8820560"/>
                <a:gd name="connsiteY20" fmla="*/ 201839 h 815564"/>
                <a:gd name="connsiteX21" fmla="*/ 3641666 w 8820560"/>
                <a:gd name="connsiteY21" fmla="*/ 193333 h 815564"/>
                <a:gd name="connsiteX22" fmla="*/ 2555938 w 8820560"/>
                <a:gd name="connsiteY22" fmla="*/ 65870 h 815564"/>
                <a:gd name="connsiteX23" fmla="*/ 764506 w 8820560"/>
                <a:gd name="connsiteY23" fmla="*/ 57364 h 815564"/>
                <a:gd name="connsiteX24" fmla="*/ 224684 w 8820560"/>
                <a:gd name="connsiteY24" fmla="*/ 66415 h 815564"/>
                <a:gd name="connsiteX0" fmla="*/ 93047 w 8688923"/>
                <a:gd name="connsiteY0" fmla="*/ 66415 h 795903"/>
                <a:gd name="connsiteX1" fmla="*/ 71109 w 8688923"/>
                <a:gd name="connsiteY1" fmla="*/ 350379 h 795903"/>
                <a:gd name="connsiteX2" fmla="*/ 68350 w 8688923"/>
                <a:gd name="connsiteY2" fmla="*/ 726571 h 795903"/>
                <a:gd name="connsiteX3" fmla="*/ 991132 w 8688923"/>
                <a:gd name="connsiteY3" fmla="*/ 754148 h 795903"/>
                <a:gd name="connsiteX4" fmla="*/ 1685991 w 8688923"/>
                <a:gd name="connsiteY4" fmla="*/ 788136 h 795903"/>
                <a:gd name="connsiteX5" fmla="*/ 2142001 w 8688923"/>
                <a:gd name="connsiteY5" fmla="*/ 728648 h 795903"/>
                <a:gd name="connsiteX6" fmla="*/ 2619723 w 8688923"/>
                <a:gd name="connsiteY6" fmla="*/ 728648 h 795903"/>
                <a:gd name="connsiteX7" fmla="*/ 3390592 w 8688923"/>
                <a:gd name="connsiteY7" fmla="*/ 771142 h 795903"/>
                <a:gd name="connsiteX8" fmla="*/ 4270028 w 8688923"/>
                <a:gd name="connsiteY8" fmla="*/ 754148 h 795903"/>
                <a:gd name="connsiteX9" fmla="*/ 4899746 w 8688923"/>
                <a:gd name="connsiteY9" fmla="*/ 762654 h 795903"/>
                <a:gd name="connsiteX10" fmla="*/ 5735756 w 8688923"/>
                <a:gd name="connsiteY10" fmla="*/ 762654 h 795903"/>
                <a:gd name="connsiteX11" fmla="*/ 6799769 w 8688923"/>
                <a:gd name="connsiteY11" fmla="*/ 788154 h 795903"/>
                <a:gd name="connsiteX12" fmla="*/ 7548924 w 8688923"/>
                <a:gd name="connsiteY12" fmla="*/ 779648 h 795903"/>
                <a:gd name="connsiteX13" fmla="*/ 8080919 w 8688923"/>
                <a:gd name="connsiteY13" fmla="*/ 771142 h 795903"/>
                <a:gd name="connsiteX14" fmla="*/ 8558642 w 8688923"/>
                <a:gd name="connsiteY14" fmla="*/ 737154 h 795903"/>
                <a:gd name="connsiteX15" fmla="*/ 8688923 w 8688923"/>
                <a:gd name="connsiteY15" fmla="*/ 754148 h 795903"/>
                <a:gd name="connsiteX16" fmla="*/ 8688923 w 8688923"/>
                <a:gd name="connsiteY16" fmla="*/ 133791 h 795903"/>
                <a:gd name="connsiteX17" fmla="*/ 8504347 w 8688923"/>
                <a:gd name="connsiteY17" fmla="*/ 65870 h 795903"/>
                <a:gd name="connsiteX18" fmla="*/ 7690051 w 8688923"/>
                <a:gd name="connsiteY18" fmla="*/ 14889 h 795903"/>
                <a:gd name="connsiteX19" fmla="*/ 7103760 w 8688923"/>
                <a:gd name="connsiteY19" fmla="*/ 108364 h 795903"/>
                <a:gd name="connsiteX20" fmla="*/ 6202610 w 8688923"/>
                <a:gd name="connsiteY20" fmla="*/ 201839 h 795903"/>
                <a:gd name="connsiteX21" fmla="*/ 5236319 w 8688923"/>
                <a:gd name="connsiteY21" fmla="*/ 201839 h 795903"/>
                <a:gd name="connsiteX22" fmla="*/ 3510029 w 8688923"/>
                <a:gd name="connsiteY22" fmla="*/ 193333 h 795903"/>
                <a:gd name="connsiteX23" fmla="*/ 2424301 w 8688923"/>
                <a:gd name="connsiteY23" fmla="*/ 65870 h 795903"/>
                <a:gd name="connsiteX24" fmla="*/ 632869 w 8688923"/>
                <a:gd name="connsiteY24" fmla="*/ 57364 h 795903"/>
                <a:gd name="connsiteX25" fmla="*/ 93047 w 8688923"/>
                <a:gd name="connsiteY25" fmla="*/ 66415 h 795903"/>
                <a:gd name="connsiteX0" fmla="*/ 91443 w 8687319"/>
                <a:gd name="connsiteY0" fmla="*/ 66415 h 795901"/>
                <a:gd name="connsiteX1" fmla="*/ 69505 w 8687319"/>
                <a:gd name="connsiteY1" fmla="*/ 350379 h 795901"/>
                <a:gd name="connsiteX2" fmla="*/ 66746 w 8687319"/>
                <a:gd name="connsiteY2" fmla="*/ 726571 h 795901"/>
                <a:gd name="connsiteX3" fmla="*/ 989528 w 8687319"/>
                <a:gd name="connsiteY3" fmla="*/ 754148 h 795901"/>
                <a:gd name="connsiteX4" fmla="*/ 1684387 w 8687319"/>
                <a:gd name="connsiteY4" fmla="*/ 788136 h 795901"/>
                <a:gd name="connsiteX5" fmla="*/ 2140397 w 8687319"/>
                <a:gd name="connsiteY5" fmla="*/ 728648 h 795901"/>
                <a:gd name="connsiteX6" fmla="*/ 2618119 w 8687319"/>
                <a:gd name="connsiteY6" fmla="*/ 728648 h 795901"/>
                <a:gd name="connsiteX7" fmla="*/ 3388988 w 8687319"/>
                <a:gd name="connsiteY7" fmla="*/ 771142 h 795901"/>
                <a:gd name="connsiteX8" fmla="*/ 4268424 w 8687319"/>
                <a:gd name="connsiteY8" fmla="*/ 754148 h 795901"/>
                <a:gd name="connsiteX9" fmla="*/ 4898142 w 8687319"/>
                <a:gd name="connsiteY9" fmla="*/ 762654 h 795901"/>
                <a:gd name="connsiteX10" fmla="*/ 5734152 w 8687319"/>
                <a:gd name="connsiteY10" fmla="*/ 762654 h 795901"/>
                <a:gd name="connsiteX11" fmla="*/ 6798165 w 8687319"/>
                <a:gd name="connsiteY11" fmla="*/ 788154 h 795901"/>
                <a:gd name="connsiteX12" fmla="*/ 7547320 w 8687319"/>
                <a:gd name="connsiteY12" fmla="*/ 779648 h 795901"/>
                <a:gd name="connsiteX13" fmla="*/ 8079315 w 8687319"/>
                <a:gd name="connsiteY13" fmla="*/ 771142 h 795901"/>
                <a:gd name="connsiteX14" fmla="*/ 8557038 w 8687319"/>
                <a:gd name="connsiteY14" fmla="*/ 737154 h 795901"/>
                <a:gd name="connsiteX15" fmla="*/ 8687319 w 8687319"/>
                <a:gd name="connsiteY15" fmla="*/ 754148 h 795901"/>
                <a:gd name="connsiteX16" fmla="*/ 8687319 w 8687319"/>
                <a:gd name="connsiteY16" fmla="*/ 133791 h 795901"/>
                <a:gd name="connsiteX17" fmla="*/ 8502743 w 8687319"/>
                <a:gd name="connsiteY17" fmla="*/ 65870 h 795901"/>
                <a:gd name="connsiteX18" fmla="*/ 7688447 w 8687319"/>
                <a:gd name="connsiteY18" fmla="*/ 14889 h 795901"/>
                <a:gd name="connsiteX19" fmla="*/ 7102156 w 8687319"/>
                <a:gd name="connsiteY19" fmla="*/ 108364 h 795901"/>
                <a:gd name="connsiteX20" fmla="*/ 6201006 w 8687319"/>
                <a:gd name="connsiteY20" fmla="*/ 201839 h 795901"/>
                <a:gd name="connsiteX21" fmla="*/ 5234715 w 8687319"/>
                <a:gd name="connsiteY21" fmla="*/ 201839 h 795901"/>
                <a:gd name="connsiteX22" fmla="*/ 3508425 w 8687319"/>
                <a:gd name="connsiteY22" fmla="*/ 193333 h 795901"/>
                <a:gd name="connsiteX23" fmla="*/ 2422697 w 8687319"/>
                <a:gd name="connsiteY23" fmla="*/ 65870 h 795901"/>
                <a:gd name="connsiteX24" fmla="*/ 631265 w 8687319"/>
                <a:gd name="connsiteY24" fmla="*/ 57364 h 795901"/>
                <a:gd name="connsiteX25" fmla="*/ 91443 w 8687319"/>
                <a:gd name="connsiteY25" fmla="*/ 66415 h 795901"/>
                <a:gd name="connsiteX0" fmla="*/ 91443 w 8687319"/>
                <a:gd name="connsiteY0" fmla="*/ 66415 h 795903"/>
                <a:gd name="connsiteX1" fmla="*/ 69505 w 8687319"/>
                <a:gd name="connsiteY1" fmla="*/ 350379 h 795903"/>
                <a:gd name="connsiteX2" fmla="*/ 66746 w 8687319"/>
                <a:gd name="connsiteY2" fmla="*/ 726571 h 795903"/>
                <a:gd name="connsiteX3" fmla="*/ 989528 w 8687319"/>
                <a:gd name="connsiteY3" fmla="*/ 754148 h 795903"/>
                <a:gd name="connsiteX4" fmla="*/ 1684387 w 8687319"/>
                <a:gd name="connsiteY4" fmla="*/ 788136 h 795903"/>
                <a:gd name="connsiteX5" fmla="*/ 2140397 w 8687319"/>
                <a:gd name="connsiteY5" fmla="*/ 728648 h 795903"/>
                <a:gd name="connsiteX6" fmla="*/ 2618119 w 8687319"/>
                <a:gd name="connsiteY6" fmla="*/ 728648 h 795903"/>
                <a:gd name="connsiteX7" fmla="*/ 3388988 w 8687319"/>
                <a:gd name="connsiteY7" fmla="*/ 771142 h 795903"/>
                <a:gd name="connsiteX8" fmla="*/ 4268424 w 8687319"/>
                <a:gd name="connsiteY8" fmla="*/ 754148 h 795903"/>
                <a:gd name="connsiteX9" fmla="*/ 4898142 w 8687319"/>
                <a:gd name="connsiteY9" fmla="*/ 762654 h 795903"/>
                <a:gd name="connsiteX10" fmla="*/ 5734152 w 8687319"/>
                <a:gd name="connsiteY10" fmla="*/ 762654 h 795903"/>
                <a:gd name="connsiteX11" fmla="*/ 6798165 w 8687319"/>
                <a:gd name="connsiteY11" fmla="*/ 788154 h 795903"/>
                <a:gd name="connsiteX12" fmla="*/ 7547320 w 8687319"/>
                <a:gd name="connsiteY12" fmla="*/ 779648 h 795903"/>
                <a:gd name="connsiteX13" fmla="*/ 8079315 w 8687319"/>
                <a:gd name="connsiteY13" fmla="*/ 771142 h 795903"/>
                <a:gd name="connsiteX14" fmla="*/ 8557038 w 8687319"/>
                <a:gd name="connsiteY14" fmla="*/ 737154 h 795903"/>
                <a:gd name="connsiteX15" fmla="*/ 8687319 w 8687319"/>
                <a:gd name="connsiteY15" fmla="*/ 754148 h 795903"/>
                <a:gd name="connsiteX16" fmla="*/ 8687319 w 8687319"/>
                <a:gd name="connsiteY16" fmla="*/ 133791 h 795903"/>
                <a:gd name="connsiteX17" fmla="*/ 8502743 w 8687319"/>
                <a:gd name="connsiteY17" fmla="*/ 65870 h 795903"/>
                <a:gd name="connsiteX18" fmla="*/ 7688447 w 8687319"/>
                <a:gd name="connsiteY18" fmla="*/ 14889 h 795903"/>
                <a:gd name="connsiteX19" fmla="*/ 7102156 w 8687319"/>
                <a:gd name="connsiteY19" fmla="*/ 108364 h 795903"/>
                <a:gd name="connsiteX20" fmla="*/ 6201006 w 8687319"/>
                <a:gd name="connsiteY20" fmla="*/ 201839 h 795903"/>
                <a:gd name="connsiteX21" fmla="*/ 5234715 w 8687319"/>
                <a:gd name="connsiteY21" fmla="*/ 201839 h 795903"/>
                <a:gd name="connsiteX22" fmla="*/ 3508425 w 8687319"/>
                <a:gd name="connsiteY22" fmla="*/ 193333 h 795903"/>
                <a:gd name="connsiteX23" fmla="*/ 2422697 w 8687319"/>
                <a:gd name="connsiteY23" fmla="*/ 65870 h 795903"/>
                <a:gd name="connsiteX24" fmla="*/ 631265 w 8687319"/>
                <a:gd name="connsiteY24" fmla="*/ 57364 h 795903"/>
                <a:gd name="connsiteX25" fmla="*/ 91443 w 8687319"/>
                <a:gd name="connsiteY25" fmla="*/ 66415 h 795903"/>
                <a:gd name="connsiteX0" fmla="*/ 87616 w 8683492"/>
                <a:gd name="connsiteY0" fmla="*/ 66415 h 795901"/>
                <a:gd name="connsiteX1" fmla="*/ 65678 w 8683492"/>
                <a:gd name="connsiteY1" fmla="*/ 350379 h 795901"/>
                <a:gd name="connsiteX2" fmla="*/ 80340 w 8683492"/>
                <a:gd name="connsiteY2" fmla="*/ 609625 h 795901"/>
                <a:gd name="connsiteX3" fmla="*/ 62919 w 8683492"/>
                <a:gd name="connsiteY3" fmla="*/ 726571 h 795901"/>
                <a:gd name="connsiteX4" fmla="*/ 985701 w 8683492"/>
                <a:gd name="connsiteY4" fmla="*/ 754148 h 795901"/>
                <a:gd name="connsiteX5" fmla="*/ 1680560 w 8683492"/>
                <a:gd name="connsiteY5" fmla="*/ 788136 h 795901"/>
                <a:gd name="connsiteX6" fmla="*/ 2136570 w 8683492"/>
                <a:gd name="connsiteY6" fmla="*/ 728648 h 795901"/>
                <a:gd name="connsiteX7" fmla="*/ 2614292 w 8683492"/>
                <a:gd name="connsiteY7" fmla="*/ 728648 h 795901"/>
                <a:gd name="connsiteX8" fmla="*/ 3385161 w 8683492"/>
                <a:gd name="connsiteY8" fmla="*/ 771142 h 795901"/>
                <a:gd name="connsiteX9" fmla="*/ 4264597 w 8683492"/>
                <a:gd name="connsiteY9" fmla="*/ 754148 h 795901"/>
                <a:gd name="connsiteX10" fmla="*/ 4894315 w 8683492"/>
                <a:gd name="connsiteY10" fmla="*/ 762654 h 795901"/>
                <a:gd name="connsiteX11" fmla="*/ 5730325 w 8683492"/>
                <a:gd name="connsiteY11" fmla="*/ 762654 h 795901"/>
                <a:gd name="connsiteX12" fmla="*/ 6794338 w 8683492"/>
                <a:gd name="connsiteY12" fmla="*/ 788154 h 795901"/>
                <a:gd name="connsiteX13" fmla="*/ 7543493 w 8683492"/>
                <a:gd name="connsiteY13" fmla="*/ 779648 h 795901"/>
                <a:gd name="connsiteX14" fmla="*/ 8075488 w 8683492"/>
                <a:gd name="connsiteY14" fmla="*/ 771142 h 795901"/>
                <a:gd name="connsiteX15" fmla="*/ 8553211 w 8683492"/>
                <a:gd name="connsiteY15" fmla="*/ 737154 h 795901"/>
                <a:gd name="connsiteX16" fmla="*/ 8683492 w 8683492"/>
                <a:gd name="connsiteY16" fmla="*/ 754148 h 795901"/>
                <a:gd name="connsiteX17" fmla="*/ 8683492 w 8683492"/>
                <a:gd name="connsiteY17" fmla="*/ 133791 h 795901"/>
                <a:gd name="connsiteX18" fmla="*/ 8498916 w 8683492"/>
                <a:gd name="connsiteY18" fmla="*/ 65870 h 795901"/>
                <a:gd name="connsiteX19" fmla="*/ 7684620 w 8683492"/>
                <a:gd name="connsiteY19" fmla="*/ 14889 h 795901"/>
                <a:gd name="connsiteX20" fmla="*/ 7098329 w 8683492"/>
                <a:gd name="connsiteY20" fmla="*/ 108364 h 795901"/>
                <a:gd name="connsiteX21" fmla="*/ 6197179 w 8683492"/>
                <a:gd name="connsiteY21" fmla="*/ 201839 h 795901"/>
                <a:gd name="connsiteX22" fmla="*/ 5230888 w 8683492"/>
                <a:gd name="connsiteY22" fmla="*/ 201839 h 795901"/>
                <a:gd name="connsiteX23" fmla="*/ 3504598 w 8683492"/>
                <a:gd name="connsiteY23" fmla="*/ 193333 h 795901"/>
                <a:gd name="connsiteX24" fmla="*/ 2418870 w 8683492"/>
                <a:gd name="connsiteY24" fmla="*/ 65870 h 795901"/>
                <a:gd name="connsiteX25" fmla="*/ 627438 w 8683492"/>
                <a:gd name="connsiteY25" fmla="*/ 57364 h 795901"/>
                <a:gd name="connsiteX26" fmla="*/ 87616 w 8683492"/>
                <a:gd name="connsiteY26" fmla="*/ 66415 h 795901"/>
                <a:gd name="connsiteX0" fmla="*/ 84495 w 8680371"/>
                <a:gd name="connsiteY0" fmla="*/ 66415 h 795903"/>
                <a:gd name="connsiteX1" fmla="*/ 62557 w 8680371"/>
                <a:gd name="connsiteY1" fmla="*/ 350379 h 795903"/>
                <a:gd name="connsiteX2" fmla="*/ 77219 w 8680371"/>
                <a:gd name="connsiteY2" fmla="*/ 609625 h 795903"/>
                <a:gd name="connsiteX3" fmla="*/ 89436 w 8680371"/>
                <a:gd name="connsiteY3" fmla="*/ 686441 h 795903"/>
                <a:gd name="connsiteX4" fmla="*/ 59798 w 8680371"/>
                <a:gd name="connsiteY4" fmla="*/ 726571 h 795903"/>
                <a:gd name="connsiteX5" fmla="*/ 982580 w 8680371"/>
                <a:gd name="connsiteY5" fmla="*/ 754148 h 795903"/>
                <a:gd name="connsiteX6" fmla="*/ 1677439 w 8680371"/>
                <a:gd name="connsiteY6" fmla="*/ 788136 h 795903"/>
                <a:gd name="connsiteX7" fmla="*/ 2133449 w 8680371"/>
                <a:gd name="connsiteY7" fmla="*/ 728648 h 795903"/>
                <a:gd name="connsiteX8" fmla="*/ 2611171 w 8680371"/>
                <a:gd name="connsiteY8" fmla="*/ 728648 h 795903"/>
                <a:gd name="connsiteX9" fmla="*/ 3382040 w 8680371"/>
                <a:gd name="connsiteY9" fmla="*/ 771142 h 795903"/>
                <a:gd name="connsiteX10" fmla="*/ 4261476 w 8680371"/>
                <a:gd name="connsiteY10" fmla="*/ 754148 h 795903"/>
                <a:gd name="connsiteX11" fmla="*/ 4891194 w 8680371"/>
                <a:gd name="connsiteY11" fmla="*/ 762654 h 795903"/>
                <a:gd name="connsiteX12" fmla="*/ 5727204 w 8680371"/>
                <a:gd name="connsiteY12" fmla="*/ 762654 h 795903"/>
                <a:gd name="connsiteX13" fmla="*/ 6791217 w 8680371"/>
                <a:gd name="connsiteY13" fmla="*/ 788154 h 795903"/>
                <a:gd name="connsiteX14" fmla="*/ 7540372 w 8680371"/>
                <a:gd name="connsiteY14" fmla="*/ 779648 h 795903"/>
                <a:gd name="connsiteX15" fmla="*/ 8072367 w 8680371"/>
                <a:gd name="connsiteY15" fmla="*/ 771142 h 795903"/>
                <a:gd name="connsiteX16" fmla="*/ 8550090 w 8680371"/>
                <a:gd name="connsiteY16" fmla="*/ 737154 h 795903"/>
                <a:gd name="connsiteX17" fmla="*/ 8680371 w 8680371"/>
                <a:gd name="connsiteY17" fmla="*/ 754148 h 795903"/>
                <a:gd name="connsiteX18" fmla="*/ 8680371 w 8680371"/>
                <a:gd name="connsiteY18" fmla="*/ 133791 h 795903"/>
                <a:gd name="connsiteX19" fmla="*/ 8495795 w 8680371"/>
                <a:gd name="connsiteY19" fmla="*/ 65870 h 795903"/>
                <a:gd name="connsiteX20" fmla="*/ 7681499 w 8680371"/>
                <a:gd name="connsiteY20" fmla="*/ 14889 h 795903"/>
                <a:gd name="connsiteX21" fmla="*/ 7095208 w 8680371"/>
                <a:gd name="connsiteY21" fmla="*/ 108364 h 795903"/>
                <a:gd name="connsiteX22" fmla="*/ 6194058 w 8680371"/>
                <a:gd name="connsiteY22" fmla="*/ 201839 h 795903"/>
                <a:gd name="connsiteX23" fmla="*/ 5227767 w 8680371"/>
                <a:gd name="connsiteY23" fmla="*/ 201839 h 795903"/>
                <a:gd name="connsiteX24" fmla="*/ 3501477 w 8680371"/>
                <a:gd name="connsiteY24" fmla="*/ 193333 h 795903"/>
                <a:gd name="connsiteX25" fmla="*/ 2415749 w 8680371"/>
                <a:gd name="connsiteY25" fmla="*/ 65870 h 795903"/>
                <a:gd name="connsiteX26" fmla="*/ 624317 w 8680371"/>
                <a:gd name="connsiteY26" fmla="*/ 57364 h 795903"/>
                <a:gd name="connsiteX27" fmla="*/ 84495 w 8680371"/>
                <a:gd name="connsiteY27" fmla="*/ 66415 h 795903"/>
                <a:gd name="connsiteX0" fmla="*/ 58632 w 8654508"/>
                <a:gd name="connsiteY0" fmla="*/ 66415 h 847530"/>
                <a:gd name="connsiteX1" fmla="*/ 36694 w 8654508"/>
                <a:gd name="connsiteY1" fmla="*/ 350379 h 847530"/>
                <a:gd name="connsiteX2" fmla="*/ 51356 w 8654508"/>
                <a:gd name="connsiteY2" fmla="*/ 609625 h 847530"/>
                <a:gd name="connsiteX3" fmla="*/ 63573 w 8654508"/>
                <a:gd name="connsiteY3" fmla="*/ 686441 h 847530"/>
                <a:gd name="connsiteX4" fmla="*/ 99916 w 8654508"/>
                <a:gd name="connsiteY4" fmla="*/ 846591 h 847530"/>
                <a:gd name="connsiteX5" fmla="*/ 956717 w 8654508"/>
                <a:gd name="connsiteY5" fmla="*/ 754148 h 847530"/>
                <a:gd name="connsiteX6" fmla="*/ 1651576 w 8654508"/>
                <a:gd name="connsiteY6" fmla="*/ 788136 h 847530"/>
                <a:gd name="connsiteX7" fmla="*/ 2107586 w 8654508"/>
                <a:gd name="connsiteY7" fmla="*/ 728648 h 847530"/>
                <a:gd name="connsiteX8" fmla="*/ 2585308 w 8654508"/>
                <a:gd name="connsiteY8" fmla="*/ 728648 h 847530"/>
                <a:gd name="connsiteX9" fmla="*/ 3356177 w 8654508"/>
                <a:gd name="connsiteY9" fmla="*/ 771142 h 847530"/>
                <a:gd name="connsiteX10" fmla="*/ 4235613 w 8654508"/>
                <a:gd name="connsiteY10" fmla="*/ 754148 h 847530"/>
                <a:gd name="connsiteX11" fmla="*/ 4865331 w 8654508"/>
                <a:gd name="connsiteY11" fmla="*/ 762654 h 847530"/>
                <a:gd name="connsiteX12" fmla="*/ 5701341 w 8654508"/>
                <a:gd name="connsiteY12" fmla="*/ 762654 h 847530"/>
                <a:gd name="connsiteX13" fmla="*/ 6765354 w 8654508"/>
                <a:gd name="connsiteY13" fmla="*/ 788154 h 847530"/>
                <a:gd name="connsiteX14" fmla="*/ 7514509 w 8654508"/>
                <a:gd name="connsiteY14" fmla="*/ 779648 h 847530"/>
                <a:gd name="connsiteX15" fmla="*/ 8046504 w 8654508"/>
                <a:gd name="connsiteY15" fmla="*/ 771142 h 847530"/>
                <a:gd name="connsiteX16" fmla="*/ 8524227 w 8654508"/>
                <a:gd name="connsiteY16" fmla="*/ 737154 h 847530"/>
                <a:gd name="connsiteX17" fmla="*/ 8654508 w 8654508"/>
                <a:gd name="connsiteY17" fmla="*/ 754148 h 847530"/>
                <a:gd name="connsiteX18" fmla="*/ 8654508 w 8654508"/>
                <a:gd name="connsiteY18" fmla="*/ 133791 h 847530"/>
                <a:gd name="connsiteX19" fmla="*/ 8469932 w 8654508"/>
                <a:gd name="connsiteY19" fmla="*/ 65870 h 847530"/>
                <a:gd name="connsiteX20" fmla="*/ 7655636 w 8654508"/>
                <a:gd name="connsiteY20" fmla="*/ 14889 h 847530"/>
                <a:gd name="connsiteX21" fmla="*/ 7069345 w 8654508"/>
                <a:gd name="connsiteY21" fmla="*/ 108364 h 847530"/>
                <a:gd name="connsiteX22" fmla="*/ 6168195 w 8654508"/>
                <a:gd name="connsiteY22" fmla="*/ 201839 h 847530"/>
                <a:gd name="connsiteX23" fmla="*/ 5201904 w 8654508"/>
                <a:gd name="connsiteY23" fmla="*/ 201839 h 847530"/>
                <a:gd name="connsiteX24" fmla="*/ 3475614 w 8654508"/>
                <a:gd name="connsiteY24" fmla="*/ 193333 h 847530"/>
                <a:gd name="connsiteX25" fmla="*/ 2389886 w 8654508"/>
                <a:gd name="connsiteY25" fmla="*/ 65870 h 847530"/>
                <a:gd name="connsiteX26" fmla="*/ 598454 w 8654508"/>
                <a:gd name="connsiteY26" fmla="*/ 57364 h 847530"/>
                <a:gd name="connsiteX27" fmla="*/ 58632 w 8654508"/>
                <a:gd name="connsiteY27" fmla="*/ 66415 h 847530"/>
                <a:gd name="connsiteX0" fmla="*/ 54170 w 8650046"/>
                <a:gd name="connsiteY0" fmla="*/ 66415 h 847528"/>
                <a:gd name="connsiteX1" fmla="*/ 20012 w 8650046"/>
                <a:gd name="connsiteY1" fmla="*/ 139144 h 847528"/>
                <a:gd name="connsiteX2" fmla="*/ 32232 w 8650046"/>
                <a:gd name="connsiteY2" fmla="*/ 350379 h 847528"/>
                <a:gd name="connsiteX3" fmla="*/ 46894 w 8650046"/>
                <a:gd name="connsiteY3" fmla="*/ 609625 h 847528"/>
                <a:gd name="connsiteX4" fmla="*/ 59111 w 8650046"/>
                <a:gd name="connsiteY4" fmla="*/ 686441 h 847528"/>
                <a:gd name="connsiteX5" fmla="*/ 95454 w 8650046"/>
                <a:gd name="connsiteY5" fmla="*/ 846591 h 847528"/>
                <a:gd name="connsiteX6" fmla="*/ 952255 w 8650046"/>
                <a:gd name="connsiteY6" fmla="*/ 754148 h 847528"/>
                <a:gd name="connsiteX7" fmla="*/ 1647114 w 8650046"/>
                <a:gd name="connsiteY7" fmla="*/ 788136 h 847528"/>
                <a:gd name="connsiteX8" fmla="*/ 2103124 w 8650046"/>
                <a:gd name="connsiteY8" fmla="*/ 728648 h 847528"/>
                <a:gd name="connsiteX9" fmla="*/ 2580846 w 8650046"/>
                <a:gd name="connsiteY9" fmla="*/ 728648 h 847528"/>
                <a:gd name="connsiteX10" fmla="*/ 3351715 w 8650046"/>
                <a:gd name="connsiteY10" fmla="*/ 771142 h 847528"/>
                <a:gd name="connsiteX11" fmla="*/ 4231151 w 8650046"/>
                <a:gd name="connsiteY11" fmla="*/ 754148 h 847528"/>
                <a:gd name="connsiteX12" fmla="*/ 4860869 w 8650046"/>
                <a:gd name="connsiteY12" fmla="*/ 762654 h 847528"/>
                <a:gd name="connsiteX13" fmla="*/ 5696879 w 8650046"/>
                <a:gd name="connsiteY13" fmla="*/ 762654 h 847528"/>
                <a:gd name="connsiteX14" fmla="*/ 6760892 w 8650046"/>
                <a:gd name="connsiteY14" fmla="*/ 788154 h 847528"/>
                <a:gd name="connsiteX15" fmla="*/ 7510047 w 8650046"/>
                <a:gd name="connsiteY15" fmla="*/ 779648 h 847528"/>
                <a:gd name="connsiteX16" fmla="*/ 8042042 w 8650046"/>
                <a:gd name="connsiteY16" fmla="*/ 771142 h 847528"/>
                <a:gd name="connsiteX17" fmla="*/ 8519765 w 8650046"/>
                <a:gd name="connsiteY17" fmla="*/ 737154 h 847528"/>
                <a:gd name="connsiteX18" fmla="*/ 8650046 w 8650046"/>
                <a:gd name="connsiteY18" fmla="*/ 754148 h 847528"/>
                <a:gd name="connsiteX19" fmla="*/ 8650046 w 8650046"/>
                <a:gd name="connsiteY19" fmla="*/ 133791 h 847528"/>
                <a:gd name="connsiteX20" fmla="*/ 8465470 w 8650046"/>
                <a:gd name="connsiteY20" fmla="*/ 65870 h 847528"/>
                <a:gd name="connsiteX21" fmla="*/ 7651174 w 8650046"/>
                <a:gd name="connsiteY21" fmla="*/ 14889 h 847528"/>
                <a:gd name="connsiteX22" fmla="*/ 7064883 w 8650046"/>
                <a:gd name="connsiteY22" fmla="*/ 108364 h 847528"/>
                <a:gd name="connsiteX23" fmla="*/ 6163733 w 8650046"/>
                <a:gd name="connsiteY23" fmla="*/ 201839 h 847528"/>
                <a:gd name="connsiteX24" fmla="*/ 5197442 w 8650046"/>
                <a:gd name="connsiteY24" fmla="*/ 201839 h 847528"/>
                <a:gd name="connsiteX25" fmla="*/ 3471152 w 8650046"/>
                <a:gd name="connsiteY25" fmla="*/ 193333 h 847528"/>
                <a:gd name="connsiteX26" fmla="*/ 2385424 w 8650046"/>
                <a:gd name="connsiteY26" fmla="*/ 65870 h 847528"/>
                <a:gd name="connsiteX27" fmla="*/ 593992 w 8650046"/>
                <a:gd name="connsiteY27" fmla="*/ 57364 h 847528"/>
                <a:gd name="connsiteX28" fmla="*/ 54170 w 8650046"/>
                <a:gd name="connsiteY28" fmla="*/ 66415 h 847528"/>
                <a:gd name="connsiteX0" fmla="*/ 54170 w 8650046"/>
                <a:gd name="connsiteY0" fmla="*/ 66415 h 847530"/>
                <a:gd name="connsiteX1" fmla="*/ 20012 w 8650046"/>
                <a:gd name="connsiteY1" fmla="*/ 139144 h 847530"/>
                <a:gd name="connsiteX2" fmla="*/ 32232 w 8650046"/>
                <a:gd name="connsiteY2" fmla="*/ 350379 h 847530"/>
                <a:gd name="connsiteX3" fmla="*/ 46894 w 8650046"/>
                <a:gd name="connsiteY3" fmla="*/ 609625 h 847530"/>
                <a:gd name="connsiteX4" fmla="*/ 59111 w 8650046"/>
                <a:gd name="connsiteY4" fmla="*/ 686441 h 847530"/>
                <a:gd name="connsiteX5" fmla="*/ 95454 w 8650046"/>
                <a:gd name="connsiteY5" fmla="*/ 846591 h 847530"/>
                <a:gd name="connsiteX6" fmla="*/ 952255 w 8650046"/>
                <a:gd name="connsiteY6" fmla="*/ 754148 h 847530"/>
                <a:gd name="connsiteX7" fmla="*/ 1647114 w 8650046"/>
                <a:gd name="connsiteY7" fmla="*/ 788136 h 847530"/>
                <a:gd name="connsiteX8" fmla="*/ 2103124 w 8650046"/>
                <a:gd name="connsiteY8" fmla="*/ 728648 h 847530"/>
                <a:gd name="connsiteX9" fmla="*/ 2580846 w 8650046"/>
                <a:gd name="connsiteY9" fmla="*/ 728648 h 847530"/>
                <a:gd name="connsiteX10" fmla="*/ 3351715 w 8650046"/>
                <a:gd name="connsiteY10" fmla="*/ 771142 h 847530"/>
                <a:gd name="connsiteX11" fmla="*/ 4231151 w 8650046"/>
                <a:gd name="connsiteY11" fmla="*/ 754148 h 847530"/>
                <a:gd name="connsiteX12" fmla="*/ 4860869 w 8650046"/>
                <a:gd name="connsiteY12" fmla="*/ 762654 h 847530"/>
                <a:gd name="connsiteX13" fmla="*/ 5696879 w 8650046"/>
                <a:gd name="connsiteY13" fmla="*/ 762654 h 847530"/>
                <a:gd name="connsiteX14" fmla="*/ 6760892 w 8650046"/>
                <a:gd name="connsiteY14" fmla="*/ 788154 h 847530"/>
                <a:gd name="connsiteX15" fmla="*/ 7510047 w 8650046"/>
                <a:gd name="connsiteY15" fmla="*/ 779648 h 847530"/>
                <a:gd name="connsiteX16" fmla="*/ 8042042 w 8650046"/>
                <a:gd name="connsiteY16" fmla="*/ 771142 h 847530"/>
                <a:gd name="connsiteX17" fmla="*/ 8519765 w 8650046"/>
                <a:gd name="connsiteY17" fmla="*/ 737154 h 847530"/>
                <a:gd name="connsiteX18" fmla="*/ 8650046 w 8650046"/>
                <a:gd name="connsiteY18" fmla="*/ 754148 h 847530"/>
                <a:gd name="connsiteX19" fmla="*/ 8650046 w 8650046"/>
                <a:gd name="connsiteY19" fmla="*/ 133791 h 847530"/>
                <a:gd name="connsiteX20" fmla="*/ 8465470 w 8650046"/>
                <a:gd name="connsiteY20" fmla="*/ 65870 h 847530"/>
                <a:gd name="connsiteX21" fmla="*/ 7651174 w 8650046"/>
                <a:gd name="connsiteY21" fmla="*/ 14889 h 847530"/>
                <a:gd name="connsiteX22" fmla="*/ 7064883 w 8650046"/>
                <a:gd name="connsiteY22" fmla="*/ 108364 h 847530"/>
                <a:gd name="connsiteX23" fmla="*/ 6163733 w 8650046"/>
                <a:gd name="connsiteY23" fmla="*/ 201839 h 847530"/>
                <a:gd name="connsiteX24" fmla="*/ 5197442 w 8650046"/>
                <a:gd name="connsiteY24" fmla="*/ 201839 h 847530"/>
                <a:gd name="connsiteX25" fmla="*/ 3471152 w 8650046"/>
                <a:gd name="connsiteY25" fmla="*/ 193333 h 847530"/>
                <a:gd name="connsiteX26" fmla="*/ 2385424 w 8650046"/>
                <a:gd name="connsiteY26" fmla="*/ 65870 h 847530"/>
                <a:gd name="connsiteX27" fmla="*/ 593992 w 8650046"/>
                <a:gd name="connsiteY27" fmla="*/ 57364 h 847530"/>
                <a:gd name="connsiteX28" fmla="*/ 54170 w 8650046"/>
                <a:gd name="connsiteY28" fmla="*/ 66415 h 847530"/>
                <a:gd name="connsiteX0" fmla="*/ 48208 w 8644084"/>
                <a:gd name="connsiteY0" fmla="*/ 66415 h 847528"/>
                <a:gd name="connsiteX1" fmla="*/ 14050 w 8644084"/>
                <a:gd name="connsiteY1" fmla="*/ 139144 h 847528"/>
                <a:gd name="connsiteX2" fmla="*/ 26270 w 8644084"/>
                <a:gd name="connsiteY2" fmla="*/ 350379 h 847528"/>
                <a:gd name="connsiteX3" fmla="*/ 40932 w 8644084"/>
                <a:gd name="connsiteY3" fmla="*/ 609625 h 847528"/>
                <a:gd name="connsiteX4" fmla="*/ 53149 w 8644084"/>
                <a:gd name="connsiteY4" fmla="*/ 686441 h 847528"/>
                <a:gd name="connsiteX5" fmla="*/ 89492 w 8644084"/>
                <a:gd name="connsiteY5" fmla="*/ 846591 h 847528"/>
                <a:gd name="connsiteX6" fmla="*/ 946293 w 8644084"/>
                <a:gd name="connsiteY6" fmla="*/ 754148 h 847528"/>
                <a:gd name="connsiteX7" fmla="*/ 1641152 w 8644084"/>
                <a:gd name="connsiteY7" fmla="*/ 788136 h 847528"/>
                <a:gd name="connsiteX8" fmla="*/ 2097162 w 8644084"/>
                <a:gd name="connsiteY8" fmla="*/ 728648 h 847528"/>
                <a:gd name="connsiteX9" fmla="*/ 2574884 w 8644084"/>
                <a:gd name="connsiteY9" fmla="*/ 728648 h 847528"/>
                <a:gd name="connsiteX10" fmla="*/ 3345753 w 8644084"/>
                <a:gd name="connsiteY10" fmla="*/ 771142 h 847528"/>
                <a:gd name="connsiteX11" fmla="*/ 4225189 w 8644084"/>
                <a:gd name="connsiteY11" fmla="*/ 754148 h 847528"/>
                <a:gd name="connsiteX12" fmla="*/ 4854907 w 8644084"/>
                <a:gd name="connsiteY12" fmla="*/ 762654 h 847528"/>
                <a:gd name="connsiteX13" fmla="*/ 5690917 w 8644084"/>
                <a:gd name="connsiteY13" fmla="*/ 762654 h 847528"/>
                <a:gd name="connsiteX14" fmla="*/ 6754930 w 8644084"/>
                <a:gd name="connsiteY14" fmla="*/ 788154 h 847528"/>
                <a:gd name="connsiteX15" fmla="*/ 7504085 w 8644084"/>
                <a:gd name="connsiteY15" fmla="*/ 779648 h 847528"/>
                <a:gd name="connsiteX16" fmla="*/ 8036080 w 8644084"/>
                <a:gd name="connsiteY16" fmla="*/ 771142 h 847528"/>
                <a:gd name="connsiteX17" fmla="*/ 8513803 w 8644084"/>
                <a:gd name="connsiteY17" fmla="*/ 737154 h 847528"/>
                <a:gd name="connsiteX18" fmla="*/ 8644084 w 8644084"/>
                <a:gd name="connsiteY18" fmla="*/ 754148 h 847528"/>
                <a:gd name="connsiteX19" fmla="*/ 8644084 w 8644084"/>
                <a:gd name="connsiteY19" fmla="*/ 133791 h 847528"/>
                <a:gd name="connsiteX20" fmla="*/ 8459508 w 8644084"/>
                <a:gd name="connsiteY20" fmla="*/ 65870 h 847528"/>
                <a:gd name="connsiteX21" fmla="*/ 7645212 w 8644084"/>
                <a:gd name="connsiteY21" fmla="*/ 14889 h 847528"/>
                <a:gd name="connsiteX22" fmla="*/ 7058921 w 8644084"/>
                <a:gd name="connsiteY22" fmla="*/ 108364 h 847528"/>
                <a:gd name="connsiteX23" fmla="*/ 6157771 w 8644084"/>
                <a:gd name="connsiteY23" fmla="*/ 201839 h 847528"/>
                <a:gd name="connsiteX24" fmla="*/ 5191480 w 8644084"/>
                <a:gd name="connsiteY24" fmla="*/ 201839 h 847528"/>
                <a:gd name="connsiteX25" fmla="*/ 3465190 w 8644084"/>
                <a:gd name="connsiteY25" fmla="*/ 193333 h 847528"/>
                <a:gd name="connsiteX26" fmla="*/ 2379462 w 8644084"/>
                <a:gd name="connsiteY26" fmla="*/ 65870 h 847528"/>
                <a:gd name="connsiteX27" fmla="*/ 588030 w 8644084"/>
                <a:gd name="connsiteY27" fmla="*/ 57364 h 847528"/>
                <a:gd name="connsiteX28" fmla="*/ 48208 w 8644084"/>
                <a:gd name="connsiteY28" fmla="*/ 66415 h 847528"/>
                <a:gd name="connsiteX0" fmla="*/ 39893 w 8635769"/>
                <a:gd name="connsiteY0" fmla="*/ 66415 h 847530"/>
                <a:gd name="connsiteX1" fmla="*/ 5735 w 8635769"/>
                <a:gd name="connsiteY1" fmla="*/ 139144 h 847530"/>
                <a:gd name="connsiteX2" fmla="*/ 17955 w 8635769"/>
                <a:gd name="connsiteY2" fmla="*/ 350379 h 847530"/>
                <a:gd name="connsiteX3" fmla="*/ 32617 w 8635769"/>
                <a:gd name="connsiteY3" fmla="*/ 609625 h 847530"/>
                <a:gd name="connsiteX4" fmla="*/ 44834 w 8635769"/>
                <a:gd name="connsiteY4" fmla="*/ 686441 h 847530"/>
                <a:gd name="connsiteX5" fmla="*/ 81177 w 8635769"/>
                <a:gd name="connsiteY5" fmla="*/ 846591 h 847530"/>
                <a:gd name="connsiteX6" fmla="*/ 937978 w 8635769"/>
                <a:gd name="connsiteY6" fmla="*/ 754148 h 847530"/>
                <a:gd name="connsiteX7" fmla="*/ 1632837 w 8635769"/>
                <a:gd name="connsiteY7" fmla="*/ 788136 h 847530"/>
                <a:gd name="connsiteX8" fmla="*/ 2088847 w 8635769"/>
                <a:gd name="connsiteY8" fmla="*/ 728648 h 847530"/>
                <a:gd name="connsiteX9" fmla="*/ 2566569 w 8635769"/>
                <a:gd name="connsiteY9" fmla="*/ 728648 h 847530"/>
                <a:gd name="connsiteX10" fmla="*/ 3337438 w 8635769"/>
                <a:gd name="connsiteY10" fmla="*/ 771142 h 847530"/>
                <a:gd name="connsiteX11" fmla="*/ 4216874 w 8635769"/>
                <a:gd name="connsiteY11" fmla="*/ 754148 h 847530"/>
                <a:gd name="connsiteX12" fmla="*/ 4846592 w 8635769"/>
                <a:gd name="connsiteY12" fmla="*/ 762654 h 847530"/>
                <a:gd name="connsiteX13" fmla="*/ 5682602 w 8635769"/>
                <a:gd name="connsiteY13" fmla="*/ 762654 h 847530"/>
                <a:gd name="connsiteX14" fmla="*/ 6746615 w 8635769"/>
                <a:gd name="connsiteY14" fmla="*/ 788154 h 847530"/>
                <a:gd name="connsiteX15" fmla="*/ 7495770 w 8635769"/>
                <a:gd name="connsiteY15" fmla="*/ 779648 h 847530"/>
                <a:gd name="connsiteX16" fmla="*/ 8027765 w 8635769"/>
                <a:gd name="connsiteY16" fmla="*/ 771142 h 847530"/>
                <a:gd name="connsiteX17" fmla="*/ 8505488 w 8635769"/>
                <a:gd name="connsiteY17" fmla="*/ 737154 h 847530"/>
                <a:gd name="connsiteX18" fmla="*/ 8635769 w 8635769"/>
                <a:gd name="connsiteY18" fmla="*/ 754148 h 847530"/>
                <a:gd name="connsiteX19" fmla="*/ 8635769 w 8635769"/>
                <a:gd name="connsiteY19" fmla="*/ 133791 h 847530"/>
                <a:gd name="connsiteX20" fmla="*/ 8451193 w 8635769"/>
                <a:gd name="connsiteY20" fmla="*/ 65870 h 847530"/>
                <a:gd name="connsiteX21" fmla="*/ 7636897 w 8635769"/>
                <a:gd name="connsiteY21" fmla="*/ 14889 h 847530"/>
                <a:gd name="connsiteX22" fmla="*/ 7050606 w 8635769"/>
                <a:gd name="connsiteY22" fmla="*/ 108364 h 847530"/>
                <a:gd name="connsiteX23" fmla="*/ 6149456 w 8635769"/>
                <a:gd name="connsiteY23" fmla="*/ 201839 h 847530"/>
                <a:gd name="connsiteX24" fmla="*/ 5183165 w 8635769"/>
                <a:gd name="connsiteY24" fmla="*/ 201839 h 847530"/>
                <a:gd name="connsiteX25" fmla="*/ 3456875 w 8635769"/>
                <a:gd name="connsiteY25" fmla="*/ 193333 h 847530"/>
                <a:gd name="connsiteX26" fmla="*/ 2371147 w 8635769"/>
                <a:gd name="connsiteY26" fmla="*/ 65870 h 847530"/>
                <a:gd name="connsiteX27" fmla="*/ 579715 w 8635769"/>
                <a:gd name="connsiteY27" fmla="*/ 57364 h 847530"/>
                <a:gd name="connsiteX28" fmla="*/ 39893 w 8635769"/>
                <a:gd name="connsiteY28" fmla="*/ 66415 h 847530"/>
                <a:gd name="connsiteX0" fmla="*/ 39893 w 8635769"/>
                <a:gd name="connsiteY0" fmla="*/ 66415 h 847528"/>
                <a:gd name="connsiteX1" fmla="*/ 5735 w 8635769"/>
                <a:gd name="connsiteY1" fmla="*/ 139144 h 847528"/>
                <a:gd name="connsiteX2" fmla="*/ 17955 w 8635769"/>
                <a:gd name="connsiteY2" fmla="*/ 350379 h 847528"/>
                <a:gd name="connsiteX3" fmla="*/ 32617 w 8635769"/>
                <a:gd name="connsiteY3" fmla="*/ 609625 h 847528"/>
                <a:gd name="connsiteX4" fmla="*/ 44834 w 8635769"/>
                <a:gd name="connsiteY4" fmla="*/ 686441 h 847528"/>
                <a:gd name="connsiteX5" fmla="*/ 81177 w 8635769"/>
                <a:gd name="connsiteY5" fmla="*/ 846591 h 847528"/>
                <a:gd name="connsiteX6" fmla="*/ 937978 w 8635769"/>
                <a:gd name="connsiteY6" fmla="*/ 754148 h 847528"/>
                <a:gd name="connsiteX7" fmla="*/ 1632837 w 8635769"/>
                <a:gd name="connsiteY7" fmla="*/ 788136 h 847528"/>
                <a:gd name="connsiteX8" fmla="*/ 2088847 w 8635769"/>
                <a:gd name="connsiteY8" fmla="*/ 728648 h 847528"/>
                <a:gd name="connsiteX9" fmla="*/ 2566569 w 8635769"/>
                <a:gd name="connsiteY9" fmla="*/ 728648 h 847528"/>
                <a:gd name="connsiteX10" fmla="*/ 3337438 w 8635769"/>
                <a:gd name="connsiteY10" fmla="*/ 771142 h 847528"/>
                <a:gd name="connsiteX11" fmla="*/ 4216874 w 8635769"/>
                <a:gd name="connsiteY11" fmla="*/ 754148 h 847528"/>
                <a:gd name="connsiteX12" fmla="*/ 4846592 w 8635769"/>
                <a:gd name="connsiteY12" fmla="*/ 762654 h 847528"/>
                <a:gd name="connsiteX13" fmla="*/ 5682602 w 8635769"/>
                <a:gd name="connsiteY13" fmla="*/ 762654 h 847528"/>
                <a:gd name="connsiteX14" fmla="*/ 6746615 w 8635769"/>
                <a:gd name="connsiteY14" fmla="*/ 788154 h 847528"/>
                <a:gd name="connsiteX15" fmla="*/ 7495770 w 8635769"/>
                <a:gd name="connsiteY15" fmla="*/ 779648 h 847528"/>
                <a:gd name="connsiteX16" fmla="*/ 8027765 w 8635769"/>
                <a:gd name="connsiteY16" fmla="*/ 771142 h 847528"/>
                <a:gd name="connsiteX17" fmla="*/ 8505488 w 8635769"/>
                <a:gd name="connsiteY17" fmla="*/ 737154 h 847528"/>
                <a:gd name="connsiteX18" fmla="*/ 8635769 w 8635769"/>
                <a:gd name="connsiteY18" fmla="*/ 754148 h 847528"/>
                <a:gd name="connsiteX19" fmla="*/ 8635769 w 8635769"/>
                <a:gd name="connsiteY19" fmla="*/ 133791 h 847528"/>
                <a:gd name="connsiteX20" fmla="*/ 8451193 w 8635769"/>
                <a:gd name="connsiteY20" fmla="*/ 65870 h 847528"/>
                <a:gd name="connsiteX21" fmla="*/ 7636897 w 8635769"/>
                <a:gd name="connsiteY21" fmla="*/ 14889 h 847528"/>
                <a:gd name="connsiteX22" fmla="*/ 7050606 w 8635769"/>
                <a:gd name="connsiteY22" fmla="*/ 108364 h 847528"/>
                <a:gd name="connsiteX23" fmla="*/ 6149456 w 8635769"/>
                <a:gd name="connsiteY23" fmla="*/ 201839 h 847528"/>
                <a:gd name="connsiteX24" fmla="*/ 5183165 w 8635769"/>
                <a:gd name="connsiteY24" fmla="*/ 201839 h 847528"/>
                <a:gd name="connsiteX25" fmla="*/ 3456875 w 8635769"/>
                <a:gd name="connsiteY25" fmla="*/ 193333 h 847528"/>
                <a:gd name="connsiteX26" fmla="*/ 2371147 w 8635769"/>
                <a:gd name="connsiteY26" fmla="*/ 65870 h 847528"/>
                <a:gd name="connsiteX27" fmla="*/ 579715 w 8635769"/>
                <a:gd name="connsiteY27" fmla="*/ 57364 h 847528"/>
                <a:gd name="connsiteX28" fmla="*/ 39893 w 8635769"/>
                <a:gd name="connsiteY28" fmla="*/ 66415 h 847528"/>
                <a:gd name="connsiteX0" fmla="*/ 36653 w 8632529"/>
                <a:gd name="connsiteY0" fmla="*/ 66415 h 847530"/>
                <a:gd name="connsiteX1" fmla="*/ 2495 w 8632529"/>
                <a:gd name="connsiteY1" fmla="*/ 139144 h 847530"/>
                <a:gd name="connsiteX2" fmla="*/ 14715 w 8632529"/>
                <a:gd name="connsiteY2" fmla="*/ 350379 h 847530"/>
                <a:gd name="connsiteX3" fmla="*/ 29377 w 8632529"/>
                <a:gd name="connsiteY3" fmla="*/ 609625 h 847530"/>
                <a:gd name="connsiteX4" fmla="*/ 41594 w 8632529"/>
                <a:gd name="connsiteY4" fmla="*/ 686441 h 847530"/>
                <a:gd name="connsiteX5" fmla="*/ 77937 w 8632529"/>
                <a:gd name="connsiteY5" fmla="*/ 846591 h 847530"/>
                <a:gd name="connsiteX6" fmla="*/ 934738 w 8632529"/>
                <a:gd name="connsiteY6" fmla="*/ 754148 h 847530"/>
                <a:gd name="connsiteX7" fmla="*/ 1629597 w 8632529"/>
                <a:gd name="connsiteY7" fmla="*/ 788136 h 847530"/>
                <a:gd name="connsiteX8" fmla="*/ 2085607 w 8632529"/>
                <a:gd name="connsiteY8" fmla="*/ 728648 h 847530"/>
                <a:gd name="connsiteX9" fmla="*/ 2563329 w 8632529"/>
                <a:gd name="connsiteY9" fmla="*/ 728648 h 847530"/>
                <a:gd name="connsiteX10" fmla="*/ 3334198 w 8632529"/>
                <a:gd name="connsiteY10" fmla="*/ 771142 h 847530"/>
                <a:gd name="connsiteX11" fmla="*/ 4213634 w 8632529"/>
                <a:gd name="connsiteY11" fmla="*/ 754148 h 847530"/>
                <a:gd name="connsiteX12" fmla="*/ 4843352 w 8632529"/>
                <a:gd name="connsiteY12" fmla="*/ 762654 h 847530"/>
                <a:gd name="connsiteX13" fmla="*/ 5679362 w 8632529"/>
                <a:gd name="connsiteY13" fmla="*/ 762654 h 847530"/>
                <a:gd name="connsiteX14" fmla="*/ 6743375 w 8632529"/>
                <a:gd name="connsiteY14" fmla="*/ 788154 h 847530"/>
                <a:gd name="connsiteX15" fmla="*/ 7492530 w 8632529"/>
                <a:gd name="connsiteY15" fmla="*/ 779648 h 847530"/>
                <a:gd name="connsiteX16" fmla="*/ 8024525 w 8632529"/>
                <a:gd name="connsiteY16" fmla="*/ 771142 h 847530"/>
                <a:gd name="connsiteX17" fmla="*/ 8502248 w 8632529"/>
                <a:gd name="connsiteY17" fmla="*/ 737154 h 847530"/>
                <a:gd name="connsiteX18" fmla="*/ 8632529 w 8632529"/>
                <a:gd name="connsiteY18" fmla="*/ 754148 h 847530"/>
                <a:gd name="connsiteX19" fmla="*/ 8632529 w 8632529"/>
                <a:gd name="connsiteY19" fmla="*/ 133791 h 847530"/>
                <a:gd name="connsiteX20" fmla="*/ 8447953 w 8632529"/>
                <a:gd name="connsiteY20" fmla="*/ 65870 h 847530"/>
                <a:gd name="connsiteX21" fmla="*/ 7633657 w 8632529"/>
                <a:gd name="connsiteY21" fmla="*/ 14889 h 847530"/>
                <a:gd name="connsiteX22" fmla="*/ 7047366 w 8632529"/>
                <a:gd name="connsiteY22" fmla="*/ 108364 h 847530"/>
                <a:gd name="connsiteX23" fmla="*/ 6146216 w 8632529"/>
                <a:gd name="connsiteY23" fmla="*/ 201839 h 847530"/>
                <a:gd name="connsiteX24" fmla="*/ 5179925 w 8632529"/>
                <a:gd name="connsiteY24" fmla="*/ 201839 h 847530"/>
                <a:gd name="connsiteX25" fmla="*/ 3453635 w 8632529"/>
                <a:gd name="connsiteY25" fmla="*/ 193333 h 847530"/>
                <a:gd name="connsiteX26" fmla="*/ 2367907 w 8632529"/>
                <a:gd name="connsiteY26" fmla="*/ 65870 h 847530"/>
                <a:gd name="connsiteX27" fmla="*/ 576475 w 8632529"/>
                <a:gd name="connsiteY27" fmla="*/ 57364 h 847530"/>
                <a:gd name="connsiteX28" fmla="*/ 36653 w 8632529"/>
                <a:gd name="connsiteY28" fmla="*/ 66415 h 847530"/>
                <a:gd name="connsiteX0" fmla="*/ 38923 w 8634799"/>
                <a:gd name="connsiteY0" fmla="*/ 66415 h 847528"/>
                <a:gd name="connsiteX1" fmla="*/ 4765 w 8634799"/>
                <a:gd name="connsiteY1" fmla="*/ 139144 h 847528"/>
                <a:gd name="connsiteX2" fmla="*/ 16985 w 8634799"/>
                <a:gd name="connsiteY2" fmla="*/ 350379 h 847528"/>
                <a:gd name="connsiteX3" fmla="*/ 31647 w 8634799"/>
                <a:gd name="connsiteY3" fmla="*/ 609625 h 847528"/>
                <a:gd name="connsiteX4" fmla="*/ 43864 w 8634799"/>
                <a:gd name="connsiteY4" fmla="*/ 686441 h 847528"/>
                <a:gd name="connsiteX5" fmla="*/ 80207 w 8634799"/>
                <a:gd name="connsiteY5" fmla="*/ 846591 h 847528"/>
                <a:gd name="connsiteX6" fmla="*/ 937008 w 8634799"/>
                <a:gd name="connsiteY6" fmla="*/ 754148 h 847528"/>
                <a:gd name="connsiteX7" fmla="*/ 1631867 w 8634799"/>
                <a:gd name="connsiteY7" fmla="*/ 788136 h 847528"/>
                <a:gd name="connsiteX8" fmla="*/ 2087877 w 8634799"/>
                <a:gd name="connsiteY8" fmla="*/ 728648 h 847528"/>
                <a:gd name="connsiteX9" fmla="*/ 2565599 w 8634799"/>
                <a:gd name="connsiteY9" fmla="*/ 728648 h 847528"/>
                <a:gd name="connsiteX10" fmla="*/ 3336468 w 8634799"/>
                <a:gd name="connsiteY10" fmla="*/ 771142 h 847528"/>
                <a:gd name="connsiteX11" fmla="*/ 4215904 w 8634799"/>
                <a:gd name="connsiteY11" fmla="*/ 754148 h 847528"/>
                <a:gd name="connsiteX12" fmla="*/ 4845622 w 8634799"/>
                <a:gd name="connsiteY12" fmla="*/ 762654 h 847528"/>
                <a:gd name="connsiteX13" fmla="*/ 5681632 w 8634799"/>
                <a:gd name="connsiteY13" fmla="*/ 762654 h 847528"/>
                <a:gd name="connsiteX14" fmla="*/ 6745645 w 8634799"/>
                <a:gd name="connsiteY14" fmla="*/ 788154 h 847528"/>
                <a:gd name="connsiteX15" fmla="*/ 7494800 w 8634799"/>
                <a:gd name="connsiteY15" fmla="*/ 779648 h 847528"/>
                <a:gd name="connsiteX16" fmla="*/ 8026795 w 8634799"/>
                <a:gd name="connsiteY16" fmla="*/ 771142 h 847528"/>
                <a:gd name="connsiteX17" fmla="*/ 8504518 w 8634799"/>
                <a:gd name="connsiteY17" fmla="*/ 737154 h 847528"/>
                <a:gd name="connsiteX18" fmla="*/ 8634799 w 8634799"/>
                <a:gd name="connsiteY18" fmla="*/ 754148 h 847528"/>
                <a:gd name="connsiteX19" fmla="*/ 8634799 w 8634799"/>
                <a:gd name="connsiteY19" fmla="*/ 133791 h 847528"/>
                <a:gd name="connsiteX20" fmla="*/ 8450223 w 8634799"/>
                <a:gd name="connsiteY20" fmla="*/ 65870 h 847528"/>
                <a:gd name="connsiteX21" fmla="*/ 7635927 w 8634799"/>
                <a:gd name="connsiteY21" fmla="*/ 14889 h 847528"/>
                <a:gd name="connsiteX22" fmla="*/ 7049636 w 8634799"/>
                <a:gd name="connsiteY22" fmla="*/ 108364 h 847528"/>
                <a:gd name="connsiteX23" fmla="*/ 6148486 w 8634799"/>
                <a:gd name="connsiteY23" fmla="*/ 201839 h 847528"/>
                <a:gd name="connsiteX24" fmla="*/ 5182195 w 8634799"/>
                <a:gd name="connsiteY24" fmla="*/ 201839 h 847528"/>
                <a:gd name="connsiteX25" fmla="*/ 3455905 w 8634799"/>
                <a:gd name="connsiteY25" fmla="*/ 193333 h 847528"/>
                <a:gd name="connsiteX26" fmla="*/ 2370177 w 8634799"/>
                <a:gd name="connsiteY26" fmla="*/ 65870 h 847528"/>
                <a:gd name="connsiteX27" fmla="*/ 578745 w 8634799"/>
                <a:gd name="connsiteY27" fmla="*/ 57364 h 847528"/>
                <a:gd name="connsiteX28" fmla="*/ 38923 w 8634799"/>
                <a:gd name="connsiteY28" fmla="*/ 66415 h 847528"/>
                <a:gd name="connsiteX0" fmla="*/ 38923 w 8634799"/>
                <a:gd name="connsiteY0" fmla="*/ 66415 h 847530"/>
                <a:gd name="connsiteX1" fmla="*/ 4765 w 8634799"/>
                <a:gd name="connsiteY1" fmla="*/ 139144 h 847530"/>
                <a:gd name="connsiteX2" fmla="*/ 16985 w 8634799"/>
                <a:gd name="connsiteY2" fmla="*/ 350379 h 847530"/>
                <a:gd name="connsiteX3" fmla="*/ 31647 w 8634799"/>
                <a:gd name="connsiteY3" fmla="*/ 609625 h 847530"/>
                <a:gd name="connsiteX4" fmla="*/ 43864 w 8634799"/>
                <a:gd name="connsiteY4" fmla="*/ 686441 h 847530"/>
                <a:gd name="connsiteX5" fmla="*/ 80207 w 8634799"/>
                <a:gd name="connsiteY5" fmla="*/ 846591 h 847530"/>
                <a:gd name="connsiteX6" fmla="*/ 937008 w 8634799"/>
                <a:gd name="connsiteY6" fmla="*/ 754148 h 847530"/>
                <a:gd name="connsiteX7" fmla="*/ 1631867 w 8634799"/>
                <a:gd name="connsiteY7" fmla="*/ 788136 h 847530"/>
                <a:gd name="connsiteX8" fmla="*/ 2087877 w 8634799"/>
                <a:gd name="connsiteY8" fmla="*/ 728648 h 847530"/>
                <a:gd name="connsiteX9" fmla="*/ 2565599 w 8634799"/>
                <a:gd name="connsiteY9" fmla="*/ 728648 h 847530"/>
                <a:gd name="connsiteX10" fmla="*/ 3336468 w 8634799"/>
                <a:gd name="connsiteY10" fmla="*/ 771142 h 847530"/>
                <a:gd name="connsiteX11" fmla="*/ 4215904 w 8634799"/>
                <a:gd name="connsiteY11" fmla="*/ 754148 h 847530"/>
                <a:gd name="connsiteX12" fmla="*/ 4845622 w 8634799"/>
                <a:gd name="connsiteY12" fmla="*/ 762654 h 847530"/>
                <a:gd name="connsiteX13" fmla="*/ 5681632 w 8634799"/>
                <a:gd name="connsiteY13" fmla="*/ 762654 h 847530"/>
                <a:gd name="connsiteX14" fmla="*/ 6745645 w 8634799"/>
                <a:gd name="connsiteY14" fmla="*/ 788154 h 847530"/>
                <a:gd name="connsiteX15" fmla="*/ 7494800 w 8634799"/>
                <a:gd name="connsiteY15" fmla="*/ 779648 h 847530"/>
                <a:gd name="connsiteX16" fmla="*/ 8026795 w 8634799"/>
                <a:gd name="connsiteY16" fmla="*/ 771142 h 847530"/>
                <a:gd name="connsiteX17" fmla="*/ 8504518 w 8634799"/>
                <a:gd name="connsiteY17" fmla="*/ 737154 h 847530"/>
                <a:gd name="connsiteX18" fmla="*/ 8634799 w 8634799"/>
                <a:gd name="connsiteY18" fmla="*/ 754148 h 847530"/>
                <a:gd name="connsiteX19" fmla="*/ 8634799 w 8634799"/>
                <a:gd name="connsiteY19" fmla="*/ 133791 h 847530"/>
                <a:gd name="connsiteX20" fmla="*/ 8450223 w 8634799"/>
                <a:gd name="connsiteY20" fmla="*/ 65870 h 847530"/>
                <a:gd name="connsiteX21" fmla="*/ 7635927 w 8634799"/>
                <a:gd name="connsiteY21" fmla="*/ 14889 h 847530"/>
                <a:gd name="connsiteX22" fmla="*/ 7049636 w 8634799"/>
                <a:gd name="connsiteY22" fmla="*/ 108364 h 847530"/>
                <a:gd name="connsiteX23" fmla="*/ 6132068 w 8634799"/>
                <a:gd name="connsiteY23" fmla="*/ 131955 h 847530"/>
                <a:gd name="connsiteX24" fmla="*/ 5182195 w 8634799"/>
                <a:gd name="connsiteY24" fmla="*/ 201839 h 847530"/>
                <a:gd name="connsiteX25" fmla="*/ 3455905 w 8634799"/>
                <a:gd name="connsiteY25" fmla="*/ 193333 h 847530"/>
                <a:gd name="connsiteX26" fmla="*/ 2370177 w 8634799"/>
                <a:gd name="connsiteY26" fmla="*/ 65870 h 847530"/>
                <a:gd name="connsiteX27" fmla="*/ 578745 w 8634799"/>
                <a:gd name="connsiteY27" fmla="*/ 57364 h 847530"/>
                <a:gd name="connsiteX28" fmla="*/ 38923 w 8634799"/>
                <a:gd name="connsiteY28" fmla="*/ 66415 h 847530"/>
                <a:gd name="connsiteX0" fmla="*/ 38923 w 8634799"/>
                <a:gd name="connsiteY0" fmla="*/ 66415 h 847528"/>
                <a:gd name="connsiteX1" fmla="*/ 4765 w 8634799"/>
                <a:gd name="connsiteY1" fmla="*/ 139144 h 847528"/>
                <a:gd name="connsiteX2" fmla="*/ 16985 w 8634799"/>
                <a:gd name="connsiteY2" fmla="*/ 350379 h 847528"/>
                <a:gd name="connsiteX3" fmla="*/ 31647 w 8634799"/>
                <a:gd name="connsiteY3" fmla="*/ 609625 h 847528"/>
                <a:gd name="connsiteX4" fmla="*/ 43864 w 8634799"/>
                <a:gd name="connsiteY4" fmla="*/ 686441 h 847528"/>
                <a:gd name="connsiteX5" fmla="*/ 80207 w 8634799"/>
                <a:gd name="connsiteY5" fmla="*/ 846591 h 847528"/>
                <a:gd name="connsiteX6" fmla="*/ 937008 w 8634799"/>
                <a:gd name="connsiteY6" fmla="*/ 754148 h 847528"/>
                <a:gd name="connsiteX7" fmla="*/ 1631867 w 8634799"/>
                <a:gd name="connsiteY7" fmla="*/ 788136 h 847528"/>
                <a:gd name="connsiteX8" fmla="*/ 2087877 w 8634799"/>
                <a:gd name="connsiteY8" fmla="*/ 728648 h 847528"/>
                <a:gd name="connsiteX9" fmla="*/ 2565599 w 8634799"/>
                <a:gd name="connsiteY9" fmla="*/ 728648 h 847528"/>
                <a:gd name="connsiteX10" fmla="*/ 3336468 w 8634799"/>
                <a:gd name="connsiteY10" fmla="*/ 771142 h 847528"/>
                <a:gd name="connsiteX11" fmla="*/ 4215904 w 8634799"/>
                <a:gd name="connsiteY11" fmla="*/ 754148 h 847528"/>
                <a:gd name="connsiteX12" fmla="*/ 4845622 w 8634799"/>
                <a:gd name="connsiteY12" fmla="*/ 762654 h 847528"/>
                <a:gd name="connsiteX13" fmla="*/ 5681632 w 8634799"/>
                <a:gd name="connsiteY13" fmla="*/ 762654 h 847528"/>
                <a:gd name="connsiteX14" fmla="*/ 6745645 w 8634799"/>
                <a:gd name="connsiteY14" fmla="*/ 788154 h 847528"/>
                <a:gd name="connsiteX15" fmla="*/ 7494800 w 8634799"/>
                <a:gd name="connsiteY15" fmla="*/ 779648 h 847528"/>
                <a:gd name="connsiteX16" fmla="*/ 8026795 w 8634799"/>
                <a:gd name="connsiteY16" fmla="*/ 771142 h 847528"/>
                <a:gd name="connsiteX17" fmla="*/ 8504518 w 8634799"/>
                <a:gd name="connsiteY17" fmla="*/ 737154 h 847528"/>
                <a:gd name="connsiteX18" fmla="*/ 8634799 w 8634799"/>
                <a:gd name="connsiteY18" fmla="*/ 754148 h 847528"/>
                <a:gd name="connsiteX19" fmla="*/ 8634799 w 8634799"/>
                <a:gd name="connsiteY19" fmla="*/ 133791 h 847528"/>
                <a:gd name="connsiteX20" fmla="*/ 8450223 w 8634799"/>
                <a:gd name="connsiteY20" fmla="*/ 65870 h 847528"/>
                <a:gd name="connsiteX21" fmla="*/ 7635927 w 8634799"/>
                <a:gd name="connsiteY21" fmla="*/ 14889 h 847528"/>
                <a:gd name="connsiteX22" fmla="*/ 7049636 w 8634799"/>
                <a:gd name="connsiteY22" fmla="*/ 108364 h 847528"/>
                <a:gd name="connsiteX23" fmla="*/ 6132068 w 8634799"/>
                <a:gd name="connsiteY23" fmla="*/ 131955 h 847528"/>
                <a:gd name="connsiteX24" fmla="*/ 5182195 w 8634799"/>
                <a:gd name="connsiteY24" fmla="*/ 201839 h 847528"/>
                <a:gd name="connsiteX25" fmla="*/ 3455905 w 8634799"/>
                <a:gd name="connsiteY25" fmla="*/ 193333 h 847528"/>
                <a:gd name="connsiteX26" fmla="*/ 2370177 w 8634799"/>
                <a:gd name="connsiteY26" fmla="*/ 65870 h 847528"/>
                <a:gd name="connsiteX27" fmla="*/ 578745 w 8634799"/>
                <a:gd name="connsiteY27" fmla="*/ 57364 h 847528"/>
                <a:gd name="connsiteX28" fmla="*/ 38923 w 8634799"/>
                <a:gd name="connsiteY28" fmla="*/ 66415 h 847528"/>
                <a:gd name="connsiteX0" fmla="*/ 38923 w 8634799"/>
                <a:gd name="connsiteY0" fmla="*/ 66415 h 847530"/>
                <a:gd name="connsiteX1" fmla="*/ 4765 w 8634799"/>
                <a:gd name="connsiteY1" fmla="*/ 139144 h 847530"/>
                <a:gd name="connsiteX2" fmla="*/ 16985 w 8634799"/>
                <a:gd name="connsiteY2" fmla="*/ 350379 h 847530"/>
                <a:gd name="connsiteX3" fmla="*/ 31647 w 8634799"/>
                <a:gd name="connsiteY3" fmla="*/ 609625 h 847530"/>
                <a:gd name="connsiteX4" fmla="*/ 43864 w 8634799"/>
                <a:gd name="connsiteY4" fmla="*/ 686441 h 847530"/>
                <a:gd name="connsiteX5" fmla="*/ 80207 w 8634799"/>
                <a:gd name="connsiteY5" fmla="*/ 846591 h 847530"/>
                <a:gd name="connsiteX6" fmla="*/ 937008 w 8634799"/>
                <a:gd name="connsiteY6" fmla="*/ 754148 h 847530"/>
                <a:gd name="connsiteX7" fmla="*/ 1631867 w 8634799"/>
                <a:gd name="connsiteY7" fmla="*/ 788136 h 847530"/>
                <a:gd name="connsiteX8" fmla="*/ 2087877 w 8634799"/>
                <a:gd name="connsiteY8" fmla="*/ 728648 h 847530"/>
                <a:gd name="connsiteX9" fmla="*/ 2565599 w 8634799"/>
                <a:gd name="connsiteY9" fmla="*/ 728648 h 847530"/>
                <a:gd name="connsiteX10" fmla="*/ 3336468 w 8634799"/>
                <a:gd name="connsiteY10" fmla="*/ 771142 h 847530"/>
                <a:gd name="connsiteX11" fmla="*/ 4215904 w 8634799"/>
                <a:gd name="connsiteY11" fmla="*/ 754148 h 847530"/>
                <a:gd name="connsiteX12" fmla="*/ 4845622 w 8634799"/>
                <a:gd name="connsiteY12" fmla="*/ 762654 h 847530"/>
                <a:gd name="connsiteX13" fmla="*/ 5681632 w 8634799"/>
                <a:gd name="connsiteY13" fmla="*/ 762654 h 847530"/>
                <a:gd name="connsiteX14" fmla="*/ 6745645 w 8634799"/>
                <a:gd name="connsiteY14" fmla="*/ 788154 h 847530"/>
                <a:gd name="connsiteX15" fmla="*/ 7494800 w 8634799"/>
                <a:gd name="connsiteY15" fmla="*/ 779648 h 847530"/>
                <a:gd name="connsiteX16" fmla="*/ 8026795 w 8634799"/>
                <a:gd name="connsiteY16" fmla="*/ 771142 h 847530"/>
                <a:gd name="connsiteX17" fmla="*/ 8504518 w 8634799"/>
                <a:gd name="connsiteY17" fmla="*/ 737154 h 847530"/>
                <a:gd name="connsiteX18" fmla="*/ 8634799 w 8634799"/>
                <a:gd name="connsiteY18" fmla="*/ 754148 h 847530"/>
                <a:gd name="connsiteX19" fmla="*/ 8634799 w 8634799"/>
                <a:gd name="connsiteY19" fmla="*/ 133791 h 847530"/>
                <a:gd name="connsiteX20" fmla="*/ 8450223 w 8634799"/>
                <a:gd name="connsiteY20" fmla="*/ 65870 h 847530"/>
                <a:gd name="connsiteX21" fmla="*/ 7635927 w 8634799"/>
                <a:gd name="connsiteY21" fmla="*/ 14889 h 847530"/>
                <a:gd name="connsiteX22" fmla="*/ 7049636 w 8634799"/>
                <a:gd name="connsiteY22" fmla="*/ 108364 h 847530"/>
                <a:gd name="connsiteX23" fmla="*/ 6132068 w 8634799"/>
                <a:gd name="connsiteY23" fmla="*/ 131955 h 847530"/>
                <a:gd name="connsiteX24" fmla="*/ 5182195 w 8634799"/>
                <a:gd name="connsiteY24" fmla="*/ 201839 h 847530"/>
                <a:gd name="connsiteX25" fmla="*/ 3455905 w 8634799"/>
                <a:gd name="connsiteY25" fmla="*/ 193333 h 847530"/>
                <a:gd name="connsiteX26" fmla="*/ 2370177 w 8634799"/>
                <a:gd name="connsiteY26" fmla="*/ 65870 h 847530"/>
                <a:gd name="connsiteX27" fmla="*/ 578745 w 8634799"/>
                <a:gd name="connsiteY27" fmla="*/ 57364 h 847530"/>
                <a:gd name="connsiteX28" fmla="*/ 38923 w 8634799"/>
                <a:gd name="connsiteY28" fmla="*/ 66415 h 847530"/>
                <a:gd name="connsiteX0" fmla="*/ 38923 w 8634799"/>
                <a:gd name="connsiteY0" fmla="*/ 66415 h 847528"/>
                <a:gd name="connsiteX1" fmla="*/ 4765 w 8634799"/>
                <a:gd name="connsiteY1" fmla="*/ 139144 h 847528"/>
                <a:gd name="connsiteX2" fmla="*/ 16985 w 8634799"/>
                <a:gd name="connsiteY2" fmla="*/ 350379 h 847528"/>
                <a:gd name="connsiteX3" fmla="*/ 31647 w 8634799"/>
                <a:gd name="connsiteY3" fmla="*/ 609625 h 847528"/>
                <a:gd name="connsiteX4" fmla="*/ 43864 w 8634799"/>
                <a:gd name="connsiteY4" fmla="*/ 686441 h 847528"/>
                <a:gd name="connsiteX5" fmla="*/ 80207 w 8634799"/>
                <a:gd name="connsiteY5" fmla="*/ 846591 h 847528"/>
                <a:gd name="connsiteX6" fmla="*/ 937008 w 8634799"/>
                <a:gd name="connsiteY6" fmla="*/ 754148 h 847528"/>
                <a:gd name="connsiteX7" fmla="*/ 1631867 w 8634799"/>
                <a:gd name="connsiteY7" fmla="*/ 788136 h 847528"/>
                <a:gd name="connsiteX8" fmla="*/ 2087877 w 8634799"/>
                <a:gd name="connsiteY8" fmla="*/ 728648 h 847528"/>
                <a:gd name="connsiteX9" fmla="*/ 2565599 w 8634799"/>
                <a:gd name="connsiteY9" fmla="*/ 728648 h 847528"/>
                <a:gd name="connsiteX10" fmla="*/ 3336468 w 8634799"/>
                <a:gd name="connsiteY10" fmla="*/ 771142 h 847528"/>
                <a:gd name="connsiteX11" fmla="*/ 4215904 w 8634799"/>
                <a:gd name="connsiteY11" fmla="*/ 754148 h 847528"/>
                <a:gd name="connsiteX12" fmla="*/ 4845622 w 8634799"/>
                <a:gd name="connsiteY12" fmla="*/ 762654 h 847528"/>
                <a:gd name="connsiteX13" fmla="*/ 5681632 w 8634799"/>
                <a:gd name="connsiteY13" fmla="*/ 762654 h 847528"/>
                <a:gd name="connsiteX14" fmla="*/ 6745645 w 8634799"/>
                <a:gd name="connsiteY14" fmla="*/ 788154 h 847528"/>
                <a:gd name="connsiteX15" fmla="*/ 7494800 w 8634799"/>
                <a:gd name="connsiteY15" fmla="*/ 779648 h 847528"/>
                <a:gd name="connsiteX16" fmla="*/ 8026795 w 8634799"/>
                <a:gd name="connsiteY16" fmla="*/ 771142 h 847528"/>
                <a:gd name="connsiteX17" fmla="*/ 8504518 w 8634799"/>
                <a:gd name="connsiteY17" fmla="*/ 737154 h 847528"/>
                <a:gd name="connsiteX18" fmla="*/ 8634799 w 8634799"/>
                <a:gd name="connsiteY18" fmla="*/ 754148 h 847528"/>
                <a:gd name="connsiteX19" fmla="*/ 8634799 w 8634799"/>
                <a:gd name="connsiteY19" fmla="*/ 133791 h 847528"/>
                <a:gd name="connsiteX20" fmla="*/ 8450223 w 8634799"/>
                <a:gd name="connsiteY20" fmla="*/ 65870 h 847528"/>
                <a:gd name="connsiteX21" fmla="*/ 7635927 w 8634799"/>
                <a:gd name="connsiteY21" fmla="*/ 14889 h 847528"/>
                <a:gd name="connsiteX22" fmla="*/ 7049636 w 8634799"/>
                <a:gd name="connsiteY22" fmla="*/ 108364 h 847528"/>
                <a:gd name="connsiteX23" fmla="*/ 6342549 w 8634799"/>
                <a:gd name="connsiteY23" fmla="*/ 55805 h 847528"/>
                <a:gd name="connsiteX24" fmla="*/ 6132068 w 8634799"/>
                <a:gd name="connsiteY24" fmla="*/ 131955 h 847528"/>
                <a:gd name="connsiteX25" fmla="*/ 5182195 w 8634799"/>
                <a:gd name="connsiteY25" fmla="*/ 201839 h 847528"/>
                <a:gd name="connsiteX26" fmla="*/ 3455905 w 8634799"/>
                <a:gd name="connsiteY26" fmla="*/ 193333 h 847528"/>
                <a:gd name="connsiteX27" fmla="*/ 2370177 w 8634799"/>
                <a:gd name="connsiteY27" fmla="*/ 65870 h 847528"/>
                <a:gd name="connsiteX28" fmla="*/ 578745 w 8634799"/>
                <a:gd name="connsiteY28" fmla="*/ 57364 h 847528"/>
                <a:gd name="connsiteX29" fmla="*/ 38923 w 8634799"/>
                <a:gd name="connsiteY29" fmla="*/ 66415 h 847528"/>
                <a:gd name="connsiteX0" fmla="*/ 38923 w 8634799"/>
                <a:gd name="connsiteY0" fmla="*/ 66415 h 847530"/>
                <a:gd name="connsiteX1" fmla="*/ 4765 w 8634799"/>
                <a:gd name="connsiteY1" fmla="*/ 139144 h 847530"/>
                <a:gd name="connsiteX2" fmla="*/ 16985 w 8634799"/>
                <a:gd name="connsiteY2" fmla="*/ 350379 h 847530"/>
                <a:gd name="connsiteX3" fmla="*/ 31647 w 8634799"/>
                <a:gd name="connsiteY3" fmla="*/ 609625 h 847530"/>
                <a:gd name="connsiteX4" fmla="*/ 43864 w 8634799"/>
                <a:gd name="connsiteY4" fmla="*/ 686441 h 847530"/>
                <a:gd name="connsiteX5" fmla="*/ 80207 w 8634799"/>
                <a:gd name="connsiteY5" fmla="*/ 846591 h 847530"/>
                <a:gd name="connsiteX6" fmla="*/ 937008 w 8634799"/>
                <a:gd name="connsiteY6" fmla="*/ 754148 h 847530"/>
                <a:gd name="connsiteX7" fmla="*/ 1631867 w 8634799"/>
                <a:gd name="connsiteY7" fmla="*/ 788136 h 847530"/>
                <a:gd name="connsiteX8" fmla="*/ 2087877 w 8634799"/>
                <a:gd name="connsiteY8" fmla="*/ 728648 h 847530"/>
                <a:gd name="connsiteX9" fmla="*/ 2565599 w 8634799"/>
                <a:gd name="connsiteY9" fmla="*/ 728648 h 847530"/>
                <a:gd name="connsiteX10" fmla="*/ 3336468 w 8634799"/>
                <a:gd name="connsiteY10" fmla="*/ 771142 h 847530"/>
                <a:gd name="connsiteX11" fmla="*/ 4215904 w 8634799"/>
                <a:gd name="connsiteY11" fmla="*/ 754148 h 847530"/>
                <a:gd name="connsiteX12" fmla="*/ 4845622 w 8634799"/>
                <a:gd name="connsiteY12" fmla="*/ 762654 h 847530"/>
                <a:gd name="connsiteX13" fmla="*/ 5681632 w 8634799"/>
                <a:gd name="connsiteY13" fmla="*/ 762654 h 847530"/>
                <a:gd name="connsiteX14" fmla="*/ 6745645 w 8634799"/>
                <a:gd name="connsiteY14" fmla="*/ 788154 h 847530"/>
                <a:gd name="connsiteX15" fmla="*/ 7494800 w 8634799"/>
                <a:gd name="connsiteY15" fmla="*/ 779648 h 847530"/>
                <a:gd name="connsiteX16" fmla="*/ 8026795 w 8634799"/>
                <a:gd name="connsiteY16" fmla="*/ 771142 h 847530"/>
                <a:gd name="connsiteX17" fmla="*/ 8504518 w 8634799"/>
                <a:gd name="connsiteY17" fmla="*/ 737154 h 847530"/>
                <a:gd name="connsiteX18" fmla="*/ 8634799 w 8634799"/>
                <a:gd name="connsiteY18" fmla="*/ 754148 h 847530"/>
                <a:gd name="connsiteX19" fmla="*/ 8634799 w 8634799"/>
                <a:gd name="connsiteY19" fmla="*/ 133791 h 847530"/>
                <a:gd name="connsiteX20" fmla="*/ 8450223 w 8634799"/>
                <a:gd name="connsiteY20" fmla="*/ 65870 h 847530"/>
                <a:gd name="connsiteX21" fmla="*/ 7635927 w 8634799"/>
                <a:gd name="connsiteY21" fmla="*/ 14889 h 847530"/>
                <a:gd name="connsiteX22" fmla="*/ 7049636 w 8634799"/>
                <a:gd name="connsiteY22" fmla="*/ 108364 h 847530"/>
                <a:gd name="connsiteX23" fmla="*/ 6342549 w 8634799"/>
                <a:gd name="connsiteY23" fmla="*/ 55805 h 847530"/>
                <a:gd name="connsiteX24" fmla="*/ 6132068 w 8634799"/>
                <a:gd name="connsiteY24" fmla="*/ 131955 h 847530"/>
                <a:gd name="connsiteX25" fmla="*/ 5182195 w 8634799"/>
                <a:gd name="connsiteY25" fmla="*/ 201839 h 847530"/>
                <a:gd name="connsiteX26" fmla="*/ 3455905 w 8634799"/>
                <a:gd name="connsiteY26" fmla="*/ 193333 h 847530"/>
                <a:gd name="connsiteX27" fmla="*/ 2370177 w 8634799"/>
                <a:gd name="connsiteY27" fmla="*/ 65870 h 847530"/>
                <a:gd name="connsiteX28" fmla="*/ 578745 w 8634799"/>
                <a:gd name="connsiteY28" fmla="*/ 57364 h 847530"/>
                <a:gd name="connsiteX29" fmla="*/ 38923 w 8634799"/>
                <a:gd name="connsiteY29" fmla="*/ 66415 h 847530"/>
                <a:gd name="connsiteX0" fmla="*/ 38923 w 8634799"/>
                <a:gd name="connsiteY0" fmla="*/ 66415 h 847528"/>
                <a:gd name="connsiteX1" fmla="*/ 4765 w 8634799"/>
                <a:gd name="connsiteY1" fmla="*/ 139144 h 847528"/>
                <a:gd name="connsiteX2" fmla="*/ 16985 w 8634799"/>
                <a:gd name="connsiteY2" fmla="*/ 350379 h 847528"/>
                <a:gd name="connsiteX3" fmla="*/ 31647 w 8634799"/>
                <a:gd name="connsiteY3" fmla="*/ 609625 h 847528"/>
                <a:gd name="connsiteX4" fmla="*/ 43864 w 8634799"/>
                <a:gd name="connsiteY4" fmla="*/ 686441 h 847528"/>
                <a:gd name="connsiteX5" fmla="*/ 80207 w 8634799"/>
                <a:gd name="connsiteY5" fmla="*/ 846591 h 847528"/>
                <a:gd name="connsiteX6" fmla="*/ 937008 w 8634799"/>
                <a:gd name="connsiteY6" fmla="*/ 754148 h 847528"/>
                <a:gd name="connsiteX7" fmla="*/ 1631867 w 8634799"/>
                <a:gd name="connsiteY7" fmla="*/ 788136 h 847528"/>
                <a:gd name="connsiteX8" fmla="*/ 2087877 w 8634799"/>
                <a:gd name="connsiteY8" fmla="*/ 728648 h 847528"/>
                <a:gd name="connsiteX9" fmla="*/ 2565599 w 8634799"/>
                <a:gd name="connsiteY9" fmla="*/ 728648 h 847528"/>
                <a:gd name="connsiteX10" fmla="*/ 3336468 w 8634799"/>
                <a:gd name="connsiteY10" fmla="*/ 771142 h 847528"/>
                <a:gd name="connsiteX11" fmla="*/ 4215904 w 8634799"/>
                <a:gd name="connsiteY11" fmla="*/ 754148 h 847528"/>
                <a:gd name="connsiteX12" fmla="*/ 4845622 w 8634799"/>
                <a:gd name="connsiteY12" fmla="*/ 762654 h 847528"/>
                <a:gd name="connsiteX13" fmla="*/ 5681632 w 8634799"/>
                <a:gd name="connsiteY13" fmla="*/ 762654 h 847528"/>
                <a:gd name="connsiteX14" fmla="*/ 6745645 w 8634799"/>
                <a:gd name="connsiteY14" fmla="*/ 788154 h 847528"/>
                <a:gd name="connsiteX15" fmla="*/ 7494800 w 8634799"/>
                <a:gd name="connsiteY15" fmla="*/ 779648 h 847528"/>
                <a:gd name="connsiteX16" fmla="*/ 8026795 w 8634799"/>
                <a:gd name="connsiteY16" fmla="*/ 771142 h 847528"/>
                <a:gd name="connsiteX17" fmla="*/ 8504518 w 8634799"/>
                <a:gd name="connsiteY17" fmla="*/ 737154 h 847528"/>
                <a:gd name="connsiteX18" fmla="*/ 8634799 w 8634799"/>
                <a:gd name="connsiteY18" fmla="*/ 754148 h 847528"/>
                <a:gd name="connsiteX19" fmla="*/ 8634799 w 8634799"/>
                <a:gd name="connsiteY19" fmla="*/ 133791 h 847528"/>
                <a:gd name="connsiteX20" fmla="*/ 8450223 w 8634799"/>
                <a:gd name="connsiteY20" fmla="*/ 65870 h 847528"/>
                <a:gd name="connsiteX21" fmla="*/ 7635927 w 8634799"/>
                <a:gd name="connsiteY21" fmla="*/ 14889 h 847528"/>
                <a:gd name="connsiteX22" fmla="*/ 7049636 w 8634799"/>
                <a:gd name="connsiteY22" fmla="*/ 108364 h 847528"/>
                <a:gd name="connsiteX23" fmla="*/ 6342549 w 8634799"/>
                <a:gd name="connsiteY23" fmla="*/ 55805 h 847528"/>
                <a:gd name="connsiteX24" fmla="*/ 5902209 w 8634799"/>
                <a:gd name="connsiteY24" fmla="*/ 158833 h 847528"/>
                <a:gd name="connsiteX25" fmla="*/ 5182195 w 8634799"/>
                <a:gd name="connsiteY25" fmla="*/ 201839 h 847528"/>
                <a:gd name="connsiteX26" fmla="*/ 3455905 w 8634799"/>
                <a:gd name="connsiteY26" fmla="*/ 193333 h 847528"/>
                <a:gd name="connsiteX27" fmla="*/ 2370177 w 8634799"/>
                <a:gd name="connsiteY27" fmla="*/ 65870 h 847528"/>
                <a:gd name="connsiteX28" fmla="*/ 578745 w 8634799"/>
                <a:gd name="connsiteY28" fmla="*/ 57364 h 847528"/>
                <a:gd name="connsiteX29" fmla="*/ 38923 w 8634799"/>
                <a:gd name="connsiteY29" fmla="*/ 66415 h 847528"/>
                <a:gd name="connsiteX0" fmla="*/ 38923 w 8634799"/>
                <a:gd name="connsiteY0" fmla="*/ 111866 h 892981"/>
                <a:gd name="connsiteX1" fmla="*/ 4765 w 8634799"/>
                <a:gd name="connsiteY1" fmla="*/ 184595 h 892981"/>
                <a:gd name="connsiteX2" fmla="*/ 16985 w 8634799"/>
                <a:gd name="connsiteY2" fmla="*/ 395830 h 892981"/>
                <a:gd name="connsiteX3" fmla="*/ 31647 w 8634799"/>
                <a:gd name="connsiteY3" fmla="*/ 655076 h 892981"/>
                <a:gd name="connsiteX4" fmla="*/ 43864 w 8634799"/>
                <a:gd name="connsiteY4" fmla="*/ 731892 h 892981"/>
                <a:gd name="connsiteX5" fmla="*/ 80207 w 8634799"/>
                <a:gd name="connsiteY5" fmla="*/ 892042 h 892981"/>
                <a:gd name="connsiteX6" fmla="*/ 937008 w 8634799"/>
                <a:gd name="connsiteY6" fmla="*/ 799599 h 892981"/>
                <a:gd name="connsiteX7" fmla="*/ 1631867 w 8634799"/>
                <a:gd name="connsiteY7" fmla="*/ 833587 h 892981"/>
                <a:gd name="connsiteX8" fmla="*/ 2087877 w 8634799"/>
                <a:gd name="connsiteY8" fmla="*/ 774099 h 892981"/>
                <a:gd name="connsiteX9" fmla="*/ 2565599 w 8634799"/>
                <a:gd name="connsiteY9" fmla="*/ 774099 h 892981"/>
                <a:gd name="connsiteX10" fmla="*/ 3336468 w 8634799"/>
                <a:gd name="connsiteY10" fmla="*/ 816593 h 892981"/>
                <a:gd name="connsiteX11" fmla="*/ 4215904 w 8634799"/>
                <a:gd name="connsiteY11" fmla="*/ 799599 h 892981"/>
                <a:gd name="connsiteX12" fmla="*/ 4845622 w 8634799"/>
                <a:gd name="connsiteY12" fmla="*/ 808105 h 892981"/>
                <a:gd name="connsiteX13" fmla="*/ 5681632 w 8634799"/>
                <a:gd name="connsiteY13" fmla="*/ 808105 h 892981"/>
                <a:gd name="connsiteX14" fmla="*/ 6745645 w 8634799"/>
                <a:gd name="connsiteY14" fmla="*/ 833605 h 892981"/>
                <a:gd name="connsiteX15" fmla="*/ 7494800 w 8634799"/>
                <a:gd name="connsiteY15" fmla="*/ 825099 h 892981"/>
                <a:gd name="connsiteX16" fmla="*/ 8026795 w 8634799"/>
                <a:gd name="connsiteY16" fmla="*/ 816593 h 892981"/>
                <a:gd name="connsiteX17" fmla="*/ 8504518 w 8634799"/>
                <a:gd name="connsiteY17" fmla="*/ 782605 h 892981"/>
                <a:gd name="connsiteX18" fmla="*/ 8634799 w 8634799"/>
                <a:gd name="connsiteY18" fmla="*/ 799599 h 892981"/>
                <a:gd name="connsiteX19" fmla="*/ 8634799 w 8634799"/>
                <a:gd name="connsiteY19" fmla="*/ 179242 h 892981"/>
                <a:gd name="connsiteX20" fmla="*/ 8450223 w 8634799"/>
                <a:gd name="connsiteY20" fmla="*/ 111321 h 892981"/>
                <a:gd name="connsiteX21" fmla="*/ 7635927 w 8634799"/>
                <a:gd name="connsiteY21" fmla="*/ 60340 h 892981"/>
                <a:gd name="connsiteX22" fmla="*/ 7049636 w 8634799"/>
                <a:gd name="connsiteY22" fmla="*/ 153815 h 892981"/>
                <a:gd name="connsiteX23" fmla="*/ 6342549 w 8634799"/>
                <a:gd name="connsiteY23" fmla="*/ 101256 h 892981"/>
                <a:gd name="connsiteX24" fmla="*/ 5902209 w 8634799"/>
                <a:gd name="connsiteY24" fmla="*/ 204284 h 892981"/>
                <a:gd name="connsiteX25" fmla="*/ 5182195 w 8634799"/>
                <a:gd name="connsiteY25" fmla="*/ 247290 h 892981"/>
                <a:gd name="connsiteX26" fmla="*/ 3469826 w 8634799"/>
                <a:gd name="connsiteY26" fmla="*/ 5421 h 892981"/>
                <a:gd name="connsiteX27" fmla="*/ 2370177 w 8634799"/>
                <a:gd name="connsiteY27" fmla="*/ 111321 h 892981"/>
                <a:gd name="connsiteX28" fmla="*/ 578745 w 8634799"/>
                <a:gd name="connsiteY28" fmla="*/ 102815 h 892981"/>
                <a:gd name="connsiteX29" fmla="*/ 38923 w 8634799"/>
                <a:gd name="connsiteY29" fmla="*/ 111866 h 892981"/>
                <a:gd name="connsiteX0" fmla="*/ 38923 w 8634799"/>
                <a:gd name="connsiteY0" fmla="*/ 135210 h 916324"/>
                <a:gd name="connsiteX1" fmla="*/ 4765 w 8634799"/>
                <a:gd name="connsiteY1" fmla="*/ 207939 h 916324"/>
                <a:gd name="connsiteX2" fmla="*/ 16985 w 8634799"/>
                <a:gd name="connsiteY2" fmla="*/ 419174 h 916324"/>
                <a:gd name="connsiteX3" fmla="*/ 31647 w 8634799"/>
                <a:gd name="connsiteY3" fmla="*/ 678420 h 916324"/>
                <a:gd name="connsiteX4" fmla="*/ 43864 w 8634799"/>
                <a:gd name="connsiteY4" fmla="*/ 755236 h 916324"/>
                <a:gd name="connsiteX5" fmla="*/ 80207 w 8634799"/>
                <a:gd name="connsiteY5" fmla="*/ 915386 h 916324"/>
                <a:gd name="connsiteX6" fmla="*/ 937008 w 8634799"/>
                <a:gd name="connsiteY6" fmla="*/ 822943 h 916324"/>
                <a:gd name="connsiteX7" fmla="*/ 1631867 w 8634799"/>
                <a:gd name="connsiteY7" fmla="*/ 856931 h 916324"/>
                <a:gd name="connsiteX8" fmla="*/ 2087877 w 8634799"/>
                <a:gd name="connsiteY8" fmla="*/ 797443 h 916324"/>
                <a:gd name="connsiteX9" fmla="*/ 2565599 w 8634799"/>
                <a:gd name="connsiteY9" fmla="*/ 797443 h 916324"/>
                <a:gd name="connsiteX10" fmla="*/ 3336468 w 8634799"/>
                <a:gd name="connsiteY10" fmla="*/ 839937 h 916324"/>
                <a:gd name="connsiteX11" fmla="*/ 4215904 w 8634799"/>
                <a:gd name="connsiteY11" fmla="*/ 822943 h 916324"/>
                <a:gd name="connsiteX12" fmla="*/ 4845622 w 8634799"/>
                <a:gd name="connsiteY12" fmla="*/ 831449 h 916324"/>
                <a:gd name="connsiteX13" fmla="*/ 5681632 w 8634799"/>
                <a:gd name="connsiteY13" fmla="*/ 831449 h 916324"/>
                <a:gd name="connsiteX14" fmla="*/ 6745645 w 8634799"/>
                <a:gd name="connsiteY14" fmla="*/ 856949 h 916324"/>
                <a:gd name="connsiteX15" fmla="*/ 7494800 w 8634799"/>
                <a:gd name="connsiteY15" fmla="*/ 848443 h 916324"/>
                <a:gd name="connsiteX16" fmla="*/ 8026795 w 8634799"/>
                <a:gd name="connsiteY16" fmla="*/ 839937 h 916324"/>
                <a:gd name="connsiteX17" fmla="*/ 8504518 w 8634799"/>
                <a:gd name="connsiteY17" fmla="*/ 805949 h 916324"/>
                <a:gd name="connsiteX18" fmla="*/ 8634799 w 8634799"/>
                <a:gd name="connsiteY18" fmla="*/ 822943 h 916324"/>
                <a:gd name="connsiteX19" fmla="*/ 8634799 w 8634799"/>
                <a:gd name="connsiteY19" fmla="*/ 202586 h 916324"/>
                <a:gd name="connsiteX20" fmla="*/ 8450223 w 8634799"/>
                <a:gd name="connsiteY20" fmla="*/ 134665 h 916324"/>
                <a:gd name="connsiteX21" fmla="*/ 7635927 w 8634799"/>
                <a:gd name="connsiteY21" fmla="*/ 83684 h 916324"/>
                <a:gd name="connsiteX22" fmla="*/ 7049636 w 8634799"/>
                <a:gd name="connsiteY22" fmla="*/ 177159 h 916324"/>
                <a:gd name="connsiteX23" fmla="*/ 6342549 w 8634799"/>
                <a:gd name="connsiteY23" fmla="*/ 124600 h 916324"/>
                <a:gd name="connsiteX24" fmla="*/ 5902209 w 8634799"/>
                <a:gd name="connsiteY24" fmla="*/ 227628 h 916324"/>
                <a:gd name="connsiteX25" fmla="*/ 5182195 w 8634799"/>
                <a:gd name="connsiteY25" fmla="*/ 270634 h 916324"/>
                <a:gd name="connsiteX26" fmla="*/ 3469826 w 8634799"/>
                <a:gd name="connsiteY26" fmla="*/ 28765 h 916324"/>
                <a:gd name="connsiteX27" fmla="*/ 2370177 w 8634799"/>
                <a:gd name="connsiteY27" fmla="*/ 134665 h 916324"/>
                <a:gd name="connsiteX28" fmla="*/ 578745 w 8634799"/>
                <a:gd name="connsiteY28" fmla="*/ 126159 h 916324"/>
                <a:gd name="connsiteX29" fmla="*/ 38923 w 8634799"/>
                <a:gd name="connsiteY29" fmla="*/ 135210 h 916324"/>
                <a:gd name="connsiteX0" fmla="*/ 38923 w 8634799"/>
                <a:gd name="connsiteY0" fmla="*/ 128131 h 909245"/>
                <a:gd name="connsiteX1" fmla="*/ 4765 w 8634799"/>
                <a:gd name="connsiteY1" fmla="*/ 200860 h 909245"/>
                <a:gd name="connsiteX2" fmla="*/ 16985 w 8634799"/>
                <a:gd name="connsiteY2" fmla="*/ 412095 h 909245"/>
                <a:gd name="connsiteX3" fmla="*/ 31647 w 8634799"/>
                <a:gd name="connsiteY3" fmla="*/ 671341 h 909245"/>
                <a:gd name="connsiteX4" fmla="*/ 43864 w 8634799"/>
                <a:gd name="connsiteY4" fmla="*/ 748157 h 909245"/>
                <a:gd name="connsiteX5" fmla="*/ 80207 w 8634799"/>
                <a:gd name="connsiteY5" fmla="*/ 908307 h 909245"/>
                <a:gd name="connsiteX6" fmla="*/ 937008 w 8634799"/>
                <a:gd name="connsiteY6" fmla="*/ 815864 h 909245"/>
                <a:gd name="connsiteX7" fmla="*/ 1631867 w 8634799"/>
                <a:gd name="connsiteY7" fmla="*/ 849852 h 909245"/>
                <a:gd name="connsiteX8" fmla="*/ 2087877 w 8634799"/>
                <a:gd name="connsiteY8" fmla="*/ 790364 h 909245"/>
                <a:gd name="connsiteX9" fmla="*/ 2565599 w 8634799"/>
                <a:gd name="connsiteY9" fmla="*/ 790364 h 909245"/>
                <a:gd name="connsiteX10" fmla="*/ 3336468 w 8634799"/>
                <a:gd name="connsiteY10" fmla="*/ 832858 h 909245"/>
                <a:gd name="connsiteX11" fmla="*/ 4215904 w 8634799"/>
                <a:gd name="connsiteY11" fmla="*/ 815864 h 909245"/>
                <a:gd name="connsiteX12" fmla="*/ 4845622 w 8634799"/>
                <a:gd name="connsiteY12" fmla="*/ 824370 h 909245"/>
                <a:gd name="connsiteX13" fmla="*/ 5681632 w 8634799"/>
                <a:gd name="connsiteY13" fmla="*/ 824370 h 909245"/>
                <a:gd name="connsiteX14" fmla="*/ 6745645 w 8634799"/>
                <a:gd name="connsiteY14" fmla="*/ 849870 h 909245"/>
                <a:gd name="connsiteX15" fmla="*/ 7494800 w 8634799"/>
                <a:gd name="connsiteY15" fmla="*/ 841364 h 909245"/>
                <a:gd name="connsiteX16" fmla="*/ 8026795 w 8634799"/>
                <a:gd name="connsiteY16" fmla="*/ 832858 h 909245"/>
                <a:gd name="connsiteX17" fmla="*/ 8504518 w 8634799"/>
                <a:gd name="connsiteY17" fmla="*/ 798870 h 909245"/>
                <a:gd name="connsiteX18" fmla="*/ 8634799 w 8634799"/>
                <a:gd name="connsiteY18" fmla="*/ 815864 h 909245"/>
                <a:gd name="connsiteX19" fmla="*/ 8634799 w 8634799"/>
                <a:gd name="connsiteY19" fmla="*/ 195507 h 909245"/>
                <a:gd name="connsiteX20" fmla="*/ 8450223 w 8634799"/>
                <a:gd name="connsiteY20" fmla="*/ 127586 h 909245"/>
                <a:gd name="connsiteX21" fmla="*/ 7635927 w 8634799"/>
                <a:gd name="connsiteY21" fmla="*/ 76605 h 909245"/>
                <a:gd name="connsiteX22" fmla="*/ 7049636 w 8634799"/>
                <a:gd name="connsiteY22" fmla="*/ 170080 h 909245"/>
                <a:gd name="connsiteX23" fmla="*/ 6342549 w 8634799"/>
                <a:gd name="connsiteY23" fmla="*/ 117521 h 909245"/>
                <a:gd name="connsiteX24" fmla="*/ 5902209 w 8634799"/>
                <a:gd name="connsiteY24" fmla="*/ 220549 h 909245"/>
                <a:gd name="connsiteX25" fmla="*/ 5182195 w 8634799"/>
                <a:gd name="connsiteY25" fmla="*/ 263555 h 909245"/>
                <a:gd name="connsiteX26" fmla="*/ 3469826 w 8634799"/>
                <a:gd name="connsiteY26" fmla="*/ 21686 h 909245"/>
                <a:gd name="connsiteX27" fmla="*/ 2370177 w 8634799"/>
                <a:gd name="connsiteY27" fmla="*/ 127586 h 909245"/>
                <a:gd name="connsiteX28" fmla="*/ 578745 w 8634799"/>
                <a:gd name="connsiteY28" fmla="*/ 119080 h 909245"/>
                <a:gd name="connsiteX29" fmla="*/ 38923 w 8634799"/>
                <a:gd name="connsiteY29" fmla="*/ 128131 h 909245"/>
                <a:gd name="connsiteX0" fmla="*/ 38923 w 8634799"/>
                <a:gd name="connsiteY0" fmla="*/ 134331 h 915445"/>
                <a:gd name="connsiteX1" fmla="*/ 4765 w 8634799"/>
                <a:gd name="connsiteY1" fmla="*/ 207060 h 915445"/>
                <a:gd name="connsiteX2" fmla="*/ 16985 w 8634799"/>
                <a:gd name="connsiteY2" fmla="*/ 418295 h 915445"/>
                <a:gd name="connsiteX3" fmla="*/ 31647 w 8634799"/>
                <a:gd name="connsiteY3" fmla="*/ 677541 h 915445"/>
                <a:gd name="connsiteX4" fmla="*/ 43864 w 8634799"/>
                <a:gd name="connsiteY4" fmla="*/ 754357 h 915445"/>
                <a:gd name="connsiteX5" fmla="*/ 80207 w 8634799"/>
                <a:gd name="connsiteY5" fmla="*/ 914507 h 915445"/>
                <a:gd name="connsiteX6" fmla="*/ 937008 w 8634799"/>
                <a:gd name="connsiteY6" fmla="*/ 822064 h 915445"/>
                <a:gd name="connsiteX7" fmla="*/ 1631867 w 8634799"/>
                <a:gd name="connsiteY7" fmla="*/ 856052 h 915445"/>
                <a:gd name="connsiteX8" fmla="*/ 2087877 w 8634799"/>
                <a:gd name="connsiteY8" fmla="*/ 796564 h 915445"/>
                <a:gd name="connsiteX9" fmla="*/ 2565599 w 8634799"/>
                <a:gd name="connsiteY9" fmla="*/ 796564 h 915445"/>
                <a:gd name="connsiteX10" fmla="*/ 3336468 w 8634799"/>
                <a:gd name="connsiteY10" fmla="*/ 839058 h 915445"/>
                <a:gd name="connsiteX11" fmla="*/ 4215904 w 8634799"/>
                <a:gd name="connsiteY11" fmla="*/ 822064 h 915445"/>
                <a:gd name="connsiteX12" fmla="*/ 4845622 w 8634799"/>
                <a:gd name="connsiteY12" fmla="*/ 830570 h 915445"/>
                <a:gd name="connsiteX13" fmla="*/ 5681632 w 8634799"/>
                <a:gd name="connsiteY13" fmla="*/ 830570 h 915445"/>
                <a:gd name="connsiteX14" fmla="*/ 6745645 w 8634799"/>
                <a:gd name="connsiteY14" fmla="*/ 856070 h 915445"/>
                <a:gd name="connsiteX15" fmla="*/ 7494800 w 8634799"/>
                <a:gd name="connsiteY15" fmla="*/ 847564 h 915445"/>
                <a:gd name="connsiteX16" fmla="*/ 8026795 w 8634799"/>
                <a:gd name="connsiteY16" fmla="*/ 839058 h 915445"/>
                <a:gd name="connsiteX17" fmla="*/ 8504518 w 8634799"/>
                <a:gd name="connsiteY17" fmla="*/ 805070 h 915445"/>
                <a:gd name="connsiteX18" fmla="*/ 8634799 w 8634799"/>
                <a:gd name="connsiteY18" fmla="*/ 822064 h 915445"/>
                <a:gd name="connsiteX19" fmla="*/ 8634799 w 8634799"/>
                <a:gd name="connsiteY19" fmla="*/ 201707 h 915445"/>
                <a:gd name="connsiteX20" fmla="*/ 8450223 w 8634799"/>
                <a:gd name="connsiteY20" fmla="*/ 133786 h 915445"/>
                <a:gd name="connsiteX21" fmla="*/ 7635927 w 8634799"/>
                <a:gd name="connsiteY21" fmla="*/ 82805 h 915445"/>
                <a:gd name="connsiteX22" fmla="*/ 7049636 w 8634799"/>
                <a:gd name="connsiteY22" fmla="*/ 176280 h 915445"/>
                <a:gd name="connsiteX23" fmla="*/ 6342549 w 8634799"/>
                <a:gd name="connsiteY23" fmla="*/ 123721 h 915445"/>
                <a:gd name="connsiteX24" fmla="*/ 5902209 w 8634799"/>
                <a:gd name="connsiteY24" fmla="*/ 226749 h 915445"/>
                <a:gd name="connsiteX25" fmla="*/ 5182195 w 8634799"/>
                <a:gd name="connsiteY25" fmla="*/ 269755 h 915445"/>
                <a:gd name="connsiteX26" fmla="*/ 3618314 w 8634799"/>
                <a:gd name="connsiteY26" fmla="*/ 21218 h 915445"/>
                <a:gd name="connsiteX27" fmla="*/ 2370177 w 8634799"/>
                <a:gd name="connsiteY27" fmla="*/ 133786 h 915445"/>
                <a:gd name="connsiteX28" fmla="*/ 578745 w 8634799"/>
                <a:gd name="connsiteY28" fmla="*/ 125280 h 915445"/>
                <a:gd name="connsiteX29" fmla="*/ 38923 w 8634799"/>
                <a:gd name="connsiteY29" fmla="*/ 134331 h 915445"/>
                <a:gd name="connsiteX0" fmla="*/ 38923 w 8634799"/>
                <a:gd name="connsiteY0" fmla="*/ 153045 h 934159"/>
                <a:gd name="connsiteX1" fmla="*/ 4765 w 8634799"/>
                <a:gd name="connsiteY1" fmla="*/ 225774 h 934159"/>
                <a:gd name="connsiteX2" fmla="*/ 16985 w 8634799"/>
                <a:gd name="connsiteY2" fmla="*/ 437009 h 934159"/>
                <a:gd name="connsiteX3" fmla="*/ 31647 w 8634799"/>
                <a:gd name="connsiteY3" fmla="*/ 696255 h 934159"/>
                <a:gd name="connsiteX4" fmla="*/ 43864 w 8634799"/>
                <a:gd name="connsiteY4" fmla="*/ 773071 h 934159"/>
                <a:gd name="connsiteX5" fmla="*/ 80207 w 8634799"/>
                <a:gd name="connsiteY5" fmla="*/ 933221 h 934159"/>
                <a:gd name="connsiteX6" fmla="*/ 937008 w 8634799"/>
                <a:gd name="connsiteY6" fmla="*/ 840778 h 934159"/>
                <a:gd name="connsiteX7" fmla="*/ 1631867 w 8634799"/>
                <a:gd name="connsiteY7" fmla="*/ 874766 h 934159"/>
                <a:gd name="connsiteX8" fmla="*/ 2087877 w 8634799"/>
                <a:gd name="connsiteY8" fmla="*/ 815278 h 934159"/>
                <a:gd name="connsiteX9" fmla="*/ 2565599 w 8634799"/>
                <a:gd name="connsiteY9" fmla="*/ 815278 h 934159"/>
                <a:gd name="connsiteX10" fmla="*/ 3336468 w 8634799"/>
                <a:gd name="connsiteY10" fmla="*/ 857772 h 934159"/>
                <a:gd name="connsiteX11" fmla="*/ 4215904 w 8634799"/>
                <a:gd name="connsiteY11" fmla="*/ 840778 h 934159"/>
                <a:gd name="connsiteX12" fmla="*/ 4845622 w 8634799"/>
                <a:gd name="connsiteY12" fmla="*/ 849284 h 934159"/>
                <a:gd name="connsiteX13" fmla="*/ 5681632 w 8634799"/>
                <a:gd name="connsiteY13" fmla="*/ 849284 h 934159"/>
                <a:gd name="connsiteX14" fmla="*/ 6745645 w 8634799"/>
                <a:gd name="connsiteY14" fmla="*/ 874784 h 934159"/>
                <a:gd name="connsiteX15" fmla="*/ 7494800 w 8634799"/>
                <a:gd name="connsiteY15" fmla="*/ 866278 h 934159"/>
                <a:gd name="connsiteX16" fmla="*/ 8026795 w 8634799"/>
                <a:gd name="connsiteY16" fmla="*/ 857772 h 934159"/>
                <a:gd name="connsiteX17" fmla="*/ 8504518 w 8634799"/>
                <a:gd name="connsiteY17" fmla="*/ 823784 h 934159"/>
                <a:gd name="connsiteX18" fmla="*/ 8634799 w 8634799"/>
                <a:gd name="connsiteY18" fmla="*/ 840778 h 934159"/>
                <a:gd name="connsiteX19" fmla="*/ 8634799 w 8634799"/>
                <a:gd name="connsiteY19" fmla="*/ 220421 h 934159"/>
                <a:gd name="connsiteX20" fmla="*/ 8450223 w 8634799"/>
                <a:gd name="connsiteY20" fmla="*/ 152500 h 934159"/>
                <a:gd name="connsiteX21" fmla="*/ 7635927 w 8634799"/>
                <a:gd name="connsiteY21" fmla="*/ 101519 h 934159"/>
                <a:gd name="connsiteX22" fmla="*/ 7049636 w 8634799"/>
                <a:gd name="connsiteY22" fmla="*/ 194994 h 934159"/>
                <a:gd name="connsiteX23" fmla="*/ 6342549 w 8634799"/>
                <a:gd name="connsiteY23" fmla="*/ 142435 h 934159"/>
                <a:gd name="connsiteX24" fmla="*/ 5902209 w 8634799"/>
                <a:gd name="connsiteY24" fmla="*/ 245463 h 934159"/>
                <a:gd name="connsiteX25" fmla="*/ 5182195 w 8634799"/>
                <a:gd name="connsiteY25" fmla="*/ 288469 h 934159"/>
                <a:gd name="connsiteX26" fmla="*/ 3655437 w 8634799"/>
                <a:gd name="connsiteY26" fmla="*/ 19929 h 934159"/>
                <a:gd name="connsiteX27" fmla="*/ 2370177 w 8634799"/>
                <a:gd name="connsiteY27" fmla="*/ 152500 h 934159"/>
                <a:gd name="connsiteX28" fmla="*/ 578745 w 8634799"/>
                <a:gd name="connsiteY28" fmla="*/ 143994 h 934159"/>
                <a:gd name="connsiteX29" fmla="*/ 38923 w 8634799"/>
                <a:gd name="connsiteY29" fmla="*/ 153045 h 934159"/>
                <a:gd name="connsiteX0" fmla="*/ 38923 w 8634799"/>
                <a:gd name="connsiteY0" fmla="*/ 203294 h 984408"/>
                <a:gd name="connsiteX1" fmla="*/ 4765 w 8634799"/>
                <a:gd name="connsiteY1" fmla="*/ 276023 h 984408"/>
                <a:gd name="connsiteX2" fmla="*/ 16985 w 8634799"/>
                <a:gd name="connsiteY2" fmla="*/ 487258 h 984408"/>
                <a:gd name="connsiteX3" fmla="*/ 31647 w 8634799"/>
                <a:gd name="connsiteY3" fmla="*/ 746504 h 984408"/>
                <a:gd name="connsiteX4" fmla="*/ 43864 w 8634799"/>
                <a:gd name="connsiteY4" fmla="*/ 823320 h 984408"/>
                <a:gd name="connsiteX5" fmla="*/ 80207 w 8634799"/>
                <a:gd name="connsiteY5" fmla="*/ 983470 h 984408"/>
                <a:gd name="connsiteX6" fmla="*/ 937008 w 8634799"/>
                <a:gd name="connsiteY6" fmla="*/ 891027 h 984408"/>
                <a:gd name="connsiteX7" fmla="*/ 1631867 w 8634799"/>
                <a:gd name="connsiteY7" fmla="*/ 925015 h 984408"/>
                <a:gd name="connsiteX8" fmla="*/ 2087877 w 8634799"/>
                <a:gd name="connsiteY8" fmla="*/ 865527 h 984408"/>
                <a:gd name="connsiteX9" fmla="*/ 2565599 w 8634799"/>
                <a:gd name="connsiteY9" fmla="*/ 865527 h 984408"/>
                <a:gd name="connsiteX10" fmla="*/ 3336468 w 8634799"/>
                <a:gd name="connsiteY10" fmla="*/ 908021 h 984408"/>
                <a:gd name="connsiteX11" fmla="*/ 4215904 w 8634799"/>
                <a:gd name="connsiteY11" fmla="*/ 891027 h 984408"/>
                <a:gd name="connsiteX12" fmla="*/ 4845622 w 8634799"/>
                <a:gd name="connsiteY12" fmla="*/ 899533 h 984408"/>
                <a:gd name="connsiteX13" fmla="*/ 5681632 w 8634799"/>
                <a:gd name="connsiteY13" fmla="*/ 899533 h 984408"/>
                <a:gd name="connsiteX14" fmla="*/ 6745645 w 8634799"/>
                <a:gd name="connsiteY14" fmla="*/ 925033 h 984408"/>
                <a:gd name="connsiteX15" fmla="*/ 7494800 w 8634799"/>
                <a:gd name="connsiteY15" fmla="*/ 916527 h 984408"/>
                <a:gd name="connsiteX16" fmla="*/ 8026795 w 8634799"/>
                <a:gd name="connsiteY16" fmla="*/ 908021 h 984408"/>
                <a:gd name="connsiteX17" fmla="*/ 8504518 w 8634799"/>
                <a:gd name="connsiteY17" fmla="*/ 874033 h 984408"/>
                <a:gd name="connsiteX18" fmla="*/ 8634799 w 8634799"/>
                <a:gd name="connsiteY18" fmla="*/ 891027 h 984408"/>
                <a:gd name="connsiteX19" fmla="*/ 8634799 w 8634799"/>
                <a:gd name="connsiteY19" fmla="*/ 270670 h 984408"/>
                <a:gd name="connsiteX20" fmla="*/ 8450223 w 8634799"/>
                <a:gd name="connsiteY20" fmla="*/ 202749 h 984408"/>
                <a:gd name="connsiteX21" fmla="*/ 7635927 w 8634799"/>
                <a:gd name="connsiteY21" fmla="*/ 151768 h 984408"/>
                <a:gd name="connsiteX22" fmla="*/ 7049636 w 8634799"/>
                <a:gd name="connsiteY22" fmla="*/ 245243 h 984408"/>
                <a:gd name="connsiteX23" fmla="*/ 6342549 w 8634799"/>
                <a:gd name="connsiteY23" fmla="*/ 192684 h 984408"/>
                <a:gd name="connsiteX24" fmla="*/ 5902209 w 8634799"/>
                <a:gd name="connsiteY24" fmla="*/ 295712 h 984408"/>
                <a:gd name="connsiteX25" fmla="*/ 5182195 w 8634799"/>
                <a:gd name="connsiteY25" fmla="*/ 338718 h 984408"/>
                <a:gd name="connsiteX26" fmla="*/ 3655437 w 8634799"/>
                <a:gd name="connsiteY26" fmla="*/ 70178 h 984408"/>
                <a:gd name="connsiteX27" fmla="*/ 2370177 w 8634799"/>
                <a:gd name="connsiteY27" fmla="*/ 202749 h 984408"/>
                <a:gd name="connsiteX28" fmla="*/ 578745 w 8634799"/>
                <a:gd name="connsiteY28" fmla="*/ 194243 h 984408"/>
                <a:gd name="connsiteX29" fmla="*/ 38923 w 8634799"/>
                <a:gd name="connsiteY29" fmla="*/ 203294 h 984408"/>
                <a:gd name="connsiteX0" fmla="*/ 38923 w 8634799"/>
                <a:gd name="connsiteY0" fmla="*/ 146213 h 927327"/>
                <a:gd name="connsiteX1" fmla="*/ 4765 w 8634799"/>
                <a:gd name="connsiteY1" fmla="*/ 218942 h 927327"/>
                <a:gd name="connsiteX2" fmla="*/ 16985 w 8634799"/>
                <a:gd name="connsiteY2" fmla="*/ 430177 h 927327"/>
                <a:gd name="connsiteX3" fmla="*/ 31647 w 8634799"/>
                <a:gd name="connsiteY3" fmla="*/ 689423 h 927327"/>
                <a:gd name="connsiteX4" fmla="*/ 43864 w 8634799"/>
                <a:gd name="connsiteY4" fmla="*/ 766239 h 927327"/>
                <a:gd name="connsiteX5" fmla="*/ 80207 w 8634799"/>
                <a:gd name="connsiteY5" fmla="*/ 926389 h 927327"/>
                <a:gd name="connsiteX6" fmla="*/ 937008 w 8634799"/>
                <a:gd name="connsiteY6" fmla="*/ 833946 h 927327"/>
                <a:gd name="connsiteX7" fmla="*/ 1631867 w 8634799"/>
                <a:gd name="connsiteY7" fmla="*/ 867934 h 927327"/>
                <a:gd name="connsiteX8" fmla="*/ 2087877 w 8634799"/>
                <a:gd name="connsiteY8" fmla="*/ 808446 h 927327"/>
                <a:gd name="connsiteX9" fmla="*/ 2565599 w 8634799"/>
                <a:gd name="connsiteY9" fmla="*/ 808446 h 927327"/>
                <a:gd name="connsiteX10" fmla="*/ 3336468 w 8634799"/>
                <a:gd name="connsiteY10" fmla="*/ 850940 h 927327"/>
                <a:gd name="connsiteX11" fmla="*/ 4215904 w 8634799"/>
                <a:gd name="connsiteY11" fmla="*/ 833946 h 927327"/>
                <a:gd name="connsiteX12" fmla="*/ 4845622 w 8634799"/>
                <a:gd name="connsiteY12" fmla="*/ 842452 h 927327"/>
                <a:gd name="connsiteX13" fmla="*/ 5681632 w 8634799"/>
                <a:gd name="connsiteY13" fmla="*/ 842452 h 927327"/>
                <a:gd name="connsiteX14" fmla="*/ 6745645 w 8634799"/>
                <a:gd name="connsiteY14" fmla="*/ 867952 h 927327"/>
                <a:gd name="connsiteX15" fmla="*/ 7494800 w 8634799"/>
                <a:gd name="connsiteY15" fmla="*/ 859446 h 927327"/>
                <a:gd name="connsiteX16" fmla="*/ 8026795 w 8634799"/>
                <a:gd name="connsiteY16" fmla="*/ 850940 h 927327"/>
                <a:gd name="connsiteX17" fmla="*/ 8504518 w 8634799"/>
                <a:gd name="connsiteY17" fmla="*/ 816952 h 927327"/>
                <a:gd name="connsiteX18" fmla="*/ 8634799 w 8634799"/>
                <a:gd name="connsiteY18" fmla="*/ 833946 h 927327"/>
                <a:gd name="connsiteX19" fmla="*/ 8634799 w 8634799"/>
                <a:gd name="connsiteY19" fmla="*/ 213589 h 927327"/>
                <a:gd name="connsiteX20" fmla="*/ 8450223 w 8634799"/>
                <a:gd name="connsiteY20" fmla="*/ 145668 h 927327"/>
                <a:gd name="connsiteX21" fmla="*/ 7635927 w 8634799"/>
                <a:gd name="connsiteY21" fmla="*/ 94687 h 927327"/>
                <a:gd name="connsiteX22" fmla="*/ 7049636 w 8634799"/>
                <a:gd name="connsiteY22" fmla="*/ 188162 h 927327"/>
                <a:gd name="connsiteX23" fmla="*/ 6342549 w 8634799"/>
                <a:gd name="connsiteY23" fmla="*/ 135603 h 927327"/>
                <a:gd name="connsiteX24" fmla="*/ 5902209 w 8634799"/>
                <a:gd name="connsiteY24" fmla="*/ 238631 h 927327"/>
                <a:gd name="connsiteX25" fmla="*/ 5182195 w 8634799"/>
                <a:gd name="connsiteY25" fmla="*/ 281637 h 927327"/>
                <a:gd name="connsiteX26" fmla="*/ 3822487 w 8634799"/>
                <a:gd name="connsiteY26" fmla="*/ 79772 h 927327"/>
                <a:gd name="connsiteX27" fmla="*/ 2370177 w 8634799"/>
                <a:gd name="connsiteY27" fmla="*/ 145668 h 927327"/>
                <a:gd name="connsiteX28" fmla="*/ 578745 w 8634799"/>
                <a:gd name="connsiteY28" fmla="*/ 137162 h 927327"/>
                <a:gd name="connsiteX29" fmla="*/ 38923 w 8634799"/>
                <a:gd name="connsiteY29" fmla="*/ 146213 h 927327"/>
                <a:gd name="connsiteX0" fmla="*/ 38923 w 8634799"/>
                <a:gd name="connsiteY0" fmla="*/ 157240 h 938354"/>
                <a:gd name="connsiteX1" fmla="*/ 4765 w 8634799"/>
                <a:gd name="connsiteY1" fmla="*/ 229969 h 938354"/>
                <a:gd name="connsiteX2" fmla="*/ 16985 w 8634799"/>
                <a:gd name="connsiteY2" fmla="*/ 441204 h 938354"/>
                <a:gd name="connsiteX3" fmla="*/ 31647 w 8634799"/>
                <a:gd name="connsiteY3" fmla="*/ 700450 h 938354"/>
                <a:gd name="connsiteX4" fmla="*/ 43864 w 8634799"/>
                <a:gd name="connsiteY4" fmla="*/ 777266 h 938354"/>
                <a:gd name="connsiteX5" fmla="*/ 80207 w 8634799"/>
                <a:gd name="connsiteY5" fmla="*/ 937416 h 938354"/>
                <a:gd name="connsiteX6" fmla="*/ 937008 w 8634799"/>
                <a:gd name="connsiteY6" fmla="*/ 844973 h 938354"/>
                <a:gd name="connsiteX7" fmla="*/ 1631867 w 8634799"/>
                <a:gd name="connsiteY7" fmla="*/ 878961 h 938354"/>
                <a:gd name="connsiteX8" fmla="*/ 2087877 w 8634799"/>
                <a:gd name="connsiteY8" fmla="*/ 819473 h 938354"/>
                <a:gd name="connsiteX9" fmla="*/ 2565599 w 8634799"/>
                <a:gd name="connsiteY9" fmla="*/ 819473 h 938354"/>
                <a:gd name="connsiteX10" fmla="*/ 3336468 w 8634799"/>
                <a:gd name="connsiteY10" fmla="*/ 861967 h 938354"/>
                <a:gd name="connsiteX11" fmla="*/ 4215904 w 8634799"/>
                <a:gd name="connsiteY11" fmla="*/ 844973 h 938354"/>
                <a:gd name="connsiteX12" fmla="*/ 4845622 w 8634799"/>
                <a:gd name="connsiteY12" fmla="*/ 853479 h 938354"/>
                <a:gd name="connsiteX13" fmla="*/ 5681632 w 8634799"/>
                <a:gd name="connsiteY13" fmla="*/ 853479 h 938354"/>
                <a:gd name="connsiteX14" fmla="*/ 6745645 w 8634799"/>
                <a:gd name="connsiteY14" fmla="*/ 878979 h 938354"/>
                <a:gd name="connsiteX15" fmla="*/ 7494800 w 8634799"/>
                <a:gd name="connsiteY15" fmla="*/ 870473 h 938354"/>
                <a:gd name="connsiteX16" fmla="*/ 8026795 w 8634799"/>
                <a:gd name="connsiteY16" fmla="*/ 861967 h 938354"/>
                <a:gd name="connsiteX17" fmla="*/ 8504518 w 8634799"/>
                <a:gd name="connsiteY17" fmla="*/ 827979 h 938354"/>
                <a:gd name="connsiteX18" fmla="*/ 8634799 w 8634799"/>
                <a:gd name="connsiteY18" fmla="*/ 844973 h 938354"/>
                <a:gd name="connsiteX19" fmla="*/ 8634799 w 8634799"/>
                <a:gd name="connsiteY19" fmla="*/ 224616 h 938354"/>
                <a:gd name="connsiteX20" fmla="*/ 8450223 w 8634799"/>
                <a:gd name="connsiteY20" fmla="*/ 156695 h 938354"/>
                <a:gd name="connsiteX21" fmla="*/ 7635927 w 8634799"/>
                <a:gd name="connsiteY21" fmla="*/ 105714 h 938354"/>
                <a:gd name="connsiteX22" fmla="*/ 7049636 w 8634799"/>
                <a:gd name="connsiteY22" fmla="*/ 199189 h 938354"/>
                <a:gd name="connsiteX23" fmla="*/ 6342549 w 8634799"/>
                <a:gd name="connsiteY23" fmla="*/ 146630 h 938354"/>
                <a:gd name="connsiteX24" fmla="*/ 5902209 w 8634799"/>
                <a:gd name="connsiteY24" fmla="*/ 249658 h 938354"/>
                <a:gd name="connsiteX25" fmla="*/ 5182195 w 8634799"/>
                <a:gd name="connsiteY25" fmla="*/ 292664 h 938354"/>
                <a:gd name="connsiteX26" fmla="*/ 3822487 w 8634799"/>
                <a:gd name="connsiteY26" fmla="*/ 90799 h 938354"/>
                <a:gd name="connsiteX27" fmla="*/ 2370177 w 8634799"/>
                <a:gd name="connsiteY27" fmla="*/ 156695 h 938354"/>
                <a:gd name="connsiteX28" fmla="*/ 578745 w 8634799"/>
                <a:gd name="connsiteY28" fmla="*/ 148189 h 938354"/>
                <a:gd name="connsiteX29" fmla="*/ 38923 w 8634799"/>
                <a:gd name="connsiteY29" fmla="*/ 157240 h 938354"/>
                <a:gd name="connsiteX0" fmla="*/ 38923 w 12045155"/>
                <a:gd name="connsiteY0" fmla="*/ 157240 h 938354"/>
                <a:gd name="connsiteX1" fmla="*/ 4765 w 12045155"/>
                <a:gd name="connsiteY1" fmla="*/ 229969 h 938354"/>
                <a:gd name="connsiteX2" fmla="*/ 16985 w 12045155"/>
                <a:gd name="connsiteY2" fmla="*/ 441204 h 938354"/>
                <a:gd name="connsiteX3" fmla="*/ 31647 w 12045155"/>
                <a:gd name="connsiteY3" fmla="*/ 700450 h 938354"/>
                <a:gd name="connsiteX4" fmla="*/ 43864 w 12045155"/>
                <a:gd name="connsiteY4" fmla="*/ 777266 h 938354"/>
                <a:gd name="connsiteX5" fmla="*/ 80207 w 12045155"/>
                <a:gd name="connsiteY5" fmla="*/ 937416 h 938354"/>
                <a:gd name="connsiteX6" fmla="*/ 937008 w 12045155"/>
                <a:gd name="connsiteY6" fmla="*/ 844973 h 938354"/>
                <a:gd name="connsiteX7" fmla="*/ 1631867 w 12045155"/>
                <a:gd name="connsiteY7" fmla="*/ 878961 h 938354"/>
                <a:gd name="connsiteX8" fmla="*/ 2087877 w 12045155"/>
                <a:gd name="connsiteY8" fmla="*/ 819473 h 938354"/>
                <a:gd name="connsiteX9" fmla="*/ 2565599 w 12045155"/>
                <a:gd name="connsiteY9" fmla="*/ 819473 h 938354"/>
                <a:gd name="connsiteX10" fmla="*/ 3336468 w 12045155"/>
                <a:gd name="connsiteY10" fmla="*/ 861967 h 938354"/>
                <a:gd name="connsiteX11" fmla="*/ 4215904 w 12045155"/>
                <a:gd name="connsiteY11" fmla="*/ 844973 h 938354"/>
                <a:gd name="connsiteX12" fmla="*/ 4845622 w 12045155"/>
                <a:gd name="connsiteY12" fmla="*/ 853479 h 938354"/>
                <a:gd name="connsiteX13" fmla="*/ 5681632 w 12045155"/>
                <a:gd name="connsiteY13" fmla="*/ 853479 h 938354"/>
                <a:gd name="connsiteX14" fmla="*/ 6745645 w 12045155"/>
                <a:gd name="connsiteY14" fmla="*/ 878979 h 938354"/>
                <a:gd name="connsiteX15" fmla="*/ 7494800 w 12045155"/>
                <a:gd name="connsiteY15" fmla="*/ 870473 h 938354"/>
                <a:gd name="connsiteX16" fmla="*/ 8026795 w 12045155"/>
                <a:gd name="connsiteY16" fmla="*/ 861967 h 938354"/>
                <a:gd name="connsiteX17" fmla="*/ 8504518 w 12045155"/>
                <a:gd name="connsiteY17" fmla="*/ 827979 h 938354"/>
                <a:gd name="connsiteX18" fmla="*/ 12045155 w 12045155"/>
                <a:gd name="connsiteY18" fmla="*/ 699393 h 938354"/>
                <a:gd name="connsiteX19" fmla="*/ 8634799 w 12045155"/>
                <a:gd name="connsiteY19" fmla="*/ 224616 h 938354"/>
                <a:gd name="connsiteX20" fmla="*/ 8450223 w 12045155"/>
                <a:gd name="connsiteY20" fmla="*/ 156695 h 938354"/>
                <a:gd name="connsiteX21" fmla="*/ 7635927 w 12045155"/>
                <a:gd name="connsiteY21" fmla="*/ 105714 h 938354"/>
                <a:gd name="connsiteX22" fmla="*/ 7049636 w 12045155"/>
                <a:gd name="connsiteY22" fmla="*/ 199189 h 938354"/>
                <a:gd name="connsiteX23" fmla="*/ 6342549 w 12045155"/>
                <a:gd name="connsiteY23" fmla="*/ 146630 h 938354"/>
                <a:gd name="connsiteX24" fmla="*/ 5902209 w 12045155"/>
                <a:gd name="connsiteY24" fmla="*/ 249658 h 938354"/>
                <a:gd name="connsiteX25" fmla="*/ 5182195 w 12045155"/>
                <a:gd name="connsiteY25" fmla="*/ 292664 h 938354"/>
                <a:gd name="connsiteX26" fmla="*/ 3822487 w 12045155"/>
                <a:gd name="connsiteY26" fmla="*/ 90799 h 938354"/>
                <a:gd name="connsiteX27" fmla="*/ 2370177 w 12045155"/>
                <a:gd name="connsiteY27" fmla="*/ 156695 h 938354"/>
                <a:gd name="connsiteX28" fmla="*/ 578745 w 12045155"/>
                <a:gd name="connsiteY28" fmla="*/ 148189 h 938354"/>
                <a:gd name="connsiteX29" fmla="*/ 38923 w 12045155"/>
                <a:gd name="connsiteY29" fmla="*/ 157240 h 938354"/>
                <a:gd name="connsiteX0" fmla="*/ 38923 w 12045155"/>
                <a:gd name="connsiteY0" fmla="*/ 157240 h 938354"/>
                <a:gd name="connsiteX1" fmla="*/ 4765 w 12045155"/>
                <a:gd name="connsiteY1" fmla="*/ 229969 h 938354"/>
                <a:gd name="connsiteX2" fmla="*/ 16985 w 12045155"/>
                <a:gd name="connsiteY2" fmla="*/ 441204 h 938354"/>
                <a:gd name="connsiteX3" fmla="*/ 31647 w 12045155"/>
                <a:gd name="connsiteY3" fmla="*/ 700450 h 938354"/>
                <a:gd name="connsiteX4" fmla="*/ 43864 w 12045155"/>
                <a:gd name="connsiteY4" fmla="*/ 777266 h 938354"/>
                <a:gd name="connsiteX5" fmla="*/ 80207 w 12045155"/>
                <a:gd name="connsiteY5" fmla="*/ 937416 h 938354"/>
                <a:gd name="connsiteX6" fmla="*/ 937008 w 12045155"/>
                <a:gd name="connsiteY6" fmla="*/ 844973 h 938354"/>
                <a:gd name="connsiteX7" fmla="*/ 1631867 w 12045155"/>
                <a:gd name="connsiteY7" fmla="*/ 878961 h 938354"/>
                <a:gd name="connsiteX8" fmla="*/ 2087877 w 12045155"/>
                <a:gd name="connsiteY8" fmla="*/ 819473 h 938354"/>
                <a:gd name="connsiteX9" fmla="*/ 2565599 w 12045155"/>
                <a:gd name="connsiteY9" fmla="*/ 819473 h 938354"/>
                <a:gd name="connsiteX10" fmla="*/ 3336468 w 12045155"/>
                <a:gd name="connsiteY10" fmla="*/ 861967 h 938354"/>
                <a:gd name="connsiteX11" fmla="*/ 4215904 w 12045155"/>
                <a:gd name="connsiteY11" fmla="*/ 844973 h 938354"/>
                <a:gd name="connsiteX12" fmla="*/ 4845622 w 12045155"/>
                <a:gd name="connsiteY12" fmla="*/ 853479 h 938354"/>
                <a:gd name="connsiteX13" fmla="*/ 5681632 w 12045155"/>
                <a:gd name="connsiteY13" fmla="*/ 853479 h 938354"/>
                <a:gd name="connsiteX14" fmla="*/ 6745645 w 12045155"/>
                <a:gd name="connsiteY14" fmla="*/ 878979 h 938354"/>
                <a:gd name="connsiteX15" fmla="*/ 7494800 w 12045155"/>
                <a:gd name="connsiteY15" fmla="*/ 870473 h 938354"/>
                <a:gd name="connsiteX16" fmla="*/ 8026795 w 12045155"/>
                <a:gd name="connsiteY16" fmla="*/ 861967 h 938354"/>
                <a:gd name="connsiteX17" fmla="*/ 8504518 w 12045155"/>
                <a:gd name="connsiteY17" fmla="*/ 827979 h 938354"/>
                <a:gd name="connsiteX18" fmla="*/ 12045155 w 12045155"/>
                <a:gd name="connsiteY18" fmla="*/ 699393 h 938354"/>
                <a:gd name="connsiteX19" fmla="*/ 12045155 w 12045155"/>
                <a:gd name="connsiteY19" fmla="*/ 261011 h 938354"/>
                <a:gd name="connsiteX20" fmla="*/ 8450223 w 12045155"/>
                <a:gd name="connsiteY20" fmla="*/ 156695 h 938354"/>
                <a:gd name="connsiteX21" fmla="*/ 7635927 w 12045155"/>
                <a:gd name="connsiteY21" fmla="*/ 105714 h 938354"/>
                <a:gd name="connsiteX22" fmla="*/ 7049636 w 12045155"/>
                <a:gd name="connsiteY22" fmla="*/ 199189 h 938354"/>
                <a:gd name="connsiteX23" fmla="*/ 6342549 w 12045155"/>
                <a:gd name="connsiteY23" fmla="*/ 146630 h 938354"/>
                <a:gd name="connsiteX24" fmla="*/ 5902209 w 12045155"/>
                <a:gd name="connsiteY24" fmla="*/ 249658 h 938354"/>
                <a:gd name="connsiteX25" fmla="*/ 5182195 w 12045155"/>
                <a:gd name="connsiteY25" fmla="*/ 292664 h 938354"/>
                <a:gd name="connsiteX26" fmla="*/ 3822487 w 12045155"/>
                <a:gd name="connsiteY26" fmla="*/ 90799 h 938354"/>
                <a:gd name="connsiteX27" fmla="*/ 2370177 w 12045155"/>
                <a:gd name="connsiteY27" fmla="*/ 156695 h 938354"/>
                <a:gd name="connsiteX28" fmla="*/ 578745 w 12045155"/>
                <a:gd name="connsiteY28" fmla="*/ 148189 h 938354"/>
                <a:gd name="connsiteX29" fmla="*/ 38923 w 12045155"/>
                <a:gd name="connsiteY29" fmla="*/ 157240 h 938354"/>
                <a:gd name="connsiteX0" fmla="*/ 38923 w 12045155"/>
                <a:gd name="connsiteY0" fmla="*/ 157240 h 1129823"/>
                <a:gd name="connsiteX1" fmla="*/ 4765 w 12045155"/>
                <a:gd name="connsiteY1" fmla="*/ 229969 h 1129823"/>
                <a:gd name="connsiteX2" fmla="*/ 16985 w 12045155"/>
                <a:gd name="connsiteY2" fmla="*/ 441204 h 1129823"/>
                <a:gd name="connsiteX3" fmla="*/ 31647 w 12045155"/>
                <a:gd name="connsiteY3" fmla="*/ 700450 h 1129823"/>
                <a:gd name="connsiteX4" fmla="*/ 43864 w 12045155"/>
                <a:gd name="connsiteY4" fmla="*/ 777266 h 1129823"/>
                <a:gd name="connsiteX5" fmla="*/ 80207 w 12045155"/>
                <a:gd name="connsiteY5" fmla="*/ 937416 h 1129823"/>
                <a:gd name="connsiteX6" fmla="*/ 937008 w 12045155"/>
                <a:gd name="connsiteY6" fmla="*/ 844973 h 1129823"/>
                <a:gd name="connsiteX7" fmla="*/ 1631867 w 12045155"/>
                <a:gd name="connsiteY7" fmla="*/ 878961 h 1129823"/>
                <a:gd name="connsiteX8" fmla="*/ 2087877 w 12045155"/>
                <a:gd name="connsiteY8" fmla="*/ 819473 h 1129823"/>
                <a:gd name="connsiteX9" fmla="*/ 2565599 w 12045155"/>
                <a:gd name="connsiteY9" fmla="*/ 819473 h 1129823"/>
                <a:gd name="connsiteX10" fmla="*/ 3336468 w 12045155"/>
                <a:gd name="connsiteY10" fmla="*/ 861967 h 1129823"/>
                <a:gd name="connsiteX11" fmla="*/ 4215904 w 12045155"/>
                <a:gd name="connsiteY11" fmla="*/ 844973 h 1129823"/>
                <a:gd name="connsiteX12" fmla="*/ 4845622 w 12045155"/>
                <a:gd name="connsiteY12" fmla="*/ 853479 h 1129823"/>
                <a:gd name="connsiteX13" fmla="*/ 5681632 w 12045155"/>
                <a:gd name="connsiteY13" fmla="*/ 853479 h 1129823"/>
                <a:gd name="connsiteX14" fmla="*/ 6745645 w 12045155"/>
                <a:gd name="connsiteY14" fmla="*/ 878979 h 1129823"/>
                <a:gd name="connsiteX15" fmla="*/ 7494800 w 12045155"/>
                <a:gd name="connsiteY15" fmla="*/ 870473 h 1129823"/>
                <a:gd name="connsiteX16" fmla="*/ 8026795 w 12045155"/>
                <a:gd name="connsiteY16" fmla="*/ 861967 h 1129823"/>
                <a:gd name="connsiteX17" fmla="*/ 8504518 w 12045155"/>
                <a:gd name="connsiteY17" fmla="*/ 827979 h 1129823"/>
                <a:gd name="connsiteX18" fmla="*/ 11481826 w 12045155"/>
                <a:gd name="connsiteY18" fmla="*/ 1127088 h 1129823"/>
                <a:gd name="connsiteX19" fmla="*/ 12045155 w 12045155"/>
                <a:gd name="connsiteY19" fmla="*/ 699393 h 1129823"/>
                <a:gd name="connsiteX20" fmla="*/ 12045155 w 12045155"/>
                <a:gd name="connsiteY20" fmla="*/ 261011 h 1129823"/>
                <a:gd name="connsiteX21" fmla="*/ 8450223 w 12045155"/>
                <a:gd name="connsiteY21" fmla="*/ 156695 h 1129823"/>
                <a:gd name="connsiteX22" fmla="*/ 7635927 w 12045155"/>
                <a:gd name="connsiteY22" fmla="*/ 105714 h 1129823"/>
                <a:gd name="connsiteX23" fmla="*/ 7049636 w 12045155"/>
                <a:gd name="connsiteY23" fmla="*/ 199189 h 1129823"/>
                <a:gd name="connsiteX24" fmla="*/ 6342549 w 12045155"/>
                <a:gd name="connsiteY24" fmla="*/ 146630 h 1129823"/>
                <a:gd name="connsiteX25" fmla="*/ 5902209 w 12045155"/>
                <a:gd name="connsiteY25" fmla="*/ 249658 h 1129823"/>
                <a:gd name="connsiteX26" fmla="*/ 5182195 w 12045155"/>
                <a:gd name="connsiteY26" fmla="*/ 292664 h 1129823"/>
                <a:gd name="connsiteX27" fmla="*/ 3822487 w 12045155"/>
                <a:gd name="connsiteY27" fmla="*/ 90799 h 1129823"/>
                <a:gd name="connsiteX28" fmla="*/ 2370177 w 12045155"/>
                <a:gd name="connsiteY28" fmla="*/ 156695 h 1129823"/>
                <a:gd name="connsiteX29" fmla="*/ 578745 w 12045155"/>
                <a:gd name="connsiteY29" fmla="*/ 148189 h 1129823"/>
                <a:gd name="connsiteX30" fmla="*/ 38923 w 12045155"/>
                <a:gd name="connsiteY30" fmla="*/ 157240 h 1129823"/>
                <a:gd name="connsiteX0" fmla="*/ 38923 w 12045155"/>
                <a:gd name="connsiteY0" fmla="*/ 157240 h 1784983"/>
                <a:gd name="connsiteX1" fmla="*/ 4765 w 12045155"/>
                <a:gd name="connsiteY1" fmla="*/ 229969 h 1784983"/>
                <a:gd name="connsiteX2" fmla="*/ 16985 w 12045155"/>
                <a:gd name="connsiteY2" fmla="*/ 441204 h 1784983"/>
                <a:gd name="connsiteX3" fmla="*/ 31647 w 12045155"/>
                <a:gd name="connsiteY3" fmla="*/ 700450 h 1784983"/>
                <a:gd name="connsiteX4" fmla="*/ 43864 w 12045155"/>
                <a:gd name="connsiteY4" fmla="*/ 777266 h 1784983"/>
                <a:gd name="connsiteX5" fmla="*/ 80207 w 12045155"/>
                <a:gd name="connsiteY5" fmla="*/ 937416 h 1784983"/>
                <a:gd name="connsiteX6" fmla="*/ 937008 w 12045155"/>
                <a:gd name="connsiteY6" fmla="*/ 844973 h 1784983"/>
                <a:gd name="connsiteX7" fmla="*/ 1631867 w 12045155"/>
                <a:gd name="connsiteY7" fmla="*/ 878961 h 1784983"/>
                <a:gd name="connsiteX8" fmla="*/ 2087877 w 12045155"/>
                <a:gd name="connsiteY8" fmla="*/ 819473 h 1784983"/>
                <a:gd name="connsiteX9" fmla="*/ 2565599 w 12045155"/>
                <a:gd name="connsiteY9" fmla="*/ 819473 h 1784983"/>
                <a:gd name="connsiteX10" fmla="*/ 3336468 w 12045155"/>
                <a:gd name="connsiteY10" fmla="*/ 861967 h 1784983"/>
                <a:gd name="connsiteX11" fmla="*/ 4215904 w 12045155"/>
                <a:gd name="connsiteY11" fmla="*/ 844973 h 1784983"/>
                <a:gd name="connsiteX12" fmla="*/ 4845622 w 12045155"/>
                <a:gd name="connsiteY12" fmla="*/ 853479 h 1784983"/>
                <a:gd name="connsiteX13" fmla="*/ 5681632 w 12045155"/>
                <a:gd name="connsiteY13" fmla="*/ 853479 h 1784983"/>
                <a:gd name="connsiteX14" fmla="*/ 6745645 w 12045155"/>
                <a:gd name="connsiteY14" fmla="*/ 878979 h 1784983"/>
                <a:gd name="connsiteX15" fmla="*/ 7494800 w 12045155"/>
                <a:gd name="connsiteY15" fmla="*/ 870473 h 1784983"/>
                <a:gd name="connsiteX16" fmla="*/ 8026795 w 12045155"/>
                <a:gd name="connsiteY16" fmla="*/ 861967 h 1784983"/>
                <a:gd name="connsiteX17" fmla="*/ 8504518 w 12045155"/>
                <a:gd name="connsiteY17" fmla="*/ 827979 h 1784983"/>
                <a:gd name="connsiteX18" fmla="*/ 10922986 w 12045155"/>
                <a:gd name="connsiteY18" fmla="*/ 1782194 h 1784983"/>
                <a:gd name="connsiteX19" fmla="*/ 11481826 w 12045155"/>
                <a:gd name="connsiteY19" fmla="*/ 1127088 h 1784983"/>
                <a:gd name="connsiteX20" fmla="*/ 12045155 w 12045155"/>
                <a:gd name="connsiteY20" fmla="*/ 699393 h 1784983"/>
                <a:gd name="connsiteX21" fmla="*/ 12045155 w 12045155"/>
                <a:gd name="connsiteY21" fmla="*/ 261011 h 1784983"/>
                <a:gd name="connsiteX22" fmla="*/ 8450223 w 12045155"/>
                <a:gd name="connsiteY22" fmla="*/ 156695 h 1784983"/>
                <a:gd name="connsiteX23" fmla="*/ 7635927 w 12045155"/>
                <a:gd name="connsiteY23" fmla="*/ 105714 h 1784983"/>
                <a:gd name="connsiteX24" fmla="*/ 7049636 w 12045155"/>
                <a:gd name="connsiteY24" fmla="*/ 199189 h 1784983"/>
                <a:gd name="connsiteX25" fmla="*/ 6342549 w 12045155"/>
                <a:gd name="connsiteY25" fmla="*/ 146630 h 1784983"/>
                <a:gd name="connsiteX26" fmla="*/ 5902209 w 12045155"/>
                <a:gd name="connsiteY26" fmla="*/ 249658 h 1784983"/>
                <a:gd name="connsiteX27" fmla="*/ 5182195 w 12045155"/>
                <a:gd name="connsiteY27" fmla="*/ 292664 h 1784983"/>
                <a:gd name="connsiteX28" fmla="*/ 3822487 w 12045155"/>
                <a:gd name="connsiteY28" fmla="*/ 90799 h 1784983"/>
                <a:gd name="connsiteX29" fmla="*/ 2370177 w 12045155"/>
                <a:gd name="connsiteY29" fmla="*/ 156695 h 1784983"/>
                <a:gd name="connsiteX30" fmla="*/ 578745 w 12045155"/>
                <a:gd name="connsiteY30" fmla="*/ 148189 h 1784983"/>
                <a:gd name="connsiteX31" fmla="*/ 38923 w 12045155"/>
                <a:gd name="connsiteY31" fmla="*/ 157240 h 1784983"/>
                <a:gd name="connsiteX0" fmla="*/ 38923 w 12045155"/>
                <a:gd name="connsiteY0" fmla="*/ 157240 h 1848237"/>
                <a:gd name="connsiteX1" fmla="*/ 4765 w 12045155"/>
                <a:gd name="connsiteY1" fmla="*/ 229969 h 1848237"/>
                <a:gd name="connsiteX2" fmla="*/ 16985 w 12045155"/>
                <a:gd name="connsiteY2" fmla="*/ 441204 h 1848237"/>
                <a:gd name="connsiteX3" fmla="*/ 31647 w 12045155"/>
                <a:gd name="connsiteY3" fmla="*/ 700450 h 1848237"/>
                <a:gd name="connsiteX4" fmla="*/ 43864 w 12045155"/>
                <a:gd name="connsiteY4" fmla="*/ 777266 h 1848237"/>
                <a:gd name="connsiteX5" fmla="*/ 80207 w 12045155"/>
                <a:gd name="connsiteY5" fmla="*/ 937416 h 1848237"/>
                <a:gd name="connsiteX6" fmla="*/ 937008 w 12045155"/>
                <a:gd name="connsiteY6" fmla="*/ 844973 h 1848237"/>
                <a:gd name="connsiteX7" fmla="*/ 1631867 w 12045155"/>
                <a:gd name="connsiteY7" fmla="*/ 878961 h 1848237"/>
                <a:gd name="connsiteX8" fmla="*/ 2087877 w 12045155"/>
                <a:gd name="connsiteY8" fmla="*/ 819473 h 1848237"/>
                <a:gd name="connsiteX9" fmla="*/ 2565599 w 12045155"/>
                <a:gd name="connsiteY9" fmla="*/ 819473 h 1848237"/>
                <a:gd name="connsiteX10" fmla="*/ 3336468 w 12045155"/>
                <a:gd name="connsiteY10" fmla="*/ 861967 h 1848237"/>
                <a:gd name="connsiteX11" fmla="*/ 4215904 w 12045155"/>
                <a:gd name="connsiteY11" fmla="*/ 844973 h 1848237"/>
                <a:gd name="connsiteX12" fmla="*/ 4845622 w 12045155"/>
                <a:gd name="connsiteY12" fmla="*/ 853479 h 1848237"/>
                <a:gd name="connsiteX13" fmla="*/ 5681632 w 12045155"/>
                <a:gd name="connsiteY13" fmla="*/ 853479 h 1848237"/>
                <a:gd name="connsiteX14" fmla="*/ 6745645 w 12045155"/>
                <a:gd name="connsiteY14" fmla="*/ 878979 h 1848237"/>
                <a:gd name="connsiteX15" fmla="*/ 7494800 w 12045155"/>
                <a:gd name="connsiteY15" fmla="*/ 870473 h 1848237"/>
                <a:gd name="connsiteX16" fmla="*/ 8026795 w 12045155"/>
                <a:gd name="connsiteY16" fmla="*/ 861967 h 1848237"/>
                <a:gd name="connsiteX17" fmla="*/ 8504518 w 12045155"/>
                <a:gd name="connsiteY17" fmla="*/ 827979 h 1848237"/>
                <a:gd name="connsiteX18" fmla="*/ 10922986 w 12045155"/>
                <a:gd name="connsiteY18" fmla="*/ 1782194 h 1848237"/>
                <a:gd name="connsiteX19" fmla="*/ 11481826 w 12045155"/>
                <a:gd name="connsiteY19" fmla="*/ 1127088 h 1848237"/>
                <a:gd name="connsiteX20" fmla="*/ 12045155 w 12045155"/>
                <a:gd name="connsiteY20" fmla="*/ 699393 h 1848237"/>
                <a:gd name="connsiteX21" fmla="*/ 12045155 w 12045155"/>
                <a:gd name="connsiteY21" fmla="*/ 261011 h 1848237"/>
                <a:gd name="connsiteX22" fmla="*/ 8450223 w 12045155"/>
                <a:gd name="connsiteY22" fmla="*/ 156695 h 1848237"/>
                <a:gd name="connsiteX23" fmla="*/ 7635927 w 12045155"/>
                <a:gd name="connsiteY23" fmla="*/ 105714 h 1848237"/>
                <a:gd name="connsiteX24" fmla="*/ 7049636 w 12045155"/>
                <a:gd name="connsiteY24" fmla="*/ 199189 h 1848237"/>
                <a:gd name="connsiteX25" fmla="*/ 6342549 w 12045155"/>
                <a:gd name="connsiteY25" fmla="*/ 146630 h 1848237"/>
                <a:gd name="connsiteX26" fmla="*/ 5902209 w 12045155"/>
                <a:gd name="connsiteY26" fmla="*/ 249658 h 1848237"/>
                <a:gd name="connsiteX27" fmla="*/ 5182195 w 12045155"/>
                <a:gd name="connsiteY27" fmla="*/ 292664 h 1848237"/>
                <a:gd name="connsiteX28" fmla="*/ 3822487 w 12045155"/>
                <a:gd name="connsiteY28" fmla="*/ 90799 h 1848237"/>
                <a:gd name="connsiteX29" fmla="*/ 2370177 w 12045155"/>
                <a:gd name="connsiteY29" fmla="*/ 156695 h 1848237"/>
                <a:gd name="connsiteX30" fmla="*/ 578745 w 12045155"/>
                <a:gd name="connsiteY30" fmla="*/ 148189 h 1848237"/>
                <a:gd name="connsiteX31" fmla="*/ 38923 w 12045155"/>
                <a:gd name="connsiteY31" fmla="*/ 157240 h 1848237"/>
                <a:gd name="connsiteX0" fmla="*/ 38923 w 12045155"/>
                <a:gd name="connsiteY0" fmla="*/ 157240 h 2147863"/>
                <a:gd name="connsiteX1" fmla="*/ 4765 w 12045155"/>
                <a:gd name="connsiteY1" fmla="*/ 229969 h 2147863"/>
                <a:gd name="connsiteX2" fmla="*/ 16985 w 12045155"/>
                <a:gd name="connsiteY2" fmla="*/ 441204 h 2147863"/>
                <a:gd name="connsiteX3" fmla="*/ 31647 w 12045155"/>
                <a:gd name="connsiteY3" fmla="*/ 700450 h 2147863"/>
                <a:gd name="connsiteX4" fmla="*/ 43864 w 12045155"/>
                <a:gd name="connsiteY4" fmla="*/ 777266 h 2147863"/>
                <a:gd name="connsiteX5" fmla="*/ 80207 w 12045155"/>
                <a:gd name="connsiteY5" fmla="*/ 937416 h 2147863"/>
                <a:gd name="connsiteX6" fmla="*/ 937008 w 12045155"/>
                <a:gd name="connsiteY6" fmla="*/ 844973 h 2147863"/>
                <a:gd name="connsiteX7" fmla="*/ 1631867 w 12045155"/>
                <a:gd name="connsiteY7" fmla="*/ 878961 h 2147863"/>
                <a:gd name="connsiteX8" fmla="*/ 2087877 w 12045155"/>
                <a:gd name="connsiteY8" fmla="*/ 819473 h 2147863"/>
                <a:gd name="connsiteX9" fmla="*/ 2565599 w 12045155"/>
                <a:gd name="connsiteY9" fmla="*/ 819473 h 2147863"/>
                <a:gd name="connsiteX10" fmla="*/ 3336468 w 12045155"/>
                <a:gd name="connsiteY10" fmla="*/ 861967 h 2147863"/>
                <a:gd name="connsiteX11" fmla="*/ 4215904 w 12045155"/>
                <a:gd name="connsiteY11" fmla="*/ 844973 h 2147863"/>
                <a:gd name="connsiteX12" fmla="*/ 4845622 w 12045155"/>
                <a:gd name="connsiteY12" fmla="*/ 853479 h 2147863"/>
                <a:gd name="connsiteX13" fmla="*/ 5681632 w 12045155"/>
                <a:gd name="connsiteY13" fmla="*/ 853479 h 2147863"/>
                <a:gd name="connsiteX14" fmla="*/ 6745645 w 12045155"/>
                <a:gd name="connsiteY14" fmla="*/ 878979 h 2147863"/>
                <a:gd name="connsiteX15" fmla="*/ 7494800 w 12045155"/>
                <a:gd name="connsiteY15" fmla="*/ 870473 h 2147863"/>
                <a:gd name="connsiteX16" fmla="*/ 8026795 w 12045155"/>
                <a:gd name="connsiteY16" fmla="*/ 861967 h 2147863"/>
                <a:gd name="connsiteX17" fmla="*/ 8504518 w 12045155"/>
                <a:gd name="connsiteY17" fmla="*/ 827979 h 2147863"/>
                <a:gd name="connsiteX18" fmla="*/ 10177867 w 12045155"/>
                <a:gd name="connsiteY18" fmla="*/ 2109744 h 2147863"/>
                <a:gd name="connsiteX19" fmla="*/ 10922986 w 12045155"/>
                <a:gd name="connsiteY19" fmla="*/ 1782194 h 2147863"/>
                <a:gd name="connsiteX20" fmla="*/ 11481826 w 12045155"/>
                <a:gd name="connsiteY20" fmla="*/ 1127088 h 2147863"/>
                <a:gd name="connsiteX21" fmla="*/ 12045155 w 12045155"/>
                <a:gd name="connsiteY21" fmla="*/ 699393 h 2147863"/>
                <a:gd name="connsiteX22" fmla="*/ 12045155 w 12045155"/>
                <a:gd name="connsiteY22" fmla="*/ 261011 h 2147863"/>
                <a:gd name="connsiteX23" fmla="*/ 8450223 w 12045155"/>
                <a:gd name="connsiteY23" fmla="*/ 156695 h 2147863"/>
                <a:gd name="connsiteX24" fmla="*/ 7635927 w 12045155"/>
                <a:gd name="connsiteY24" fmla="*/ 105714 h 2147863"/>
                <a:gd name="connsiteX25" fmla="*/ 7049636 w 12045155"/>
                <a:gd name="connsiteY25" fmla="*/ 199189 h 2147863"/>
                <a:gd name="connsiteX26" fmla="*/ 6342549 w 12045155"/>
                <a:gd name="connsiteY26" fmla="*/ 146630 h 2147863"/>
                <a:gd name="connsiteX27" fmla="*/ 5902209 w 12045155"/>
                <a:gd name="connsiteY27" fmla="*/ 249658 h 2147863"/>
                <a:gd name="connsiteX28" fmla="*/ 5182195 w 12045155"/>
                <a:gd name="connsiteY28" fmla="*/ 292664 h 2147863"/>
                <a:gd name="connsiteX29" fmla="*/ 3822487 w 12045155"/>
                <a:gd name="connsiteY29" fmla="*/ 90799 h 2147863"/>
                <a:gd name="connsiteX30" fmla="*/ 2370177 w 12045155"/>
                <a:gd name="connsiteY30" fmla="*/ 156695 h 2147863"/>
                <a:gd name="connsiteX31" fmla="*/ 578745 w 12045155"/>
                <a:gd name="connsiteY31" fmla="*/ 148189 h 2147863"/>
                <a:gd name="connsiteX32" fmla="*/ 38923 w 12045155"/>
                <a:gd name="connsiteY32" fmla="*/ 157240 h 2147863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8450223 w 12045155"/>
                <a:gd name="connsiteY24" fmla="*/ 156695 h 2112232"/>
                <a:gd name="connsiteX25" fmla="*/ 7635927 w 12045155"/>
                <a:gd name="connsiteY25" fmla="*/ 105714 h 2112232"/>
                <a:gd name="connsiteX26" fmla="*/ 7049636 w 12045155"/>
                <a:gd name="connsiteY26" fmla="*/ 199189 h 2112232"/>
                <a:gd name="connsiteX27" fmla="*/ 6342549 w 12045155"/>
                <a:gd name="connsiteY27" fmla="*/ 146630 h 2112232"/>
                <a:gd name="connsiteX28" fmla="*/ 5902209 w 12045155"/>
                <a:gd name="connsiteY28" fmla="*/ 249658 h 2112232"/>
                <a:gd name="connsiteX29" fmla="*/ 5182195 w 12045155"/>
                <a:gd name="connsiteY29" fmla="*/ 292664 h 2112232"/>
                <a:gd name="connsiteX30" fmla="*/ 3822487 w 12045155"/>
                <a:gd name="connsiteY30" fmla="*/ 90799 h 2112232"/>
                <a:gd name="connsiteX31" fmla="*/ 2370177 w 12045155"/>
                <a:gd name="connsiteY31" fmla="*/ 156695 h 2112232"/>
                <a:gd name="connsiteX32" fmla="*/ 578745 w 12045155"/>
                <a:gd name="connsiteY32" fmla="*/ 148189 h 2112232"/>
                <a:gd name="connsiteX33" fmla="*/ 38923 w 12045155"/>
                <a:gd name="connsiteY33" fmla="*/ 157240 h 2112232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11438839 w 12045155"/>
                <a:gd name="connsiteY24" fmla="*/ 435586 h 2112232"/>
                <a:gd name="connsiteX25" fmla="*/ 8450223 w 12045155"/>
                <a:gd name="connsiteY25" fmla="*/ 156695 h 2112232"/>
                <a:gd name="connsiteX26" fmla="*/ 7635927 w 12045155"/>
                <a:gd name="connsiteY26" fmla="*/ 105714 h 2112232"/>
                <a:gd name="connsiteX27" fmla="*/ 7049636 w 12045155"/>
                <a:gd name="connsiteY27" fmla="*/ 199189 h 2112232"/>
                <a:gd name="connsiteX28" fmla="*/ 6342549 w 12045155"/>
                <a:gd name="connsiteY28" fmla="*/ 146630 h 2112232"/>
                <a:gd name="connsiteX29" fmla="*/ 5902209 w 12045155"/>
                <a:gd name="connsiteY29" fmla="*/ 249658 h 2112232"/>
                <a:gd name="connsiteX30" fmla="*/ 5182195 w 12045155"/>
                <a:gd name="connsiteY30" fmla="*/ 292664 h 2112232"/>
                <a:gd name="connsiteX31" fmla="*/ 3822487 w 12045155"/>
                <a:gd name="connsiteY31" fmla="*/ 90799 h 2112232"/>
                <a:gd name="connsiteX32" fmla="*/ 2370177 w 12045155"/>
                <a:gd name="connsiteY32" fmla="*/ 156695 h 2112232"/>
                <a:gd name="connsiteX33" fmla="*/ 578745 w 12045155"/>
                <a:gd name="connsiteY33" fmla="*/ 148189 h 2112232"/>
                <a:gd name="connsiteX34" fmla="*/ 38923 w 12045155"/>
                <a:gd name="connsiteY34" fmla="*/ 157240 h 2112232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11438839 w 12045155"/>
                <a:gd name="connsiteY24" fmla="*/ 435586 h 2112232"/>
                <a:gd name="connsiteX25" fmla="*/ 8450223 w 12045155"/>
                <a:gd name="connsiteY25" fmla="*/ 156695 h 2112232"/>
                <a:gd name="connsiteX26" fmla="*/ 7635927 w 12045155"/>
                <a:gd name="connsiteY26" fmla="*/ 105714 h 2112232"/>
                <a:gd name="connsiteX27" fmla="*/ 7049636 w 12045155"/>
                <a:gd name="connsiteY27" fmla="*/ 199189 h 2112232"/>
                <a:gd name="connsiteX28" fmla="*/ 6342549 w 12045155"/>
                <a:gd name="connsiteY28" fmla="*/ 146630 h 2112232"/>
                <a:gd name="connsiteX29" fmla="*/ 5902209 w 12045155"/>
                <a:gd name="connsiteY29" fmla="*/ 249658 h 2112232"/>
                <a:gd name="connsiteX30" fmla="*/ 5182195 w 12045155"/>
                <a:gd name="connsiteY30" fmla="*/ 292664 h 2112232"/>
                <a:gd name="connsiteX31" fmla="*/ 3822487 w 12045155"/>
                <a:gd name="connsiteY31" fmla="*/ 90799 h 2112232"/>
                <a:gd name="connsiteX32" fmla="*/ 2370177 w 12045155"/>
                <a:gd name="connsiteY32" fmla="*/ 156695 h 2112232"/>
                <a:gd name="connsiteX33" fmla="*/ 578745 w 12045155"/>
                <a:gd name="connsiteY33" fmla="*/ 148189 h 2112232"/>
                <a:gd name="connsiteX34" fmla="*/ 38923 w 12045155"/>
                <a:gd name="connsiteY34" fmla="*/ 157240 h 2112232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11438839 w 12045155"/>
                <a:gd name="connsiteY24" fmla="*/ 435586 h 2112232"/>
                <a:gd name="connsiteX25" fmla="*/ 9053022 w 12045155"/>
                <a:gd name="connsiteY25" fmla="*/ 581165 h 2112232"/>
                <a:gd name="connsiteX26" fmla="*/ 8450223 w 12045155"/>
                <a:gd name="connsiteY26" fmla="*/ 156695 h 2112232"/>
                <a:gd name="connsiteX27" fmla="*/ 7635927 w 12045155"/>
                <a:gd name="connsiteY27" fmla="*/ 105714 h 2112232"/>
                <a:gd name="connsiteX28" fmla="*/ 7049636 w 12045155"/>
                <a:gd name="connsiteY28" fmla="*/ 199189 h 2112232"/>
                <a:gd name="connsiteX29" fmla="*/ 6342549 w 12045155"/>
                <a:gd name="connsiteY29" fmla="*/ 146630 h 2112232"/>
                <a:gd name="connsiteX30" fmla="*/ 5902209 w 12045155"/>
                <a:gd name="connsiteY30" fmla="*/ 249658 h 2112232"/>
                <a:gd name="connsiteX31" fmla="*/ 5182195 w 12045155"/>
                <a:gd name="connsiteY31" fmla="*/ 292664 h 2112232"/>
                <a:gd name="connsiteX32" fmla="*/ 3822487 w 12045155"/>
                <a:gd name="connsiteY32" fmla="*/ 90799 h 2112232"/>
                <a:gd name="connsiteX33" fmla="*/ 2370177 w 12045155"/>
                <a:gd name="connsiteY33" fmla="*/ 156695 h 2112232"/>
                <a:gd name="connsiteX34" fmla="*/ 578745 w 12045155"/>
                <a:gd name="connsiteY34" fmla="*/ 148189 h 2112232"/>
                <a:gd name="connsiteX35" fmla="*/ 38923 w 12045155"/>
                <a:gd name="connsiteY35" fmla="*/ 157240 h 2112232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11438839 w 12045155"/>
                <a:gd name="connsiteY24" fmla="*/ 435586 h 2112232"/>
                <a:gd name="connsiteX25" fmla="*/ 9527677 w 12045155"/>
                <a:gd name="connsiteY25" fmla="*/ 1058846 h 2112232"/>
                <a:gd name="connsiteX26" fmla="*/ 9053022 w 12045155"/>
                <a:gd name="connsiteY26" fmla="*/ 581165 h 2112232"/>
                <a:gd name="connsiteX27" fmla="*/ 8450223 w 12045155"/>
                <a:gd name="connsiteY27" fmla="*/ 156695 h 2112232"/>
                <a:gd name="connsiteX28" fmla="*/ 7635927 w 12045155"/>
                <a:gd name="connsiteY28" fmla="*/ 105714 h 2112232"/>
                <a:gd name="connsiteX29" fmla="*/ 7049636 w 12045155"/>
                <a:gd name="connsiteY29" fmla="*/ 199189 h 2112232"/>
                <a:gd name="connsiteX30" fmla="*/ 6342549 w 12045155"/>
                <a:gd name="connsiteY30" fmla="*/ 146630 h 2112232"/>
                <a:gd name="connsiteX31" fmla="*/ 5902209 w 12045155"/>
                <a:gd name="connsiteY31" fmla="*/ 249658 h 2112232"/>
                <a:gd name="connsiteX32" fmla="*/ 5182195 w 12045155"/>
                <a:gd name="connsiteY32" fmla="*/ 292664 h 2112232"/>
                <a:gd name="connsiteX33" fmla="*/ 3822487 w 12045155"/>
                <a:gd name="connsiteY33" fmla="*/ 90799 h 2112232"/>
                <a:gd name="connsiteX34" fmla="*/ 2370177 w 12045155"/>
                <a:gd name="connsiteY34" fmla="*/ 156695 h 2112232"/>
                <a:gd name="connsiteX35" fmla="*/ 578745 w 12045155"/>
                <a:gd name="connsiteY35" fmla="*/ 148189 h 2112232"/>
                <a:gd name="connsiteX36" fmla="*/ 38923 w 12045155"/>
                <a:gd name="connsiteY36" fmla="*/ 157240 h 2112232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11438839 w 12045155"/>
                <a:gd name="connsiteY24" fmla="*/ 435586 h 2112232"/>
                <a:gd name="connsiteX25" fmla="*/ 11059114 w 12045155"/>
                <a:gd name="connsiteY25" fmla="*/ 1047471 h 2112232"/>
                <a:gd name="connsiteX26" fmla="*/ 9527677 w 12045155"/>
                <a:gd name="connsiteY26" fmla="*/ 1058846 h 2112232"/>
                <a:gd name="connsiteX27" fmla="*/ 9053022 w 12045155"/>
                <a:gd name="connsiteY27" fmla="*/ 581165 h 2112232"/>
                <a:gd name="connsiteX28" fmla="*/ 8450223 w 12045155"/>
                <a:gd name="connsiteY28" fmla="*/ 156695 h 2112232"/>
                <a:gd name="connsiteX29" fmla="*/ 7635927 w 12045155"/>
                <a:gd name="connsiteY29" fmla="*/ 105714 h 2112232"/>
                <a:gd name="connsiteX30" fmla="*/ 7049636 w 12045155"/>
                <a:gd name="connsiteY30" fmla="*/ 199189 h 2112232"/>
                <a:gd name="connsiteX31" fmla="*/ 6342549 w 12045155"/>
                <a:gd name="connsiteY31" fmla="*/ 146630 h 2112232"/>
                <a:gd name="connsiteX32" fmla="*/ 5902209 w 12045155"/>
                <a:gd name="connsiteY32" fmla="*/ 249658 h 2112232"/>
                <a:gd name="connsiteX33" fmla="*/ 5182195 w 12045155"/>
                <a:gd name="connsiteY33" fmla="*/ 292664 h 2112232"/>
                <a:gd name="connsiteX34" fmla="*/ 3822487 w 12045155"/>
                <a:gd name="connsiteY34" fmla="*/ 90799 h 2112232"/>
                <a:gd name="connsiteX35" fmla="*/ 2370177 w 12045155"/>
                <a:gd name="connsiteY35" fmla="*/ 156695 h 2112232"/>
                <a:gd name="connsiteX36" fmla="*/ 578745 w 12045155"/>
                <a:gd name="connsiteY36" fmla="*/ 148189 h 2112232"/>
                <a:gd name="connsiteX37" fmla="*/ 38923 w 12045155"/>
                <a:gd name="connsiteY37" fmla="*/ 157240 h 2112232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11438839 w 12045155"/>
                <a:gd name="connsiteY24" fmla="*/ 435586 h 2112232"/>
                <a:gd name="connsiteX25" fmla="*/ 11059114 w 12045155"/>
                <a:gd name="connsiteY25" fmla="*/ 1047471 h 2112232"/>
                <a:gd name="connsiteX26" fmla="*/ 10602369 w 12045155"/>
                <a:gd name="connsiteY26" fmla="*/ 1661632 h 2112232"/>
                <a:gd name="connsiteX27" fmla="*/ 9527677 w 12045155"/>
                <a:gd name="connsiteY27" fmla="*/ 1058846 h 2112232"/>
                <a:gd name="connsiteX28" fmla="*/ 9053022 w 12045155"/>
                <a:gd name="connsiteY28" fmla="*/ 581165 h 2112232"/>
                <a:gd name="connsiteX29" fmla="*/ 8450223 w 12045155"/>
                <a:gd name="connsiteY29" fmla="*/ 156695 h 2112232"/>
                <a:gd name="connsiteX30" fmla="*/ 7635927 w 12045155"/>
                <a:gd name="connsiteY30" fmla="*/ 105714 h 2112232"/>
                <a:gd name="connsiteX31" fmla="*/ 7049636 w 12045155"/>
                <a:gd name="connsiteY31" fmla="*/ 199189 h 2112232"/>
                <a:gd name="connsiteX32" fmla="*/ 6342549 w 12045155"/>
                <a:gd name="connsiteY32" fmla="*/ 146630 h 2112232"/>
                <a:gd name="connsiteX33" fmla="*/ 5902209 w 12045155"/>
                <a:gd name="connsiteY33" fmla="*/ 249658 h 2112232"/>
                <a:gd name="connsiteX34" fmla="*/ 5182195 w 12045155"/>
                <a:gd name="connsiteY34" fmla="*/ 292664 h 2112232"/>
                <a:gd name="connsiteX35" fmla="*/ 3822487 w 12045155"/>
                <a:gd name="connsiteY35" fmla="*/ 90799 h 2112232"/>
                <a:gd name="connsiteX36" fmla="*/ 2370177 w 12045155"/>
                <a:gd name="connsiteY36" fmla="*/ 156695 h 2112232"/>
                <a:gd name="connsiteX37" fmla="*/ 578745 w 12045155"/>
                <a:gd name="connsiteY37" fmla="*/ 148189 h 2112232"/>
                <a:gd name="connsiteX38" fmla="*/ 38923 w 12045155"/>
                <a:gd name="connsiteY38" fmla="*/ 157240 h 2112232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11438839 w 12045155"/>
                <a:gd name="connsiteY24" fmla="*/ 435586 h 2112232"/>
                <a:gd name="connsiteX25" fmla="*/ 11059114 w 12045155"/>
                <a:gd name="connsiteY25" fmla="*/ 1047471 h 2112232"/>
                <a:gd name="connsiteX26" fmla="*/ 10602369 w 12045155"/>
                <a:gd name="connsiteY26" fmla="*/ 1661632 h 2112232"/>
                <a:gd name="connsiteX27" fmla="*/ 9948599 w 12045155"/>
                <a:gd name="connsiteY27" fmla="*/ 1673007 h 2112232"/>
                <a:gd name="connsiteX28" fmla="*/ 9527677 w 12045155"/>
                <a:gd name="connsiteY28" fmla="*/ 1058846 h 2112232"/>
                <a:gd name="connsiteX29" fmla="*/ 9053022 w 12045155"/>
                <a:gd name="connsiteY29" fmla="*/ 581165 h 2112232"/>
                <a:gd name="connsiteX30" fmla="*/ 8450223 w 12045155"/>
                <a:gd name="connsiteY30" fmla="*/ 156695 h 2112232"/>
                <a:gd name="connsiteX31" fmla="*/ 7635927 w 12045155"/>
                <a:gd name="connsiteY31" fmla="*/ 105714 h 2112232"/>
                <a:gd name="connsiteX32" fmla="*/ 7049636 w 12045155"/>
                <a:gd name="connsiteY32" fmla="*/ 199189 h 2112232"/>
                <a:gd name="connsiteX33" fmla="*/ 6342549 w 12045155"/>
                <a:gd name="connsiteY33" fmla="*/ 146630 h 2112232"/>
                <a:gd name="connsiteX34" fmla="*/ 5902209 w 12045155"/>
                <a:gd name="connsiteY34" fmla="*/ 249658 h 2112232"/>
                <a:gd name="connsiteX35" fmla="*/ 5182195 w 12045155"/>
                <a:gd name="connsiteY35" fmla="*/ 292664 h 2112232"/>
                <a:gd name="connsiteX36" fmla="*/ 3822487 w 12045155"/>
                <a:gd name="connsiteY36" fmla="*/ 90799 h 2112232"/>
                <a:gd name="connsiteX37" fmla="*/ 2370177 w 12045155"/>
                <a:gd name="connsiteY37" fmla="*/ 156695 h 2112232"/>
                <a:gd name="connsiteX38" fmla="*/ 578745 w 12045155"/>
                <a:gd name="connsiteY38" fmla="*/ 148189 h 2112232"/>
                <a:gd name="connsiteX39" fmla="*/ 38923 w 12045155"/>
                <a:gd name="connsiteY39" fmla="*/ 157240 h 2112232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11438839 w 12045155"/>
                <a:gd name="connsiteY24" fmla="*/ 435586 h 2112232"/>
                <a:gd name="connsiteX25" fmla="*/ 11059114 w 12045155"/>
                <a:gd name="connsiteY25" fmla="*/ 1047471 h 2112232"/>
                <a:gd name="connsiteX26" fmla="*/ 10602369 w 12045155"/>
                <a:gd name="connsiteY26" fmla="*/ 1661632 h 2112232"/>
                <a:gd name="connsiteX27" fmla="*/ 10034574 w 12045155"/>
                <a:gd name="connsiteY27" fmla="*/ 1618415 h 2112232"/>
                <a:gd name="connsiteX28" fmla="*/ 9527677 w 12045155"/>
                <a:gd name="connsiteY28" fmla="*/ 1058846 h 2112232"/>
                <a:gd name="connsiteX29" fmla="*/ 9053022 w 12045155"/>
                <a:gd name="connsiteY29" fmla="*/ 581165 h 2112232"/>
                <a:gd name="connsiteX30" fmla="*/ 8450223 w 12045155"/>
                <a:gd name="connsiteY30" fmla="*/ 156695 h 2112232"/>
                <a:gd name="connsiteX31" fmla="*/ 7635927 w 12045155"/>
                <a:gd name="connsiteY31" fmla="*/ 105714 h 2112232"/>
                <a:gd name="connsiteX32" fmla="*/ 7049636 w 12045155"/>
                <a:gd name="connsiteY32" fmla="*/ 199189 h 2112232"/>
                <a:gd name="connsiteX33" fmla="*/ 6342549 w 12045155"/>
                <a:gd name="connsiteY33" fmla="*/ 146630 h 2112232"/>
                <a:gd name="connsiteX34" fmla="*/ 5902209 w 12045155"/>
                <a:gd name="connsiteY34" fmla="*/ 249658 h 2112232"/>
                <a:gd name="connsiteX35" fmla="*/ 5182195 w 12045155"/>
                <a:gd name="connsiteY35" fmla="*/ 292664 h 2112232"/>
                <a:gd name="connsiteX36" fmla="*/ 3822487 w 12045155"/>
                <a:gd name="connsiteY36" fmla="*/ 90799 h 2112232"/>
                <a:gd name="connsiteX37" fmla="*/ 2370177 w 12045155"/>
                <a:gd name="connsiteY37" fmla="*/ 156695 h 2112232"/>
                <a:gd name="connsiteX38" fmla="*/ 578745 w 12045155"/>
                <a:gd name="connsiteY38" fmla="*/ 148189 h 2112232"/>
                <a:gd name="connsiteX39" fmla="*/ 38923 w 12045155"/>
                <a:gd name="connsiteY39" fmla="*/ 157240 h 2112232"/>
                <a:gd name="connsiteX0" fmla="*/ 38923 w 12045155"/>
                <a:gd name="connsiteY0" fmla="*/ 157240 h 2159168"/>
                <a:gd name="connsiteX1" fmla="*/ 4765 w 12045155"/>
                <a:gd name="connsiteY1" fmla="*/ 229969 h 2159168"/>
                <a:gd name="connsiteX2" fmla="*/ 16985 w 12045155"/>
                <a:gd name="connsiteY2" fmla="*/ 441204 h 2159168"/>
                <a:gd name="connsiteX3" fmla="*/ 31647 w 12045155"/>
                <a:gd name="connsiteY3" fmla="*/ 700450 h 2159168"/>
                <a:gd name="connsiteX4" fmla="*/ 43864 w 12045155"/>
                <a:gd name="connsiteY4" fmla="*/ 777266 h 2159168"/>
                <a:gd name="connsiteX5" fmla="*/ 80207 w 12045155"/>
                <a:gd name="connsiteY5" fmla="*/ 937416 h 2159168"/>
                <a:gd name="connsiteX6" fmla="*/ 937008 w 12045155"/>
                <a:gd name="connsiteY6" fmla="*/ 844973 h 2159168"/>
                <a:gd name="connsiteX7" fmla="*/ 1631867 w 12045155"/>
                <a:gd name="connsiteY7" fmla="*/ 878961 h 2159168"/>
                <a:gd name="connsiteX8" fmla="*/ 2087877 w 12045155"/>
                <a:gd name="connsiteY8" fmla="*/ 819473 h 2159168"/>
                <a:gd name="connsiteX9" fmla="*/ 2565599 w 12045155"/>
                <a:gd name="connsiteY9" fmla="*/ 819473 h 2159168"/>
                <a:gd name="connsiteX10" fmla="*/ 3336468 w 12045155"/>
                <a:gd name="connsiteY10" fmla="*/ 861967 h 2159168"/>
                <a:gd name="connsiteX11" fmla="*/ 4215904 w 12045155"/>
                <a:gd name="connsiteY11" fmla="*/ 844973 h 2159168"/>
                <a:gd name="connsiteX12" fmla="*/ 4845622 w 12045155"/>
                <a:gd name="connsiteY12" fmla="*/ 853479 h 2159168"/>
                <a:gd name="connsiteX13" fmla="*/ 5681632 w 12045155"/>
                <a:gd name="connsiteY13" fmla="*/ 853479 h 2159168"/>
                <a:gd name="connsiteX14" fmla="*/ 6745645 w 12045155"/>
                <a:gd name="connsiteY14" fmla="*/ 878979 h 2159168"/>
                <a:gd name="connsiteX15" fmla="*/ 7494800 w 12045155"/>
                <a:gd name="connsiteY15" fmla="*/ 870473 h 2159168"/>
                <a:gd name="connsiteX16" fmla="*/ 8026795 w 12045155"/>
                <a:gd name="connsiteY16" fmla="*/ 861967 h 2159168"/>
                <a:gd name="connsiteX17" fmla="*/ 8504518 w 12045155"/>
                <a:gd name="connsiteY17" fmla="*/ 827979 h 2159168"/>
                <a:gd name="connsiteX18" fmla="*/ 9361101 w 12045155"/>
                <a:gd name="connsiteY18" fmla="*/ 2018757 h 2159168"/>
                <a:gd name="connsiteX19" fmla="*/ 10177867 w 12045155"/>
                <a:gd name="connsiteY19" fmla="*/ 2109744 h 2159168"/>
                <a:gd name="connsiteX20" fmla="*/ 10922986 w 12045155"/>
                <a:gd name="connsiteY20" fmla="*/ 1782194 h 2159168"/>
                <a:gd name="connsiteX21" fmla="*/ 11481826 w 12045155"/>
                <a:gd name="connsiteY21" fmla="*/ 1127088 h 2159168"/>
                <a:gd name="connsiteX22" fmla="*/ 12045155 w 12045155"/>
                <a:gd name="connsiteY22" fmla="*/ 699393 h 2159168"/>
                <a:gd name="connsiteX23" fmla="*/ 12045155 w 12045155"/>
                <a:gd name="connsiteY23" fmla="*/ 261011 h 2159168"/>
                <a:gd name="connsiteX24" fmla="*/ 11438839 w 12045155"/>
                <a:gd name="connsiteY24" fmla="*/ 435586 h 2159168"/>
                <a:gd name="connsiteX25" fmla="*/ 11059114 w 12045155"/>
                <a:gd name="connsiteY25" fmla="*/ 1047471 h 2159168"/>
                <a:gd name="connsiteX26" fmla="*/ 10602369 w 12045155"/>
                <a:gd name="connsiteY26" fmla="*/ 1661632 h 2159168"/>
                <a:gd name="connsiteX27" fmla="*/ 10034574 w 12045155"/>
                <a:gd name="connsiteY27" fmla="*/ 1618415 h 2159168"/>
                <a:gd name="connsiteX28" fmla="*/ 9527677 w 12045155"/>
                <a:gd name="connsiteY28" fmla="*/ 1058846 h 2159168"/>
                <a:gd name="connsiteX29" fmla="*/ 9053022 w 12045155"/>
                <a:gd name="connsiteY29" fmla="*/ 581165 h 2159168"/>
                <a:gd name="connsiteX30" fmla="*/ 8450223 w 12045155"/>
                <a:gd name="connsiteY30" fmla="*/ 156695 h 2159168"/>
                <a:gd name="connsiteX31" fmla="*/ 7635927 w 12045155"/>
                <a:gd name="connsiteY31" fmla="*/ 105714 h 2159168"/>
                <a:gd name="connsiteX32" fmla="*/ 7049636 w 12045155"/>
                <a:gd name="connsiteY32" fmla="*/ 199189 h 2159168"/>
                <a:gd name="connsiteX33" fmla="*/ 6342549 w 12045155"/>
                <a:gd name="connsiteY33" fmla="*/ 146630 h 2159168"/>
                <a:gd name="connsiteX34" fmla="*/ 5902209 w 12045155"/>
                <a:gd name="connsiteY34" fmla="*/ 249658 h 2159168"/>
                <a:gd name="connsiteX35" fmla="*/ 5182195 w 12045155"/>
                <a:gd name="connsiteY35" fmla="*/ 292664 h 2159168"/>
                <a:gd name="connsiteX36" fmla="*/ 3822487 w 12045155"/>
                <a:gd name="connsiteY36" fmla="*/ 90799 h 2159168"/>
                <a:gd name="connsiteX37" fmla="*/ 2370177 w 12045155"/>
                <a:gd name="connsiteY37" fmla="*/ 156695 h 2159168"/>
                <a:gd name="connsiteX38" fmla="*/ 578745 w 12045155"/>
                <a:gd name="connsiteY38" fmla="*/ 148189 h 2159168"/>
                <a:gd name="connsiteX39" fmla="*/ 38923 w 12045155"/>
                <a:gd name="connsiteY39" fmla="*/ 157240 h 2159168"/>
                <a:gd name="connsiteX0" fmla="*/ 38923 w 12045155"/>
                <a:gd name="connsiteY0" fmla="*/ 157240 h 2371492"/>
                <a:gd name="connsiteX1" fmla="*/ 4765 w 12045155"/>
                <a:gd name="connsiteY1" fmla="*/ 229969 h 2371492"/>
                <a:gd name="connsiteX2" fmla="*/ 16985 w 12045155"/>
                <a:gd name="connsiteY2" fmla="*/ 441204 h 2371492"/>
                <a:gd name="connsiteX3" fmla="*/ 31647 w 12045155"/>
                <a:gd name="connsiteY3" fmla="*/ 700450 h 2371492"/>
                <a:gd name="connsiteX4" fmla="*/ 43864 w 12045155"/>
                <a:gd name="connsiteY4" fmla="*/ 777266 h 2371492"/>
                <a:gd name="connsiteX5" fmla="*/ 80207 w 12045155"/>
                <a:gd name="connsiteY5" fmla="*/ 937416 h 2371492"/>
                <a:gd name="connsiteX6" fmla="*/ 937008 w 12045155"/>
                <a:gd name="connsiteY6" fmla="*/ 844973 h 2371492"/>
                <a:gd name="connsiteX7" fmla="*/ 1631867 w 12045155"/>
                <a:gd name="connsiteY7" fmla="*/ 878961 h 2371492"/>
                <a:gd name="connsiteX8" fmla="*/ 2087877 w 12045155"/>
                <a:gd name="connsiteY8" fmla="*/ 819473 h 2371492"/>
                <a:gd name="connsiteX9" fmla="*/ 2565599 w 12045155"/>
                <a:gd name="connsiteY9" fmla="*/ 819473 h 2371492"/>
                <a:gd name="connsiteX10" fmla="*/ 3336468 w 12045155"/>
                <a:gd name="connsiteY10" fmla="*/ 861967 h 2371492"/>
                <a:gd name="connsiteX11" fmla="*/ 4215904 w 12045155"/>
                <a:gd name="connsiteY11" fmla="*/ 844973 h 2371492"/>
                <a:gd name="connsiteX12" fmla="*/ 4845622 w 12045155"/>
                <a:gd name="connsiteY12" fmla="*/ 853479 h 2371492"/>
                <a:gd name="connsiteX13" fmla="*/ 5681632 w 12045155"/>
                <a:gd name="connsiteY13" fmla="*/ 853479 h 2371492"/>
                <a:gd name="connsiteX14" fmla="*/ 6745645 w 12045155"/>
                <a:gd name="connsiteY14" fmla="*/ 878979 h 2371492"/>
                <a:gd name="connsiteX15" fmla="*/ 7494800 w 12045155"/>
                <a:gd name="connsiteY15" fmla="*/ 870473 h 2371492"/>
                <a:gd name="connsiteX16" fmla="*/ 8026795 w 12045155"/>
                <a:gd name="connsiteY16" fmla="*/ 861967 h 2371492"/>
                <a:gd name="connsiteX17" fmla="*/ 8504518 w 12045155"/>
                <a:gd name="connsiteY17" fmla="*/ 827979 h 2371492"/>
                <a:gd name="connsiteX18" fmla="*/ 9361101 w 12045155"/>
                <a:gd name="connsiteY18" fmla="*/ 2018757 h 2371492"/>
                <a:gd name="connsiteX19" fmla="*/ 10249513 w 12045155"/>
                <a:gd name="connsiteY19" fmla="*/ 2364507 h 2371492"/>
                <a:gd name="connsiteX20" fmla="*/ 10922986 w 12045155"/>
                <a:gd name="connsiteY20" fmla="*/ 1782194 h 2371492"/>
                <a:gd name="connsiteX21" fmla="*/ 11481826 w 12045155"/>
                <a:gd name="connsiteY21" fmla="*/ 1127088 h 2371492"/>
                <a:gd name="connsiteX22" fmla="*/ 12045155 w 12045155"/>
                <a:gd name="connsiteY22" fmla="*/ 699393 h 2371492"/>
                <a:gd name="connsiteX23" fmla="*/ 12045155 w 12045155"/>
                <a:gd name="connsiteY23" fmla="*/ 261011 h 2371492"/>
                <a:gd name="connsiteX24" fmla="*/ 11438839 w 12045155"/>
                <a:gd name="connsiteY24" fmla="*/ 435586 h 2371492"/>
                <a:gd name="connsiteX25" fmla="*/ 11059114 w 12045155"/>
                <a:gd name="connsiteY25" fmla="*/ 1047471 h 2371492"/>
                <a:gd name="connsiteX26" fmla="*/ 10602369 w 12045155"/>
                <a:gd name="connsiteY26" fmla="*/ 1661632 h 2371492"/>
                <a:gd name="connsiteX27" fmla="*/ 10034574 w 12045155"/>
                <a:gd name="connsiteY27" fmla="*/ 1618415 h 2371492"/>
                <a:gd name="connsiteX28" fmla="*/ 9527677 w 12045155"/>
                <a:gd name="connsiteY28" fmla="*/ 1058846 h 2371492"/>
                <a:gd name="connsiteX29" fmla="*/ 9053022 w 12045155"/>
                <a:gd name="connsiteY29" fmla="*/ 581165 h 2371492"/>
                <a:gd name="connsiteX30" fmla="*/ 8450223 w 12045155"/>
                <a:gd name="connsiteY30" fmla="*/ 156695 h 2371492"/>
                <a:gd name="connsiteX31" fmla="*/ 7635927 w 12045155"/>
                <a:gd name="connsiteY31" fmla="*/ 105714 h 2371492"/>
                <a:gd name="connsiteX32" fmla="*/ 7049636 w 12045155"/>
                <a:gd name="connsiteY32" fmla="*/ 199189 h 2371492"/>
                <a:gd name="connsiteX33" fmla="*/ 6342549 w 12045155"/>
                <a:gd name="connsiteY33" fmla="*/ 146630 h 2371492"/>
                <a:gd name="connsiteX34" fmla="*/ 5902209 w 12045155"/>
                <a:gd name="connsiteY34" fmla="*/ 249658 h 2371492"/>
                <a:gd name="connsiteX35" fmla="*/ 5182195 w 12045155"/>
                <a:gd name="connsiteY35" fmla="*/ 292664 h 2371492"/>
                <a:gd name="connsiteX36" fmla="*/ 3822487 w 12045155"/>
                <a:gd name="connsiteY36" fmla="*/ 90799 h 2371492"/>
                <a:gd name="connsiteX37" fmla="*/ 2370177 w 12045155"/>
                <a:gd name="connsiteY37" fmla="*/ 156695 h 2371492"/>
                <a:gd name="connsiteX38" fmla="*/ 578745 w 12045155"/>
                <a:gd name="connsiteY38" fmla="*/ 148189 h 2371492"/>
                <a:gd name="connsiteX39" fmla="*/ 38923 w 12045155"/>
                <a:gd name="connsiteY39" fmla="*/ 157240 h 2371492"/>
                <a:gd name="connsiteX0" fmla="*/ 38923 w 12045155"/>
                <a:gd name="connsiteY0" fmla="*/ 157240 h 2365078"/>
                <a:gd name="connsiteX1" fmla="*/ 4765 w 12045155"/>
                <a:gd name="connsiteY1" fmla="*/ 229969 h 2365078"/>
                <a:gd name="connsiteX2" fmla="*/ 16985 w 12045155"/>
                <a:gd name="connsiteY2" fmla="*/ 441204 h 2365078"/>
                <a:gd name="connsiteX3" fmla="*/ 31647 w 12045155"/>
                <a:gd name="connsiteY3" fmla="*/ 700450 h 2365078"/>
                <a:gd name="connsiteX4" fmla="*/ 43864 w 12045155"/>
                <a:gd name="connsiteY4" fmla="*/ 777266 h 2365078"/>
                <a:gd name="connsiteX5" fmla="*/ 80207 w 12045155"/>
                <a:gd name="connsiteY5" fmla="*/ 937416 h 2365078"/>
                <a:gd name="connsiteX6" fmla="*/ 937008 w 12045155"/>
                <a:gd name="connsiteY6" fmla="*/ 844973 h 2365078"/>
                <a:gd name="connsiteX7" fmla="*/ 1631867 w 12045155"/>
                <a:gd name="connsiteY7" fmla="*/ 878961 h 2365078"/>
                <a:gd name="connsiteX8" fmla="*/ 2087877 w 12045155"/>
                <a:gd name="connsiteY8" fmla="*/ 819473 h 2365078"/>
                <a:gd name="connsiteX9" fmla="*/ 2565599 w 12045155"/>
                <a:gd name="connsiteY9" fmla="*/ 819473 h 2365078"/>
                <a:gd name="connsiteX10" fmla="*/ 3336468 w 12045155"/>
                <a:gd name="connsiteY10" fmla="*/ 861967 h 2365078"/>
                <a:gd name="connsiteX11" fmla="*/ 4215904 w 12045155"/>
                <a:gd name="connsiteY11" fmla="*/ 844973 h 2365078"/>
                <a:gd name="connsiteX12" fmla="*/ 4845622 w 12045155"/>
                <a:gd name="connsiteY12" fmla="*/ 853479 h 2365078"/>
                <a:gd name="connsiteX13" fmla="*/ 5681632 w 12045155"/>
                <a:gd name="connsiteY13" fmla="*/ 853479 h 2365078"/>
                <a:gd name="connsiteX14" fmla="*/ 6745645 w 12045155"/>
                <a:gd name="connsiteY14" fmla="*/ 878979 h 2365078"/>
                <a:gd name="connsiteX15" fmla="*/ 7494800 w 12045155"/>
                <a:gd name="connsiteY15" fmla="*/ 870473 h 2365078"/>
                <a:gd name="connsiteX16" fmla="*/ 8026795 w 12045155"/>
                <a:gd name="connsiteY16" fmla="*/ 861967 h 2365078"/>
                <a:gd name="connsiteX17" fmla="*/ 8504518 w 12045155"/>
                <a:gd name="connsiteY17" fmla="*/ 827979 h 2365078"/>
                <a:gd name="connsiteX18" fmla="*/ 9361101 w 12045155"/>
                <a:gd name="connsiteY18" fmla="*/ 2018757 h 2365078"/>
                <a:gd name="connsiteX19" fmla="*/ 10249513 w 12045155"/>
                <a:gd name="connsiteY19" fmla="*/ 2364507 h 2365078"/>
                <a:gd name="connsiteX20" fmla="*/ 11123596 w 12045155"/>
                <a:gd name="connsiteY20" fmla="*/ 1964167 h 2365078"/>
                <a:gd name="connsiteX21" fmla="*/ 11481826 w 12045155"/>
                <a:gd name="connsiteY21" fmla="*/ 1127088 h 2365078"/>
                <a:gd name="connsiteX22" fmla="*/ 12045155 w 12045155"/>
                <a:gd name="connsiteY22" fmla="*/ 699393 h 2365078"/>
                <a:gd name="connsiteX23" fmla="*/ 12045155 w 12045155"/>
                <a:gd name="connsiteY23" fmla="*/ 261011 h 2365078"/>
                <a:gd name="connsiteX24" fmla="*/ 11438839 w 12045155"/>
                <a:gd name="connsiteY24" fmla="*/ 435586 h 2365078"/>
                <a:gd name="connsiteX25" fmla="*/ 11059114 w 12045155"/>
                <a:gd name="connsiteY25" fmla="*/ 1047471 h 2365078"/>
                <a:gd name="connsiteX26" fmla="*/ 10602369 w 12045155"/>
                <a:gd name="connsiteY26" fmla="*/ 1661632 h 2365078"/>
                <a:gd name="connsiteX27" fmla="*/ 10034574 w 12045155"/>
                <a:gd name="connsiteY27" fmla="*/ 1618415 h 2365078"/>
                <a:gd name="connsiteX28" fmla="*/ 9527677 w 12045155"/>
                <a:gd name="connsiteY28" fmla="*/ 1058846 h 2365078"/>
                <a:gd name="connsiteX29" fmla="*/ 9053022 w 12045155"/>
                <a:gd name="connsiteY29" fmla="*/ 581165 h 2365078"/>
                <a:gd name="connsiteX30" fmla="*/ 8450223 w 12045155"/>
                <a:gd name="connsiteY30" fmla="*/ 156695 h 2365078"/>
                <a:gd name="connsiteX31" fmla="*/ 7635927 w 12045155"/>
                <a:gd name="connsiteY31" fmla="*/ 105714 h 2365078"/>
                <a:gd name="connsiteX32" fmla="*/ 7049636 w 12045155"/>
                <a:gd name="connsiteY32" fmla="*/ 199189 h 2365078"/>
                <a:gd name="connsiteX33" fmla="*/ 6342549 w 12045155"/>
                <a:gd name="connsiteY33" fmla="*/ 146630 h 2365078"/>
                <a:gd name="connsiteX34" fmla="*/ 5902209 w 12045155"/>
                <a:gd name="connsiteY34" fmla="*/ 249658 h 2365078"/>
                <a:gd name="connsiteX35" fmla="*/ 5182195 w 12045155"/>
                <a:gd name="connsiteY35" fmla="*/ 292664 h 2365078"/>
                <a:gd name="connsiteX36" fmla="*/ 3822487 w 12045155"/>
                <a:gd name="connsiteY36" fmla="*/ 90799 h 2365078"/>
                <a:gd name="connsiteX37" fmla="*/ 2370177 w 12045155"/>
                <a:gd name="connsiteY37" fmla="*/ 156695 h 2365078"/>
                <a:gd name="connsiteX38" fmla="*/ 578745 w 12045155"/>
                <a:gd name="connsiteY38" fmla="*/ 148189 h 2365078"/>
                <a:gd name="connsiteX39" fmla="*/ 38923 w 12045155"/>
                <a:gd name="connsiteY39" fmla="*/ 157240 h 2365078"/>
                <a:gd name="connsiteX0" fmla="*/ 38923 w 12045155"/>
                <a:gd name="connsiteY0" fmla="*/ 157240 h 2365078"/>
                <a:gd name="connsiteX1" fmla="*/ 4765 w 12045155"/>
                <a:gd name="connsiteY1" fmla="*/ 229969 h 2365078"/>
                <a:gd name="connsiteX2" fmla="*/ 16985 w 12045155"/>
                <a:gd name="connsiteY2" fmla="*/ 441204 h 2365078"/>
                <a:gd name="connsiteX3" fmla="*/ 31647 w 12045155"/>
                <a:gd name="connsiteY3" fmla="*/ 700450 h 2365078"/>
                <a:gd name="connsiteX4" fmla="*/ 43864 w 12045155"/>
                <a:gd name="connsiteY4" fmla="*/ 777266 h 2365078"/>
                <a:gd name="connsiteX5" fmla="*/ 80207 w 12045155"/>
                <a:gd name="connsiteY5" fmla="*/ 937416 h 2365078"/>
                <a:gd name="connsiteX6" fmla="*/ 937008 w 12045155"/>
                <a:gd name="connsiteY6" fmla="*/ 844973 h 2365078"/>
                <a:gd name="connsiteX7" fmla="*/ 1631867 w 12045155"/>
                <a:gd name="connsiteY7" fmla="*/ 878961 h 2365078"/>
                <a:gd name="connsiteX8" fmla="*/ 2087877 w 12045155"/>
                <a:gd name="connsiteY8" fmla="*/ 819473 h 2365078"/>
                <a:gd name="connsiteX9" fmla="*/ 2565599 w 12045155"/>
                <a:gd name="connsiteY9" fmla="*/ 819473 h 2365078"/>
                <a:gd name="connsiteX10" fmla="*/ 3336468 w 12045155"/>
                <a:gd name="connsiteY10" fmla="*/ 861967 h 2365078"/>
                <a:gd name="connsiteX11" fmla="*/ 4215904 w 12045155"/>
                <a:gd name="connsiteY11" fmla="*/ 844973 h 2365078"/>
                <a:gd name="connsiteX12" fmla="*/ 4845622 w 12045155"/>
                <a:gd name="connsiteY12" fmla="*/ 853479 h 2365078"/>
                <a:gd name="connsiteX13" fmla="*/ 5681632 w 12045155"/>
                <a:gd name="connsiteY13" fmla="*/ 853479 h 2365078"/>
                <a:gd name="connsiteX14" fmla="*/ 6745645 w 12045155"/>
                <a:gd name="connsiteY14" fmla="*/ 878979 h 2365078"/>
                <a:gd name="connsiteX15" fmla="*/ 7494800 w 12045155"/>
                <a:gd name="connsiteY15" fmla="*/ 870473 h 2365078"/>
                <a:gd name="connsiteX16" fmla="*/ 8026795 w 12045155"/>
                <a:gd name="connsiteY16" fmla="*/ 861967 h 2365078"/>
                <a:gd name="connsiteX17" fmla="*/ 8504518 w 12045155"/>
                <a:gd name="connsiteY17" fmla="*/ 827979 h 2365078"/>
                <a:gd name="connsiteX18" fmla="*/ 9361101 w 12045155"/>
                <a:gd name="connsiteY18" fmla="*/ 2018757 h 2365078"/>
                <a:gd name="connsiteX19" fmla="*/ 10249513 w 12045155"/>
                <a:gd name="connsiteY19" fmla="*/ 2364507 h 2365078"/>
                <a:gd name="connsiteX20" fmla="*/ 11123596 w 12045155"/>
                <a:gd name="connsiteY20" fmla="*/ 1964167 h 2365078"/>
                <a:gd name="connsiteX21" fmla="*/ 11797069 w 12045155"/>
                <a:gd name="connsiteY21" fmla="*/ 999707 h 2365078"/>
                <a:gd name="connsiteX22" fmla="*/ 12045155 w 12045155"/>
                <a:gd name="connsiteY22" fmla="*/ 699393 h 2365078"/>
                <a:gd name="connsiteX23" fmla="*/ 12045155 w 12045155"/>
                <a:gd name="connsiteY23" fmla="*/ 261011 h 2365078"/>
                <a:gd name="connsiteX24" fmla="*/ 11438839 w 12045155"/>
                <a:gd name="connsiteY24" fmla="*/ 435586 h 2365078"/>
                <a:gd name="connsiteX25" fmla="*/ 11059114 w 12045155"/>
                <a:gd name="connsiteY25" fmla="*/ 1047471 h 2365078"/>
                <a:gd name="connsiteX26" fmla="*/ 10602369 w 12045155"/>
                <a:gd name="connsiteY26" fmla="*/ 1661632 h 2365078"/>
                <a:gd name="connsiteX27" fmla="*/ 10034574 w 12045155"/>
                <a:gd name="connsiteY27" fmla="*/ 1618415 h 2365078"/>
                <a:gd name="connsiteX28" fmla="*/ 9527677 w 12045155"/>
                <a:gd name="connsiteY28" fmla="*/ 1058846 h 2365078"/>
                <a:gd name="connsiteX29" fmla="*/ 9053022 w 12045155"/>
                <a:gd name="connsiteY29" fmla="*/ 581165 h 2365078"/>
                <a:gd name="connsiteX30" fmla="*/ 8450223 w 12045155"/>
                <a:gd name="connsiteY30" fmla="*/ 156695 h 2365078"/>
                <a:gd name="connsiteX31" fmla="*/ 7635927 w 12045155"/>
                <a:gd name="connsiteY31" fmla="*/ 105714 h 2365078"/>
                <a:gd name="connsiteX32" fmla="*/ 7049636 w 12045155"/>
                <a:gd name="connsiteY32" fmla="*/ 199189 h 2365078"/>
                <a:gd name="connsiteX33" fmla="*/ 6342549 w 12045155"/>
                <a:gd name="connsiteY33" fmla="*/ 146630 h 2365078"/>
                <a:gd name="connsiteX34" fmla="*/ 5902209 w 12045155"/>
                <a:gd name="connsiteY34" fmla="*/ 249658 h 2365078"/>
                <a:gd name="connsiteX35" fmla="*/ 5182195 w 12045155"/>
                <a:gd name="connsiteY35" fmla="*/ 292664 h 2365078"/>
                <a:gd name="connsiteX36" fmla="*/ 3822487 w 12045155"/>
                <a:gd name="connsiteY36" fmla="*/ 90799 h 2365078"/>
                <a:gd name="connsiteX37" fmla="*/ 2370177 w 12045155"/>
                <a:gd name="connsiteY37" fmla="*/ 156695 h 2365078"/>
                <a:gd name="connsiteX38" fmla="*/ 578745 w 12045155"/>
                <a:gd name="connsiteY38" fmla="*/ 148189 h 2365078"/>
                <a:gd name="connsiteX39" fmla="*/ 38923 w 12045155"/>
                <a:gd name="connsiteY39" fmla="*/ 157240 h 2365078"/>
                <a:gd name="connsiteX0" fmla="*/ 38923 w 12045155"/>
                <a:gd name="connsiteY0" fmla="*/ 157240 h 2365078"/>
                <a:gd name="connsiteX1" fmla="*/ 4765 w 12045155"/>
                <a:gd name="connsiteY1" fmla="*/ 229969 h 2365078"/>
                <a:gd name="connsiteX2" fmla="*/ 16985 w 12045155"/>
                <a:gd name="connsiteY2" fmla="*/ 441204 h 2365078"/>
                <a:gd name="connsiteX3" fmla="*/ 31647 w 12045155"/>
                <a:gd name="connsiteY3" fmla="*/ 700450 h 2365078"/>
                <a:gd name="connsiteX4" fmla="*/ 43864 w 12045155"/>
                <a:gd name="connsiteY4" fmla="*/ 777266 h 2365078"/>
                <a:gd name="connsiteX5" fmla="*/ 80207 w 12045155"/>
                <a:gd name="connsiteY5" fmla="*/ 937416 h 2365078"/>
                <a:gd name="connsiteX6" fmla="*/ 937008 w 12045155"/>
                <a:gd name="connsiteY6" fmla="*/ 844973 h 2365078"/>
                <a:gd name="connsiteX7" fmla="*/ 1631867 w 12045155"/>
                <a:gd name="connsiteY7" fmla="*/ 878961 h 2365078"/>
                <a:gd name="connsiteX8" fmla="*/ 2087877 w 12045155"/>
                <a:gd name="connsiteY8" fmla="*/ 819473 h 2365078"/>
                <a:gd name="connsiteX9" fmla="*/ 2565599 w 12045155"/>
                <a:gd name="connsiteY9" fmla="*/ 819473 h 2365078"/>
                <a:gd name="connsiteX10" fmla="*/ 3336468 w 12045155"/>
                <a:gd name="connsiteY10" fmla="*/ 861967 h 2365078"/>
                <a:gd name="connsiteX11" fmla="*/ 4215904 w 12045155"/>
                <a:gd name="connsiteY11" fmla="*/ 844973 h 2365078"/>
                <a:gd name="connsiteX12" fmla="*/ 4845622 w 12045155"/>
                <a:gd name="connsiteY12" fmla="*/ 853479 h 2365078"/>
                <a:gd name="connsiteX13" fmla="*/ 5681632 w 12045155"/>
                <a:gd name="connsiteY13" fmla="*/ 853479 h 2365078"/>
                <a:gd name="connsiteX14" fmla="*/ 6745645 w 12045155"/>
                <a:gd name="connsiteY14" fmla="*/ 878979 h 2365078"/>
                <a:gd name="connsiteX15" fmla="*/ 7494800 w 12045155"/>
                <a:gd name="connsiteY15" fmla="*/ 870473 h 2365078"/>
                <a:gd name="connsiteX16" fmla="*/ 8026795 w 12045155"/>
                <a:gd name="connsiteY16" fmla="*/ 861967 h 2365078"/>
                <a:gd name="connsiteX17" fmla="*/ 8504518 w 12045155"/>
                <a:gd name="connsiteY17" fmla="*/ 827979 h 2365078"/>
                <a:gd name="connsiteX18" fmla="*/ 9361101 w 12045155"/>
                <a:gd name="connsiteY18" fmla="*/ 2018757 h 2365078"/>
                <a:gd name="connsiteX19" fmla="*/ 10249513 w 12045155"/>
                <a:gd name="connsiteY19" fmla="*/ 2364507 h 2365078"/>
                <a:gd name="connsiteX20" fmla="*/ 11123596 w 12045155"/>
                <a:gd name="connsiteY20" fmla="*/ 1964167 h 2365078"/>
                <a:gd name="connsiteX21" fmla="*/ 11266888 w 12045155"/>
                <a:gd name="connsiteY21" fmla="*/ 1582018 h 2365078"/>
                <a:gd name="connsiteX22" fmla="*/ 11797069 w 12045155"/>
                <a:gd name="connsiteY22" fmla="*/ 999707 h 2365078"/>
                <a:gd name="connsiteX23" fmla="*/ 12045155 w 12045155"/>
                <a:gd name="connsiteY23" fmla="*/ 699393 h 2365078"/>
                <a:gd name="connsiteX24" fmla="*/ 12045155 w 12045155"/>
                <a:gd name="connsiteY24" fmla="*/ 261011 h 2365078"/>
                <a:gd name="connsiteX25" fmla="*/ 11438839 w 12045155"/>
                <a:gd name="connsiteY25" fmla="*/ 435586 h 2365078"/>
                <a:gd name="connsiteX26" fmla="*/ 11059114 w 12045155"/>
                <a:gd name="connsiteY26" fmla="*/ 1047471 h 2365078"/>
                <a:gd name="connsiteX27" fmla="*/ 10602369 w 12045155"/>
                <a:gd name="connsiteY27" fmla="*/ 1661632 h 2365078"/>
                <a:gd name="connsiteX28" fmla="*/ 10034574 w 12045155"/>
                <a:gd name="connsiteY28" fmla="*/ 1618415 h 2365078"/>
                <a:gd name="connsiteX29" fmla="*/ 9527677 w 12045155"/>
                <a:gd name="connsiteY29" fmla="*/ 1058846 h 2365078"/>
                <a:gd name="connsiteX30" fmla="*/ 9053022 w 12045155"/>
                <a:gd name="connsiteY30" fmla="*/ 581165 h 2365078"/>
                <a:gd name="connsiteX31" fmla="*/ 8450223 w 12045155"/>
                <a:gd name="connsiteY31" fmla="*/ 156695 h 2365078"/>
                <a:gd name="connsiteX32" fmla="*/ 7635927 w 12045155"/>
                <a:gd name="connsiteY32" fmla="*/ 105714 h 2365078"/>
                <a:gd name="connsiteX33" fmla="*/ 7049636 w 12045155"/>
                <a:gd name="connsiteY33" fmla="*/ 199189 h 2365078"/>
                <a:gd name="connsiteX34" fmla="*/ 6342549 w 12045155"/>
                <a:gd name="connsiteY34" fmla="*/ 146630 h 2365078"/>
                <a:gd name="connsiteX35" fmla="*/ 5902209 w 12045155"/>
                <a:gd name="connsiteY35" fmla="*/ 249658 h 2365078"/>
                <a:gd name="connsiteX36" fmla="*/ 5182195 w 12045155"/>
                <a:gd name="connsiteY36" fmla="*/ 292664 h 2365078"/>
                <a:gd name="connsiteX37" fmla="*/ 3822487 w 12045155"/>
                <a:gd name="connsiteY37" fmla="*/ 90799 h 2365078"/>
                <a:gd name="connsiteX38" fmla="*/ 2370177 w 12045155"/>
                <a:gd name="connsiteY38" fmla="*/ 156695 h 2365078"/>
                <a:gd name="connsiteX39" fmla="*/ 578745 w 12045155"/>
                <a:gd name="connsiteY39" fmla="*/ 148189 h 2365078"/>
                <a:gd name="connsiteX40" fmla="*/ 38923 w 12045155"/>
                <a:gd name="connsiteY40" fmla="*/ 157240 h 2365078"/>
                <a:gd name="connsiteX0" fmla="*/ 38923 w 12045155"/>
                <a:gd name="connsiteY0" fmla="*/ 157240 h 2365078"/>
                <a:gd name="connsiteX1" fmla="*/ 4765 w 12045155"/>
                <a:gd name="connsiteY1" fmla="*/ 229969 h 2365078"/>
                <a:gd name="connsiteX2" fmla="*/ 16985 w 12045155"/>
                <a:gd name="connsiteY2" fmla="*/ 441204 h 2365078"/>
                <a:gd name="connsiteX3" fmla="*/ 31647 w 12045155"/>
                <a:gd name="connsiteY3" fmla="*/ 700450 h 2365078"/>
                <a:gd name="connsiteX4" fmla="*/ 43864 w 12045155"/>
                <a:gd name="connsiteY4" fmla="*/ 777266 h 2365078"/>
                <a:gd name="connsiteX5" fmla="*/ 80207 w 12045155"/>
                <a:gd name="connsiteY5" fmla="*/ 937416 h 2365078"/>
                <a:gd name="connsiteX6" fmla="*/ 937008 w 12045155"/>
                <a:gd name="connsiteY6" fmla="*/ 844973 h 2365078"/>
                <a:gd name="connsiteX7" fmla="*/ 1631867 w 12045155"/>
                <a:gd name="connsiteY7" fmla="*/ 878961 h 2365078"/>
                <a:gd name="connsiteX8" fmla="*/ 2087877 w 12045155"/>
                <a:gd name="connsiteY8" fmla="*/ 819473 h 2365078"/>
                <a:gd name="connsiteX9" fmla="*/ 2565599 w 12045155"/>
                <a:gd name="connsiteY9" fmla="*/ 819473 h 2365078"/>
                <a:gd name="connsiteX10" fmla="*/ 3336468 w 12045155"/>
                <a:gd name="connsiteY10" fmla="*/ 861967 h 2365078"/>
                <a:gd name="connsiteX11" fmla="*/ 4215904 w 12045155"/>
                <a:gd name="connsiteY11" fmla="*/ 844973 h 2365078"/>
                <a:gd name="connsiteX12" fmla="*/ 4845622 w 12045155"/>
                <a:gd name="connsiteY12" fmla="*/ 853479 h 2365078"/>
                <a:gd name="connsiteX13" fmla="*/ 5681632 w 12045155"/>
                <a:gd name="connsiteY13" fmla="*/ 853479 h 2365078"/>
                <a:gd name="connsiteX14" fmla="*/ 6745645 w 12045155"/>
                <a:gd name="connsiteY14" fmla="*/ 878979 h 2365078"/>
                <a:gd name="connsiteX15" fmla="*/ 7494800 w 12045155"/>
                <a:gd name="connsiteY15" fmla="*/ 870473 h 2365078"/>
                <a:gd name="connsiteX16" fmla="*/ 8026795 w 12045155"/>
                <a:gd name="connsiteY16" fmla="*/ 861967 h 2365078"/>
                <a:gd name="connsiteX17" fmla="*/ 8504518 w 12045155"/>
                <a:gd name="connsiteY17" fmla="*/ 827979 h 2365078"/>
                <a:gd name="connsiteX18" fmla="*/ 9361101 w 12045155"/>
                <a:gd name="connsiteY18" fmla="*/ 2018757 h 2365078"/>
                <a:gd name="connsiteX19" fmla="*/ 10249513 w 12045155"/>
                <a:gd name="connsiteY19" fmla="*/ 2364507 h 2365078"/>
                <a:gd name="connsiteX20" fmla="*/ 11123596 w 12045155"/>
                <a:gd name="connsiteY20" fmla="*/ 1964167 h 2365078"/>
                <a:gd name="connsiteX21" fmla="*/ 11309876 w 12045155"/>
                <a:gd name="connsiteY21" fmla="*/ 1618413 h 2365078"/>
                <a:gd name="connsiteX22" fmla="*/ 11797069 w 12045155"/>
                <a:gd name="connsiteY22" fmla="*/ 999707 h 2365078"/>
                <a:gd name="connsiteX23" fmla="*/ 12045155 w 12045155"/>
                <a:gd name="connsiteY23" fmla="*/ 699393 h 2365078"/>
                <a:gd name="connsiteX24" fmla="*/ 12045155 w 12045155"/>
                <a:gd name="connsiteY24" fmla="*/ 261011 h 2365078"/>
                <a:gd name="connsiteX25" fmla="*/ 11438839 w 12045155"/>
                <a:gd name="connsiteY25" fmla="*/ 435586 h 2365078"/>
                <a:gd name="connsiteX26" fmla="*/ 11059114 w 12045155"/>
                <a:gd name="connsiteY26" fmla="*/ 1047471 h 2365078"/>
                <a:gd name="connsiteX27" fmla="*/ 10602369 w 12045155"/>
                <a:gd name="connsiteY27" fmla="*/ 1661632 h 2365078"/>
                <a:gd name="connsiteX28" fmla="*/ 10034574 w 12045155"/>
                <a:gd name="connsiteY28" fmla="*/ 1618415 h 2365078"/>
                <a:gd name="connsiteX29" fmla="*/ 9527677 w 12045155"/>
                <a:gd name="connsiteY29" fmla="*/ 1058846 h 2365078"/>
                <a:gd name="connsiteX30" fmla="*/ 9053022 w 12045155"/>
                <a:gd name="connsiteY30" fmla="*/ 581165 h 2365078"/>
                <a:gd name="connsiteX31" fmla="*/ 8450223 w 12045155"/>
                <a:gd name="connsiteY31" fmla="*/ 156695 h 2365078"/>
                <a:gd name="connsiteX32" fmla="*/ 7635927 w 12045155"/>
                <a:gd name="connsiteY32" fmla="*/ 105714 h 2365078"/>
                <a:gd name="connsiteX33" fmla="*/ 7049636 w 12045155"/>
                <a:gd name="connsiteY33" fmla="*/ 199189 h 2365078"/>
                <a:gd name="connsiteX34" fmla="*/ 6342549 w 12045155"/>
                <a:gd name="connsiteY34" fmla="*/ 146630 h 2365078"/>
                <a:gd name="connsiteX35" fmla="*/ 5902209 w 12045155"/>
                <a:gd name="connsiteY35" fmla="*/ 249658 h 2365078"/>
                <a:gd name="connsiteX36" fmla="*/ 5182195 w 12045155"/>
                <a:gd name="connsiteY36" fmla="*/ 292664 h 2365078"/>
                <a:gd name="connsiteX37" fmla="*/ 3822487 w 12045155"/>
                <a:gd name="connsiteY37" fmla="*/ 90799 h 2365078"/>
                <a:gd name="connsiteX38" fmla="*/ 2370177 w 12045155"/>
                <a:gd name="connsiteY38" fmla="*/ 156695 h 2365078"/>
                <a:gd name="connsiteX39" fmla="*/ 578745 w 12045155"/>
                <a:gd name="connsiteY39" fmla="*/ 148189 h 2365078"/>
                <a:gd name="connsiteX40" fmla="*/ 38923 w 12045155"/>
                <a:gd name="connsiteY40" fmla="*/ 157240 h 2365078"/>
                <a:gd name="connsiteX0" fmla="*/ 38923 w 12045155"/>
                <a:gd name="connsiteY0" fmla="*/ 157240 h 2365066"/>
                <a:gd name="connsiteX1" fmla="*/ 4765 w 12045155"/>
                <a:gd name="connsiteY1" fmla="*/ 229969 h 2365066"/>
                <a:gd name="connsiteX2" fmla="*/ 16985 w 12045155"/>
                <a:gd name="connsiteY2" fmla="*/ 441204 h 2365066"/>
                <a:gd name="connsiteX3" fmla="*/ 31647 w 12045155"/>
                <a:gd name="connsiteY3" fmla="*/ 700450 h 2365066"/>
                <a:gd name="connsiteX4" fmla="*/ 43864 w 12045155"/>
                <a:gd name="connsiteY4" fmla="*/ 777266 h 2365066"/>
                <a:gd name="connsiteX5" fmla="*/ 80207 w 12045155"/>
                <a:gd name="connsiteY5" fmla="*/ 937416 h 2365066"/>
                <a:gd name="connsiteX6" fmla="*/ 937008 w 12045155"/>
                <a:gd name="connsiteY6" fmla="*/ 844973 h 2365066"/>
                <a:gd name="connsiteX7" fmla="*/ 1631867 w 12045155"/>
                <a:gd name="connsiteY7" fmla="*/ 878961 h 2365066"/>
                <a:gd name="connsiteX8" fmla="*/ 2087877 w 12045155"/>
                <a:gd name="connsiteY8" fmla="*/ 819473 h 2365066"/>
                <a:gd name="connsiteX9" fmla="*/ 2565599 w 12045155"/>
                <a:gd name="connsiteY9" fmla="*/ 819473 h 2365066"/>
                <a:gd name="connsiteX10" fmla="*/ 3336468 w 12045155"/>
                <a:gd name="connsiteY10" fmla="*/ 861967 h 2365066"/>
                <a:gd name="connsiteX11" fmla="*/ 4215904 w 12045155"/>
                <a:gd name="connsiteY11" fmla="*/ 844973 h 2365066"/>
                <a:gd name="connsiteX12" fmla="*/ 4845622 w 12045155"/>
                <a:gd name="connsiteY12" fmla="*/ 853479 h 2365066"/>
                <a:gd name="connsiteX13" fmla="*/ 5681632 w 12045155"/>
                <a:gd name="connsiteY13" fmla="*/ 853479 h 2365066"/>
                <a:gd name="connsiteX14" fmla="*/ 6745645 w 12045155"/>
                <a:gd name="connsiteY14" fmla="*/ 878979 h 2365066"/>
                <a:gd name="connsiteX15" fmla="*/ 7494800 w 12045155"/>
                <a:gd name="connsiteY15" fmla="*/ 870473 h 2365066"/>
                <a:gd name="connsiteX16" fmla="*/ 8026795 w 12045155"/>
                <a:gd name="connsiteY16" fmla="*/ 861967 h 2365066"/>
                <a:gd name="connsiteX17" fmla="*/ 8504518 w 12045155"/>
                <a:gd name="connsiteY17" fmla="*/ 827979 h 2365066"/>
                <a:gd name="connsiteX18" fmla="*/ 9361101 w 12045155"/>
                <a:gd name="connsiteY18" fmla="*/ 2018757 h 2365066"/>
                <a:gd name="connsiteX19" fmla="*/ 10249513 w 12045155"/>
                <a:gd name="connsiteY19" fmla="*/ 2364507 h 2365066"/>
                <a:gd name="connsiteX20" fmla="*/ 11195242 w 12045155"/>
                <a:gd name="connsiteY20" fmla="*/ 2091549 h 2365066"/>
                <a:gd name="connsiteX21" fmla="*/ 11309876 w 12045155"/>
                <a:gd name="connsiteY21" fmla="*/ 1618413 h 2365066"/>
                <a:gd name="connsiteX22" fmla="*/ 11797069 w 12045155"/>
                <a:gd name="connsiteY22" fmla="*/ 999707 h 2365066"/>
                <a:gd name="connsiteX23" fmla="*/ 12045155 w 12045155"/>
                <a:gd name="connsiteY23" fmla="*/ 699393 h 2365066"/>
                <a:gd name="connsiteX24" fmla="*/ 12045155 w 12045155"/>
                <a:gd name="connsiteY24" fmla="*/ 261011 h 2365066"/>
                <a:gd name="connsiteX25" fmla="*/ 11438839 w 12045155"/>
                <a:gd name="connsiteY25" fmla="*/ 435586 h 2365066"/>
                <a:gd name="connsiteX26" fmla="*/ 11059114 w 12045155"/>
                <a:gd name="connsiteY26" fmla="*/ 1047471 h 2365066"/>
                <a:gd name="connsiteX27" fmla="*/ 10602369 w 12045155"/>
                <a:gd name="connsiteY27" fmla="*/ 1661632 h 2365066"/>
                <a:gd name="connsiteX28" fmla="*/ 10034574 w 12045155"/>
                <a:gd name="connsiteY28" fmla="*/ 1618415 h 2365066"/>
                <a:gd name="connsiteX29" fmla="*/ 9527677 w 12045155"/>
                <a:gd name="connsiteY29" fmla="*/ 1058846 h 2365066"/>
                <a:gd name="connsiteX30" fmla="*/ 9053022 w 12045155"/>
                <a:gd name="connsiteY30" fmla="*/ 581165 h 2365066"/>
                <a:gd name="connsiteX31" fmla="*/ 8450223 w 12045155"/>
                <a:gd name="connsiteY31" fmla="*/ 156695 h 2365066"/>
                <a:gd name="connsiteX32" fmla="*/ 7635927 w 12045155"/>
                <a:gd name="connsiteY32" fmla="*/ 105714 h 2365066"/>
                <a:gd name="connsiteX33" fmla="*/ 7049636 w 12045155"/>
                <a:gd name="connsiteY33" fmla="*/ 199189 h 2365066"/>
                <a:gd name="connsiteX34" fmla="*/ 6342549 w 12045155"/>
                <a:gd name="connsiteY34" fmla="*/ 146630 h 2365066"/>
                <a:gd name="connsiteX35" fmla="*/ 5902209 w 12045155"/>
                <a:gd name="connsiteY35" fmla="*/ 249658 h 2365066"/>
                <a:gd name="connsiteX36" fmla="*/ 5182195 w 12045155"/>
                <a:gd name="connsiteY36" fmla="*/ 292664 h 2365066"/>
                <a:gd name="connsiteX37" fmla="*/ 3822487 w 12045155"/>
                <a:gd name="connsiteY37" fmla="*/ 90799 h 2365066"/>
                <a:gd name="connsiteX38" fmla="*/ 2370177 w 12045155"/>
                <a:gd name="connsiteY38" fmla="*/ 156695 h 2365066"/>
                <a:gd name="connsiteX39" fmla="*/ 578745 w 12045155"/>
                <a:gd name="connsiteY39" fmla="*/ 148189 h 2365066"/>
                <a:gd name="connsiteX40" fmla="*/ 38923 w 12045155"/>
                <a:gd name="connsiteY40" fmla="*/ 157240 h 2365066"/>
                <a:gd name="connsiteX0" fmla="*/ 38923 w 12045155"/>
                <a:gd name="connsiteY0" fmla="*/ 157240 h 2510409"/>
                <a:gd name="connsiteX1" fmla="*/ 4765 w 12045155"/>
                <a:gd name="connsiteY1" fmla="*/ 229969 h 2510409"/>
                <a:gd name="connsiteX2" fmla="*/ 16985 w 12045155"/>
                <a:gd name="connsiteY2" fmla="*/ 441204 h 2510409"/>
                <a:gd name="connsiteX3" fmla="*/ 31647 w 12045155"/>
                <a:gd name="connsiteY3" fmla="*/ 700450 h 2510409"/>
                <a:gd name="connsiteX4" fmla="*/ 43864 w 12045155"/>
                <a:gd name="connsiteY4" fmla="*/ 777266 h 2510409"/>
                <a:gd name="connsiteX5" fmla="*/ 80207 w 12045155"/>
                <a:gd name="connsiteY5" fmla="*/ 937416 h 2510409"/>
                <a:gd name="connsiteX6" fmla="*/ 937008 w 12045155"/>
                <a:gd name="connsiteY6" fmla="*/ 844973 h 2510409"/>
                <a:gd name="connsiteX7" fmla="*/ 1631867 w 12045155"/>
                <a:gd name="connsiteY7" fmla="*/ 878961 h 2510409"/>
                <a:gd name="connsiteX8" fmla="*/ 2087877 w 12045155"/>
                <a:gd name="connsiteY8" fmla="*/ 819473 h 2510409"/>
                <a:gd name="connsiteX9" fmla="*/ 2565599 w 12045155"/>
                <a:gd name="connsiteY9" fmla="*/ 819473 h 2510409"/>
                <a:gd name="connsiteX10" fmla="*/ 3336468 w 12045155"/>
                <a:gd name="connsiteY10" fmla="*/ 861967 h 2510409"/>
                <a:gd name="connsiteX11" fmla="*/ 4215904 w 12045155"/>
                <a:gd name="connsiteY11" fmla="*/ 844973 h 2510409"/>
                <a:gd name="connsiteX12" fmla="*/ 4845622 w 12045155"/>
                <a:gd name="connsiteY12" fmla="*/ 853479 h 2510409"/>
                <a:gd name="connsiteX13" fmla="*/ 5681632 w 12045155"/>
                <a:gd name="connsiteY13" fmla="*/ 853479 h 2510409"/>
                <a:gd name="connsiteX14" fmla="*/ 6745645 w 12045155"/>
                <a:gd name="connsiteY14" fmla="*/ 878979 h 2510409"/>
                <a:gd name="connsiteX15" fmla="*/ 7494800 w 12045155"/>
                <a:gd name="connsiteY15" fmla="*/ 870473 h 2510409"/>
                <a:gd name="connsiteX16" fmla="*/ 8026795 w 12045155"/>
                <a:gd name="connsiteY16" fmla="*/ 861967 h 2510409"/>
                <a:gd name="connsiteX17" fmla="*/ 8504518 w 12045155"/>
                <a:gd name="connsiteY17" fmla="*/ 827979 h 2510409"/>
                <a:gd name="connsiteX18" fmla="*/ 9361101 w 12045155"/>
                <a:gd name="connsiteY18" fmla="*/ 2018757 h 2510409"/>
                <a:gd name="connsiteX19" fmla="*/ 10149208 w 12045155"/>
                <a:gd name="connsiteY19" fmla="*/ 2510086 h 2510409"/>
                <a:gd name="connsiteX20" fmla="*/ 11195242 w 12045155"/>
                <a:gd name="connsiteY20" fmla="*/ 2091549 h 2510409"/>
                <a:gd name="connsiteX21" fmla="*/ 11309876 w 12045155"/>
                <a:gd name="connsiteY21" fmla="*/ 1618413 h 2510409"/>
                <a:gd name="connsiteX22" fmla="*/ 11797069 w 12045155"/>
                <a:gd name="connsiteY22" fmla="*/ 999707 h 2510409"/>
                <a:gd name="connsiteX23" fmla="*/ 12045155 w 12045155"/>
                <a:gd name="connsiteY23" fmla="*/ 699393 h 2510409"/>
                <a:gd name="connsiteX24" fmla="*/ 12045155 w 12045155"/>
                <a:gd name="connsiteY24" fmla="*/ 261011 h 2510409"/>
                <a:gd name="connsiteX25" fmla="*/ 11438839 w 12045155"/>
                <a:gd name="connsiteY25" fmla="*/ 435586 h 2510409"/>
                <a:gd name="connsiteX26" fmla="*/ 11059114 w 12045155"/>
                <a:gd name="connsiteY26" fmla="*/ 1047471 h 2510409"/>
                <a:gd name="connsiteX27" fmla="*/ 10602369 w 12045155"/>
                <a:gd name="connsiteY27" fmla="*/ 1661632 h 2510409"/>
                <a:gd name="connsiteX28" fmla="*/ 10034574 w 12045155"/>
                <a:gd name="connsiteY28" fmla="*/ 1618415 h 2510409"/>
                <a:gd name="connsiteX29" fmla="*/ 9527677 w 12045155"/>
                <a:gd name="connsiteY29" fmla="*/ 1058846 h 2510409"/>
                <a:gd name="connsiteX30" fmla="*/ 9053022 w 12045155"/>
                <a:gd name="connsiteY30" fmla="*/ 581165 h 2510409"/>
                <a:gd name="connsiteX31" fmla="*/ 8450223 w 12045155"/>
                <a:gd name="connsiteY31" fmla="*/ 156695 h 2510409"/>
                <a:gd name="connsiteX32" fmla="*/ 7635927 w 12045155"/>
                <a:gd name="connsiteY32" fmla="*/ 105714 h 2510409"/>
                <a:gd name="connsiteX33" fmla="*/ 7049636 w 12045155"/>
                <a:gd name="connsiteY33" fmla="*/ 199189 h 2510409"/>
                <a:gd name="connsiteX34" fmla="*/ 6342549 w 12045155"/>
                <a:gd name="connsiteY34" fmla="*/ 146630 h 2510409"/>
                <a:gd name="connsiteX35" fmla="*/ 5902209 w 12045155"/>
                <a:gd name="connsiteY35" fmla="*/ 249658 h 2510409"/>
                <a:gd name="connsiteX36" fmla="*/ 5182195 w 12045155"/>
                <a:gd name="connsiteY36" fmla="*/ 292664 h 2510409"/>
                <a:gd name="connsiteX37" fmla="*/ 3822487 w 12045155"/>
                <a:gd name="connsiteY37" fmla="*/ 90799 h 2510409"/>
                <a:gd name="connsiteX38" fmla="*/ 2370177 w 12045155"/>
                <a:gd name="connsiteY38" fmla="*/ 156695 h 2510409"/>
                <a:gd name="connsiteX39" fmla="*/ 578745 w 12045155"/>
                <a:gd name="connsiteY39" fmla="*/ 148189 h 2510409"/>
                <a:gd name="connsiteX40" fmla="*/ 38923 w 12045155"/>
                <a:gd name="connsiteY40" fmla="*/ 157240 h 2510409"/>
                <a:gd name="connsiteX0" fmla="*/ 38923 w 12045155"/>
                <a:gd name="connsiteY0" fmla="*/ 157240 h 2510087"/>
                <a:gd name="connsiteX1" fmla="*/ 4765 w 12045155"/>
                <a:gd name="connsiteY1" fmla="*/ 229969 h 2510087"/>
                <a:gd name="connsiteX2" fmla="*/ 16985 w 12045155"/>
                <a:gd name="connsiteY2" fmla="*/ 441204 h 2510087"/>
                <a:gd name="connsiteX3" fmla="*/ 31647 w 12045155"/>
                <a:gd name="connsiteY3" fmla="*/ 700450 h 2510087"/>
                <a:gd name="connsiteX4" fmla="*/ 43864 w 12045155"/>
                <a:gd name="connsiteY4" fmla="*/ 777266 h 2510087"/>
                <a:gd name="connsiteX5" fmla="*/ 80207 w 12045155"/>
                <a:gd name="connsiteY5" fmla="*/ 937416 h 2510087"/>
                <a:gd name="connsiteX6" fmla="*/ 937008 w 12045155"/>
                <a:gd name="connsiteY6" fmla="*/ 844973 h 2510087"/>
                <a:gd name="connsiteX7" fmla="*/ 1631867 w 12045155"/>
                <a:gd name="connsiteY7" fmla="*/ 878961 h 2510087"/>
                <a:gd name="connsiteX8" fmla="*/ 2087877 w 12045155"/>
                <a:gd name="connsiteY8" fmla="*/ 819473 h 2510087"/>
                <a:gd name="connsiteX9" fmla="*/ 2565599 w 12045155"/>
                <a:gd name="connsiteY9" fmla="*/ 819473 h 2510087"/>
                <a:gd name="connsiteX10" fmla="*/ 3336468 w 12045155"/>
                <a:gd name="connsiteY10" fmla="*/ 861967 h 2510087"/>
                <a:gd name="connsiteX11" fmla="*/ 4215904 w 12045155"/>
                <a:gd name="connsiteY11" fmla="*/ 844973 h 2510087"/>
                <a:gd name="connsiteX12" fmla="*/ 4845622 w 12045155"/>
                <a:gd name="connsiteY12" fmla="*/ 853479 h 2510087"/>
                <a:gd name="connsiteX13" fmla="*/ 5681632 w 12045155"/>
                <a:gd name="connsiteY13" fmla="*/ 853479 h 2510087"/>
                <a:gd name="connsiteX14" fmla="*/ 6745645 w 12045155"/>
                <a:gd name="connsiteY14" fmla="*/ 878979 h 2510087"/>
                <a:gd name="connsiteX15" fmla="*/ 7494800 w 12045155"/>
                <a:gd name="connsiteY15" fmla="*/ 870473 h 2510087"/>
                <a:gd name="connsiteX16" fmla="*/ 8026795 w 12045155"/>
                <a:gd name="connsiteY16" fmla="*/ 861967 h 2510087"/>
                <a:gd name="connsiteX17" fmla="*/ 8504518 w 12045155"/>
                <a:gd name="connsiteY17" fmla="*/ 827979 h 2510087"/>
                <a:gd name="connsiteX18" fmla="*/ 9217808 w 12045155"/>
                <a:gd name="connsiteY18" fmla="*/ 2091547 h 2510087"/>
                <a:gd name="connsiteX19" fmla="*/ 10149208 w 12045155"/>
                <a:gd name="connsiteY19" fmla="*/ 2510086 h 2510087"/>
                <a:gd name="connsiteX20" fmla="*/ 11195242 w 12045155"/>
                <a:gd name="connsiteY20" fmla="*/ 2091549 h 2510087"/>
                <a:gd name="connsiteX21" fmla="*/ 11309876 w 12045155"/>
                <a:gd name="connsiteY21" fmla="*/ 1618413 h 2510087"/>
                <a:gd name="connsiteX22" fmla="*/ 11797069 w 12045155"/>
                <a:gd name="connsiteY22" fmla="*/ 999707 h 2510087"/>
                <a:gd name="connsiteX23" fmla="*/ 12045155 w 12045155"/>
                <a:gd name="connsiteY23" fmla="*/ 699393 h 2510087"/>
                <a:gd name="connsiteX24" fmla="*/ 12045155 w 12045155"/>
                <a:gd name="connsiteY24" fmla="*/ 261011 h 2510087"/>
                <a:gd name="connsiteX25" fmla="*/ 11438839 w 12045155"/>
                <a:gd name="connsiteY25" fmla="*/ 435586 h 2510087"/>
                <a:gd name="connsiteX26" fmla="*/ 11059114 w 12045155"/>
                <a:gd name="connsiteY26" fmla="*/ 1047471 h 2510087"/>
                <a:gd name="connsiteX27" fmla="*/ 10602369 w 12045155"/>
                <a:gd name="connsiteY27" fmla="*/ 1661632 h 2510087"/>
                <a:gd name="connsiteX28" fmla="*/ 10034574 w 12045155"/>
                <a:gd name="connsiteY28" fmla="*/ 1618415 h 2510087"/>
                <a:gd name="connsiteX29" fmla="*/ 9527677 w 12045155"/>
                <a:gd name="connsiteY29" fmla="*/ 1058846 h 2510087"/>
                <a:gd name="connsiteX30" fmla="*/ 9053022 w 12045155"/>
                <a:gd name="connsiteY30" fmla="*/ 581165 h 2510087"/>
                <a:gd name="connsiteX31" fmla="*/ 8450223 w 12045155"/>
                <a:gd name="connsiteY31" fmla="*/ 156695 h 2510087"/>
                <a:gd name="connsiteX32" fmla="*/ 7635927 w 12045155"/>
                <a:gd name="connsiteY32" fmla="*/ 105714 h 2510087"/>
                <a:gd name="connsiteX33" fmla="*/ 7049636 w 12045155"/>
                <a:gd name="connsiteY33" fmla="*/ 199189 h 2510087"/>
                <a:gd name="connsiteX34" fmla="*/ 6342549 w 12045155"/>
                <a:gd name="connsiteY34" fmla="*/ 146630 h 2510087"/>
                <a:gd name="connsiteX35" fmla="*/ 5902209 w 12045155"/>
                <a:gd name="connsiteY35" fmla="*/ 249658 h 2510087"/>
                <a:gd name="connsiteX36" fmla="*/ 5182195 w 12045155"/>
                <a:gd name="connsiteY36" fmla="*/ 292664 h 2510087"/>
                <a:gd name="connsiteX37" fmla="*/ 3822487 w 12045155"/>
                <a:gd name="connsiteY37" fmla="*/ 90799 h 2510087"/>
                <a:gd name="connsiteX38" fmla="*/ 2370177 w 12045155"/>
                <a:gd name="connsiteY38" fmla="*/ 156695 h 2510087"/>
                <a:gd name="connsiteX39" fmla="*/ 578745 w 12045155"/>
                <a:gd name="connsiteY39" fmla="*/ 148189 h 2510087"/>
                <a:gd name="connsiteX40" fmla="*/ 38923 w 12045155"/>
                <a:gd name="connsiteY40" fmla="*/ 157240 h 2510087"/>
                <a:gd name="connsiteX0" fmla="*/ 38923 w 12045155"/>
                <a:gd name="connsiteY0" fmla="*/ 157240 h 2510087"/>
                <a:gd name="connsiteX1" fmla="*/ 4765 w 12045155"/>
                <a:gd name="connsiteY1" fmla="*/ 229969 h 2510087"/>
                <a:gd name="connsiteX2" fmla="*/ 16985 w 12045155"/>
                <a:gd name="connsiteY2" fmla="*/ 441204 h 2510087"/>
                <a:gd name="connsiteX3" fmla="*/ 31647 w 12045155"/>
                <a:gd name="connsiteY3" fmla="*/ 700450 h 2510087"/>
                <a:gd name="connsiteX4" fmla="*/ 43864 w 12045155"/>
                <a:gd name="connsiteY4" fmla="*/ 777266 h 2510087"/>
                <a:gd name="connsiteX5" fmla="*/ 80207 w 12045155"/>
                <a:gd name="connsiteY5" fmla="*/ 937416 h 2510087"/>
                <a:gd name="connsiteX6" fmla="*/ 937008 w 12045155"/>
                <a:gd name="connsiteY6" fmla="*/ 844973 h 2510087"/>
                <a:gd name="connsiteX7" fmla="*/ 1631867 w 12045155"/>
                <a:gd name="connsiteY7" fmla="*/ 878961 h 2510087"/>
                <a:gd name="connsiteX8" fmla="*/ 2087877 w 12045155"/>
                <a:gd name="connsiteY8" fmla="*/ 819473 h 2510087"/>
                <a:gd name="connsiteX9" fmla="*/ 2565599 w 12045155"/>
                <a:gd name="connsiteY9" fmla="*/ 819473 h 2510087"/>
                <a:gd name="connsiteX10" fmla="*/ 3336468 w 12045155"/>
                <a:gd name="connsiteY10" fmla="*/ 861967 h 2510087"/>
                <a:gd name="connsiteX11" fmla="*/ 4215904 w 12045155"/>
                <a:gd name="connsiteY11" fmla="*/ 844973 h 2510087"/>
                <a:gd name="connsiteX12" fmla="*/ 4845622 w 12045155"/>
                <a:gd name="connsiteY12" fmla="*/ 853479 h 2510087"/>
                <a:gd name="connsiteX13" fmla="*/ 5681632 w 12045155"/>
                <a:gd name="connsiteY13" fmla="*/ 853479 h 2510087"/>
                <a:gd name="connsiteX14" fmla="*/ 6745645 w 12045155"/>
                <a:gd name="connsiteY14" fmla="*/ 878979 h 2510087"/>
                <a:gd name="connsiteX15" fmla="*/ 7494800 w 12045155"/>
                <a:gd name="connsiteY15" fmla="*/ 870473 h 2510087"/>
                <a:gd name="connsiteX16" fmla="*/ 8026795 w 12045155"/>
                <a:gd name="connsiteY16" fmla="*/ 861967 h 2510087"/>
                <a:gd name="connsiteX17" fmla="*/ 8504518 w 12045155"/>
                <a:gd name="connsiteY17" fmla="*/ 827979 h 2510087"/>
                <a:gd name="connsiteX18" fmla="*/ 9217808 w 12045155"/>
                <a:gd name="connsiteY18" fmla="*/ 2091547 h 2510087"/>
                <a:gd name="connsiteX19" fmla="*/ 10149208 w 12045155"/>
                <a:gd name="connsiteY19" fmla="*/ 2510086 h 2510087"/>
                <a:gd name="connsiteX20" fmla="*/ 11195242 w 12045155"/>
                <a:gd name="connsiteY20" fmla="*/ 2091549 h 2510087"/>
                <a:gd name="connsiteX21" fmla="*/ 11625119 w 12045155"/>
                <a:gd name="connsiteY21" fmla="*/ 1600216 h 2510087"/>
                <a:gd name="connsiteX22" fmla="*/ 11797069 w 12045155"/>
                <a:gd name="connsiteY22" fmla="*/ 999707 h 2510087"/>
                <a:gd name="connsiteX23" fmla="*/ 12045155 w 12045155"/>
                <a:gd name="connsiteY23" fmla="*/ 699393 h 2510087"/>
                <a:gd name="connsiteX24" fmla="*/ 12045155 w 12045155"/>
                <a:gd name="connsiteY24" fmla="*/ 261011 h 2510087"/>
                <a:gd name="connsiteX25" fmla="*/ 11438839 w 12045155"/>
                <a:gd name="connsiteY25" fmla="*/ 435586 h 2510087"/>
                <a:gd name="connsiteX26" fmla="*/ 11059114 w 12045155"/>
                <a:gd name="connsiteY26" fmla="*/ 1047471 h 2510087"/>
                <a:gd name="connsiteX27" fmla="*/ 10602369 w 12045155"/>
                <a:gd name="connsiteY27" fmla="*/ 1661632 h 2510087"/>
                <a:gd name="connsiteX28" fmla="*/ 10034574 w 12045155"/>
                <a:gd name="connsiteY28" fmla="*/ 1618415 h 2510087"/>
                <a:gd name="connsiteX29" fmla="*/ 9527677 w 12045155"/>
                <a:gd name="connsiteY29" fmla="*/ 1058846 h 2510087"/>
                <a:gd name="connsiteX30" fmla="*/ 9053022 w 12045155"/>
                <a:gd name="connsiteY30" fmla="*/ 581165 h 2510087"/>
                <a:gd name="connsiteX31" fmla="*/ 8450223 w 12045155"/>
                <a:gd name="connsiteY31" fmla="*/ 156695 h 2510087"/>
                <a:gd name="connsiteX32" fmla="*/ 7635927 w 12045155"/>
                <a:gd name="connsiteY32" fmla="*/ 105714 h 2510087"/>
                <a:gd name="connsiteX33" fmla="*/ 7049636 w 12045155"/>
                <a:gd name="connsiteY33" fmla="*/ 199189 h 2510087"/>
                <a:gd name="connsiteX34" fmla="*/ 6342549 w 12045155"/>
                <a:gd name="connsiteY34" fmla="*/ 146630 h 2510087"/>
                <a:gd name="connsiteX35" fmla="*/ 5902209 w 12045155"/>
                <a:gd name="connsiteY35" fmla="*/ 249658 h 2510087"/>
                <a:gd name="connsiteX36" fmla="*/ 5182195 w 12045155"/>
                <a:gd name="connsiteY36" fmla="*/ 292664 h 2510087"/>
                <a:gd name="connsiteX37" fmla="*/ 3822487 w 12045155"/>
                <a:gd name="connsiteY37" fmla="*/ 90799 h 2510087"/>
                <a:gd name="connsiteX38" fmla="*/ 2370177 w 12045155"/>
                <a:gd name="connsiteY38" fmla="*/ 156695 h 2510087"/>
                <a:gd name="connsiteX39" fmla="*/ 578745 w 12045155"/>
                <a:gd name="connsiteY39" fmla="*/ 148189 h 2510087"/>
                <a:gd name="connsiteX40" fmla="*/ 38923 w 12045155"/>
                <a:gd name="connsiteY40" fmla="*/ 157240 h 2510087"/>
                <a:gd name="connsiteX0" fmla="*/ 38923 w 12045155"/>
                <a:gd name="connsiteY0" fmla="*/ 157240 h 2510087"/>
                <a:gd name="connsiteX1" fmla="*/ 4765 w 12045155"/>
                <a:gd name="connsiteY1" fmla="*/ 229969 h 2510087"/>
                <a:gd name="connsiteX2" fmla="*/ 16985 w 12045155"/>
                <a:gd name="connsiteY2" fmla="*/ 441204 h 2510087"/>
                <a:gd name="connsiteX3" fmla="*/ 31647 w 12045155"/>
                <a:gd name="connsiteY3" fmla="*/ 700450 h 2510087"/>
                <a:gd name="connsiteX4" fmla="*/ 43864 w 12045155"/>
                <a:gd name="connsiteY4" fmla="*/ 777266 h 2510087"/>
                <a:gd name="connsiteX5" fmla="*/ 80207 w 12045155"/>
                <a:gd name="connsiteY5" fmla="*/ 937416 h 2510087"/>
                <a:gd name="connsiteX6" fmla="*/ 937008 w 12045155"/>
                <a:gd name="connsiteY6" fmla="*/ 844973 h 2510087"/>
                <a:gd name="connsiteX7" fmla="*/ 1631867 w 12045155"/>
                <a:gd name="connsiteY7" fmla="*/ 878961 h 2510087"/>
                <a:gd name="connsiteX8" fmla="*/ 2087877 w 12045155"/>
                <a:gd name="connsiteY8" fmla="*/ 819473 h 2510087"/>
                <a:gd name="connsiteX9" fmla="*/ 2565599 w 12045155"/>
                <a:gd name="connsiteY9" fmla="*/ 819473 h 2510087"/>
                <a:gd name="connsiteX10" fmla="*/ 3336468 w 12045155"/>
                <a:gd name="connsiteY10" fmla="*/ 861967 h 2510087"/>
                <a:gd name="connsiteX11" fmla="*/ 4215904 w 12045155"/>
                <a:gd name="connsiteY11" fmla="*/ 844973 h 2510087"/>
                <a:gd name="connsiteX12" fmla="*/ 4845622 w 12045155"/>
                <a:gd name="connsiteY12" fmla="*/ 853479 h 2510087"/>
                <a:gd name="connsiteX13" fmla="*/ 5681632 w 12045155"/>
                <a:gd name="connsiteY13" fmla="*/ 853479 h 2510087"/>
                <a:gd name="connsiteX14" fmla="*/ 6745645 w 12045155"/>
                <a:gd name="connsiteY14" fmla="*/ 878979 h 2510087"/>
                <a:gd name="connsiteX15" fmla="*/ 7494800 w 12045155"/>
                <a:gd name="connsiteY15" fmla="*/ 870473 h 2510087"/>
                <a:gd name="connsiteX16" fmla="*/ 8026795 w 12045155"/>
                <a:gd name="connsiteY16" fmla="*/ 861967 h 2510087"/>
                <a:gd name="connsiteX17" fmla="*/ 8647812 w 12045155"/>
                <a:gd name="connsiteY17" fmla="*/ 1264715 h 2510087"/>
                <a:gd name="connsiteX18" fmla="*/ 9217808 w 12045155"/>
                <a:gd name="connsiteY18" fmla="*/ 2091547 h 2510087"/>
                <a:gd name="connsiteX19" fmla="*/ 10149208 w 12045155"/>
                <a:gd name="connsiteY19" fmla="*/ 2510086 h 2510087"/>
                <a:gd name="connsiteX20" fmla="*/ 11195242 w 12045155"/>
                <a:gd name="connsiteY20" fmla="*/ 2091549 h 2510087"/>
                <a:gd name="connsiteX21" fmla="*/ 11625119 w 12045155"/>
                <a:gd name="connsiteY21" fmla="*/ 1600216 h 2510087"/>
                <a:gd name="connsiteX22" fmla="*/ 11797069 w 12045155"/>
                <a:gd name="connsiteY22" fmla="*/ 999707 h 2510087"/>
                <a:gd name="connsiteX23" fmla="*/ 12045155 w 12045155"/>
                <a:gd name="connsiteY23" fmla="*/ 699393 h 2510087"/>
                <a:gd name="connsiteX24" fmla="*/ 12045155 w 12045155"/>
                <a:gd name="connsiteY24" fmla="*/ 261011 h 2510087"/>
                <a:gd name="connsiteX25" fmla="*/ 11438839 w 12045155"/>
                <a:gd name="connsiteY25" fmla="*/ 435586 h 2510087"/>
                <a:gd name="connsiteX26" fmla="*/ 11059114 w 12045155"/>
                <a:gd name="connsiteY26" fmla="*/ 1047471 h 2510087"/>
                <a:gd name="connsiteX27" fmla="*/ 10602369 w 12045155"/>
                <a:gd name="connsiteY27" fmla="*/ 1661632 h 2510087"/>
                <a:gd name="connsiteX28" fmla="*/ 10034574 w 12045155"/>
                <a:gd name="connsiteY28" fmla="*/ 1618415 h 2510087"/>
                <a:gd name="connsiteX29" fmla="*/ 9527677 w 12045155"/>
                <a:gd name="connsiteY29" fmla="*/ 1058846 h 2510087"/>
                <a:gd name="connsiteX30" fmla="*/ 9053022 w 12045155"/>
                <a:gd name="connsiteY30" fmla="*/ 581165 h 2510087"/>
                <a:gd name="connsiteX31" fmla="*/ 8450223 w 12045155"/>
                <a:gd name="connsiteY31" fmla="*/ 156695 h 2510087"/>
                <a:gd name="connsiteX32" fmla="*/ 7635927 w 12045155"/>
                <a:gd name="connsiteY32" fmla="*/ 105714 h 2510087"/>
                <a:gd name="connsiteX33" fmla="*/ 7049636 w 12045155"/>
                <a:gd name="connsiteY33" fmla="*/ 199189 h 2510087"/>
                <a:gd name="connsiteX34" fmla="*/ 6342549 w 12045155"/>
                <a:gd name="connsiteY34" fmla="*/ 146630 h 2510087"/>
                <a:gd name="connsiteX35" fmla="*/ 5902209 w 12045155"/>
                <a:gd name="connsiteY35" fmla="*/ 249658 h 2510087"/>
                <a:gd name="connsiteX36" fmla="*/ 5182195 w 12045155"/>
                <a:gd name="connsiteY36" fmla="*/ 292664 h 2510087"/>
                <a:gd name="connsiteX37" fmla="*/ 3822487 w 12045155"/>
                <a:gd name="connsiteY37" fmla="*/ 90799 h 2510087"/>
                <a:gd name="connsiteX38" fmla="*/ 2370177 w 12045155"/>
                <a:gd name="connsiteY38" fmla="*/ 156695 h 2510087"/>
                <a:gd name="connsiteX39" fmla="*/ 578745 w 12045155"/>
                <a:gd name="connsiteY39" fmla="*/ 148189 h 2510087"/>
                <a:gd name="connsiteX40" fmla="*/ 38923 w 12045155"/>
                <a:gd name="connsiteY40" fmla="*/ 157240 h 2510087"/>
                <a:gd name="connsiteX0" fmla="*/ 38923 w 12045155"/>
                <a:gd name="connsiteY0" fmla="*/ 157240 h 2510087"/>
                <a:gd name="connsiteX1" fmla="*/ 4765 w 12045155"/>
                <a:gd name="connsiteY1" fmla="*/ 229969 h 2510087"/>
                <a:gd name="connsiteX2" fmla="*/ 16985 w 12045155"/>
                <a:gd name="connsiteY2" fmla="*/ 441204 h 2510087"/>
                <a:gd name="connsiteX3" fmla="*/ 31647 w 12045155"/>
                <a:gd name="connsiteY3" fmla="*/ 700450 h 2510087"/>
                <a:gd name="connsiteX4" fmla="*/ 43864 w 12045155"/>
                <a:gd name="connsiteY4" fmla="*/ 777266 h 2510087"/>
                <a:gd name="connsiteX5" fmla="*/ 80207 w 12045155"/>
                <a:gd name="connsiteY5" fmla="*/ 937416 h 2510087"/>
                <a:gd name="connsiteX6" fmla="*/ 937008 w 12045155"/>
                <a:gd name="connsiteY6" fmla="*/ 844973 h 2510087"/>
                <a:gd name="connsiteX7" fmla="*/ 1631867 w 12045155"/>
                <a:gd name="connsiteY7" fmla="*/ 878961 h 2510087"/>
                <a:gd name="connsiteX8" fmla="*/ 2087877 w 12045155"/>
                <a:gd name="connsiteY8" fmla="*/ 819473 h 2510087"/>
                <a:gd name="connsiteX9" fmla="*/ 2565599 w 12045155"/>
                <a:gd name="connsiteY9" fmla="*/ 819473 h 2510087"/>
                <a:gd name="connsiteX10" fmla="*/ 3336468 w 12045155"/>
                <a:gd name="connsiteY10" fmla="*/ 861967 h 2510087"/>
                <a:gd name="connsiteX11" fmla="*/ 4215904 w 12045155"/>
                <a:gd name="connsiteY11" fmla="*/ 844973 h 2510087"/>
                <a:gd name="connsiteX12" fmla="*/ 4845622 w 12045155"/>
                <a:gd name="connsiteY12" fmla="*/ 853479 h 2510087"/>
                <a:gd name="connsiteX13" fmla="*/ 5681632 w 12045155"/>
                <a:gd name="connsiteY13" fmla="*/ 853479 h 2510087"/>
                <a:gd name="connsiteX14" fmla="*/ 6745645 w 12045155"/>
                <a:gd name="connsiteY14" fmla="*/ 878979 h 2510087"/>
                <a:gd name="connsiteX15" fmla="*/ 7494800 w 12045155"/>
                <a:gd name="connsiteY15" fmla="*/ 870473 h 2510087"/>
                <a:gd name="connsiteX16" fmla="*/ 8026795 w 12045155"/>
                <a:gd name="connsiteY16" fmla="*/ 861967 h 2510087"/>
                <a:gd name="connsiteX17" fmla="*/ 8647812 w 12045155"/>
                <a:gd name="connsiteY17" fmla="*/ 1264715 h 2510087"/>
                <a:gd name="connsiteX18" fmla="*/ 9217808 w 12045155"/>
                <a:gd name="connsiteY18" fmla="*/ 2091547 h 2510087"/>
                <a:gd name="connsiteX19" fmla="*/ 10149208 w 12045155"/>
                <a:gd name="connsiteY19" fmla="*/ 2510086 h 2510087"/>
                <a:gd name="connsiteX20" fmla="*/ 11195242 w 12045155"/>
                <a:gd name="connsiteY20" fmla="*/ 2091549 h 2510087"/>
                <a:gd name="connsiteX21" fmla="*/ 11486173 w 12045155"/>
                <a:gd name="connsiteY21" fmla="*/ 1445814 h 2510087"/>
                <a:gd name="connsiteX22" fmla="*/ 11797069 w 12045155"/>
                <a:gd name="connsiteY22" fmla="*/ 999707 h 2510087"/>
                <a:gd name="connsiteX23" fmla="*/ 12045155 w 12045155"/>
                <a:gd name="connsiteY23" fmla="*/ 699393 h 2510087"/>
                <a:gd name="connsiteX24" fmla="*/ 12045155 w 12045155"/>
                <a:gd name="connsiteY24" fmla="*/ 261011 h 2510087"/>
                <a:gd name="connsiteX25" fmla="*/ 11438839 w 12045155"/>
                <a:gd name="connsiteY25" fmla="*/ 435586 h 2510087"/>
                <a:gd name="connsiteX26" fmla="*/ 11059114 w 12045155"/>
                <a:gd name="connsiteY26" fmla="*/ 1047471 h 2510087"/>
                <a:gd name="connsiteX27" fmla="*/ 10602369 w 12045155"/>
                <a:gd name="connsiteY27" fmla="*/ 1661632 h 2510087"/>
                <a:gd name="connsiteX28" fmla="*/ 10034574 w 12045155"/>
                <a:gd name="connsiteY28" fmla="*/ 1618415 h 2510087"/>
                <a:gd name="connsiteX29" fmla="*/ 9527677 w 12045155"/>
                <a:gd name="connsiteY29" fmla="*/ 1058846 h 2510087"/>
                <a:gd name="connsiteX30" fmla="*/ 9053022 w 12045155"/>
                <a:gd name="connsiteY30" fmla="*/ 581165 h 2510087"/>
                <a:gd name="connsiteX31" fmla="*/ 8450223 w 12045155"/>
                <a:gd name="connsiteY31" fmla="*/ 156695 h 2510087"/>
                <a:gd name="connsiteX32" fmla="*/ 7635927 w 12045155"/>
                <a:gd name="connsiteY32" fmla="*/ 105714 h 2510087"/>
                <a:gd name="connsiteX33" fmla="*/ 7049636 w 12045155"/>
                <a:gd name="connsiteY33" fmla="*/ 199189 h 2510087"/>
                <a:gd name="connsiteX34" fmla="*/ 6342549 w 12045155"/>
                <a:gd name="connsiteY34" fmla="*/ 146630 h 2510087"/>
                <a:gd name="connsiteX35" fmla="*/ 5902209 w 12045155"/>
                <a:gd name="connsiteY35" fmla="*/ 249658 h 2510087"/>
                <a:gd name="connsiteX36" fmla="*/ 5182195 w 12045155"/>
                <a:gd name="connsiteY36" fmla="*/ 292664 h 2510087"/>
                <a:gd name="connsiteX37" fmla="*/ 3822487 w 12045155"/>
                <a:gd name="connsiteY37" fmla="*/ 90799 h 2510087"/>
                <a:gd name="connsiteX38" fmla="*/ 2370177 w 12045155"/>
                <a:gd name="connsiteY38" fmla="*/ 156695 h 2510087"/>
                <a:gd name="connsiteX39" fmla="*/ 578745 w 12045155"/>
                <a:gd name="connsiteY39" fmla="*/ 148189 h 2510087"/>
                <a:gd name="connsiteX40" fmla="*/ 38923 w 12045155"/>
                <a:gd name="connsiteY40" fmla="*/ 157240 h 2510087"/>
                <a:gd name="connsiteX0" fmla="*/ 38923 w 12045155"/>
                <a:gd name="connsiteY0" fmla="*/ 157240 h 2510087"/>
                <a:gd name="connsiteX1" fmla="*/ 4765 w 12045155"/>
                <a:gd name="connsiteY1" fmla="*/ 229969 h 2510087"/>
                <a:gd name="connsiteX2" fmla="*/ 8249783 w 12045155"/>
                <a:gd name="connsiteY2" fmla="*/ 507371 h 2510087"/>
                <a:gd name="connsiteX3" fmla="*/ 31647 w 12045155"/>
                <a:gd name="connsiteY3" fmla="*/ 700450 h 2510087"/>
                <a:gd name="connsiteX4" fmla="*/ 43864 w 12045155"/>
                <a:gd name="connsiteY4" fmla="*/ 777266 h 2510087"/>
                <a:gd name="connsiteX5" fmla="*/ 80207 w 12045155"/>
                <a:gd name="connsiteY5" fmla="*/ 937416 h 2510087"/>
                <a:gd name="connsiteX6" fmla="*/ 937008 w 12045155"/>
                <a:gd name="connsiteY6" fmla="*/ 844973 h 2510087"/>
                <a:gd name="connsiteX7" fmla="*/ 1631867 w 12045155"/>
                <a:gd name="connsiteY7" fmla="*/ 878961 h 2510087"/>
                <a:gd name="connsiteX8" fmla="*/ 2087877 w 12045155"/>
                <a:gd name="connsiteY8" fmla="*/ 819473 h 2510087"/>
                <a:gd name="connsiteX9" fmla="*/ 2565599 w 12045155"/>
                <a:gd name="connsiteY9" fmla="*/ 819473 h 2510087"/>
                <a:gd name="connsiteX10" fmla="*/ 3336468 w 12045155"/>
                <a:gd name="connsiteY10" fmla="*/ 861967 h 2510087"/>
                <a:gd name="connsiteX11" fmla="*/ 4215904 w 12045155"/>
                <a:gd name="connsiteY11" fmla="*/ 844973 h 2510087"/>
                <a:gd name="connsiteX12" fmla="*/ 4845622 w 12045155"/>
                <a:gd name="connsiteY12" fmla="*/ 853479 h 2510087"/>
                <a:gd name="connsiteX13" fmla="*/ 5681632 w 12045155"/>
                <a:gd name="connsiteY13" fmla="*/ 853479 h 2510087"/>
                <a:gd name="connsiteX14" fmla="*/ 6745645 w 12045155"/>
                <a:gd name="connsiteY14" fmla="*/ 878979 h 2510087"/>
                <a:gd name="connsiteX15" fmla="*/ 7494800 w 12045155"/>
                <a:gd name="connsiteY15" fmla="*/ 870473 h 2510087"/>
                <a:gd name="connsiteX16" fmla="*/ 8026795 w 12045155"/>
                <a:gd name="connsiteY16" fmla="*/ 861967 h 2510087"/>
                <a:gd name="connsiteX17" fmla="*/ 8647812 w 12045155"/>
                <a:gd name="connsiteY17" fmla="*/ 1264715 h 2510087"/>
                <a:gd name="connsiteX18" fmla="*/ 9217808 w 12045155"/>
                <a:gd name="connsiteY18" fmla="*/ 2091547 h 2510087"/>
                <a:gd name="connsiteX19" fmla="*/ 10149208 w 12045155"/>
                <a:gd name="connsiteY19" fmla="*/ 2510086 h 2510087"/>
                <a:gd name="connsiteX20" fmla="*/ 11195242 w 12045155"/>
                <a:gd name="connsiteY20" fmla="*/ 2091549 h 2510087"/>
                <a:gd name="connsiteX21" fmla="*/ 11486173 w 12045155"/>
                <a:gd name="connsiteY21" fmla="*/ 1445814 h 2510087"/>
                <a:gd name="connsiteX22" fmla="*/ 11797069 w 12045155"/>
                <a:gd name="connsiteY22" fmla="*/ 999707 h 2510087"/>
                <a:gd name="connsiteX23" fmla="*/ 12045155 w 12045155"/>
                <a:gd name="connsiteY23" fmla="*/ 699393 h 2510087"/>
                <a:gd name="connsiteX24" fmla="*/ 12045155 w 12045155"/>
                <a:gd name="connsiteY24" fmla="*/ 261011 h 2510087"/>
                <a:gd name="connsiteX25" fmla="*/ 11438839 w 12045155"/>
                <a:gd name="connsiteY25" fmla="*/ 435586 h 2510087"/>
                <a:gd name="connsiteX26" fmla="*/ 11059114 w 12045155"/>
                <a:gd name="connsiteY26" fmla="*/ 1047471 h 2510087"/>
                <a:gd name="connsiteX27" fmla="*/ 10602369 w 12045155"/>
                <a:gd name="connsiteY27" fmla="*/ 1661632 h 2510087"/>
                <a:gd name="connsiteX28" fmla="*/ 10034574 w 12045155"/>
                <a:gd name="connsiteY28" fmla="*/ 1618415 h 2510087"/>
                <a:gd name="connsiteX29" fmla="*/ 9527677 w 12045155"/>
                <a:gd name="connsiteY29" fmla="*/ 1058846 h 2510087"/>
                <a:gd name="connsiteX30" fmla="*/ 9053022 w 12045155"/>
                <a:gd name="connsiteY30" fmla="*/ 581165 h 2510087"/>
                <a:gd name="connsiteX31" fmla="*/ 8450223 w 12045155"/>
                <a:gd name="connsiteY31" fmla="*/ 156695 h 2510087"/>
                <a:gd name="connsiteX32" fmla="*/ 7635927 w 12045155"/>
                <a:gd name="connsiteY32" fmla="*/ 105714 h 2510087"/>
                <a:gd name="connsiteX33" fmla="*/ 7049636 w 12045155"/>
                <a:gd name="connsiteY33" fmla="*/ 199189 h 2510087"/>
                <a:gd name="connsiteX34" fmla="*/ 6342549 w 12045155"/>
                <a:gd name="connsiteY34" fmla="*/ 146630 h 2510087"/>
                <a:gd name="connsiteX35" fmla="*/ 5902209 w 12045155"/>
                <a:gd name="connsiteY35" fmla="*/ 249658 h 2510087"/>
                <a:gd name="connsiteX36" fmla="*/ 5182195 w 12045155"/>
                <a:gd name="connsiteY36" fmla="*/ 292664 h 2510087"/>
                <a:gd name="connsiteX37" fmla="*/ 3822487 w 12045155"/>
                <a:gd name="connsiteY37" fmla="*/ 90799 h 2510087"/>
                <a:gd name="connsiteX38" fmla="*/ 2370177 w 12045155"/>
                <a:gd name="connsiteY38" fmla="*/ 156695 h 2510087"/>
                <a:gd name="connsiteX39" fmla="*/ 578745 w 12045155"/>
                <a:gd name="connsiteY39" fmla="*/ 148189 h 2510087"/>
                <a:gd name="connsiteX40" fmla="*/ 38923 w 12045155"/>
                <a:gd name="connsiteY40" fmla="*/ 157240 h 2510087"/>
                <a:gd name="connsiteX0" fmla="*/ 38923 w 12045155"/>
                <a:gd name="connsiteY0" fmla="*/ 157240 h 2510087"/>
                <a:gd name="connsiteX1" fmla="*/ 4765 w 12045155"/>
                <a:gd name="connsiteY1" fmla="*/ 229969 h 2510087"/>
                <a:gd name="connsiteX2" fmla="*/ 8249783 w 12045155"/>
                <a:gd name="connsiteY2" fmla="*/ 507371 h 2510087"/>
                <a:gd name="connsiteX3" fmla="*/ 31647 w 12045155"/>
                <a:gd name="connsiteY3" fmla="*/ 700450 h 2510087"/>
                <a:gd name="connsiteX4" fmla="*/ 43864 w 12045155"/>
                <a:gd name="connsiteY4" fmla="*/ 777266 h 2510087"/>
                <a:gd name="connsiteX5" fmla="*/ 80207 w 12045155"/>
                <a:gd name="connsiteY5" fmla="*/ 937416 h 2510087"/>
                <a:gd name="connsiteX6" fmla="*/ 937008 w 12045155"/>
                <a:gd name="connsiteY6" fmla="*/ 844973 h 2510087"/>
                <a:gd name="connsiteX7" fmla="*/ 1631867 w 12045155"/>
                <a:gd name="connsiteY7" fmla="*/ 878961 h 2510087"/>
                <a:gd name="connsiteX8" fmla="*/ 2087877 w 12045155"/>
                <a:gd name="connsiteY8" fmla="*/ 819473 h 2510087"/>
                <a:gd name="connsiteX9" fmla="*/ 2565599 w 12045155"/>
                <a:gd name="connsiteY9" fmla="*/ 819473 h 2510087"/>
                <a:gd name="connsiteX10" fmla="*/ 3336468 w 12045155"/>
                <a:gd name="connsiteY10" fmla="*/ 861967 h 2510087"/>
                <a:gd name="connsiteX11" fmla="*/ 4215904 w 12045155"/>
                <a:gd name="connsiteY11" fmla="*/ 844973 h 2510087"/>
                <a:gd name="connsiteX12" fmla="*/ 4845622 w 12045155"/>
                <a:gd name="connsiteY12" fmla="*/ 853479 h 2510087"/>
                <a:gd name="connsiteX13" fmla="*/ 5681632 w 12045155"/>
                <a:gd name="connsiteY13" fmla="*/ 853479 h 2510087"/>
                <a:gd name="connsiteX14" fmla="*/ 6745645 w 12045155"/>
                <a:gd name="connsiteY14" fmla="*/ 878979 h 2510087"/>
                <a:gd name="connsiteX15" fmla="*/ 7494800 w 12045155"/>
                <a:gd name="connsiteY15" fmla="*/ 870473 h 2510087"/>
                <a:gd name="connsiteX16" fmla="*/ 8026795 w 12045155"/>
                <a:gd name="connsiteY16" fmla="*/ 861967 h 2510087"/>
                <a:gd name="connsiteX17" fmla="*/ 8647812 w 12045155"/>
                <a:gd name="connsiteY17" fmla="*/ 1264715 h 2510087"/>
                <a:gd name="connsiteX18" fmla="*/ 9217808 w 12045155"/>
                <a:gd name="connsiteY18" fmla="*/ 2091547 h 2510087"/>
                <a:gd name="connsiteX19" fmla="*/ 10149208 w 12045155"/>
                <a:gd name="connsiteY19" fmla="*/ 2510086 h 2510087"/>
                <a:gd name="connsiteX20" fmla="*/ 11195242 w 12045155"/>
                <a:gd name="connsiteY20" fmla="*/ 2091549 h 2510087"/>
                <a:gd name="connsiteX21" fmla="*/ 11486173 w 12045155"/>
                <a:gd name="connsiteY21" fmla="*/ 1445814 h 2510087"/>
                <a:gd name="connsiteX22" fmla="*/ 11797069 w 12045155"/>
                <a:gd name="connsiteY22" fmla="*/ 999707 h 2510087"/>
                <a:gd name="connsiteX23" fmla="*/ 12045155 w 12045155"/>
                <a:gd name="connsiteY23" fmla="*/ 699393 h 2510087"/>
                <a:gd name="connsiteX24" fmla="*/ 12045155 w 12045155"/>
                <a:gd name="connsiteY24" fmla="*/ 261011 h 2510087"/>
                <a:gd name="connsiteX25" fmla="*/ 11438839 w 12045155"/>
                <a:gd name="connsiteY25" fmla="*/ 435586 h 2510087"/>
                <a:gd name="connsiteX26" fmla="*/ 11059114 w 12045155"/>
                <a:gd name="connsiteY26" fmla="*/ 1047471 h 2510087"/>
                <a:gd name="connsiteX27" fmla="*/ 10602369 w 12045155"/>
                <a:gd name="connsiteY27" fmla="*/ 1661632 h 2510087"/>
                <a:gd name="connsiteX28" fmla="*/ 10034574 w 12045155"/>
                <a:gd name="connsiteY28" fmla="*/ 1618415 h 2510087"/>
                <a:gd name="connsiteX29" fmla="*/ 9527677 w 12045155"/>
                <a:gd name="connsiteY29" fmla="*/ 1058846 h 2510087"/>
                <a:gd name="connsiteX30" fmla="*/ 9053022 w 12045155"/>
                <a:gd name="connsiteY30" fmla="*/ 581165 h 2510087"/>
                <a:gd name="connsiteX31" fmla="*/ 8450223 w 12045155"/>
                <a:gd name="connsiteY31" fmla="*/ 156695 h 2510087"/>
                <a:gd name="connsiteX32" fmla="*/ 7635927 w 12045155"/>
                <a:gd name="connsiteY32" fmla="*/ 105714 h 2510087"/>
                <a:gd name="connsiteX33" fmla="*/ 7049636 w 12045155"/>
                <a:gd name="connsiteY33" fmla="*/ 199189 h 2510087"/>
                <a:gd name="connsiteX34" fmla="*/ 6342549 w 12045155"/>
                <a:gd name="connsiteY34" fmla="*/ 146630 h 2510087"/>
                <a:gd name="connsiteX35" fmla="*/ 5902209 w 12045155"/>
                <a:gd name="connsiteY35" fmla="*/ 249658 h 2510087"/>
                <a:gd name="connsiteX36" fmla="*/ 5182195 w 12045155"/>
                <a:gd name="connsiteY36" fmla="*/ 292664 h 2510087"/>
                <a:gd name="connsiteX37" fmla="*/ 3822487 w 12045155"/>
                <a:gd name="connsiteY37" fmla="*/ 90799 h 2510087"/>
                <a:gd name="connsiteX38" fmla="*/ 2370177 w 12045155"/>
                <a:gd name="connsiteY38" fmla="*/ 156695 h 2510087"/>
                <a:gd name="connsiteX39" fmla="*/ 578745 w 12045155"/>
                <a:gd name="connsiteY39" fmla="*/ 148189 h 2510087"/>
                <a:gd name="connsiteX40" fmla="*/ 38923 w 12045155"/>
                <a:gd name="connsiteY40" fmla="*/ 157240 h 2510087"/>
                <a:gd name="connsiteX0" fmla="*/ 379789 w 12386021"/>
                <a:gd name="connsiteY0" fmla="*/ 157240 h 2510087"/>
                <a:gd name="connsiteX1" fmla="*/ 345631 w 12386021"/>
                <a:gd name="connsiteY1" fmla="*/ 229969 h 2510087"/>
                <a:gd name="connsiteX2" fmla="*/ 8590649 w 12386021"/>
                <a:gd name="connsiteY2" fmla="*/ 507371 h 2510087"/>
                <a:gd name="connsiteX3" fmla="*/ 372513 w 12386021"/>
                <a:gd name="connsiteY3" fmla="*/ 700450 h 2510087"/>
                <a:gd name="connsiteX4" fmla="*/ 8652699 w 12386021"/>
                <a:gd name="connsiteY4" fmla="*/ 777261 h 2510087"/>
                <a:gd name="connsiteX5" fmla="*/ 421073 w 12386021"/>
                <a:gd name="connsiteY5" fmla="*/ 937416 h 2510087"/>
                <a:gd name="connsiteX6" fmla="*/ 1277874 w 12386021"/>
                <a:gd name="connsiteY6" fmla="*/ 844973 h 2510087"/>
                <a:gd name="connsiteX7" fmla="*/ 1972733 w 12386021"/>
                <a:gd name="connsiteY7" fmla="*/ 878961 h 2510087"/>
                <a:gd name="connsiteX8" fmla="*/ 2428743 w 12386021"/>
                <a:gd name="connsiteY8" fmla="*/ 819473 h 2510087"/>
                <a:gd name="connsiteX9" fmla="*/ 2906465 w 12386021"/>
                <a:gd name="connsiteY9" fmla="*/ 819473 h 2510087"/>
                <a:gd name="connsiteX10" fmla="*/ 3677334 w 12386021"/>
                <a:gd name="connsiteY10" fmla="*/ 861967 h 2510087"/>
                <a:gd name="connsiteX11" fmla="*/ 4556770 w 12386021"/>
                <a:gd name="connsiteY11" fmla="*/ 844973 h 2510087"/>
                <a:gd name="connsiteX12" fmla="*/ 5186488 w 12386021"/>
                <a:gd name="connsiteY12" fmla="*/ 853479 h 2510087"/>
                <a:gd name="connsiteX13" fmla="*/ 6022498 w 12386021"/>
                <a:gd name="connsiteY13" fmla="*/ 853479 h 2510087"/>
                <a:gd name="connsiteX14" fmla="*/ 7086511 w 12386021"/>
                <a:gd name="connsiteY14" fmla="*/ 878979 h 2510087"/>
                <a:gd name="connsiteX15" fmla="*/ 7835666 w 12386021"/>
                <a:gd name="connsiteY15" fmla="*/ 870473 h 2510087"/>
                <a:gd name="connsiteX16" fmla="*/ 8367661 w 12386021"/>
                <a:gd name="connsiteY16" fmla="*/ 861967 h 2510087"/>
                <a:gd name="connsiteX17" fmla="*/ 8988678 w 12386021"/>
                <a:gd name="connsiteY17" fmla="*/ 1264715 h 2510087"/>
                <a:gd name="connsiteX18" fmla="*/ 9558674 w 12386021"/>
                <a:gd name="connsiteY18" fmla="*/ 2091547 h 2510087"/>
                <a:gd name="connsiteX19" fmla="*/ 10490074 w 12386021"/>
                <a:gd name="connsiteY19" fmla="*/ 2510086 h 2510087"/>
                <a:gd name="connsiteX20" fmla="*/ 11536108 w 12386021"/>
                <a:gd name="connsiteY20" fmla="*/ 2091549 h 2510087"/>
                <a:gd name="connsiteX21" fmla="*/ 11827039 w 12386021"/>
                <a:gd name="connsiteY21" fmla="*/ 1445814 h 2510087"/>
                <a:gd name="connsiteX22" fmla="*/ 12137935 w 12386021"/>
                <a:gd name="connsiteY22" fmla="*/ 999707 h 2510087"/>
                <a:gd name="connsiteX23" fmla="*/ 12386021 w 12386021"/>
                <a:gd name="connsiteY23" fmla="*/ 699393 h 2510087"/>
                <a:gd name="connsiteX24" fmla="*/ 12386021 w 12386021"/>
                <a:gd name="connsiteY24" fmla="*/ 261011 h 2510087"/>
                <a:gd name="connsiteX25" fmla="*/ 11779705 w 12386021"/>
                <a:gd name="connsiteY25" fmla="*/ 435586 h 2510087"/>
                <a:gd name="connsiteX26" fmla="*/ 11399980 w 12386021"/>
                <a:gd name="connsiteY26" fmla="*/ 1047471 h 2510087"/>
                <a:gd name="connsiteX27" fmla="*/ 10943235 w 12386021"/>
                <a:gd name="connsiteY27" fmla="*/ 1661632 h 2510087"/>
                <a:gd name="connsiteX28" fmla="*/ 10375440 w 12386021"/>
                <a:gd name="connsiteY28" fmla="*/ 1618415 h 2510087"/>
                <a:gd name="connsiteX29" fmla="*/ 9868543 w 12386021"/>
                <a:gd name="connsiteY29" fmla="*/ 1058846 h 2510087"/>
                <a:gd name="connsiteX30" fmla="*/ 9393888 w 12386021"/>
                <a:gd name="connsiteY30" fmla="*/ 581165 h 2510087"/>
                <a:gd name="connsiteX31" fmla="*/ 8791089 w 12386021"/>
                <a:gd name="connsiteY31" fmla="*/ 156695 h 2510087"/>
                <a:gd name="connsiteX32" fmla="*/ 7976793 w 12386021"/>
                <a:gd name="connsiteY32" fmla="*/ 105714 h 2510087"/>
                <a:gd name="connsiteX33" fmla="*/ 7390502 w 12386021"/>
                <a:gd name="connsiteY33" fmla="*/ 199189 h 2510087"/>
                <a:gd name="connsiteX34" fmla="*/ 6683415 w 12386021"/>
                <a:gd name="connsiteY34" fmla="*/ 146630 h 2510087"/>
                <a:gd name="connsiteX35" fmla="*/ 6243075 w 12386021"/>
                <a:gd name="connsiteY35" fmla="*/ 249658 h 2510087"/>
                <a:gd name="connsiteX36" fmla="*/ 5523061 w 12386021"/>
                <a:gd name="connsiteY36" fmla="*/ 292664 h 2510087"/>
                <a:gd name="connsiteX37" fmla="*/ 4163353 w 12386021"/>
                <a:gd name="connsiteY37" fmla="*/ 90799 h 2510087"/>
                <a:gd name="connsiteX38" fmla="*/ 2711043 w 12386021"/>
                <a:gd name="connsiteY38" fmla="*/ 156695 h 2510087"/>
                <a:gd name="connsiteX39" fmla="*/ 919611 w 12386021"/>
                <a:gd name="connsiteY39" fmla="*/ 148189 h 2510087"/>
                <a:gd name="connsiteX40" fmla="*/ 379789 w 12386021"/>
                <a:gd name="connsiteY40" fmla="*/ 157240 h 2510087"/>
                <a:gd name="connsiteX0" fmla="*/ 379791 w 12386023"/>
                <a:gd name="connsiteY0" fmla="*/ 157240 h 2510087"/>
                <a:gd name="connsiteX1" fmla="*/ 345633 w 12386023"/>
                <a:gd name="connsiteY1" fmla="*/ 229969 h 2510087"/>
                <a:gd name="connsiteX2" fmla="*/ 8590651 w 12386023"/>
                <a:gd name="connsiteY2" fmla="*/ 507371 h 2510087"/>
                <a:gd name="connsiteX3" fmla="*/ 8697801 w 12386023"/>
                <a:gd name="connsiteY3" fmla="*/ 591261 h 2510087"/>
                <a:gd name="connsiteX4" fmla="*/ 8652701 w 12386023"/>
                <a:gd name="connsiteY4" fmla="*/ 777261 h 2510087"/>
                <a:gd name="connsiteX5" fmla="*/ 421075 w 12386023"/>
                <a:gd name="connsiteY5" fmla="*/ 937416 h 2510087"/>
                <a:gd name="connsiteX6" fmla="*/ 1277876 w 12386023"/>
                <a:gd name="connsiteY6" fmla="*/ 844973 h 2510087"/>
                <a:gd name="connsiteX7" fmla="*/ 1972735 w 12386023"/>
                <a:gd name="connsiteY7" fmla="*/ 878961 h 2510087"/>
                <a:gd name="connsiteX8" fmla="*/ 2428745 w 12386023"/>
                <a:gd name="connsiteY8" fmla="*/ 819473 h 2510087"/>
                <a:gd name="connsiteX9" fmla="*/ 2906467 w 12386023"/>
                <a:gd name="connsiteY9" fmla="*/ 819473 h 2510087"/>
                <a:gd name="connsiteX10" fmla="*/ 3677336 w 12386023"/>
                <a:gd name="connsiteY10" fmla="*/ 861967 h 2510087"/>
                <a:gd name="connsiteX11" fmla="*/ 4556772 w 12386023"/>
                <a:gd name="connsiteY11" fmla="*/ 844973 h 2510087"/>
                <a:gd name="connsiteX12" fmla="*/ 5186490 w 12386023"/>
                <a:gd name="connsiteY12" fmla="*/ 853479 h 2510087"/>
                <a:gd name="connsiteX13" fmla="*/ 6022500 w 12386023"/>
                <a:gd name="connsiteY13" fmla="*/ 853479 h 2510087"/>
                <a:gd name="connsiteX14" fmla="*/ 7086513 w 12386023"/>
                <a:gd name="connsiteY14" fmla="*/ 878979 h 2510087"/>
                <a:gd name="connsiteX15" fmla="*/ 7835668 w 12386023"/>
                <a:gd name="connsiteY15" fmla="*/ 870473 h 2510087"/>
                <a:gd name="connsiteX16" fmla="*/ 8367663 w 12386023"/>
                <a:gd name="connsiteY16" fmla="*/ 861967 h 2510087"/>
                <a:gd name="connsiteX17" fmla="*/ 8988680 w 12386023"/>
                <a:gd name="connsiteY17" fmla="*/ 1264715 h 2510087"/>
                <a:gd name="connsiteX18" fmla="*/ 9558676 w 12386023"/>
                <a:gd name="connsiteY18" fmla="*/ 2091547 h 2510087"/>
                <a:gd name="connsiteX19" fmla="*/ 10490076 w 12386023"/>
                <a:gd name="connsiteY19" fmla="*/ 2510086 h 2510087"/>
                <a:gd name="connsiteX20" fmla="*/ 11536110 w 12386023"/>
                <a:gd name="connsiteY20" fmla="*/ 2091549 h 2510087"/>
                <a:gd name="connsiteX21" fmla="*/ 11827041 w 12386023"/>
                <a:gd name="connsiteY21" fmla="*/ 1445814 h 2510087"/>
                <a:gd name="connsiteX22" fmla="*/ 12137937 w 12386023"/>
                <a:gd name="connsiteY22" fmla="*/ 999707 h 2510087"/>
                <a:gd name="connsiteX23" fmla="*/ 12386023 w 12386023"/>
                <a:gd name="connsiteY23" fmla="*/ 699393 h 2510087"/>
                <a:gd name="connsiteX24" fmla="*/ 12386023 w 12386023"/>
                <a:gd name="connsiteY24" fmla="*/ 261011 h 2510087"/>
                <a:gd name="connsiteX25" fmla="*/ 11779707 w 12386023"/>
                <a:gd name="connsiteY25" fmla="*/ 435586 h 2510087"/>
                <a:gd name="connsiteX26" fmla="*/ 11399982 w 12386023"/>
                <a:gd name="connsiteY26" fmla="*/ 1047471 h 2510087"/>
                <a:gd name="connsiteX27" fmla="*/ 10943237 w 12386023"/>
                <a:gd name="connsiteY27" fmla="*/ 1661632 h 2510087"/>
                <a:gd name="connsiteX28" fmla="*/ 10375442 w 12386023"/>
                <a:gd name="connsiteY28" fmla="*/ 1618415 h 2510087"/>
                <a:gd name="connsiteX29" fmla="*/ 9868545 w 12386023"/>
                <a:gd name="connsiteY29" fmla="*/ 1058846 h 2510087"/>
                <a:gd name="connsiteX30" fmla="*/ 9393890 w 12386023"/>
                <a:gd name="connsiteY30" fmla="*/ 581165 h 2510087"/>
                <a:gd name="connsiteX31" fmla="*/ 8791091 w 12386023"/>
                <a:gd name="connsiteY31" fmla="*/ 156695 h 2510087"/>
                <a:gd name="connsiteX32" fmla="*/ 7976795 w 12386023"/>
                <a:gd name="connsiteY32" fmla="*/ 105714 h 2510087"/>
                <a:gd name="connsiteX33" fmla="*/ 7390504 w 12386023"/>
                <a:gd name="connsiteY33" fmla="*/ 199189 h 2510087"/>
                <a:gd name="connsiteX34" fmla="*/ 6683417 w 12386023"/>
                <a:gd name="connsiteY34" fmla="*/ 146630 h 2510087"/>
                <a:gd name="connsiteX35" fmla="*/ 6243077 w 12386023"/>
                <a:gd name="connsiteY35" fmla="*/ 249658 h 2510087"/>
                <a:gd name="connsiteX36" fmla="*/ 5523063 w 12386023"/>
                <a:gd name="connsiteY36" fmla="*/ 292664 h 2510087"/>
                <a:gd name="connsiteX37" fmla="*/ 4163355 w 12386023"/>
                <a:gd name="connsiteY37" fmla="*/ 90799 h 2510087"/>
                <a:gd name="connsiteX38" fmla="*/ 2711045 w 12386023"/>
                <a:gd name="connsiteY38" fmla="*/ 156695 h 2510087"/>
                <a:gd name="connsiteX39" fmla="*/ 919613 w 12386023"/>
                <a:gd name="connsiteY39" fmla="*/ 148189 h 2510087"/>
                <a:gd name="connsiteX40" fmla="*/ 379791 w 12386023"/>
                <a:gd name="connsiteY40" fmla="*/ 157240 h 2510087"/>
                <a:gd name="connsiteX0" fmla="*/ 379791 w 12386023"/>
                <a:gd name="connsiteY0" fmla="*/ 157240 h 2510087"/>
                <a:gd name="connsiteX1" fmla="*/ 345633 w 12386023"/>
                <a:gd name="connsiteY1" fmla="*/ 229969 h 2510087"/>
                <a:gd name="connsiteX2" fmla="*/ 8676628 w 12386023"/>
                <a:gd name="connsiteY2" fmla="*/ 434581 h 2510087"/>
                <a:gd name="connsiteX3" fmla="*/ 8697801 w 12386023"/>
                <a:gd name="connsiteY3" fmla="*/ 591261 h 2510087"/>
                <a:gd name="connsiteX4" fmla="*/ 8652701 w 12386023"/>
                <a:gd name="connsiteY4" fmla="*/ 777261 h 2510087"/>
                <a:gd name="connsiteX5" fmla="*/ 421075 w 12386023"/>
                <a:gd name="connsiteY5" fmla="*/ 937416 h 2510087"/>
                <a:gd name="connsiteX6" fmla="*/ 1277876 w 12386023"/>
                <a:gd name="connsiteY6" fmla="*/ 844973 h 2510087"/>
                <a:gd name="connsiteX7" fmla="*/ 1972735 w 12386023"/>
                <a:gd name="connsiteY7" fmla="*/ 878961 h 2510087"/>
                <a:gd name="connsiteX8" fmla="*/ 2428745 w 12386023"/>
                <a:gd name="connsiteY8" fmla="*/ 819473 h 2510087"/>
                <a:gd name="connsiteX9" fmla="*/ 2906467 w 12386023"/>
                <a:gd name="connsiteY9" fmla="*/ 819473 h 2510087"/>
                <a:gd name="connsiteX10" fmla="*/ 3677336 w 12386023"/>
                <a:gd name="connsiteY10" fmla="*/ 861967 h 2510087"/>
                <a:gd name="connsiteX11" fmla="*/ 4556772 w 12386023"/>
                <a:gd name="connsiteY11" fmla="*/ 844973 h 2510087"/>
                <a:gd name="connsiteX12" fmla="*/ 5186490 w 12386023"/>
                <a:gd name="connsiteY12" fmla="*/ 853479 h 2510087"/>
                <a:gd name="connsiteX13" fmla="*/ 6022500 w 12386023"/>
                <a:gd name="connsiteY13" fmla="*/ 853479 h 2510087"/>
                <a:gd name="connsiteX14" fmla="*/ 7086513 w 12386023"/>
                <a:gd name="connsiteY14" fmla="*/ 878979 h 2510087"/>
                <a:gd name="connsiteX15" fmla="*/ 7835668 w 12386023"/>
                <a:gd name="connsiteY15" fmla="*/ 870473 h 2510087"/>
                <a:gd name="connsiteX16" fmla="*/ 8367663 w 12386023"/>
                <a:gd name="connsiteY16" fmla="*/ 861967 h 2510087"/>
                <a:gd name="connsiteX17" fmla="*/ 8988680 w 12386023"/>
                <a:gd name="connsiteY17" fmla="*/ 1264715 h 2510087"/>
                <a:gd name="connsiteX18" fmla="*/ 9558676 w 12386023"/>
                <a:gd name="connsiteY18" fmla="*/ 2091547 h 2510087"/>
                <a:gd name="connsiteX19" fmla="*/ 10490076 w 12386023"/>
                <a:gd name="connsiteY19" fmla="*/ 2510086 h 2510087"/>
                <a:gd name="connsiteX20" fmla="*/ 11536110 w 12386023"/>
                <a:gd name="connsiteY20" fmla="*/ 2091549 h 2510087"/>
                <a:gd name="connsiteX21" fmla="*/ 11827041 w 12386023"/>
                <a:gd name="connsiteY21" fmla="*/ 1445814 h 2510087"/>
                <a:gd name="connsiteX22" fmla="*/ 12137937 w 12386023"/>
                <a:gd name="connsiteY22" fmla="*/ 999707 h 2510087"/>
                <a:gd name="connsiteX23" fmla="*/ 12386023 w 12386023"/>
                <a:gd name="connsiteY23" fmla="*/ 699393 h 2510087"/>
                <a:gd name="connsiteX24" fmla="*/ 12386023 w 12386023"/>
                <a:gd name="connsiteY24" fmla="*/ 261011 h 2510087"/>
                <a:gd name="connsiteX25" fmla="*/ 11779707 w 12386023"/>
                <a:gd name="connsiteY25" fmla="*/ 435586 h 2510087"/>
                <a:gd name="connsiteX26" fmla="*/ 11399982 w 12386023"/>
                <a:gd name="connsiteY26" fmla="*/ 1047471 h 2510087"/>
                <a:gd name="connsiteX27" fmla="*/ 10943237 w 12386023"/>
                <a:gd name="connsiteY27" fmla="*/ 1661632 h 2510087"/>
                <a:gd name="connsiteX28" fmla="*/ 10375442 w 12386023"/>
                <a:gd name="connsiteY28" fmla="*/ 1618415 h 2510087"/>
                <a:gd name="connsiteX29" fmla="*/ 9868545 w 12386023"/>
                <a:gd name="connsiteY29" fmla="*/ 1058846 h 2510087"/>
                <a:gd name="connsiteX30" fmla="*/ 9393890 w 12386023"/>
                <a:gd name="connsiteY30" fmla="*/ 581165 h 2510087"/>
                <a:gd name="connsiteX31" fmla="*/ 8791091 w 12386023"/>
                <a:gd name="connsiteY31" fmla="*/ 156695 h 2510087"/>
                <a:gd name="connsiteX32" fmla="*/ 7976795 w 12386023"/>
                <a:gd name="connsiteY32" fmla="*/ 105714 h 2510087"/>
                <a:gd name="connsiteX33" fmla="*/ 7390504 w 12386023"/>
                <a:gd name="connsiteY33" fmla="*/ 199189 h 2510087"/>
                <a:gd name="connsiteX34" fmla="*/ 6683417 w 12386023"/>
                <a:gd name="connsiteY34" fmla="*/ 146630 h 2510087"/>
                <a:gd name="connsiteX35" fmla="*/ 6243077 w 12386023"/>
                <a:gd name="connsiteY35" fmla="*/ 249658 h 2510087"/>
                <a:gd name="connsiteX36" fmla="*/ 5523063 w 12386023"/>
                <a:gd name="connsiteY36" fmla="*/ 292664 h 2510087"/>
                <a:gd name="connsiteX37" fmla="*/ 4163355 w 12386023"/>
                <a:gd name="connsiteY37" fmla="*/ 90799 h 2510087"/>
                <a:gd name="connsiteX38" fmla="*/ 2711045 w 12386023"/>
                <a:gd name="connsiteY38" fmla="*/ 156695 h 2510087"/>
                <a:gd name="connsiteX39" fmla="*/ 919613 w 12386023"/>
                <a:gd name="connsiteY39" fmla="*/ 148189 h 2510087"/>
                <a:gd name="connsiteX40" fmla="*/ 379791 w 12386023"/>
                <a:gd name="connsiteY40" fmla="*/ 157240 h 2510087"/>
                <a:gd name="connsiteX0" fmla="*/ 8705072 w 12386023"/>
                <a:gd name="connsiteY0" fmla="*/ 284622 h 2510087"/>
                <a:gd name="connsiteX1" fmla="*/ 345633 w 12386023"/>
                <a:gd name="connsiteY1" fmla="*/ 229969 h 2510087"/>
                <a:gd name="connsiteX2" fmla="*/ 8676628 w 12386023"/>
                <a:gd name="connsiteY2" fmla="*/ 434581 h 2510087"/>
                <a:gd name="connsiteX3" fmla="*/ 8697801 w 12386023"/>
                <a:gd name="connsiteY3" fmla="*/ 591261 h 2510087"/>
                <a:gd name="connsiteX4" fmla="*/ 8652701 w 12386023"/>
                <a:gd name="connsiteY4" fmla="*/ 777261 h 2510087"/>
                <a:gd name="connsiteX5" fmla="*/ 421075 w 12386023"/>
                <a:gd name="connsiteY5" fmla="*/ 937416 h 2510087"/>
                <a:gd name="connsiteX6" fmla="*/ 1277876 w 12386023"/>
                <a:gd name="connsiteY6" fmla="*/ 844973 h 2510087"/>
                <a:gd name="connsiteX7" fmla="*/ 1972735 w 12386023"/>
                <a:gd name="connsiteY7" fmla="*/ 878961 h 2510087"/>
                <a:gd name="connsiteX8" fmla="*/ 2428745 w 12386023"/>
                <a:gd name="connsiteY8" fmla="*/ 819473 h 2510087"/>
                <a:gd name="connsiteX9" fmla="*/ 2906467 w 12386023"/>
                <a:gd name="connsiteY9" fmla="*/ 819473 h 2510087"/>
                <a:gd name="connsiteX10" fmla="*/ 3677336 w 12386023"/>
                <a:gd name="connsiteY10" fmla="*/ 861967 h 2510087"/>
                <a:gd name="connsiteX11" fmla="*/ 4556772 w 12386023"/>
                <a:gd name="connsiteY11" fmla="*/ 844973 h 2510087"/>
                <a:gd name="connsiteX12" fmla="*/ 5186490 w 12386023"/>
                <a:gd name="connsiteY12" fmla="*/ 853479 h 2510087"/>
                <a:gd name="connsiteX13" fmla="*/ 6022500 w 12386023"/>
                <a:gd name="connsiteY13" fmla="*/ 853479 h 2510087"/>
                <a:gd name="connsiteX14" fmla="*/ 7086513 w 12386023"/>
                <a:gd name="connsiteY14" fmla="*/ 878979 h 2510087"/>
                <a:gd name="connsiteX15" fmla="*/ 7835668 w 12386023"/>
                <a:gd name="connsiteY15" fmla="*/ 870473 h 2510087"/>
                <a:gd name="connsiteX16" fmla="*/ 8367663 w 12386023"/>
                <a:gd name="connsiteY16" fmla="*/ 861967 h 2510087"/>
                <a:gd name="connsiteX17" fmla="*/ 8988680 w 12386023"/>
                <a:gd name="connsiteY17" fmla="*/ 1264715 h 2510087"/>
                <a:gd name="connsiteX18" fmla="*/ 9558676 w 12386023"/>
                <a:gd name="connsiteY18" fmla="*/ 2091547 h 2510087"/>
                <a:gd name="connsiteX19" fmla="*/ 10490076 w 12386023"/>
                <a:gd name="connsiteY19" fmla="*/ 2510086 h 2510087"/>
                <a:gd name="connsiteX20" fmla="*/ 11536110 w 12386023"/>
                <a:gd name="connsiteY20" fmla="*/ 2091549 h 2510087"/>
                <a:gd name="connsiteX21" fmla="*/ 11827041 w 12386023"/>
                <a:gd name="connsiteY21" fmla="*/ 1445814 h 2510087"/>
                <a:gd name="connsiteX22" fmla="*/ 12137937 w 12386023"/>
                <a:gd name="connsiteY22" fmla="*/ 999707 h 2510087"/>
                <a:gd name="connsiteX23" fmla="*/ 12386023 w 12386023"/>
                <a:gd name="connsiteY23" fmla="*/ 699393 h 2510087"/>
                <a:gd name="connsiteX24" fmla="*/ 12386023 w 12386023"/>
                <a:gd name="connsiteY24" fmla="*/ 261011 h 2510087"/>
                <a:gd name="connsiteX25" fmla="*/ 11779707 w 12386023"/>
                <a:gd name="connsiteY25" fmla="*/ 435586 h 2510087"/>
                <a:gd name="connsiteX26" fmla="*/ 11399982 w 12386023"/>
                <a:gd name="connsiteY26" fmla="*/ 1047471 h 2510087"/>
                <a:gd name="connsiteX27" fmla="*/ 10943237 w 12386023"/>
                <a:gd name="connsiteY27" fmla="*/ 1661632 h 2510087"/>
                <a:gd name="connsiteX28" fmla="*/ 10375442 w 12386023"/>
                <a:gd name="connsiteY28" fmla="*/ 1618415 h 2510087"/>
                <a:gd name="connsiteX29" fmla="*/ 9868545 w 12386023"/>
                <a:gd name="connsiteY29" fmla="*/ 1058846 h 2510087"/>
                <a:gd name="connsiteX30" fmla="*/ 9393890 w 12386023"/>
                <a:gd name="connsiteY30" fmla="*/ 581165 h 2510087"/>
                <a:gd name="connsiteX31" fmla="*/ 8791091 w 12386023"/>
                <a:gd name="connsiteY31" fmla="*/ 156695 h 2510087"/>
                <a:gd name="connsiteX32" fmla="*/ 7976795 w 12386023"/>
                <a:gd name="connsiteY32" fmla="*/ 105714 h 2510087"/>
                <a:gd name="connsiteX33" fmla="*/ 7390504 w 12386023"/>
                <a:gd name="connsiteY33" fmla="*/ 199189 h 2510087"/>
                <a:gd name="connsiteX34" fmla="*/ 6683417 w 12386023"/>
                <a:gd name="connsiteY34" fmla="*/ 146630 h 2510087"/>
                <a:gd name="connsiteX35" fmla="*/ 6243077 w 12386023"/>
                <a:gd name="connsiteY35" fmla="*/ 249658 h 2510087"/>
                <a:gd name="connsiteX36" fmla="*/ 5523063 w 12386023"/>
                <a:gd name="connsiteY36" fmla="*/ 292664 h 2510087"/>
                <a:gd name="connsiteX37" fmla="*/ 4163355 w 12386023"/>
                <a:gd name="connsiteY37" fmla="*/ 90799 h 2510087"/>
                <a:gd name="connsiteX38" fmla="*/ 2711045 w 12386023"/>
                <a:gd name="connsiteY38" fmla="*/ 156695 h 2510087"/>
                <a:gd name="connsiteX39" fmla="*/ 919613 w 12386023"/>
                <a:gd name="connsiteY39" fmla="*/ 148189 h 2510087"/>
                <a:gd name="connsiteX40" fmla="*/ 8705072 w 12386023"/>
                <a:gd name="connsiteY40" fmla="*/ 284622 h 2510087"/>
                <a:gd name="connsiteX0" fmla="*/ 8705072 w 12386023"/>
                <a:gd name="connsiteY0" fmla="*/ 284622 h 2510087"/>
                <a:gd name="connsiteX1" fmla="*/ 8742561 w 12386023"/>
                <a:gd name="connsiteY1" fmla="*/ 521128 h 2510087"/>
                <a:gd name="connsiteX2" fmla="*/ 8676628 w 12386023"/>
                <a:gd name="connsiteY2" fmla="*/ 434581 h 2510087"/>
                <a:gd name="connsiteX3" fmla="*/ 8697801 w 12386023"/>
                <a:gd name="connsiteY3" fmla="*/ 591261 h 2510087"/>
                <a:gd name="connsiteX4" fmla="*/ 8652701 w 12386023"/>
                <a:gd name="connsiteY4" fmla="*/ 777261 h 2510087"/>
                <a:gd name="connsiteX5" fmla="*/ 421075 w 12386023"/>
                <a:gd name="connsiteY5" fmla="*/ 937416 h 2510087"/>
                <a:gd name="connsiteX6" fmla="*/ 1277876 w 12386023"/>
                <a:gd name="connsiteY6" fmla="*/ 844973 h 2510087"/>
                <a:gd name="connsiteX7" fmla="*/ 1972735 w 12386023"/>
                <a:gd name="connsiteY7" fmla="*/ 878961 h 2510087"/>
                <a:gd name="connsiteX8" fmla="*/ 2428745 w 12386023"/>
                <a:gd name="connsiteY8" fmla="*/ 819473 h 2510087"/>
                <a:gd name="connsiteX9" fmla="*/ 2906467 w 12386023"/>
                <a:gd name="connsiteY9" fmla="*/ 819473 h 2510087"/>
                <a:gd name="connsiteX10" fmla="*/ 3677336 w 12386023"/>
                <a:gd name="connsiteY10" fmla="*/ 861967 h 2510087"/>
                <a:gd name="connsiteX11" fmla="*/ 4556772 w 12386023"/>
                <a:gd name="connsiteY11" fmla="*/ 844973 h 2510087"/>
                <a:gd name="connsiteX12" fmla="*/ 5186490 w 12386023"/>
                <a:gd name="connsiteY12" fmla="*/ 853479 h 2510087"/>
                <a:gd name="connsiteX13" fmla="*/ 6022500 w 12386023"/>
                <a:gd name="connsiteY13" fmla="*/ 853479 h 2510087"/>
                <a:gd name="connsiteX14" fmla="*/ 7086513 w 12386023"/>
                <a:gd name="connsiteY14" fmla="*/ 878979 h 2510087"/>
                <a:gd name="connsiteX15" fmla="*/ 7835668 w 12386023"/>
                <a:gd name="connsiteY15" fmla="*/ 870473 h 2510087"/>
                <a:gd name="connsiteX16" fmla="*/ 8367663 w 12386023"/>
                <a:gd name="connsiteY16" fmla="*/ 861967 h 2510087"/>
                <a:gd name="connsiteX17" fmla="*/ 8988680 w 12386023"/>
                <a:gd name="connsiteY17" fmla="*/ 1264715 h 2510087"/>
                <a:gd name="connsiteX18" fmla="*/ 9558676 w 12386023"/>
                <a:gd name="connsiteY18" fmla="*/ 2091547 h 2510087"/>
                <a:gd name="connsiteX19" fmla="*/ 10490076 w 12386023"/>
                <a:gd name="connsiteY19" fmla="*/ 2510086 h 2510087"/>
                <a:gd name="connsiteX20" fmla="*/ 11536110 w 12386023"/>
                <a:gd name="connsiteY20" fmla="*/ 2091549 h 2510087"/>
                <a:gd name="connsiteX21" fmla="*/ 11827041 w 12386023"/>
                <a:gd name="connsiteY21" fmla="*/ 1445814 h 2510087"/>
                <a:gd name="connsiteX22" fmla="*/ 12137937 w 12386023"/>
                <a:gd name="connsiteY22" fmla="*/ 999707 h 2510087"/>
                <a:gd name="connsiteX23" fmla="*/ 12386023 w 12386023"/>
                <a:gd name="connsiteY23" fmla="*/ 699393 h 2510087"/>
                <a:gd name="connsiteX24" fmla="*/ 12386023 w 12386023"/>
                <a:gd name="connsiteY24" fmla="*/ 261011 h 2510087"/>
                <a:gd name="connsiteX25" fmla="*/ 11779707 w 12386023"/>
                <a:gd name="connsiteY25" fmla="*/ 435586 h 2510087"/>
                <a:gd name="connsiteX26" fmla="*/ 11399982 w 12386023"/>
                <a:gd name="connsiteY26" fmla="*/ 1047471 h 2510087"/>
                <a:gd name="connsiteX27" fmla="*/ 10943237 w 12386023"/>
                <a:gd name="connsiteY27" fmla="*/ 1661632 h 2510087"/>
                <a:gd name="connsiteX28" fmla="*/ 10375442 w 12386023"/>
                <a:gd name="connsiteY28" fmla="*/ 1618415 h 2510087"/>
                <a:gd name="connsiteX29" fmla="*/ 9868545 w 12386023"/>
                <a:gd name="connsiteY29" fmla="*/ 1058846 h 2510087"/>
                <a:gd name="connsiteX30" fmla="*/ 9393890 w 12386023"/>
                <a:gd name="connsiteY30" fmla="*/ 581165 h 2510087"/>
                <a:gd name="connsiteX31" fmla="*/ 8791091 w 12386023"/>
                <a:gd name="connsiteY31" fmla="*/ 156695 h 2510087"/>
                <a:gd name="connsiteX32" fmla="*/ 7976795 w 12386023"/>
                <a:gd name="connsiteY32" fmla="*/ 105714 h 2510087"/>
                <a:gd name="connsiteX33" fmla="*/ 7390504 w 12386023"/>
                <a:gd name="connsiteY33" fmla="*/ 199189 h 2510087"/>
                <a:gd name="connsiteX34" fmla="*/ 6683417 w 12386023"/>
                <a:gd name="connsiteY34" fmla="*/ 146630 h 2510087"/>
                <a:gd name="connsiteX35" fmla="*/ 6243077 w 12386023"/>
                <a:gd name="connsiteY35" fmla="*/ 249658 h 2510087"/>
                <a:gd name="connsiteX36" fmla="*/ 5523063 w 12386023"/>
                <a:gd name="connsiteY36" fmla="*/ 292664 h 2510087"/>
                <a:gd name="connsiteX37" fmla="*/ 4163355 w 12386023"/>
                <a:gd name="connsiteY37" fmla="*/ 90799 h 2510087"/>
                <a:gd name="connsiteX38" fmla="*/ 2711045 w 12386023"/>
                <a:gd name="connsiteY38" fmla="*/ 156695 h 2510087"/>
                <a:gd name="connsiteX39" fmla="*/ 919613 w 12386023"/>
                <a:gd name="connsiteY39" fmla="*/ 148189 h 2510087"/>
                <a:gd name="connsiteX40" fmla="*/ 8705072 w 12386023"/>
                <a:gd name="connsiteY40" fmla="*/ 284622 h 2510087"/>
                <a:gd name="connsiteX0" fmla="*/ 8705072 w 12386023"/>
                <a:gd name="connsiteY0" fmla="*/ 284622 h 2510087"/>
                <a:gd name="connsiteX1" fmla="*/ 8742561 w 12386023"/>
                <a:gd name="connsiteY1" fmla="*/ 521128 h 2510087"/>
                <a:gd name="connsiteX2" fmla="*/ 8676628 w 12386023"/>
                <a:gd name="connsiteY2" fmla="*/ 434581 h 2510087"/>
                <a:gd name="connsiteX3" fmla="*/ 8697801 w 12386023"/>
                <a:gd name="connsiteY3" fmla="*/ 591261 h 2510087"/>
                <a:gd name="connsiteX4" fmla="*/ 8652701 w 12386023"/>
                <a:gd name="connsiteY4" fmla="*/ 777261 h 2510087"/>
                <a:gd name="connsiteX5" fmla="*/ 421075 w 12386023"/>
                <a:gd name="connsiteY5" fmla="*/ 937416 h 2510087"/>
                <a:gd name="connsiteX6" fmla="*/ 1277876 w 12386023"/>
                <a:gd name="connsiteY6" fmla="*/ 844973 h 2510087"/>
                <a:gd name="connsiteX7" fmla="*/ 1972735 w 12386023"/>
                <a:gd name="connsiteY7" fmla="*/ 878961 h 2510087"/>
                <a:gd name="connsiteX8" fmla="*/ 2428745 w 12386023"/>
                <a:gd name="connsiteY8" fmla="*/ 819473 h 2510087"/>
                <a:gd name="connsiteX9" fmla="*/ 2906467 w 12386023"/>
                <a:gd name="connsiteY9" fmla="*/ 819473 h 2510087"/>
                <a:gd name="connsiteX10" fmla="*/ 3677336 w 12386023"/>
                <a:gd name="connsiteY10" fmla="*/ 861967 h 2510087"/>
                <a:gd name="connsiteX11" fmla="*/ 4556772 w 12386023"/>
                <a:gd name="connsiteY11" fmla="*/ 844973 h 2510087"/>
                <a:gd name="connsiteX12" fmla="*/ 5186490 w 12386023"/>
                <a:gd name="connsiteY12" fmla="*/ 853479 h 2510087"/>
                <a:gd name="connsiteX13" fmla="*/ 6022500 w 12386023"/>
                <a:gd name="connsiteY13" fmla="*/ 853479 h 2510087"/>
                <a:gd name="connsiteX14" fmla="*/ 7086513 w 12386023"/>
                <a:gd name="connsiteY14" fmla="*/ 878979 h 2510087"/>
                <a:gd name="connsiteX15" fmla="*/ 7835668 w 12386023"/>
                <a:gd name="connsiteY15" fmla="*/ 870473 h 2510087"/>
                <a:gd name="connsiteX16" fmla="*/ 8367663 w 12386023"/>
                <a:gd name="connsiteY16" fmla="*/ 861967 h 2510087"/>
                <a:gd name="connsiteX17" fmla="*/ 8988680 w 12386023"/>
                <a:gd name="connsiteY17" fmla="*/ 1264715 h 2510087"/>
                <a:gd name="connsiteX18" fmla="*/ 9558676 w 12386023"/>
                <a:gd name="connsiteY18" fmla="*/ 2091547 h 2510087"/>
                <a:gd name="connsiteX19" fmla="*/ 10490076 w 12386023"/>
                <a:gd name="connsiteY19" fmla="*/ 2510086 h 2510087"/>
                <a:gd name="connsiteX20" fmla="*/ 11536110 w 12386023"/>
                <a:gd name="connsiteY20" fmla="*/ 2091549 h 2510087"/>
                <a:gd name="connsiteX21" fmla="*/ 11827041 w 12386023"/>
                <a:gd name="connsiteY21" fmla="*/ 1445814 h 2510087"/>
                <a:gd name="connsiteX22" fmla="*/ 12137937 w 12386023"/>
                <a:gd name="connsiteY22" fmla="*/ 999707 h 2510087"/>
                <a:gd name="connsiteX23" fmla="*/ 12386023 w 12386023"/>
                <a:gd name="connsiteY23" fmla="*/ 699393 h 2510087"/>
                <a:gd name="connsiteX24" fmla="*/ 12386023 w 12386023"/>
                <a:gd name="connsiteY24" fmla="*/ 261011 h 2510087"/>
                <a:gd name="connsiteX25" fmla="*/ 11779707 w 12386023"/>
                <a:gd name="connsiteY25" fmla="*/ 435586 h 2510087"/>
                <a:gd name="connsiteX26" fmla="*/ 11399982 w 12386023"/>
                <a:gd name="connsiteY26" fmla="*/ 1047471 h 2510087"/>
                <a:gd name="connsiteX27" fmla="*/ 10943237 w 12386023"/>
                <a:gd name="connsiteY27" fmla="*/ 1661632 h 2510087"/>
                <a:gd name="connsiteX28" fmla="*/ 10375442 w 12386023"/>
                <a:gd name="connsiteY28" fmla="*/ 1618415 h 2510087"/>
                <a:gd name="connsiteX29" fmla="*/ 9868545 w 12386023"/>
                <a:gd name="connsiteY29" fmla="*/ 1058846 h 2510087"/>
                <a:gd name="connsiteX30" fmla="*/ 9393890 w 12386023"/>
                <a:gd name="connsiteY30" fmla="*/ 581165 h 2510087"/>
                <a:gd name="connsiteX31" fmla="*/ 8791091 w 12386023"/>
                <a:gd name="connsiteY31" fmla="*/ 156695 h 2510087"/>
                <a:gd name="connsiteX32" fmla="*/ 7976795 w 12386023"/>
                <a:gd name="connsiteY32" fmla="*/ 105714 h 2510087"/>
                <a:gd name="connsiteX33" fmla="*/ 7390504 w 12386023"/>
                <a:gd name="connsiteY33" fmla="*/ 199189 h 2510087"/>
                <a:gd name="connsiteX34" fmla="*/ 6683417 w 12386023"/>
                <a:gd name="connsiteY34" fmla="*/ 146630 h 2510087"/>
                <a:gd name="connsiteX35" fmla="*/ 6243077 w 12386023"/>
                <a:gd name="connsiteY35" fmla="*/ 249658 h 2510087"/>
                <a:gd name="connsiteX36" fmla="*/ 5523063 w 12386023"/>
                <a:gd name="connsiteY36" fmla="*/ 292664 h 2510087"/>
                <a:gd name="connsiteX37" fmla="*/ 4163355 w 12386023"/>
                <a:gd name="connsiteY37" fmla="*/ 90799 h 2510087"/>
                <a:gd name="connsiteX38" fmla="*/ 2711045 w 12386023"/>
                <a:gd name="connsiteY38" fmla="*/ 156695 h 2510087"/>
                <a:gd name="connsiteX39" fmla="*/ 8714713 w 12386023"/>
                <a:gd name="connsiteY39" fmla="*/ 457545 h 2510087"/>
                <a:gd name="connsiteX40" fmla="*/ 8705072 w 12386023"/>
                <a:gd name="connsiteY40" fmla="*/ 284622 h 2510087"/>
                <a:gd name="connsiteX0" fmla="*/ 8705072 w 12386023"/>
                <a:gd name="connsiteY0" fmla="*/ 215157 h 2440622"/>
                <a:gd name="connsiteX1" fmla="*/ 8742561 w 12386023"/>
                <a:gd name="connsiteY1" fmla="*/ 451663 h 2440622"/>
                <a:gd name="connsiteX2" fmla="*/ 8676628 w 12386023"/>
                <a:gd name="connsiteY2" fmla="*/ 365116 h 2440622"/>
                <a:gd name="connsiteX3" fmla="*/ 8697801 w 12386023"/>
                <a:gd name="connsiteY3" fmla="*/ 521796 h 2440622"/>
                <a:gd name="connsiteX4" fmla="*/ 8652701 w 12386023"/>
                <a:gd name="connsiteY4" fmla="*/ 707796 h 2440622"/>
                <a:gd name="connsiteX5" fmla="*/ 421075 w 12386023"/>
                <a:gd name="connsiteY5" fmla="*/ 867951 h 2440622"/>
                <a:gd name="connsiteX6" fmla="*/ 1277876 w 12386023"/>
                <a:gd name="connsiteY6" fmla="*/ 775508 h 2440622"/>
                <a:gd name="connsiteX7" fmla="*/ 1972735 w 12386023"/>
                <a:gd name="connsiteY7" fmla="*/ 809496 h 2440622"/>
                <a:gd name="connsiteX8" fmla="*/ 2428745 w 12386023"/>
                <a:gd name="connsiteY8" fmla="*/ 750008 h 2440622"/>
                <a:gd name="connsiteX9" fmla="*/ 2906467 w 12386023"/>
                <a:gd name="connsiteY9" fmla="*/ 750008 h 2440622"/>
                <a:gd name="connsiteX10" fmla="*/ 3677336 w 12386023"/>
                <a:gd name="connsiteY10" fmla="*/ 792502 h 2440622"/>
                <a:gd name="connsiteX11" fmla="*/ 4556772 w 12386023"/>
                <a:gd name="connsiteY11" fmla="*/ 775508 h 2440622"/>
                <a:gd name="connsiteX12" fmla="*/ 5186490 w 12386023"/>
                <a:gd name="connsiteY12" fmla="*/ 784014 h 2440622"/>
                <a:gd name="connsiteX13" fmla="*/ 6022500 w 12386023"/>
                <a:gd name="connsiteY13" fmla="*/ 784014 h 2440622"/>
                <a:gd name="connsiteX14" fmla="*/ 7086513 w 12386023"/>
                <a:gd name="connsiteY14" fmla="*/ 809514 h 2440622"/>
                <a:gd name="connsiteX15" fmla="*/ 7835668 w 12386023"/>
                <a:gd name="connsiteY15" fmla="*/ 801008 h 2440622"/>
                <a:gd name="connsiteX16" fmla="*/ 8367663 w 12386023"/>
                <a:gd name="connsiteY16" fmla="*/ 792502 h 2440622"/>
                <a:gd name="connsiteX17" fmla="*/ 8988680 w 12386023"/>
                <a:gd name="connsiteY17" fmla="*/ 1195250 h 2440622"/>
                <a:gd name="connsiteX18" fmla="*/ 9558676 w 12386023"/>
                <a:gd name="connsiteY18" fmla="*/ 2022082 h 2440622"/>
                <a:gd name="connsiteX19" fmla="*/ 10490076 w 12386023"/>
                <a:gd name="connsiteY19" fmla="*/ 2440621 h 2440622"/>
                <a:gd name="connsiteX20" fmla="*/ 11536110 w 12386023"/>
                <a:gd name="connsiteY20" fmla="*/ 2022084 h 2440622"/>
                <a:gd name="connsiteX21" fmla="*/ 11827041 w 12386023"/>
                <a:gd name="connsiteY21" fmla="*/ 1376349 h 2440622"/>
                <a:gd name="connsiteX22" fmla="*/ 12137937 w 12386023"/>
                <a:gd name="connsiteY22" fmla="*/ 930242 h 2440622"/>
                <a:gd name="connsiteX23" fmla="*/ 12386023 w 12386023"/>
                <a:gd name="connsiteY23" fmla="*/ 629928 h 2440622"/>
                <a:gd name="connsiteX24" fmla="*/ 12386023 w 12386023"/>
                <a:gd name="connsiteY24" fmla="*/ 191546 h 2440622"/>
                <a:gd name="connsiteX25" fmla="*/ 11779707 w 12386023"/>
                <a:gd name="connsiteY25" fmla="*/ 366121 h 2440622"/>
                <a:gd name="connsiteX26" fmla="*/ 11399982 w 12386023"/>
                <a:gd name="connsiteY26" fmla="*/ 978006 h 2440622"/>
                <a:gd name="connsiteX27" fmla="*/ 10943237 w 12386023"/>
                <a:gd name="connsiteY27" fmla="*/ 1592167 h 2440622"/>
                <a:gd name="connsiteX28" fmla="*/ 10375442 w 12386023"/>
                <a:gd name="connsiteY28" fmla="*/ 1548950 h 2440622"/>
                <a:gd name="connsiteX29" fmla="*/ 9868545 w 12386023"/>
                <a:gd name="connsiteY29" fmla="*/ 989381 h 2440622"/>
                <a:gd name="connsiteX30" fmla="*/ 9393890 w 12386023"/>
                <a:gd name="connsiteY30" fmla="*/ 511700 h 2440622"/>
                <a:gd name="connsiteX31" fmla="*/ 8791091 w 12386023"/>
                <a:gd name="connsiteY31" fmla="*/ 87230 h 2440622"/>
                <a:gd name="connsiteX32" fmla="*/ 7976795 w 12386023"/>
                <a:gd name="connsiteY32" fmla="*/ 36249 h 2440622"/>
                <a:gd name="connsiteX33" fmla="*/ 7390504 w 12386023"/>
                <a:gd name="connsiteY33" fmla="*/ 129724 h 2440622"/>
                <a:gd name="connsiteX34" fmla="*/ 6683417 w 12386023"/>
                <a:gd name="connsiteY34" fmla="*/ 77165 h 2440622"/>
                <a:gd name="connsiteX35" fmla="*/ 6243077 w 12386023"/>
                <a:gd name="connsiteY35" fmla="*/ 180193 h 2440622"/>
                <a:gd name="connsiteX36" fmla="*/ 5523063 w 12386023"/>
                <a:gd name="connsiteY36" fmla="*/ 223199 h 2440622"/>
                <a:gd name="connsiteX37" fmla="*/ 4163355 w 12386023"/>
                <a:gd name="connsiteY37" fmla="*/ 21334 h 2440622"/>
                <a:gd name="connsiteX38" fmla="*/ 9073222 w 12386023"/>
                <a:gd name="connsiteY38" fmla="*/ 815126 h 2440622"/>
                <a:gd name="connsiteX39" fmla="*/ 8714713 w 12386023"/>
                <a:gd name="connsiteY39" fmla="*/ 388080 h 2440622"/>
                <a:gd name="connsiteX40" fmla="*/ 8705072 w 12386023"/>
                <a:gd name="connsiteY40" fmla="*/ 215157 h 2440622"/>
                <a:gd name="connsiteX0" fmla="*/ 8705072 w 12386023"/>
                <a:gd name="connsiteY0" fmla="*/ 200377 h 2425842"/>
                <a:gd name="connsiteX1" fmla="*/ 8742561 w 12386023"/>
                <a:gd name="connsiteY1" fmla="*/ 436883 h 2425842"/>
                <a:gd name="connsiteX2" fmla="*/ 8676628 w 12386023"/>
                <a:gd name="connsiteY2" fmla="*/ 350336 h 2425842"/>
                <a:gd name="connsiteX3" fmla="*/ 8697801 w 12386023"/>
                <a:gd name="connsiteY3" fmla="*/ 507016 h 2425842"/>
                <a:gd name="connsiteX4" fmla="*/ 8652701 w 12386023"/>
                <a:gd name="connsiteY4" fmla="*/ 693016 h 2425842"/>
                <a:gd name="connsiteX5" fmla="*/ 421075 w 12386023"/>
                <a:gd name="connsiteY5" fmla="*/ 853171 h 2425842"/>
                <a:gd name="connsiteX6" fmla="*/ 1277876 w 12386023"/>
                <a:gd name="connsiteY6" fmla="*/ 760728 h 2425842"/>
                <a:gd name="connsiteX7" fmla="*/ 1972735 w 12386023"/>
                <a:gd name="connsiteY7" fmla="*/ 794716 h 2425842"/>
                <a:gd name="connsiteX8" fmla="*/ 2428745 w 12386023"/>
                <a:gd name="connsiteY8" fmla="*/ 735228 h 2425842"/>
                <a:gd name="connsiteX9" fmla="*/ 2906467 w 12386023"/>
                <a:gd name="connsiteY9" fmla="*/ 735228 h 2425842"/>
                <a:gd name="connsiteX10" fmla="*/ 3677336 w 12386023"/>
                <a:gd name="connsiteY10" fmla="*/ 777722 h 2425842"/>
                <a:gd name="connsiteX11" fmla="*/ 4556772 w 12386023"/>
                <a:gd name="connsiteY11" fmla="*/ 760728 h 2425842"/>
                <a:gd name="connsiteX12" fmla="*/ 5186490 w 12386023"/>
                <a:gd name="connsiteY12" fmla="*/ 769234 h 2425842"/>
                <a:gd name="connsiteX13" fmla="*/ 6022500 w 12386023"/>
                <a:gd name="connsiteY13" fmla="*/ 769234 h 2425842"/>
                <a:gd name="connsiteX14" fmla="*/ 7086513 w 12386023"/>
                <a:gd name="connsiteY14" fmla="*/ 794734 h 2425842"/>
                <a:gd name="connsiteX15" fmla="*/ 7835668 w 12386023"/>
                <a:gd name="connsiteY15" fmla="*/ 786228 h 2425842"/>
                <a:gd name="connsiteX16" fmla="*/ 8367663 w 12386023"/>
                <a:gd name="connsiteY16" fmla="*/ 777722 h 2425842"/>
                <a:gd name="connsiteX17" fmla="*/ 8988680 w 12386023"/>
                <a:gd name="connsiteY17" fmla="*/ 1180470 h 2425842"/>
                <a:gd name="connsiteX18" fmla="*/ 9558676 w 12386023"/>
                <a:gd name="connsiteY18" fmla="*/ 2007302 h 2425842"/>
                <a:gd name="connsiteX19" fmla="*/ 10490076 w 12386023"/>
                <a:gd name="connsiteY19" fmla="*/ 2425841 h 2425842"/>
                <a:gd name="connsiteX20" fmla="*/ 11536110 w 12386023"/>
                <a:gd name="connsiteY20" fmla="*/ 2007304 h 2425842"/>
                <a:gd name="connsiteX21" fmla="*/ 11827041 w 12386023"/>
                <a:gd name="connsiteY21" fmla="*/ 1361569 h 2425842"/>
                <a:gd name="connsiteX22" fmla="*/ 12137937 w 12386023"/>
                <a:gd name="connsiteY22" fmla="*/ 915462 h 2425842"/>
                <a:gd name="connsiteX23" fmla="*/ 12386023 w 12386023"/>
                <a:gd name="connsiteY23" fmla="*/ 615148 h 2425842"/>
                <a:gd name="connsiteX24" fmla="*/ 12386023 w 12386023"/>
                <a:gd name="connsiteY24" fmla="*/ 176766 h 2425842"/>
                <a:gd name="connsiteX25" fmla="*/ 11779707 w 12386023"/>
                <a:gd name="connsiteY25" fmla="*/ 351341 h 2425842"/>
                <a:gd name="connsiteX26" fmla="*/ 11399982 w 12386023"/>
                <a:gd name="connsiteY26" fmla="*/ 963226 h 2425842"/>
                <a:gd name="connsiteX27" fmla="*/ 10943237 w 12386023"/>
                <a:gd name="connsiteY27" fmla="*/ 1577387 h 2425842"/>
                <a:gd name="connsiteX28" fmla="*/ 10375442 w 12386023"/>
                <a:gd name="connsiteY28" fmla="*/ 1534170 h 2425842"/>
                <a:gd name="connsiteX29" fmla="*/ 9868545 w 12386023"/>
                <a:gd name="connsiteY29" fmla="*/ 974601 h 2425842"/>
                <a:gd name="connsiteX30" fmla="*/ 9393890 w 12386023"/>
                <a:gd name="connsiteY30" fmla="*/ 496920 h 2425842"/>
                <a:gd name="connsiteX31" fmla="*/ 8791091 w 12386023"/>
                <a:gd name="connsiteY31" fmla="*/ 72450 h 2425842"/>
                <a:gd name="connsiteX32" fmla="*/ 7976795 w 12386023"/>
                <a:gd name="connsiteY32" fmla="*/ 21469 h 2425842"/>
                <a:gd name="connsiteX33" fmla="*/ 7390504 w 12386023"/>
                <a:gd name="connsiteY33" fmla="*/ 114944 h 2425842"/>
                <a:gd name="connsiteX34" fmla="*/ 6683417 w 12386023"/>
                <a:gd name="connsiteY34" fmla="*/ 62385 h 2425842"/>
                <a:gd name="connsiteX35" fmla="*/ 6243077 w 12386023"/>
                <a:gd name="connsiteY35" fmla="*/ 165413 h 2425842"/>
                <a:gd name="connsiteX36" fmla="*/ 5523063 w 12386023"/>
                <a:gd name="connsiteY36" fmla="*/ 208419 h 2425842"/>
                <a:gd name="connsiteX37" fmla="*/ 8892001 w 12386023"/>
                <a:gd name="connsiteY37" fmla="*/ 497882 h 2425842"/>
                <a:gd name="connsiteX38" fmla="*/ 9073222 w 12386023"/>
                <a:gd name="connsiteY38" fmla="*/ 800346 h 2425842"/>
                <a:gd name="connsiteX39" fmla="*/ 8714713 w 12386023"/>
                <a:gd name="connsiteY39" fmla="*/ 373300 h 2425842"/>
                <a:gd name="connsiteX40" fmla="*/ 8705072 w 12386023"/>
                <a:gd name="connsiteY40" fmla="*/ 200377 h 2425842"/>
                <a:gd name="connsiteX0" fmla="*/ 8705072 w 12386023"/>
                <a:gd name="connsiteY0" fmla="*/ 200377 h 2425842"/>
                <a:gd name="connsiteX1" fmla="*/ 8742561 w 12386023"/>
                <a:gd name="connsiteY1" fmla="*/ 436883 h 2425842"/>
                <a:gd name="connsiteX2" fmla="*/ 8676628 w 12386023"/>
                <a:gd name="connsiteY2" fmla="*/ 350336 h 2425842"/>
                <a:gd name="connsiteX3" fmla="*/ 8697801 w 12386023"/>
                <a:gd name="connsiteY3" fmla="*/ 507016 h 2425842"/>
                <a:gd name="connsiteX4" fmla="*/ 8652701 w 12386023"/>
                <a:gd name="connsiteY4" fmla="*/ 693016 h 2425842"/>
                <a:gd name="connsiteX5" fmla="*/ 421075 w 12386023"/>
                <a:gd name="connsiteY5" fmla="*/ 853171 h 2425842"/>
                <a:gd name="connsiteX6" fmla="*/ 1277876 w 12386023"/>
                <a:gd name="connsiteY6" fmla="*/ 760728 h 2425842"/>
                <a:gd name="connsiteX7" fmla="*/ 1972735 w 12386023"/>
                <a:gd name="connsiteY7" fmla="*/ 794716 h 2425842"/>
                <a:gd name="connsiteX8" fmla="*/ 2428745 w 12386023"/>
                <a:gd name="connsiteY8" fmla="*/ 735228 h 2425842"/>
                <a:gd name="connsiteX9" fmla="*/ 2906467 w 12386023"/>
                <a:gd name="connsiteY9" fmla="*/ 735228 h 2425842"/>
                <a:gd name="connsiteX10" fmla="*/ 3677336 w 12386023"/>
                <a:gd name="connsiteY10" fmla="*/ 777722 h 2425842"/>
                <a:gd name="connsiteX11" fmla="*/ 4556772 w 12386023"/>
                <a:gd name="connsiteY11" fmla="*/ 760728 h 2425842"/>
                <a:gd name="connsiteX12" fmla="*/ 5186490 w 12386023"/>
                <a:gd name="connsiteY12" fmla="*/ 769234 h 2425842"/>
                <a:gd name="connsiteX13" fmla="*/ 6022500 w 12386023"/>
                <a:gd name="connsiteY13" fmla="*/ 769234 h 2425842"/>
                <a:gd name="connsiteX14" fmla="*/ 7086513 w 12386023"/>
                <a:gd name="connsiteY14" fmla="*/ 794734 h 2425842"/>
                <a:gd name="connsiteX15" fmla="*/ 7835668 w 12386023"/>
                <a:gd name="connsiteY15" fmla="*/ 786228 h 2425842"/>
                <a:gd name="connsiteX16" fmla="*/ 8367663 w 12386023"/>
                <a:gd name="connsiteY16" fmla="*/ 777722 h 2425842"/>
                <a:gd name="connsiteX17" fmla="*/ 8988680 w 12386023"/>
                <a:gd name="connsiteY17" fmla="*/ 1180470 h 2425842"/>
                <a:gd name="connsiteX18" fmla="*/ 9558676 w 12386023"/>
                <a:gd name="connsiteY18" fmla="*/ 2007302 h 2425842"/>
                <a:gd name="connsiteX19" fmla="*/ 10490076 w 12386023"/>
                <a:gd name="connsiteY19" fmla="*/ 2425841 h 2425842"/>
                <a:gd name="connsiteX20" fmla="*/ 11536110 w 12386023"/>
                <a:gd name="connsiteY20" fmla="*/ 2007304 h 2425842"/>
                <a:gd name="connsiteX21" fmla="*/ 11827041 w 12386023"/>
                <a:gd name="connsiteY21" fmla="*/ 1361569 h 2425842"/>
                <a:gd name="connsiteX22" fmla="*/ 12137937 w 12386023"/>
                <a:gd name="connsiteY22" fmla="*/ 915462 h 2425842"/>
                <a:gd name="connsiteX23" fmla="*/ 12386023 w 12386023"/>
                <a:gd name="connsiteY23" fmla="*/ 615148 h 2425842"/>
                <a:gd name="connsiteX24" fmla="*/ 12386023 w 12386023"/>
                <a:gd name="connsiteY24" fmla="*/ 176766 h 2425842"/>
                <a:gd name="connsiteX25" fmla="*/ 11779707 w 12386023"/>
                <a:gd name="connsiteY25" fmla="*/ 351341 h 2425842"/>
                <a:gd name="connsiteX26" fmla="*/ 11399982 w 12386023"/>
                <a:gd name="connsiteY26" fmla="*/ 963226 h 2425842"/>
                <a:gd name="connsiteX27" fmla="*/ 10943237 w 12386023"/>
                <a:gd name="connsiteY27" fmla="*/ 1577387 h 2425842"/>
                <a:gd name="connsiteX28" fmla="*/ 10375442 w 12386023"/>
                <a:gd name="connsiteY28" fmla="*/ 1534170 h 2425842"/>
                <a:gd name="connsiteX29" fmla="*/ 9868545 w 12386023"/>
                <a:gd name="connsiteY29" fmla="*/ 974601 h 2425842"/>
                <a:gd name="connsiteX30" fmla="*/ 9393890 w 12386023"/>
                <a:gd name="connsiteY30" fmla="*/ 496920 h 2425842"/>
                <a:gd name="connsiteX31" fmla="*/ 8791091 w 12386023"/>
                <a:gd name="connsiteY31" fmla="*/ 72450 h 2425842"/>
                <a:gd name="connsiteX32" fmla="*/ 7976795 w 12386023"/>
                <a:gd name="connsiteY32" fmla="*/ 21469 h 2425842"/>
                <a:gd name="connsiteX33" fmla="*/ 7390504 w 12386023"/>
                <a:gd name="connsiteY33" fmla="*/ 114944 h 2425842"/>
                <a:gd name="connsiteX34" fmla="*/ 6683417 w 12386023"/>
                <a:gd name="connsiteY34" fmla="*/ 62385 h 2425842"/>
                <a:gd name="connsiteX35" fmla="*/ 6243077 w 12386023"/>
                <a:gd name="connsiteY35" fmla="*/ 165413 h 2425842"/>
                <a:gd name="connsiteX36" fmla="*/ 9248668 w 12386023"/>
                <a:gd name="connsiteY36" fmla="*/ 535967 h 2425842"/>
                <a:gd name="connsiteX37" fmla="*/ 8892001 w 12386023"/>
                <a:gd name="connsiteY37" fmla="*/ 497882 h 2425842"/>
                <a:gd name="connsiteX38" fmla="*/ 9073222 w 12386023"/>
                <a:gd name="connsiteY38" fmla="*/ 800346 h 2425842"/>
                <a:gd name="connsiteX39" fmla="*/ 8714713 w 12386023"/>
                <a:gd name="connsiteY39" fmla="*/ 373300 h 2425842"/>
                <a:gd name="connsiteX40" fmla="*/ 8705072 w 12386023"/>
                <a:gd name="connsiteY40" fmla="*/ 200377 h 2425842"/>
                <a:gd name="connsiteX0" fmla="*/ 8705072 w 12386023"/>
                <a:gd name="connsiteY0" fmla="*/ 148058 h 2373523"/>
                <a:gd name="connsiteX1" fmla="*/ 8742561 w 12386023"/>
                <a:gd name="connsiteY1" fmla="*/ 384564 h 2373523"/>
                <a:gd name="connsiteX2" fmla="*/ 8676628 w 12386023"/>
                <a:gd name="connsiteY2" fmla="*/ 298017 h 2373523"/>
                <a:gd name="connsiteX3" fmla="*/ 8697801 w 12386023"/>
                <a:gd name="connsiteY3" fmla="*/ 454697 h 2373523"/>
                <a:gd name="connsiteX4" fmla="*/ 8652701 w 12386023"/>
                <a:gd name="connsiteY4" fmla="*/ 640697 h 2373523"/>
                <a:gd name="connsiteX5" fmla="*/ 421075 w 12386023"/>
                <a:gd name="connsiteY5" fmla="*/ 800852 h 2373523"/>
                <a:gd name="connsiteX6" fmla="*/ 1277876 w 12386023"/>
                <a:gd name="connsiteY6" fmla="*/ 708409 h 2373523"/>
                <a:gd name="connsiteX7" fmla="*/ 1972735 w 12386023"/>
                <a:gd name="connsiteY7" fmla="*/ 742397 h 2373523"/>
                <a:gd name="connsiteX8" fmla="*/ 2428745 w 12386023"/>
                <a:gd name="connsiteY8" fmla="*/ 682909 h 2373523"/>
                <a:gd name="connsiteX9" fmla="*/ 2906467 w 12386023"/>
                <a:gd name="connsiteY9" fmla="*/ 682909 h 2373523"/>
                <a:gd name="connsiteX10" fmla="*/ 3677336 w 12386023"/>
                <a:gd name="connsiteY10" fmla="*/ 725403 h 2373523"/>
                <a:gd name="connsiteX11" fmla="*/ 4556772 w 12386023"/>
                <a:gd name="connsiteY11" fmla="*/ 708409 h 2373523"/>
                <a:gd name="connsiteX12" fmla="*/ 5186490 w 12386023"/>
                <a:gd name="connsiteY12" fmla="*/ 716915 h 2373523"/>
                <a:gd name="connsiteX13" fmla="*/ 6022500 w 12386023"/>
                <a:gd name="connsiteY13" fmla="*/ 716915 h 2373523"/>
                <a:gd name="connsiteX14" fmla="*/ 7086513 w 12386023"/>
                <a:gd name="connsiteY14" fmla="*/ 742415 h 2373523"/>
                <a:gd name="connsiteX15" fmla="*/ 7835668 w 12386023"/>
                <a:gd name="connsiteY15" fmla="*/ 733909 h 2373523"/>
                <a:gd name="connsiteX16" fmla="*/ 8367663 w 12386023"/>
                <a:gd name="connsiteY16" fmla="*/ 725403 h 2373523"/>
                <a:gd name="connsiteX17" fmla="*/ 8988680 w 12386023"/>
                <a:gd name="connsiteY17" fmla="*/ 1128151 h 2373523"/>
                <a:gd name="connsiteX18" fmla="*/ 9558676 w 12386023"/>
                <a:gd name="connsiteY18" fmla="*/ 1954983 h 2373523"/>
                <a:gd name="connsiteX19" fmla="*/ 10490076 w 12386023"/>
                <a:gd name="connsiteY19" fmla="*/ 2373522 h 2373523"/>
                <a:gd name="connsiteX20" fmla="*/ 11536110 w 12386023"/>
                <a:gd name="connsiteY20" fmla="*/ 1954985 h 2373523"/>
                <a:gd name="connsiteX21" fmla="*/ 11827041 w 12386023"/>
                <a:gd name="connsiteY21" fmla="*/ 1309250 h 2373523"/>
                <a:gd name="connsiteX22" fmla="*/ 12137937 w 12386023"/>
                <a:gd name="connsiteY22" fmla="*/ 863143 h 2373523"/>
                <a:gd name="connsiteX23" fmla="*/ 12386023 w 12386023"/>
                <a:gd name="connsiteY23" fmla="*/ 562829 h 2373523"/>
                <a:gd name="connsiteX24" fmla="*/ 12386023 w 12386023"/>
                <a:gd name="connsiteY24" fmla="*/ 124447 h 2373523"/>
                <a:gd name="connsiteX25" fmla="*/ 11779707 w 12386023"/>
                <a:gd name="connsiteY25" fmla="*/ 299022 h 2373523"/>
                <a:gd name="connsiteX26" fmla="*/ 11399982 w 12386023"/>
                <a:gd name="connsiteY26" fmla="*/ 910907 h 2373523"/>
                <a:gd name="connsiteX27" fmla="*/ 10943237 w 12386023"/>
                <a:gd name="connsiteY27" fmla="*/ 1525068 h 2373523"/>
                <a:gd name="connsiteX28" fmla="*/ 10375442 w 12386023"/>
                <a:gd name="connsiteY28" fmla="*/ 1481851 h 2373523"/>
                <a:gd name="connsiteX29" fmla="*/ 9868545 w 12386023"/>
                <a:gd name="connsiteY29" fmla="*/ 922282 h 2373523"/>
                <a:gd name="connsiteX30" fmla="*/ 9393890 w 12386023"/>
                <a:gd name="connsiteY30" fmla="*/ 444601 h 2373523"/>
                <a:gd name="connsiteX31" fmla="*/ 8791091 w 12386023"/>
                <a:gd name="connsiteY31" fmla="*/ 20131 h 2373523"/>
                <a:gd name="connsiteX32" fmla="*/ 7390504 w 12386023"/>
                <a:gd name="connsiteY32" fmla="*/ 62625 h 2373523"/>
                <a:gd name="connsiteX33" fmla="*/ 6683417 w 12386023"/>
                <a:gd name="connsiteY33" fmla="*/ 10066 h 2373523"/>
                <a:gd name="connsiteX34" fmla="*/ 6243077 w 12386023"/>
                <a:gd name="connsiteY34" fmla="*/ 113094 h 2373523"/>
                <a:gd name="connsiteX35" fmla="*/ 9248668 w 12386023"/>
                <a:gd name="connsiteY35" fmla="*/ 483648 h 2373523"/>
                <a:gd name="connsiteX36" fmla="*/ 8892001 w 12386023"/>
                <a:gd name="connsiteY36" fmla="*/ 445563 h 2373523"/>
                <a:gd name="connsiteX37" fmla="*/ 9073222 w 12386023"/>
                <a:gd name="connsiteY37" fmla="*/ 748027 h 2373523"/>
                <a:gd name="connsiteX38" fmla="*/ 8714713 w 12386023"/>
                <a:gd name="connsiteY38" fmla="*/ 320981 h 2373523"/>
                <a:gd name="connsiteX39" fmla="*/ 8705072 w 12386023"/>
                <a:gd name="connsiteY39" fmla="*/ 148058 h 2373523"/>
                <a:gd name="connsiteX0" fmla="*/ 8705072 w 12386023"/>
                <a:gd name="connsiteY0" fmla="*/ 148058 h 2373523"/>
                <a:gd name="connsiteX1" fmla="*/ 8742561 w 12386023"/>
                <a:gd name="connsiteY1" fmla="*/ 384564 h 2373523"/>
                <a:gd name="connsiteX2" fmla="*/ 8676628 w 12386023"/>
                <a:gd name="connsiteY2" fmla="*/ 298017 h 2373523"/>
                <a:gd name="connsiteX3" fmla="*/ 8697801 w 12386023"/>
                <a:gd name="connsiteY3" fmla="*/ 454697 h 2373523"/>
                <a:gd name="connsiteX4" fmla="*/ 8652701 w 12386023"/>
                <a:gd name="connsiteY4" fmla="*/ 640697 h 2373523"/>
                <a:gd name="connsiteX5" fmla="*/ 421075 w 12386023"/>
                <a:gd name="connsiteY5" fmla="*/ 800852 h 2373523"/>
                <a:gd name="connsiteX6" fmla="*/ 1277876 w 12386023"/>
                <a:gd name="connsiteY6" fmla="*/ 708409 h 2373523"/>
                <a:gd name="connsiteX7" fmla="*/ 1972735 w 12386023"/>
                <a:gd name="connsiteY7" fmla="*/ 742397 h 2373523"/>
                <a:gd name="connsiteX8" fmla="*/ 2428745 w 12386023"/>
                <a:gd name="connsiteY8" fmla="*/ 682909 h 2373523"/>
                <a:gd name="connsiteX9" fmla="*/ 2906467 w 12386023"/>
                <a:gd name="connsiteY9" fmla="*/ 682909 h 2373523"/>
                <a:gd name="connsiteX10" fmla="*/ 3677336 w 12386023"/>
                <a:gd name="connsiteY10" fmla="*/ 725403 h 2373523"/>
                <a:gd name="connsiteX11" fmla="*/ 4556772 w 12386023"/>
                <a:gd name="connsiteY11" fmla="*/ 708409 h 2373523"/>
                <a:gd name="connsiteX12" fmla="*/ 5186490 w 12386023"/>
                <a:gd name="connsiteY12" fmla="*/ 716915 h 2373523"/>
                <a:gd name="connsiteX13" fmla="*/ 6022500 w 12386023"/>
                <a:gd name="connsiteY13" fmla="*/ 716915 h 2373523"/>
                <a:gd name="connsiteX14" fmla="*/ 7086513 w 12386023"/>
                <a:gd name="connsiteY14" fmla="*/ 742415 h 2373523"/>
                <a:gd name="connsiteX15" fmla="*/ 7835668 w 12386023"/>
                <a:gd name="connsiteY15" fmla="*/ 733909 h 2373523"/>
                <a:gd name="connsiteX16" fmla="*/ 8367663 w 12386023"/>
                <a:gd name="connsiteY16" fmla="*/ 725403 h 2373523"/>
                <a:gd name="connsiteX17" fmla="*/ 8988680 w 12386023"/>
                <a:gd name="connsiteY17" fmla="*/ 1128151 h 2373523"/>
                <a:gd name="connsiteX18" fmla="*/ 9558676 w 12386023"/>
                <a:gd name="connsiteY18" fmla="*/ 1954983 h 2373523"/>
                <a:gd name="connsiteX19" fmla="*/ 10490076 w 12386023"/>
                <a:gd name="connsiteY19" fmla="*/ 2373522 h 2373523"/>
                <a:gd name="connsiteX20" fmla="*/ 11536110 w 12386023"/>
                <a:gd name="connsiteY20" fmla="*/ 1954985 h 2373523"/>
                <a:gd name="connsiteX21" fmla="*/ 11827041 w 12386023"/>
                <a:gd name="connsiteY21" fmla="*/ 1309250 h 2373523"/>
                <a:gd name="connsiteX22" fmla="*/ 12137937 w 12386023"/>
                <a:gd name="connsiteY22" fmla="*/ 863143 h 2373523"/>
                <a:gd name="connsiteX23" fmla="*/ 12386023 w 12386023"/>
                <a:gd name="connsiteY23" fmla="*/ 562829 h 2373523"/>
                <a:gd name="connsiteX24" fmla="*/ 12386023 w 12386023"/>
                <a:gd name="connsiteY24" fmla="*/ 124447 h 2373523"/>
                <a:gd name="connsiteX25" fmla="*/ 11779707 w 12386023"/>
                <a:gd name="connsiteY25" fmla="*/ 299022 h 2373523"/>
                <a:gd name="connsiteX26" fmla="*/ 11399982 w 12386023"/>
                <a:gd name="connsiteY26" fmla="*/ 910907 h 2373523"/>
                <a:gd name="connsiteX27" fmla="*/ 10943237 w 12386023"/>
                <a:gd name="connsiteY27" fmla="*/ 1525068 h 2373523"/>
                <a:gd name="connsiteX28" fmla="*/ 10375442 w 12386023"/>
                <a:gd name="connsiteY28" fmla="*/ 1481851 h 2373523"/>
                <a:gd name="connsiteX29" fmla="*/ 9868545 w 12386023"/>
                <a:gd name="connsiteY29" fmla="*/ 922282 h 2373523"/>
                <a:gd name="connsiteX30" fmla="*/ 9393890 w 12386023"/>
                <a:gd name="connsiteY30" fmla="*/ 444601 h 2373523"/>
                <a:gd name="connsiteX31" fmla="*/ 8791091 w 12386023"/>
                <a:gd name="connsiteY31" fmla="*/ 20131 h 2373523"/>
                <a:gd name="connsiteX32" fmla="*/ 7390504 w 12386023"/>
                <a:gd name="connsiteY32" fmla="*/ 62625 h 2373523"/>
                <a:gd name="connsiteX33" fmla="*/ 6243077 w 12386023"/>
                <a:gd name="connsiteY33" fmla="*/ 113094 h 2373523"/>
                <a:gd name="connsiteX34" fmla="*/ 9248668 w 12386023"/>
                <a:gd name="connsiteY34" fmla="*/ 483648 h 2373523"/>
                <a:gd name="connsiteX35" fmla="*/ 8892001 w 12386023"/>
                <a:gd name="connsiteY35" fmla="*/ 445563 h 2373523"/>
                <a:gd name="connsiteX36" fmla="*/ 9073222 w 12386023"/>
                <a:gd name="connsiteY36" fmla="*/ 748027 h 2373523"/>
                <a:gd name="connsiteX37" fmla="*/ 8714713 w 12386023"/>
                <a:gd name="connsiteY37" fmla="*/ 320981 h 2373523"/>
                <a:gd name="connsiteX38" fmla="*/ 8705072 w 12386023"/>
                <a:gd name="connsiteY38" fmla="*/ 148058 h 2373523"/>
                <a:gd name="connsiteX0" fmla="*/ 8705072 w 12386023"/>
                <a:gd name="connsiteY0" fmla="*/ 148058 h 2373523"/>
                <a:gd name="connsiteX1" fmla="*/ 8742561 w 12386023"/>
                <a:gd name="connsiteY1" fmla="*/ 384564 h 2373523"/>
                <a:gd name="connsiteX2" fmla="*/ 8676628 w 12386023"/>
                <a:gd name="connsiteY2" fmla="*/ 298017 h 2373523"/>
                <a:gd name="connsiteX3" fmla="*/ 8697801 w 12386023"/>
                <a:gd name="connsiteY3" fmla="*/ 454697 h 2373523"/>
                <a:gd name="connsiteX4" fmla="*/ 8652701 w 12386023"/>
                <a:gd name="connsiteY4" fmla="*/ 640697 h 2373523"/>
                <a:gd name="connsiteX5" fmla="*/ 421075 w 12386023"/>
                <a:gd name="connsiteY5" fmla="*/ 800852 h 2373523"/>
                <a:gd name="connsiteX6" fmla="*/ 1277876 w 12386023"/>
                <a:gd name="connsiteY6" fmla="*/ 708409 h 2373523"/>
                <a:gd name="connsiteX7" fmla="*/ 1972735 w 12386023"/>
                <a:gd name="connsiteY7" fmla="*/ 742397 h 2373523"/>
                <a:gd name="connsiteX8" fmla="*/ 2428745 w 12386023"/>
                <a:gd name="connsiteY8" fmla="*/ 682909 h 2373523"/>
                <a:gd name="connsiteX9" fmla="*/ 2906467 w 12386023"/>
                <a:gd name="connsiteY9" fmla="*/ 682909 h 2373523"/>
                <a:gd name="connsiteX10" fmla="*/ 3677336 w 12386023"/>
                <a:gd name="connsiteY10" fmla="*/ 725403 h 2373523"/>
                <a:gd name="connsiteX11" fmla="*/ 4556772 w 12386023"/>
                <a:gd name="connsiteY11" fmla="*/ 708409 h 2373523"/>
                <a:gd name="connsiteX12" fmla="*/ 5186490 w 12386023"/>
                <a:gd name="connsiteY12" fmla="*/ 716915 h 2373523"/>
                <a:gd name="connsiteX13" fmla="*/ 6022500 w 12386023"/>
                <a:gd name="connsiteY13" fmla="*/ 716915 h 2373523"/>
                <a:gd name="connsiteX14" fmla="*/ 7086513 w 12386023"/>
                <a:gd name="connsiteY14" fmla="*/ 742415 h 2373523"/>
                <a:gd name="connsiteX15" fmla="*/ 7835668 w 12386023"/>
                <a:gd name="connsiteY15" fmla="*/ 733909 h 2373523"/>
                <a:gd name="connsiteX16" fmla="*/ 8367663 w 12386023"/>
                <a:gd name="connsiteY16" fmla="*/ 725403 h 2373523"/>
                <a:gd name="connsiteX17" fmla="*/ 8988680 w 12386023"/>
                <a:gd name="connsiteY17" fmla="*/ 1128151 h 2373523"/>
                <a:gd name="connsiteX18" fmla="*/ 9558676 w 12386023"/>
                <a:gd name="connsiteY18" fmla="*/ 1954983 h 2373523"/>
                <a:gd name="connsiteX19" fmla="*/ 10490076 w 12386023"/>
                <a:gd name="connsiteY19" fmla="*/ 2373522 h 2373523"/>
                <a:gd name="connsiteX20" fmla="*/ 11536110 w 12386023"/>
                <a:gd name="connsiteY20" fmla="*/ 1954985 h 2373523"/>
                <a:gd name="connsiteX21" fmla="*/ 11827041 w 12386023"/>
                <a:gd name="connsiteY21" fmla="*/ 1309250 h 2373523"/>
                <a:gd name="connsiteX22" fmla="*/ 12137937 w 12386023"/>
                <a:gd name="connsiteY22" fmla="*/ 863143 h 2373523"/>
                <a:gd name="connsiteX23" fmla="*/ 12386023 w 12386023"/>
                <a:gd name="connsiteY23" fmla="*/ 562829 h 2373523"/>
                <a:gd name="connsiteX24" fmla="*/ 12386023 w 12386023"/>
                <a:gd name="connsiteY24" fmla="*/ 124447 h 2373523"/>
                <a:gd name="connsiteX25" fmla="*/ 11779707 w 12386023"/>
                <a:gd name="connsiteY25" fmla="*/ 299022 h 2373523"/>
                <a:gd name="connsiteX26" fmla="*/ 11399982 w 12386023"/>
                <a:gd name="connsiteY26" fmla="*/ 910907 h 2373523"/>
                <a:gd name="connsiteX27" fmla="*/ 10943237 w 12386023"/>
                <a:gd name="connsiteY27" fmla="*/ 1525068 h 2373523"/>
                <a:gd name="connsiteX28" fmla="*/ 10375442 w 12386023"/>
                <a:gd name="connsiteY28" fmla="*/ 1481851 h 2373523"/>
                <a:gd name="connsiteX29" fmla="*/ 9868545 w 12386023"/>
                <a:gd name="connsiteY29" fmla="*/ 922282 h 2373523"/>
                <a:gd name="connsiteX30" fmla="*/ 9393890 w 12386023"/>
                <a:gd name="connsiteY30" fmla="*/ 444601 h 2373523"/>
                <a:gd name="connsiteX31" fmla="*/ 8791091 w 12386023"/>
                <a:gd name="connsiteY31" fmla="*/ 20131 h 2373523"/>
                <a:gd name="connsiteX32" fmla="*/ 7390504 w 12386023"/>
                <a:gd name="connsiteY32" fmla="*/ 62625 h 2373523"/>
                <a:gd name="connsiteX33" fmla="*/ 9248668 w 12386023"/>
                <a:gd name="connsiteY33" fmla="*/ 483648 h 2373523"/>
                <a:gd name="connsiteX34" fmla="*/ 8892001 w 12386023"/>
                <a:gd name="connsiteY34" fmla="*/ 445563 h 2373523"/>
                <a:gd name="connsiteX35" fmla="*/ 9073222 w 12386023"/>
                <a:gd name="connsiteY35" fmla="*/ 748027 h 2373523"/>
                <a:gd name="connsiteX36" fmla="*/ 8714713 w 12386023"/>
                <a:gd name="connsiteY36" fmla="*/ 320981 h 2373523"/>
                <a:gd name="connsiteX37" fmla="*/ 8705072 w 12386023"/>
                <a:gd name="connsiteY37" fmla="*/ 148058 h 2373523"/>
                <a:gd name="connsiteX0" fmla="*/ 8705072 w 12386023"/>
                <a:gd name="connsiteY0" fmla="*/ 148058 h 2373523"/>
                <a:gd name="connsiteX1" fmla="*/ 8742561 w 12386023"/>
                <a:gd name="connsiteY1" fmla="*/ 384564 h 2373523"/>
                <a:gd name="connsiteX2" fmla="*/ 8676628 w 12386023"/>
                <a:gd name="connsiteY2" fmla="*/ 298017 h 2373523"/>
                <a:gd name="connsiteX3" fmla="*/ 8697801 w 12386023"/>
                <a:gd name="connsiteY3" fmla="*/ 454697 h 2373523"/>
                <a:gd name="connsiteX4" fmla="*/ 8652701 w 12386023"/>
                <a:gd name="connsiteY4" fmla="*/ 640697 h 2373523"/>
                <a:gd name="connsiteX5" fmla="*/ 421075 w 12386023"/>
                <a:gd name="connsiteY5" fmla="*/ 800852 h 2373523"/>
                <a:gd name="connsiteX6" fmla="*/ 1277876 w 12386023"/>
                <a:gd name="connsiteY6" fmla="*/ 708409 h 2373523"/>
                <a:gd name="connsiteX7" fmla="*/ 1972735 w 12386023"/>
                <a:gd name="connsiteY7" fmla="*/ 742397 h 2373523"/>
                <a:gd name="connsiteX8" fmla="*/ 2428745 w 12386023"/>
                <a:gd name="connsiteY8" fmla="*/ 682909 h 2373523"/>
                <a:gd name="connsiteX9" fmla="*/ 2906467 w 12386023"/>
                <a:gd name="connsiteY9" fmla="*/ 682909 h 2373523"/>
                <a:gd name="connsiteX10" fmla="*/ 3677336 w 12386023"/>
                <a:gd name="connsiteY10" fmla="*/ 725403 h 2373523"/>
                <a:gd name="connsiteX11" fmla="*/ 4556772 w 12386023"/>
                <a:gd name="connsiteY11" fmla="*/ 708409 h 2373523"/>
                <a:gd name="connsiteX12" fmla="*/ 5186490 w 12386023"/>
                <a:gd name="connsiteY12" fmla="*/ 716915 h 2373523"/>
                <a:gd name="connsiteX13" fmla="*/ 6022500 w 12386023"/>
                <a:gd name="connsiteY13" fmla="*/ 716915 h 2373523"/>
                <a:gd name="connsiteX14" fmla="*/ 7086513 w 12386023"/>
                <a:gd name="connsiteY14" fmla="*/ 742415 h 2373523"/>
                <a:gd name="connsiteX15" fmla="*/ 7835668 w 12386023"/>
                <a:gd name="connsiteY15" fmla="*/ 733909 h 2373523"/>
                <a:gd name="connsiteX16" fmla="*/ 8367663 w 12386023"/>
                <a:gd name="connsiteY16" fmla="*/ 725403 h 2373523"/>
                <a:gd name="connsiteX17" fmla="*/ 8988680 w 12386023"/>
                <a:gd name="connsiteY17" fmla="*/ 1128151 h 2373523"/>
                <a:gd name="connsiteX18" fmla="*/ 9558676 w 12386023"/>
                <a:gd name="connsiteY18" fmla="*/ 1954983 h 2373523"/>
                <a:gd name="connsiteX19" fmla="*/ 10490076 w 12386023"/>
                <a:gd name="connsiteY19" fmla="*/ 2373522 h 2373523"/>
                <a:gd name="connsiteX20" fmla="*/ 11536110 w 12386023"/>
                <a:gd name="connsiteY20" fmla="*/ 1954985 h 2373523"/>
                <a:gd name="connsiteX21" fmla="*/ 11827041 w 12386023"/>
                <a:gd name="connsiteY21" fmla="*/ 1309250 h 2373523"/>
                <a:gd name="connsiteX22" fmla="*/ 12137937 w 12386023"/>
                <a:gd name="connsiteY22" fmla="*/ 863143 h 2373523"/>
                <a:gd name="connsiteX23" fmla="*/ 12386023 w 12386023"/>
                <a:gd name="connsiteY23" fmla="*/ 562829 h 2373523"/>
                <a:gd name="connsiteX24" fmla="*/ 12386023 w 12386023"/>
                <a:gd name="connsiteY24" fmla="*/ 124447 h 2373523"/>
                <a:gd name="connsiteX25" fmla="*/ 11779707 w 12386023"/>
                <a:gd name="connsiteY25" fmla="*/ 299022 h 2373523"/>
                <a:gd name="connsiteX26" fmla="*/ 11399982 w 12386023"/>
                <a:gd name="connsiteY26" fmla="*/ 910907 h 2373523"/>
                <a:gd name="connsiteX27" fmla="*/ 10943237 w 12386023"/>
                <a:gd name="connsiteY27" fmla="*/ 1525068 h 2373523"/>
                <a:gd name="connsiteX28" fmla="*/ 10375442 w 12386023"/>
                <a:gd name="connsiteY28" fmla="*/ 1481851 h 2373523"/>
                <a:gd name="connsiteX29" fmla="*/ 9868545 w 12386023"/>
                <a:gd name="connsiteY29" fmla="*/ 922282 h 2373523"/>
                <a:gd name="connsiteX30" fmla="*/ 9393890 w 12386023"/>
                <a:gd name="connsiteY30" fmla="*/ 444601 h 2373523"/>
                <a:gd name="connsiteX31" fmla="*/ 8791091 w 12386023"/>
                <a:gd name="connsiteY31" fmla="*/ 20131 h 2373523"/>
                <a:gd name="connsiteX32" fmla="*/ 7390504 w 12386023"/>
                <a:gd name="connsiteY32" fmla="*/ 62625 h 2373523"/>
                <a:gd name="connsiteX33" fmla="*/ 9248668 w 12386023"/>
                <a:gd name="connsiteY33" fmla="*/ 483648 h 2373523"/>
                <a:gd name="connsiteX34" fmla="*/ 8892001 w 12386023"/>
                <a:gd name="connsiteY34" fmla="*/ 445563 h 2373523"/>
                <a:gd name="connsiteX35" fmla="*/ 9073222 w 12386023"/>
                <a:gd name="connsiteY35" fmla="*/ 748027 h 2373523"/>
                <a:gd name="connsiteX36" fmla="*/ 8705072 w 12386023"/>
                <a:gd name="connsiteY36" fmla="*/ 148058 h 2373523"/>
                <a:gd name="connsiteX0" fmla="*/ 8705072 w 12386023"/>
                <a:gd name="connsiteY0" fmla="*/ 148058 h 2373523"/>
                <a:gd name="connsiteX1" fmla="*/ 8742561 w 12386023"/>
                <a:gd name="connsiteY1" fmla="*/ 384564 h 2373523"/>
                <a:gd name="connsiteX2" fmla="*/ 8697801 w 12386023"/>
                <a:gd name="connsiteY2" fmla="*/ 454697 h 2373523"/>
                <a:gd name="connsiteX3" fmla="*/ 8652701 w 12386023"/>
                <a:gd name="connsiteY3" fmla="*/ 640697 h 2373523"/>
                <a:gd name="connsiteX4" fmla="*/ 421075 w 12386023"/>
                <a:gd name="connsiteY4" fmla="*/ 800852 h 2373523"/>
                <a:gd name="connsiteX5" fmla="*/ 1277876 w 12386023"/>
                <a:gd name="connsiteY5" fmla="*/ 708409 h 2373523"/>
                <a:gd name="connsiteX6" fmla="*/ 1972735 w 12386023"/>
                <a:gd name="connsiteY6" fmla="*/ 742397 h 2373523"/>
                <a:gd name="connsiteX7" fmla="*/ 2428745 w 12386023"/>
                <a:gd name="connsiteY7" fmla="*/ 682909 h 2373523"/>
                <a:gd name="connsiteX8" fmla="*/ 2906467 w 12386023"/>
                <a:gd name="connsiteY8" fmla="*/ 682909 h 2373523"/>
                <a:gd name="connsiteX9" fmla="*/ 3677336 w 12386023"/>
                <a:gd name="connsiteY9" fmla="*/ 725403 h 2373523"/>
                <a:gd name="connsiteX10" fmla="*/ 4556772 w 12386023"/>
                <a:gd name="connsiteY10" fmla="*/ 708409 h 2373523"/>
                <a:gd name="connsiteX11" fmla="*/ 5186490 w 12386023"/>
                <a:gd name="connsiteY11" fmla="*/ 716915 h 2373523"/>
                <a:gd name="connsiteX12" fmla="*/ 6022500 w 12386023"/>
                <a:gd name="connsiteY12" fmla="*/ 716915 h 2373523"/>
                <a:gd name="connsiteX13" fmla="*/ 7086513 w 12386023"/>
                <a:gd name="connsiteY13" fmla="*/ 742415 h 2373523"/>
                <a:gd name="connsiteX14" fmla="*/ 7835668 w 12386023"/>
                <a:gd name="connsiteY14" fmla="*/ 733909 h 2373523"/>
                <a:gd name="connsiteX15" fmla="*/ 8367663 w 12386023"/>
                <a:gd name="connsiteY15" fmla="*/ 725403 h 2373523"/>
                <a:gd name="connsiteX16" fmla="*/ 8988680 w 12386023"/>
                <a:gd name="connsiteY16" fmla="*/ 1128151 h 2373523"/>
                <a:gd name="connsiteX17" fmla="*/ 9558676 w 12386023"/>
                <a:gd name="connsiteY17" fmla="*/ 1954983 h 2373523"/>
                <a:gd name="connsiteX18" fmla="*/ 10490076 w 12386023"/>
                <a:gd name="connsiteY18" fmla="*/ 2373522 h 2373523"/>
                <a:gd name="connsiteX19" fmla="*/ 11536110 w 12386023"/>
                <a:gd name="connsiteY19" fmla="*/ 1954985 h 2373523"/>
                <a:gd name="connsiteX20" fmla="*/ 11827041 w 12386023"/>
                <a:gd name="connsiteY20" fmla="*/ 1309250 h 2373523"/>
                <a:gd name="connsiteX21" fmla="*/ 12137937 w 12386023"/>
                <a:gd name="connsiteY21" fmla="*/ 863143 h 2373523"/>
                <a:gd name="connsiteX22" fmla="*/ 12386023 w 12386023"/>
                <a:gd name="connsiteY22" fmla="*/ 562829 h 2373523"/>
                <a:gd name="connsiteX23" fmla="*/ 12386023 w 12386023"/>
                <a:gd name="connsiteY23" fmla="*/ 124447 h 2373523"/>
                <a:gd name="connsiteX24" fmla="*/ 11779707 w 12386023"/>
                <a:gd name="connsiteY24" fmla="*/ 299022 h 2373523"/>
                <a:gd name="connsiteX25" fmla="*/ 11399982 w 12386023"/>
                <a:gd name="connsiteY25" fmla="*/ 910907 h 2373523"/>
                <a:gd name="connsiteX26" fmla="*/ 10943237 w 12386023"/>
                <a:gd name="connsiteY26" fmla="*/ 1525068 h 2373523"/>
                <a:gd name="connsiteX27" fmla="*/ 10375442 w 12386023"/>
                <a:gd name="connsiteY27" fmla="*/ 1481851 h 2373523"/>
                <a:gd name="connsiteX28" fmla="*/ 9868545 w 12386023"/>
                <a:gd name="connsiteY28" fmla="*/ 922282 h 2373523"/>
                <a:gd name="connsiteX29" fmla="*/ 9393890 w 12386023"/>
                <a:gd name="connsiteY29" fmla="*/ 444601 h 2373523"/>
                <a:gd name="connsiteX30" fmla="*/ 8791091 w 12386023"/>
                <a:gd name="connsiteY30" fmla="*/ 20131 h 2373523"/>
                <a:gd name="connsiteX31" fmla="*/ 7390504 w 12386023"/>
                <a:gd name="connsiteY31" fmla="*/ 62625 h 2373523"/>
                <a:gd name="connsiteX32" fmla="*/ 9248668 w 12386023"/>
                <a:gd name="connsiteY32" fmla="*/ 483648 h 2373523"/>
                <a:gd name="connsiteX33" fmla="*/ 8892001 w 12386023"/>
                <a:gd name="connsiteY33" fmla="*/ 445563 h 2373523"/>
                <a:gd name="connsiteX34" fmla="*/ 9073222 w 12386023"/>
                <a:gd name="connsiteY34" fmla="*/ 748027 h 2373523"/>
                <a:gd name="connsiteX35" fmla="*/ 8705072 w 12386023"/>
                <a:gd name="connsiteY35" fmla="*/ 148058 h 2373523"/>
                <a:gd name="connsiteX0" fmla="*/ 8705072 w 12386023"/>
                <a:gd name="connsiteY0" fmla="*/ 148058 h 2373523"/>
                <a:gd name="connsiteX1" fmla="*/ 8697801 w 12386023"/>
                <a:gd name="connsiteY1" fmla="*/ 454697 h 2373523"/>
                <a:gd name="connsiteX2" fmla="*/ 8652701 w 12386023"/>
                <a:gd name="connsiteY2" fmla="*/ 640697 h 2373523"/>
                <a:gd name="connsiteX3" fmla="*/ 421075 w 12386023"/>
                <a:gd name="connsiteY3" fmla="*/ 800852 h 2373523"/>
                <a:gd name="connsiteX4" fmla="*/ 1277876 w 12386023"/>
                <a:gd name="connsiteY4" fmla="*/ 708409 h 2373523"/>
                <a:gd name="connsiteX5" fmla="*/ 1972735 w 12386023"/>
                <a:gd name="connsiteY5" fmla="*/ 742397 h 2373523"/>
                <a:gd name="connsiteX6" fmla="*/ 2428745 w 12386023"/>
                <a:gd name="connsiteY6" fmla="*/ 682909 h 2373523"/>
                <a:gd name="connsiteX7" fmla="*/ 2906467 w 12386023"/>
                <a:gd name="connsiteY7" fmla="*/ 682909 h 2373523"/>
                <a:gd name="connsiteX8" fmla="*/ 3677336 w 12386023"/>
                <a:gd name="connsiteY8" fmla="*/ 725403 h 2373523"/>
                <a:gd name="connsiteX9" fmla="*/ 4556772 w 12386023"/>
                <a:gd name="connsiteY9" fmla="*/ 708409 h 2373523"/>
                <a:gd name="connsiteX10" fmla="*/ 5186490 w 12386023"/>
                <a:gd name="connsiteY10" fmla="*/ 716915 h 2373523"/>
                <a:gd name="connsiteX11" fmla="*/ 6022500 w 12386023"/>
                <a:gd name="connsiteY11" fmla="*/ 716915 h 2373523"/>
                <a:gd name="connsiteX12" fmla="*/ 7086513 w 12386023"/>
                <a:gd name="connsiteY12" fmla="*/ 742415 h 2373523"/>
                <a:gd name="connsiteX13" fmla="*/ 7835668 w 12386023"/>
                <a:gd name="connsiteY13" fmla="*/ 733909 h 2373523"/>
                <a:gd name="connsiteX14" fmla="*/ 8367663 w 12386023"/>
                <a:gd name="connsiteY14" fmla="*/ 725403 h 2373523"/>
                <a:gd name="connsiteX15" fmla="*/ 8988680 w 12386023"/>
                <a:gd name="connsiteY15" fmla="*/ 1128151 h 2373523"/>
                <a:gd name="connsiteX16" fmla="*/ 9558676 w 12386023"/>
                <a:gd name="connsiteY16" fmla="*/ 1954983 h 2373523"/>
                <a:gd name="connsiteX17" fmla="*/ 10490076 w 12386023"/>
                <a:gd name="connsiteY17" fmla="*/ 2373522 h 2373523"/>
                <a:gd name="connsiteX18" fmla="*/ 11536110 w 12386023"/>
                <a:gd name="connsiteY18" fmla="*/ 1954985 h 2373523"/>
                <a:gd name="connsiteX19" fmla="*/ 11827041 w 12386023"/>
                <a:gd name="connsiteY19" fmla="*/ 1309250 h 2373523"/>
                <a:gd name="connsiteX20" fmla="*/ 12137937 w 12386023"/>
                <a:gd name="connsiteY20" fmla="*/ 863143 h 2373523"/>
                <a:gd name="connsiteX21" fmla="*/ 12386023 w 12386023"/>
                <a:gd name="connsiteY21" fmla="*/ 562829 h 2373523"/>
                <a:gd name="connsiteX22" fmla="*/ 12386023 w 12386023"/>
                <a:gd name="connsiteY22" fmla="*/ 124447 h 2373523"/>
                <a:gd name="connsiteX23" fmla="*/ 11779707 w 12386023"/>
                <a:gd name="connsiteY23" fmla="*/ 299022 h 2373523"/>
                <a:gd name="connsiteX24" fmla="*/ 11399982 w 12386023"/>
                <a:gd name="connsiteY24" fmla="*/ 910907 h 2373523"/>
                <a:gd name="connsiteX25" fmla="*/ 10943237 w 12386023"/>
                <a:gd name="connsiteY25" fmla="*/ 1525068 h 2373523"/>
                <a:gd name="connsiteX26" fmla="*/ 10375442 w 12386023"/>
                <a:gd name="connsiteY26" fmla="*/ 1481851 h 2373523"/>
                <a:gd name="connsiteX27" fmla="*/ 9868545 w 12386023"/>
                <a:gd name="connsiteY27" fmla="*/ 922282 h 2373523"/>
                <a:gd name="connsiteX28" fmla="*/ 9393890 w 12386023"/>
                <a:gd name="connsiteY28" fmla="*/ 444601 h 2373523"/>
                <a:gd name="connsiteX29" fmla="*/ 8791091 w 12386023"/>
                <a:gd name="connsiteY29" fmla="*/ 20131 h 2373523"/>
                <a:gd name="connsiteX30" fmla="*/ 7390504 w 12386023"/>
                <a:gd name="connsiteY30" fmla="*/ 62625 h 2373523"/>
                <a:gd name="connsiteX31" fmla="*/ 9248668 w 12386023"/>
                <a:gd name="connsiteY31" fmla="*/ 483648 h 2373523"/>
                <a:gd name="connsiteX32" fmla="*/ 8892001 w 12386023"/>
                <a:gd name="connsiteY32" fmla="*/ 445563 h 2373523"/>
                <a:gd name="connsiteX33" fmla="*/ 9073222 w 12386023"/>
                <a:gd name="connsiteY33" fmla="*/ 748027 h 2373523"/>
                <a:gd name="connsiteX34" fmla="*/ 8705072 w 12386023"/>
                <a:gd name="connsiteY34" fmla="*/ 148058 h 2373523"/>
                <a:gd name="connsiteX0" fmla="*/ 9073222 w 12386023"/>
                <a:gd name="connsiteY0" fmla="*/ 748027 h 2373523"/>
                <a:gd name="connsiteX1" fmla="*/ 8697801 w 12386023"/>
                <a:gd name="connsiteY1" fmla="*/ 454697 h 2373523"/>
                <a:gd name="connsiteX2" fmla="*/ 8652701 w 12386023"/>
                <a:gd name="connsiteY2" fmla="*/ 640697 h 2373523"/>
                <a:gd name="connsiteX3" fmla="*/ 421075 w 12386023"/>
                <a:gd name="connsiteY3" fmla="*/ 800852 h 2373523"/>
                <a:gd name="connsiteX4" fmla="*/ 1277876 w 12386023"/>
                <a:gd name="connsiteY4" fmla="*/ 708409 h 2373523"/>
                <a:gd name="connsiteX5" fmla="*/ 1972735 w 12386023"/>
                <a:gd name="connsiteY5" fmla="*/ 742397 h 2373523"/>
                <a:gd name="connsiteX6" fmla="*/ 2428745 w 12386023"/>
                <a:gd name="connsiteY6" fmla="*/ 682909 h 2373523"/>
                <a:gd name="connsiteX7" fmla="*/ 2906467 w 12386023"/>
                <a:gd name="connsiteY7" fmla="*/ 682909 h 2373523"/>
                <a:gd name="connsiteX8" fmla="*/ 3677336 w 12386023"/>
                <a:gd name="connsiteY8" fmla="*/ 725403 h 2373523"/>
                <a:gd name="connsiteX9" fmla="*/ 4556772 w 12386023"/>
                <a:gd name="connsiteY9" fmla="*/ 708409 h 2373523"/>
                <a:gd name="connsiteX10" fmla="*/ 5186490 w 12386023"/>
                <a:gd name="connsiteY10" fmla="*/ 716915 h 2373523"/>
                <a:gd name="connsiteX11" fmla="*/ 6022500 w 12386023"/>
                <a:gd name="connsiteY11" fmla="*/ 716915 h 2373523"/>
                <a:gd name="connsiteX12" fmla="*/ 7086513 w 12386023"/>
                <a:gd name="connsiteY12" fmla="*/ 742415 h 2373523"/>
                <a:gd name="connsiteX13" fmla="*/ 7835668 w 12386023"/>
                <a:gd name="connsiteY13" fmla="*/ 733909 h 2373523"/>
                <a:gd name="connsiteX14" fmla="*/ 8367663 w 12386023"/>
                <a:gd name="connsiteY14" fmla="*/ 725403 h 2373523"/>
                <a:gd name="connsiteX15" fmla="*/ 8988680 w 12386023"/>
                <a:gd name="connsiteY15" fmla="*/ 1128151 h 2373523"/>
                <a:gd name="connsiteX16" fmla="*/ 9558676 w 12386023"/>
                <a:gd name="connsiteY16" fmla="*/ 1954983 h 2373523"/>
                <a:gd name="connsiteX17" fmla="*/ 10490076 w 12386023"/>
                <a:gd name="connsiteY17" fmla="*/ 2373522 h 2373523"/>
                <a:gd name="connsiteX18" fmla="*/ 11536110 w 12386023"/>
                <a:gd name="connsiteY18" fmla="*/ 1954985 h 2373523"/>
                <a:gd name="connsiteX19" fmla="*/ 11827041 w 12386023"/>
                <a:gd name="connsiteY19" fmla="*/ 1309250 h 2373523"/>
                <a:gd name="connsiteX20" fmla="*/ 12137937 w 12386023"/>
                <a:gd name="connsiteY20" fmla="*/ 863143 h 2373523"/>
                <a:gd name="connsiteX21" fmla="*/ 12386023 w 12386023"/>
                <a:gd name="connsiteY21" fmla="*/ 562829 h 2373523"/>
                <a:gd name="connsiteX22" fmla="*/ 12386023 w 12386023"/>
                <a:gd name="connsiteY22" fmla="*/ 124447 h 2373523"/>
                <a:gd name="connsiteX23" fmla="*/ 11779707 w 12386023"/>
                <a:gd name="connsiteY23" fmla="*/ 299022 h 2373523"/>
                <a:gd name="connsiteX24" fmla="*/ 11399982 w 12386023"/>
                <a:gd name="connsiteY24" fmla="*/ 910907 h 2373523"/>
                <a:gd name="connsiteX25" fmla="*/ 10943237 w 12386023"/>
                <a:gd name="connsiteY25" fmla="*/ 1525068 h 2373523"/>
                <a:gd name="connsiteX26" fmla="*/ 10375442 w 12386023"/>
                <a:gd name="connsiteY26" fmla="*/ 1481851 h 2373523"/>
                <a:gd name="connsiteX27" fmla="*/ 9868545 w 12386023"/>
                <a:gd name="connsiteY27" fmla="*/ 922282 h 2373523"/>
                <a:gd name="connsiteX28" fmla="*/ 9393890 w 12386023"/>
                <a:gd name="connsiteY28" fmla="*/ 444601 h 2373523"/>
                <a:gd name="connsiteX29" fmla="*/ 8791091 w 12386023"/>
                <a:gd name="connsiteY29" fmla="*/ 20131 h 2373523"/>
                <a:gd name="connsiteX30" fmla="*/ 7390504 w 12386023"/>
                <a:gd name="connsiteY30" fmla="*/ 62625 h 2373523"/>
                <a:gd name="connsiteX31" fmla="*/ 9248668 w 12386023"/>
                <a:gd name="connsiteY31" fmla="*/ 483648 h 2373523"/>
                <a:gd name="connsiteX32" fmla="*/ 8892001 w 12386023"/>
                <a:gd name="connsiteY32" fmla="*/ 445563 h 2373523"/>
                <a:gd name="connsiteX33" fmla="*/ 9073222 w 12386023"/>
                <a:gd name="connsiteY33" fmla="*/ 748027 h 2373523"/>
                <a:gd name="connsiteX0" fmla="*/ 9073222 w 12386023"/>
                <a:gd name="connsiteY0" fmla="*/ 748027 h 2373523"/>
                <a:gd name="connsiteX1" fmla="*/ 8652701 w 12386023"/>
                <a:gd name="connsiteY1" fmla="*/ 640697 h 2373523"/>
                <a:gd name="connsiteX2" fmla="*/ 421075 w 12386023"/>
                <a:gd name="connsiteY2" fmla="*/ 800852 h 2373523"/>
                <a:gd name="connsiteX3" fmla="*/ 1277876 w 12386023"/>
                <a:gd name="connsiteY3" fmla="*/ 708409 h 2373523"/>
                <a:gd name="connsiteX4" fmla="*/ 1972735 w 12386023"/>
                <a:gd name="connsiteY4" fmla="*/ 742397 h 2373523"/>
                <a:gd name="connsiteX5" fmla="*/ 2428745 w 12386023"/>
                <a:gd name="connsiteY5" fmla="*/ 682909 h 2373523"/>
                <a:gd name="connsiteX6" fmla="*/ 2906467 w 12386023"/>
                <a:gd name="connsiteY6" fmla="*/ 682909 h 2373523"/>
                <a:gd name="connsiteX7" fmla="*/ 3677336 w 12386023"/>
                <a:gd name="connsiteY7" fmla="*/ 725403 h 2373523"/>
                <a:gd name="connsiteX8" fmla="*/ 4556772 w 12386023"/>
                <a:gd name="connsiteY8" fmla="*/ 708409 h 2373523"/>
                <a:gd name="connsiteX9" fmla="*/ 5186490 w 12386023"/>
                <a:gd name="connsiteY9" fmla="*/ 716915 h 2373523"/>
                <a:gd name="connsiteX10" fmla="*/ 6022500 w 12386023"/>
                <a:gd name="connsiteY10" fmla="*/ 716915 h 2373523"/>
                <a:gd name="connsiteX11" fmla="*/ 7086513 w 12386023"/>
                <a:gd name="connsiteY11" fmla="*/ 742415 h 2373523"/>
                <a:gd name="connsiteX12" fmla="*/ 7835668 w 12386023"/>
                <a:gd name="connsiteY12" fmla="*/ 733909 h 2373523"/>
                <a:gd name="connsiteX13" fmla="*/ 8367663 w 12386023"/>
                <a:gd name="connsiteY13" fmla="*/ 725403 h 2373523"/>
                <a:gd name="connsiteX14" fmla="*/ 8988680 w 12386023"/>
                <a:gd name="connsiteY14" fmla="*/ 1128151 h 2373523"/>
                <a:gd name="connsiteX15" fmla="*/ 9558676 w 12386023"/>
                <a:gd name="connsiteY15" fmla="*/ 1954983 h 2373523"/>
                <a:gd name="connsiteX16" fmla="*/ 10490076 w 12386023"/>
                <a:gd name="connsiteY16" fmla="*/ 2373522 h 2373523"/>
                <a:gd name="connsiteX17" fmla="*/ 11536110 w 12386023"/>
                <a:gd name="connsiteY17" fmla="*/ 1954985 h 2373523"/>
                <a:gd name="connsiteX18" fmla="*/ 11827041 w 12386023"/>
                <a:gd name="connsiteY18" fmla="*/ 1309250 h 2373523"/>
                <a:gd name="connsiteX19" fmla="*/ 12137937 w 12386023"/>
                <a:gd name="connsiteY19" fmla="*/ 863143 h 2373523"/>
                <a:gd name="connsiteX20" fmla="*/ 12386023 w 12386023"/>
                <a:gd name="connsiteY20" fmla="*/ 562829 h 2373523"/>
                <a:gd name="connsiteX21" fmla="*/ 12386023 w 12386023"/>
                <a:gd name="connsiteY21" fmla="*/ 124447 h 2373523"/>
                <a:gd name="connsiteX22" fmla="*/ 11779707 w 12386023"/>
                <a:gd name="connsiteY22" fmla="*/ 299022 h 2373523"/>
                <a:gd name="connsiteX23" fmla="*/ 11399982 w 12386023"/>
                <a:gd name="connsiteY23" fmla="*/ 910907 h 2373523"/>
                <a:gd name="connsiteX24" fmla="*/ 10943237 w 12386023"/>
                <a:gd name="connsiteY24" fmla="*/ 1525068 h 2373523"/>
                <a:gd name="connsiteX25" fmla="*/ 10375442 w 12386023"/>
                <a:gd name="connsiteY25" fmla="*/ 1481851 h 2373523"/>
                <a:gd name="connsiteX26" fmla="*/ 9868545 w 12386023"/>
                <a:gd name="connsiteY26" fmla="*/ 922282 h 2373523"/>
                <a:gd name="connsiteX27" fmla="*/ 9393890 w 12386023"/>
                <a:gd name="connsiteY27" fmla="*/ 444601 h 2373523"/>
                <a:gd name="connsiteX28" fmla="*/ 8791091 w 12386023"/>
                <a:gd name="connsiteY28" fmla="*/ 20131 h 2373523"/>
                <a:gd name="connsiteX29" fmla="*/ 7390504 w 12386023"/>
                <a:gd name="connsiteY29" fmla="*/ 62625 h 2373523"/>
                <a:gd name="connsiteX30" fmla="*/ 9248668 w 12386023"/>
                <a:gd name="connsiteY30" fmla="*/ 483648 h 2373523"/>
                <a:gd name="connsiteX31" fmla="*/ 8892001 w 12386023"/>
                <a:gd name="connsiteY31" fmla="*/ 445563 h 2373523"/>
                <a:gd name="connsiteX32" fmla="*/ 9073222 w 12386023"/>
                <a:gd name="connsiteY32" fmla="*/ 748027 h 2373523"/>
                <a:gd name="connsiteX0" fmla="*/ 9102751 w 12415552"/>
                <a:gd name="connsiteY0" fmla="*/ 748027 h 2373523"/>
                <a:gd name="connsiteX1" fmla="*/ 450604 w 12415552"/>
                <a:gd name="connsiteY1" fmla="*/ 800852 h 2373523"/>
                <a:gd name="connsiteX2" fmla="*/ 1307405 w 12415552"/>
                <a:gd name="connsiteY2" fmla="*/ 708409 h 2373523"/>
                <a:gd name="connsiteX3" fmla="*/ 2002264 w 12415552"/>
                <a:gd name="connsiteY3" fmla="*/ 742397 h 2373523"/>
                <a:gd name="connsiteX4" fmla="*/ 2458274 w 12415552"/>
                <a:gd name="connsiteY4" fmla="*/ 682909 h 2373523"/>
                <a:gd name="connsiteX5" fmla="*/ 2935996 w 12415552"/>
                <a:gd name="connsiteY5" fmla="*/ 682909 h 2373523"/>
                <a:gd name="connsiteX6" fmla="*/ 3706865 w 12415552"/>
                <a:gd name="connsiteY6" fmla="*/ 725403 h 2373523"/>
                <a:gd name="connsiteX7" fmla="*/ 4586301 w 12415552"/>
                <a:gd name="connsiteY7" fmla="*/ 708409 h 2373523"/>
                <a:gd name="connsiteX8" fmla="*/ 5216019 w 12415552"/>
                <a:gd name="connsiteY8" fmla="*/ 716915 h 2373523"/>
                <a:gd name="connsiteX9" fmla="*/ 6052029 w 12415552"/>
                <a:gd name="connsiteY9" fmla="*/ 716915 h 2373523"/>
                <a:gd name="connsiteX10" fmla="*/ 7116042 w 12415552"/>
                <a:gd name="connsiteY10" fmla="*/ 742415 h 2373523"/>
                <a:gd name="connsiteX11" fmla="*/ 7865197 w 12415552"/>
                <a:gd name="connsiteY11" fmla="*/ 733909 h 2373523"/>
                <a:gd name="connsiteX12" fmla="*/ 8397192 w 12415552"/>
                <a:gd name="connsiteY12" fmla="*/ 725403 h 2373523"/>
                <a:gd name="connsiteX13" fmla="*/ 9018209 w 12415552"/>
                <a:gd name="connsiteY13" fmla="*/ 1128151 h 2373523"/>
                <a:gd name="connsiteX14" fmla="*/ 9588205 w 12415552"/>
                <a:gd name="connsiteY14" fmla="*/ 1954983 h 2373523"/>
                <a:gd name="connsiteX15" fmla="*/ 10519605 w 12415552"/>
                <a:gd name="connsiteY15" fmla="*/ 2373522 h 2373523"/>
                <a:gd name="connsiteX16" fmla="*/ 11565639 w 12415552"/>
                <a:gd name="connsiteY16" fmla="*/ 1954985 h 2373523"/>
                <a:gd name="connsiteX17" fmla="*/ 11856570 w 12415552"/>
                <a:gd name="connsiteY17" fmla="*/ 1309250 h 2373523"/>
                <a:gd name="connsiteX18" fmla="*/ 12167466 w 12415552"/>
                <a:gd name="connsiteY18" fmla="*/ 863143 h 2373523"/>
                <a:gd name="connsiteX19" fmla="*/ 12415552 w 12415552"/>
                <a:gd name="connsiteY19" fmla="*/ 562829 h 2373523"/>
                <a:gd name="connsiteX20" fmla="*/ 12415552 w 12415552"/>
                <a:gd name="connsiteY20" fmla="*/ 124447 h 2373523"/>
                <a:gd name="connsiteX21" fmla="*/ 11809236 w 12415552"/>
                <a:gd name="connsiteY21" fmla="*/ 299022 h 2373523"/>
                <a:gd name="connsiteX22" fmla="*/ 11429511 w 12415552"/>
                <a:gd name="connsiteY22" fmla="*/ 910907 h 2373523"/>
                <a:gd name="connsiteX23" fmla="*/ 10972766 w 12415552"/>
                <a:gd name="connsiteY23" fmla="*/ 1525068 h 2373523"/>
                <a:gd name="connsiteX24" fmla="*/ 10404971 w 12415552"/>
                <a:gd name="connsiteY24" fmla="*/ 1481851 h 2373523"/>
                <a:gd name="connsiteX25" fmla="*/ 9898074 w 12415552"/>
                <a:gd name="connsiteY25" fmla="*/ 922282 h 2373523"/>
                <a:gd name="connsiteX26" fmla="*/ 9423419 w 12415552"/>
                <a:gd name="connsiteY26" fmla="*/ 444601 h 2373523"/>
                <a:gd name="connsiteX27" fmla="*/ 8820620 w 12415552"/>
                <a:gd name="connsiteY27" fmla="*/ 20131 h 2373523"/>
                <a:gd name="connsiteX28" fmla="*/ 7420033 w 12415552"/>
                <a:gd name="connsiteY28" fmla="*/ 62625 h 2373523"/>
                <a:gd name="connsiteX29" fmla="*/ 9278197 w 12415552"/>
                <a:gd name="connsiteY29" fmla="*/ 483648 h 2373523"/>
                <a:gd name="connsiteX30" fmla="*/ 8921530 w 12415552"/>
                <a:gd name="connsiteY30" fmla="*/ 445563 h 2373523"/>
                <a:gd name="connsiteX31" fmla="*/ 9102751 w 12415552"/>
                <a:gd name="connsiteY31" fmla="*/ 748027 h 2373523"/>
                <a:gd name="connsiteX0" fmla="*/ 9102753 w 12415554"/>
                <a:gd name="connsiteY0" fmla="*/ 748027 h 2373523"/>
                <a:gd name="connsiteX1" fmla="*/ 450606 w 12415554"/>
                <a:gd name="connsiteY1" fmla="*/ 800852 h 2373523"/>
                <a:gd name="connsiteX2" fmla="*/ 1307407 w 12415554"/>
                <a:gd name="connsiteY2" fmla="*/ 708409 h 2373523"/>
                <a:gd name="connsiteX3" fmla="*/ 2002266 w 12415554"/>
                <a:gd name="connsiteY3" fmla="*/ 742397 h 2373523"/>
                <a:gd name="connsiteX4" fmla="*/ 2458276 w 12415554"/>
                <a:gd name="connsiteY4" fmla="*/ 682909 h 2373523"/>
                <a:gd name="connsiteX5" fmla="*/ 2935998 w 12415554"/>
                <a:gd name="connsiteY5" fmla="*/ 682909 h 2373523"/>
                <a:gd name="connsiteX6" fmla="*/ 3706867 w 12415554"/>
                <a:gd name="connsiteY6" fmla="*/ 725403 h 2373523"/>
                <a:gd name="connsiteX7" fmla="*/ 4586303 w 12415554"/>
                <a:gd name="connsiteY7" fmla="*/ 708409 h 2373523"/>
                <a:gd name="connsiteX8" fmla="*/ 5216021 w 12415554"/>
                <a:gd name="connsiteY8" fmla="*/ 716915 h 2373523"/>
                <a:gd name="connsiteX9" fmla="*/ 6052031 w 12415554"/>
                <a:gd name="connsiteY9" fmla="*/ 716915 h 2373523"/>
                <a:gd name="connsiteX10" fmla="*/ 7116044 w 12415554"/>
                <a:gd name="connsiteY10" fmla="*/ 742415 h 2373523"/>
                <a:gd name="connsiteX11" fmla="*/ 7865199 w 12415554"/>
                <a:gd name="connsiteY11" fmla="*/ 733909 h 2373523"/>
                <a:gd name="connsiteX12" fmla="*/ 8397194 w 12415554"/>
                <a:gd name="connsiteY12" fmla="*/ 725403 h 2373523"/>
                <a:gd name="connsiteX13" fmla="*/ 9018211 w 12415554"/>
                <a:gd name="connsiteY13" fmla="*/ 1128151 h 2373523"/>
                <a:gd name="connsiteX14" fmla="*/ 9588207 w 12415554"/>
                <a:gd name="connsiteY14" fmla="*/ 1954983 h 2373523"/>
                <a:gd name="connsiteX15" fmla="*/ 10519607 w 12415554"/>
                <a:gd name="connsiteY15" fmla="*/ 2373522 h 2373523"/>
                <a:gd name="connsiteX16" fmla="*/ 11565641 w 12415554"/>
                <a:gd name="connsiteY16" fmla="*/ 1954985 h 2373523"/>
                <a:gd name="connsiteX17" fmla="*/ 11856572 w 12415554"/>
                <a:gd name="connsiteY17" fmla="*/ 1309250 h 2373523"/>
                <a:gd name="connsiteX18" fmla="*/ 12167468 w 12415554"/>
                <a:gd name="connsiteY18" fmla="*/ 863143 h 2373523"/>
                <a:gd name="connsiteX19" fmla="*/ 12415554 w 12415554"/>
                <a:gd name="connsiteY19" fmla="*/ 562829 h 2373523"/>
                <a:gd name="connsiteX20" fmla="*/ 12415554 w 12415554"/>
                <a:gd name="connsiteY20" fmla="*/ 124447 h 2373523"/>
                <a:gd name="connsiteX21" fmla="*/ 11809238 w 12415554"/>
                <a:gd name="connsiteY21" fmla="*/ 299022 h 2373523"/>
                <a:gd name="connsiteX22" fmla="*/ 11429513 w 12415554"/>
                <a:gd name="connsiteY22" fmla="*/ 910907 h 2373523"/>
                <a:gd name="connsiteX23" fmla="*/ 10972768 w 12415554"/>
                <a:gd name="connsiteY23" fmla="*/ 1525068 h 2373523"/>
                <a:gd name="connsiteX24" fmla="*/ 10404973 w 12415554"/>
                <a:gd name="connsiteY24" fmla="*/ 1481851 h 2373523"/>
                <a:gd name="connsiteX25" fmla="*/ 9898076 w 12415554"/>
                <a:gd name="connsiteY25" fmla="*/ 922282 h 2373523"/>
                <a:gd name="connsiteX26" fmla="*/ 9423421 w 12415554"/>
                <a:gd name="connsiteY26" fmla="*/ 444601 h 2373523"/>
                <a:gd name="connsiteX27" fmla="*/ 8820622 w 12415554"/>
                <a:gd name="connsiteY27" fmla="*/ 20131 h 2373523"/>
                <a:gd name="connsiteX28" fmla="*/ 7420035 w 12415554"/>
                <a:gd name="connsiteY28" fmla="*/ 62625 h 2373523"/>
                <a:gd name="connsiteX29" fmla="*/ 9278199 w 12415554"/>
                <a:gd name="connsiteY29" fmla="*/ 483648 h 2373523"/>
                <a:gd name="connsiteX30" fmla="*/ 9102753 w 12415554"/>
                <a:gd name="connsiteY30" fmla="*/ 748027 h 2373523"/>
                <a:gd name="connsiteX0" fmla="*/ 9102753 w 12415554"/>
                <a:gd name="connsiteY0" fmla="*/ 748027 h 2373523"/>
                <a:gd name="connsiteX1" fmla="*/ 450606 w 12415554"/>
                <a:gd name="connsiteY1" fmla="*/ 800852 h 2373523"/>
                <a:gd name="connsiteX2" fmla="*/ 1307407 w 12415554"/>
                <a:gd name="connsiteY2" fmla="*/ 708409 h 2373523"/>
                <a:gd name="connsiteX3" fmla="*/ 2002266 w 12415554"/>
                <a:gd name="connsiteY3" fmla="*/ 742397 h 2373523"/>
                <a:gd name="connsiteX4" fmla="*/ 2458276 w 12415554"/>
                <a:gd name="connsiteY4" fmla="*/ 682909 h 2373523"/>
                <a:gd name="connsiteX5" fmla="*/ 2935998 w 12415554"/>
                <a:gd name="connsiteY5" fmla="*/ 682909 h 2373523"/>
                <a:gd name="connsiteX6" fmla="*/ 3706867 w 12415554"/>
                <a:gd name="connsiteY6" fmla="*/ 725403 h 2373523"/>
                <a:gd name="connsiteX7" fmla="*/ 4586303 w 12415554"/>
                <a:gd name="connsiteY7" fmla="*/ 708409 h 2373523"/>
                <a:gd name="connsiteX8" fmla="*/ 5216021 w 12415554"/>
                <a:gd name="connsiteY8" fmla="*/ 716915 h 2373523"/>
                <a:gd name="connsiteX9" fmla="*/ 6052031 w 12415554"/>
                <a:gd name="connsiteY9" fmla="*/ 716915 h 2373523"/>
                <a:gd name="connsiteX10" fmla="*/ 7116044 w 12415554"/>
                <a:gd name="connsiteY10" fmla="*/ 742415 h 2373523"/>
                <a:gd name="connsiteX11" fmla="*/ 7865199 w 12415554"/>
                <a:gd name="connsiteY11" fmla="*/ 733909 h 2373523"/>
                <a:gd name="connsiteX12" fmla="*/ 8397194 w 12415554"/>
                <a:gd name="connsiteY12" fmla="*/ 725403 h 2373523"/>
                <a:gd name="connsiteX13" fmla="*/ 9018211 w 12415554"/>
                <a:gd name="connsiteY13" fmla="*/ 1128151 h 2373523"/>
                <a:gd name="connsiteX14" fmla="*/ 9588207 w 12415554"/>
                <a:gd name="connsiteY14" fmla="*/ 1954983 h 2373523"/>
                <a:gd name="connsiteX15" fmla="*/ 10519607 w 12415554"/>
                <a:gd name="connsiteY15" fmla="*/ 2373522 h 2373523"/>
                <a:gd name="connsiteX16" fmla="*/ 11565641 w 12415554"/>
                <a:gd name="connsiteY16" fmla="*/ 1954985 h 2373523"/>
                <a:gd name="connsiteX17" fmla="*/ 11856572 w 12415554"/>
                <a:gd name="connsiteY17" fmla="*/ 1309250 h 2373523"/>
                <a:gd name="connsiteX18" fmla="*/ 12167468 w 12415554"/>
                <a:gd name="connsiteY18" fmla="*/ 863143 h 2373523"/>
                <a:gd name="connsiteX19" fmla="*/ 12415554 w 12415554"/>
                <a:gd name="connsiteY19" fmla="*/ 562829 h 2373523"/>
                <a:gd name="connsiteX20" fmla="*/ 12415554 w 12415554"/>
                <a:gd name="connsiteY20" fmla="*/ 124447 h 2373523"/>
                <a:gd name="connsiteX21" fmla="*/ 11809238 w 12415554"/>
                <a:gd name="connsiteY21" fmla="*/ 299022 h 2373523"/>
                <a:gd name="connsiteX22" fmla="*/ 11429513 w 12415554"/>
                <a:gd name="connsiteY22" fmla="*/ 910907 h 2373523"/>
                <a:gd name="connsiteX23" fmla="*/ 10972768 w 12415554"/>
                <a:gd name="connsiteY23" fmla="*/ 1525068 h 2373523"/>
                <a:gd name="connsiteX24" fmla="*/ 10404973 w 12415554"/>
                <a:gd name="connsiteY24" fmla="*/ 1481851 h 2373523"/>
                <a:gd name="connsiteX25" fmla="*/ 9898076 w 12415554"/>
                <a:gd name="connsiteY25" fmla="*/ 922282 h 2373523"/>
                <a:gd name="connsiteX26" fmla="*/ 9423421 w 12415554"/>
                <a:gd name="connsiteY26" fmla="*/ 444601 h 2373523"/>
                <a:gd name="connsiteX27" fmla="*/ 8820622 w 12415554"/>
                <a:gd name="connsiteY27" fmla="*/ 20131 h 2373523"/>
                <a:gd name="connsiteX28" fmla="*/ 7420035 w 12415554"/>
                <a:gd name="connsiteY28" fmla="*/ 62625 h 2373523"/>
                <a:gd name="connsiteX29" fmla="*/ 9102753 w 12415554"/>
                <a:gd name="connsiteY29" fmla="*/ 748027 h 2373523"/>
                <a:gd name="connsiteX0" fmla="*/ 7302823 w 12298342"/>
                <a:gd name="connsiteY0" fmla="*/ 62625 h 2373523"/>
                <a:gd name="connsiteX1" fmla="*/ 333394 w 12298342"/>
                <a:gd name="connsiteY1" fmla="*/ 800852 h 2373523"/>
                <a:gd name="connsiteX2" fmla="*/ 1190195 w 12298342"/>
                <a:gd name="connsiteY2" fmla="*/ 708409 h 2373523"/>
                <a:gd name="connsiteX3" fmla="*/ 1885054 w 12298342"/>
                <a:gd name="connsiteY3" fmla="*/ 742397 h 2373523"/>
                <a:gd name="connsiteX4" fmla="*/ 2341064 w 12298342"/>
                <a:gd name="connsiteY4" fmla="*/ 682909 h 2373523"/>
                <a:gd name="connsiteX5" fmla="*/ 2818786 w 12298342"/>
                <a:gd name="connsiteY5" fmla="*/ 682909 h 2373523"/>
                <a:gd name="connsiteX6" fmla="*/ 3589655 w 12298342"/>
                <a:gd name="connsiteY6" fmla="*/ 725403 h 2373523"/>
                <a:gd name="connsiteX7" fmla="*/ 4469091 w 12298342"/>
                <a:gd name="connsiteY7" fmla="*/ 708409 h 2373523"/>
                <a:gd name="connsiteX8" fmla="*/ 5098809 w 12298342"/>
                <a:gd name="connsiteY8" fmla="*/ 716915 h 2373523"/>
                <a:gd name="connsiteX9" fmla="*/ 5934819 w 12298342"/>
                <a:gd name="connsiteY9" fmla="*/ 716915 h 2373523"/>
                <a:gd name="connsiteX10" fmla="*/ 6998832 w 12298342"/>
                <a:gd name="connsiteY10" fmla="*/ 742415 h 2373523"/>
                <a:gd name="connsiteX11" fmla="*/ 7747987 w 12298342"/>
                <a:gd name="connsiteY11" fmla="*/ 733909 h 2373523"/>
                <a:gd name="connsiteX12" fmla="*/ 8279982 w 12298342"/>
                <a:gd name="connsiteY12" fmla="*/ 725403 h 2373523"/>
                <a:gd name="connsiteX13" fmla="*/ 8900999 w 12298342"/>
                <a:gd name="connsiteY13" fmla="*/ 1128151 h 2373523"/>
                <a:gd name="connsiteX14" fmla="*/ 9470995 w 12298342"/>
                <a:gd name="connsiteY14" fmla="*/ 1954983 h 2373523"/>
                <a:gd name="connsiteX15" fmla="*/ 10402395 w 12298342"/>
                <a:gd name="connsiteY15" fmla="*/ 2373522 h 2373523"/>
                <a:gd name="connsiteX16" fmla="*/ 11448429 w 12298342"/>
                <a:gd name="connsiteY16" fmla="*/ 1954985 h 2373523"/>
                <a:gd name="connsiteX17" fmla="*/ 11739360 w 12298342"/>
                <a:gd name="connsiteY17" fmla="*/ 1309250 h 2373523"/>
                <a:gd name="connsiteX18" fmla="*/ 12050256 w 12298342"/>
                <a:gd name="connsiteY18" fmla="*/ 863143 h 2373523"/>
                <a:gd name="connsiteX19" fmla="*/ 12298342 w 12298342"/>
                <a:gd name="connsiteY19" fmla="*/ 562829 h 2373523"/>
                <a:gd name="connsiteX20" fmla="*/ 12298342 w 12298342"/>
                <a:gd name="connsiteY20" fmla="*/ 124447 h 2373523"/>
                <a:gd name="connsiteX21" fmla="*/ 11692026 w 12298342"/>
                <a:gd name="connsiteY21" fmla="*/ 299022 h 2373523"/>
                <a:gd name="connsiteX22" fmla="*/ 11312301 w 12298342"/>
                <a:gd name="connsiteY22" fmla="*/ 910907 h 2373523"/>
                <a:gd name="connsiteX23" fmla="*/ 10855556 w 12298342"/>
                <a:gd name="connsiteY23" fmla="*/ 1525068 h 2373523"/>
                <a:gd name="connsiteX24" fmla="*/ 10287761 w 12298342"/>
                <a:gd name="connsiteY24" fmla="*/ 1481851 h 2373523"/>
                <a:gd name="connsiteX25" fmla="*/ 9780864 w 12298342"/>
                <a:gd name="connsiteY25" fmla="*/ 922282 h 2373523"/>
                <a:gd name="connsiteX26" fmla="*/ 9306209 w 12298342"/>
                <a:gd name="connsiteY26" fmla="*/ 444601 h 2373523"/>
                <a:gd name="connsiteX27" fmla="*/ 8703410 w 12298342"/>
                <a:gd name="connsiteY27" fmla="*/ 20131 h 2373523"/>
                <a:gd name="connsiteX28" fmla="*/ 7302823 w 12298342"/>
                <a:gd name="connsiteY28" fmla="*/ 62625 h 2373523"/>
                <a:gd name="connsiteX0" fmla="*/ 8557475 w 12379789"/>
                <a:gd name="connsiteY0" fmla="*/ 304971 h 2354282"/>
                <a:gd name="connsiteX1" fmla="*/ 414841 w 12379789"/>
                <a:gd name="connsiteY1" fmla="*/ 781611 h 2354282"/>
                <a:gd name="connsiteX2" fmla="*/ 1271642 w 12379789"/>
                <a:gd name="connsiteY2" fmla="*/ 689168 h 2354282"/>
                <a:gd name="connsiteX3" fmla="*/ 1966501 w 12379789"/>
                <a:gd name="connsiteY3" fmla="*/ 723156 h 2354282"/>
                <a:gd name="connsiteX4" fmla="*/ 2422511 w 12379789"/>
                <a:gd name="connsiteY4" fmla="*/ 663668 h 2354282"/>
                <a:gd name="connsiteX5" fmla="*/ 2900233 w 12379789"/>
                <a:gd name="connsiteY5" fmla="*/ 663668 h 2354282"/>
                <a:gd name="connsiteX6" fmla="*/ 3671102 w 12379789"/>
                <a:gd name="connsiteY6" fmla="*/ 706162 h 2354282"/>
                <a:gd name="connsiteX7" fmla="*/ 4550538 w 12379789"/>
                <a:gd name="connsiteY7" fmla="*/ 689168 h 2354282"/>
                <a:gd name="connsiteX8" fmla="*/ 5180256 w 12379789"/>
                <a:gd name="connsiteY8" fmla="*/ 697674 h 2354282"/>
                <a:gd name="connsiteX9" fmla="*/ 6016266 w 12379789"/>
                <a:gd name="connsiteY9" fmla="*/ 697674 h 2354282"/>
                <a:gd name="connsiteX10" fmla="*/ 7080279 w 12379789"/>
                <a:gd name="connsiteY10" fmla="*/ 723174 h 2354282"/>
                <a:gd name="connsiteX11" fmla="*/ 7829434 w 12379789"/>
                <a:gd name="connsiteY11" fmla="*/ 714668 h 2354282"/>
                <a:gd name="connsiteX12" fmla="*/ 8361429 w 12379789"/>
                <a:gd name="connsiteY12" fmla="*/ 706162 h 2354282"/>
                <a:gd name="connsiteX13" fmla="*/ 8982446 w 12379789"/>
                <a:gd name="connsiteY13" fmla="*/ 1108910 h 2354282"/>
                <a:gd name="connsiteX14" fmla="*/ 9552442 w 12379789"/>
                <a:gd name="connsiteY14" fmla="*/ 1935742 h 2354282"/>
                <a:gd name="connsiteX15" fmla="*/ 10483842 w 12379789"/>
                <a:gd name="connsiteY15" fmla="*/ 2354281 h 2354282"/>
                <a:gd name="connsiteX16" fmla="*/ 11529876 w 12379789"/>
                <a:gd name="connsiteY16" fmla="*/ 1935744 h 2354282"/>
                <a:gd name="connsiteX17" fmla="*/ 11820807 w 12379789"/>
                <a:gd name="connsiteY17" fmla="*/ 1290009 h 2354282"/>
                <a:gd name="connsiteX18" fmla="*/ 12131703 w 12379789"/>
                <a:gd name="connsiteY18" fmla="*/ 843902 h 2354282"/>
                <a:gd name="connsiteX19" fmla="*/ 12379789 w 12379789"/>
                <a:gd name="connsiteY19" fmla="*/ 543588 h 2354282"/>
                <a:gd name="connsiteX20" fmla="*/ 12379789 w 12379789"/>
                <a:gd name="connsiteY20" fmla="*/ 105206 h 2354282"/>
                <a:gd name="connsiteX21" fmla="*/ 11773473 w 12379789"/>
                <a:gd name="connsiteY21" fmla="*/ 279781 h 2354282"/>
                <a:gd name="connsiteX22" fmla="*/ 11393748 w 12379789"/>
                <a:gd name="connsiteY22" fmla="*/ 891666 h 2354282"/>
                <a:gd name="connsiteX23" fmla="*/ 10937003 w 12379789"/>
                <a:gd name="connsiteY23" fmla="*/ 1505827 h 2354282"/>
                <a:gd name="connsiteX24" fmla="*/ 10369208 w 12379789"/>
                <a:gd name="connsiteY24" fmla="*/ 1462610 h 2354282"/>
                <a:gd name="connsiteX25" fmla="*/ 9862311 w 12379789"/>
                <a:gd name="connsiteY25" fmla="*/ 903041 h 2354282"/>
                <a:gd name="connsiteX26" fmla="*/ 9387656 w 12379789"/>
                <a:gd name="connsiteY26" fmla="*/ 425360 h 2354282"/>
                <a:gd name="connsiteX27" fmla="*/ 8784857 w 12379789"/>
                <a:gd name="connsiteY27" fmla="*/ 890 h 2354282"/>
                <a:gd name="connsiteX28" fmla="*/ 8557475 w 12379789"/>
                <a:gd name="connsiteY28" fmla="*/ 304971 h 2354282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3671104 w 12379791"/>
                <a:gd name="connsiteY6" fmla="*/ 614077 h 2262197"/>
                <a:gd name="connsiteX7" fmla="*/ 4550540 w 12379791"/>
                <a:gd name="connsiteY7" fmla="*/ 597083 h 2262197"/>
                <a:gd name="connsiteX8" fmla="*/ 5180258 w 12379791"/>
                <a:gd name="connsiteY8" fmla="*/ 605589 h 2262197"/>
                <a:gd name="connsiteX9" fmla="*/ 6016268 w 12379791"/>
                <a:gd name="connsiteY9" fmla="*/ 605589 h 2262197"/>
                <a:gd name="connsiteX10" fmla="*/ 7080281 w 12379791"/>
                <a:gd name="connsiteY10" fmla="*/ 631089 h 2262197"/>
                <a:gd name="connsiteX11" fmla="*/ 7829436 w 12379791"/>
                <a:gd name="connsiteY11" fmla="*/ 622583 h 2262197"/>
                <a:gd name="connsiteX12" fmla="*/ 8361431 w 12379791"/>
                <a:gd name="connsiteY12" fmla="*/ 614077 h 2262197"/>
                <a:gd name="connsiteX13" fmla="*/ 8982448 w 12379791"/>
                <a:gd name="connsiteY13" fmla="*/ 1016825 h 2262197"/>
                <a:gd name="connsiteX14" fmla="*/ 9552444 w 12379791"/>
                <a:gd name="connsiteY14" fmla="*/ 1843657 h 2262197"/>
                <a:gd name="connsiteX15" fmla="*/ 10483844 w 12379791"/>
                <a:gd name="connsiteY15" fmla="*/ 2262196 h 2262197"/>
                <a:gd name="connsiteX16" fmla="*/ 11529878 w 12379791"/>
                <a:gd name="connsiteY16" fmla="*/ 1843659 h 2262197"/>
                <a:gd name="connsiteX17" fmla="*/ 11820809 w 12379791"/>
                <a:gd name="connsiteY17" fmla="*/ 1197924 h 2262197"/>
                <a:gd name="connsiteX18" fmla="*/ 12131705 w 12379791"/>
                <a:gd name="connsiteY18" fmla="*/ 751817 h 2262197"/>
                <a:gd name="connsiteX19" fmla="*/ 12379791 w 12379791"/>
                <a:gd name="connsiteY19" fmla="*/ 451503 h 2262197"/>
                <a:gd name="connsiteX20" fmla="*/ 12379791 w 12379791"/>
                <a:gd name="connsiteY20" fmla="*/ 13121 h 2262197"/>
                <a:gd name="connsiteX21" fmla="*/ 11773475 w 12379791"/>
                <a:gd name="connsiteY21" fmla="*/ 187696 h 2262197"/>
                <a:gd name="connsiteX22" fmla="*/ 11393750 w 12379791"/>
                <a:gd name="connsiteY22" fmla="*/ 799581 h 2262197"/>
                <a:gd name="connsiteX23" fmla="*/ 10937005 w 12379791"/>
                <a:gd name="connsiteY23" fmla="*/ 1413742 h 2262197"/>
                <a:gd name="connsiteX24" fmla="*/ 10369210 w 12379791"/>
                <a:gd name="connsiteY24" fmla="*/ 1370525 h 2262197"/>
                <a:gd name="connsiteX25" fmla="*/ 9862313 w 12379791"/>
                <a:gd name="connsiteY25" fmla="*/ 810956 h 2262197"/>
                <a:gd name="connsiteX26" fmla="*/ 9387658 w 12379791"/>
                <a:gd name="connsiteY26" fmla="*/ 333275 h 2262197"/>
                <a:gd name="connsiteX27" fmla="*/ 8614705 w 12379791"/>
                <a:gd name="connsiteY27" fmla="*/ 45280 h 2262197"/>
                <a:gd name="connsiteX28" fmla="*/ 8557477 w 12379791"/>
                <a:gd name="connsiteY28" fmla="*/ 212886 h 2262197"/>
                <a:gd name="connsiteX0" fmla="*/ 8557477 w 12379791"/>
                <a:gd name="connsiteY0" fmla="*/ 220165 h 2269476"/>
                <a:gd name="connsiteX1" fmla="*/ 414843 w 12379791"/>
                <a:gd name="connsiteY1" fmla="*/ 696805 h 2269476"/>
                <a:gd name="connsiteX2" fmla="*/ 1271644 w 12379791"/>
                <a:gd name="connsiteY2" fmla="*/ 604362 h 2269476"/>
                <a:gd name="connsiteX3" fmla="*/ 1966503 w 12379791"/>
                <a:gd name="connsiteY3" fmla="*/ 638350 h 2269476"/>
                <a:gd name="connsiteX4" fmla="*/ 2422513 w 12379791"/>
                <a:gd name="connsiteY4" fmla="*/ 578862 h 2269476"/>
                <a:gd name="connsiteX5" fmla="*/ 2900235 w 12379791"/>
                <a:gd name="connsiteY5" fmla="*/ 578862 h 2269476"/>
                <a:gd name="connsiteX6" fmla="*/ 3671104 w 12379791"/>
                <a:gd name="connsiteY6" fmla="*/ 621356 h 2269476"/>
                <a:gd name="connsiteX7" fmla="*/ 4550540 w 12379791"/>
                <a:gd name="connsiteY7" fmla="*/ 604362 h 2269476"/>
                <a:gd name="connsiteX8" fmla="*/ 5180258 w 12379791"/>
                <a:gd name="connsiteY8" fmla="*/ 612868 h 2269476"/>
                <a:gd name="connsiteX9" fmla="*/ 6016268 w 12379791"/>
                <a:gd name="connsiteY9" fmla="*/ 612868 h 2269476"/>
                <a:gd name="connsiteX10" fmla="*/ 7080281 w 12379791"/>
                <a:gd name="connsiteY10" fmla="*/ 638368 h 2269476"/>
                <a:gd name="connsiteX11" fmla="*/ 7829436 w 12379791"/>
                <a:gd name="connsiteY11" fmla="*/ 629862 h 2269476"/>
                <a:gd name="connsiteX12" fmla="*/ 8361431 w 12379791"/>
                <a:gd name="connsiteY12" fmla="*/ 621356 h 2269476"/>
                <a:gd name="connsiteX13" fmla="*/ 8982448 w 12379791"/>
                <a:gd name="connsiteY13" fmla="*/ 1024104 h 2269476"/>
                <a:gd name="connsiteX14" fmla="*/ 9552444 w 12379791"/>
                <a:gd name="connsiteY14" fmla="*/ 1850936 h 2269476"/>
                <a:gd name="connsiteX15" fmla="*/ 10483844 w 12379791"/>
                <a:gd name="connsiteY15" fmla="*/ 2269475 h 2269476"/>
                <a:gd name="connsiteX16" fmla="*/ 11529878 w 12379791"/>
                <a:gd name="connsiteY16" fmla="*/ 1850938 h 2269476"/>
                <a:gd name="connsiteX17" fmla="*/ 11820809 w 12379791"/>
                <a:gd name="connsiteY17" fmla="*/ 1205203 h 2269476"/>
                <a:gd name="connsiteX18" fmla="*/ 12131705 w 12379791"/>
                <a:gd name="connsiteY18" fmla="*/ 759096 h 2269476"/>
                <a:gd name="connsiteX19" fmla="*/ 12379791 w 12379791"/>
                <a:gd name="connsiteY19" fmla="*/ 458782 h 2269476"/>
                <a:gd name="connsiteX20" fmla="*/ 12379791 w 12379791"/>
                <a:gd name="connsiteY20" fmla="*/ 20400 h 2269476"/>
                <a:gd name="connsiteX21" fmla="*/ 11773475 w 12379791"/>
                <a:gd name="connsiteY21" fmla="*/ 194975 h 2269476"/>
                <a:gd name="connsiteX22" fmla="*/ 11393750 w 12379791"/>
                <a:gd name="connsiteY22" fmla="*/ 806860 h 2269476"/>
                <a:gd name="connsiteX23" fmla="*/ 10937005 w 12379791"/>
                <a:gd name="connsiteY23" fmla="*/ 1421021 h 2269476"/>
                <a:gd name="connsiteX24" fmla="*/ 10369210 w 12379791"/>
                <a:gd name="connsiteY24" fmla="*/ 1377804 h 2269476"/>
                <a:gd name="connsiteX25" fmla="*/ 9862313 w 12379791"/>
                <a:gd name="connsiteY25" fmla="*/ 818235 h 2269476"/>
                <a:gd name="connsiteX26" fmla="*/ 9387658 w 12379791"/>
                <a:gd name="connsiteY26" fmla="*/ 340554 h 2269476"/>
                <a:gd name="connsiteX27" fmla="*/ 8614705 w 12379791"/>
                <a:gd name="connsiteY27" fmla="*/ 52559 h 2269476"/>
                <a:gd name="connsiteX28" fmla="*/ 8557477 w 12379791"/>
                <a:gd name="connsiteY28" fmla="*/ 220165 h 2269476"/>
                <a:gd name="connsiteX0" fmla="*/ 8557477 w 12379791"/>
                <a:gd name="connsiteY0" fmla="*/ 220165 h 2269476"/>
                <a:gd name="connsiteX1" fmla="*/ 414843 w 12379791"/>
                <a:gd name="connsiteY1" fmla="*/ 696805 h 2269476"/>
                <a:gd name="connsiteX2" fmla="*/ 1271644 w 12379791"/>
                <a:gd name="connsiteY2" fmla="*/ 604362 h 2269476"/>
                <a:gd name="connsiteX3" fmla="*/ 1966503 w 12379791"/>
                <a:gd name="connsiteY3" fmla="*/ 638350 h 2269476"/>
                <a:gd name="connsiteX4" fmla="*/ 2422513 w 12379791"/>
                <a:gd name="connsiteY4" fmla="*/ 578862 h 2269476"/>
                <a:gd name="connsiteX5" fmla="*/ 2900235 w 12379791"/>
                <a:gd name="connsiteY5" fmla="*/ 578862 h 2269476"/>
                <a:gd name="connsiteX6" fmla="*/ 3671104 w 12379791"/>
                <a:gd name="connsiteY6" fmla="*/ 621356 h 2269476"/>
                <a:gd name="connsiteX7" fmla="*/ 4550540 w 12379791"/>
                <a:gd name="connsiteY7" fmla="*/ 604362 h 2269476"/>
                <a:gd name="connsiteX8" fmla="*/ 5180258 w 12379791"/>
                <a:gd name="connsiteY8" fmla="*/ 612868 h 2269476"/>
                <a:gd name="connsiteX9" fmla="*/ 6016268 w 12379791"/>
                <a:gd name="connsiteY9" fmla="*/ 612868 h 2269476"/>
                <a:gd name="connsiteX10" fmla="*/ 7080281 w 12379791"/>
                <a:gd name="connsiteY10" fmla="*/ 638368 h 2269476"/>
                <a:gd name="connsiteX11" fmla="*/ 7829436 w 12379791"/>
                <a:gd name="connsiteY11" fmla="*/ 629862 h 2269476"/>
                <a:gd name="connsiteX12" fmla="*/ 8361431 w 12379791"/>
                <a:gd name="connsiteY12" fmla="*/ 621356 h 2269476"/>
                <a:gd name="connsiteX13" fmla="*/ 8982448 w 12379791"/>
                <a:gd name="connsiteY13" fmla="*/ 1024104 h 2269476"/>
                <a:gd name="connsiteX14" fmla="*/ 9552444 w 12379791"/>
                <a:gd name="connsiteY14" fmla="*/ 1850936 h 2269476"/>
                <a:gd name="connsiteX15" fmla="*/ 10483844 w 12379791"/>
                <a:gd name="connsiteY15" fmla="*/ 2269475 h 2269476"/>
                <a:gd name="connsiteX16" fmla="*/ 11529878 w 12379791"/>
                <a:gd name="connsiteY16" fmla="*/ 1850938 h 2269476"/>
                <a:gd name="connsiteX17" fmla="*/ 11820809 w 12379791"/>
                <a:gd name="connsiteY17" fmla="*/ 1205203 h 2269476"/>
                <a:gd name="connsiteX18" fmla="*/ 12131705 w 12379791"/>
                <a:gd name="connsiteY18" fmla="*/ 759096 h 2269476"/>
                <a:gd name="connsiteX19" fmla="*/ 12379791 w 12379791"/>
                <a:gd name="connsiteY19" fmla="*/ 458782 h 2269476"/>
                <a:gd name="connsiteX20" fmla="*/ 12379791 w 12379791"/>
                <a:gd name="connsiteY20" fmla="*/ 20400 h 2269476"/>
                <a:gd name="connsiteX21" fmla="*/ 11773475 w 12379791"/>
                <a:gd name="connsiteY21" fmla="*/ 194975 h 2269476"/>
                <a:gd name="connsiteX22" fmla="*/ 11393750 w 12379791"/>
                <a:gd name="connsiteY22" fmla="*/ 806860 h 2269476"/>
                <a:gd name="connsiteX23" fmla="*/ 10937005 w 12379791"/>
                <a:gd name="connsiteY23" fmla="*/ 1421021 h 2269476"/>
                <a:gd name="connsiteX24" fmla="*/ 10369210 w 12379791"/>
                <a:gd name="connsiteY24" fmla="*/ 1377804 h 2269476"/>
                <a:gd name="connsiteX25" fmla="*/ 9862313 w 12379791"/>
                <a:gd name="connsiteY25" fmla="*/ 818235 h 2269476"/>
                <a:gd name="connsiteX26" fmla="*/ 9387658 w 12379791"/>
                <a:gd name="connsiteY26" fmla="*/ 340554 h 2269476"/>
                <a:gd name="connsiteX27" fmla="*/ 8614705 w 12379791"/>
                <a:gd name="connsiteY27" fmla="*/ 52559 h 2269476"/>
                <a:gd name="connsiteX28" fmla="*/ 8557477 w 12379791"/>
                <a:gd name="connsiteY28" fmla="*/ 220165 h 2269476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3671104 w 12379791"/>
                <a:gd name="connsiteY6" fmla="*/ 614077 h 2262197"/>
                <a:gd name="connsiteX7" fmla="*/ 4550540 w 12379791"/>
                <a:gd name="connsiteY7" fmla="*/ 597083 h 2262197"/>
                <a:gd name="connsiteX8" fmla="*/ 5180258 w 12379791"/>
                <a:gd name="connsiteY8" fmla="*/ 605589 h 2262197"/>
                <a:gd name="connsiteX9" fmla="*/ 6016268 w 12379791"/>
                <a:gd name="connsiteY9" fmla="*/ 605589 h 2262197"/>
                <a:gd name="connsiteX10" fmla="*/ 7080281 w 12379791"/>
                <a:gd name="connsiteY10" fmla="*/ 631089 h 2262197"/>
                <a:gd name="connsiteX11" fmla="*/ 7829436 w 12379791"/>
                <a:gd name="connsiteY11" fmla="*/ 622583 h 2262197"/>
                <a:gd name="connsiteX12" fmla="*/ 8361431 w 12379791"/>
                <a:gd name="connsiteY12" fmla="*/ 614077 h 2262197"/>
                <a:gd name="connsiteX13" fmla="*/ 8982448 w 12379791"/>
                <a:gd name="connsiteY13" fmla="*/ 1016825 h 2262197"/>
                <a:gd name="connsiteX14" fmla="*/ 9552444 w 12379791"/>
                <a:gd name="connsiteY14" fmla="*/ 1843657 h 2262197"/>
                <a:gd name="connsiteX15" fmla="*/ 10483844 w 12379791"/>
                <a:gd name="connsiteY15" fmla="*/ 2262196 h 2262197"/>
                <a:gd name="connsiteX16" fmla="*/ 11529878 w 12379791"/>
                <a:gd name="connsiteY16" fmla="*/ 1843659 h 2262197"/>
                <a:gd name="connsiteX17" fmla="*/ 11820809 w 12379791"/>
                <a:gd name="connsiteY17" fmla="*/ 1197924 h 2262197"/>
                <a:gd name="connsiteX18" fmla="*/ 12131705 w 12379791"/>
                <a:gd name="connsiteY18" fmla="*/ 751817 h 2262197"/>
                <a:gd name="connsiteX19" fmla="*/ 12379791 w 12379791"/>
                <a:gd name="connsiteY19" fmla="*/ 451503 h 2262197"/>
                <a:gd name="connsiteX20" fmla="*/ 12379791 w 12379791"/>
                <a:gd name="connsiteY20" fmla="*/ 13121 h 2262197"/>
                <a:gd name="connsiteX21" fmla="*/ 11773475 w 12379791"/>
                <a:gd name="connsiteY21" fmla="*/ 187696 h 2262197"/>
                <a:gd name="connsiteX22" fmla="*/ 11393750 w 12379791"/>
                <a:gd name="connsiteY22" fmla="*/ 799581 h 2262197"/>
                <a:gd name="connsiteX23" fmla="*/ 10937005 w 12379791"/>
                <a:gd name="connsiteY23" fmla="*/ 1413742 h 2262197"/>
                <a:gd name="connsiteX24" fmla="*/ 10369210 w 12379791"/>
                <a:gd name="connsiteY24" fmla="*/ 1370525 h 2262197"/>
                <a:gd name="connsiteX25" fmla="*/ 9862313 w 12379791"/>
                <a:gd name="connsiteY25" fmla="*/ 810956 h 2262197"/>
                <a:gd name="connsiteX26" fmla="*/ 9387658 w 12379791"/>
                <a:gd name="connsiteY26" fmla="*/ 333275 h 2262197"/>
                <a:gd name="connsiteX27" fmla="*/ 8557477 w 12379791"/>
                <a:gd name="connsiteY27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3671104 w 12379791"/>
                <a:gd name="connsiteY6" fmla="*/ 614077 h 2262197"/>
                <a:gd name="connsiteX7" fmla="*/ 4550540 w 12379791"/>
                <a:gd name="connsiteY7" fmla="*/ 597083 h 2262197"/>
                <a:gd name="connsiteX8" fmla="*/ 5180258 w 12379791"/>
                <a:gd name="connsiteY8" fmla="*/ 605589 h 2262197"/>
                <a:gd name="connsiteX9" fmla="*/ 6016268 w 12379791"/>
                <a:gd name="connsiteY9" fmla="*/ 605589 h 2262197"/>
                <a:gd name="connsiteX10" fmla="*/ 7080281 w 12379791"/>
                <a:gd name="connsiteY10" fmla="*/ 631089 h 2262197"/>
                <a:gd name="connsiteX11" fmla="*/ 7829436 w 12379791"/>
                <a:gd name="connsiteY11" fmla="*/ 622583 h 2262197"/>
                <a:gd name="connsiteX12" fmla="*/ 8361431 w 12379791"/>
                <a:gd name="connsiteY12" fmla="*/ 614077 h 2262197"/>
                <a:gd name="connsiteX13" fmla="*/ 8982448 w 12379791"/>
                <a:gd name="connsiteY13" fmla="*/ 1016825 h 2262197"/>
                <a:gd name="connsiteX14" fmla="*/ 9552444 w 12379791"/>
                <a:gd name="connsiteY14" fmla="*/ 1843657 h 2262197"/>
                <a:gd name="connsiteX15" fmla="*/ 10483844 w 12379791"/>
                <a:gd name="connsiteY15" fmla="*/ 2262196 h 2262197"/>
                <a:gd name="connsiteX16" fmla="*/ 11529878 w 12379791"/>
                <a:gd name="connsiteY16" fmla="*/ 1843659 h 2262197"/>
                <a:gd name="connsiteX17" fmla="*/ 11820809 w 12379791"/>
                <a:gd name="connsiteY17" fmla="*/ 1197924 h 2262197"/>
                <a:gd name="connsiteX18" fmla="*/ 12131705 w 12379791"/>
                <a:gd name="connsiteY18" fmla="*/ 751817 h 2262197"/>
                <a:gd name="connsiteX19" fmla="*/ 12379791 w 12379791"/>
                <a:gd name="connsiteY19" fmla="*/ 451503 h 2262197"/>
                <a:gd name="connsiteX20" fmla="*/ 12379791 w 12379791"/>
                <a:gd name="connsiteY20" fmla="*/ 13121 h 2262197"/>
                <a:gd name="connsiteX21" fmla="*/ 11773475 w 12379791"/>
                <a:gd name="connsiteY21" fmla="*/ 187696 h 2262197"/>
                <a:gd name="connsiteX22" fmla="*/ 11393750 w 12379791"/>
                <a:gd name="connsiteY22" fmla="*/ 799581 h 2262197"/>
                <a:gd name="connsiteX23" fmla="*/ 10937005 w 12379791"/>
                <a:gd name="connsiteY23" fmla="*/ 1413742 h 2262197"/>
                <a:gd name="connsiteX24" fmla="*/ 10369210 w 12379791"/>
                <a:gd name="connsiteY24" fmla="*/ 1370525 h 2262197"/>
                <a:gd name="connsiteX25" fmla="*/ 9862313 w 12379791"/>
                <a:gd name="connsiteY25" fmla="*/ 810956 h 2262197"/>
                <a:gd name="connsiteX26" fmla="*/ 9450348 w 12379791"/>
                <a:gd name="connsiteY26" fmla="*/ 299156 h 2262197"/>
                <a:gd name="connsiteX27" fmla="*/ 8557477 w 12379791"/>
                <a:gd name="connsiteY27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3671104 w 12379791"/>
                <a:gd name="connsiteY6" fmla="*/ 614077 h 2262197"/>
                <a:gd name="connsiteX7" fmla="*/ 4550540 w 12379791"/>
                <a:gd name="connsiteY7" fmla="*/ 597083 h 2262197"/>
                <a:gd name="connsiteX8" fmla="*/ 5180258 w 12379791"/>
                <a:gd name="connsiteY8" fmla="*/ 605589 h 2262197"/>
                <a:gd name="connsiteX9" fmla="*/ 6016268 w 12379791"/>
                <a:gd name="connsiteY9" fmla="*/ 605589 h 2262197"/>
                <a:gd name="connsiteX10" fmla="*/ 7080281 w 12379791"/>
                <a:gd name="connsiteY10" fmla="*/ 631089 h 2262197"/>
                <a:gd name="connsiteX11" fmla="*/ 7829436 w 12379791"/>
                <a:gd name="connsiteY11" fmla="*/ 622583 h 2262197"/>
                <a:gd name="connsiteX12" fmla="*/ 8361431 w 12379791"/>
                <a:gd name="connsiteY12" fmla="*/ 614077 h 2262197"/>
                <a:gd name="connsiteX13" fmla="*/ 8982448 w 12379791"/>
                <a:gd name="connsiteY13" fmla="*/ 1016825 h 2262197"/>
                <a:gd name="connsiteX14" fmla="*/ 9552444 w 12379791"/>
                <a:gd name="connsiteY14" fmla="*/ 1843657 h 2262197"/>
                <a:gd name="connsiteX15" fmla="*/ 10483844 w 12379791"/>
                <a:gd name="connsiteY15" fmla="*/ 2262196 h 2262197"/>
                <a:gd name="connsiteX16" fmla="*/ 11529878 w 12379791"/>
                <a:gd name="connsiteY16" fmla="*/ 1843659 h 2262197"/>
                <a:gd name="connsiteX17" fmla="*/ 11820809 w 12379791"/>
                <a:gd name="connsiteY17" fmla="*/ 1197924 h 2262197"/>
                <a:gd name="connsiteX18" fmla="*/ 12131705 w 12379791"/>
                <a:gd name="connsiteY18" fmla="*/ 751817 h 2262197"/>
                <a:gd name="connsiteX19" fmla="*/ 12379791 w 12379791"/>
                <a:gd name="connsiteY19" fmla="*/ 451503 h 2262197"/>
                <a:gd name="connsiteX20" fmla="*/ 12379791 w 12379791"/>
                <a:gd name="connsiteY20" fmla="*/ 13121 h 2262197"/>
                <a:gd name="connsiteX21" fmla="*/ 11773475 w 12379791"/>
                <a:gd name="connsiteY21" fmla="*/ 187696 h 2262197"/>
                <a:gd name="connsiteX22" fmla="*/ 11393750 w 12379791"/>
                <a:gd name="connsiteY22" fmla="*/ 799581 h 2262197"/>
                <a:gd name="connsiteX23" fmla="*/ 10937005 w 12379791"/>
                <a:gd name="connsiteY23" fmla="*/ 1413742 h 2262197"/>
                <a:gd name="connsiteX24" fmla="*/ 10369210 w 12379791"/>
                <a:gd name="connsiteY24" fmla="*/ 1370525 h 2262197"/>
                <a:gd name="connsiteX25" fmla="*/ 9862313 w 12379791"/>
                <a:gd name="connsiteY25" fmla="*/ 810956 h 2262197"/>
                <a:gd name="connsiteX26" fmla="*/ 9450348 w 12379791"/>
                <a:gd name="connsiteY26" fmla="*/ 299156 h 2262197"/>
                <a:gd name="connsiteX27" fmla="*/ 8557477 w 12379791"/>
                <a:gd name="connsiteY27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4550540 w 12379791"/>
                <a:gd name="connsiteY6" fmla="*/ 597083 h 2262197"/>
                <a:gd name="connsiteX7" fmla="*/ 5180258 w 12379791"/>
                <a:gd name="connsiteY7" fmla="*/ 605589 h 2262197"/>
                <a:gd name="connsiteX8" fmla="*/ 6016268 w 12379791"/>
                <a:gd name="connsiteY8" fmla="*/ 605589 h 2262197"/>
                <a:gd name="connsiteX9" fmla="*/ 7080281 w 12379791"/>
                <a:gd name="connsiteY9" fmla="*/ 631089 h 2262197"/>
                <a:gd name="connsiteX10" fmla="*/ 7829436 w 12379791"/>
                <a:gd name="connsiteY10" fmla="*/ 622583 h 2262197"/>
                <a:gd name="connsiteX11" fmla="*/ 8361431 w 12379791"/>
                <a:gd name="connsiteY11" fmla="*/ 614077 h 2262197"/>
                <a:gd name="connsiteX12" fmla="*/ 8982448 w 12379791"/>
                <a:gd name="connsiteY12" fmla="*/ 1016825 h 2262197"/>
                <a:gd name="connsiteX13" fmla="*/ 9552444 w 12379791"/>
                <a:gd name="connsiteY13" fmla="*/ 1843657 h 2262197"/>
                <a:gd name="connsiteX14" fmla="*/ 10483844 w 12379791"/>
                <a:gd name="connsiteY14" fmla="*/ 2262196 h 2262197"/>
                <a:gd name="connsiteX15" fmla="*/ 11529878 w 12379791"/>
                <a:gd name="connsiteY15" fmla="*/ 1843659 h 2262197"/>
                <a:gd name="connsiteX16" fmla="*/ 11820809 w 12379791"/>
                <a:gd name="connsiteY16" fmla="*/ 1197924 h 2262197"/>
                <a:gd name="connsiteX17" fmla="*/ 12131705 w 12379791"/>
                <a:gd name="connsiteY17" fmla="*/ 751817 h 2262197"/>
                <a:gd name="connsiteX18" fmla="*/ 12379791 w 12379791"/>
                <a:gd name="connsiteY18" fmla="*/ 451503 h 2262197"/>
                <a:gd name="connsiteX19" fmla="*/ 12379791 w 12379791"/>
                <a:gd name="connsiteY19" fmla="*/ 13121 h 2262197"/>
                <a:gd name="connsiteX20" fmla="*/ 11773475 w 12379791"/>
                <a:gd name="connsiteY20" fmla="*/ 187696 h 2262197"/>
                <a:gd name="connsiteX21" fmla="*/ 11393750 w 12379791"/>
                <a:gd name="connsiteY21" fmla="*/ 799581 h 2262197"/>
                <a:gd name="connsiteX22" fmla="*/ 10937005 w 12379791"/>
                <a:gd name="connsiteY22" fmla="*/ 1413742 h 2262197"/>
                <a:gd name="connsiteX23" fmla="*/ 10369210 w 12379791"/>
                <a:gd name="connsiteY23" fmla="*/ 1370525 h 2262197"/>
                <a:gd name="connsiteX24" fmla="*/ 9862313 w 12379791"/>
                <a:gd name="connsiteY24" fmla="*/ 810956 h 2262197"/>
                <a:gd name="connsiteX25" fmla="*/ 9450348 w 12379791"/>
                <a:gd name="connsiteY25" fmla="*/ 299156 h 2262197"/>
                <a:gd name="connsiteX26" fmla="*/ 8557477 w 12379791"/>
                <a:gd name="connsiteY26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5180258 w 12379791"/>
                <a:gd name="connsiteY6" fmla="*/ 605589 h 2262197"/>
                <a:gd name="connsiteX7" fmla="*/ 6016268 w 12379791"/>
                <a:gd name="connsiteY7" fmla="*/ 605589 h 2262197"/>
                <a:gd name="connsiteX8" fmla="*/ 7080281 w 12379791"/>
                <a:gd name="connsiteY8" fmla="*/ 631089 h 2262197"/>
                <a:gd name="connsiteX9" fmla="*/ 7829436 w 12379791"/>
                <a:gd name="connsiteY9" fmla="*/ 622583 h 2262197"/>
                <a:gd name="connsiteX10" fmla="*/ 8361431 w 12379791"/>
                <a:gd name="connsiteY10" fmla="*/ 614077 h 2262197"/>
                <a:gd name="connsiteX11" fmla="*/ 8982448 w 12379791"/>
                <a:gd name="connsiteY11" fmla="*/ 1016825 h 2262197"/>
                <a:gd name="connsiteX12" fmla="*/ 9552444 w 12379791"/>
                <a:gd name="connsiteY12" fmla="*/ 1843657 h 2262197"/>
                <a:gd name="connsiteX13" fmla="*/ 10483844 w 12379791"/>
                <a:gd name="connsiteY13" fmla="*/ 2262196 h 2262197"/>
                <a:gd name="connsiteX14" fmla="*/ 11529878 w 12379791"/>
                <a:gd name="connsiteY14" fmla="*/ 1843659 h 2262197"/>
                <a:gd name="connsiteX15" fmla="*/ 11820809 w 12379791"/>
                <a:gd name="connsiteY15" fmla="*/ 1197924 h 2262197"/>
                <a:gd name="connsiteX16" fmla="*/ 12131705 w 12379791"/>
                <a:gd name="connsiteY16" fmla="*/ 751817 h 2262197"/>
                <a:gd name="connsiteX17" fmla="*/ 12379791 w 12379791"/>
                <a:gd name="connsiteY17" fmla="*/ 451503 h 2262197"/>
                <a:gd name="connsiteX18" fmla="*/ 12379791 w 12379791"/>
                <a:gd name="connsiteY18" fmla="*/ 13121 h 2262197"/>
                <a:gd name="connsiteX19" fmla="*/ 11773475 w 12379791"/>
                <a:gd name="connsiteY19" fmla="*/ 187696 h 2262197"/>
                <a:gd name="connsiteX20" fmla="*/ 11393750 w 12379791"/>
                <a:gd name="connsiteY20" fmla="*/ 799581 h 2262197"/>
                <a:gd name="connsiteX21" fmla="*/ 10937005 w 12379791"/>
                <a:gd name="connsiteY21" fmla="*/ 1413742 h 2262197"/>
                <a:gd name="connsiteX22" fmla="*/ 10369210 w 12379791"/>
                <a:gd name="connsiteY22" fmla="*/ 1370525 h 2262197"/>
                <a:gd name="connsiteX23" fmla="*/ 9862313 w 12379791"/>
                <a:gd name="connsiteY23" fmla="*/ 810956 h 2262197"/>
                <a:gd name="connsiteX24" fmla="*/ 9450348 w 12379791"/>
                <a:gd name="connsiteY24" fmla="*/ 299156 h 2262197"/>
                <a:gd name="connsiteX25" fmla="*/ 8557477 w 12379791"/>
                <a:gd name="connsiteY25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6016268 w 12379791"/>
                <a:gd name="connsiteY6" fmla="*/ 605589 h 2262197"/>
                <a:gd name="connsiteX7" fmla="*/ 7080281 w 12379791"/>
                <a:gd name="connsiteY7" fmla="*/ 631089 h 2262197"/>
                <a:gd name="connsiteX8" fmla="*/ 7829436 w 12379791"/>
                <a:gd name="connsiteY8" fmla="*/ 622583 h 2262197"/>
                <a:gd name="connsiteX9" fmla="*/ 8361431 w 12379791"/>
                <a:gd name="connsiteY9" fmla="*/ 614077 h 2262197"/>
                <a:gd name="connsiteX10" fmla="*/ 8982448 w 12379791"/>
                <a:gd name="connsiteY10" fmla="*/ 1016825 h 2262197"/>
                <a:gd name="connsiteX11" fmla="*/ 9552444 w 12379791"/>
                <a:gd name="connsiteY11" fmla="*/ 1843657 h 2262197"/>
                <a:gd name="connsiteX12" fmla="*/ 10483844 w 12379791"/>
                <a:gd name="connsiteY12" fmla="*/ 2262196 h 2262197"/>
                <a:gd name="connsiteX13" fmla="*/ 11529878 w 12379791"/>
                <a:gd name="connsiteY13" fmla="*/ 1843659 h 2262197"/>
                <a:gd name="connsiteX14" fmla="*/ 11820809 w 12379791"/>
                <a:gd name="connsiteY14" fmla="*/ 1197924 h 2262197"/>
                <a:gd name="connsiteX15" fmla="*/ 12131705 w 12379791"/>
                <a:gd name="connsiteY15" fmla="*/ 751817 h 2262197"/>
                <a:gd name="connsiteX16" fmla="*/ 12379791 w 12379791"/>
                <a:gd name="connsiteY16" fmla="*/ 451503 h 2262197"/>
                <a:gd name="connsiteX17" fmla="*/ 12379791 w 12379791"/>
                <a:gd name="connsiteY17" fmla="*/ 13121 h 2262197"/>
                <a:gd name="connsiteX18" fmla="*/ 11773475 w 12379791"/>
                <a:gd name="connsiteY18" fmla="*/ 187696 h 2262197"/>
                <a:gd name="connsiteX19" fmla="*/ 11393750 w 12379791"/>
                <a:gd name="connsiteY19" fmla="*/ 799581 h 2262197"/>
                <a:gd name="connsiteX20" fmla="*/ 10937005 w 12379791"/>
                <a:gd name="connsiteY20" fmla="*/ 1413742 h 2262197"/>
                <a:gd name="connsiteX21" fmla="*/ 10369210 w 12379791"/>
                <a:gd name="connsiteY21" fmla="*/ 1370525 h 2262197"/>
                <a:gd name="connsiteX22" fmla="*/ 9862313 w 12379791"/>
                <a:gd name="connsiteY22" fmla="*/ 810956 h 2262197"/>
                <a:gd name="connsiteX23" fmla="*/ 9450348 w 12379791"/>
                <a:gd name="connsiteY23" fmla="*/ 299156 h 2262197"/>
                <a:gd name="connsiteX24" fmla="*/ 8557477 w 12379791"/>
                <a:gd name="connsiteY24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7080281 w 12379791"/>
                <a:gd name="connsiteY6" fmla="*/ 631089 h 2262197"/>
                <a:gd name="connsiteX7" fmla="*/ 7829436 w 12379791"/>
                <a:gd name="connsiteY7" fmla="*/ 622583 h 2262197"/>
                <a:gd name="connsiteX8" fmla="*/ 8361431 w 12379791"/>
                <a:gd name="connsiteY8" fmla="*/ 614077 h 2262197"/>
                <a:gd name="connsiteX9" fmla="*/ 8982448 w 12379791"/>
                <a:gd name="connsiteY9" fmla="*/ 1016825 h 2262197"/>
                <a:gd name="connsiteX10" fmla="*/ 9552444 w 12379791"/>
                <a:gd name="connsiteY10" fmla="*/ 1843657 h 2262197"/>
                <a:gd name="connsiteX11" fmla="*/ 10483844 w 12379791"/>
                <a:gd name="connsiteY11" fmla="*/ 2262196 h 2262197"/>
                <a:gd name="connsiteX12" fmla="*/ 11529878 w 12379791"/>
                <a:gd name="connsiteY12" fmla="*/ 1843659 h 2262197"/>
                <a:gd name="connsiteX13" fmla="*/ 11820809 w 12379791"/>
                <a:gd name="connsiteY13" fmla="*/ 1197924 h 2262197"/>
                <a:gd name="connsiteX14" fmla="*/ 12131705 w 12379791"/>
                <a:gd name="connsiteY14" fmla="*/ 751817 h 2262197"/>
                <a:gd name="connsiteX15" fmla="*/ 12379791 w 12379791"/>
                <a:gd name="connsiteY15" fmla="*/ 451503 h 2262197"/>
                <a:gd name="connsiteX16" fmla="*/ 12379791 w 12379791"/>
                <a:gd name="connsiteY16" fmla="*/ 13121 h 2262197"/>
                <a:gd name="connsiteX17" fmla="*/ 11773475 w 12379791"/>
                <a:gd name="connsiteY17" fmla="*/ 187696 h 2262197"/>
                <a:gd name="connsiteX18" fmla="*/ 11393750 w 12379791"/>
                <a:gd name="connsiteY18" fmla="*/ 799581 h 2262197"/>
                <a:gd name="connsiteX19" fmla="*/ 10937005 w 12379791"/>
                <a:gd name="connsiteY19" fmla="*/ 1413742 h 2262197"/>
                <a:gd name="connsiteX20" fmla="*/ 10369210 w 12379791"/>
                <a:gd name="connsiteY20" fmla="*/ 1370525 h 2262197"/>
                <a:gd name="connsiteX21" fmla="*/ 9862313 w 12379791"/>
                <a:gd name="connsiteY21" fmla="*/ 810956 h 2262197"/>
                <a:gd name="connsiteX22" fmla="*/ 9450348 w 12379791"/>
                <a:gd name="connsiteY22" fmla="*/ 299156 h 2262197"/>
                <a:gd name="connsiteX23" fmla="*/ 8557477 w 12379791"/>
                <a:gd name="connsiteY23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7829436 w 12379791"/>
                <a:gd name="connsiteY6" fmla="*/ 622583 h 2262197"/>
                <a:gd name="connsiteX7" fmla="*/ 8361431 w 12379791"/>
                <a:gd name="connsiteY7" fmla="*/ 614077 h 2262197"/>
                <a:gd name="connsiteX8" fmla="*/ 8982448 w 12379791"/>
                <a:gd name="connsiteY8" fmla="*/ 1016825 h 2262197"/>
                <a:gd name="connsiteX9" fmla="*/ 9552444 w 12379791"/>
                <a:gd name="connsiteY9" fmla="*/ 1843657 h 2262197"/>
                <a:gd name="connsiteX10" fmla="*/ 10483844 w 12379791"/>
                <a:gd name="connsiteY10" fmla="*/ 2262196 h 2262197"/>
                <a:gd name="connsiteX11" fmla="*/ 11529878 w 12379791"/>
                <a:gd name="connsiteY11" fmla="*/ 1843659 h 2262197"/>
                <a:gd name="connsiteX12" fmla="*/ 11820809 w 12379791"/>
                <a:gd name="connsiteY12" fmla="*/ 1197924 h 2262197"/>
                <a:gd name="connsiteX13" fmla="*/ 12131705 w 12379791"/>
                <a:gd name="connsiteY13" fmla="*/ 751817 h 2262197"/>
                <a:gd name="connsiteX14" fmla="*/ 12379791 w 12379791"/>
                <a:gd name="connsiteY14" fmla="*/ 451503 h 2262197"/>
                <a:gd name="connsiteX15" fmla="*/ 12379791 w 12379791"/>
                <a:gd name="connsiteY15" fmla="*/ 13121 h 2262197"/>
                <a:gd name="connsiteX16" fmla="*/ 11773475 w 12379791"/>
                <a:gd name="connsiteY16" fmla="*/ 187696 h 2262197"/>
                <a:gd name="connsiteX17" fmla="*/ 11393750 w 12379791"/>
                <a:gd name="connsiteY17" fmla="*/ 799581 h 2262197"/>
                <a:gd name="connsiteX18" fmla="*/ 10937005 w 12379791"/>
                <a:gd name="connsiteY18" fmla="*/ 1413742 h 2262197"/>
                <a:gd name="connsiteX19" fmla="*/ 10369210 w 12379791"/>
                <a:gd name="connsiteY19" fmla="*/ 1370525 h 2262197"/>
                <a:gd name="connsiteX20" fmla="*/ 9862313 w 12379791"/>
                <a:gd name="connsiteY20" fmla="*/ 810956 h 2262197"/>
                <a:gd name="connsiteX21" fmla="*/ 9450348 w 12379791"/>
                <a:gd name="connsiteY21" fmla="*/ 299156 h 2262197"/>
                <a:gd name="connsiteX22" fmla="*/ 8557477 w 12379791"/>
                <a:gd name="connsiteY22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8361431 w 12379791"/>
                <a:gd name="connsiteY6" fmla="*/ 614077 h 2262197"/>
                <a:gd name="connsiteX7" fmla="*/ 8982448 w 12379791"/>
                <a:gd name="connsiteY7" fmla="*/ 1016825 h 2262197"/>
                <a:gd name="connsiteX8" fmla="*/ 9552444 w 12379791"/>
                <a:gd name="connsiteY8" fmla="*/ 1843657 h 2262197"/>
                <a:gd name="connsiteX9" fmla="*/ 10483844 w 12379791"/>
                <a:gd name="connsiteY9" fmla="*/ 2262196 h 2262197"/>
                <a:gd name="connsiteX10" fmla="*/ 11529878 w 12379791"/>
                <a:gd name="connsiteY10" fmla="*/ 1843659 h 2262197"/>
                <a:gd name="connsiteX11" fmla="*/ 11820809 w 12379791"/>
                <a:gd name="connsiteY11" fmla="*/ 1197924 h 2262197"/>
                <a:gd name="connsiteX12" fmla="*/ 12131705 w 12379791"/>
                <a:gd name="connsiteY12" fmla="*/ 751817 h 2262197"/>
                <a:gd name="connsiteX13" fmla="*/ 12379791 w 12379791"/>
                <a:gd name="connsiteY13" fmla="*/ 451503 h 2262197"/>
                <a:gd name="connsiteX14" fmla="*/ 12379791 w 12379791"/>
                <a:gd name="connsiteY14" fmla="*/ 13121 h 2262197"/>
                <a:gd name="connsiteX15" fmla="*/ 11773475 w 12379791"/>
                <a:gd name="connsiteY15" fmla="*/ 187696 h 2262197"/>
                <a:gd name="connsiteX16" fmla="*/ 11393750 w 12379791"/>
                <a:gd name="connsiteY16" fmla="*/ 799581 h 2262197"/>
                <a:gd name="connsiteX17" fmla="*/ 10937005 w 12379791"/>
                <a:gd name="connsiteY17" fmla="*/ 1413742 h 2262197"/>
                <a:gd name="connsiteX18" fmla="*/ 10369210 w 12379791"/>
                <a:gd name="connsiteY18" fmla="*/ 1370525 h 2262197"/>
                <a:gd name="connsiteX19" fmla="*/ 9862313 w 12379791"/>
                <a:gd name="connsiteY19" fmla="*/ 810956 h 2262197"/>
                <a:gd name="connsiteX20" fmla="*/ 9450348 w 12379791"/>
                <a:gd name="connsiteY20" fmla="*/ 299156 h 2262197"/>
                <a:gd name="connsiteX21" fmla="*/ 8557477 w 12379791"/>
                <a:gd name="connsiteY21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8370387 w 12379791"/>
                <a:gd name="connsiteY6" fmla="*/ 545838 h 2262197"/>
                <a:gd name="connsiteX7" fmla="*/ 8982448 w 12379791"/>
                <a:gd name="connsiteY7" fmla="*/ 1016825 h 2262197"/>
                <a:gd name="connsiteX8" fmla="*/ 9552444 w 12379791"/>
                <a:gd name="connsiteY8" fmla="*/ 1843657 h 2262197"/>
                <a:gd name="connsiteX9" fmla="*/ 10483844 w 12379791"/>
                <a:gd name="connsiteY9" fmla="*/ 2262196 h 2262197"/>
                <a:gd name="connsiteX10" fmla="*/ 11529878 w 12379791"/>
                <a:gd name="connsiteY10" fmla="*/ 1843659 h 2262197"/>
                <a:gd name="connsiteX11" fmla="*/ 11820809 w 12379791"/>
                <a:gd name="connsiteY11" fmla="*/ 1197924 h 2262197"/>
                <a:gd name="connsiteX12" fmla="*/ 12131705 w 12379791"/>
                <a:gd name="connsiteY12" fmla="*/ 751817 h 2262197"/>
                <a:gd name="connsiteX13" fmla="*/ 12379791 w 12379791"/>
                <a:gd name="connsiteY13" fmla="*/ 451503 h 2262197"/>
                <a:gd name="connsiteX14" fmla="*/ 12379791 w 12379791"/>
                <a:gd name="connsiteY14" fmla="*/ 13121 h 2262197"/>
                <a:gd name="connsiteX15" fmla="*/ 11773475 w 12379791"/>
                <a:gd name="connsiteY15" fmla="*/ 187696 h 2262197"/>
                <a:gd name="connsiteX16" fmla="*/ 11393750 w 12379791"/>
                <a:gd name="connsiteY16" fmla="*/ 799581 h 2262197"/>
                <a:gd name="connsiteX17" fmla="*/ 10937005 w 12379791"/>
                <a:gd name="connsiteY17" fmla="*/ 1413742 h 2262197"/>
                <a:gd name="connsiteX18" fmla="*/ 10369210 w 12379791"/>
                <a:gd name="connsiteY18" fmla="*/ 1370525 h 2262197"/>
                <a:gd name="connsiteX19" fmla="*/ 9862313 w 12379791"/>
                <a:gd name="connsiteY19" fmla="*/ 810956 h 2262197"/>
                <a:gd name="connsiteX20" fmla="*/ 9450348 w 12379791"/>
                <a:gd name="connsiteY20" fmla="*/ 299156 h 2262197"/>
                <a:gd name="connsiteX21" fmla="*/ 8557477 w 12379791"/>
                <a:gd name="connsiteY21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8982448 w 12379791"/>
                <a:gd name="connsiteY6" fmla="*/ 1016825 h 2262197"/>
                <a:gd name="connsiteX7" fmla="*/ 9552444 w 12379791"/>
                <a:gd name="connsiteY7" fmla="*/ 1843657 h 2262197"/>
                <a:gd name="connsiteX8" fmla="*/ 10483844 w 12379791"/>
                <a:gd name="connsiteY8" fmla="*/ 2262196 h 2262197"/>
                <a:gd name="connsiteX9" fmla="*/ 11529878 w 12379791"/>
                <a:gd name="connsiteY9" fmla="*/ 1843659 h 2262197"/>
                <a:gd name="connsiteX10" fmla="*/ 11820809 w 12379791"/>
                <a:gd name="connsiteY10" fmla="*/ 1197924 h 2262197"/>
                <a:gd name="connsiteX11" fmla="*/ 12131705 w 12379791"/>
                <a:gd name="connsiteY11" fmla="*/ 751817 h 2262197"/>
                <a:gd name="connsiteX12" fmla="*/ 12379791 w 12379791"/>
                <a:gd name="connsiteY12" fmla="*/ 451503 h 2262197"/>
                <a:gd name="connsiteX13" fmla="*/ 12379791 w 12379791"/>
                <a:gd name="connsiteY13" fmla="*/ 13121 h 2262197"/>
                <a:gd name="connsiteX14" fmla="*/ 11773475 w 12379791"/>
                <a:gd name="connsiteY14" fmla="*/ 187696 h 2262197"/>
                <a:gd name="connsiteX15" fmla="*/ 11393750 w 12379791"/>
                <a:gd name="connsiteY15" fmla="*/ 799581 h 2262197"/>
                <a:gd name="connsiteX16" fmla="*/ 10937005 w 12379791"/>
                <a:gd name="connsiteY16" fmla="*/ 1413742 h 2262197"/>
                <a:gd name="connsiteX17" fmla="*/ 10369210 w 12379791"/>
                <a:gd name="connsiteY17" fmla="*/ 1370525 h 2262197"/>
                <a:gd name="connsiteX18" fmla="*/ 9862313 w 12379791"/>
                <a:gd name="connsiteY18" fmla="*/ 810956 h 2262197"/>
                <a:gd name="connsiteX19" fmla="*/ 9450348 w 12379791"/>
                <a:gd name="connsiteY19" fmla="*/ 299156 h 2262197"/>
                <a:gd name="connsiteX20" fmla="*/ 8557477 w 12379791"/>
                <a:gd name="connsiteY20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8622972 w 12379791"/>
                <a:gd name="connsiteY5" fmla="*/ 537465 h 2262197"/>
                <a:gd name="connsiteX6" fmla="*/ 8982448 w 12379791"/>
                <a:gd name="connsiteY6" fmla="*/ 1016825 h 2262197"/>
                <a:gd name="connsiteX7" fmla="*/ 9552444 w 12379791"/>
                <a:gd name="connsiteY7" fmla="*/ 1843657 h 2262197"/>
                <a:gd name="connsiteX8" fmla="*/ 10483844 w 12379791"/>
                <a:gd name="connsiteY8" fmla="*/ 2262196 h 2262197"/>
                <a:gd name="connsiteX9" fmla="*/ 11529878 w 12379791"/>
                <a:gd name="connsiteY9" fmla="*/ 1843659 h 2262197"/>
                <a:gd name="connsiteX10" fmla="*/ 11820809 w 12379791"/>
                <a:gd name="connsiteY10" fmla="*/ 1197924 h 2262197"/>
                <a:gd name="connsiteX11" fmla="*/ 12131705 w 12379791"/>
                <a:gd name="connsiteY11" fmla="*/ 751817 h 2262197"/>
                <a:gd name="connsiteX12" fmla="*/ 12379791 w 12379791"/>
                <a:gd name="connsiteY12" fmla="*/ 451503 h 2262197"/>
                <a:gd name="connsiteX13" fmla="*/ 12379791 w 12379791"/>
                <a:gd name="connsiteY13" fmla="*/ 13121 h 2262197"/>
                <a:gd name="connsiteX14" fmla="*/ 11773475 w 12379791"/>
                <a:gd name="connsiteY14" fmla="*/ 187696 h 2262197"/>
                <a:gd name="connsiteX15" fmla="*/ 11393750 w 12379791"/>
                <a:gd name="connsiteY15" fmla="*/ 799581 h 2262197"/>
                <a:gd name="connsiteX16" fmla="*/ 10937005 w 12379791"/>
                <a:gd name="connsiteY16" fmla="*/ 1413742 h 2262197"/>
                <a:gd name="connsiteX17" fmla="*/ 10369210 w 12379791"/>
                <a:gd name="connsiteY17" fmla="*/ 1370525 h 2262197"/>
                <a:gd name="connsiteX18" fmla="*/ 9862313 w 12379791"/>
                <a:gd name="connsiteY18" fmla="*/ 810956 h 2262197"/>
                <a:gd name="connsiteX19" fmla="*/ 9450348 w 12379791"/>
                <a:gd name="connsiteY19" fmla="*/ 299156 h 2262197"/>
                <a:gd name="connsiteX20" fmla="*/ 8557477 w 12379791"/>
                <a:gd name="connsiteY20" fmla="*/ 212886 h 2262197"/>
                <a:gd name="connsiteX0" fmla="*/ 8568147 w 12390461"/>
                <a:gd name="connsiteY0" fmla="*/ 212886 h 2262197"/>
                <a:gd name="connsiteX1" fmla="*/ 425513 w 12390461"/>
                <a:gd name="connsiteY1" fmla="*/ 689526 h 2262197"/>
                <a:gd name="connsiteX2" fmla="*/ 1282314 w 12390461"/>
                <a:gd name="connsiteY2" fmla="*/ 597083 h 2262197"/>
                <a:gd name="connsiteX3" fmla="*/ 2433183 w 12390461"/>
                <a:gd name="connsiteY3" fmla="*/ 571583 h 2262197"/>
                <a:gd name="connsiteX4" fmla="*/ 8633642 w 12390461"/>
                <a:gd name="connsiteY4" fmla="*/ 537465 h 2262197"/>
                <a:gd name="connsiteX5" fmla="*/ 8993118 w 12390461"/>
                <a:gd name="connsiteY5" fmla="*/ 1016825 h 2262197"/>
                <a:gd name="connsiteX6" fmla="*/ 9563114 w 12390461"/>
                <a:gd name="connsiteY6" fmla="*/ 1843657 h 2262197"/>
                <a:gd name="connsiteX7" fmla="*/ 10494514 w 12390461"/>
                <a:gd name="connsiteY7" fmla="*/ 2262196 h 2262197"/>
                <a:gd name="connsiteX8" fmla="*/ 11540548 w 12390461"/>
                <a:gd name="connsiteY8" fmla="*/ 1843659 h 2262197"/>
                <a:gd name="connsiteX9" fmla="*/ 11831479 w 12390461"/>
                <a:gd name="connsiteY9" fmla="*/ 1197924 h 2262197"/>
                <a:gd name="connsiteX10" fmla="*/ 12142375 w 12390461"/>
                <a:gd name="connsiteY10" fmla="*/ 751817 h 2262197"/>
                <a:gd name="connsiteX11" fmla="*/ 12390461 w 12390461"/>
                <a:gd name="connsiteY11" fmla="*/ 451503 h 2262197"/>
                <a:gd name="connsiteX12" fmla="*/ 12390461 w 12390461"/>
                <a:gd name="connsiteY12" fmla="*/ 13121 h 2262197"/>
                <a:gd name="connsiteX13" fmla="*/ 11784145 w 12390461"/>
                <a:gd name="connsiteY13" fmla="*/ 187696 h 2262197"/>
                <a:gd name="connsiteX14" fmla="*/ 11404420 w 12390461"/>
                <a:gd name="connsiteY14" fmla="*/ 799581 h 2262197"/>
                <a:gd name="connsiteX15" fmla="*/ 10947675 w 12390461"/>
                <a:gd name="connsiteY15" fmla="*/ 1413742 h 2262197"/>
                <a:gd name="connsiteX16" fmla="*/ 10379880 w 12390461"/>
                <a:gd name="connsiteY16" fmla="*/ 1370525 h 2262197"/>
                <a:gd name="connsiteX17" fmla="*/ 9872983 w 12390461"/>
                <a:gd name="connsiteY17" fmla="*/ 810956 h 2262197"/>
                <a:gd name="connsiteX18" fmla="*/ 9461018 w 12390461"/>
                <a:gd name="connsiteY18" fmla="*/ 299156 h 2262197"/>
                <a:gd name="connsiteX19" fmla="*/ 8568147 w 12390461"/>
                <a:gd name="connsiteY19" fmla="*/ 212886 h 2262197"/>
                <a:gd name="connsiteX0" fmla="*/ 8767043 w 12589357"/>
                <a:gd name="connsiteY0" fmla="*/ 212886 h 2262197"/>
                <a:gd name="connsiteX1" fmla="*/ 624409 w 12589357"/>
                <a:gd name="connsiteY1" fmla="*/ 689526 h 2262197"/>
                <a:gd name="connsiteX2" fmla="*/ 1481210 w 12589357"/>
                <a:gd name="connsiteY2" fmla="*/ 597083 h 2262197"/>
                <a:gd name="connsiteX3" fmla="*/ 8832538 w 12589357"/>
                <a:gd name="connsiteY3" fmla="*/ 537465 h 2262197"/>
                <a:gd name="connsiteX4" fmla="*/ 9192014 w 12589357"/>
                <a:gd name="connsiteY4" fmla="*/ 1016825 h 2262197"/>
                <a:gd name="connsiteX5" fmla="*/ 9762010 w 12589357"/>
                <a:gd name="connsiteY5" fmla="*/ 1843657 h 2262197"/>
                <a:gd name="connsiteX6" fmla="*/ 10693410 w 12589357"/>
                <a:gd name="connsiteY6" fmla="*/ 2262196 h 2262197"/>
                <a:gd name="connsiteX7" fmla="*/ 11739444 w 12589357"/>
                <a:gd name="connsiteY7" fmla="*/ 1843659 h 2262197"/>
                <a:gd name="connsiteX8" fmla="*/ 12030375 w 12589357"/>
                <a:gd name="connsiteY8" fmla="*/ 1197924 h 2262197"/>
                <a:gd name="connsiteX9" fmla="*/ 12341271 w 12589357"/>
                <a:gd name="connsiteY9" fmla="*/ 751817 h 2262197"/>
                <a:gd name="connsiteX10" fmla="*/ 12589357 w 12589357"/>
                <a:gd name="connsiteY10" fmla="*/ 451503 h 2262197"/>
                <a:gd name="connsiteX11" fmla="*/ 12589357 w 12589357"/>
                <a:gd name="connsiteY11" fmla="*/ 13121 h 2262197"/>
                <a:gd name="connsiteX12" fmla="*/ 11983041 w 12589357"/>
                <a:gd name="connsiteY12" fmla="*/ 187696 h 2262197"/>
                <a:gd name="connsiteX13" fmla="*/ 11603316 w 12589357"/>
                <a:gd name="connsiteY13" fmla="*/ 799581 h 2262197"/>
                <a:gd name="connsiteX14" fmla="*/ 11146571 w 12589357"/>
                <a:gd name="connsiteY14" fmla="*/ 1413742 h 2262197"/>
                <a:gd name="connsiteX15" fmla="*/ 10578776 w 12589357"/>
                <a:gd name="connsiteY15" fmla="*/ 1370525 h 2262197"/>
                <a:gd name="connsiteX16" fmla="*/ 10071879 w 12589357"/>
                <a:gd name="connsiteY16" fmla="*/ 810956 h 2262197"/>
                <a:gd name="connsiteX17" fmla="*/ 9659914 w 12589357"/>
                <a:gd name="connsiteY17" fmla="*/ 299156 h 2262197"/>
                <a:gd name="connsiteX18" fmla="*/ 8767043 w 12589357"/>
                <a:gd name="connsiteY18" fmla="*/ 212886 h 2262197"/>
                <a:gd name="connsiteX0" fmla="*/ 8142648 w 11964962"/>
                <a:gd name="connsiteY0" fmla="*/ 212886 h 2262197"/>
                <a:gd name="connsiteX1" fmla="*/ 14 w 11964962"/>
                <a:gd name="connsiteY1" fmla="*/ 689526 h 2262197"/>
                <a:gd name="connsiteX2" fmla="*/ 8208143 w 11964962"/>
                <a:gd name="connsiteY2" fmla="*/ 537465 h 2262197"/>
                <a:gd name="connsiteX3" fmla="*/ 8567619 w 11964962"/>
                <a:gd name="connsiteY3" fmla="*/ 1016825 h 2262197"/>
                <a:gd name="connsiteX4" fmla="*/ 9137615 w 11964962"/>
                <a:gd name="connsiteY4" fmla="*/ 1843657 h 2262197"/>
                <a:gd name="connsiteX5" fmla="*/ 10069015 w 11964962"/>
                <a:gd name="connsiteY5" fmla="*/ 2262196 h 2262197"/>
                <a:gd name="connsiteX6" fmla="*/ 11115049 w 11964962"/>
                <a:gd name="connsiteY6" fmla="*/ 1843659 h 2262197"/>
                <a:gd name="connsiteX7" fmla="*/ 11405980 w 11964962"/>
                <a:gd name="connsiteY7" fmla="*/ 1197924 h 2262197"/>
                <a:gd name="connsiteX8" fmla="*/ 11716876 w 11964962"/>
                <a:gd name="connsiteY8" fmla="*/ 751817 h 2262197"/>
                <a:gd name="connsiteX9" fmla="*/ 11964962 w 11964962"/>
                <a:gd name="connsiteY9" fmla="*/ 451503 h 2262197"/>
                <a:gd name="connsiteX10" fmla="*/ 11964962 w 11964962"/>
                <a:gd name="connsiteY10" fmla="*/ 13121 h 2262197"/>
                <a:gd name="connsiteX11" fmla="*/ 11358646 w 11964962"/>
                <a:gd name="connsiteY11" fmla="*/ 187696 h 2262197"/>
                <a:gd name="connsiteX12" fmla="*/ 10978921 w 11964962"/>
                <a:gd name="connsiteY12" fmla="*/ 799581 h 2262197"/>
                <a:gd name="connsiteX13" fmla="*/ 10522176 w 11964962"/>
                <a:gd name="connsiteY13" fmla="*/ 1413742 h 2262197"/>
                <a:gd name="connsiteX14" fmla="*/ 9954381 w 11964962"/>
                <a:gd name="connsiteY14" fmla="*/ 1370525 h 2262197"/>
                <a:gd name="connsiteX15" fmla="*/ 9447484 w 11964962"/>
                <a:gd name="connsiteY15" fmla="*/ 810956 h 2262197"/>
                <a:gd name="connsiteX16" fmla="*/ 9035519 w 11964962"/>
                <a:gd name="connsiteY16" fmla="*/ 299156 h 2262197"/>
                <a:gd name="connsiteX17" fmla="*/ 8142648 w 11964962"/>
                <a:gd name="connsiteY17" fmla="*/ 212886 h 2262197"/>
                <a:gd name="connsiteX0" fmla="*/ 60187 w 3882501"/>
                <a:gd name="connsiteY0" fmla="*/ 212886 h 2262197"/>
                <a:gd name="connsiteX1" fmla="*/ 125682 w 3882501"/>
                <a:gd name="connsiteY1" fmla="*/ 537465 h 2262197"/>
                <a:gd name="connsiteX2" fmla="*/ 485158 w 3882501"/>
                <a:gd name="connsiteY2" fmla="*/ 1016825 h 2262197"/>
                <a:gd name="connsiteX3" fmla="*/ 1055154 w 3882501"/>
                <a:gd name="connsiteY3" fmla="*/ 1843657 h 2262197"/>
                <a:gd name="connsiteX4" fmla="*/ 1986554 w 3882501"/>
                <a:gd name="connsiteY4" fmla="*/ 2262196 h 2262197"/>
                <a:gd name="connsiteX5" fmla="*/ 3032588 w 3882501"/>
                <a:gd name="connsiteY5" fmla="*/ 1843659 h 2262197"/>
                <a:gd name="connsiteX6" fmla="*/ 3323519 w 3882501"/>
                <a:gd name="connsiteY6" fmla="*/ 1197924 h 2262197"/>
                <a:gd name="connsiteX7" fmla="*/ 3634415 w 3882501"/>
                <a:gd name="connsiteY7" fmla="*/ 751817 h 2262197"/>
                <a:gd name="connsiteX8" fmla="*/ 3882501 w 3882501"/>
                <a:gd name="connsiteY8" fmla="*/ 451503 h 2262197"/>
                <a:gd name="connsiteX9" fmla="*/ 3882501 w 3882501"/>
                <a:gd name="connsiteY9" fmla="*/ 13121 h 2262197"/>
                <a:gd name="connsiteX10" fmla="*/ 3276185 w 3882501"/>
                <a:gd name="connsiteY10" fmla="*/ 187696 h 2262197"/>
                <a:gd name="connsiteX11" fmla="*/ 2896460 w 3882501"/>
                <a:gd name="connsiteY11" fmla="*/ 799581 h 2262197"/>
                <a:gd name="connsiteX12" fmla="*/ 2439715 w 3882501"/>
                <a:gd name="connsiteY12" fmla="*/ 1413742 h 2262197"/>
                <a:gd name="connsiteX13" fmla="*/ 1871920 w 3882501"/>
                <a:gd name="connsiteY13" fmla="*/ 1370525 h 2262197"/>
                <a:gd name="connsiteX14" fmla="*/ 1365023 w 3882501"/>
                <a:gd name="connsiteY14" fmla="*/ 810956 h 2262197"/>
                <a:gd name="connsiteX15" fmla="*/ 953058 w 3882501"/>
                <a:gd name="connsiteY15" fmla="*/ 299156 h 2262197"/>
                <a:gd name="connsiteX16" fmla="*/ 60187 w 3882501"/>
                <a:gd name="connsiteY16" fmla="*/ 212886 h 2262197"/>
                <a:gd name="connsiteX0" fmla="*/ 60187 w 3882501"/>
                <a:gd name="connsiteY0" fmla="*/ 212886 h 2262197"/>
                <a:gd name="connsiteX1" fmla="*/ 125682 w 3882501"/>
                <a:gd name="connsiteY1" fmla="*/ 537465 h 2262197"/>
                <a:gd name="connsiteX2" fmla="*/ 485158 w 3882501"/>
                <a:gd name="connsiteY2" fmla="*/ 1016825 h 2262197"/>
                <a:gd name="connsiteX3" fmla="*/ 1055154 w 3882501"/>
                <a:gd name="connsiteY3" fmla="*/ 1843657 h 2262197"/>
                <a:gd name="connsiteX4" fmla="*/ 1986554 w 3882501"/>
                <a:gd name="connsiteY4" fmla="*/ 2262196 h 2262197"/>
                <a:gd name="connsiteX5" fmla="*/ 3032588 w 3882501"/>
                <a:gd name="connsiteY5" fmla="*/ 1843659 h 2262197"/>
                <a:gd name="connsiteX6" fmla="*/ 3323519 w 3882501"/>
                <a:gd name="connsiteY6" fmla="*/ 1197924 h 2262197"/>
                <a:gd name="connsiteX7" fmla="*/ 3634415 w 3882501"/>
                <a:gd name="connsiteY7" fmla="*/ 751817 h 2262197"/>
                <a:gd name="connsiteX8" fmla="*/ 3882501 w 3882501"/>
                <a:gd name="connsiteY8" fmla="*/ 451503 h 2262197"/>
                <a:gd name="connsiteX9" fmla="*/ 3882501 w 3882501"/>
                <a:gd name="connsiteY9" fmla="*/ 13121 h 2262197"/>
                <a:gd name="connsiteX10" fmla="*/ 3276185 w 3882501"/>
                <a:gd name="connsiteY10" fmla="*/ 187696 h 2262197"/>
                <a:gd name="connsiteX11" fmla="*/ 2896460 w 3882501"/>
                <a:gd name="connsiteY11" fmla="*/ 799581 h 2262197"/>
                <a:gd name="connsiteX12" fmla="*/ 2439715 w 3882501"/>
                <a:gd name="connsiteY12" fmla="*/ 1413742 h 2262197"/>
                <a:gd name="connsiteX13" fmla="*/ 1871920 w 3882501"/>
                <a:gd name="connsiteY13" fmla="*/ 1370525 h 2262197"/>
                <a:gd name="connsiteX14" fmla="*/ 1579966 w 3882501"/>
                <a:gd name="connsiteY14" fmla="*/ 185419 h 2262197"/>
                <a:gd name="connsiteX15" fmla="*/ 953058 w 3882501"/>
                <a:gd name="connsiteY15" fmla="*/ 299156 h 2262197"/>
                <a:gd name="connsiteX16" fmla="*/ 60187 w 3882501"/>
                <a:gd name="connsiteY16" fmla="*/ 212886 h 2262197"/>
                <a:gd name="connsiteX0" fmla="*/ 62173 w 3884487"/>
                <a:gd name="connsiteY0" fmla="*/ 212886 h 2262197"/>
                <a:gd name="connsiteX1" fmla="*/ 127668 w 3884487"/>
                <a:gd name="connsiteY1" fmla="*/ 537465 h 2262197"/>
                <a:gd name="connsiteX2" fmla="*/ 487144 w 3884487"/>
                <a:gd name="connsiteY2" fmla="*/ 1016825 h 2262197"/>
                <a:gd name="connsiteX3" fmla="*/ 1057140 w 3884487"/>
                <a:gd name="connsiteY3" fmla="*/ 1843657 h 2262197"/>
                <a:gd name="connsiteX4" fmla="*/ 1988540 w 3884487"/>
                <a:gd name="connsiteY4" fmla="*/ 2262196 h 2262197"/>
                <a:gd name="connsiteX5" fmla="*/ 3034574 w 3884487"/>
                <a:gd name="connsiteY5" fmla="*/ 1843659 h 2262197"/>
                <a:gd name="connsiteX6" fmla="*/ 3325505 w 3884487"/>
                <a:gd name="connsiteY6" fmla="*/ 1197924 h 2262197"/>
                <a:gd name="connsiteX7" fmla="*/ 3636401 w 3884487"/>
                <a:gd name="connsiteY7" fmla="*/ 751817 h 2262197"/>
                <a:gd name="connsiteX8" fmla="*/ 3884487 w 3884487"/>
                <a:gd name="connsiteY8" fmla="*/ 451503 h 2262197"/>
                <a:gd name="connsiteX9" fmla="*/ 3884487 w 3884487"/>
                <a:gd name="connsiteY9" fmla="*/ 13121 h 2262197"/>
                <a:gd name="connsiteX10" fmla="*/ 3278171 w 3884487"/>
                <a:gd name="connsiteY10" fmla="*/ 187696 h 2262197"/>
                <a:gd name="connsiteX11" fmla="*/ 2898446 w 3884487"/>
                <a:gd name="connsiteY11" fmla="*/ 799581 h 2262197"/>
                <a:gd name="connsiteX12" fmla="*/ 2441701 w 3884487"/>
                <a:gd name="connsiteY12" fmla="*/ 1413742 h 2262197"/>
                <a:gd name="connsiteX13" fmla="*/ 1873906 w 3884487"/>
                <a:gd name="connsiteY13" fmla="*/ 1370525 h 2262197"/>
                <a:gd name="connsiteX14" fmla="*/ 1581952 w 3884487"/>
                <a:gd name="connsiteY14" fmla="*/ 185419 h 2262197"/>
                <a:gd name="connsiteX15" fmla="*/ 981914 w 3884487"/>
                <a:gd name="connsiteY15" fmla="*/ 94434 h 2262197"/>
                <a:gd name="connsiteX16" fmla="*/ 62173 w 3884487"/>
                <a:gd name="connsiteY16" fmla="*/ 212886 h 2262197"/>
                <a:gd name="connsiteX0" fmla="*/ 62175 w 3884485"/>
                <a:gd name="connsiteY0" fmla="*/ 30910 h 2262197"/>
                <a:gd name="connsiteX1" fmla="*/ 127666 w 3884485"/>
                <a:gd name="connsiteY1" fmla="*/ 537465 h 2262197"/>
                <a:gd name="connsiteX2" fmla="*/ 487142 w 3884485"/>
                <a:gd name="connsiteY2" fmla="*/ 1016825 h 2262197"/>
                <a:gd name="connsiteX3" fmla="*/ 1057138 w 3884485"/>
                <a:gd name="connsiteY3" fmla="*/ 1843657 h 2262197"/>
                <a:gd name="connsiteX4" fmla="*/ 1988538 w 3884485"/>
                <a:gd name="connsiteY4" fmla="*/ 2262196 h 2262197"/>
                <a:gd name="connsiteX5" fmla="*/ 3034572 w 3884485"/>
                <a:gd name="connsiteY5" fmla="*/ 1843659 h 2262197"/>
                <a:gd name="connsiteX6" fmla="*/ 3325503 w 3884485"/>
                <a:gd name="connsiteY6" fmla="*/ 1197924 h 2262197"/>
                <a:gd name="connsiteX7" fmla="*/ 3636399 w 3884485"/>
                <a:gd name="connsiteY7" fmla="*/ 751817 h 2262197"/>
                <a:gd name="connsiteX8" fmla="*/ 3884485 w 3884485"/>
                <a:gd name="connsiteY8" fmla="*/ 451503 h 2262197"/>
                <a:gd name="connsiteX9" fmla="*/ 3884485 w 3884485"/>
                <a:gd name="connsiteY9" fmla="*/ 13121 h 2262197"/>
                <a:gd name="connsiteX10" fmla="*/ 3278169 w 3884485"/>
                <a:gd name="connsiteY10" fmla="*/ 187696 h 2262197"/>
                <a:gd name="connsiteX11" fmla="*/ 2898444 w 3884485"/>
                <a:gd name="connsiteY11" fmla="*/ 799581 h 2262197"/>
                <a:gd name="connsiteX12" fmla="*/ 2441699 w 3884485"/>
                <a:gd name="connsiteY12" fmla="*/ 1413742 h 2262197"/>
                <a:gd name="connsiteX13" fmla="*/ 1873904 w 3884485"/>
                <a:gd name="connsiteY13" fmla="*/ 1370525 h 2262197"/>
                <a:gd name="connsiteX14" fmla="*/ 1581950 w 3884485"/>
                <a:gd name="connsiteY14" fmla="*/ 185419 h 2262197"/>
                <a:gd name="connsiteX15" fmla="*/ 981912 w 3884485"/>
                <a:gd name="connsiteY15" fmla="*/ 94434 h 2262197"/>
                <a:gd name="connsiteX16" fmla="*/ 62175 w 3884485"/>
                <a:gd name="connsiteY16" fmla="*/ 30910 h 2262197"/>
                <a:gd name="connsiteX0" fmla="*/ 61263 w 3883573"/>
                <a:gd name="connsiteY0" fmla="*/ 30910 h 2262197"/>
                <a:gd name="connsiteX1" fmla="*/ 126754 w 3883573"/>
                <a:gd name="connsiteY1" fmla="*/ 537465 h 2262197"/>
                <a:gd name="connsiteX2" fmla="*/ 459363 w 3883573"/>
                <a:gd name="connsiteY2" fmla="*/ 1062319 h 2262197"/>
                <a:gd name="connsiteX3" fmla="*/ 1056226 w 3883573"/>
                <a:gd name="connsiteY3" fmla="*/ 1843657 h 2262197"/>
                <a:gd name="connsiteX4" fmla="*/ 1987626 w 3883573"/>
                <a:gd name="connsiteY4" fmla="*/ 2262196 h 2262197"/>
                <a:gd name="connsiteX5" fmla="*/ 3033660 w 3883573"/>
                <a:gd name="connsiteY5" fmla="*/ 1843659 h 2262197"/>
                <a:gd name="connsiteX6" fmla="*/ 3324591 w 3883573"/>
                <a:gd name="connsiteY6" fmla="*/ 1197924 h 2262197"/>
                <a:gd name="connsiteX7" fmla="*/ 3635487 w 3883573"/>
                <a:gd name="connsiteY7" fmla="*/ 751817 h 2262197"/>
                <a:gd name="connsiteX8" fmla="*/ 3883573 w 3883573"/>
                <a:gd name="connsiteY8" fmla="*/ 451503 h 2262197"/>
                <a:gd name="connsiteX9" fmla="*/ 3883573 w 3883573"/>
                <a:gd name="connsiteY9" fmla="*/ 13121 h 2262197"/>
                <a:gd name="connsiteX10" fmla="*/ 3277257 w 3883573"/>
                <a:gd name="connsiteY10" fmla="*/ 187696 h 2262197"/>
                <a:gd name="connsiteX11" fmla="*/ 2897532 w 3883573"/>
                <a:gd name="connsiteY11" fmla="*/ 799581 h 2262197"/>
                <a:gd name="connsiteX12" fmla="*/ 2440787 w 3883573"/>
                <a:gd name="connsiteY12" fmla="*/ 1413742 h 2262197"/>
                <a:gd name="connsiteX13" fmla="*/ 1872992 w 3883573"/>
                <a:gd name="connsiteY13" fmla="*/ 1370525 h 2262197"/>
                <a:gd name="connsiteX14" fmla="*/ 1581038 w 3883573"/>
                <a:gd name="connsiteY14" fmla="*/ 185419 h 2262197"/>
                <a:gd name="connsiteX15" fmla="*/ 981000 w 3883573"/>
                <a:gd name="connsiteY15" fmla="*/ 94434 h 2262197"/>
                <a:gd name="connsiteX16" fmla="*/ 61263 w 3883573"/>
                <a:gd name="connsiteY16" fmla="*/ 30910 h 2262197"/>
                <a:gd name="connsiteX0" fmla="*/ 61263 w 3883573"/>
                <a:gd name="connsiteY0" fmla="*/ 30910 h 2277068"/>
                <a:gd name="connsiteX1" fmla="*/ 126754 w 3883573"/>
                <a:gd name="connsiteY1" fmla="*/ 537465 h 2277068"/>
                <a:gd name="connsiteX2" fmla="*/ 459363 w 3883573"/>
                <a:gd name="connsiteY2" fmla="*/ 1062319 h 2277068"/>
                <a:gd name="connsiteX3" fmla="*/ 1235346 w 3883573"/>
                <a:gd name="connsiteY3" fmla="*/ 1252241 h 2277068"/>
                <a:gd name="connsiteX4" fmla="*/ 1987626 w 3883573"/>
                <a:gd name="connsiteY4" fmla="*/ 2262196 h 2277068"/>
                <a:gd name="connsiteX5" fmla="*/ 3033660 w 3883573"/>
                <a:gd name="connsiteY5" fmla="*/ 1843659 h 2277068"/>
                <a:gd name="connsiteX6" fmla="*/ 3324591 w 3883573"/>
                <a:gd name="connsiteY6" fmla="*/ 1197924 h 2277068"/>
                <a:gd name="connsiteX7" fmla="*/ 3635487 w 3883573"/>
                <a:gd name="connsiteY7" fmla="*/ 751817 h 2277068"/>
                <a:gd name="connsiteX8" fmla="*/ 3883573 w 3883573"/>
                <a:gd name="connsiteY8" fmla="*/ 451503 h 2277068"/>
                <a:gd name="connsiteX9" fmla="*/ 3883573 w 3883573"/>
                <a:gd name="connsiteY9" fmla="*/ 13121 h 2277068"/>
                <a:gd name="connsiteX10" fmla="*/ 3277257 w 3883573"/>
                <a:gd name="connsiteY10" fmla="*/ 187696 h 2277068"/>
                <a:gd name="connsiteX11" fmla="*/ 2897532 w 3883573"/>
                <a:gd name="connsiteY11" fmla="*/ 799581 h 2277068"/>
                <a:gd name="connsiteX12" fmla="*/ 2440787 w 3883573"/>
                <a:gd name="connsiteY12" fmla="*/ 1413742 h 2277068"/>
                <a:gd name="connsiteX13" fmla="*/ 1872992 w 3883573"/>
                <a:gd name="connsiteY13" fmla="*/ 1370525 h 2277068"/>
                <a:gd name="connsiteX14" fmla="*/ 1581038 w 3883573"/>
                <a:gd name="connsiteY14" fmla="*/ 185419 h 2277068"/>
                <a:gd name="connsiteX15" fmla="*/ 981000 w 3883573"/>
                <a:gd name="connsiteY15" fmla="*/ 94434 h 2277068"/>
                <a:gd name="connsiteX16" fmla="*/ 61263 w 3883573"/>
                <a:gd name="connsiteY16" fmla="*/ 30910 h 2277068"/>
                <a:gd name="connsiteX0" fmla="*/ 61263 w 3883573"/>
                <a:gd name="connsiteY0" fmla="*/ 30910 h 2277068"/>
                <a:gd name="connsiteX1" fmla="*/ 126754 w 3883573"/>
                <a:gd name="connsiteY1" fmla="*/ 537465 h 2277068"/>
                <a:gd name="connsiteX2" fmla="*/ 459363 w 3883573"/>
                <a:gd name="connsiteY2" fmla="*/ 1062319 h 2277068"/>
                <a:gd name="connsiteX3" fmla="*/ 1235346 w 3883573"/>
                <a:gd name="connsiteY3" fmla="*/ 1252241 h 2277068"/>
                <a:gd name="connsiteX4" fmla="*/ 1987626 w 3883573"/>
                <a:gd name="connsiteY4" fmla="*/ 2262196 h 2277068"/>
                <a:gd name="connsiteX5" fmla="*/ 3033660 w 3883573"/>
                <a:gd name="connsiteY5" fmla="*/ 1843659 h 2277068"/>
                <a:gd name="connsiteX6" fmla="*/ 3324591 w 3883573"/>
                <a:gd name="connsiteY6" fmla="*/ 1197924 h 2277068"/>
                <a:gd name="connsiteX7" fmla="*/ 3635487 w 3883573"/>
                <a:gd name="connsiteY7" fmla="*/ 751817 h 2277068"/>
                <a:gd name="connsiteX8" fmla="*/ 3883573 w 3883573"/>
                <a:gd name="connsiteY8" fmla="*/ 451503 h 2277068"/>
                <a:gd name="connsiteX9" fmla="*/ 3883573 w 3883573"/>
                <a:gd name="connsiteY9" fmla="*/ 13121 h 2277068"/>
                <a:gd name="connsiteX10" fmla="*/ 3277257 w 3883573"/>
                <a:gd name="connsiteY10" fmla="*/ 187696 h 2277068"/>
                <a:gd name="connsiteX11" fmla="*/ 2897532 w 3883573"/>
                <a:gd name="connsiteY11" fmla="*/ 799581 h 2277068"/>
                <a:gd name="connsiteX12" fmla="*/ 2440787 w 3883573"/>
                <a:gd name="connsiteY12" fmla="*/ 1413742 h 2277068"/>
                <a:gd name="connsiteX13" fmla="*/ 2320781 w 3883573"/>
                <a:gd name="connsiteY13" fmla="*/ 210442 h 2277068"/>
                <a:gd name="connsiteX14" fmla="*/ 1581038 w 3883573"/>
                <a:gd name="connsiteY14" fmla="*/ 185419 h 2277068"/>
                <a:gd name="connsiteX15" fmla="*/ 981000 w 3883573"/>
                <a:gd name="connsiteY15" fmla="*/ 94434 h 2277068"/>
                <a:gd name="connsiteX16" fmla="*/ 61263 w 3883573"/>
                <a:gd name="connsiteY16" fmla="*/ 30910 h 2277068"/>
                <a:gd name="connsiteX0" fmla="*/ 61263 w 3883573"/>
                <a:gd name="connsiteY0" fmla="*/ 30910 h 2277068"/>
                <a:gd name="connsiteX1" fmla="*/ 126754 w 3883573"/>
                <a:gd name="connsiteY1" fmla="*/ 537465 h 2277068"/>
                <a:gd name="connsiteX2" fmla="*/ 459363 w 3883573"/>
                <a:gd name="connsiteY2" fmla="*/ 1062319 h 2277068"/>
                <a:gd name="connsiteX3" fmla="*/ 1235346 w 3883573"/>
                <a:gd name="connsiteY3" fmla="*/ 1252241 h 2277068"/>
                <a:gd name="connsiteX4" fmla="*/ 1987626 w 3883573"/>
                <a:gd name="connsiteY4" fmla="*/ 2262196 h 2277068"/>
                <a:gd name="connsiteX5" fmla="*/ 3033660 w 3883573"/>
                <a:gd name="connsiteY5" fmla="*/ 1843659 h 2277068"/>
                <a:gd name="connsiteX6" fmla="*/ 3324591 w 3883573"/>
                <a:gd name="connsiteY6" fmla="*/ 1197924 h 2277068"/>
                <a:gd name="connsiteX7" fmla="*/ 3635487 w 3883573"/>
                <a:gd name="connsiteY7" fmla="*/ 751817 h 2277068"/>
                <a:gd name="connsiteX8" fmla="*/ 3883573 w 3883573"/>
                <a:gd name="connsiteY8" fmla="*/ 451503 h 2277068"/>
                <a:gd name="connsiteX9" fmla="*/ 3883573 w 3883573"/>
                <a:gd name="connsiteY9" fmla="*/ 13121 h 2277068"/>
                <a:gd name="connsiteX10" fmla="*/ 3277257 w 3883573"/>
                <a:gd name="connsiteY10" fmla="*/ 187696 h 2277068"/>
                <a:gd name="connsiteX11" fmla="*/ 2897532 w 3883573"/>
                <a:gd name="connsiteY11" fmla="*/ 799581 h 2277068"/>
                <a:gd name="connsiteX12" fmla="*/ 2320781 w 3883573"/>
                <a:gd name="connsiteY12" fmla="*/ 210442 h 2277068"/>
                <a:gd name="connsiteX13" fmla="*/ 1581038 w 3883573"/>
                <a:gd name="connsiteY13" fmla="*/ 185419 h 2277068"/>
                <a:gd name="connsiteX14" fmla="*/ 981000 w 3883573"/>
                <a:gd name="connsiteY14" fmla="*/ 94434 h 2277068"/>
                <a:gd name="connsiteX15" fmla="*/ 61263 w 3883573"/>
                <a:gd name="connsiteY15" fmla="*/ 30910 h 2277068"/>
                <a:gd name="connsiteX0" fmla="*/ 61263 w 3883573"/>
                <a:gd name="connsiteY0" fmla="*/ 30910 h 2277068"/>
                <a:gd name="connsiteX1" fmla="*/ 126754 w 3883573"/>
                <a:gd name="connsiteY1" fmla="*/ 537465 h 2277068"/>
                <a:gd name="connsiteX2" fmla="*/ 459363 w 3883573"/>
                <a:gd name="connsiteY2" fmla="*/ 1062319 h 2277068"/>
                <a:gd name="connsiteX3" fmla="*/ 1235346 w 3883573"/>
                <a:gd name="connsiteY3" fmla="*/ 1252241 h 2277068"/>
                <a:gd name="connsiteX4" fmla="*/ 1987626 w 3883573"/>
                <a:gd name="connsiteY4" fmla="*/ 2262196 h 2277068"/>
                <a:gd name="connsiteX5" fmla="*/ 3033660 w 3883573"/>
                <a:gd name="connsiteY5" fmla="*/ 1843659 h 2277068"/>
                <a:gd name="connsiteX6" fmla="*/ 3324591 w 3883573"/>
                <a:gd name="connsiteY6" fmla="*/ 1197924 h 2277068"/>
                <a:gd name="connsiteX7" fmla="*/ 3635487 w 3883573"/>
                <a:gd name="connsiteY7" fmla="*/ 751817 h 2277068"/>
                <a:gd name="connsiteX8" fmla="*/ 3883573 w 3883573"/>
                <a:gd name="connsiteY8" fmla="*/ 451503 h 2277068"/>
                <a:gd name="connsiteX9" fmla="*/ 3883573 w 3883573"/>
                <a:gd name="connsiteY9" fmla="*/ 13121 h 2277068"/>
                <a:gd name="connsiteX10" fmla="*/ 3277257 w 3883573"/>
                <a:gd name="connsiteY10" fmla="*/ 187696 h 2277068"/>
                <a:gd name="connsiteX11" fmla="*/ 2790063 w 3883573"/>
                <a:gd name="connsiteY11" fmla="*/ 287779 h 2277068"/>
                <a:gd name="connsiteX12" fmla="*/ 2320781 w 3883573"/>
                <a:gd name="connsiteY12" fmla="*/ 210442 h 2277068"/>
                <a:gd name="connsiteX13" fmla="*/ 1581038 w 3883573"/>
                <a:gd name="connsiteY13" fmla="*/ 185419 h 2277068"/>
                <a:gd name="connsiteX14" fmla="*/ 981000 w 3883573"/>
                <a:gd name="connsiteY14" fmla="*/ 94434 h 2277068"/>
                <a:gd name="connsiteX15" fmla="*/ 61263 w 3883573"/>
                <a:gd name="connsiteY15" fmla="*/ 30910 h 2277068"/>
                <a:gd name="connsiteX0" fmla="*/ 61263 w 3883573"/>
                <a:gd name="connsiteY0" fmla="*/ 30910 h 1851428"/>
                <a:gd name="connsiteX1" fmla="*/ 126754 w 3883573"/>
                <a:gd name="connsiteY1" fmla="*/ 537465 h 1851428"/>
                <a:gd name="connsiteX2" fmla="*/ 459363 w 3883573"/>
                <a:gd name="connsiteY2" fmla="*/ 1062319 h 1851428"/>
                <a:gd name="connsiteX3" fmla="*/ 1235346 w 3883573"/>
                <a:gd name="connsiteY3" fmla="*/ 1252241 h 1851428"/>
                <a:gd name="connsiteX4" fmla="*/ 2023449 w 3883573"/>
                <a:gd name="connsiteY4" fmla="*/ 999753 h 1851428"/>
                <a:gd name="connsiteX5" fmla="*/ 3033660 w 3883573"/>
                <a:gd name="connsiteY5" fmla="*/ 1843659 h 1851428"/>
                <a:gd name="connsiteX6" fmla="*/ 3324591 w 3883573"/>
                <a:gd name="connsiteY6" fmla="*/ 1197924 h 1851428"/>
                <a:gd name="connsiteX7" fmla="*/ 3635487 w 3883573"/>
                <a:gd name="connsiteY7" fmla="*/ 751817 h 1851428"/>
                <a:gd name="connsiteX8" fmla="*/ 3883573 w 3883573"/>
                <a:gd name="connsiteY8" fmla="*/ 451503 h 1851428"/>
                <a:gd name="connsiteX9" fmla="*/ 3883573 w 3883573"/>
                <a:gd name="connsiteY9" fmla="*/ 13121 h 1851428"/>
                <a:gd name="connsiteX10" fmla="*/ 3277257 w 3883573"/>
                <a:gd name="connsiteY10" fmla="*/ 187696 h 1851428"/>
                <a:gd name="connsiteX11" fmla="*/ 2790063 w 3883573"/>
                <a:gd name="connsiteY11" fmla="*/ 287779 h 1851428"/>
                <a:gd name="connsiteX12" fmla="*/ 2320781 w 3883573"/>
                <a:gd name="connsiteY12" fmla="*/ 210442 h 1851428"/>
                <a:gd name="connsiteX13" fmla="*/ 1581038 w 3883573"/>
                <a:gd name="connsiteY13" fmla="*/ 185419 h 1851428"/>
                <a:gd name="connsiteX14" fmla="*/ 981000 w 3883573"/>
                <a:gd name="connsiteY14" fmla="*/ 94434 h 1851428"/>
                <a:gd name="connsiteX15" fmla="*/ 61263 w 3883573"/>
                <a:gd name="connsiteY15" fmla="*/ 30910 h 1851428"/>
                <a:gd name="connsiteX0" fmla="*/ 61263 w 3883573"/>
                <a:gd name="connsiteY0" fmla="*/ 30910 h 1847024"/>
                <a:gd name="connsiteX1" fmla="*/ 126754 w 3883573"/>
                <a:gd name="connsiteY1" fmla="*/ 537465 h 1847024"/>
                <a:gd name="connsiteX2" fmla="*/ 459363 w 3883573"/>
                <a:gd name="connsiteY2" fmla="*/ 1062319 h 1847024"/>
                <a:gd name="connsiteX3" fmla="*/ 1235346 w 3883573"/>
                <a:gd name="connsiteY3" fmla="*/ 1252241 h 1847024"/>
                <a:gd name="connsiteX4" fmla="*/ 2023449 w 3883573"/>
                <a:gd name="connsiteY4" fmla="*/ 999753 h 1847024"/>
                <a:gd name="connsiteX5" fmla="*/ 2490859 w 3883573"/>
                <a:gd name="connsiteY5" fmla="*/ 1155322 h 1847024"/>
                <a:gd name="connsiteX6" fmla="*/ 3033660 w 3883573"/>
                <a:gd name="connsiteY6" fmla="*/ 1843659 h 1847024"/>
                <a:gd name="connsiteX7" fmla="*/ 3324591 w 3883573"/>
                <a:gd name="connsiteY7" fmla="*/ 1197924 h 1847024"/>
                <a:gd name="connsiteX8" fmla="*/ 3635487 w 3883573"/>
                <a:gd name="connsiteY8" fmla="*/ 751817 h 1847024"/>
                <a:gd name="connsiteX9" fmla="*/ 3883573 w 3883573"/>
                <a:gd name="connsiteY9" fmla="*/ 451503 h 1847024"/>
                <a:gd name="connsiteX10" fmla="*/ 3883573 w 3883573"/>
                <a:gd name="connsiteY10" fmla="*/ 13121 h 1847024"/>
                <a:gd name="connsiteX11" fmla="*/ 3277257 w 3883573"/>
                <a:gd name="connsiteY11" fmla="*/ 187696 h 1847024"/>
                <a:gd name="connsiteX12" fmla="*/ 2790063 w 3883573"/>
                <a:gd name="connsiteY12" fmla="*/ 287779 h 1847024"/>
                <a:gd name="connsiteX13" fmla="*/ 2320781 w 3883573"/>
                <a:gd name="connsiteY13" fmla="*/ 210442 h 1847024"/>
                <a:gd name="connsiteX14" fmla="*/ 1581038 w 3883573"/>
                <a:gd name="connsiteY14" fmla="*/ 185419 h 1847024"/>
                <a:gd name="connsiteX15" fmla="*/ 981000 w 3883573"/>
                <a:gd name="connsiteY15" fmla="*/ 94434 h 1847024"/>
                <a:gd name="connsiteX16" fmla="*/ 61263 w 3883573"/>
                <a:gd name="connsiteY16" fmla="*/ 30910 h 1847024"/>
                <a:gd name="connsiteX0" fmla="*/ 61263 w 3883573"/>
                <a:gd name="connsiteY0" fmla="*/ 30910 h 1847024"/>
                <a:gd name="connsiteX1" fmla="*/ 126754 w 3883573"/>
                <a:gd name="connsiteY1" fmla="*/ 537465 h 1847024"/>
                <a:gd name="connsiteX2" fmla="*/ 459363 w 3883573"/>
                <a:gd name="connsiteY2" fmla="*/ 1062319 h 1847024"/>
                <a:gd name="connsiteX3" fmla="*/ 1235346 w 3883573"/>
                <a:gd name="connsiteY3" fmla="*/ 1252241 h 1847024"/>
                <a:gd name="connsiteX4" fmla="*/ 1736869 w 3883573"/>
                <a:gd name="connsiteY4" fmla="*/ 1011123 h 1847024"/>
                <a:gd name="connsiteX5" fmla="*/ 2490859 w 3883573"/>
                <a:gd name="connsiteY5" fmla="*/ 1155322 h 1847024"/>
                <a:gd name="connsiteX6" fmla="*/ 3033660 w 3883573"/>
                <a:gd name="connsiteY6" fmla="*/ 1843659 h 1847024"/>
                <a:gd name="connsiteX7" fmla="*/ 3324591 w 3883573"/>
                <a:gd name="connsiteY7" fmla="*/ 1197924 h 1847024"/>
                <a:gd name="connsiteX8" fmla="*/ 3635487 w 3883573"/>
                <a:gd name="connsiteY8" fmla="*/ 751817 h 1847024"/>
                <a:gd name="connsiteX9" fmla="*/ 3883573 w 3883573"/>
                <a:gd name="connsiteY9" fmla="*/ 451503 h 1847024"/>
                <a:gd name="connsiteX10" fmla="*/ 3883573 w 3883573"/>
                <a:gd name="connsiteY10" fmla="*/ 13121 h 1847024"/>
                <a:gd name="connsiteX11" fmla="*/ 3277257 w 3883573"/>
                <a:gd name="connsiteY11" fmla="*/ 187696 h 1847024"/>
                <a:gd name="connsiteX12" fmla="*/ 2790063 w 3883573"/>
                <a:gd name="connsiteY12" fmla="*/ 287779 h 1847024"/>
                <a:gd name="connsiteX13" fmla="*/ 2320781 w 3883573"/>
                <a:gd name="connsiteY13" fmla="*/ 210442 h 1847024"/>
                <a:gd name="connsiteX14" fmla="*/ 1581038 w 3883573"/>
                <a:gd name="connsiteY14" fmla="*/ 185419 h 1847024"/>
                <a:gd name="connsiteX15" fmla="*/ 981000 w 3883573"/>
                <a:gd name="connsiteY15" fmla="*/ 94434 h 1847024"/>
                <a:gd name="connsiteX16" fmla="*/ 61263 w 3883573"/>
                <a:gd name="connsiteY16" fmla="*/ 30910 h 1847024"/>
                <a:gd name="connsiteX0" fmla="*/ 61263 w 3883573"/>
                <a:gd name="connsiteY0" fmla="*/ 30910 h 1847024"/>
                <a:gd name="connsiteX1" fmla="*/ 126754 w 3883573"/>
                <a:gd name="connsiteY1" fmla="*/ 537465 h 1847024"/>
                <a:gd name="connsiteX2" fmla="*/ 459363 w 3883573"/>
                <a:gd name="connsiteY2" fmla="*/ 1062319 h 1847024"/>
                <a:gd name="connsiteX3" fmla="*/ 903987 w 3883573"/>
                <a:gd name="connsiteY3" fmla="*/ 1127135 h 1847024"/>
                <a:gd name="connsiteX4" fmla="*/ 1736869 w 3883573"/>
                <a:gd name="connsiteY4" fmla="*/ 1011123 h 1847024"/>
                <a:gd name="connsiteX5" fmla="*/ 2490859 w 3883573"/>
                <a:gd name="connsiteY5" fmla="*/ 1155322 h 1847024"/>
                <a:gd name="connsiteX6" fmla="*/ 3033660 w 3883573"/>
                <a:gd name="connsiteY6" fmla="*/ 1843659 h 1847024"/>
                <a:gd name="connsiteX7" fmla="*/ 3324591 w 3883573"/>
                <a:gd name="connsiteY7" fmla="*/ 1197924 h 1847024"/>
                <a:gd name="connsiteX8" fmla="*/ 3635487 w 3883573"/>
                <a:gd name="connsiteY8" fmla="*/ 751817 h 1847024"/>
                <a:gd name="connsiteX9" fmla="*/ 3883573 w 3883573"/>
                <a:gd name="connsiteY9" fmla="*/ 451503 h 1847024"/>
                <a:gd name="connsiteX10" fmla="*/ 3883573 w 3883573"/>
                <a:gd name="connsiteY10" fmla="*/ 13121 h 1847024"/>
                <a:gd name="connsiteX11" fmla="*/ 3277257 w 3883573"/>
                <a:gd name="connsiteY11" fmla="*/ 187696 h 1847024"/>
                <a:gd name="connsiteX12" fmla="*/ 2790063 w 3883573"/>
                <a:gd name="connsiteY12" fmla="*/ 287779 h 1847024"/>
                <a:gd name="connsiteX13" fmla="*/ 2320781 w 3883573"/>
                <a:gd name="connsiteY13" fmla="*/ 210442 h 1847024"/>
                <a:gd name="connsiteX14" fmla="*/ 1581038 w 3883573"/>
                <a:gd name="connsiteY14" fmla="*/ 185419 h 1847024"/>
                <a:gd name="connsiteX15" fmla="*/ 981000 w 3883573"/>
                <a:gd name="connsiteY15" fmla="*/ 94434 h 1847024"/>
                <a:gd name="connsiteX16" fmla="*/ 61263 w 3883573"/>
                <a:gd name="connsiteY16" fmla="*/ 30910 h 1847024"/>
                <a:gd name="connsiteX0" fmla="*/ 61263 w 3883573"/>
                <a:gd name="connsiteY0" fmla="*/ 30910 h 1847000"/>
                <a:gd name="connsiteX1" fmla="*/ 126754 w 3883573"/>
                <a:gd name="connsiteY1" fmla="*/ 537465 h 1847000"/>
                <a:gd name="connsiteX2" fmla="*/ 459363 w 3883573"/>
                <a:gd name="connsiteY2" fmla="*/ 1062319 h 1847000"/>
                <a:gd name="connsiteX3" fmla="*/ 903987 w 3883573"/>
                <a:gd name="connsiteY3" fmla="*/ 1127135 h 1847000"/>
                <a:gd name="connsiteX4" fmla="*/ 1736869 w 3883573"/>
                <a:gd name="connsiteY4" fmla="*/ 1011123 h 1847000"/>
                <a:gd name="connsiteX5" fmla="*/ 2069939 w 3883573"/>
                <a:gd name="connsiteY5" fmla="*/ 1166694 h 1847000"/>
                <a:gd name="connsiteX6" fmla="*/ 2490859 w 3883573"/>
                <a:gd name="connsiteY6" fmla="*/ 1155322 h 1847000"/>
                <a:gd name="connsiteX7" fmla="*/ 3033660 w 3883573"/>
                <a:gd name="connsiteY7" fmla="*/ 1843659 h 1847000"/>
                <a:gd name="connsiteX8" fmla="*/ 3324591 w 3883573"/>
                <a:gd name="connsiteY8" fmla="*/ 1197924 h 1847000"/>
                <a:gd name="connsiteX9" fmla="*/ 3635487 w 3883573"/>
                <a:gd name="connsiteY9" fmla="*/ 751817 h 1847000"/>
                <a:gd name="connsiteX10" fmla="*/ 3883573 w 3883573"/>
                <a:gd name="connsiteY10" fmla="*/ 451503 h 1847000"/>
                <a:gd name="connsiteX11" fmla="*/ 3883573 w 3883573"/>
                <a:gd name="connsiteY11" fmla="*/ 13121 h 1847000"/>
                <a:gd name="connsiteX12" fmla="*/ 3277257 w 3883573"/>
                <a:gd name="connsiteY12" fmla="*/ 187696 h 1847000"/>
                <a:gd name="connsiteX13" fmla="*/ 2790063 w 3883573"/>
                <a:gd name="connsiteY13" fmla="*/ 287779 h 1847000"/>
                <a:gd name="connsiteX14" fmla="*/ 2320781 w 3883573"/>
                <a:gd name="connsiteY14" fmla="*/ 210442 h 1847000"/>
                <a:gd name="connsiteX15" fmla="*/ 1581038 w 3883573"/>
                <a:gd name="connsiteY15" fmla="*/ 185419 h 1847000"/>
                <a:gd name="connsiteX16" fmla="*/ 981000 w 3883573"/>
                <a:gd name="connsiteY16" fmla="*/ 94434 h 1847000"/>
                <a:gd name="connsiteX17" fmla="*/ 61263 w 3883573"/>
                <a:gd name="connsiteY17" fmla="*/ 30910 h 1847000"/>
                <a:gd name="connsiteX0" fmla="*/ 61263 w 3883573"/>
                <a:gd name="connsiteY0" fmla="*/ 30910 h 1220392"/>
                <a:gd name="connsiteX1" fmla="*/ 126754 w 3883573"/>
                <a:gd name="connsiteY1" fmla="*/ 537465 h 1220392"/>
                <a:gd name="connsiteX2" fmla="*/ 459363 w 3883573"/>
                <a:gd name="connsiteY2" fmla="*/ 1062319 h 1220392"/>
                <a:gd name="connsiteX3" fmla="*/ 903987 w 3883573"/>
                <a:gd name="connsiteY3" fmla="*/ 1127135 h 1220392"/>
                <a:gd name="connsiteX4" fmla="*/ 1736869 w 3883573"/>
                <a:gd name="connsiteY4" fmla="*/ 1011123 h 1220392"/>
                <a:gd name="connsiteX5" fmla="*/ 2069939 w 3883573"/>
                <a:gd name="connsiteY5" fmla="*/ 1166694 h 1220392"/>
                <a:gd name="connsiteX6" fmla="*/ 2490859 w 3883573"/>
                <a:gd name="connsiteY6" fmla="*/ 1155322 h 1220392"/>
                <a:gd name="connsiteX7" fmla="*/ 3324591 w 3883573"/>
                <a:gd name="connsiteY7" fmla="*/ 1197924 h 1220392"/>
                <a:gd name="connsiteX8" fmla="*/ 3635487 w 3883573"/>
                <a:gd name="connsiteY8" fmla="*/ 751817 h 1220392"/>
                <a:gd name="connsiteX9" fmla="*/ 3883573 w 3883573"/>
                <a:gd name="connsiteY9" fmla="*/ 451503 h 1220392"/>
                <a:gd name="connsiteX10" fmla="*/ 3883573 w 3883573"/>
                <a:gd name="connsiteY10" fmla="*/ 13121 h 1220392"/>
                <a:gd name="connsiteX11" fmla="*/ 3277257 w 3883573"/>
                <a:gd name="connsiteY11" fmla="*/ 187696 h 1220392"/>
                <a:gd name="connsiteX12" fmla="*/ 2790063 w 3883573"/>
                <a:gd name="connsiteY12" fmla="*/ 287779 h 1220392"/>
                <a:gd name="connsiteX13" fmla="*/ 2320781 w 3883573"/>
                <a:gd name="connsiteY13" fmla="*/ 210442 h 1220392"/>
                <a:gd name="connsiteX14" fmla="*/ 1581038 w 3883573"/>
                <a:gd name="connsiteY14" fmla="*/ 185419 h 1220392"/>
                <a:gd name="connsiteX15" fmla="*/ 981000 w 3883573"/>
                <a:gd name="connsiteY15" fmla="*/ 94434 h 1220392"/>
                <a:gd name="connsiteX16" fmla="*/ 61263 w 3883573"/>
                <a:gd name="connsiteY16" fmla="*/ 30910 h 1220392"/>
                <a:gd name="connsiteX0" fmla="*/ 61263 w 3883573"/>
                <a:gd name="connsiteY0" fmla="*/ 30910 h 1174361"/>
                <a:gd name="connsiteX1" fmla="*/ 126754 w 3883573"/>
                <a:gd name="connsiteY1" fmla="*/ 537465 h 1174361"/>
                <a:gd name="connsiteX2" fmla="*/ 459363 w 3883573"/>
                <a:gd name="connsiteY2" fmla="*/ 1062319 h 1174361"/>
                <a:gd name="connsiteX3" fmla="*/ 903987 w 3883573"/>
                <a:gd name="connsiteY3" fmla="*/ 1127135 h 1174361"/>
                <a:gd name="connsiteX4" fmla="*/ 1736869 w 3883573"/>
                <a:gd name="connsiteY4" fmla="*/ 1011123 h 1174361"/>
                <a:gd name="connsiteX5" fmla="*/ 2069939 w 3883573"/>
                <a:gd name="connsiteY5" fmla="*/ 1166694 h 1174361"/>
                <a:gd name="connsiteX6" fmla="*/ 2490859 w 3883573"/>
                <a:gd name="connsiteY6" fmla="*/ 1155322 h 1174361"/>
                <a:gd name="connsiteX7" fmla="*/ 3243989 w 3883573"/>
                <a:gd name="connsiteY7" fmla="*/ 959085 h 1174361"/>
                <a:gd name="connsiteX8" fmla="*/ 3635487 w 3883573"/>
                <a:gd name="connsiteY8" fmla="*/ 751817 h 1174361"/>
                <a:gd name="connsiteX9" fmla="*/ 3883573 w 3883573"/>
                <a:gd name="connsiteY9" fmla="*/ 451503 h 1174361"/>
                <a:gd name="connsiteX10" fmla="*/ 3883573 w 3883573"/>
                <a:gd name="connsiteY10" fmla="*/ 13121 h 1174361"/>
                <a:gd name="connsiteX11" fmla="*/ 3277257 w 3883573"/>
                <a:gd name="connsiteY11" fmla="*/ 187696 h 1174361"/>
                <a:gd name="connsiteX12" fmla="*/ 2790063 w 3883573"/>
                <a:gd name="connsiteY12" fmla="*/ 287779 h 1174361"/>
                <a:gd name="connsiteX13" fmla="*/ 2320781 w 3883573"/>
                <a:gd name="connsiteY13" fmla="*/ 210442 h 1174361"/>
                <a:gd name="connsiteX14" fmla="*/ 1581038 w 3883573"/>
                <a:gd name="connsiteY14" fmla="*/ 185419 h 1174361"/>
                <a:gd name="connsiteX15" fmla="*/ 981000 w 3883573"/>
                <a:gd name="connsiteY15" fmla="*/ 94434 h 1174361"/>
                <a:gd name="connsiteX16" fmla="*/ 61263 w 3883573"/>
                <a:gd name="connsiteY16" fmla="*/ 30910 h 1174361"/>
                <a:gd name="connsiteX0" fmla="*/ 61263 w 3883573"/>
                <a:gd name="connsiteY0" fmla="*/ 30910 h 1174361"/>
                <a:gd name="connsiteX1" fmla="*/ 126754 w 3883573"/>
                <a:gd name="connsiteY1" fmla="*/ 537465 h 1174361"/>
                <a:gd name="connsiteX2" fmla="*/ 459363 w 3883573"/>
                <a:gd name="connsiteY2" fmla="*/ 1062319 h 1174361"/>
                <a:gd name="connsiteX3" fmla="*/ 903987 w 3883573"/>
                <a:gd name="connsiteY3" fmla="*/ 1127135 h 1174361"/>
                <a:gd name="connsiteX4" fmla="*/ 1736869 w 3883573"/>
                <a:gd name="connsiteY4" fmla="*/ 1011123 h 1174361"/>
                <a:gd name="connsiteX5" fmla="*/ 2069939 w 3883573"/>
                <a:gd name="connsiteY5" fmla="*/ 1166694 h 1174361"/>
                <a:gd name="connsiteX6" fmla="*/ 2490859 w 3883573"/>
                <a:gd name="connsiteY6" fmla="*/ 1155322 h 1174361"/>
                <a:gd name="connsiteX7" fmla="*/ 3360418 w 3883573"/>
                <a:gd name="connsiteY7" fmla="*/ 1050071 h 1174361"/>
                <a:gd name="connsiteX8" fmla="*/ 3635487 w 3883573"/>
                <a:gd name="connsiteY8" fmla="*/ 751817 h 1174361"/>
                <a:gd name="connsiteX9" fmla="*/ 3883573 w 3883573"/>
                <a:gd name="connsiteY9" fmla="*/ 451503 h 1174361"/>
                <a:gd name="connsiteX10" fmla="*/ 3883573 w 3883573"/>
                <a:gd name="connsiteY10" fmla="*/ 13121 h 1174361"/>
                <a:gd name="connsiteX11" fmla="*/ 3277257 w 3883573"/>
                <a:gd name="connsiteY11" fmla="*/ 187696 h 1174361"/>
                <a:gd name="connsiteX12" fmla="*/ 2790063 w 3883573"/>
                <a:gd name="connsiteY12" fmla="*/ 287779 h 1174361"/>
                <a:gd name="connsiteX13" fmla="*/ 2320781 w 3883573"/>
                <a:gd name="connsiteY13" fmla="*/ 210442 h 1174361"/>
                <a:gd name="connsiteX14" fmla="*/ 1581038 w 3883573"/>
                <a:gd name="connsiteY14" fmla="*/ 185419 h 1174361"/>
                <a:gd name="connsiteX15" fmla="*/ 981000 w 3883573"/>
                <a:gd name="connsiteY15" fmla="*/ 94434 h 1174361"/>
                <a:gd name="connsiteX16" fmla="*/ 61263 w 3883573"/>
                <a:gd name="connsiteY16" fmla="*/ 30910 h 1174361"/>
                <a:gd name="connsiteX0" fmla="*/ 61263 w 3892533"/>
                <a:gd name="connsiteY0" fmla="*/ 24870 h 1168321"/>
                <a:gd name="connsiteX1" fmla="*/ 126754 w 3892533"/>
                <a:gd name="connsiteY1" fmla="*/ 531425 h 1168321"/>
                <a:gd name="connsiteX2" fmla="*/ 459363 w 3892533"/>
                <a:gd name="connsiteY2" fmla="*/ 1056279 h 1168321"/>
                <a:gd name="connsiteX3" fmla="*/ 903987 w 3892533"/>
                <a:gd name="connsiteY3" fmla="*/ 1121095 h 1168321"/>
                <a:gd name="connsiteX4" fmla="*/ 1736869 w 3892533"/>
                <a:gd name="connsiteY4" fmla="*/ 1005083 h 1168321"/>
                <a:gd name="connsiteX5" fmla="*/ 2069939 w 3892533"/>
                <a:gd name="connsiteY5" fmla="*/ 1160654 h 1168321"/>
                <a:gd name="connsiteX6" fmla="*/ 2490859 w 3892533"/>
                <a:gd name="connsiteY6" fmla="*/ 1149282 h 1168321"/>
                <a:gd name="connsiteX7" fmla="*/ 3360418 w 3892533"/>
                <a:gd name="connsiteY7" fmla="*/ 1044031 h 1168321"/>
                <a:gd name="connsiteX8" fmla="*/ 3635487 w 3892533"/>
                <a:gd name="connsiteY8" fmla="*/ 745777 h 1168321"/>
                <a:gd name="connsiteX9" fmla="*/ 3883573 w 3892533"/>
                <a:gd name="connsiteY9" fmla="*/ 445463 h 1168321"/>
                <a:gd name="connsiteX10" fmla="*/ 3892534 w 3892533"/>
                <a:gd name="connsiteY10" fmla="*/ 166306 h 1168321"/>
                <a:gd name="connsiteX11" fmla="*/ 3277257 w 3892533"/>
                <a:gd name="connsiteY11" fmla="*/ 181656 h 1168321"/>
                <a:gd name="connsiteX12" fmla="*/ 2790063 w 3892533"/>
                <a:gd name="connsiteY12" fmla="*/ 281739 h 1168321"/>
                <a:gd name="connsiteX13" fmla="*/ 2320781 w 3892533"/>
                <a:gd name="connsiteY13" fmla="*/ 204402 h 1168321"/>
                <a:gd name="connsiteX14" fmla="*/ 1581038 w 3892533"/>
                <a:gd name="connsiteY14" fmla="*/ 179379 h 1168321"/>
                <a:gd name="connsiteX15" fmla="*/ 981000 w 3892533"/>
                <a:gd name="connsiteY15" fmla="*/ 88394 h 1168321"/>
                <a:gd name="connsiteX16" fmla="*/ 61263 w 3892533"/>
                <a:gd name="connsiteY16" fmla="*/ 24870 h 1168321"/>
                <a:gd name="connsiteX0" fmla="*/ 61263 w 3892535"/>
                <a:gd name="connsiteY0" fmla="*/ 24870 h 1280796"/>
                <a:gd name="connsiteX1" fmla="*/ 126754 w 3892535"/>
                <a:gd name="connsiteY1" fmla="*/ 531425 h 1280796"/>
                <a:gd name="connsiteX2" fmla="*/ 459363 w 3892535"/>
                <a:gd name="connsiteY2" fmla="*/ 1056279 h 1280796"/>
                <a:gd name="connsiteX3" fmla="*/ 966682 w 3892535"/>
                <a:gd name="connsiteY3" fmla="*/ 1280322 h 1280796"/>
                <a:gd name="connsiteX4" fmla="*/ 1736869 w 3892535"/>
                <a:gd name="connsiteY4" fmla="*/ 1005083 h 1280796"/>
                <a:gd name="connsiteX5" fmla="*/ 2069939 w 3892535"/>
                <a:gd name="connsiteY5" fmla="*/ 1160654 h 1280796"/>
                <a:gd name="connsiteX6" fmla="*/ 2490859 w 3892535"/>
                <a:gd name="connsiteY6" fmla="*/ 1149282 h 1280796"/>
                <a:gd name="connsiteX7" fmla="*/ 3360418 w 3892535"/>
                <a:gd name="connsiteY7" fmla="*/ 1044031 h 1280796"/>
                <a:gd name="connsiteX8" fmla="*/ 3635487 w 3892535"/>
                <a:gd name="connsiteY8" fmla="*/ 745777 h 1280796"/>
                <a:gd name="connsiteX9" fmla="*/ 3883573 w 3892535"/>
                <a:gd name="connsiteY9" fmla="*/ 445463 h 1280796"/>
                <a:gd name="connsiteX10" fmla="*/ 3892534 w 3892535"/>
                <a:gd name="connsiteY10" fmla="*/ 166306 h 1280796"/>
                <a:gd name="connsiteX11" fmla="*/ 3277257 w 3892535"/>
                <a:gd name="connsiteY11" fmla="*/ 181656 h 1280796"/>
                <a:gd name="connsiteX12" fmla="*/ 2790063 w 3892535"/>
                <a:gd name="connsiteY12" fmla="*/ 281739 h 1280796"/>
                <a:gd name="connsiteX13" fmla="*/ 2320781 w 3892535"/>
                <a:gd name="connsiteY13" fmla="*/ 204402 h 1280796"/>
                <a:gd name="connsiteX14" fmla="*/ 1581038 w 3892535"/>
                <a:gd name="connsiteY14" fmla="*/ 179379 h 1280796"/>
                <a:gd name="connsiteX15" fmla="*/ 981000 w 3892535"/>
                <a:gd name="connsiteY15" fmla="*/ 88394 h 1280796"/>
                <a:gd name="connsiteX16" fmla="*/ 61263 w 3892535"/>
                <a:gd name="connsiteY16" fmla="*/ 24870 h 1280796"/>
                <a:gd name="connsiteX0" fmla="*/ 61263 w 3892533"/>
                <a:gd name="connsiteY0" fmla="*/ 24870 h 1288550"/>
                <a:gd name="connsiteX1" fmla="*/ 126754 w 3892533"/>
                <a:gd name="connsiteY1" fmla="*/ 531425 h 1288550"/>
                <a:gd name="connsiteX2" fmla="*/ 459363 w 3892533"/>
                <a:gd name="connsiteY2" fmla="*/ 1056279 h 1288550"/>
                <a:gd name="connsiteX3" fmla="*/ 966682 w 3892533"/>
                <a:gd name="connsiteY3" fmla="*/ 1280322 h 1288550"/>
                <a:gd name="connsiteX4" fmla="*/ 1584621 w 3892533"/>
                <a:gd name="connsiteY4" fmla="*/ 1232549 h 1288550"/>
                <a:gd name="connsiteX5" fmla="*/ 2069939 w 3892533"/>
                <a:gd name="connsiteY5" fmla="*/ 1160654 h 1288550"/>
                <a:gd name="connsiteX6" fmla="*/ 2490859 w 3892533"/>
                <a:gd name="connsiteY6" fmla="*/ 1149282 h 1288550"/>
                <a:gd name="connsiteX7" fmla="*/ 3360418 w 3892533"/>
                <a:gd name="connsiteY7" fmla="*/ 1044031 h 1288550"/>
                <a:gd name="connsiteX8" fmla="*/ 3635487 w 3892533"/>
                <a:gd name="connsiteY8" fmla="*/ 745777 h 1288550"/>
                <a:gd name="connsiteX9" fmla="*/ 3883573 w 3892533"/>
                <a:gd name="connsiteY9" fmla="*/ 445463 h 1288550"/>
                <a:gd name="connsiteX10" fmla="*/ 3892534 w 3892533"/>
                <a:gd name="connsiteY10" fmla="*/ 166306 h 1288550"/>
                <a:gd name="connsiteX11" fmla="*/ 3277257 w 3892533"/>
                <a:gd name="connsiteY11" fmla="*/ 181656 h 1288550"/>
                <a:gd name="connsiteX12" fmla="*/ 2790063 w 3892533"/>
                <a:gd name="connsiteY12" fmla="*/ 281739 h 1288550"/>
                <a:gd name="connsiteX13" fmla="*/ 2320781 w 3892533"/>
                <a:gd name="connsiteY13" fmla="*/ 204402 h 1288550"/>
                <a:gd name="connsiteX14" fmla="*/ 1581038 w 3892533"/>
                <a:gd name="connsiteY14" fmla="*/ 179379 h 1288550"/>
                <a:gd name="connsiteX15" fmla="*/ 981000 w 3892533"/>
                <a:gd name="connsiteY15" fmla="*/ 88394 h 1288550"/>
                <a:gd name="connsiteX16" fmla="*/ 61263 w 3892533"/>
                <a:gd name="connsiteY16" fmla="*/ 24870 h 1288550"/>
                <a:gd name="connsiteX0" fmla="*/ 61263 w 3892535"/>
                <a:gd name="connsiteY0" fmla="*/ 24870 h 1288550"/>
                <a:gd name="connsiteX1" fmla="*/ 126754 w 3892535"/>
                <a:gd name="connsiteY1" fmla="*/ 531425 h 1288550"/>
                <a:gd name="connsiteX2" fmla="*/ 459363 w 3892535"/>
                <a:gd name="connsiteY2" fmla="*/ 1056279 h 1288550"/>
                <a:gd name="connsiteX3" fmla="*/ 966682 w 3892535"/>
                <a:gd name="connsiteY3" fmla="*/ 1280322 h 1288550"/>
                <a:gd name="connsiteX4" fmla="*/ 1584621 w 3892535"/>
                <a:gd name="connsiteY4" fmla="*/ 1232549 h 1288550"/>
                <a:gd name="connsiteX5" fmla="*/ 2069939 w 3892535"/>
                <a:gd name="connsiteY5" fmla="*/ 1160654 h 1288550"/>
                <a:gd name="connsiteX6" fmla="*/ 2338605 w 3892535"/>
                <a:gd name="connsiteY6" fmla="*/ 1285763 h 1288550"/>
                <a:gd name="connsiteX7" fmla="*/ 2490859 w 3892535"/>
                <a:gd name="connsiteY7" fmla="*/ 1149282 h 1288550"/>
                <a:gd name="connsiteX8" fmla="*/ 3360418 w 3892535"/>
                <a:gd name="connsiteY8" fmla="*/ 1044031 h 1288550"/>
                <a:gd name="connsiteX9" fmla="*/ 3635487 w 3892535"/>
                <a:gd name="connsiteY9" fmla="*/ 745777 h 1288550"/>
                <a:gd name="connsiteX10" fmla="*/ 3883573 w 3892535"/>
                <a:gd name="connsiteY10" fmla="*/ 445463 h 1288550"/>
                <a:gd name="connsiteX11" fmla="*/ 3892534 w 3892535"/>
                <a:gd name="connsiteY11" fmla="*/ 166306 h 1288550"/>
                <a:gd name="connsiteX12" fmla="*/ 3277257 w 3892535"/>
                <a:gd name="connsiteY12" fmla="*/ 181656 h 1288550"/>
                <a:gd name="connsiteX13" fmla="*/ 2790063 w 3892535"/>
                <a:gd name="connsiteY13" fmla="*/ 281739 h 1288550"/>
                <a:gd name="connsiteX14" fmla="*/ 2320781 w 3892535"/>
                <a:gd name="connsiteY14" fmla="*/ 204402 h 1288550"/>
                <a:gd name="connsiteX15" fmla="*/ 1581038 w 3892535"/>
                <a:gd name="connsiteY15" fmla="*/ 179379 h 1288550"/>
                <a:gd name="connsiteX16" fmla="*/ 981000 w 3892535"/>
                <a:gd name="connsiteY16" fmla="*/ 88394 h 1288550"/>
                <a:gd name="connsiteX17" fmla="*/ 61263 w 3892535"/>
                <a:gd name="connsiteY17" fmla="*/ 24870 h 1288550"/>
                <a:gd name="connsiteX0" fmla="*/ 61263 w 3892533"/>
                <a:gd name="connsiteY0" fmla="*/ 24870 h 1288550"/>
                <a:gd name="connsiteX1" fmla="*/ 126754 w 3892533"/>
                <a:gd name="connsiteY1" fmla="*/ 531425 h 1288550"/>
                <a:gd name="connsiteX2" fmla="*/ 459363 w 3892533"/>
                <a:gd name="connsiteY2" fmla="*/ 1056279 h 1288550"/>
                <a:gd name="connsiteX3" fmla="*/ 966682 w 3892533"/>
                <a:gd name="connsiteY3" fmla="*/ 1280322 h 1288550"/>
                <a:gd name="connsiteX4" fmla="*/ 1584621 w 3892533"/>
                <a:gd name="connsiteY4" fmla="*/ 1232549 h 1288550"/>
                <a:gd name="connsiteX5" fmla="*/ 2069939 w 3892533"/>
                <a:gd name="connsiteY5" fmla="*/ 1160654 h 1288550"/>
                <a:gd name="connsiteX6" fmla="*/ 2338605 w 3892533"/>
                <a:gd name="connsiteY6" fmla="*/ 1285763 h 1288550"/>
                <a:gd name="connsiteX7" fmla="*/ 2490859 w 3892533"/>
                <a:gd name="connsiteY7" fmla="*/ 1149282 h 1288550"/>
                <a:gd name="connsiteX8" fmla="*/ 2768487 w 3892533"/>
                <a:gd name="connsiteY8" fmla="*/ 1206147 h 1288550"/>
                <a:gd name="connsiteX9" fmla="*/ 3360418 w 3892533"/>
                <a:gd name="connsiteY9" fmla="*/ 1044031 h 1288550"/>
                <a:gd name="connsiteX10" fmla="*/ 3635487 w 3892533"/>
                <a:gd name="connsiteY10" fmla="*/ 745777 h 1288550"/>
                <a:gd name="connsiteX11" fmla="*/ 3883573 w 3892533"/>
                <a:gd name="connsiteY11" fmla="*/ 445463 h 1288550"/>
                <a:gd name="connsiteX12" fmla="*/ 3892534 w 3892533"/>
                <a:gd name="connsiteY12" fmla="*/ 166306 h 1288550"/>
                <a:gd name="connsiteX13" fmla="*/ 3277257 w 3892533"/>
                <a:gd name="connsiteY13" fmla="*/ 181656 h 1288550"/>
                <a:gd name="connsiteX14" fmla="*/ 2790063 w 3892533"/>
                <a:gd name="connsiteY14" fmla="*/ 281739 h 1288550"/>
                <a:gd name="connsiteX15" fmla="*/ 2320781 w 3892533"/>
                <a:gd name="connsiteY15" fmla="*/ 204402 h 1288550"/>
                <a:gd name="connsiteX16" fmla="*/ 1581038 w 3892533"/>
                <a:gd name="connsiteY16" fmla="*/ 179379 h 1288550"/>
                <a:gd name="connsiteX17" fmla="*/ 981000 w 3892533"/>
                <a:gd name="connsiteY17" fmla="*/ 88394 h 1288550"/>
                <a:gd name="connsiteX18" fmla="*/ 61263 w 3892533"/>
                <a:gd name="connsiteY18" fmla="*/ 24870 h 1288550"/>
                <a:gd name="connsiteX0" fmla="*/ 61263 w 3892535"/>
                <a:gd name="connsiteY0" fmla="*/ 24870 h 1289751"/>
                <a:gd name="connsiteX1" fmla="*/ 126754 w 3892535"/>
                <a:gd name="connsiteY1" fmla="*/ 531425 h 1289751"/>
                <a:gd name="connsiteX2" fmla="*/ 459363 w 3892535"/>
                <a:gd name="connsiteY2" fmla="*/ 1056279 h 1289751"/>
                <a:gd name="connsiteX3" fmla="*/ 966682 w 3892535"/>
                <a:gd name="connsiteY3" fmla="*/ 1280322 h 1289751"/>
                <a:gd name="connsiteX4" fmla="*/ 1584621 w 3892535"/>
                <a:gd name="connsiteY4" fmla="*/ 1232549 h 1289751"/>
                <a:gd name="connsiteX5" fmla="*/ 1881860 w 3892535"/>
                <a:gd name="connsiteY5" fmla="*/ 1092415 h 1289751"/>
                <a:gd name="connsiteX6" fmla="*/ 2069939 w 3892535"/>
                <a:gd name="connsiteY6" fmla="*/ 1160654 h 1289751"/>
                <a:gd name="connsiteX7" fmla="*/ 2338605 w 3892535"/>
                <a:gd name="connsiteY7" fmla="*/ 1285763 h 1289751"/>
                <a:gd name="connsiteX8" fmla="*/ 2490859 w 3892535"/>
                <a:gd name="connsiteY8" fmla="*/ 1149282 h 1289751"/>
                <a:gd name="connsiteX9" fmla="*/ 2768487 w 3892535"/>
                <a:gd name="connsiteY9" fmla="*/ 1206147 h 1289751"/>
                <a:gd name="connsiteX10" fmla="*/ 3360418 w 3892535"/>
                <a:gd name="connsiteY10" fmla="*/ 1044031 h 1289751"/>
                <a:gd name="connsiteX11" fmla="*/ 3635487 w 3892535"/>
                <a:gd name="connsiteY11" fmla="*/ 745777 h 1289751"/>
                <a:gd name="connsiteX12" fmla="*/ 3883573 w 3892535"/>
                <a:gd name="connsiteY12" fmla="*/ 445463 h 1289751"/>
                <a:gd name="connsiteX13" fmla="*/ 3892534 w 3892535"/>
                <a:gd name="connsiteY13" fmla="*/ 166306 h 1289751"/>
                <a:gd name="connsiteX14" fmla="*/ 3277257 w 3892535"/>
                <a:gd name="connsiteY14" fmla="*/ 181656 h 1289751"/>
                <a:gd name="connsiteX15" fmla="*/ 2790063 w 3892535"/>
                <a:gd name="connsiteY15" fmla="*/ 281739 h 1289751"/>
                <a:gd name="connsiteX16" fmla="*/ 2320781 w 3892535"/>
                <a:gd name="connsiteY16" fmla="*/ 204402 h 1289751"/>
                <a:gd name="connsiteX17" fmla="*/ 1581038 w 3892535"/>
                <a:gd name="connsiteY17" fmla="*/ 179379 h 1289751"/>
                <a:gd name="connsiteX18" fmla="*/ 981000 w 3892535"/>
                <a:gd name="connsiteY18" fmla="*/ 88394 h 1289751"/>
                <a:gd name="connsiteX19" fmla="*/ 61263 w 3892535"/>
                <a:gd name="connsiteY19" fmla="*/ 24870 h 1289751"/>
                <a:gd name="connsiteX0" fmla="*/ 61263 w 3892533"/>
                <a:gd name="connsiteY0" fmla="*/ 24870 h 1411420"/>
                <a:gd name="connsiteX1" fmla="*/ 126754 w 3892533"/>
                <a:gd name="connsiteY1" fmla="*/ 531425 h 1411420"/>
                <a:gd name="connsiteX2" fmla="*/ 459363 w 3892533"/>
                <a:gd name="connsiteY2" fmla="*/ 1056279 h 1411420"/>
                <a:gd name="connsiteX3" fmla="*/ 966682 w 3892533"/>
                <a:gd name="connsiteY3" fmla="*/ 1280322 h 1411420"/>
                <a:gd name="connsiteX4" fmla="*/ 1407205 w 3892533"/>
                <a:gd name="connsiteY4" fmla="*/ 1410866 h 1411420"/>
                <a:gd name="connsiteX5" fmla="*/ 1584621 w 3892533"/>
                <a:gd name="connsiteY5" fmla="*/ 1232549 h 1411420"/>
                <a:gd name="connsiteX6" fmla="*/ 1881860 w 3892533"/>
                <a:gd name="connsiteY6" fmla="*/ 1092415 h 1411420"/>
                <a:gd name="connsiteX7" fmla="*/ 2069939 w 3892533"/>
                <a:gd name="connsiteY7" fmla="*/ 1160654 h 1411420"/>
                <a:gd name="connsiteX8" fmla="*/ 2338605 w 3892533"/>
                <a:gd name="connsiteY8" fmla="*/ 1285763 h 1411420"/>
                <a:gd name="connsiteX9" fmla="*/ 2490859 w 3892533"/>
                <a:gd name="connsiteY9" fmla="*/ 1149282 h 1411420"/>
                <a:gd name="connsiteX10" fmla="*/ 2768487 w 3892533"/>
                <a:gd name="connsiteY10" fmla="*/ 1206147 h 1411420"/>
                <a:gd name="connsiteX11" fmla="*/ 3360418 w 3892533"/>
                <a:gd name="connsiteY11" fmla="*/ 1044031 h 1411420"/>
                <a:gd name="connsiteX12" fmla="*/ 3635487 w 3892533"/>
                <a:gd name="connsiteY12" fmla="*/ 745777 h 1411420"/>
                <a:gd name="connsiteX13" fmla="*/ 3883573 w 3892533"/>
                <a:gd name="connsiteY13" fmla="*/ 445463 h 1411420"/>
                <a:gd name="connsiteX14" fmla="*/ 3892534 w 3892533"/>
                <a:gd name="connsiteY14" fmla="*/ 166306 h 1411420"/>
                <a:gd name="connsiteX15" fmla="*/ 3277257 w 3892533"/>
                <a:gd name="connsiteY15" fmla="*/ 181656 h 1411420"/>
                <a:gd name="connsiteX16" fmla="*/ 2790063 w 3892533"/>
                <a:gd name="connsiteY16" fmla="*/ 281739 h 1411420"/>
                <a:gd name="connsiteX17" fmla="*/ 2320781 w 3892533"/>
                <a:gd name="connsiteY17" fmla="*/ 204402 h 1411420"/>
                <a:gd name="connsiteX18" fmla="*/ 1581038 w 3892533"/>
                <a:gd name="connsiteY18" fmla="*/ 179379 h 1411420"/>
                <a:gd name="connsiteX19" fmla="*/ 981000 w 3892533"/>
                <a:gd name="connsiteY19" fmla="*/ 88394 h 1411420"/>
                <a:gd name="connsiteX20" fmla="*/ 61263 w 3892533"/>
                <a:gd name="connsiteY20" fmla="*/ 24870 h 1411420"/>
                <a:gd name="connsiteX0" fmla="*/ 61263 w 3892534"/>
                <a:gd name="connsiteY0" fmla="*/ 24870 h 1411420"/>
                <a:gd name="connsiteX1" fmla="*/ 126754 w 3892534"/>
                <a:gd name="connsiteY1" fmla="*/ 531425 h 1411420"/>
                <a:gd name="connsiteX2" fmla="*/ 459363 w 3892534"/>
                <a:gd name="connsiteY2" fmla="*/ 1056279 h 1411420"/>
                <a:gd name="connsiteX3" fmla="*/ 966682 w 3892534"/>
                <a:gd name="connsiteY3" fmla="*/ 1280322 h 1411420"/>
                <a:gd name="connsiteX4" fmla="*/ 1407205 w 3892534"/>
                <a:gd name="connsiteY4" fmla="*/ 1410866 h 1411420"/>
                <a:gd name="connsiteX5" fmla="*/ 1584621 w 3892534"/>
                <a:gd name="connsiteY5" fmla="*/ 1232549 h 1411420"/>
                <a:gd name="connsiteX6" fmla="*/ 1881860 w 3892534"/>
                <a:gd name="connsiteY6" fmla="*/ 1092415 h 1411420"/>
                <a:gd name="connsiteX7" fmla="*/ 2069939 w 3892534"/>
                <a:gd name="connsiteY7" fmla="*/ 1160654 h 1411420"/>
                <a:gd name="connsiteX8" fmla="*/ 2338605 w 3892534"/>
                <a:gd name="connsiteY8" fmla="*/ 1285763 h 1411420"/>
                <a:gd name="connsiteX9" fmla="*/ 2490859 w 3892534"/>
                <a:gd name="connsiteY9" fmla="*/ 1149282 h 1411420"/>
                <a:gd name="connsiteX10" fmla="*/ 2768487 w 3892534"/>
                <a:gd name="connsiteY10" fmla="*/ 1206147 h 1411420"/>
                <a:gd name="connsiteX11" fmla="*/ 3360418 w 3892534"/>
                <a:gd name="connsiteY11" fmla="*/ 1044031 h 1411420"/>
                <a:gd name="connsiteX12" fmla="*/ 3635487 w 3892534"/>
                <a:gd name="connsiteY12" fmla="*/ 745777 h 1411420"/>
                <a:gd name="connsiteX13" fmla="*/ 3892534 w 3892534"/>
                <a:gd name="connsiteY13" fmla="*/ 166306 h 1411420"/>
                <a:gd name="connsiteX14" fmla="*/ 3277257 w 3892534"/>
                <a:gd name="connsiteY14" fmla="*/ 181656 h 1411420"/>
                <a:gd name="connsiteX15" fmla="*/ 2790063 w 3892534"/>
                <a:gd name="connsiteY15" fmla="*/ 281739 h 1411420"/>
                <a:gd name="connsiteX16" fmla="*/ 2320781 w 3892534"/>
                <a:gd name="connsiteY16" fmla="*/ 204402 h 1411420"/>
                <a:gd name="connsiteX17" fmla="*/ 1581038 w 3892534"/>
                <a:gd name="connsiteY17" fmla="*/ 179379 h 1411420"/>
                <a:gd name="connsiteX18" fmla="*/ 981000 w 3892534"/>
                <a:gd name="connsiteY18" fmla="*/ 88394 h 1411420"/>
                <a:gd name="connsiteX19" fmla="*/ 61263 w 3892534"/>
                <a:gd name="connsiteY19" fmla="*/ 24870 h 1411420"/>
                <a:gd name="connsiteX0" fmla="*/ 61263 w 3635487"/>
                <a:gd name="connsiteY0" fmla="*/ 24870 h 1411420"/>
                <a:gd name="connsiteX1" fmla="*/ 126754 w 3635487"/>
                <a:gd name="connsiteY1" fmla="*/ 531425 h 1411420"/>
                <a:gd name="connsiteX2" fmla="*/ 459363 w 3635487"/>
                <a:gd name="connsiteY2" fmla="*/ 1056279 h 1411420"/>
                <a:gd name="connsiteX3" fmla="*/ 966682 w 3635487"/>
                <a:gd name="connsiteY3" fmla="*/ 1280322 h 1411420"/>
                <a:gd name="connsiteX4" fmla="*/ 1407205 w 3635487"/>
                <a:gd name="connsiteY4" fmla="*/ 1410866 h 1411420"/>
                <a:gd name="connsiteX5" fmla="*/ 1584621 w 3635487"/>
                <a:gd name="connsiteY5" fmla="*/ 1232549 h 1411420"/>
                <a:gd name="connsiteX6" fmla="*/ 1881860 w 3635487"/>
                <a:gd name="connsiteY6" fmla="*/ 1092415 h 1411420"/>
                <a:gd name="connsiteX7" fmla="*/ 2069939 w 3635487"/>
                <a:gd name="connsiteY7" fmla="*/ 1160654 h 1411420"/>
                <a:gd name="connsiteX8" fmla="*/ 2338605 w 3635487"/>
                <a:gd name="connsiteY8" fmla="*/ 1285763 h 1411420"/>
                <a:gd name="connsiteX9" fmla="*/ 2490859 w 3635487"/>
                <a:gd name="connsiteY9" fmla="*/ 1149282 h 1411420"/>
                <a:gd name="connsiteX10" fmla="*/ 2768487 w 3635487"/>
                <a:gd name="connsiteY10" fmla="*/ 1206147 h 1411420"/>
                <a:gd name="connsiteX11" fmla="*/ 3360418 w 3635487"/>
                <a:gd name="connsiteY11" fmla="*/ 1044031 h 1411420"/>
                <a:gd name="connsiteX12" fmla="*/ 3635487 w 3635487"/>
                <a:gd name="connsiteY12" fmla="*/ 745777 h 1411420"/>
                <a:gd name="connsiteX13" fmla="*/ 3585596 w 3635487"/>
                <a:gd name="connsiteY13" fmla="*/ 222686 h 1411420"/>
                <a:gd name="connsiteX14" fmla="*/ 3277257 w 3635487"/>
                <a:gd name="connsiteY14" fmla="*/ 181656 h 1411420"/>
                <a:gd name="connsiteX15" fmla="*/ 2790063 w 3635487"/>
                <a:gd name="connsiteY15" fmla="*/ 281739 h 1411420"/>
                <a:gd name="connsiteX16" fmla="*/ 2320781 w 3635487"/>
                <a:gd name="connsiteY16" fmla="*/ 204402 h 1411420"/>
                <a:gd name="connsiteX17" fmla="*/ 1581038 w 3635487"/>
                <a:gd name="connsiteY17" fmla="*/ 179379 h 1411420"/>
                <a:gd name="connsiteX18" fmla="*/ 981000 w 3635487"/>
                <a:gd name="connsiteY18" fmla="*/ 88394 h 1411420"/>
                <a:gd name="connsiteX19" fmla="*/ 61263 w 3635487"/>
                <a:gd name="connsiteY19" fmla="*/ 24870 h 1411420"/>
                <a:gd name="connsiteX0" fmla="*/ 94360 w 3556971"/>
                <a:gd name="connsiteY0" fmla="*/ 63653 h 1326168"/>
                <a:gd name="connsiteX1" fmla="*/ 48238 w 3556971"/>
                <a:gd name="connsiteY1" fmla="*/ 446173 h 1326168"/>
                <a:gd name="connsiteX2" fmla="*/ 380847 w 3556971"/>
                <a:gd name="connsiteY2" fmla="*/ 971027 h 1326168"/>
                <a:gd name="connsiteX3" fmla="*/ 888166 w 3556971"/>
                <a:gd name="connsiteY3" fmla="*/ 1195070 h 1326168"/>
                <a:gd name="connsiteX4" fmla="*/ 1328689 w 3556971"/>
                <a:gd name="connsiteY4" fmla="*/ 1325614 h 1326168"/>
                <a:gd name="connsiteX5" fmla="*/ 1506105 w 3556971"/>
                <a:gd name="connsiteY5" fmla="*/ 1147297 h 1326168"/>
                <a:gd name="connsiteX6" fmla="*/ 1803344 w 3556971"/>
                <a:gd name="connsiteY6" fmla="*/ 1007163 h 1326168"/>
                <a:gd name="connsiteX7" fmla="*/ 1991423 w 3556971"/>
                <a:gd name="connsiteY7" fmla="*/ 1075402 h 1326168"/>
                <a:gd name="connsiteX8" fmla="*/ 2260089 w 3556971"/>
                <a:gd name="connsiteY8" fmla="*/ 1200511 h 1326168"/>
                <a:gd name="connsiteX9" fmla="*/ 2412343 w 3556971"/>
                <a:gd name="connsiteY9" fmla="*/ 1064030 h 1326168"/>
                <a:gd name="connsiteX10" fmla="*/ 2689971 w 3556971"/>
                <a:gd name="connsiteY10" fmla="*/ 1120895 h 1326168"/>
                <a:gd name="connsiteX11" fmla="*/ 3281902 w 3556971"/>
                <a:gd name="connsiteY11" fmla="*/ 958779 h 1326168"/>
                <a:gd name="connsiteX12" fmla="*/ 3556971 w 3556971"/>
                <a:gd name="connsiteY12" fmla="*/ 660525 h 1326168"/>
                <a:gd name="connsiteX13" fmla="*/ 3507080 w 3556971"/>
                <a:gd name="connsiteY13" fmla="*/ 137434 h 1326168"/>
                <a:gd name="connsiteX14" fmla="*/ 3198741 w 3556971"/>
                <a:gd name="connsiteY14" fmla="*/ 96404 h 1326168"/>
                <a:gd name="connsiteX15" fmla="*/ 2711547 w 3556971"/>
                <a:gd name="connsiteY15" fmla="*/ 196487 h 1326168"/>
                <a:gd name="connsiteX16" fmla="*/ 2242265 w 3556971"/>
                <a:gd name="connsiteY16" fmla="*/ 119150 h 1326168"/>
                <a:gd name="connsiteX17" fmla="*/ 1502522 w 3556971"/>
                <a:gd name="connsiteY17" fmla="*/ 94127 h 1326168"/>
                <a:gd name="connsiteX18" fmla="*/ 902484 w 3556971"/>
                <a:gd name="connsiteY18" fmla="*/ 3142 h 1326168"/>
                <a:gd name="connsiteX19" fmla="*/ 94360 w 3556971"/>
                <a:gd name="connsiteY19" fmla="*/ 63653 h 1326168"/>
                <a:gd name="connsiteX0" fmla="*/ 57946 w 3520557"/>
                <a:gd name="connsiteY0" fmla="*/ 61876 h 1324391"/>
                <a:gd name="connsiteX1" fmla="*/ 95534 w 3520557"/>
                <a:gd name="connsiteY1" fmla="*/ 354189 h 1324391"/>
                <a:gd name="connsiteX2" fmla="*/ 344433 w 3520557"/>
                <a:gd name="connsiteY2" fmla="*/ 969250 h 1324391"/>
                <a:gd name="connsiteX3" fmla="*/ 851752 w 3520557"/>
                <a:gd name="connsiteY3" fmla="*/ 1193293 h 1324391"/>
                <a:gd name="connsiteX4" fmla="*/ 1292275 w 3520557"/>
                <a:gd name="connsiteY4" fmla="*/ 1323837 h 1324391"/>
                <a:gd name="connsiteX5" fmla="*/ 1469691 w 3520557"/>
                <a:gd name="connsiteY5" fmla="*/ 1145520 h 1324391"/>
                <a:gd name="connsiteX6" fmla="*/ 1766930 w 3520557"/>
                <a:gd name="connsiteY6" fmla="*/ 1005386 h 1324391"/>
                <a:gd name="connsiteX7" fmla="*/ 1955009 w 3520557"/>
                <a:gd name="connsiteY7" fmla="*/ 1073625 h 1324391"/>
                <a:gd name="connsiteX8" fmla="*/ 2223675 w 3520557"/>
                <a:gd name="connsiteY8" fmla="*/ 1198734 h 1324391"/>
                <a:gd name="connsiteX9" fmla="*/ 2375929 w 3520557"/>
                <a:gd name="connsiteY9" fmla="*/ 1062253 h 1324391"/>
                <a:gd name="connsiteX10" fmla="*/ 2653557 w 3520557"/>
                <a:gd name="connsiteY10" fmla="*/ 1119118 h 1324391"/>
                <a:gd name="connsiteX11" fmla="*/ 3245488 w 3520557"/>
                <a:gd name="connsiteY11" fmla="*/ 957002 h 1324391"/>
                <a:gd name="connsiteX12" fmla="*/ 3520557 w 3520557"/>
                <a:gd name="connsiteY12" fmla="*/ 658748 h 1324391"/>
                <a:gd name="connsiteX13" fmla="*/ 3470666 w 3520557"/>
                <a:gd name="connsiteY13" fmla="*/ 135657 h 1324391"/>
                <a:gd name="connsiteX14" fmla="*/ 3162327 w 3520557"/>
                <a:gd name="connsiteY14" fmla="*/ 94627 h 1324391"/>
                <a:gd name="connsiteX15" fmla="*/ 2675133 w 3520557"/>
                <a:gd name="connsiteY15" fmla="*/ 194710 h 1324391"/>
                <a:gd name="connsiteX16" fmla="*/ 2205851 w 3520557"/>
                <a:gd name="connsiteY16" fmla="*/ 117373 h 1324391"/>
                <a:gd name="connsiteX17" fmla="*/ 1466108 w 3520557"/>
                <a:gd name="connsiteY17" fmla="*/ 92350 h 1324391"/>
                <a:gd name="connsiteX18" fmla="*/ 866070 w 3520557"/>
                <a:gd name="connsiteY18" fmla="*/ 1365 h 1324391"/>
                <a:gd name="connsiteX19" fmla="*/ 57946 w 3520557"/>
                <a:gd name="connsiteY19" fmla="*/ 61876 h 1324391"/>
                <a:gd name="connsiteX0" fmla="*/ 119984 w 3436101"/>
                <a:gd name="connsiteY0" fmla="*/ 39450 h 1335792"/>
                <a:gd name="connsiteX1" fmla="*/ 11078 w 3436101"/>
                <a:gd name="connsiteY1" fmla="*/ 365590 h 1335792"/>
                <a:gd name="connsiteX2" fmla="*/ 259977 w 3436101"/>
                <a:gd name="connsiteY2" fmla="*/ 980651 h 1335792"/>
                <a:gd name="connsiteX3" fmla="*/ 767296 w 3436101"/>
                <a:gd name="connsiteY3" fmla="*/ 1204694 h 1335792"/>
                <a:gd name="connsiteX4" fmla="*/ 1207819 w 3436101"/>
                <a:gd name="connsiteY4" fmla="*/ 1335238 h 1335792"/>
                <a:gd name="connsiteX5" fmla="*/ 1385235 w 3436101"/>
                <a:gd name="connsiteY5" fmla="*/ 1156921 h 1335792"/>
                <a:gd name="connsiteX6" fmla="*/ 1682474 w 3436101"/>
                <a:gd name="connsiteY6" fmla="*/ 1016787 h 1335792"/>
                <a:gd name="connsiteX7" fmla="*/ 1870553 w 3436101"/>
                <a:gd name="connsiteY7" fmla="*/ 1085026 h 1335792"/>
                <a:gd name="connsiteX8" fmla="*/ 2139219 w 3436101"/>
                <a:gd name="connsiteY8" fmla="*/ 1210135 h 1335792"/>
                <a:gd name="connsiteX9" fmla="*/ 2291473 w 3436101"/>
                <a:gd name="connsiteY9" fmla="*/ 1073654 h 1335792"/>
                <a:gd name="connsiteX10" fmla="*/ 2569101 w 3436101"/>
                <a:gd name="connsiteY10" fmla="*/ 1130519 h 1335792"/>
                <a:gd name="connsiteX11" fmla="*/ 3161032 w 3436101"/>
                <a:gd name="connsiteY11" fmla="*/ 968403 h 1335792"/>
                <a:gd name="connsiteX12" fmla="*/ 3436101 w 3436101"/>
                <a:gd name="connsiteY12" fmla="*/ 670149 h 1335792"/>
                <a:gd name="connsiteX13" fmla="*/ 3386210 w 3436101"/>
                <a:gd name="connsiteY13" fmla="*/ 147058 h 1335792"/>
                <a:gd name="connsiteX14" fmla="*/ 3077871 w 3436101"/>
                <a:gd name="connsiteY14" fmla="*/ 106028 h 1335792"/>
                <a:gd name="connsiteX15" fmla="*/ 2590677 w 3436101"/>
                <a:gd name="connsiteY15" fmla="*/ 206111 h 1335792"/>
                <a:gd name="connsiteX16" fmla="*/ 2121395 w 3436101"/>
                <a:gd name="connsiteY16" fmla="*/ 128774 h 1335792"/>
                <a:gd name="connsiteX17" fmla="*/ 1381652 w 3436101"/>
                <a:gd name="connsiteY17" fmla="*/ 103751 h 1335792"/>
                <a:gd name="connsiteX18" fmla="*/ 781614 w 3436101"/>
                <a:gd name="connsiteY18" fmla="*/ 12766 h 1335792"/>
                <a:gd name="connsiteX19" fmla="*/ 119984 w 3436101"/>
                <a:gd name="connsiteY19" fmla="*/ 39450 h 1335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436101" h="1335792">
                  <a:moveTo>
                    <a:pt x="119984" y="39450"/>
                  </a:moveTo>
                  <a:cubicBezTo>
                    <a:pt x="-8439" y="98254"/>
                    <a:pt x="-12254" y="208723"/>
                    <a:pt x="11078" y="365590"/>
                  </a:cubicBezTo>
                  <a:cubicBezTo>
                    <a:pt x="34410" y="522457"/>
                    <a:pt x="133941" y="840800"/>
                    <a:pt x="259977" y="980651"/>
                  </a:cubicBezTo>
                  <a:cubicBezTo>
                    <a:pt x="386013" y="1120502"/>
                    <a:pt x="609322" y="1145596"/>
                    <a:pt x="767296" y="1204694"/>
                  </a:cubicBezTo>
                  <a:cubicBezTo>
                    <a:pt x="925270" y="1263792"/>
                    <a:pt x="1104829" y="1343200"/>
                    <a:pt x="1207819" y="1335238"/>
                  </a:cubicBezTo>
                  <a:cubicBezTo>
                    <a:pt x="1310809" y="1327276"/>
                    <a:pt x="1306126" y="1209996"/>
                    <a:pt x="1385235" y="1156921"/>
                  </a:cubicBezTo>
                  <a:cubicBezTo>
                    <a:pt x="1464344" y="1103846"/>
                    <a:pt x="1601588" y="1028769"/>
                    <a:pt x="1682474" y="1016787"/>
                  </a:cubicBezTo>
                  <a:cubicBezTo>
                    <a:pt x="1763360" y="1004805"/>
                    <a:pt x="1794429" y="1069862"/>
                    <a:pt x="1870553" y="1085026"/>
                  </a:cubicBezTo>
                  <a:cubicBezTo>
                    <a:pt x="1946677" y="1100191"/>
                    <a:pt x="2069066" y="1212030"/>
                    <a:pt x="2139219" y="1210135"/>
                  </a:cubicBezTo>
                  <a:cubicBezTo>
                    <a:pt x="2209372" y="1208240"/>
                    <a:pt x="2219827" y="1102087"/>
                    <a:pt x="2291473" y="1073654"/>
                  </a:cubicBezTo>
                  <a:cubicBezTo>
                    <a:pt x="2363119" y="1045221"/>
                    <a:pt x="2424175" y="1148061"/>
                    <a:pt x="2569101" y="1130519"/>
                  </a:cubicBezTo>
                  <a:cubicBezTo>
                    <a:pt x="2714027" y="1112977"/>
                    <a:pt x="3016531" y="1029967"/>
                    <a:pt x="3161032" y="968403"/>
                  </a:cubicBezTo>
                  <a:cubicBezTo>
                    <a:pt x="3273278" y="807660"/>
                    <a:pt x="3339825" y="850615"/>
                    <a:pt x="3436101" y="670149"/>
                  </a:cubicBezTo>
                  <a:lnTo>
                    <a:pt x="3386210" y="147058"/>
                  </a:lnTo>
                  <a:cubicBezTo>
                    <a:pt x="3289934" y="72761"/>
                    <a:pt x="3677026" y="123414"/>
                    <a:pt x="3077871" y="106028"/>
                  </a:cubicBezTo>
                  <a:cubicBezTo>
                    <a:pt x="2867259" y="170760"/>
                    <a:pt x="2909204" y="102234"/>
                    <a:pt x="2590677" y="206111"/>
                  </a:cubicBezTo>
                  <a:cubicBezTo>
                    <a:pt x="2431264" y="209902"/>
                    <a:pt x="2322899" y="145834"/>
                    <a:pt x="2121395" y="128774"/>
                  </a:cubicBezTo>
                  <a:cubicBezTo>
                    <a:pt x="1919891" y="111714"/>
                    <a:pt x="1604949" y="123086"/>
                    <a:pt x="1381652" y="103751"/>
                  </a:cubicBezTo>
                  <a:cubicBezTo>
                    <a:pt x="1158355" y="84416"/>
                    <a:pt x="991892" y="23483"/>
                    <a:pt x="781614" y="12766"/>
                  </a:cubicBezTo>
                  <a:cubicBezTo>
                    <a:pt x="571336" y="2049"/>
                    <a:pt x="248407" y="-19354"/>
                    <a:pt x="119984" y="39450"/>
                  </a:cubicBezTo>
                  <a:close/>
                </a:path>
              </a:pathLst>
            </a:custGeom>
            <a:solidFill>
              <a:srgbClr val="E3D16D">
                <a:alpha val="80000"/>
              </a:srgbClr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600"/>
            </a:p>
          </p:txBody>
        </p:sp>
        <p:grpSp>
          <p:nvGrpSpPr>
            <p:cNvPr id="32" name="!!Group 676">
              <a:extLst>
                <a:ext uri="{FF2B5EF4-FFF2-40B4-BE49-F238E27FC236}">
                  <a16:creationId xmlns:a16="http://schemas.microsoft.com/office/drawing/2014/main" id="{789C54BA-2CCC-9B9B-ABA2-00B27E4F8B31}"/>
                </a:ext>
              </a:extLst>
            </p:cNvPr>
            <p:cNvGrpSpPr/>
            <p:nvPr/>
          </p:nvGrpSpPr>
          <p:grpSpPr>
            <a:xfrm>
              <a:off x="1858461" y="2939278"/>
              <a:ext cx="274267" cy="514649"/>
              <a:chOff x="5661453" y="2606543"/>
              <a:chExt cx="275343" cy="516667"/>
            </a:xfrm>
          </p:grpSpPr>
          <p:sp>
            <p:nvSpPr>
              <p:cNvPr id="209" name="Freeform: Shape 4677">
                <a:extLst>
                  <a:ext uri="{FF2B5EF4-FFF2-40B4-BE49-F238E27FC236}">
                    <a16:creationId xmlns:a16="http://schemas.microsoft.com/office/drawing/2014/main" id="{4C6AD986-930C-494B-D1BD-2754F0491011}"/>
                  </a:ext>
                </a:extLst>
              </p:cNvPr>
              <p:cNvSpPr/>
              <p:nvPr/>
            </p:nvSpPr>
            <p:spPr>
              <a:xfrm>
                <a:off x="5684131" y="2624804"/>
                <a:ext cx="24899" cy="146087"/>
              </a:xfrm>
              <a:custGeom>
                <a:avLst/>
                <a:gdLst>
                  <a:gd name="connsiteX0" fmla="*/ 0 w 45824"/>
                  <a:gd name="connsiteY0" fmla="*/ 0 h 266613"/>
                  <a:gd name="connsiteX1" fmla="*/ 0 w 45824"/>
                  <a:gd name="connsiteY1" fmla="*/ 0 h 266613"/>
                  <a:gd name="connsiteX2" fmla="*/ 4165 w 45824"/>
                  <a:gd name="connsiteY2" fmla="*/ 18746 h 266613"/>
                  <a:gd name="connsiteX3" fmla="*/ 10414 w 45824"/>
                  <a:gd name="connsiteY3" fmla="*/ 47907 h 266613"/>
                  <a:gd name="connsiteX4" fmla="*/ 16663 w 45824"/>
                  <a:gd name="connsiteY4" fmla="*/ 52072 h 266613"/>
                  <a:gd name="connsiteX5" fmla="*/ 20829 w 45824"/>
                  <a:gd name="connsiteY5" fmla="*/ 58321 h 266613"/>
                  <a:gd name="connsiteX6" fmla="*/ 27078 w 45824"/>
                  <a:gd name="connsiteY6" fmla="*/ 60404 h 266613"/>
                  <a:gd name="connsiteX7" fmla="*/ 33326 w 45824"/>
                  <a:gd name="connsiteY7" fmla="*/ 64570 h 266613"/>
                  <a:gd name="connsiteX8" fmla="*/ 41658 w 45824"/>
                  <a:gd name="connsiteY8" fmla="*/ 77067 h 266613"/>
                  <a:gd name="connsiteX9" fmla="*/ 45824 w 45824"/>
                  <a:gd name="connsiteY9" fmla="*/ 83316 h 266613"/>
                  <a:gd name="connsiteX10" fmla="*/ 43741 w 45824"/>
                  <a:gd name="connsiteY10" fmla="*/ 145804 h 266613"/>
                  <a:gd name="connsiteX11" fmla="*/ 41658 w 45824"/>
                  <a:gd name="connsiteY11" fmla="*/ 152052 h 266613"/>
                  <a:gd name="connsiteX12" fmla="*/ 37492 w 45824"/>
                  <a:gd name="connsiteY12" fmla="*/ 168716 h 266613"/>
                  <a:gd name="connsiteX13" fmla="*/ 31243 w 45824"/>
                  <a:gd name="connsiteY13" fmla="*/ 174964 h 266613"/>
                  <a:gd name="connsiteX14" fmla="*/ 20829 w 45824"/>
                  <a:gd name="connsiteY14" fmla="*/ 193711 h 266613"/>
                  <a:gd name="connsiteX15" fmla="*/ 16663 w 45824"/>
                  <a:gd name="connsiteY15" fmla="*/ 199959 h 266613"/>
                  <a:gd name="connsiteX16" fmla="*/ 12497 w 45824"/>
                  <a:gd name="connsiteY16" fmla="*/ 214540 h 266613"/>
                  <a:gd name="connsiteX17" fmla="*/ 10414 w 45824"/>
                  <a:gd name="connsiteY17" fmla="*/ 222872 h 266613"/>
                  <a:gd name="connsiteX18" fmla="*/ 10414 w 45824"/>
                  <a:gd name="connsiteY18" fmla="*/ 266613 h 266613"/>
                  <a:gd name="connsiteX19" fmla="*/ 12497 w 45824"/>
                  <a:gd name="connsiteY19" fmla="*/ 266613 h 266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45824" h="266613">
                    <a:moveTo>
                      <a:pt x="0" y="0"/>
                    </a:moveTo>
                    <a:lnTo>
                      <a:pt x="0" y="0"/>
                    </a:lnTo>
                    <a:cubicBezTo>
                      <a:pt x="1388" y="6249"/>
                      <a:pt x="3053" y="12442"/>
                      <a:pt x="4165" y="18746"/>
                    </a:cubicBezTo>
                    <a:cubicBezTo>
                      <a:pt x="4487" y="20573"/>
                      <a:pt x="6286" y="45156"/>
                      <a:pt x="10414" y="47907"/>
                    </a:cubicBezTo>
                    <a:lnTo>
                      <a:pt x="16663" y="52072"/>
                    </a:lnTo>
                    <a:cubicBezTo>
                      <a:pt x="18052" y="54155"/>
                      <a:pt x="18874" y="56757"/>
                      <a:pt x="20829" y="58321"/>
                    </a:cubicBezTo>
                    <a:cubicBezTo>
                      <a:pt x="22544" y="59693"/>
                      <a:pt x="25114" y="59422"/>
                      <a:pt x="27078" y="60404"/>
                    </a:cubicBezTo>
                    <a:cubicBezTo>
                      <a:pt x="29317" y="61524"/>
                      <a:pt x="31243" y="63181"/>
                      <a:pt x="33326" y="64570"/>
                    </a:cubicBezTo>
                    <a:lnTo>
                      <a:pt x="41658" y="77067"/>
                    </a:lnTo>
                    <a:lnTo>
                      <a:pt x="45824" y="83316"/>
                    </a:lnTo>
                    <a:cubicBezTo>
                      <a:pt x="45130" y="104145"/>
                      <a:pt x="45002" y="125001"/>
                      <a:pt x="43741" y="145804"/>
                    </a:cubicBezTo>
                    <a:cubicBezTo>
                      <a:pt x="43608" y="147995"/>
                      <a:pt x="42190" y="149922"/>
                      <a:pt x="41658" y="152052"/>
                    </a:cubicBezTo>
                    <a:cubicBezTo>
                      <a:pt x="41237" y="153734"/>
                      <a:pt x="39397" y="165859"/>
                      <a:pt x="37492" y="168716"/>
                    </a:cubicBezTo>
                    <a:cubicBezTo>
                      <a:pt x="35858" y="171167"/>
                      <a:pt x="33326" y="172881"/>
                      <a:pt x="31243" y="174964"/>
                    </a:cubicBezTo>
                    <a:cubicBezTo>
                      <a:pt x="27577" y="185962"/>
                      <a:pt x="30377" y="179389"/>
                      <a:pt x="20829" y="193711"/>
                    </a:cubicBezTo>
                    <a:lnTo>
                      <a:pt x="16663" y="199959"/>
                    </a:lnTo>
                    <a:cubicBezTo>
                      <a:pt x="10151" y="226006"/>
                      <a:pt x="18474" y="193622"/>
                      <a:pt x="12497" y="214540"/>
                    </a:cubicBezTo>
                    <a:cubicBezTo>
                      <a:pt x="11711" y="217293"/>
                      <a:pt x="10528" y="220011"/>
                      <a:pt x="10414" y="222872"/>
                    </a:cubicBezTo>
                    <a:cubicBezTo>
                      <a:pt x="9831" y="237441"/>
                      <a:pt x="10414" y="252033"/>
                      <a:pt x="10414" y="266613"/>
                    </a:cubicBezTo>
                    <a:lnTo>
                      <a:pt x="12497" y="266613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210" name="Freeform: Shape 4678">
                <a:extLst>
                  <a:ext uri="{FF2B5EF4-FFF2-40B4-BE49-F238E27FC236}">
                    <a16:creationId xmlns:a16="http://schemas.microsoft.com/office/drawing/2014/main" id="{32890410-0889-2C47-95A5-238968F67301}"/>
                  </a:ext>
                </a:extLst>
              </p:cNvPr>
              <p:cNvSpPr/>
              <p:nvPr/>
            </p:nvSpPr>
            <p:spPr>
              <a:xfrm>
                <a:off x="5713557" y="2615673"/>
                <a:ext cx="24900" cy="134674"/>
              </a:xfrm>
              <a:custGeom>
                <a:avLst/>
                <a:gdLst>
                  <a:gd name="connsiteX0" fmla="*/ 0 w 45825"/>
                  <a:gd name="connsiteY0" fmla="*/ 0 h 245784"/>
                  <a:gd name="connsiteX1" fmla="*/ 0 w 45825"/>
                  <a:gd name="connsiteY1" fmla="*/ 0 h 245784"/>
                  <a:gd name="connsiteX2" fmla="*/ 2083 w 45825"/>
                  <a:gd name="connsiteY2" fmla="*/ 41659 h 245784"/>
                  <a:gd name="connsiteX3" fmla="*/ 4166 w 45825"/>
                  <a:gd name="connsiteY3" fmla="*/ 47907 h 245784"/>
                  <a:gd name="connsiteX4" fmla="*/ 8332 w 45825"/>
                  <a:gd name="connsiteY4" fmla="*/ 54156 h 245784"/>
                  <a:gd name="connsiteX5" fmla="*/ 14581 w 45825"/>
                  <a:gd name="connsiteY5" fmla="*/ 58322 h 245784"/>
                  <a:gd name="connsiteX6" fmla="*/ 24995 w 45825"/>
                  <a:gd name="connsiteY6" fmla="*/ 68736 h 245784"/>
                  <a:gd name="connsiteX7" fmla="*/ 31244 w 45825"/>
                  <a:gd name="connsiteY7" fmla="*/ 81234 h 245784"/>
                  <a:gd name="connsiteX8" fmla="*/ 39576 w 45825"/>
                  <a:gd name="connsiteY8" fmla="*/ 93731 h 245784"/>
                  <a:gd name="connsiteX9" fmla="*/ 43742 w 45825"/>
                  <a:gd name="connsiteY9" fmla="*/ 99980 h 245784"/>
                  <a:gd name="connsiteX10" fmla="*/ 45825 w 45825"/>
                  <a:gd name="connsiteY10" fmla="*/ 106229 h 245784"/>
                  <a:gd name="connsiteX11" fmla="*/ 43742 w 45825"/>
                  <a:gd name="connsiteY11" fmla="*/ 139556 h 245784"/>
                  <a:gd name="connsiteX12" fmla="*/ 41659 w 45825"/>
                  <a:gd name="connsiteY12" fmla="*/ 145804 h 245784"/>
                  <a:gd name="connsiteX13" fmla="*/ 39576 w 45825"/>
                  <a:gd name="connsiteY13" fmla="*/ 156219 h 245784"/>
                  <a:gd name="connsiteX14" fmla="*/ 35410 w 45825"/>
                  <a:gd name="connsiteY14" fmla="*/ 162468 h 245784"/>
                  <a:gd name="connsiteX15" fmla="*/ 29161 w 45825"/>
                  <a:gd name="connsiteY15" fmla="*/ 183297 h 245784"/>
                  <a:gd name="connsiteX16" fmla="*/ 24995 w 45825"/>
                  <a:gd name="connsiteY16" fmla="*/ 189546 h 245784"/>
                  <a:gd name="connsiteX17" fmla="*/ 16664 w 45825"/>
                  <a:gd name="connsiteY17" fmla="*/ 208292 h 245784"/>
                  <a:gd name="connsiteX18" fmla="*/ 14581 w 45825"/>
                  <a:gd name="connsiteY18" fmla="*/ 220789 h 245784"/>
                  <a:gd name="connsiteX19" fmla="*/ 10415 w 45825"/>
                  <a:gd name="connsiteY19" fmla="*/ 227038 h 245784"/>
                  <a:gd name="connsiteX20" fmla="*/ 12498 w 45825"/>
                  <a:gd name="connsiteY20" fmla="*/ 245784 h 245784"/>
                  <a:gd name="connsiteX21" fmla="*/ 12498 w 45825"/>
                  <a:gd name="connsiteY21" fmla="*/ 245784 h 245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45825" h="245784">
                    <a:moveTo>
                      <a:pt x="0" y="0"/>
                    </a:moveTo>
                    <a:lnTo>
                      <a:pt x="0" y="0"/>
                    </a:lnTo>
                    <a:cubicBezTo>
                      <a:pt x="694" y="13886"/>
                      <a:pt x="878" y="27808"/>
                      <a:pt x="2083" y="41659"/>
                    </a:cubicBezTo>
                    <a:cubicBezTo>
                      <a:pt x="2273" y="43846"/>
                      <a:pt x="3184" y="45943"/>
                      <a:pt x="4166" y="47907"/>
                    </a:cubicBezTo>
                    <a:cubicBezTo>
                      <a:pt x="5286" y="50146"/>
                      <a:pt x="6562" y="52386"/>
                      <a:pt x="8332" y="54156"/>
                    </a:cubicBezTo>
                    <a:cubicBezTo>
                      <a:pt x="10102" y="55926"/>
                      <a:pt x="12498" y="56933"/>
                      <a:pt x="14581" y="58322"/>
                    </a:cubicBezTo>
                    <a:cubicBezTo>
                      <a:pt x="25691" y="74988"/>
                      <a:pt x="11109" y="54850"/>
                      <a:pt x="24995" y="68736"/>
                    </a:cubicBezTo>
                    <a:cubicBezTo>
                      <a:pt x="31931" y="75672"/>
                      <a:pt x="27008" y="73610"/>
                      <a:pt x="31244" y="81234"/>
                    </a:cubicBezTo>
                    <a:cubicBezTo>
                      <a:pt x="33676" y="85611"/>
                      <a:pt x="36799" y="89565"/>
                      <a:pt x="39576" y="93731"/>
                    </a:cubicBezTo>
                    <a:cubicBezTo>
                      <a:pt x="40965" y="95814"/>
                      <a:pt x="42950" y="97605"/>
                      <a:pt x="43742" y="99980"/>
                    </a:cubicBezTo>
                    <a:lnTo>
                      <a:pt x="45825" y="106229"/>
                    </a:lnTo>
                    <a:cubicBezTo>
                      <a:pt x="45131" y="117338"/>
                      <a:pt x="44907" y="128486"/>
                      <a:pt x="43742" y="139556"/>
                    </a:cubicBezTo>
                    <a:cubicBezTo>
                      <a:pt x="43512" y="141739"/>
                      <a:pt x="42191" y="143674"/>
                      <a:pt x="41659" y="145804"/>
                    </a:cubicBezTo>
                    <a:cubicBezTo>
                      <a:pt x="40800" y="149239"/>
                      <a:pt x="40819" y="152904"/>
                      <a:pt x="39576" y="156219"/>
                    </a:cubicBezTo>
                    <a:cubicBezTo>
                      <a:pt x="38697" y="158563"/>
                      <a:pt x="36799" y="160385"/>
                      <a:pt x="35410" y="162468"/>
                    </a:cubicBezTo>
                    <a:cubicBezTo>
                      <a:pt x="34246" y="167125"/>
                      <a:pt x="31189" y="180255"/>
                      <a:pt x="29161" y="183297"/>
                    </a:cubicBezTo>
                    <a:cubicBezTo>
                      <a:pt x="27772" y="185380"/>
                      <a:pt x="26012" y="187258"/>
                      <a:pt x="24995" y="189546"/>
                    </a:cubicBezTo>
                    <a:cubicBezTo>
                      <a:pt x="15081" y="211855"/>
                      <a:pt x="26092" y="194150"/>
                      <a:pt x="16664" y="208292"/>
                    </a:cubicBezTo>
                    <a:cubicBezTo>
                      <a:pt x="15970" y="212458"/>
                      <a:pt x="15917" y="216783"/>
                      <a:pt x="14581" y="220789"/>
                    </a:cubicBezTo>
                    <a:cubicBezTo>
                      <a:pt x="13789" y="223164"/>
                      <a:pt x="10623" y="224543"/>
                      <a:pt x="10415" y="227038"/>
                    </a:cubicBezTo>
                    <a:cubicBezTo>
                      <a:pt x="9893" y="233303"/>
                      <a:pt x="12498" y="245784"/>
                      <a:pt x="12498" y="245784"/>
                    </a:cubicBezTo>
                    <a:lnTo>
                      <a:pt x="12498" y="245784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211" name="Freeform: Shape 4679">
                <a:extLst>
                  <a:ext uri="{FF2B5EF4-FFF2-40B4-BE49-F238E27FC236}">
                    <a16:creationId xmlns:a16="http://schemas.microsoft.com/office/drawing/2014/main" id="{A36338B3-F70C-C0DF-FC18-C7F3F0F4D748}"/>
                  </a:ext>
                </a:extLst>
              </p:cNvPr>
              <p:cNvSpPr/>
              <p:nvPr/>
            </p:nvSpPr>
            <p:spPr>
              <a:xfrm>
                <a:off x="5739513" y="2612250"/>
                <a:ext cx="21579" cy="131250"/>
              </a:xfrm>
              <a:custGeom>
                <a:avLst/>
                <a:gdLst>
                  <a:gd name="connsiteX0" fmla="*/ 4304 w 39714"/>
                  <a:gd name="connsiteY0" fmla="*/ 0 h 239535"/>
                  <a:gd name="connsiteX1" fmla="*/ 4304 w 39714"/>
                  <a:gd name="connsiteY1" fmla="*/ 0 h 239535"/>
                  <a:gd name="connsiteX2" fmla="*/ 138 w 39714"/>
                  <a:gd name="connsiteY2" fmla="*/ 18746 h 239535"/>
                  <a:gd name="connsiteX3" fmla="*/ 6387 w 39714"/>
                  <a:gd name="connsiteY3" fmla="*/ 52072 h 239535"/>
                  <a:gd name="connsiteX4" fmla="*/ 8470 w 39714"/>
                  <a:gd name="connsiteY4" fmla="*/ 58321 h 239535"/>
                  <a:gd name="connsiteX5" fmla="*/ 14719 w 39714"/>
                  <a:gd name="connsiteY5" fmla="*/ 62487 h 239535"/>
                  <a:gd name="connsiteX6" fmla="*/ 18885 w 39714"/>
                  <a:gd name="connsiteY6" fmla="*/ 68736 h 239535"/>
                  <a:gd name="connsiteX7" fmla="*/ 35548 w 39714"/>
                  <a:gd name="connsiteY7" fmla="*/ 87482 h 239535"/>
                  <a:gd name="connsiteX8" fmla="*/ 39714 w 39714"/>
                  <a:gd name="connsiteY8" fmla="*/ 99979 h 239535"/>
                  <a:gd name="connsiteX9" fmla="*/ 37631 w 39714"/>
                  <a:gd name="connsiteY9" fmla="*/ 147887 h 239535"/>
                  <a:gd name="connsiteX10" fmla="*/ 31382 w 39714"/>
                  <a:gd name="connsiteY10" fmla="*/ 179130 h 239535"/>
                  <a:gd name="connsiteX11" fmla="*/ 27216 w 39714"/>
                  <a:gd name="connsiteY11" fmla="*/ 185379 h 239535"/>
                  <a:gd name="connsiteX12" fmla="*/ 25133 w 39714"/>
                  <a:gd name="connsiteY12" fmla="*/ 193711 h 239535"/>
                  <a:gd name="connsiteX13" fmla="*/ 23051 w 39714"/>
                  <a:gd name="connsiteY13" fmla="*/ 199959 h 239535"/>
                  <a:gd name="connsiteX14" fmla="*/ 23051 w 39714"/>
                  <a:gd name="connsiteY14" fmla="*/ 239535 h 239535"/>
                  <a:gd name="connsiteX15" fmla="*/ 23051 w 39714"/>
                  <a:gd name="connsiteY15" fmla="*/ 239535 h 239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9714" h="239535">
                    <a:moveTo>
                      <a:pt x="4304" y="0"/>
                    </a:moveTo>
                    <a:lnTo>
                      <a:pt x="4304" y="0"/>
                    </a:lnTo>
                    <a:cubicBezTo>
                      <a:pt x="2915" y="6249"/>
                      <a:pt x="474" y="12354"/>
                      <a:pt x="138" y="18746"/>
                    </a:cubicBezTo>
                    <a:cubicBezTo>
                      <a:pt x="-664" y="33980"/>
                      <a:pt x="2105" y="39226"/>
                      <a:pt x="6387" y="52072"/>
                    </a:cubicBezTo>
                    <a:cubicBezTo>
                      <a:pt x="7081" y="54155"/>
                      <a:pt x="6643" y="57103"/>
                      <a:pt x="8470" y="58321"/>
                    </a:cubicBezTo>
                    <a:lnTo>
                      <a:pt x="14719" y="62487"/>
                    </a:lnTo>
                    <a:cubicBezTo>
                      <a:pt x="16108" y="64570"/>
                      <a:pt x="17222" y="66865"/>
                      <a:pt x="18885" y="68736"/>
                    </a:cubicBezTo>
                    <a:cubicBezTo>
                      <a:pt x="23076" y="73451"/>
                      <a:pt x="32396" y="80391"/>
                      <a:pt x="35548" y="87482"/>
                    </a:cubicBezTo>
                    <a:cubicBezTo>
                      <a:pt x="37331" y="91495"/>
                      <a:pt x="39714" y="99979"/>
                      <a:pt x="39714" y="99979"/>
                    </a:cubicBezTo>
                    <a:cubicBezTo>
                      <a:pt x="39020" y="115948"/>
                      <a:pt x="38628" y="131934"/>
                      <a:pt x="37631" y="147887"/>
                    </a:cubicBezTo>
                    <a:cubicBezTo>
                      <a:pt x="37214" y="154555"/>
                      <a:pt x="36034" y="172152"/>
                      <a:pt x="31382" y="179130"/>
                    </a:cubicBezTo>
                    <a:lnTo>
                      <a:pt x="27216" y="185379"/>
                    </a:lnTo>
                    <a:cubicBezTo>
                      <a:pt x="26522" y="188156"/>
                      <a:pt x="25919" y="190958"/>
                      <a:pt x="25133" y="193711"/>
                    </a:cubicBezTo>
                    <a:cubicBezTo>
                      <a:pt x="24530" y="195822"/>
                      <a:pt x="23151" y="197766"/>
                      <a:pt x="23051" y="199959"/>
                    </a:cubicBezTo>
                    <a:cubicBezTo>
                      <a:pt x="22452" y="213137"/>
                      <a:pt x="23051" y="226343"/>
                      <a:pt x="23051" y="239535"/>
                    </a:cubicBezTo>
                    <a:lnTo>
                      <a:pt x="23051" y="239535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212" name="Freeform: Shape 4680">
                <a:extLst>
                  <a:ext uri="{FF2B5EF4-FFF2-40B4-BE49-F238E27FC236}">
                    <a16:creationId xmlns:a16="http://schemas.microsoft.com/office/drawing/2014/main" id="{A0EFAB02-6058-A2A7-A6C2-6CF5D63C089A}"/>
                  </a:ext>
                </a:extLst>
              </p:cNvPr>
              <p:cNvSpPr/>
              <p:nvPr/>
            </p:nvSpPr>
            <p:spPr>
              <a:xfrm>
                <a:off x="5766751" y="2607684"/>
                <a:ext cx="21537" cy="140380"/>
              </a:xfrm>
              <a:custGeom>
                <a:avLst/>
                <a:gdLst>
                  <a:gd name="connsiteX0" fmla="*/ 0 w 39637"/>
                  <a:gd name="connsiteY0" fmla="*/ 0 h 256198"/>
                  <a:gd name="connsiteX1" fmla="*/ 0 w 39637"/>
                  <a:gd name="connsiteY1" fmla="*/ 0 h 256198"/>
                  <a:gd name="connsiteX2" fmla="*/ 4166 w 39637"/>
                  <a:gd name="connsiteY2" fmla="*/ 18746 h 256198"/>
                  <a:gd name="connsiteX3" fmla="*/ 10415 w 39637"/>
                  <a:gd name="connsiteY3" fmla="*/ 31244 h 256198"/>
                  <a:gd name="connsiteX4" fmla="*/ 16664 w 39637"/>
                  <a:gd name="connsiteY4" fmla="*/ 35409 h 256198"/>
                  <a:gd name="connsiteX5" fmla="*/ 18747 w 39637"/>
                  <a:gd name="connsiteY5" fmla="*/ 41658 h 256198"/>
                  <a:gd name="connsiteX6" fmla="*/ 27078 w 39637"/>
                  <a:gd name="connsiteY6" fmla="*/ 54156 h 256198"/>
                  <a:gd name="connsiteX7" fmla="*/ 31244 w 39637"/>
                  <a:gd name="connsiteY7" fmla="*/ 66653 h 256198"/>
                  <a:gd name="connsiteX8" fmla="*/ 35410 w 39637"/>
                  <a:gd name="connsiteY8" fmla="*/ 79151 h 256198"/>
                  <a:gd name="connsiteX9" fmla="*/ 37493 w 39637"/>
                  <a:gd name="connsiteY9" fmla="*/ 85399 h 256198"/>
                  <a:gd name="connsiteX10" fmla="*/ 37493 w 39637"/>
                  <a:gd name="connsiteY10" fmla="*/ 141638 h 256198"/>
                  <a:gd name="connsiteX11" fmla="*/ 33327 w 39637"/>
                  <a:gd name="connsiteY11" fmla="*/ 172882 h 256198"/>
                  <a:gd name="connsiteX12" fmla="*/ 29161 w 39637"/>
                  <a:gd name="connsiteY12" fmla="*/ 179131 h 256198"/>
                  <a:gd name="connsiteX13" fmla="*/ 27078 w 39637"/>
                  <a:gd name="connsiteY13" fmla="*/ 185379 h 256198"/>
                  <a:gd name="connsiteX14" fmla="*/ 18747 w 39637"/>
                  <a:gd name="connsiteY14" fmla="*/ 197877 h 256198"/>
                  <a:gd name="connsiteX15" fmla="*/ 14581 w 39637"/>
                  <a:gd name="connsiteY15" fmla="*/ 210374 h 256198"/>
                  <a:gd name="connsiteX16" fmla="*/ 12498 w 39637"/>
                  <a:gd name="connsiteY16" fmla="*/ 216623 h 256198"/>
                  <a:gd name="connsiteX17" fmla="*/ 14581 w 39637"/>
                  <a:gd name="connsiteY17" fmla="*/ 245784 h 256198"/>
                  <a:gd name="connsiteX18" fmla="*/ 16664 w 39637"/>
                  <a:gd name="connsiteY18" fmla="*/ 254116 h 256198"/>
                  <a:gd name="connsiteX19" fmla="*/ 12498 w 39637"/>
                  <a:gd name="connsiteY19" fmla="*/ 256198 h 256198"/>
                  <a:gd name="connsiteX20" fmla="*/ 12498 w 39637"/>
                  <a:gd name="connsiteY20" fmla="*/ 256198 h 256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39637" h="256198">
                    <a:moveTo>
                      <a:pt x="0" y="0"/>
                    </a:moveTo>
                    <a:lnTo>
                      <a:pt x="0" y="0"/>
                    </a:lnTo>
                    <a:cubicBezTo>
                      <a:pt x="1389" y="6249"/>
                      <a:pt x="2613" y="12536"/>
                      <a:pt x="4166" y="18746"/>
                    </a:cubicBezTo>
                    <a:cubicBezTo>
                      <a:pt x="5295" y="23263"/>
                      <a:pt x="7021" y="27850"/>
                      <a:pt x="10415" y="31244"/>
                    </a:cubicBezTo>
                    <a:cubicBezTo>
                      <a:pt x="12185" y="33014"/>
                      <a:pt x="14581" y="34021"/>
                      <a:pt x="16664" y="35409"/>
                    </a:cubicBezTo>
                    <a:cubicBezTo>
                      <a:pt x="17358" y="37492"/>
                      <a:pt x="17681" y="39739"/>
                      <a:pt x="18747" y="41658"/>
                    </a:cubicBezTo>
                    <a:cubicBezTo>
                      <a:pt x="21178" y="46035"/>
                      <a:pt x="25495" y="49406"/>
                      <a:pt x="27078" y="54156"/>
                    </a:cubicBezTo>
                    <a:lnTo>
                      <a:pt x="31244" y="66653"/>
                    </a:lnTo>
                    <a:lnTo>
                      <a:pt x="35410" y="79151"/>
                    </a:lnTo>
                    <a:lnTo>
                      <a:pt x="37493" y="85399"/>
                    </a:lnTo>
                    <a:cubicBezTo>
                      <a:pt x="40443" y="117843"/>
                      <a:pt x="40259" y="102911"/>
                      <a:pt x="37493" y="141638"/>
                    </a:cubicBezTo>
                    <a:cubicBezTo>
                      <a:pt x="37105" y="147068"/>
                      <a:pt x="37561" y="164414"/>
                      <a:pt x="33327" y="172882"/>
                    </a:cubicBezTo>
                    <a:cubicBezTo>
                      <a:pt x="32207" y="175121"/>
                      <a:pt x="30281" y="176892"/>
                      <a:pt x="29161" y="179131"/>
                    </a:cubicBezTo>
                    <a:cubicBezTo>
                      <a:pt x="28179" y="181095"/>
                      <a:pt x="28144" y="183460"/>
                      <a:pt x="27078" y="185379"/>
                    </a:cubicBezTo>
                    <a:cubicBezTo>
                      <a:pt x="24647" y="189756"/>
                      <a:pt x="20330" y="193127"/>
                      <a:pt x="18747" y="197877"/>
                    </a:cubicBezTo>
                    <a:lnTo>
                      <a:pt x="14581" y="210374"/>
                    </a:lnTo>
                    <a:lnTo>
                      <a:pt x="12498" y="216623"/>
                    </a:lnTo>
                    <a:cubicBezTo>
                      <a:pt x="13192" y="226343"/>
                      <a:pt x="13505" y="236099"/>
                      <a:pt x="14581" y="245784"/>
                    </a:cubicBezTo>
                    <a:cubicBezTo>
                      <a:pt x="14897" y="248629"/>
                      <a:pt x="17225" y="251309"/>
                      <a:pt x="16664" y="254116"/>
                    </a:cubicBezTo>
                    <a:cubicBezTo>
                      <a:pt x="16360" y="255638"/>
                      <a:pt x="13887" y="255504"/>
                      <a:pt x="12498" y="256198"/>
                    </a:cubicBezTo>
                    <a:lnTo>
                      <a:pt x="12498" y="256198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213" name="Freeform: Shape 4681">
                <a:extLst>
                  <a:ext uri="{FF2B5EF4-FFF2-40B4-BE49-F238E27FC236}">
                    <a16:creationId xmlns:a16="http://schemas.microsoft.com/office/drawing/2014/main" id="{7A3A9430-E2E7-9ED1-6DB4-71A063C857A5}"/>
                  </a:ext>
                </a:extLst>
              </p:cNvPr>
              <p:cNvSpPr/>
              <p:nvPr/>
            </p:nvSpPr>
            <p:spPr>
              <a:xfrm>
                <a:off x="5792783" y="2606543"/>
                <a:ext cx="26602" cy="135815"/>
              </a:xfrm>
              <a:custGeom>
                <a:avLst/>
                <a:gdLst>
                  <a:gd name="connsiteX0" fmla="*/ 0 w 48958"/>
                  <a:gd name="connsiteY0" fmla="*/ 0 h 247867"/>
                  <a:gd name="connsiteX1" fmla="*/ 0 w 48958"/>
                  <a:gd name="connsiteY1" fmla="*/ 0 h 247867"/>
                  <a:gd name="connsiteX2" fmla="*/ 4165 w 48958"/>
                  <a:gd name="connsiteY2" fmla="*/ 35409 h 247867"/>
                  <a:gd name="connsiteX3" fmla="*/ 8331 w 48958"/>
                  <a:gd name="connsiteY3" fmla="*/ 41658 h 247867"/>
                  <a:gd name="connsiteX4" fmla="*/ 20829 w 48958"/>
                  <a:gd name="connsiteY4" fmla="*/ 52073 h 247867"/>
                  <a:gd name="connsiteX5" fmla="*/ 33326 w 48958"/>
                  <a:gd name="connsiteY5" fmla="*/ 62487 h 247867"/>
                  <a:gd name="connsiteX6" fmla="*/ 41658 w 48958"/>
                  <a:gd name="connsiteY6" fmla="*/ 74985 h 247867"/>
                  <a:gd name="connsiteX7" fmla="*/ 45824 w 48958"/>
                  <a:gd name="connsiteY7" fmla="*/ 91648 h 247867"/>
                  <a:gd name="connsiteX8" fmla="*/ 47907 w 48958"/>
                  <a:gd name="connsiteY8" fmla="*/ 97897 h 247867"/>
                  <a:gd name="connsiteX9" fmla="*/ 37492 w 48958"/>
                  <a:gd name="connsiteY9" fmla="*/ 162467 h 247867"/>
                  <a:gd name="connsiteX10" fmla="*/ 16663 w 48958"/>
                  <a:gd name="connsiteY10" fmla="*/ 187462 h 247867"/>
                  <a:gd name="connsiteX11" fmla="*/ 12497 w 48958"/>
                  <a:gd name="connsiteY11" fmla="*/ 193711 h 247867"/>
                  <a:gd name="connsiteX12" fmla="*/ 8331 w 48958"/>
                  <a:gd name="connsiteY12" fmla="*/ 199960 h 247867"/>
                  <a:gd name="connsiteX13" fmla="*/ 6248 w 48958"/>
                  <a:gd name="connsiteY13" fmla="*/ 212457 h 247867"/>
                  <a:gd name="connsiteX14" fmla="*/ 4165 w 48958"/>
                  <a:gd name="connsiteY14" fmla="*/ 218706 h 247867"/>
                  <a:gd name="connsiteX15" fmla="*/ 2082 w 48958"/>
                  <a:gd name="connsiteY15" fmla="*/ 247867 h 247867"/>
                  <a:gd name="connsiteX16" fmla="*/ 2082 w 48958"/>
                  <a:gd name="connsiteY16" fmla="*/ 245784 h 247867"/>
                  <a:gd name="connsiteX0" fmla="*/ 0 w 48958"/>
                  <a:gd name="connsiteY0" fmla="*/ 0 h 247867"/>
                  <a:gd name="connsiteX1" fmla="*/ 0 w 48958"/>
                  <a:gd name="connsiteY1" fmla="*/ 0 h 247867"/>
                  <a:gd name="connsiteX2" fmla="*/ 4165 w 48958"/>
                  <a:gd name="connsiteY2" fmla="*/ 35409 h 247867"/>
                  <a:gd name="connsiteX3" fmla="*/ 8331 w 48958"/>
                  <a:gd name="connsiteY3" fmla="*/ 41658 h 247867"/>
                  <a:gd name="connsiteX4" fmla="*/ 20829 w 48958"/>
                  <a:gd name="connsiteY4" fmla="*/ 52073 h 247867"/>
                  <a:gd name="connsiteX5" fmla="*/ 33326 w 48958"/>
                  <a:gd name="connsiteY5" fmla="*/ 62487 h 247867"/>
                  <a:gd name="connsiteX6" fmla="*/ 41658 w 48958"/>
                  <a:gd name="connsiteY6" fmla="*/ 74985 h 247867"/>
                  <a:gd name="connsiteX7" fmla="*/ 45824 w 48958"/>
                  <a:gd name="connsiteY7" fmla="*/ 91648 h 247867"/>
                  <a:gd name="connsiteX8" fmla="*/ 47907 w 48958"/>
                  <a:gd name="connsiteY8" fmla="*/ 97897 h 247867"/>
                  <a:gd name="connsiteX9" fmla="*/ 37492 w 48958"/>
                  <a:gd name="connsiteY9" fmla="*/ 162467 h 247867"/>
                  <a:gd name="connsiteX10" fmla="*/ 16663 w 48958"/>
                  <a:gd name="connsiteY10" fmla="*/ 187462 h 247867"/>
                  <a:gd name="connsiteX11" fmla="*/ 12497 w 48958"/>
                  <a:gd name="connsiteY11" fmla="*/ 193711 h 247867"/>
                  <a:gd name="connsiteX12" fmla="*/ 8331 w 48958"/>
                  <a:gd name="connsiteY12" fmla="*/ 199960 h 247867"/>
                  <a:gd name="connsiteX13" fmla="*/ 6248 w 48958"/>
                  <a:gd name="connsiteY13" fmla="*/ 212457 h 247867"/>
                  <a:gd name="connsiteX14" fmla="*/ 4165 w 48958"/>
                  <a:gd name="connsiteY14" fmla="*/ 218706 h 247867"/>
                  <a:gd name="connsiteX15" fmla="*/ 2082 w 48958"/>
                  <a:gd name="connsiteY15" fmla="*/ 247867 h 247867"/>
                  <a:gd name="connsiteX16" fmla="*/ 4165 w 48958"/>
                  <a:gd name="connsiteY16" fmla="*/ 245784 h 247867"/>
                  <a:gd name="connsiteX0" fmla="*/ 0 w 48958"/>
                  <a:gd name="connsiteY0" fmla="*/ 0 h 247867"/>
                  <a:gd name="connsiteX1" fmla="*/ 0 w 48958"/>
                  <a:gd name="connsiteY1" fmla="*/ 0 h 247867"/>
                  <a:gd name="connsiteX2" fmla="*/ 4165 w 48958"/>
                  <a:gd name="connsiteY2" fmla="*/ 35409 h 247867"/>
                  <a:gd name="connsiteX3" fmla="*/ 8331 w 48958"/>
                  <a:gd name="connsiteY3" fmla="*/ 41658 h 247867"/>
                  <a:gd name="connsiteX4" fmla="*/ 20829 w 48958"/>
                  <a:gd name="connsiteY4" fmla="*/ 52073 h 247867"/>
                  <a:gd name="connsiteX5" fmla="*/ 33326 w 48958"/>
                  <a:gd name="connsiteY5" fmla="*/ 62487 h 247867"/>
                  <a:gd name="connsiteX6" fmla="*/ 41658 w 48958"/>
                  <a:gd name="connsiteY6" fmla="*/ 74985 h 247867"/>
                  <a:gd name="connsiteX7" fmla="*/ 45824 w 48958"/>
                  <a:gd name="connsiteY7" fmla="*/ 91648 h 247867"/>
                  <a:gd name="connsiteX8" fmla="*/ 47907 w 48958"/>
                  <a:gd name="connsiteY8" fmla="*/ 97897 h 247867"/>
                  <a:gd name="connsiteX9" fmla="*/ 37492 w 48958"/>
                  <a:gd name="connsiteY9" fmla="*/ 162467 h 247867"/>
                  <a:gd name="connsiteX10" fmla="*/ 16663 w 48958"/>
                  <a:gd name="connsiteY10" fmla="*/ 187462 h 247867"/>
                  <a:gd name="connsiteX11" fmla="*/ 12497 w 48958"/>
                  <a:gd name="connsiteY11" fmla="*/ 193711 h 247867"/>
                  <a:gd name="connsiteX12" fmla="*/ 8331 w 48958"/>
                  <a:gd name="connsiteY12" fmla="*/ 199960 h 247867"/>
                  <a:gd name="connsiteX13" fmla="*/ 6248 w 48958"/>
                  <a:gd name="connsiteY13" fmla="*/ 212457 h 247867"/>
                  <a:gd name="connsiteX14" fmla="*/ 4165 w 48958"/>
                  <a:gd name="connsiteY14" fmla="*/ 218706 h 247867"/>
                  <a:gd name="connsiteX15" fmla="*/ 2082 w 48958"/>
                  <a:gd name="connsiteY15" fmla="*/ 247867 h 247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8958" h="247867">
                    <a:moveTo>
                      <a:pt x="0" y="0"/>
                    </a:moveTo>
                    <a:lnTo>
                      <a:pt x="0" y="0"/>
                    </a:lnTo>
                    <a:cubicBezTo>
                      <a:pt x="89" y="805"/>
                      <a:pt x="3626" y="33434"/>
                      <a:pt x="4165" y="35409"/>
                    </a:cubicBezTo>
                    <a:cubicBezTo>
                      <a:pt x="4824" y="37824"/>
                      <a:pt x="6728" y="39735"/>
                      <a:pt x="8331" y="41658"/>
                    </a:cubicBezTo>
                    <a:cubicBezTo>
                      <a:pt x="16631" y="51618"/>
                      <a:pt x="11890" y="44623"/>
                      <a:pt x="20829" y="52073"/>
                    </a:cubicBezTo>
                    <a:cubicBezTo>
                      <a:pt x="36858" y="65432"/>
                      <a:pt x="17817" y="52150"/>
                      <a:pt x="33326" y="62487"/>
                    </a:cubicBezTo>
                    <a:cubicBezTo>
                      <a:pt x="36103" y="66653"/>
                      <a:pt x="40075" y="70235"/>
                      <a:pt x="41658" y="74985"/>
                    </a:cubicBezTo>
                    <a:cubicBezTo>
                      <a:pt x="46420" y="89270"/>
                      <a:pt x="40797" y="71540"/>
                      <a:pt x="45824" y="91648"/>
                    </a:cubicBezTo>
                    <a:cubicBezTo>
                      <a:pt x="46357" y="93778"/>
                      <a:pt x="47213" y="95814"/>
                      <a:pt x="47907" y="97897"/>
                    </a:cubicBezTo>
                    <a:cubicBezTo>
                      <a:pt x="46922" y="122514"/>
                      <a:pt x="55086" y="144871"/>
                      <a:pt x="37492" y="162467"/>
                    </a:cubicBezTo>
                    <a:cubicBezTo>
                      <a:pt x="21456" y="178504"/>
                      <a:pt x="28262" y="170064"/>
                      <a:pt x="16663" y="187462"/>
                    </a:cubicBezTo>
                    <a:lnTo>
                      <a:pt x="12497" y="193711"/>
                    </a:lnTo>
                    <a:lnTo>
                      <a:pt x="8331" y="199960"/>
                    </a:lnTo>
                    <a:cubicBezTo>
                      <a:pt x="7637" y="204126"/>
                      <a:pt x="7164" y="208334"/>
                      <a:pt x="6248" y="212457"/>
                    </a:cubicBezTo>
                    <a:cubicBezTo>
                      <a:pt x="5772" y="214600"/>
                      <a:pt x="4526" y="216540"/>
                      <a:pt x="4165" y="218706"/>
                    </a:cubicBezTo>
                    <a:cubicBezTo>
                      <a:pt x="1699" y="233504"/>
                      <a:pt x="2082" y="243354"/>
                      <a:pt x="2082" y="247867"/>
                    </a:cubicBez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214" name="Freeform: Shape 4682">
                <a:extLst>
                  <a:ext uri="{FF2B5EF4-FFF2-40B4-BE49-F238E27FC236}">
                    <a16:creationId xmlns:a16="http://schemas.microsoft.com/office/drawing/2014/main" id="{D8BA2F9F-05F9-2D83-48D4-D632343C2A32}"/>
                  </a:ext>
                </a:extLst>
              </p:cNvPr>
              <p:cNvSpPr/>
              <p:nvPr/>
            </p:nvSpPr>
            <p:spPr>
              <a:xfrm>
                <a:off x="5817682" y="2608826"/>
                <a:ext cx="21504" cy="135815"/>
              </a:xfrm>
              <a:custGeom>
                <a:avLst/>
                <a:gdLst>
                  <a:gd name="connsiteX0" fmla="*/ 0 w 39575"/>
                  <a:gd name="connsiteY0" fmla="*/ 0 h 247867"/>
                  <a:gd name="connsiteX1" fmla="*/ 0 w 39575"/>
                  <a:gd name="connsiteY1" fmla="*/ 0 h 247867"/>
                  <a:gd name="connsiteX2" fmla="*/ 4165 w 39575"/>
                  <a:gd name="connsiteY2" fmla="*/ 29161 h 247867"/>
                  <a:gd name="connsiteX3" fmla="*/ 8331 w 39575"/>
                  <a:gd name="connsiteY3" fmla="*/ 35409 h 247867"/>
                  <a:gd name="connsiteX4" fmla="*/ 18746 w 39575"/>
                  <a:gd name="connsiteY4" fmla="*/ 52073 h 247867"/>
                  <a:gd name="connsiteX5" fmla="*/ 22912 w 39575"/>
                  <a:gd name="connsiteY5" fmla="*/ 64570 h 247867"/>
                  <a:gd name="connsiteX6" fmla="*/ 24995 w 39575"/>
                  <a:gd name="connsiteY6" fmla="*/ 74985 h 247867"/>
                  <a:gd name="connsiteX7" fmla="*/ 33326 w 39575"/>
                  <a:gd name="connsiteY7" fmla="*/ 87482 h 247867"/>
                  <a:gd name="connsiteX8" fmla="*/ 37492 w 39575"/>
                  <a:gd name="connsiteY8" fmla="*/ 93731 h 247867"/>
                  <a:gd name="connsiteX9" fmla="*/ 39575 w 39575"/>
                  <a:gd name="connsiteY9" fmla="*/ 99980 h 247867"/>
                  <a:gd name="connsiteX10" fmla="*/ 37492 w 39575"/>
                  <a:gd name="connsiteY10" fmla="*/ 120809 h 247867"/>
                  <a:gd name="connsiteX11" fmla="*/ 35409 w 39575"/>
                  <a:gd name="connsiteY11" fmla="*/ 127058 h 247867"/>
                  <a:gd name="connsiteX12" fmla="*/ 33326 w 39575"/>
                  <a:gd name="connsiteY12" fmla="*/ 160384 h 247867"/>
                  <a:gd name="connsiteX13" fmla="*/ 31243 w 39575"/>
                  <a:gd name="connsiteY13" fmla="*/ 166633 h 247867"/>
                  <a:gd name="connsiteX14" fmla="*/ 24995 w 39575"/>
                  <a:gd name="connsiteY14" fmla="*/ 168716 h 247867"/>
                  <a:gd name="connsiteX15" fmla="*/ 20829 w 39575"/>
                  <a:gd name="connsiteY15" fmla="*/ 174965 h 247867"/>
                  <a:gd name="connsiteX16" fmla="*/ 16663 w 39575"/>
                  <a:gd name="connsiteY16" fmla="*/ 193711 h 247867"/>
                  <a:gd name="connsiteX17" fmla="*/ 14580 w 39575"/>
                  <a:gd name="connsiteY17" fmla="*/ 199960 h 247867"/>
                  <a:gd name="connsiteX18" fmla="*/ 10414 w 39575"/>
                  <a:gd name="connsiteY18" fmla="*/ 214540 h 247867"/>
                  <a:gd name="connsiteX19" fmla="*/ 8331 w 39575"/>
                  <a:gd name="connsiteY19" fmla="*/ 247867 h 247867"/>
                  <a:gd name="connsiteX20" fmla="*/ 8331 w 39575"/>
                  <a:gd name="connsiteY20" fmla="*/ 247867 h 247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39575" h="247867">
                    <a:moveTo>
                      <a:pt x="0" y="0"/>
                    </a:moveTo>
                    <a:lnTo>
                      <a:pt x="0" y="0"/>
                    </a:lnTo>
                    <a:cubicBezTo>
                      <a:pt x="531" y="5837"/>
                      <a:pt x="160" y="21151"/>
                      <a:pt x="4165" y="29161"/>
                    </a:cubicBezTo>
                    <a:cubicBezTo>
                      <a:pt x="5284" y="31400"/>
                      <a:pt x="6942" y="33326"/>
                      <a:pt x="8331" y="35409"/>
                    </a:cubicBezTo>
                    <a:cubicBezTo>
                      <a:pt x="13289" y="50282"/>
                      <a:pt x="8843" y="45471"/>
                      <a:pt x="18746" y="52073"/>
                    </a:cubicBezTo>
                    <a:cubicBezTo>
                      <a:pt x="20135" y="56239"/>
                      <a:pt x="22051" y="60264"/>
                      <a:pt x="22912" y="64570"/>
                    </a:cubicBezTo>
                    <a:cubicBezTo>
                      <a:pt x="23606" y="68042"/>
                      <a:pt x="23530" y="71762"/>
                      <a:pt x="24995" y="74985"/>
                    </a:cubicBezTo>
                    <a:cubicBezTo>
                      <a:pt x="27067" y="79543"/>
                      <a:pt x="30549" y="83316"/>
                      <a:pt x="33326" y="87482"/>
                    </a:cubicBezTo>
                    <a:cubicBezTo>
                      <a:pt x="34715" y="89565"/>
                      <a:pt x="36700" y="91356"/>
                      <a:pt x="37492" y="93731"/>
                    </a:cubicBezTo>
                    <a:lnTo>
                      <a:pt x="39575" y="99980"/>
                    </a:lnTo>
                    <a:cubicBezTo>
                      <a:pt x="38881" y="106923"/>
                      <a:pt x="38553" y="113913"/>
                      <a:pt x="37492" y="120809"/>
                    </a:cubicBezTo>
                    <a:cubicBezTo>
                      <a:pt x="37158" y="122979"/>
                      <a:pt x="35639" y="124874"/>
                      <a:pt x="35409" y="127058"/>
                    </a:cubicBezTo>
                    <a:cubicBezTo>
                      <a:pt x="34244" y="138127"/>
                      <a:pt x="34491" y="149315"/>
                      <a:pt x="33326" y="160384"/>
                    </a:cubicBezTo>
                    <a:cubicBezTo>
                      <a:pt x="33096" y="162568"/>
                      <a:pt x="32795" y="165080"/>
                      <a:pt x="31243" y="166633"/>
                    </a:cubicBezTo>
                    <a:cubicBezTo>
                      <a:pt x="29691" y="168185"/>
                      <a:pt x="27078" y="168022"/>
                      <a:pt x="24995" y="168716"/>
                    </a:cubicBezTo>
                    <a:cubicBezTo>
                      <a:pt x="23606" y="170799"/>
                      <a:pt x="21949" y="172726"/>
                      <a:pt x="20829" y="174965"/>
                    </a:cubicBezTo>
                    <a:cubicBezTo>
                      <a:pt x="18015" y="180592"/>
                      <a:pt x="17943" y="187949"/>
                      <a:pt x="16663" y="193711"/>
                    </a:cubicBezTo>
                    <a:cubicBezTo>
                      <a:pt x="16187" y="195854"/>
                      <a:pt x="15183" y="197849"/>
                      <a:pt x="14580" y="199960"/>
                    </a:cubicBezTo>
                    <a:cubicBezTo>
                      <a:pt x="9349" y="218268"/>
                      <a:pt x="15408" y="199557"/>
                      <a:pt x="10414" y="214540"/>
                    </a:cubicBezTo>
                    <a:cubicBezTo>
                      <a:pt x="8285" y="246477"/>
                      <a:pt x="8331" y="235346"/>
                      <a:pt x="8331" y="247867"/>
                    </a:cubicBezTo>
                    <a:lnTo>
                      <a:pt x="8331" y="247867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215" name="Freeform: Shape 4683">
                <a:extLst>
                  <a:ext uri="{FF2B5EF4-FFF2-40B4-BE49-F238E27FC236}">
                    <a16:creationId xmlns:a16="http://schemas.microsoft.com/office/drawing/2014/main" id="{3B1DD66C-B87E-F409-4C85-7AA7797485FD}"/>
                  </a:ext>
                </a:extLst>
              </p:cNvPr>
              <p:cNvSpPr/>
              <p:nvPr/>
            </p:nvSpPr>
            <p:spPr>
              <a:xfrm>
                <a:off x="5845977" y="2614532"/>
                <a:ext cx="20372" cy="136956"/>
              </a:xfrm>
              <a:custGeom>
                <a:avLst/>
                <a:gdLst>
                  <a:gd name="connsiteX0" fmla="*/ 0 w 37492"/>
                  <a:gd name="connsiteY0" fmla="*/ 0 h 249950"/>
                  <a:gd name="connsiteX1" fmla="*/ 0 w 37492"/>
                  <a:gd name="connsiteY1" fmla="*/ 0 h 249950"/>
                  <a:gd name="connsiteX2" fmla="*/ 2082 w 37492"/>
                  <a:gd name="connsiteY2" fmla="*/ 18747 h 249950"/>
                  <a:gd name="connsiteX3" fmla="*/ 6248 w 37492"/>
                  <a:gd name="connsiteY3" fmla="*/ 24995 h 249950"/>
                  <a:gd name="connsiteX4" fmla="*/ 8331 w 37492"/>
                  <a:gd name="connsiteY4" fmla="*/ 31244 h 249950"/>
                  <a:gd name="connsiteX5" fmla="*/ 12497 w 37492"/>
                  <a:gd name="connsiteY5" fmla="*/ 37493 h 249950"/>
                  <a:gd name="connsiteX6" fmla="*/ 16663 w 37492"/>
                  <a:gd name="connsiteY6" fmla="*/ 49990 h 249950"/>
                  <a:gd name="connsiteX7" fmla="*/ 18746 w 37492"/>
                  <a:gd name="connsiteY7" fmla="*/ 64571 h 249950"/>
                  <a:gd name="connsiteX8" fmla="*/ 24995 w 37492"/>
                  <a:gd name="connsiteY8" fmla="*/ 83317 h 249950"/>
                  <a:gd name="connsiteX9" fmla="*/ 29160 w 37492"/>
                  <a:gd name="connsiteY9" fmla="*/ 95814 h 249950"/>
                  <a:gd name="connsiteX10" fmla="*/ 33326 w 37492"/>
                  <a:gd name="connsiteY10" fmla="*/ 102063 h 249950"/>
                  <a:gd name="connsiteX11" fmla="*/ 35409 w 37492"/>
                  <a:gd name="connsiteY11" fmla="*/ 110395 h 249950"/>
                  <a:gd name="connsiteX12" fmla="*/ 37492 w 37492"/>
                  <a:gd name="connsiteY12" fmla="*/ 116644 h 249950"/>
                  <a:gd name="connsiteX13" fmla="*/ 35409 w 37492"/>
                  <a:gd name="connsiteY13" fmla="*/ 158302 h 249950"/>
                  <a:gd name="connsiteX14" fmla="*/ 29160 w 37492"/>
                  <a:gd name="connsiteY14" fmla="*/ 172882 h 249950"/>
                  <a:gd name="connsiteX15" fmla="*/ 22912 w 37492"/>
                  <a:gd name="connsiteY15" fmla="*/ 177048 h 249950"/>
                  <a:gd name="connsiteX16" fmla="*/ 18746 w 37492"/>
                  <a:gd name="connsiteY16" fmla="*/ 183297 h 249950"/>
                  <a:gd name="connsiteX17" fmla="*/ 14580 w 37492"/>
                  <a:gd name="connsiteY17" fmla="*/ 195794 h 249950"/>
                  <a:gd name="connsiteX18" fmla="*/ 8331 w 37492"/>
                  <a:gd name="connsiteY18" fmla="*/ 199960 h 249950"/>
                  <a:gd name="connsiteX19" fmla="*/ 6248 w 37492"/>
                  <a:gd name="connsiteY19" fmla="*/ 208292 h 249950"/>
                  <a:gd name="connsiteX20" fmla="*/ 4165 w 37492"/>
                  <a:gd name="connsiteY20" fmla="*/ 214541 h 249950"/>
                  <a:gd name="connsiteX21" fmla="*/ 6248 w 37492"/>
                  <a:gd name="connsiteY21" fmla="*/ 249950 h 249950"/>
                  <a:gd name="connsiteX22" fmla="*/ 6248 w 37492"/>
                  <a:gd name="connsiteY22" fmla="*/ 249950 h 249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37492" h="249950">
                    <a:moveTo>
                      <a:pt x="0" y="0"/>
                    </a:moveTo>
                    <a:lnTo>
                      <a:pt x="0" y="0"/>
                    </a:lnTo>
                    <a:cubicBezTo>
                      <a:pt x="694" y="6249"/>
                      <a:pt x="557" y="12647"/>
                      <a:pt x="2082" y="18747"/>
                    </a:cubicBezTo>
                    <a:cubicBezTo>
                      <a:pt x="2689" y="21175"/>
                      <a:pt x="5128" y="22756"/>
                      <a:pt x="6248" y="24995"/>
                    </a:cubicBezTo>
                    <a:cubicBezTo>
                      <a:pt x="7230" y="26959"/>
                      <a:pt x="7349" y="29280"/>
                      <a:pt x="8331" y="31244"/>
                    </a:cubicBezTo>
                    <a:cubicBezTo>
                      <a:pt x="9451" y="33483"/>
                      <a:pt x="11480" y="35205"/>
                      <a:pt x="12497" y="37493"/>
                    </a:cubicBezTo>
                    <a:cubicBezTo>
                      <a:pt x="14280" y="41506"/>
                      <a:pt x="16663" y="49990"/>
                      <a:pt x="16663" y="49990"/>
                    </a:cubicBezTo>
                    <a:cubicBezTo>
                      <a:pt x="17357" y="54850"/>
                      <a:pt x="17642" y="59787"/>
                      <a:pt x="18746" y="64571"/>
                    </a:cubicBezTo>
                    <a:cubicBezTo>
                      <a:pt x="18746" y="64572"/>
                      <a:pt x="23954" y="80192"/>
                      <a:pt x="24995" y="83317"/>
                    </a:cubicBezTo>
                    <a:cubicBezTo>
                      <a:pt x="24997" y="83322"/>
                      <a:pt x="29156" y="95809"/>
                      <a:pt x="29160" y="95814"/>
                    </a:cubicBezTo>
                    <a:lnTo>
                      <a:pt x="33326" y="102063"/>
                    </a:lnTo>
                    <a:cubicBezTo>
                      <a:pt x="34020" y="104840"/>
                      <a:pt x="34623" y="107642"/>
                      <a:pt x="35409" y="110395"/>
                    </a:cubicBezTo>
                    <a:cubicBezTo>
                      <a:pt x="36012" y="112506"/>
                      <a:pt x="37492" y="114448"/>
                      <a:pt x="37492" y="116644"/>
                    </a:cubicBezTo>
                    <a:cubicBezTo>
                      <a:pt x="37492" y="130547"/>
                      <a:pt x="36564" y="144447"/>
                      <a:pt x="35409" y="158302"/>
                    </a:cubicBezTo>
                    <a:cubicBezTo>
                      <a:pt x="34974" y="163518"/>
                      <a:pt x="32942" y="169100"/>
                      <a:pt x="29160" y="172882"/>
                    </a:cubicBezTo>
                    <a:cubicBezTo>
                      <a:pt x="27390" y="174652"/>
                      <a:pt x="24995" y="175659"/>
                      <a:pt x="22912" y="177048"/>
                    </a:cubicBezTo>
                    <a:cubicBezTo>
                      <a:pt x="21523" y="179131"/>
                      <a:pt x="19763" y="181009"/>
                      <a:pt x="18746" y="183297"/>
                    </a:cubicBezTo>
                    <a:cubicBezTo>
                      <a:pt x="16963" y="187310"/>
                      <a:pt x="18234" y="193358"/>
                      <a:pt x="14580" y="195794"/>
                    </a:cubicBezTo>
                    <a:lnTo>
                      <a:pt x="8331" y="199960"/>
                    </a:lnTo>
                    <a:cubicBezTo>
                      <a:pt x="7637" y="202737"/>
                      <a:pt x="7034" y="205539"/>
                      <a:pt x="6248" y="208292"/>
                    </a:cubicBezTo>
                    <a:cubicBezTo>
                      <a:pt x="5645" y="210403"/>
                      <a:pt x="4165" y="212345"/>
                      <a:pt x="4165" y="214541"/>
                    </a:cubicBezTo>
                    <a:cubicBezTo>
                      <a:pt x="4165" y="226364"/>
                      <a:pt x="6248" y="249950"/>
                      <a:pt x="6248" y="249950"/>
                    </a:cubicBezTo>
                    <a:lnTo>
                      <a:pt x="6248" y="249950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216" name="Freeform: Shape 4684">
                <a:extLst>
                  <a:ext uri="{FF2B5EF4-FFF2-40B4-BE49-F238E27FC236}">
                    <a16:creationId xmlns:a16="http://schemas.microsoft.com/office/drawing/2014/main" id="{596DBD4B-B8F8-92A6-D83D-2CC36B6728E1}"/>
                  </a:ext>
                </a:extLst>
              </p:cNvPr>
              <p:cNvSpPr/>
              <p:nvPr/>
            </p:nvSpPr>
            <p:spPr>
              <a:xfrm>
                <a:off x="5870876" y="2617956"/>
                <a:ext cx="15845" cy="136956"/>
              </a:xfrm>
              <a:custGeom>
                <a:avLst/>
                <a:gdLst>
                  <a:gd name="connsiteX0" fmla="*/ 0 w 29161"/>
                  <a:gd name="connsiteY0" fmla="*/ 0 h 249950"/>
                  <a:gd name="connsiteX1" fmla="*/ 0 w 29161"/>
                  <a:gd name="connsiteY1" fmla="*/ 0 h 249950"/>
                  <a:gd name="connsiteX2" fmla="*/ 4166 w 29161"/>
                  <a:gd name="connsiteY2" fmla="*/ 24995 h 249950"/>
                  <a:gd name="connsiteX3" fmla="*/ 8331 w 29161"/>
                  <a:gd name="connsiteY3" fmla="*/ 31244 h 249950"/>
                  <a:gd name="connsiteX4" fmla="*/ 12497 w 29161"/>
                  <a:gd name="connsiteY4" fmla="*/ 43741 h 249950"/>
                  <a:gd name="connsiteX5" fmla="*/ 14580 w 29161"/>
                  <a:gd name="connsiteY5" fmla="*/ 49990 h 249950"/>
                  <a:gd name="connsiteX6" fmla="*/ 24995 w 29161"/>
                  <a:gd name="connsiteY6" fmla="*/ 77068 h 249950"/>
                  <a:gd name="connsiteX7" fmla="*/ 29161 w 29161"/>
                  <a:gd name="connsiteY7" fmla="*/ 83317 h 249950"/>
                  <a:gd name="connsiteX8" fmla="*/ 27078 w 29161"/>
                  <a:gd name="connsiteY8" fmla="*/ 160385 h 249950"/>
                  <a:gd name="connsiteX9" fmla="*/ 24995 w 29161"/>
                  <a:gd name="connsiteY9" fmla="*/ 166633 h 249950"/>
                  <a:gd name="connsiteX10" fmla="*/ 16663 w 29161"/>
                  <a:gd name="connsiteY10" fmla="*/ 179131 h 249950"/>
                  <a:gd name="connsiteX11" fmla="*/ 12497 w 29161"/>
                  <a:gd name="connsiteY11" fmla="*/ 185380 h 249950"/>
                  <a:gd name="connsiteX12" fmla="*/ 10414 w 29161"/>
                  <a:gd name="connsiteY12" fmla="*/ 191628 h 249950"/>
                  <a:gd name="connsiteX13" fmla="*/ 2083 w 29161"/>
                  <a:gd name="connsiteY13" fmla="*/ 204126 h 249950"/>
                  <a:gd name="connsiteX14" fmla="*/ 4166 w 29161"/>
                  <a:gd name="connsiteY14" fmla="*/ 249950 h 249950"/>
                  <a:gd name="connsiteX15" fmla="*/ 4166 w 29161"/>
                  <a:gd name="connsiteY15" fmla="*/ 249950 h 249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9161" h="249950">
                    <a:moveTo>
                      <a:pt x="0" y="0"/>
                    </a:moveTo>
                    <a:lnTo>
                      <a:pt x="0" y="0"/>
                    </a:lnTo>
                    <a:cubicBezTo>
                      <a:pt x="660" y="5944"/>
                      <a:pt x="676" y="18015"/>
                      <a:pt x="4166" y="24995"/>
                    </a:cubicBezTo>
                    <a:cubicBezTo>
                      <a:pt x="5285" y="27234"/>
                      <a:pt x="7314" y="28956"/>
                      <a:pt x="8331" y="31244"/>
                    </a:cubicBezTo>
                    <a:cubicBezTo>
                      <a:pt x="10114" y="35257"/>
                      <a:pt x="11108" y="39575"/>
                      <a:pt x="12497" y="43741"/>
                    </a:cubicBezTo>
                    <a:lnTo>
                      <a:pt x="14580" y="49990"/>
                    </a:lnTo>
                    <a:cubicBezTo>
                      <a:pt x="17371" y="69527"/>
                      <a:pt x="13940" y="60485"/>
                      <a:pt x="24995" y="77068"/>
                    </a:cubicBezTo>
                    <a:lnTo>
                      <a:pt x="29161" y="83317"/>
                    </a:lnTo>
                    <a:cubicBezTo>
                      <a:pt x="28467" y="109006"/>
                      <a:pt x="28361" y="134718"/>
                      <a:pt x="27078" y="160385"/>
                    </a:cubicBezTo>
                    <a:cubicBezTo>
                      <a:pt x="26968" y="162578"/>
                      <a:pt x="26061" y="164714"/>
                      <a:pt x="24995" y="166633"/>
                    </a:cubicBezTo>
                    <a:cubicBezTo>
                      <a:pt x="22563" y="171010"/>
                      <a:pt x="19440" y="174965"/>
                      <a:pt x="16663" y="179131"/>
                    </a:cubicBezTo>
                    <a:cubicBezTo>
                      <a:pt x="15274" y="181214"/>
                      <a:pt x="13289" y="183005"/>
                      <a:pt x="12497" y="185380"/>
                    </a:cubicBezTo>
                    <a:cubicBezTo>
                      <a:pt x="11803" y="187463"/>
                      <a:pt x="11480" y="189709"/>
                      <a:pt x="10414" y="191628"/>
                    </a:cubicBezTo>
                    <a:cubicBezTo>
                      <a:pt x="7983" y="196005"/>
                      <a:pt x="2083" y="204126"/>
                      <a:pt x="2083" y="204126"/>
                    </a:cubicBezTo>
                    <a:cubicBezTo>
                      <a:pt x="4275" y="245781"/>
                      <a:pt x="4166" y="230491"/>
                      <a:pt x="4166" y="249950"/>
                    </a:cubicBezTo>
                    <a:lnTo>
                      <a:pt x="4166" y="249950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217" name="Freeform: Shape 4685">
                <a:extLst>
                  <a:ext uri="{FF2B5EF4-FFF2-40B4-BE49-F238E27FC236}">
                    <a16:creationId xmlns:a16="http://schemas.microsoft.com/office/drawing/2014/main" id="{4FCEFB5A-DA1A-33F7-830F-7F6EBF1984D9}"/>
                  </a:ext>
                </a:extLst>
              </p:cNvPr>
              <p:cNvSpPr/>
              <p:nvPr/>
            </p:nvSpPr>
            <p:spPr>
              <a:xfrm>
                <a:off x="5893318" y="2637358"/>
                <a:ext cx="22829" cy="138097"/>
              </a:xfrm>
              <a:custGeom>
                <a:avLst/>
                <a:gdLst>
                  <a:gd name="connsiteX0" fmla="*/ 12854 w 42014"/>
                  <a:gd name="connsiteY0" fmla="*/ 0 h 252032"/>
                  <a:gd name="connsiteX1" fmla="*/ 12854 w 42014"/>
                  <a:gd name="connsiteY1" fmla="*/ 0 h 252032"/>
                  <a:gd name="connsiteX2" fmla="*/ 14936 w 42014"/>
                  <a:gd name="connsiteY2" fmla="*/ 18746 h 252032"/>
                  <a:gd name="connsiteX3" fmla="*/ 23268 w 42014"/>
                  <a:gd name="connsiteY3" fmla="*/ 45824 h 252032"/>
                  <a:gd name="connsiteX4" fmla="*/ 29517 w 42014"/>
                  <a:gd name="connsiteY4" fmla="*/ 49990 h 252032"/>
                  <a:gd name="connsiteX5" fmla="*/ 33683 w 42014"/>
                  <a:gd name="connsiteY5" fmla="*/ 62487 h 252032"/>
                  <a:gd name="connsiteX6" fmla="*/ 35766 w 42014"/>
                  <a:gd name="connsiteY6" fmla="*/ 68736 h 252032"/>
                  <a:gd name="connsiteX7" fmla="*/ 37849 w 42014"/>
                  <a:gd name="connsiteY7" fmla="*/ 85399 h 252032"/>
                  <a:gd name="connsiteX8" fmla="*/ 39931 w 42014"/>
                  <a:gd name="connsiteY8" fmla="*/ 91648 h 252032"/>
                  <a:gd name="connsiteX9" fmla="*/ 42014 w 42014"/>
                  <a:gd name="connsiteY9" fmla="*/ 108311 h 252032"/>
                  <a:gd name="connsiteX10" fmla="*/ 39931 w 42014"/>
                  <a:gd name="connsiteY10" fmla="*/ 152052 h 252032"/>
                  <a:gd name="connsiteX11" fmla="*/ 29517 w 42014"/>
                  <a:gd name="connsiteY11" fmla="*/ 170799 h 252032"/>
                  <a:gd name="connsiteX12" fmla="*/ 25351 w 42014"/>
                  <a:gd name="connsiteY12" fmla="*/ 177047 h 252032"/>
                  <a:gd name="connsiteX13" fmla="*/ 19102 w 42014"/>
                  <a:gd name="connsiteY13" fmla="*/ 183296 h 252032"/>
                  <a:gd name="connsiteX14" fmla="*/ 6605 w 42014"/>
                  <a:gd name="connsiteY14" fmla="*/ 204125 h 252032"/>
                  <a:gd name="connsiteX15" fmla="*/ 2439 w 42014"/>
                  <a:gd name="connsiteY15" fmla="*/ 216623 h 252032"/>
                  <a:gd name="connsiteX16" fmla="*/ 356 w 42014"/>
                  <a:gd name="connsiteY16" fmla="*/ 222872 h 252032"/>
                  <a:gd name="connsiteX17" fmla="*/ 4522 w 42014"/>
                  <a:gd name="connsiteY17" fmla="*/ 252032 h 252032"/>
                  <a:gd name="connsiteX18" fmla="*/ 4522 w 42014"/>
                  <a:gd name="connsiteY18" fmla="*/ 252032 h 2520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2014" h="252032">
                    <a:moveTo>
                      <a:pt x="12854" y="0"/>
                    </a:moveTo>
                    <a:lnTo>
                      <a:pt x="12854" y="0"/>
                    </a:lnTo>
                    <a:cubicBezTo>
                      <a:pt x="13548" y="6249"/>
                      <a:pt x="14156" y="12507"/>
                      <a:pt x="14936" y="18746"/>
                    </a:cubicBezTo>
                    <a:cubicBezTo>
                      <a:pt x="16034" y="27530"/>
                      <a:pt x="16361" y="38917"/>
                      <a:pt x="23268" y="45824"/>
                    </a:cubicBezTo>
                    <a:cubicBezTo>
                      <a:pt x="25038" y="47594"/>
                      <a:pt x="27434" y="48601"/>
                      <a:pt x="29517" y="49990"/>
                    </a:cubicBezTo>
                    <a:lnTo>
                      <a:pt x="33683" y="62487"/>
                    </a:lnTo>
                    <a:lnTo>
                      <a:pt x="35766" y="68736"/>
                    </a:lnTo>
                    <a:cubicBezTo>
                      <a:pt x="36460" y="74290"/>
                      <a:pt x="36848" y="79892"/>
                      <a:pt x="37849" y="85399"/>
                    </a:cubicBezTo>
                    <a:cubicBezTo>
                      <a:pt x="38242" y="87559"/>
                      <a:pt x="39538" y="89488"/>
                      <a:pt x="39931" y="91648"/>
                    </a:cubicBezTo>
                    <a:cubicBezTo>
                      <a:pt x="40932" y="97155"/>
                      <a:pt x="41320" y="102757"/>
                      <a:pt x="42014" y="108311"/>
                    </a:cubicBezTo>
                    <a:cubicBezTo>
                      <a:pt x="41320" y="122891"/>
                      <a:pt x="41143" y="137506"/>
                      <a:pt x="39931" y="152052"/>
                    </a:cubicBezTo>
                    <a:cubicBezTo>
                      <a:pt x="39407" y="158340"/>
                      <a:pt x="31905" y="167218"/>
                      <a:pt x="29517" y="170799"/>
                    </a:cubicBezTo>
                    <a:cubicBezTo>
                      <a:pt x="28128" y="172882"/>
                      <a:pt x="27121" y="175277"/>
                      <a:pt x="25351" y="177047"/>
                    </a:cubicBezTo>
                    <a:cubicBezTo>
                      <a:pt x="23268" y="179130"/>
                      <a:pt x="20910" y="180971"/>
                      <a:pt x="19102" y="183296"/>
                    </a:cubicBezTo>
                    <a:cubicBezTo>
                      <a:pt x="15079" y="188469"/>
                      <a:pt x="9271" y="197461"/>
                      <a:pt x="6605" y="204125"/>
                    </a:cubicBezTo>
                    <a:cubicBezTo>
                      <a:pt x="4974" y="208202"/>
                      <a:pt x="3828" y="212457"/>
                      <a:pt x="2439" y="216623"/>
                    </a:cubicBezTo>
                    <a:lnTo>
                      <a:pt x="356" y="222872"/>
                    </a:lnTo>
                    <a:cubicBezTo>
                      <a:pt x="2514" y="250929"/>
                      <a:pt x="-3964" y="243550"/>
                      <a:pt x="4522" y="252032"/>
                    </a:cubicBezTo>
                    <a:lnTo>
                      <a:pt x="4522" y="252032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218" name="Rectangle: Rounded Corners 217">
                <a:extLst>
                  <a:ext uri="{FF2B5EF4-FFF2-40B4-BE49-F238E27FC236}">
                    <a16:creationId xmlns:a16="http://schemas.microsoft.com/office/drawing/2014/main" id="{98D43104-8F2D-255D-2E10-6264680928BC}"/>
                  </a:ext>
                </a:extLst>
              </p:cNvPr>
              <p:cNvSpPr/>
              <p:nvPr/>
            </p:nvSpPr>
            <p:spPr>
              <a:xfrm>
                <a:off x="5661453" y="2731159"/>
                <a:ext cx="275343" cy="392051"/>
              </a:xfrm>
              <a:prstGeom prst="roundRect">
                <a:avLst>
                  <a:gd name="adj" fmla="val 35662"/>
                </a:avLst>
              </a:prstGeom>
              <a:gradFill flip="none" rotWithShape="1">
                <a:gsLst>
                  <a:gs pos="16000">
                    <a:srgbClr val="FFEAD5"/>
                  </a:gs>
                  <a:gs pos="75000">
                    <a:srgbClr val="FFCC99"/>
                  </a:gs>
                </a:gsLst>
                <a:path path="circle">
                  <a:fillToRect l="50000" t="50000" r="50000" b="50000"/>
                </a:path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219" name="Oval 218">
                <a:extLst>
                  <a:ext uri="{FF2B5EF4-FFF2-40B4-BE49-F238E27FC236}">
                    <a16:creationId xmlns:a16="http://schemas.microsoft.com/office/drawing/2014/main" id="{963A28D9-80B3-4033-C5DC-6F4EA1E5F303}"/>
                  </a:ext>
                </a:extLst>
              </p:cNvPr>
              <p:cNvSpPr/>
              <p:nvPr/>
            </p:nvSpPr>
            <p:spPr>
              <a:xfrm>
                <a:off x="5727380" y="2930951"/>
                <a:ext cx="141069" cy="115934"/>
              </a:xfrm>
              <a:prstGeom prst="ellipse">
                <a:avLst/>
              </a:prstGeom>
              <a:gradFill flip="none" rotWithShape="1">
                <a:gsLst>
                  <a:gs pos="16000">
                    <a:srgbClr val="FFEAD5"/>
                  </a:gs>
                  <a:gs pos="74000">
                    <a:srgbClr val="A45200"/>
                  </a:gs>
                  <a:gs pos="53000">
                    <a:srgbClr val="FFC081"/>
                  </a:gs>
                </a:gsLst>
                <a:path path="circle">
                  <a:fillToRect l="50000" t="50000" r="50000" b="50000"/>
                </a:path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208A0AF3-0308-8364-BFE4-51B6556B8460}"/>
                </a:ext>
              </a:extLst>
            </p:cNvPr>
            <p:cNvGrpSpPr/>
            <p:nvPr/>
          </p:nvGrpSpPr>
          <p:grpSpPr>
            <a:xfrm rot="12752551">
              <a:off x="2970010" y="3098893"/>
              <a:ext cx="283316" cy="340138"/>
              <a:chOff x="5355743" y="2583505"/>
              <a:chExt cx="193669" cy="232512"/>
            </a:xfrm>
          </p:grpSpPr>
          <p:sp>
            <p:nvSpPr>
              <p:cNvPr id="207" name="Rectangle: Rounded Corners 1170">
                <a:extLst>
                  <a:ext uri="{FF2B5EF4-FFF2-40B4-BE49-F238E27FC236}">
                    <a16:creationId xmlns:a16="http://schemas.microsoft.com/office/drawing/2014/main" id="{C15F96DD-33CD-5920-6556-D590423D637D}"/>
                  </a:ext>
                </a:extLst>
              </p:cNvPr>
              <p:cNvSpPr/>
              <p:nvPr/>
            </p:nvSpPr>
            <p:spPr>
              <a:xfrm rot="8893282">
                <a:off x="5355743" y="2583505"/>
                <a:ext cx="193669" cy="232512"/>
              </a:xfrm>
              <a:custGeom>
                <a:avLst/>
                <a:gdLst>
                  <a:gd name="connsiteX0" fmla="*/ 0 w 192688"/>
                  <a:gd name="connsiteY0" fmla="*/ 68716 h 274362"/>
                  <a:gd name="connsiteX1" fmla="*/ 68716 w 192688"/>
                  <a:gd name="connsiteY1" fmla="*/ 0 h 274362"/>
                  <a:gd name="connsiteX2" fmla="*/ 123972 w 192688"/>
                  <a:gd name="connsiteY2" fmla="*/ 0 h 274362"/>
                  <a:gd name="connsiteX3" fmla="*/ 192688 w 192688"/>
                  <a:gd name="connsiteY3" fmla="*/ 68716 h 274362"/>
                  <a:gd name="connsiteX4" fmla="*/ 192688 w 192688"/>
                  <a:gd name="connsiteY4" fmla="*/ 205646 h 274362"/>
                  <a:gd name="connsiteX5" fmla="*/ 123972 w 192688"/>
                  <a:gd name="connsiteY5" fmla="*/ 274362 h 274362"/>
                  <a:gd name="connsiteX6" fmla="*/ 68716 w 192688"/>
                  <a:gd name="connsiteY6" fmla="*/ 274362 h 274362"/>
                  <a:gd name="connsiteX7" fmla="*/ 0 w 192688"/>
                  <a:gd name="connsiteY7" fmla="*/ 205646 h 274362"/>
                  <a:gd name="connsiteX8" fmla="*/ 0 w 192688"/>
                  <a:gd name="connsiteY8" fmla="*/ 68716 h 274362"/>
                  <a:gd name="connsiteX0" fmla="*/ 0 w 192688"/>
                  <a:gd name="connsiteY0" fmla="*/ 68716 h 274362"/>
                  <a:gd name="connsiteX1" fmla="*/ 68716 w 192688"/>
                  <a:gd name="connsiteY1" fmla="*/ 0 h 274362"/>
                  <a:gd name="connsiteX2" fmla="*/ 120075 w 192688"/>
                  <a:gd name="connsiteY2" fmla="*/ 59404 h 274362"/>
                  <a:gd name="connsiteX3" fmla="*/ 192688 w 192688"/>
                  <a:gd name="connsiteY3" fmla="*/ 68716 h 274362"/>
                  <a:gd name="connsiteX4" fmla="*/ 192688 w 192688"/>
                  <a:gd name="connsiteY4" fmla="*/ 205646 h 274362"/>
                  <a:gd name="connsiteX5" fmla="*/ 123972 w 192688"/>
                  <a:gd name="connsiteY5" fmla="*/ 274362 h 274362"/>
                  <a:gd name="connsiteX6" fmla="*/ 68716 w 192688"/>
                  <a:gd name="connsiteY6" fmla="*/ 274362 h 274362"/>
                  <a:gd name="connsiteX7" fmla="*/ 0 w 192688"/>
                  <a:gd name="connsiteY7" fmla="*/ 205646 h 274362"/>
                  <a:gd name="connsiteX8" fmla="*/ 0 w 192688"/>
                  <a:gd name="connsiteY8" fmla="*/ 68716 h 274362"/>
                  <a:gd name="connsiteX0" fmla="*/ 0 w 192688"/>
                  <a:gd name="connsiteY0" fmla="*/ 68716 h 274362"/>
                  <a:gd name="connsiteX1" fmla="*/ 68716 w 192688"/>
                  <a:gd name="connsiteY1" fmla="*/ 0 h 274362"/>
                  <a:gd name="connsiteX2" fmla="*/ 120075 w 192688"/>
                  <a:gd name="connsiteY2" fmla="*/ 59404 h 274362"/>
                  <a:gd name="connsiteX3" fmla="*/ 154948 w 192688"/>
                  <a:gd name="connsiteY3" fmla="*/ 149286 h 274362"/>
                  <a:gd name="connsiteX4" fmla="*/ 192688 w 192688"/>
                  <a:gd name="connsiteY4" fmla="*/ 205646 h 274362"/>
                  <a:gd name="connsiteX5" fmla="*/ 123972 w 192688"/>
                  <a:gd name="connsiteY5" fmla="*/ 274362 h 274362"/>
                  <a:gd name="connsiteX6" fmla="*/ 68716 w 192688"/>
                  <a:gd name="connsiteY6" fmla="*/ 274362 h 274362"/>
                  <a:gd name="connsiteX7" fmla="*/ 0 w 192688"/>
                  <a:gd name="connsiteY7" fmla="*/ 205646 h 274362"/>
                  <a:gd name="connsiteX8" fmla="*/ 0 w 192688"/>
                  <a:gd name="connsiteY8" fmla="*/ 68716 h 274362"/>
                  <a:gd name="connsiteX0" fmla="*/ 3577 w 196265"/>
                  <a:gd name="connsiteY0" fmla="*/ 26858 h 232504"/>
                  <a:gd name="connsiteX1" fmla="*/ 25010 w 196265"/>
                  <a:gd name="connsiteY1" fmla="*/ 2290 h 232504"/>
                  <a:gd name="connsiteX2" fmla="*/ 123652 w 196265"/>
                  <a:gd name="connsiteY2" fmla="*/ 17546 h 232504"/>
                  <a:gd name="connsiteX3" fmla="*/ 158525 w 196265"/>
                  <a:gd name="connsiteY3" fmla="*/ 107428 h 232504"/>
                  <a:gd name="connsiteX4" fmla="*/ 196265 w 196265"/>
                  <a:gd name="connsiteY4" fmla="*/ 163788 h 232504"/>
                  <a:gd name="connsiteX5" fmla="*/ 127549 w 196265"/>
                  <a:gd name="connsiteY5" fmla="*/ 232504 h 232504"/>
                  <a:gd name="connsiteX6" fmla="*/ 72293 w 196265"/>
                  <a:gd name="connsiteY6" fmla="*/ 232504 h 232504"/>
                  <a:gd name="connsiteX7" fmla="*/ 3577 w 196265"/>
                  <a:gd name="connsiteY7" fmla="*/ 163788 h 232504"/>
                  <a:gd name="connsiteX8" fmla="*/ 3577 w 196265"/>
                  <a:gd name="connsiteY8" fmla="*/ 26858 h 232504"/>
                  <a:gd name="connsiteX0" fmla="*/ 3577 w 196265"/>
                  <a:gd name="connsiteY0" fmla="*/ 26858 h 232504"/>
                  <a:gd name="connsiteX1" fmla="*/ 25010 w 196265"/>
                  <a:gd name="connsiteY1" fmla="*/ 2290 h 232504"/>
                  <a:gd name="connsiteX2" fmla="*/ 107112 w 196265"/>
                  <a:gd name="connsiteY2" fmla="*/ 44142 h 232504"/>
                  <a:gd name="connsiteX3" fmla="*/ 158525 w 196265"/>
                  <a:gd name="connsiteY3" fmla="*/ 107428 h 232504"/>
                  <a:gd name="connsiteX4" fmla="*/ 196265 w 196265"/>
                  <a:gd name="connsiteY4" fmla="*/ 163788 h 232504"/>
                  <a:gd name="connsiteX5" fmla="*/ 127549 w 196265"/>
                  <a:gd name="connsiteY5" fmla="*/ 232504 h 232504"/>
                  <a:gd name="connsiteX6" fmla="*/ 72293 w 196265"/>
                  <a:gd name="connsiteY6" fmla="*/ 232504 h 232504"/>
                  <a:gd name="connsiteX7" fmla="*/ 3577 w 196265"/>
                  <a:gd name="connsiteY7" fmla="*/ 163788 h 232504"/>
                  <a:gd name="connsiteX8" fmla="*/ 3577 w 196265"/>
                  <a:gd name="connsiteY8" fmla="*/ 26858 h 232504"/>
                  <a:gd name="connsiteX0" fmla="*/ 3577 w 196265"/>
                  <a:gd name="connsiteY0" fmla="*/ 26858 h 232504"/>
                  <a:gd name="connsiteX1" fmla="*/ 25010 w 196265"/>
                  <a:gd name="connsiteY1" fmla="*/ 2290 h 232504"/>
                  <a:gd name="connsiteX2" fmla="*/ 107112 w 196265"/>
                  <a:gd name="connsiteY2" fmla="*/ 44142 h 232504"/>
                  <a:gd name="connsiteX3" fmla="*/ 169618 w 196265"/>
                  <a:gd name="connsiteY3" fmla="*/ 142042 h 232504"/>
                  <a:gd name="connsiteX4" fmla="*/ 196265 w 196265"/>
                  <a:gd name="connsiteY4" fmla="*/ 163788 h 232504"/>
                  <a:gd name="connsiteX5" fmla="*/ 127549 w 196265"/>
                  <a:gd name="connsiteY5" fmla="*/ 232504 h 232504"/>
                  <a:gd name="connsiteX6" fmla="*/ 72293 w 196265"/>
                  <a:gd name="connsiteY6" fmla="*/ 232504 h 232504"/>
                  <a:gd name="connsiteX7" fmla="*/ 3577 w 196265"/>
                  <a:gd name="connsiteY7" fmla="*/ 163788 h 232504"/>
                  <a:gd name="connsiteX8" fmla="*/ 3577 w 196265"/>
                  <a:gd name="connsiteY8" fmla="*/ 26858 h 232504"/>
                  <a:gd name="connsiteX0" fmla="*/ 3577 w 193669"/>
                  <a:gd name="connsiteY0" fmla="*/ 26858 h 232512"/>
                  <a:gd name="connsiteX1" fmla="*/ 25010 w 193669"/>
                  <a:gd name="connsiteY1" fmla="*/ 2290 h 232512"/>
                  <a:gd name="connsiteX2" fmla="*/ 107112 w 193669"/>
                  <a:gd name="connsiteY2" fmla="*/ 44142 h 232512"/>
                  <a:gd name="connsiteX3" fmla="*/ 169618 w 193669"/>
                  <a:gd name="connsiteY3" fmla="*/ 142042 h 232512"/>
                  <a:gd name="connsiteX4" fmla="*/ 193669 w 193669"/>
                  <a:gd name="connsiteY4" fmla="*/ 196073 h 232512"/>
                  <a:gd name="connsiteX5" fmla="*/ 127549 w 193669"/>
                  <a:gd name="connsiteY5" fmla="*/ 232504 h 232512"/>
                  <a:gd name="connsiteX6" fmla="*/ 72293 w 193669"/>
                  <a:gd name="connsiteY6" fmla="*/ 232504 h 232512"/>
                  <a:gd name="connsiteX7" fmla="*/ 3577 w 193669"/>
                  <a:gd name="connsiteY7" fmla="*/ 163788 h 232512"/>
                  <a:gd name="connsiteX8" fmla="*/ 3577 w 193669"/>
                  <a:gd name="connsiteY8" fmla="*/ 26858 h 2325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3669" h="232512">
                    <a:moveTo>
                      <a:pt x="3577" y="26858"/>
                    </a:moveTo>
                    <a:cubicBezTo>
                      <a:pt x="3577" y="-11093"/>
                      <a:pt x="-12941" y="2290"/>
                      <a:pt x="25010" y="2290"/>
                    </a:cubicBezTo>
                    <a:cubicBezTo>
                      <a:pt x="43429" y="2290"/>
                      <a:pt x="88693" y="44142"/>
                      <a:pt x="107112" y="44142"/>
                    </a:cubicBezTo>
                    <a:cubicBezTo>
                      <a:pt x="145063" y="44142"/>
                      <a:pt x="169618" y="104091"/>
                      <a:pt x="169618" y="142042"/>
                    </a:cubicBezTo>
                    <a:lnTo>
                      <a:pt x="193669" y="196073"/>
                    </a:lnTo>
                    <a:cubicBezTo>
                      <a:pt x="193669" y="234024"/>
                      <a:pt x="165500" y="232504"/>
                      <a:pt x="127549" y="232504"/>
                    </a:cubicBezTo>
                    <a:lnTo>
                      <a:pt x="72293" y="232504"/>
                    </a:lnTo>
                    <a:cubicBezTo>
                      <a:pt x="34342" y="232504"/>
                      <a:pt x="3577" y="201739"/>
                      <a:pt x="3577" y="163788"/>
                    </a:cubicBezTo>
                    <a:lnTo>
                      <a:pt x="3577" y="26858"/>
                    </a:lnTo>
                    <a:close/>
                  </a:path>
                </a:pathLst>
              </a:custGeom>
              <a:gradFill flip="none" rotWithShape="1">
                <a:gsLst>
                  <a:gs pos="16000">
                    <a:srgbClr val="FFEAD5"/>
                  </a:gs>
                  <a:gs pos="75000">
                    <a:srgbClr val="FFCC99"/>
                  </a:gs>
                </a:gsLst>
                <a:path path="circle">
                  <a:fillToRect l="50000" t="50000" r="50000" b="50000"/>
                </a:path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EEBB204A-6CB2-A0D7-BD37-C8BC537A985B}"/>
                  </a:ext>
                </a:extLst>
              </p:cNvPr>
              <p:cNvSpPr/>
              <p:nvPr/>
            </p:nvSpPr>
            <p:spPr>
              <a:xfrm rot="8893282">
                <a:off x="5389584" y="2641444"/>
                <a:ext cx="98722" cy="81132"/>
              </a:xfrm>
              <a:prstGeom prst="ellipse">
                <a:avLst/>
              </a:prstGeom>
              <a:gradFill flip="none" rotWithShape="1">
                <a:gsLst>
                  <a:gs pos="16000">
                    <a:srgbClr val="FFEAD5"/>
                  </a:gs>
                  <a:gs pos="74000">
                    <a:srgbClr val="A45200"/>
                  </a:gs>
                  <a:gs pos="53000">
                    <a:srgbClr val="FFC081"/>
                  </a:gs>
                </a:gsLst>
                <a:path path="circle">
                  <a:fillToRect l="50000" t="50000" r="50000" b="50000"/>
                </a:path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EAA74F4C-492E-A8EB-B51F-994265D3F6A1}"/>
                </a:ext>
              </a:extLst>
            </p:cNvPr>
            <p:cNvGrpSpPr/>
            <p:nvPr/>
          </p:nvGrpSpPr>
          <p:grpSpPr>
            <a:xfrm rot="13752972">
              <a:off x="3259088" y="3111147"/>
              <a:ext cx="375752" cy="284448"/>
              <a:chOff x="5064239" y="2904644"/>
              <a:chExt cx="254540" cy="192688"/>
            </a:xfrm>
          </p:grpSpPr>
          <p:sp>
            <p:nvSpPr>
              <p:cNvPr id="205" name="Rectangle: Rounded Corners 1176">
                <a:extLst>
                  <a:ext uri="{FF2B5EF4-FFF2-40B4-BE49-F238E27FC236}">
                    <a16:creationId xmlns:a16="http://schemas.microsoft.com/office/drawing/2014/main" id="{EBD666E8-87A6-F8B3-5F64-EA0A0A4DE83B}"/>
                  </a:ext>
                </a:extLst>
              </p:cNvPr>
              <p:cNvSpPr/>
              <p:nvPr/>
            </p:nvSpPr>
            <p:spPr>
              <a:xfrm rot="7711506">
                <a:off x="5095165" y="2873718"/>
                <a:ext cx="192688" cy="254540"/>
              </a:xfrm>
              <a:custGeom>
                <a:avLst/>
                <a:gdLst>
                  <a:gd name="connsiteX0" fmla="*/ 0 w 192688"/>
                  <a:gd name="connsiteY0" fmla="*/ 68716 h 274362"/>
                  <a:gd name="connsiteX1" fmla="*/ 68716 w 192688"/>
                  <a:gd name="connsiteY1" fmla="*/ 0 h 274362"/>
                  <a:gd name="connsiteX2" fmla="*/ 123972 w 192688"/>
                  <a:gd name="connsiteY2" fmla="*/ 0 h 274362"/>
                  <a:gd name="connsiteX3" fmla="*/ 192688 w 192688"/>
                  <a:gd name="connsiteY3" fmla="*/ 68716 h 274362"/>
                  <a:gd name="connsiteX4" fmla="*/ 192688 w 192688"/>
                  <a:gd name="connsiteY4" fmla="*/ 205646 h 274362"/>
                  <a:gd name="connsiteX5" fmla="*/ 123972 w 192688"/>
                  <a:gd name="connsiteY5" fmla="*/ 274362 h 274362"/>
                  <a:gd name="connsiteX6" fmla="*/ 68716 w 192688"/>
                  <a:gd name="connsiteY6" fmla="*/ 274362 h 274362"/>
                  <a:gd name="connsiteX7" fmla="*/ 0 w 192688"/>
                  <a:gd name="connsiteY7" fmla="*/ 205646 h 274362"/>
                  <a:gd name="connsiteX8" fmla="*/ 0 w 192688"/>
                  <a:gd name="connsiteY8" fmla="*/ 68716 h 274362"/>
                  <a:gd name="connsiteX0" fmla="*/ 0 w 192688"/>
                  <a:gd name="connsiteY0" fmla="*/ 68716 h 274362"/>
                  <a:gd name="connsiteX1" fmla="*/ 61512 w 192688"/>
                  <a:gd name="connsiteY1" fmla="*/ 102776 h 274362"/>
                  <a:gd name="connsiteX2" fmla="*/ 123972 w 192688"/>
                  <a:gd name="connsiteY2" fmla="*/ 0 h 274362"/>
                  <a:gd name="connsiteX3" fmla="*/ 192688 w 192688"/>
                  <a:gd name="connsiteY3" fmla="*/ 68716 h 274362"/>
                  <a:gd name="connsiteX4" fmla="*/ 192688 w 192688"/>
                  <a:gd name="connsiteY4" fmla="*/ 205646 h 274362"/>
                  <a:gd name="connsiteX5" fmla="*/ 123972 w 192688"/>
                  <a:gd name="connsiteY5" fmla="*/ 274362 h 274362"/>
                  <a:gd name="connsiteX6" fmla="*/ 68716 w 192688"/>
                  <a:gd name="connsiteY6" fmla="*/ 274362 h 274362"/>
                  <a:gd name="connsiteX7" fmla="*/ 0 w 192688"/>
                  <a:gd name="connsiteY7" fmla="*/ 205646 h 274362"/>
                  <a:gd name="connsiteX8" fmla="*/ 0 w 192688"/>
                  <a:gd name="connsiteY8" fmla="*/ 68716 h 274362"/>
                  <a:gd name="connsiteX0" fmla="*/ 19669 w 192688"/>
                  <a:gd name="connsiteY0" fmla="*/ 175363 h 274362"/>
                  <a:gd name="connsiteX1" fmla="*/ 61512 w 192688"/>
                  <a:gd name="connsiteY1" fmla="*/ 102776 h 274362"/>
                  <a:gd name="connsiteX2" fmla="*/ 123972 w 192688"/>
                  <a:gd name="connsiteY2" fmla="*/ 0 h 274362"/>
                  <a:gd name="connsiteX3" fmla="*/ 192688 w 192688"/>
                  <a:gd name="connsiteY3" fmla="*/ 68716 h 274362"/>
                  <a:gd name="connsiteX4" fmla="*/ 192688 w 192688"/>
                  <a:gd name="connsiteY4" fmla="*/ 205646 h 274362"/>
                  <a:gd name="connsiteX5" fmla="*/ 123972 w 192688"/>
                  <a:gd name="connsiteY5" fmla="*/ 274362 h 274362"/>
                  <a:gd name="connsiteX6" fmla="*/ 68716 w 192688"/>
                  <a:gd name="connsiteY6" fmla="*/ 274362 h 274362"/>
                  <a:gd name="connsiteX7" fmla="*/ 0 w 192688"/>
                  <a:gd name="connsiteY7" fmla="*/ 205646 h 274362"/>
                  <a:gd name="connsiteX8" fmla="*/ 19669 w 192688"/>
                  <a:gd name="connsiteY8" fmla="*/ 175363 h 274362"/>
                  <a:gd name="connsiteX0" fmla="*/ 19669 w 192688"/>
                  <a:gd name="connsiteY0" fmla="*/ 175363 h 274362"/>
                  <a:gd name="connsiteX1" fmla="*/ 68919 w 192688"/>
                  <a:gd name="connsiteY1" fmla="*/ 82108 h 274362"/>
                  <a:gd name="connsiteX2" fmla="*/ 123972 w 192688"/>
                  <a:gd name="connsiteY2" fmla="*/ 0 h 274362"/>
                  <a:gd name="connsiteX3" fmla="*/ 192688 w 192688"/>
                  <a:gd name="connsiteY3" fmla="*/ 68716 h 274362"/>
                  <a:gd name="connsiteX4" fmla="*/ 192688 w 192688"/>
                  <a:gd name="connsiteY4" fmla="*/ 205646 h 274362"/>
                  <a:gd name="connsiteX5" fmla="*/ 123972 w 192688"/>
                  <a:gd name="connsiteY5" fmla="*/ 274362 h 274362"/>
                  <a:gd name="connsiteX6" fmla="*/ 68716 w 192688"/>
                  <a:gd name="connsiteY6" fmla="*/ 274362 h 274362"/>
                  <a:gd name="connsiteX7" fmla="*/ 0 w 192688"/>
                  <a:gd name="connsiteY7" fmla="*/ 205646 h 274362"/>
                  <a:gd name="connsiteX8" fmla="*/ 19669 w 192688"/>
                  <a:gd name="connsiteY8" fmla="*/ 175363 h 274362"/>
                  <a:gd name="connsiteX0" fmla="*/ 19669 w 192688"/>
                  <a:gd name="connsiteY0" fmla="*/ 155541 h 254540"/>
                  <a:gd name="connsiteX1" fmla="*/ 68919 w 192688"/>
                  <a:gd name="connsiteY1" fmla="*/ 62286 h 254540"/>
                  <a:gd name="connsiteX2" fmla="*/ 151713 w 192688"/>
                  <a:gd name="connsiteY2" fmla="*/ 0 h 254540"/>
                  <a:gd name="connsiteX3" fmla="*/ 192688 w 192688"/>
                  <a:gd name="connsiteY3" fmla="*/ 48894 h 254540"/>
                  <a:gd name="connsiteX4" fmla="*/ 192688 w 192688"/>
                  <a:gd name="connsiteY4" fmla="*/ 185824 h 254540"/>
                  <a:gd name="connsiteX5" fmla="*/ 123972 w 192688"/>
                  <a:gd name="connsiteY5" fmla="*/ 254540 h 254540"/>
                  <a:gd name="connsiteX6" fmla="*/ 68716 w 192688"/>
                  <a:gd name="connsiteY6" fmla="*/ 254540 h 254540"/>
                  <a:gd name="connsiteX7" fmla="*/ 0 w 192688"/>
                  <a:gd name="connsiteY7" fmla="*/ 185824 h 254540"/>
                  <a:gd name="connsiteX8" fmla="*/ 19669 w 192688"/>
                  <a:gd name="connsiteY8" fmla="*/ 155541 h 25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2688" h="254540">
                    <a:moveTo>
                      <a:pt x="19669" y="155541"/>
                    </a:moveTo>
                    <a:cubicBezTo>
                      <a:pt x="19669" y="117590"/>
                      <a:pt x="30968" y="62286"/>
                      <a:pt x="68919" y="62286"/>
                    </a:cubicBezTo>
                    <a:cubicBezTo>
                      <a:pt x="87338" y="62286"/>
                      <a:pt x="133294" y="0"/>
                      <a:pt x="151713" y="0"/>
                    </a:cubicBezTo>
                    <a:cubicBezTo>
                      <a:pt x="189664" y="0"/>
                      <a:pt x="192688" y="10943"/>
                      <a:pt x="192688" y="48894"/>
                    </a:cubicBezTo>
                    <a:lnTo>
                      <a:pt x="192688" y="185824"/>
                    </a:lnTo>
                    <a:cubicBezTo>
                      <a:pt x="192688" y="223775"/>
                      <a:pt x="161923" y="254540"/>
                      <a:pt x="123972" y="254540"/>
                    </a:cubicBezTo>
                    <a:lnTo>
                      <a:pt x="68716" y="254540"/>
                    </a:lnTo>
                    <a:cubicBezTo>
                      <a:pt x="30765" y="254540"/>
                      <a:pt x="0" y="223775"/>
                      <a:pt x="0" y="185824"/>
                    </a:cubicBezTo>
                    <a:lnTo>
                      <a:pt x="19669" y="155541"/>
                    </a:lnTo>
                    <a:close/>
                  </a:path>
                </a:pathLst>
              </a:custGeom>
              <a:gradFill flip="none" rotWithShape="1">
                <a:gsLst>
                  <a:gs pos="16000">
                    <a:srgbClr val="FFEAD5"/>
                  </a:gs>
                  <a:gs pos="75000">
                    <a:srgbClr val="FFCC99"/>
                  </a:gs>
                </a:gsLst>
                <a:path path="circle">
                  <a:fillToRect l="50000" t="50000" r="50000" b="50000"/>
                </a:path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5660B009-6A12-29F7-4662-79852EDAAEC6}"/>
                  </a:ext>
                </a:extLst>
              </p:cNvPr>
              <p:cNvSpPr/>
              <p:nvPr/>
            </p:nvSpPr>
            <p:spPr>
              <a:xfrm rot="7711506">
                <a:off x="5116631" y="2939024"/>
                <a:ext cx="98722" cy="81132"/>
              </a:xfrm>
              <a:prstGeom prst="ellipse">
                <a:avLst/>
              </a:prstGeom>
              <a:gradFill flip="none" rotWithShape="1">
                <a:gsLst>
                  <a:gs pos="16000">
                    <a:srgbClr val="FFEAD5"/>
                  </a:gs>
                  <a:gs pos="74000">
                    <a:srgbClr val="A45200"/>
                  </a:gs>
                  <a:gs pos="53000">
                    <a:srgbClr val="FFC081"/>
                  </a:gs>
                </a:gsLst>
                <a:path path="circle">
                  <a:fillToRect l="50000" t="50000" r="50000" b="50000"/>
                </a:path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35" name="!!Group 2268">
              <a:extLst>
                <a:ext uri="{FF2B5EF4-FFF2-40B4-BE49-F238E27FC236}">
                  <a16:creationId xmlns:a16="http://schemas.microsoft.com/office/drawing/2014/main" id="{69F6831C-35C9-CF18-C6CA-38D19588F520}"/>
                </a:ext>
              </a:extLst>
            </p:cNvPr>
            <p:cNvGrpSpPr/>
            <p:nvPr/>
          </p:nvGrpSpPr>
          <p:grpSpPr>
            <a:xfrm rot="11900908">
              <a:off x="2694813" y="2970997"/>
              <a:ext cx="300202" cy="482548"/>
              <a:chOff x="5522862" y="2491850"/>
              <a:chExt cx="208325" cy="334863"/>
            </a:xfrm>
          </p:grpSpPr>
          <p:sp>
            <p:nvSpPr>
              <p:cNvPr id="199" name="Freeform: Shape 4667">
                <a:extLst>
                  <a:ext uri="{FF2B5EF4-FFF2-40B4-BE49-F238E27FC236}">
                    <a16:creationId xmlns:a16="http://schemas.microsoft.com/office/drawing/2014/main" id="{2D0F9463-00EC-2205-9582-85AD5604AA6C}"/>
                  </a:ext>
                </a:extLst>
              </p:cNvPr>
              <p:cNvSpPr/>
              <p:nvPr/>
            </p:nvSpPr>
            <p:spPr>
              <a:xfrm rot="9687536">
                <a:off x="5616362" y="2773738"/>
                <a:ext cx="15101" cy="36000"/>
              </a:xfrm>
              <a:custGeom>
                <a:avLst/>
                <a:gdLst>
                  <a:gd name="connsiteX0" fmla="*/ 4304 w 39714"/>
                  <a:gd name="connsiteY0" fmla="*/ 0 h 239535"/>
                  <a:gd name="connsiteX1" fmla="*/ 4304 w 39714"/>
                  <a:gd name="connsiteY1" fmla="*/ 0 h 239535"/>
                  <a:gd name="connsiteX2" fmla="*/ 138 w 39714"/>
                  <a:gd name="connsiteY2" fmla="*/ 18746 h 239535"/>
                  <a:gd name="connsiteX3" fmla="*/ 6387 w 39714"/>
                  <a:gd name="connsiteY3" fmla="*/ 52072 h 239535"/>
                  <a:gd name="connsiteX4" fmla="*/ 8470 w 39714"/>
                  <a:gd name="connsiteY4" fmla="*/ 58321 h 239535"/>
                  <a:gd name="connsiteX5" fmla="*/ 14719 w 39714"/>
                  <a:gd name="connsiteY5" fmla="*/ 62487 h 239535"/>
                  <a:gd name="connsiteX6" fmla="*/ 18885 w 39714"/>
                  <a:gd name="connsiteY6" fmla="*/ 68736 h 239535"/>
                  <a:gd name="connsiteX7" fmla="*/ 35548 w 39714"/>
                  <a:gd name="connsiteY7" fmla="*/ 87482 h 239535"/>
                  <a:gd name="connsiteX8" fmla="*/ 39714 w 39714"/>
                  <a:gd name="connsiteY8" fmla="*/ 99979 h 239535"/>
                  <a:gd name="connsiteX9" fmla="*/ 37631 w 39714"/>
                  <a:gd name="connsiteY9" fmla="*/ 147887 h 239535"/>
                  <a:gd name="connsiteX10" fmla="*/ 31382 w 39714"/>
                  <a:gd name="connsiteY10" fmla="*/ 179130 h 239535"/>
                  <a:gd name="connsiteX11" fmla="*/ 27216 w 39714"/>
                  <a:gd name="connsiteY11" fmla="*/ 185379 h 239535"/>
                  <a:gd name="connsiteX12" fmla="*/ 25133 w 39714"/>
                  <a:gd name="connsiteY12" fmla="*/ 193711 h 239535"/>
                  <a:gd name="connsiteX13" fmla="*/ 23051 w 39714"/>
                  <a:gd name="connsiteY13" fmla="*/ 199959 h 239535"/>
                  <a:gd name="connsiteX14" fmla="*/ 23051 w 39714"/>
                  <a:gd name="connsiteY14" fmla="*/ 239535 h 239535"/>
                  <a:gd name="connsiteX15" fmla="*/ 23051 w 39714"/>
                  <a:gd name="connsiteY15" fmla="*/ 239535 h 239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9714" h="239535">
                    <a:moveTo>
                      <a:pt x="4304" y="0"/>
                    </a:moveTo>
                    <a:lnTo>
                      <a:pt x="4304" y="0"/>
                    </a:lnTo>
                    <a:cubicBezTo>
                      <a:pt x="2915" y="6249"/>
                      <a:pt x="474" y="12354"/>
                      <a:pt x="138" y="18746"/>
                    </a:cubicBezTo>
                    <a:cubicBezTo>
                      <a:pt x="-664" y="33980"/>
                      <a:pt x="2105" y="39226"/>
                      <a:pt x="6387" y="52072"/>
                    </a:cubicBezTo>
                    <a:cubicBezTo>
                      <a:pt x="7081" y="54155"/>
                      <a:pt x="6643" y="57103"/>
                      <a:pt x="8470" y="58321"/>
                    </a:cubicBezTo>
                    <a:lnTo>
                      <a:pt x="14719" y="62487"/>
                    </a:lnTo>
                    <a:cubicBezTo>
                      <a:pt x="16108" y="64570"/>
                      <a:pt x="17222" y="66865"/>
                      <a:pt x="18885" y="68736"/>
                    </a:cubicBezTo>
                    <a:cubicBezTo>
                      <a:pt x="23076" y="73451"/>
                      <a:pt x="32396" y="80391"/>
                      <a:pt x="35548" y="87482"/>
                    </a:cubicBezTo>
                    <a:cubicBezTo>
                      <a:pt x="37331" y="91495"/>
                      <a:pt x="39714" y="99979"/>
                      <a:pt x="39714" y="99979"/>
                    </a:cubicBezTo>
                    <a:cubicBezTo>
                      <a:pt x="39020" y="115948"/>
                      <a:pt x="38628" y="131934"/>
                      <a:pt x="37631" y="147887"/>
                    </a:cubicBezTo>
                    <a:cubicBezTo>
                      <a:pt x="37214" y="154555"/>
                      <a:pt x="36034" y="172152"/>
                      <a:pt x="31382" y="179130"/>
                    </a:cubicBezTo>
                    <a:lnTo>
                      <a:pt x="27216" y="185379"/>
                    </a:lnTo>
                    <a:cubicBezTo>
                      <a:pt x="26522" y="188156"/>
                      <a:pt x="25919" y="190958"/>
                      <a:pt x="25133" y="193711"/>
                    </a:cubicBezTo>
                    <a:cubicBezTo>
                      <a:pt x="24530" y="195822"/>
                      <a:pt x="23151" y="197766"/>
                      <a:pt x="23051" y="199959"/>
                    </a:cubicBezTo>
                    <a:cubicBezTo>
                      <a:pt x="22452" y="213137"/>
                      <a:pt x="23051" y="226343"/>
                      <a:pt x="23051" y="239535"/>
                    </a:cubicBezTo>
                    <a:lnTo>
                      <a:pt x="23051" y="239535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200" name="Freeform: Shape 4668">
                <a:extLst>
                  <a:ext uri="{FF2B5EF4-FFF2-40B4-BE49-F238E27FC236}">
                    <a16:creationId xmlns:a16="http://schemas.microsoft.com/office/drawing/2014/main" id="{1E6B352A-7F5F-7721-681A-2D478F21E7D8}"/>
                  </a:ext>
                </a:extLst>
              </p:cNvPr>
              <p:cNvSpPr/>
              <p:nvPr/>
            </p:nvSpPr>
            <p:spPr>
              <a:xfrm rot="9687536">
                <a:off x="5716138" y="2726101"/>
                <a:ext cx="15049" cy="95045"/>
              </a:xfrm>
              <a:custGeom>
                <a:avLst/>
                <a:gdLst>
                  <a:gd name="connsiteX0" fmla="*/ 0 w 39575"/>
                  <a:gd name="connsiteY0" fmla="*/ 0 h 247867"/>
                  <a:gd name="connsiteX1" fmla="*/ 0 w 39575"/>
                  <a:gd name="connsiteY1" fmla="*/ 0 h 247867"/>
                  <a:gd name="connsiteX2" fmla="*/ 4165 w 39575"/>
                  <a:gd name="connsiteY2" fmla="*/ 29161 h 247867"/>
                  <a:gd name="connsiteX3" fmla="*/ 8331 w 39575"/>
                  <a:gd name="connsiteY3" fmla="*/ 35409 h 247867"/>
                  <a:gd name="connsiteX4" fmla="*/ 18746 w 39575"/>
                  <a:gd name="connsiteY4" fmla="*/ 52073 h 247867"/>
                  <a:gd name="connsiteX5" fmla="*/ 22912 w 39575"/>
                  <a:gd name="connsiteY5" fmla="*/ 64570 h 247867"/>
                  <a:gd name="connsiteX6" fmla="*/ 24995 w 39575"/>
                  <a:gd name="connsiteY6" fmla="*/ 74985 h 247867"/>
                  <a:gd name="connsiteX7" fmla="*/ 33326 w 39575"/>
                  <a:gd name="connsiteY7" fmla="*/ 87482 h 247867"/>
                  <a:gd name="connsiteX8" fmla="*/ 37492 w 39575"/>
                  <a:gd name="connsiteY8" fmla="*/ 93731 h 247867"/>
                  <a:gd name="connsiteX9" fmla="*/ 39575 w 39575"/>
                  <a:gd name="connsiteY9" fmla="*/ 99980 h 247867"/>
                  <a:gd name="connsiteX10" fmla="*/ 37492 w 39575"/>
                  <a:gd name="connsiteY10" fmla="*/ 120809 h 247867"/>
                  <a:gd name="connsiteX11" fmla="*/ 35409 w 39575"/>
                  <a:gd name="connsiteY11" fmla="*/ 127058 h 247867"/>
                  <a:gd name="connsiteX12" fmla="*/ 33326 w 39575"/>
                  <a:gd name="connsiteY12" fmla="*/ 160384 h 247867"/>
                  <a:gd name="connsiteX13" fmla="*/ 31243 w 39575"/>
                  <a:gd name="connsiteY13" fmla="*/ 166633 h 247867"/>
                  <a:gd name="connsiteX14" fmla="*/ 24995 w 39575"/>
                  <a:gd name="connsiteY14" fmla="*/ 168716 h 247867"/>
                  <a:gd name="connsiteX15" fmla="*/ 20829 w 39575"/>
                  <a:gd name="connsiteY15" fmla="*/ 174965 h 247867"/>
                  <a:gd name="connsiteX16" fmla="*/ 16663 w 39575"/>
                  <a:gd name="connsiteY16" fmla="*/ 193711 h 247867"/>
                  <a:gd name="connsiteX17" fmla="*/ 14580 w 39575"/>
                  <a:gd name="connsiteY17" fmla="*/ 199960 h 247867"/>
                  <a:gd name="connsiteX18" fmla="*/ 10414 w 39575"/>
                  <a:gd name="connsiteY18" fmla="*/ 214540 h 247867"/>
                  <a:gd name="connsiteX19" fmla="*/ 8331 w 39575"/>
                  <a:gd name="connsiteY19" fmla="*/ 247867 h 247867"/>
                  <a:gd name="connsiteX20" fmla="*/ 8331 w 39575"/>
                  <a:gd name="connsiteY20" fmla="*/ 247867 h 247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39575" h="247867">
                    <a:moveTo>
                      <a:pt x="0" y="0"/>
                    </a:moveTo>
                    <a:lnTo>
                      <a:pt x="0" y="0"/>
                    </a:lnTo>
                    <a:cubicBezTo>
                      <a:pt x="531" y="5837"/>
                      <a:pt x="160" y="21151"/>
                      <a:pt x="4165" y="29161"/>
                    </a:cubicBezTo>
                    <a:cubicBezTo>
                      <a:pt x="5284" y="31400"/>
                      <a:pt x="6942" y="33326"/>
                      <a:pt x="8331" y="35409"/>
                    </a:cubicBezTo>
                    <a:cubicBezTo>
                      <a:pt x="13289" y="50282"/>
                      <a:pt x="8843" y="45471"/>
                      <a:pt x="18746" y="52073"/>
                    </a:cubicBezTo>
                    <a:cubicBezTo>
                      <a:pt x="20135" y="56239"/>
                      <a:pt x="22051" y="60264"/>
                      <a:pt x="22912" y="64570"/>
                    </a:cubicBezTo>
                    <a:cubicBezTo>
                      <a:pt x="23606" y="68042"/>
                      <a:pt x="23530" y="71762"/>
                      <a:pt x="24995" y="74985"/>
                    </a:cubicBezTo>
                    <a:cubicBezTo>
                      <a:pt x="27067" y="79543"/>
                      <a:pt x="30549" y="83316"/>
                      <a:pt x="33326" y="87482"/>
                    </a:cubicBezTo>
                    <a:cubicBezTo>
                      <a:pt x="34715" y="89565"/>
                      <a:pt x="36700" y="91356"/>
                      <a:pt x="37492" y="93731"/>
                    </a:cubicBezTo>
                    <a:lnTo>
                      <a:pt x="39575" y="99980"/>
                    </a:lnTo>
                    <a:cubicBezTo>
                      <a:pt x="38881" y="106923"/>
                      <a:pt x="38553" y="113913"/>
                      <a:pt x="37492" y="120809"/>
                    </a:cubicBezTo>
                    <a:cubicBezTo>
                      <a:pt x="37158" y="122979"/>
                      <a:pt x="35639" y="124874"/>
                      <a:pt x="35409" y="127058"/>
                    </a:cubicBezTo>
                    <a:cubicBezTo>
                      <a:pt x="34244" y="138127"/>
                      <a:pt x="34491" y="149315"/>
                      <a:pt x="33326" y="160384"/>
                    </a:cubicBezTo>
                    <a:cubicBezTo>
                      <a:pt x="33096" y="162568"/>
                      <a:pt x="32795" y="165080"/>
                      <a:pt x="31243" y="166633"/>
                    </a:cubicBezTo>
                    <a:cubicBezTo>
                      <a:pt x="29691" y="168185"/>
                      <a:pt x="27078" y="168022"/>
                      <a:pt x="24995" y="168716"/>
                    </a:cubicBezTo>
                    <a:cubicBezTo>
                      <a:pt x="23606" y="170799"/>
                      <a:pt x="21949" y="172726"/>
                      <a:pt x="20829" y="174965"/>
                    </a:cubicBezTo>
                    <a:cubicBezTo>
                      <a:pt x="18015" y="180592"/>
                      <a:pt x="17943" y="187949"/>
                      <a:pt x="16663" y="193711"/>
                    </a:cubicBezTo>
                    <a:cubicBezTo>
                      <a:pt x="16187" y="195854"/>
                      <a:pt x="15183" y="197849"/>
                      <a:pt x="14580" y="199960"/>
                    </a:cubicBezTo>
                    <a:cubicBezTo>
                      <a:pt x="9349" y="218268"/>
                      <a:pt x="15408" y="199557"/>
                      <a:pt x="10414" y="214540"/>
                    </a:cubicBezTo>
                    <a:cubicBezTo>
                      <a:pt x="8285" y="246477"/>
                      <a:pt x="8331" y="235346"/>
                      <a:pt x="8331" y="247867"/>
                    </a:cubicBezTo>
                    <a:lnTo>
                      <a:pt x="8331" y="247867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201" name="Rectangle: Rounded Corners 200">
                <a:extLst>
                  <a:ext uri="{FF2B5EF4-FFF2-40B4-BE49-F238E27FC236}">
                    <a16:creationId xmlns:a16="http://schemas.microsoft.com/office/drawing/2014/main" id="{D346E1ED-9277-A92A-1748-CB7A2B2DF55A}"/>
                  </a:ext>
                </a:extLst>
              </p:cNvPr>
              <p:cNvSpPr/>
              <p:nvPr/>
            </p:nvSpPr>
            <p:spPr>
              <a:xfrm rot="9687536">
                <a:off x="5522862" y="2491850"/>
                <a:ext cx="192688" cy="274360"/>
              </a:xfrm>
              <a:prstGeom prst="roundRect">
                <a:avLst>
                  <a:gd name="adj" fmla="val 35662"/>
                </a:avLst>
              </a:prstGeom>
              <a:gradFill flip="none" rotWithShape="1">
                <a:gsLst>
                  <a:gs pos="16000">
                    <a:srgbClr val="FFEAD5"/>
                  </a:gs>
                  <a:gs pos="75000">
                    <a:srgbClr val="FFCC99"/>
                  </a:gs>
                </a:gsLst>
                <a:path path="circle">
                  <a:fillToRect l="50000" t="50000" r="50000" b="50000"/>
                </a:path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202" name="Oval 201">
                <a:extLst>
                  <a:ext uri="{FF2B5EF4-FFF2-40B4-BE49-F238E27FC236}">
                    <a16:creationId xmlns:a16="http://schemas.microsoft.com/office/drawing/2014/main" id="{C544B5BD-49C1-AA61-CBC5-403B089D3267}"/>
                  </a:ext>
                </a:extLst>
              </p:cNvPr>
              <p:cNvSpPr/>
              <p:nvPr/>
            </p:nvSpPr>
            <p:spPr>
              <a:xfrm rot="9687536">
                <a:off x="5556910" y="2547236"/>
                <a:ext cx="98722" cy="81132"/>
              </a:xfrm>
              <a:prstGeom prst="ellipse">
                <a:avLst/>
              </a:prstGeom>
              <a:gradFill flip="none" rotWithShape="1">
                <a:gsLst>
                  <a:gs pos="16000">
                    <a:srgbClr val="FFEAD5"/>
                  </a:gs>
                  <a:gs pos="74000">
                    <a:srgbClr val="A45200"/>
                  </a:gs>
                  <a:gs pos="53000">
                    <a:srgbClr val="FFC081"/>
                  </a:gs>
                </a:gsLst>
                <a:path path="circle">
                  <a:fillToRect l="50000" t="50000" r="50000" b="50000"/>
                </a:path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203" name="Freeform: Shape 4671">
                <a:extLst>
                  <a:ext uri="{FF2B5EF4-FFF2-40B4-BE49-F238E27FC236}">
                    <a16:creationId xmlns:a16="http://schemas.microsoft.com/office/drawing/2014/main" id="{580B0709-D5C5-FA67-9530-B9A93FE03FD1}"/>
                  </a:ext>
                </a:extLst>
              </p:cNvPr>
              <p:cNvSpPr/>
              <p:nvPr/>
            </p:nvSpPr>
            <p:spPr>
              <a:xfrm rot="9687536">
                <a:off x="5683287" y="2754713"/>
                <a:ext cx="15101" cy="72000"/>
              </a:xfrm>
              <a:custGeom>
                <a:avLst/>
                <a:gdLst>
                  <a:gd name="connsiteX0" fmla="*/ 4304 w 39714"/>
                  <a:gd name="connsiteY0" fmla="*/ 0 h 239535"/>
                  <a:gd name="connsiteX1" fmla="*/ 4304 w 39714"/>
                  <a:gd name="connsiteY1" fmla="*/ 0 h 239535"/>
                  <a:gd name="connsiteX2" fmla="*/ 138 w 39714"/>
                  <a:gd name="connsiteY2" fmla="*/ 18746 h 239535"/>
                  <a:gd name="connsiteX3" fmla="*/ 6387 w 39714"/>
                  <a:gd name="connsiteY3" fmla="*/ 52072 h 239535"/>
                  <a:gd name="connsiteX4" fmla="*/ 8470 w 39714"/>
                  <a:gd name="connsiteY4" fmla="*/ 58321 h 239535"/>
                  <a:gd name="connsiteX5" fmla="*/ 14719 w 39714"/>
                  <a:gd name="connsiteY5" fmla="*/ 62487 h 239535"/>
                  <a:gd name="connsiteX6" fmla="*/ 18885 w 39714"/>
                  <a:gd name="connsiteY6" fmla="*/ 68736 h 239535"/>
                  <a:gd name="connsiteX7" fmla="*/ 35548 w 39714"/>
                  <a:gd name="connsiteY7" fmla="*/ 87482 h 239535"/>
                  <a:gd name="connsiteX8" fmla="*/ 39714 w 39714"/>
                  <a:gd name="connsiteY8" fmla="*/ 99979 h 239535"/>
                  <a:gd name="connsiteX9" fmla="*/ 37631 w 39714"/>
                  <a:gd name="connsiteY9" fmla="*/ 147887 h 239535"/>
                  <a:gd name="connsiteX10" fmla="*/ 31382 w 39714"/>
                  <a:gd name="connsiteY10" fmla="*/ 179130 h 239535"/>
                  <a:gd name="connsiteX11" fmla="*/ 27216 w 39714"/>
                  <a:gd name="connsiteY11" fmla="*/ 185379 h 239535"/>
                  <a:gd name="connsiteX12" fmla="*/ 25133 w 39714"/>
                  <a:gd name="connsiteY12" fmla="*/ 193711 h 239535"/>
                  <a:gd name="connsiteX13" fmla="*/ 23051 w 39714"/>
                  <a:gd name="connsiteY13" fmla="*/ 199959 h 239535"/>
                  <a:gd name="connsiteX14" fmla="*/ 23051 w 39714"/>
                  <a:gd name="connsiteY14" fmla="*/ 239535 h 239535"/>
                  <a:gd name="connsiteX15" fmla="*/ 23051 w 39714"/>
                  <a:gd name="connsiteY15" fmla="*/ 239535 h 239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9714" h="239535">
                    <a:moveTo>
                      <a:pt x="4304" y="0"/>
                    </a:moveTo>
                    <a:lnTo>
                      <a:pt x="4304" y="0"/>
                    </a:lnTo>
                    <a:cubicBezTo>
                      <a:pt x="2915" y="6249"/>
                      <a:pt x="474" y="12354"/>
                      <a:pt x="138" y="18746"/>
                    </a:cubicBezTo>
                    <a:cubicBezTo>
                      <a:pt x="-664" y="33980"/>
                      <a:pt x="2105" y="39226"/>
                      <a:pt x="6387" y="52072"/>
                    </a:cubicBezTo>
                    <a:cubicBezTo>
                      <a:pt x="7081" y="54155"/>
                      <a:pt x="6643" y="57103"/>
                      <a:pt x="8470" y="58321"/>
                    </a:cubicBezTo>
                    <a:lnTo>
                      <a:pt x="14719" y="62487"/>
                    </a:lnTo>
                    <a:cubicBezTo>
                      <a:pt x="16108" y="64570"/>
                      <a:pt x="17222" y="66865"/>
                      <a:pt x="18885" y="68736"/>
                    </a:cubicBezTo>
                    <a:cubicBezTo>
                      <a:pt x="23076" y="73451"/>
                      <a:pt x="32396" y="80391"/>
                      <a:pt x="35548" y="87482"/>
                    </a:cubicBezTo>
                    <a:cubicBezTo>
                      <a:pt x="37331" y="91495"/>
                      <a:pt x="39714" y="99979"/>
                      <a:pt x="39714" y="99979"/>
                    </a:cubicBezTo>
                    <a:cubicBezTo>
                      <a:pt x="39020" y="115948"/>
                      <a:pt x="38628" y="131934"/>
                      <a:pt x="37631" y="147887"/>
                    </a:cubicBezTo>
                    <a:cubicBezTo>
                      <a:pt x="37214" y="154555"/>
                      <a:pt x="36034" y="172152"/>
                      <a:pt x="31382" y="179130"/>
                    </a:cubicBezTo>
                    <a:lnTo>
                      <a:pt x="27216" y="185379"/>
                    </a:lnTo>
                    <a:cubicBezTo>
                      <a:pt x="26522" y="188156"/>
                      <a:pt x="25919" y="190958"/>
                      <a:pt x="25133" y="193711"/>
                    </a:cubicBezTo>
                    <a:cubicBezTo>
                      <a:pt x="24530" y="195822"/>
                      <a:pt x="23151" y="197766"/>
                      <a:pt x="23051" y="199959"/>
                    </a:cubicBezTo>
                    <a:cubicBezTo>
                      <a:pt x="22452" y="213137"/>
                      <a:pt x="23051" y="226343"/>
                      <a:pt x="23051" y="239535"/>
                    </a:cubicBezTo>
                    <a:lnTo>
                      <a:pt x="23051" y="239535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204" name="Freeform: Shape 4672">
                <a:extLst>
                  <a:ext uri="{FF2B5EF4-FFF2-40B4-BE49-F238E27FC236}">
                    <a16:creationId xmlns:a16="http://schemas.microsoft.com/office/drawing/2014/main" id="{5F16CEAB-2C40-9379-C69C-84817213AFF7}"/>
                  </a:ext>
                </a:extLst>
              </p:cNvPr>
              <p:cNvSpPr/>
              <p:nvPr/>
            </p:nvSpPr>
            <p:spPr>
              <a:xfrm rot="9687536">
                <a:off x="5651290" y="2770604"/>
                <a:ext cx="15101" cy="54000"/>
              </a:xfrm>
              <a:custGeom>
                <a:avLst/>
                <a:gdLst>
                  <a:gd name="connsiteX0" fmla="*/ 4304 w 39714"/>
                  <a:gd name="connsiteY0" fmla="*/ 0 h 239535"/>
                  <a:gd name="connsiteX1" fmla="*/ 4304 w 39714"/>
                  <a:gd name="connsiteY1" fmla="*/ 0 h 239535"/>
                  <a:gd name="connsiteX2" fmla="*/ 138 w 39714"/>
                  <a:gd name="connsiteY2" fmla="*/ 18746 h 239535"/>
                  <a:gd name="connsiteX3" fmla="*/ 6387 w 39714"/>
                  <a:gd name="connsiteY3" fmla="*/ 52072 h 239535"/>
                  <a:gd name="connsiteX4" fmla="*/ 8470 w 39714"/>
                  <a:gd name="connsiteY4" fmla="*/ 58321 h 239535"/>
                  <a:gd name="connsiteX5" fmla="*/ 14719 w 39714"/>
                  <a:gd name="connsiteY5" fmla="*/ 62487 h 239535"/>
                  <a:gd name="connsiteX6" fmla="*/ 18885 w 39714"/>
                  <a:gd name="connsiteY6" fmla="*/ 68736 h 239535"/>
                  <a:gd name="connsiteX7" fmla="*/ 35548 w 39714"/>
                  <a:gd name="connsiteY7" fmla="*/ 87482 h 239535"/>
                  <a:gd name="connsiteX8" fmla="*/ 39714 w 39714"/>
                  <a:gd name="connsiteY8" fmla="*/ 99979 h 239535"/>
                  <a:gd name="connsiteX9" fmla="*/ 37631 w 39714"/>
                  <a:gd name="connsiteY9" fmla="*/ 147887 h 239535"/>
                  <a:gd name="connsiteX10" fmla="*/ 31382 w 39714"/>
                  <a:gd name="connsiteY10" fmla="*/ 179130 h 239535"/>
                  <a:gd name="connsiteX11" fmla="*/ 27216 w 39714"/>
                  <a:gd name="connsiteY11" fmla="*/ 185379 h 239535"/>
                  <a:gd name="connsiteX12" fmla="*/ 25133 w 39714"/>
                  <a:gd name="connsiteY12" fmla="*/ 193711 h 239535"/>
                  <a:gd name="connsiteX13" fmla="*/ 23051 w 39714"/>
                  <a:gd name="connsiteY13" fmla="*/ 199959 h 239535"/>
                  <a:gd name="connsiteX14" fmla="*/ 23051 w 39714"/>
                  <a:gd name="connsiteY14" fmla="*/ 239535 h 239535"/>
                  <a:gd name="connsiteX15" fmla="*/ 23051 w 39714"/>
                  <a:gd name="connsiteY15" fmla="*/ 239535 h 239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9714" h="239535">
                    <a:moveTo>
                      <a:pt x="4304" y="0"/>
                    </a:moveTo>
                    <a:lnTo>
                      <a:pt x="4304" y="0"/>
                    </a:lnTo>
                    <a:cubicBezTo>
                      <a:pt x="2915" y="6249"/>
                      <a:pt x="474" y="12354"/>
                      <a:pt x="138" y="18746"/>
                    </a:cubicBezTo>
                    <a:cubicBezTo>
                      <a:pt x="-664" y="33980"/>
                      <a:pt x="2105" y="39226"/>
                      <a:pt x="6387" y="52072"/>
                    </a:cubicBezTo>
                    <a:cubicBezTo>
                      <a:pt x="7081" y="54155"/>
                      <a:pt x="6643" y="57103"/>
                      <a:pt x="8470" y="58321"/>
                    </a:cubicBezTo>
                    <a:lnTo>
                      <a:pt x="14719" y="62487"/>
                    </a:lnTo>
                    <a:cubicBezTo>
                      <a:pt x="16108" y="64570"/>
                      <a:pt x="17222" y="66865"/>
                      <a:pt x="18885" y="68736"/>
                    </a:cubicBezTo>
                    <a:cubicBezTo>
                      <a:pt x="23076" y="73451"/>
                      <a:pt x="32396" y="80391"/>
                      <a:pt x="35548" y="87482"/>
                    </a:cubicBezTo>
                    <a:cubicBezTo>
                      <a:pt x="37331" y="91495"/>
                      <a:pt x="39714" y="99979"/>
                      <a:pt x="39714" y="99979"/>
                    </a:cubicBezTo>
                    <a:cubicBezTo>
                      <a:pt x="39020" y="115948"/>
                      <a:pt x="38628" y="131934"/>
                      <a:pt x="37631" y="147887"/>
                    </a:cubicBezTo>
                    <a:cubicBezTo>
                      <a:pt x="37214" y="154555"/>
                      <a:pt x="36034" y="172152"/>
                      <a:pt x="31382" y="179130"/>
                    </a:cubicBezTo>
                    <a:lnTo>
                      <a:pt x="27216" y="185379"/>
                    </a:lnTo>
                    <a:cubicBezTo>
                      <a:pt x="26522" y="188156"/>
                      <a:pt x="25919" y="190958"/>
                      <a:pt x="25133" y="193711"/>
                    </a:cubicBezTo>
                    <a:cubicBezTo>
                      <a:pt x="24530" y="195822"/>
                      <a:pt x="23151" y="197766"/>
                      <a:pt x="23051" y="199959"/>
                    </a:cubicBezTo>
                    <a:cubicBezTo>
                      <a:pt x="22452" y="213137"/>
                      <a:pt x="23051" y="226343"/>
                      <a:pt x="23051" y="239535"/>
                    </a:cubicBezTo>
                    <a:lnTo>
                      <a:pt x="23051" y="239535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00794A84-7797-AD14-3442-64D364A5708D}"/>
                </a:ext>
              </a:extLst>
            </p:cNvPr>
            <p:cNvGrpSpPr/>
            <p:nvPr/>
          </p:nvGrpSpPr>
          <p:grpSpPr>
            <a:xfrm rot="14189804">
              <a:off x="3484877" y="3032239"/>
              <a:ext cx="455673" cy="343184"/>
              <a:chOff x="4947468" y="3052371"/>
              <a:chExt cx="318422" cy="239818"/>
            </a:xfrm>
          </p:grpSpPr>
          <p:sp>
            <p:nvSpPr>
              <p:cNvPr id="193" name="Freeform: Shape 4661">
                <a:extLst>
                  <a:ext uri="{FF2B5EF4-FFF2-40B4-BE49-F238E27FC236}">
                    <a16:creationId xmlns:a16="http://schemas.microsoft.com/office/drawing/2014/main" id="{27643FE6-DE88-332E-3786-DA239CBE4C8C}"/>
                  </a:ext>
                </a:extLst>
              </p:cNvPr>
              <p:cNvSpPr/>
              <p:nvPr/>
            </p:nvSpPr>
            <p:spPr>
              <a:xfrm rot="18141017" flipV="1">
                <a:off x="5233979" y="3174122"/>
                <a:ext cx="15101" cy="36000"/>
              </a:xfrm>
              <a:custGeom>
                <a:avLst/>
                <a:gdLst>
                  <a:gd name="connsiteX0" fmla="*/ 4304 w 39714"/>
                  <a:gd name="connsiteY0" fmla="*/ 0 h 239535"/>
                  <a:gd name="connsiteX1" fmla="*/ 4304 w 39714"/>
                  <a:gd name="connsiteY1" fmla="*/ 0 h 239535"/>
                  <a:gd name="connsiteX2" fmla="*/ 138 w 39714"/>
                  <a:gd name="connsiteY2" fmla="*/ 18746 h 239535"/>
                  <a:gd name="connsiteX3" fmla="*/ 6387 w 39714"/>
                  <a:gd name="connsiteY3" fmla="*/ 52072 h 239535"/>
                  <a:gd name="connsiteX4" fmla="*/ 8470 w 39714"/>
                  <a:gd name="connsiteY4" fmla="*/ 58321 h 239535"/>
                  <a:gd name="connsiteX5" fmla="*/ 14719 w 39714"/>
                  <a:gd name="connsiteY5" fmla="*/ 62487 h 239535"/>
                  <a:gd name="connsiteX6" fmla="*/ 18885 w 39714"/>
                  <a:gd name="connsiteY6" fmla="*/ 68736 h 239535"/>
                  <a:gd name="connsiteX7" fmla="*/ 35548 w 39714"/>
                  <a:gd name="connsiteY7" fmla="*/ 87482 h 239535"/>
                  <a:gd name="connsiteX8" fmla="*/ 39714 w 39714"/>
                  <a:gd name="connsiteY8" fmla="*/ 99979 h 239535"/>
                  <a:gd name="connsiteX9" fmla="*/ 37631 w 39714"/>
                  <a:gd name="connsiteY9" fmla="*/ 147887 h 239535"/>
                  <a:gd name="connsiteX10" fmla="*/ 31382 w 39714"/>
                  <a:gd name="connsiteY10" fmla="*/ 179130 h 239535"/>
                  <a:gd name="connsiteX11" fmla="*/ 27216 w 39714"/>
                  <a:gd name="connsiteY11" fmla="*/ 185379 h 239535"/>
                  <a:gd name="connsiteX12" fmla="*/ 25133 w 39714"/>
                  <a:gd name="connsiteY12" fmla="*/ 193711 h 239535"/>
                  <a:gd name="connsiteX13" fmla="*/ 23051 w 39714"/>
                  <a:gd name="connsiteY13" fmla="*/ 199959 h 239535"/>
                  <a:gd name="connsiteX14" fmla="*/ 23051 w 39714"/>
                  <a:gd name="connsiteY14" fmla="*/ 239535 h 239535"/>
                  <a:gd name="connsiteX15" fmla="*/ 23051 w 39714"/>
                  <a:gd name="connsiteY15" fmla="*/ 239535 h 239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9714" h="239535">
                    <a:moveTo>
                      <a:pt x="4304" y="0"/>
                    </a:moveTo>
                    <a:lnTo>
                      <a:pt x="4304" y="0"/>
                    </a:lnTo>
                    <a:cubicBezTo>
                      <a:pt x="2915" y="6249"/>
                      <a:pt x="474" y="12354"/>
                      <a:pt x="138" y="18746"/>
                    </a:cubicBezTo>
                    <a:cubicBezTo>
                      <a:pt x="-664" y="33980"/>
                      <a:pt x="2105" y="39226"/>
                      <a:pt x="6387" y="52072"/>
                    </a:cubicBezTo>
                    <a:cubicBezTo>
                      <a:pt x="7081" y="54155"/>
                      <a:pt x="6643" y="57103"/>
                      <a:pt x="8470" y="58321"/>
                    </a:cubicBezTo>
                    <a:lnTo>
                      <a:pt x="14719" y="62487"/>
                    </a:lnTo>
                    <a:cubicBezTo>
                      <a:pt x="16108" y="64570"/>
                      <a:pt x="17222" y="66865"/>
                      <a:pt x="18885" y="68736"/>
                    </a:cubicBezTo>
                    <a:cubicBezTo>
                      <a:pt x="23076" y="73451"/>
                      <a:pt x="32396" y="80391"/>
                      <a:pt x="35548" y="87482"/>
                    </a:cubicBezTo>
                    <a:cubicBezTo>
                      <a:pt x="37331" y="91495"/>
                      <a:pt x="39714" y="99979"/>
                      <a:pt x="39714" y="99979"/>
                    </a:cubicBezTo>
                    <a:cubicBezTo>
                      <a:pt x="39020" y="115948"/>
                      <a:pt x="38628" y="131934"/>
                      <a:pt x="37631" y="147887"/>
                    </a:cubicBezTo>
                    <a:cubicBezTo>
                      <a:pt x="37214" y="154555"/>
                      <a:pt x="36034" y="172152"/>
                      <a:pt x="31382" y="179130"/>
                    </a:cubicBezTo>
                    <a:lnTo>
                      <a:pt x="27216" y="185379"/>
                    </a:lnTo>
                    <a:cubicBezTo>
                      <a:pt x="26522" y="188156"/>
                      <a:pt x="25919" y="190958"/>
                      <a:pt x="25133" y="193711"/>
                    </a:cubicBezTo>
                    <a:cubicBezTo>
                      <a:pt x="24530" y="195822"/>
                      <a:pt x="23151" y="197766"/>
                      <a:pt x="23051" y="199959"/>
                    </a:cubicBezTo>
                    <a:cubicBezTo>
                      <a:pt x="22452" y="213137"/>
                      <a:pt x="23051" y="226343"/>
                      <a:pt x="23051" y="239535"/>
                    </a:cubicBezTo>
                    <a:lnTo>
                      <a:pt x="23051" y="239535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194" name="Freeform: Shape 4662">
                <a:extLst>
                  <a:ext uri="{FF2B5EF4-FFF2-40B4-BE49-F238E27FC236}">
                    <a16:creationId xmlns:a16="http://schemas.microsoft.com/office/drawing/2014/main" id="{D134724B-C921-2899-03E4-765BD7B7F320}"/>
                  </a:ext>
                </a:extLst>
              </p:cNvPr>
              <p:cNvSpPr/>
              <p:nvPr/>
            </p:nvSpPr>
            <p:spPr>
              <a:xfrm rot="18141017" flipV="1">
                <a:off x="5192606" y="3237142"/>
                <a:ext cx="15049" cy="95045"/>
              </a:xfrm>
              <a:custGeom>
                <a:avLst/>
                <a:gdLst>
                  <a:gd name="connsiteX0" fmla="*/ 0 w 39575"/>
                  <a:gd name="connsiteY0" fmla="*/ 0 h 247867"/>
                  <a:gd name="connsiteX1" fmla="*/ 0 w 39575"/>
                  <a:gd name="connsiteY1" fmla="*/ 0 h 247867"/>
                  <a:gd name="connsiteX2" fmla="*/ 4165 w 39575"/>
                  <a:gd name="connsiteY2" fmla="*/ 29161 h 247867"/>
                  <a:gd name="connsiteX3" fmla="*/ 8331 w 39575"/>
                  <a:gd name="connsiteY3" fmla="*/ 35409 h 247867"/>
                  <a:gd name="connsiteX4" fmla="*/ 18746 w 39575"/>
                  <a:gd name="connsiteY4" fmla="*/ 52073 h 247867"/>
                  <a:gd name="connsiteX5" fmla="*/ 22912 w 39575"/>
                  <a:gd name="connsiteY5" fmla="*/ 64570 h 247867"/>
                  <a:gd name="connsiteX6" fmla="*/ 24995 w 39575"/>
                  <a:gd name="connsiteY6" fmla="*/ 74985 h 247867"/>
                  <a:gd name="connsiteX7" fmla="*/ 33326 w 39575"/>
                  <a:gd name="connsiteY7" fmla="*/ 87482 h 247867"/>
                  <a:gd name="connsiteX8" fmla="*/ 37492 w 39575"/>
                  <a:gd name="connsiteY8" fmla="*/ 93731 h 247867"/>
                  <a:gd name="connsiteX9" fmla="*/ 39575 w 39575"/>
                  <a:gd name="connsiteY9" fmla="*/ 99980 h 247867"/>
                  <a:gd name="connsiteX10" fmla="*/ 37492 w 39575"/>
                  <a:gd name="connsiteY10" fmla="*/ 120809 h 247867"/>
                  <a:gd name="connsiteX11" fmla="*/ 35409 w 39575"/>
                  <a:gd name="connsiteY11" fmla="*/ 127058 h 247867"/>
                  <a:gd name="connsiteX12" fmla="*/ 33326 w 39575"/>
                  <a:gd name="connsiteY12" fmla="*/ 160384 h 247867"/>
                  <a:gd name="connsiteX13" fmla="*/ 31243 w 39575"/>
                  <a:gd name="connsiteY13" fmla="*/ 166633 h 247867"/>
                  <a:gd name="connsiteX14" fmla="*/ 24995 w 39575"/>
                  <a:gd name="connsiteY14" fmla="*/ 168716 h 247867"/>
                  <a:gd name="connsiteX15" fmla="*/ 20829 w 39575"/>
                  <a:gd name="connsiteY15" fmla="*/ 174965 h 247867"/>
                  <a:gd name="connsiteX16" fmla="*/ 16663 w 39575"/>
                  <a:gd name="connsiteY16" fmla="*/ 193711 h 247867"/>
                  <a:gd name="connsiteX17" fmla="*/ 14580 w 39575"/>
                  <a:gd name="connsiteY17" fmla="*/ 199960 h 247867"/>
                  <a:gd name="connsiteX18" fmla="*/ 10414 w 39575"/>
                  <a:gd name="connsiteY18" fmla="*/ 214540 h 247867"/>
                  <a:gd name="connsiteX19" fmla="*/ 8331 w 39575"/>
                  <a:gd name="connsiteY19" fmla="*/ 247867 h 247867"/>
                  <a:gd name="connsiteX20" fmla="*/ 8331 w 39575"/>
                  <a:gd name="connsiteY20" fmla="*/ 247867 h 247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39575" h="247867">
                    <a:moveTo>
                      <a:pt x="0" y="0"/>
                    </a:moveTo>
                    <a:lnTo>
                      <a:pt x="0" y="0"/>
                    </a:lnTo>
                    <a:cubicBezTo>
                      <a:pt x="531" y="5837"/>
                      <a:pt x="160" y="21151"/>
                      <a:pt x="4165" y="29161"/>
                    </a:cubicBezTo>
                    <a:cubicBezTo>
                      <a:pt x="5284" y="31400"/>
                      <a:pt x="6942" y="33326"/>
                      <a:pt x="8331" y="35409"/>
                    </a:cubicBezTo>
                    <a:cubicBezTo>
                      <a:pt x="13289" y="50282"/>
                      <a:pt x="8843" y="45471"/>
                      <a:pt x="18746" y="52073"/>
                    </a:cubicBezTo>
                    <a:cubicBezTo>
                      <a:pt x="20135" y="56239"/>
                      <a:pt x="22051" y="60264"/>
                      <a:pt x="22912" y="64570"/>
                    </a:cubicBezTo>
                    <a:cubicBezTo>
                      <a:pt x="23606" y="68042"/>
                      <a:pt x="23530" y="71762"/>
                      <a:pt x="24995" y="74985"/>
                    </a:cubicBezTo>
                    <a:cubicBezTo>
                      <a:pt x="27067" y="79543"/>
                      <a:pt x="30549" y="83316"/>
                      <a:pt x="33326" y="87482"/>
                    </a:cubicBezTo>
                    <a:cubicBezTo>
                      <a:pt x="34715" y="89565"/>
                      <a:pt x="36700" y="91356"/>
                      <a:pt x="37492" y="93731"/>
                    </a:cubicBezTo>
                    <a:lnTo>
                      <a:pt x="39575" y="99980"/>
                    </a:lnTo>
                    <a:cubicBezTo>
                      <a:pt x="38881" y="106923"/>
                      <a:pt x="38553" y="113913"/>
                      <a:pt x="37492" y="120809"/>
                    </a:cubicBezTo>
                    <a:cubicBezTo>
                      <a:pt x="37158" y="122979"/>
                      <a:pt x="35639" y="124874"/>
                      <a:pt x="35409" y="127058"/>
                    </a:cubicBezTo>
                    <a:cubicBezTo>
                      <a:pt x="34244" y="138127"/>
                      <a:pt x="34491" y="149315"/>
                      <a:pt x="33326" y="160384"/>
                    </a:cubicBezTo>
                    <a:cubicBezTo>
                      <a:pt x="33096" y="162568"/>
                      <a:pt x="32795" y="165080"/>
                      <a:pt x="31243" y="166633"/>
                    </a:cubicBezTo>
                    <a:cubicBezTo>
                      <a:pt x="29691" y="168185"/>
                      <a:pt x="27078" y="168022"/>
                      <a:pt x="24995" y="168716"/>
                    </a:cubicBezTo>
                    <a:cubicBezTo>
                      <a:pt x="23606" y="170799"/>
                      <a:pt x="21949" y="172726"/>
                      <a:pt x="20829" y="174965"/>
                    </a:cubicBezTo>
                    <a:cubicBezTo>
                      <a:pt x="18015" y="180592"/>
                      <a:pt x="17943" y="187949"/>
                      <a:pt x="16663" y="193711"/>
                    </a:cubicBezTo>
                    <a:cubicBezTo>
                      <a:pt x="16187" y="195854"/>
                      <a:pt x="15183" y="197849"/>
                      <a:pt x="14580" y="199960"/>
                    </a:cubicBezTo>
                    <a:cubicBezTo>
                      <a:pt x="9349" y="218268"/>
                      <a:pt x="15408" y="199557"/>
                      <a:pt x="10414" y="214540"/>
                    </a:cubicBezTo>
                    <a:cubicBezTo>
                      <a:pt x="8285" y="246477"/>
                      <a:pt x="8331" y="235346"/>
                      <a:pt x="8331" y="247867"/>
                    </a:cubicBezTo>
                    <a:lnTo>
                      <a:pt x="8331" y="247867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195" name="Rectangle: Rounded Corners 194">
                <a:extLst>
                  <a:ext uri="{FF2B5EF4-FFF2-40B4-BE49-F238E27FC236}">
                    <a16:creationId xmlns:a16="http://schemas.microsoft.com/office/drawing/2014/main" id="{2F199422-FEDA-0F3D-9470-142201E3A83B}"/>
                  </a:ext>
                </a:extLst>
              </p:cNvPr>
              <p:cNvSpPr/>
              <p:nvPr/>
            </p:nvSpPr>
            <p:spPr>
              <a:xfrm rot="18141017" flipV="1">
                <a:off x="4988304" y="3011535"/>
                <a:ext cx="192688" cy="274360"/>
              </a:xfrm>
              <a:prstGeom prst="roundRect">
                <a:avLst>
                  <a:gd name="adj" fmla="val 35662"/>
                </a:avLst>
              </a:prstGeom>
              <a:gradFill flip="none" rotWithShape="1">
                <a:gsLst>
                  <a:gs pos="16000">
                    <a:srgbClr val="FFEAD5"/>
                  </a:gs>
                  <a:gs pos="75000">
                    <a:srgbClr val="FFCC99"/>
                  </a:gs>
                </a:gsLst>
                <a:path path="circle">
                  <a:fillToRect l="50000" t="50000" r="50000" b="50000"/>
                </a:path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196" name="Oval 195">
                <a:extLst>
                  <a:ext uri="{FF2B5EF4-FFF2-40B4-BE49-F238E27FC236}">
                    <a16:creationId xmlns:a16="http://schemas.microsoft.com/office/drawing/2014/main" id="{74B755E8-4879-CBE9-4008-C79FDC5A4207}"/>
                  </a:ext>
                </a:extLst>
              </p:cNvPr>
              <p:cNvSpPr/>
              <p:nvPr/>
            </p:nvSpPr>
            <p:spPr>
              <a:xfrm rot="18141017" flipV="1">
                <a:off x="4998338" y="3085747"/>
                <a:ext cx="98722" cy="81132"/>
              </a:xfrm>
              <a:prstGeom prst="ellipse">
                <a:avLst/>
              </a:prstGeom>
              <a:gradFill flip="none" rotWithShape="1">
                <a:gsLst>
                  <a:gs pos="16000">
                    <a:srgbClr val="FFEAD5"/>
                  </a:gs>
                  <a:gs pos="74000">
                    <a:srgbClr val="A45200"/>
                  </a:gs>
                  <a:gs pos="53000">
                    <a:srgbClr val="FFC081"/>
                  </a:gs>
                </a:gsLst>
                <a:path path="circle">
                  <a:fillToRect l="50000" t="50000" r="50000" b="50000"/>
                </a:path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197" name="Freeform: Shape 4665">
                <a:extLst>
                  <a:ext uri="{FF2B5EF4-FFF2-40B4-BE49-F238E27FC236}">
                    <a16:creationId xmlns:a16="http://schemas.microsoft.com/office/drawing/2014/main" id="{44EB51A7-FFBA-2D9E-702B-BA5AAA1F4EBB}"/>
                  </a:ext>
                </a:extLst>
              </p:cNvPr>
              <p:cNvSpPr/>
              <p:nvPr/>
            </p:nvSpPr>
            <p:spPr>
              <a:xfrm rot="18141017" flipV="1">
                <a:off x="5217009" y="3220868"/>
                <a:ext cx="15101" cy="72000"/>
              </a:xfrm>
              <a:custGeom>
                <a:avLst/>
                <a:gdLst>
                  <a:gd name="connsiteX0" fmla="*/ 4304 w 39714"/>
                  <a:gd name="connsiteY0" fmla="*/ 0 h 239535"/>
                  <a:gd name="connsiteX1" fmla="*/ 4304 w 39714"/>
                  <a:gd name="connsiteY1" fmla="*/ 0 h 239535"/>
                  <a:gd name="connsiteX2" fmla="*/ 138 w 39714"/>
                  <a:gd name="connsiteY2" fmla="*/ 18746 h 239535"/>
                  <a:gd name="connsiteX3" fmla="*/ 6387 w 39714"/>
                  <a:gd name="connsiteY3" fmla="*/ 52072 h 239535"/>
                  <a:gd name="connsiteX4" fmla="*/ 8470 w 39714"/>
                  <a:gd name="connsiteY4" fmla="*/ 58321 h 239535"/>
                  <a:gd name="connsiteX5" fmla="*/ 14719 w 39714"/>
                  <a:gd name="connsiteY5" fmla="*/ 62487 h 239535"/>
                  <a:gd name="connsiteX6" fmla="*/ 18885 w 39714"/>
                  <a:gd name="connsiteY6" fmla="*/ 68736 h 239535"/>
                  <a:gd name="connsiteX7" fmla="*/ 35548 w 39714"/>
                  <a:gd name="connsiteY7" fmla="*/ 87482 h 239535"/>
                  <a:gd name="connsiteX8" fmla="*/ 39714 w 39714"/>
                  <a:gd name="connsiteY8" fmla="*/ 99979 h 239535"/>
                  <a:gd name="connsiteX9" fmla="*/ 37631 w 39714"/>
                  <a:gd name="connsiteY9" fmla="*/ 147887 h 239535"/>
                  <a:gd name="connsiteX10" fmla="*/ 31382 w 39714"/>
                  <a:gd name="connsiteY10" fmla="*/ 179130 h 239535"/>
                  <a:gd name="connsiteX11" fmla="*/ 27216 w 39714"/>
                  <a:gd name="connsiteY11" fmla="*/ 185379 h 239535"/>
                  <a:gd name="connsiteX12" fmla="*/ 25133 w 39714"/>
                  <a:gd name="connsiteY12" fmla="*/ 193711 h 239535"/>
                  <a:gd name="connsiteX13" fmla="*/ 23051 w 39714"/>
                  <a:gd name="connsiteY13" fmla="*/ 199959 h 239535"/>
                  <a:gd name="connsiteX14" fmla="*/ 23051 w 39714"/>
                  <a:gd name="connsiteY14" fmla="*/ 239535 h 239535"/>
                  <a:gd name="connsiteX15" fmla="*/ 23051 w 39714"/>
                  <a:gd name="connsiteY15" fmla="*/ 239535 h 239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9714" h="239535">
                    <a:moveTo>
                      <a:pt x="4304" y="0"/>
                    </a:moveTo>
                    <a:lnTo>
                      <a:pt x="4304" y="0"/>
                    </a:lnTo>
                    <a:cubicBezTo>
                      <a:pt x="2915" y="6249"/>
                      <a:pt x="474" y="12354"/>
                      <a:pt x="138" y="18746"/>
                    </a:cubicBezTo>
                    <a:cubicBezTo>
                      <a:pt x="-664" y="33980"/>
                      <a:pt x="2105" y="39226"/>
                      <a:pt x="6387" y="52072"/>
                    </a:cubicBezTo>
                    <a:cubicBezTo>
                      <a:pt x="7081" y="54155"/>
                      <a:pt x="6643" y="57103"/>
                      <a:pt x="8470" y="58321"/>
                    </a:cubicBezTo>
                    <a:lnTo>
                      <a:pt x="14719" y="62487"/>
                    </a:lnTo>
                    <a:cubicBezTo>
                      <a:pt x="16108" y="64570"/>
                      <a:pt x="17222" y="66865"/>
                      <a:pt x="18885" y="68736"/>
                    </a:cubicBezTo>
                    <a:cubicBezTo>
                      <a:pt x="23076" y="73451"/>
                      <a:pt x="32396" y="80391"/>
                      <a:pt x="35548" y="87482"/>
                    </a:cubicBezTo>
                    <a:cubicBezTo>
                      <a:pt x="37331" y="91495"/>
                      <a:pt x="39714" y="99979"/>
                      <a:pt x="39714" y="99979"/>
                    </a:cubicBezTo>
                    <a:cubicBezTo>
                      <a:pt x="39020" y="115948"/>
                      <a:pt x="38628" y="131934"/>
                      <a:pt x="37631" y="147887"/>
                    </a:cubicBezTo>
                    <a:cubicBezTo>
                      <a:pt x="37214" y="154555"/>
                      <a:pt x="36034" y="172152"/>
                      <a:pt x="31382" y="179130"/>
                    </a:cubicBezTo>
                    <a:lnTo>
                      <a:pt x="27216" y="185379"/>
                    </a:lnTo>
                    <a:cubicBezTo>
                      <a:pt x="26522" y="188156"/>
                      <a:pt x="25919" y="190958"/>
                      <a:pt x="25133" y="193711"/>
                    </a:cubicBezTo>
                    <a:cubicBezTo>
                      <a:pt x="24530" y="195822"/>
                      <a:pt x="23151" y="197766"/>
                      <a:pt x="23051" y="199959"/>
                    </a:cubicBezTo>
                    <a:cubicBezTo>
                      <a:pt x="22452" y="213137"/>
                      <a:pt x="23051" y="226343"/>
                      <a:pt x="23051" y="239535"/>
                    </a:cubicBezTo>
                    <a:lnTo>
                      <a:pt x="23051" y="239535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198" name="Freeform: Shape 4666">
                <a:extLst>
                  <a:ext uri="{FF2B5EF4-FFF2-40B4-BE49-F238E27FC236}">
                    <a16:creationId xmlns:a16="http://schemas.microsoft.com/office/drawing/2014/main" id="{06C5D728-A1F7-634C-CCBC-FF7BD280B71B}"/>
                  </a:ext>
                </a:extLst>
              </p:cNvPr>
              <p:cNvSpPr/>
              <p:nvPr/>
            </p:nvSpPr>
            <p:spPr>
              <a:xfrm rot="18141017" flipV="1">
                <a:off x="5231339" y="3200441"/>
                <a:ext cx="15101" cy="54000"/>
              </a:xfrm>
              <a:custGeom>
                <a:avLst/>
                <a:gdLst>
                  <a:gd name="connsiteX0" fmla="*/ 4304 w 39714"/>
                  <a:gd name="connsiteY0" fmla="*/ 0 h 239535"/>
                  <a:gd name="connsiteX1" fmla="*/ 4304 w 39714"/>
                  <a:gd name="connsiteY1" fmla="*/ 0 h 239535"/>
                  <a:gd name="connsiteX2" fmla="*/ 138 w 39714"/>
                  <a:gd name="connsiteY2" fmla="*/ 18746 h 239535"/>
                  <a:gd name="connsiteX3" fmla="*/ 6387 w 39714"/>
                  <a:gd name="connsiteY3" fmla="*/ 52072 h 239535"/>
                  <a:gd name="connsiteX4" fmla="*/ 8470 w 39714"/>
                  <a:gd name="connsiteY4" fmla="*/ 58321 h 239535"/>
                  <a:gd name="connsiteX5" fmla="*/ 14719 w 39714"/>
                  <a:gd name="connsiteY5" fmla="*/ 62487 h 239535"/>
                  <a:gd name="connsiteX6" fmla="*/ 18885 w 39714"/>
                  <a:gd name="connsiteY6" fmla="*/ 68736 h 239535"/>
                  <a:gd name="connsiteX7" fmla="*/ 35548 w 39714"/>
                  <a:gd name="connsiteY7" fmla="*/ 87482 h 239535"/>
                  <a:gd name="connsiteX8" fmla="*/ 39714 w 39714"/>
                  <a:gd name="connsiteY8" fmla="*/ 99979 h 239535"/>
                  <a:gd name="connsiteX9" fmla="*/ 37631 w 39714"/>
                  <a:gd name="connsiteY9" fmla="*/ 147887 h 239535"/>
                  <a:gd name="connsiteX10" fmla="*/ 31382 w 39714"/>
                  <a:gd name="connsiteY10" fmla="*/ 179130 h 239535"/>
                  <a:gd name="connsiteX11" fmla="*/ 27216 w 39714"/>
                  <a:gd name="connsiteY11" fmla="*/ 185379 h 239535"/>
                  <a:gd name="connsiteX12" fmla="*/ 25133 w 39714"/>
                  <a:gd name="connsiteY12" fmla="*/ 193711 h 239535"/>
                  <a:gd name="connsiteX13" fmla="*/ 23051 w 39714"/>
                  <a:gd name="connsiteY13" fmla="*/ 199959 h 239535"/>
                  <a:gd name="connsiteX14" fmla="*/ 23051 w 39714"/>
                  <a:gd name="connsiteY14" fmla="*/ 239535 h 239535"/>
                  <a:gd name="connsiteX15" fmla="*/ 23051 w 39714"/>
                  <a:gd name="connsiteY15" fmla="*/ 239535 h 239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9714" h="239535">
                    <a:moveTo>
                      <a:pt x="4304" y="0"/>
                    </a:moveTo>
                    <a:lnTo>
                      <a:pt x="4304" y="0"/>
                    </a:lnTo>
                    <a:cubicBezTo>
                      <a:pt x="2915" y="6249"/>
                      <a:pt x="474" y="12354"/>
                      <a:pt x="138" y="18746"/>
                    </a:cubicBezTo>
                    <a:cubicBezTo>
                      <a:pt x="-664" y="33980"/>
                      <a:pt x="2105" y="39226"/>
                      <a:pt x="6387" y="52072"/>
                    </a:cubicBezTo>
                    <a:cubicBezTo>
                      <a:pt x="7081" y="54155"/>
                      <a:pt x="6643" y="57103"/>
                      <a:pt x="8470" y="58321"/>
                    </a:cubicBezTo>
                    <a:lnTo>
                      <a:pt x="14719" y="62487"/>
                    </a:lnTo>
                    <a:cubicBezTo>
                      <a:pt x="16108" y="64570"/>
                      <a:pt x="17222" y="66865"/>
                      <a:pt x="18885" y="68736"/>
                    </a:cubicBezTo>
                    <a:cubicBezTo>
                      <a:pt x="23076" y="73451"/>
                      <a:pt x="32396" y="80391"/>
                      <a:pt x="35548" y="87482"/>
                    </a:cubicBezTo>
                    <a:cubicBezTo>
                      <a:pt x="37331" y="91495"/>
                      <a:pt x="39714" y="99979"/>
                      <a:pt x="39714" y="99979"/>
                    </a:cubicBezTo>
                    <a:cubicBezTo>
                      <a:pt x="39020" y="115948"/>
                      <a:pt x="38628" y="131934"/>
                      <a:pt x="37631" y="147887"/>
                    </a:cubicBezTo>
                    <a:cubicBezTo>
                      <a:pt x="37214" y="154555"/>
                      <a:pt x="36034" y="172152"/>
                      <a:pt x="31382" y="179130"/>
                    </a:cubicBezTo>
                    <a:lnTo>
                      <a:pt x="27216" y="185379"/>
                    </a:lnTo>
                    <a:cubicBezTo>
                      <a:pt x="26522" y="188156"/>
                      <a:pt x="25919" y="190958"/>
                      <a:pt x="25133" y="193711"/>
                    </a:cubicBezTo>
                    <a:cubicBezTo>
                      <a:pt x="24530" y="195822"/>
                      <a:pt x="23151" y="197766"/>
                      <a:pt x="23051" y="199959"/>
                    </a:cubicBezTo>
                    <a:cubicBezTo>
                      <a:pt x="22452" y="213137"/>
                      <a:pt x="23051" y="226343"/>
                      <a:pt x="23051" y="239535"/>
                    </a:cubicBezTo>
                    <a:lnTo>
                      <a:pt x="23051" y="239535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37" name="!!Group 3157">
              <a:extLst>
                <a:ext uri="{FF2B5EF4-FFF2-40B4-BE49-F238E27FC236}">
                  <a16:creationId xmlns:a16="http://schemas.microsoft.com/office/drawing/2014/main" id="{5FE99D52-9FFD-265A-5881-05D68DDB18E4}"/>
                </a:ext>
              </a:extLst>
            </p:cNvPr>
            <p:cNvGrpSpPr/>
            <p:nvPr/>
          </p:nvGrpSpPr>
          <p:grpSpPr>
            <a:xfrm>
              <a:off x="4112909" y="2829988"/>
              <a:ext cx="291975" cy="623937"/>
              <a:chOff x="4423627" y="1973989"/>
              <a:chExt cx="245880" cy="525434"/>
            </a:xfrm>
          </p:grpSpPr>
          <p:sp>
            <p:nvSpPr>
              <p:cNvPr id="188" name="Rectangle: Rounded Corners 187">
                <a:extLst>
                  <a:ext uri="{FF2B5EF4-FFF2-40B4-BE49-F238E27FC236}">
                    <a16:creationId xmlns:a16="http://schemas.microsoft.com/office/drawing/2014/main" id="{B90C717F-E901-40AB-DA81-1EC56F807BA1}"/>
                  </a:ext>
                </a:extLst>
              </p:cNvPr>
              <p:cNvSpPr/>
              <p:nvPr/>
            </p:nvSpPr>
            <p:spPr>
              <a:xfrm>
                <a:off x="4423627" y="2125527"/>
                <a:ext cx="245880" cy="373896"/>
              </a:xfrm>
              <a:prstGeom prst="roundRect">
                <a:avLst>
                  <a:gd name="adj" fmla="val 35662"/>
                </a:avLst>
              </a:prstGeom>
              <a:gradFill flip="none" rotWithShape="1">
                <a:gsLst>
                  <a:gs pos="0">
                    <a:srgbClr val="CDBB56">
                      <a:tint val="66000"/>
                      <a:satMod val="160000"/>
                    </a:srgbClr>
                  </a:gs>
                  <a:gs pos="50000">
                    <a:srgbClr val="CDBB56">
                      <a:tint val="44500"/>
                      <a:satMod val="160000"/>
                    </a:srgbClr>
                  </a:gs>
                  <a:gs pos="100000">
                    <a:srgbClr val="CDBB56">
                      <a:tint val="23500"/>
                      <a:satMod val="160000"/>
                    </a:srgbClr>
                  </a:gs>
                </a:gsLst>
                <a:lin ang="16200000" scaled="1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78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189" name="Oval 188">
                <a:extLst>
                  <a:ext uri="{FF2B5EF4-FFF2-40B4-BE49-F238E27FC236}">
                    <a16:creationId xmlns:a16="http://schemas.microsoft.com/office/drawing/2014/main" id="{65C7597C-42ED-E6C4-105E-E878DA555897}"/>
                  </a:ext>
                </a:extLst>
              </p:cNvPr>
              <p:cNvSpPr/>
              <p:nvPr/>
            </p:nvSpPr>
            <p:spPr>
              <a:xfrm>
                <a:off x="4484332" y="2302259"/>
                <a:ext cx="124470" cy="109248"/>
              </a:xfrm>
              <a:prstGeom prst="ellipse">
                <a:avLst/>
              </a:prstGeom>
              <a:gradFill flip="none" rotWithShape="1">
                <a:gsLst>
                  <a:gs pos="0">
                    <a:srgbClr val="C4D600">
                      <a:shade val="30000"/>
                      <a:satMod val="115000"/>
                    </a:srgbClr>
                  </a:gs>
                  <a:gs pos="50000">
                    <a:srgbClr val="C4D600">
                      <a:shade val="67500"/>
                      <a:satMod val="115000"/>
                    </a:srgbClr>
                  </a:gs>
                  <a:gs pos="100000">
                    <a:srgbClr val="C4D600">
                      <a:shade val="100000"/>
                      <a:satMod val="115000"/>
                    </a:srgbClr>
                  </a:gs>
                </a:gsLst>
                <a:lin ang="18900000" scaled="1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78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190" name="Oval 189">
                <a:extLst>
                  <a:ext uri="{FF2B5EF4-FFF2-40B4-BE49-F238E27FC236}">
                    <a16:creationId xmlns:a16="http://schemas.microsoft.com/office/drawing/2014/main" id="{2300BA27-EE1B-976C-2700-AD9C21184780}"/>
                  </a:ext>
                </a:extLst>
              </p:cNvPr>
              <p:cNvSpPr/>
              <p:nvPr/>
            </p:nvSpPr>
            <p:spPr>
              <a:xfrm>
                <a:off x="4505701" y="1973989"/>
                <a:ext cx="76654" cy="81868"/>
              </a:xfrm>
              <a:prstGeom prst="ellipse">
                <a:avLst/>
              </a:prstGeom>
              <a:gradFill>
                <a:gsLst>
                  <a:gs pos="0">
                    <a:srgbClr val="FFEBFB"/>
                  </a:gs>
                  <a:gs pos="93000">
                    <a:srgbClr val="8E9A00"/>
                  </a:gs>
                  <a:gs pos="26000">
                    <a:srgbClr val="C4D600"/>
                  </a:gs>
                </a:gsLst>
                <a:path path="circle">
                  <a:fillToRect l="50000" t="50000" r="50000" b="50000"/>
                </a:path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  <p:sp>
            <p:nvSpPr>
              <p:cNvPr id="191" name="Oval 190">
                <a:extLst>
                  <a:ext uri="{FF2B5EF4-FFF2-40B4-BE49-F238E27FC236}">
                    <a16:creationId xmlns:a16="http://schemas.microsoft.com/office/drawing/2014/main" id="{524642EA-FE98-AFF2-BCF3-31C864B3EDF9}"/>
                  </a:ext>
                </a:extLst>
              </p:cNvPr>
              <p:cNvSpPr/>
              <p:nvPr/>
            </p:nvSpPr>
            <p:spPr>
              <a:xfrm>
                <a:off x="4489535" y="2087624"/>
                <a:ext cx="76654" cy="81868"/>
              </a:xfrm>
              <a:prstGeom prst="ellipse">
                <a:avLst/>
              </a:prstGeom>
              <a:gradFill>
                <a:gsLst>
                  <a:gs pos="0">
                    <a:srgbClr val="FFEBFB"/>
                  </a:gs>
                  <a:gs pos="93000">
                    <a:srgbClr val="8E9A00"/>
                  </a:gs>
                  <a:gs pos="26000">
                    <a:srgbClr val="C4D600"/>
                  </a:gs>
                </a:gsLst>
                <a:path path="circle">
                  <a:fillToRect l="50000" t="50000" r="50000" b="50000"/>
                </a:path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  <p:sp>
            <p:nvSpPr>
              <p:cNvPr id="192" name="Oval 191">
                <a:extLst>
                  <a:ext uri="{FF2B5EF4-FFF2-40B4-BE49-F238E27FC236}">
                    <a16:creationId xmlns:a16="http://schemas.microsoft.com/office/drawing/2014/main" id="{F87D8E04-03B2-17A3-F972-307D90413B83}"/>
                  </a:ext>
                </a:extLst>
              </p:cNvPr>
              <p:cNvSpPr/>
              <p:nvPr/>
            </p:nvSpPr>
            <p:spPr>
              <a:xfrm>
                <a:off x="4572183" y="2046690"/>
                <a:ext cx="76654" cy="81868"/>
              </a:xfrm>
              <a:prstGeom prst="ellipse">
                <a:avLst/>
              </a:prstGeom>
              <a:gradFill>
                <a:gsLst>
                  <a:gs pos="0">
                    <a:srgbClr val="FFEBFB"/>
                  </a:gs>
                  <a:gs pos="93000">
                    <a:srgbClr val="8E9A00"/>
                  </a:gs>
                  <a:gs pos="26000">
                    <a:srgbClr val="C4D600"/>
                  </a:gs>
                </a:gsLst>
                <a:path path="circle">
                  <a:fillToRect l="50000" t="50000" r="50000" b="50000"/>
                </a:path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</p:grpSp>
        <p:grpSp>
          <p:nvGrpSpPr>
            <p:cNvPr id="39" name="!!Group 963">
              <a:extLst>
                <a:ext uri="{FF2B5EF4-FFF2-40B4-BE49-F238E27FC236}">
                  <a16:creationId xmlns:a16="http://schemas.microsoft.com/office/drawing/2014/main" id="{B21C8B83-DBF8-D7FB-B2D5-92EBAF5EA033}"/>
                </a:ext>
              </a:extLst>
            </p:cNvPr>
            <p:cNvGrpSpPr/>
            <p:nvPr/>
          </p:nvGrpSpPr>
          <p:grpSpPr>
            <a:xfrm>
              <a:off x="4410893" y="2939276"/>
              <a:ext cx="274267" cy="514649"/>
              <a:chOff x="5661453" y="2606543"/>
              <a:chExt cx="275343" cy="516667"/>
            </a:xfrm>
          </p:grpSpPr>
          <p:sp>
            <p:nvSpPr>
              <p:cNvPr id="175" name="Freeform: Shape 4643">
                <a:extLst>
                  <a:ext uri="{FF2B5EF4-FFF2-40B4-BE49-F238E27FC236}">
                    <a16:creationId xmlns:a16="http://schemas.microsoft.com/office/drawing/2014/main" id="{7EE790CF-DDE0-F8AC-640A-0290B1B7F234}"/>
                  </a:ext>
                </a:extLst>
              </p:cNvPr>
              <p:cNvSpPr/>
              <p:nvPr/>
            </p:nvSpPr>
            <p:spPr>
              <a:xfrm>
                <a:off x="5684131" y="2624804"/>
                <a:ext cx="24899" cy="146087"/>
              </a:xfrm>
              <a:custGeom>
                <a:avLst/>
                <a:gdLst>
                  <a:gd name="connsiteX0" fmla="*/ 0 w 45824"/>
                  <a:gd name="connsiteY0" fmla="*/ 0 h 266613"/>
                  <a:gd name="connsiteX1" fmla="*/ 0 w 45824"/>
                  <a:gd name="connsiteY1" fmla="*/ 0 h 266613"/>
                  <a:gd name="connsiteX2" fmla="*/ 4165 w 45824"/>
                  <a:gd name="connsiteY2" fmla="*/ 18746 h 266613"/>
                  <a:gd name="connsiteX3" fmla="*/ 10414 w 45824"/>
                  <a:gd name="connsiteY3" fmla="*/ 47907 h 266613"/>
                  <a:gd name="connsiteX4" fmla="*/ 16663 w 45824"/>
                  <a:gd name="connsiteY4" fmla="*/ 52072 h 266613"/>
                  <a:gd name="connsiteX5" fmla="*/ 20829 w 45824"/>
                  <a:gd name="connsiteY5" fmla="*/ 58321 h 266613"/>
                  <a:gd name="connsiteX6" fmla="*/ 27078 w 45824"/>
                  <a:gd name="connsiteY6" fmla="*/ 60404 h 266613"/>
                  <a:gd name="connsiteX7" fmla="*/ 33326 w 45824"/>
                  <a:gd name="connsiteY7" fmla="*/ 64570 h 266613"/>
                  <a:gd name="connsiteX8" fmla="*/ 41658 w 45824"/>
                  <a:gd name="connsiteY8" fmla="*/ 77067 h 266613"/>
                  <a:gd name="connsiteX9" fmla="*/ 45824 w 45824"/>
                  <a:gd name="connsiteY9" fmla="*/ 83316 h 266613"/>
                  <a:gd name="connsiteX10" fmla="*/ 43741 w 45824"/>
                  <a:gd name="connsiteY10" fmla="*/ 145804 h 266613"/>
                  <a:gd name="connsiteX11" fmla="*/ 41658 w 45824"/>
                  <a:gd name="connsiteY11" fmla="*/ 152052 h 266613"/>
                  <a:gd name="connsiteX12" fmla="*/ 37492 w 45824"/>
                  <a:gd name="connsiteY12" fmla="*/ 168716 h 266613"/>
                  <a:gd name="connsiteX13" fmla="*/ 31243 w 45824"/>
                  <a:gd name="connsiteY13" fmla="*/ 174964 h 266613"/>
                  <a:gd name="connsiteX14" fmla="*/ 20829 w 45824"/>
                  <a:gd name="connsiteY14" fmla="*/ 193711 h 266613"/>
                  <a:gd name="connsiteX15" fmla="*/ 16663 w 45824"/>
                  <a:gd name="connsiteY15" fmla="*/ 199959 h 266613"/>
                  <a:gd name="connsiteX16" fmla="*/ 12497 w 45824"/>
                  <a:gd name="connsiteY16" fmla="*/ 214540 h 266613"/>
                  <a:gd name="connsiteX17" fmla="*/ 10414 w 45824"/>
                  <a:gd name="connsiteY17" fmla="*/ 222872 h 266613"/>
                  <a:gd name="connsiteX18" fmla="*/ 10414 w 45824"/>
                  <a:gd name="connsiteY18" fmla="*/ 266613 h 266613"/>
                  <a:gd name="connsiteX19" fmla="*/ 12497 w 45824"/>
                  <a:gd name="connsiteY19" fmla="*/ 266613 h 266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45824" h="266613">
                    <a:moveTo>
                      <a:pt x="0" y="0"/>
                    </a:moveTo>
                    <a:lnTo>
                      <a:pt x="0" y="0"/>
                    </a:lnTo>
                    <a:cubicBezTo>
                      <a:pt x="1388" y="6249"/>
                      <a:pt x="3053" y="12442"/>
                      <a:pt x="4165" y="18746"/>
                    </a:cubicBezTo>
                    <a:cubicBezTo>
                      <a:pt x="4487" y="20573"/>
                      <a:pt x="6286" y="45156"/>
                      <a:pt x="10414" y="47907"/>
                    </a:cubicBezTo>
                    <a:lnTo>
                      <a:pt x="16663" y="52072"/>
                    </a:lnTo>
                    <a:cubicBezTo>
                      <a:pt x="18052" y="54155"/>
                      <a:pt x="18874" y="56757"/>
                      <a:pt x="20829" y="58321"/>
                    </a:cubicBezTo>
                    <a:cubicBezTo>
                      <a:pt x="22544" y="59693"/>
                      <a:pt x="25114" y="59422"/>
                      <a:pt x="27078" y="60404"/>
                    </a:cubicBezTo>
                    <a:cubicBezTo>
                      <a:pt x="29317" y="61524"/>
                      <a:pt x="31243" y="63181"/>
                      <a:pt x="33326" y="64570"/>
                    </a:cubicBezTo>
                    <a:lnTo>
                      <a:pt x="41658" y="77067"/>
                    </a:lnTo>
                    <a:lnTo>
                      <a:pt x="45824" y="83316"/>
                    </a:lnTo>
                    <a:cubicBezTo>
                      <a:pt x="45130" y="104145"/>
                      <a:pt x="45002" y="125001"/>
                      <a:pt x="43741" y="145804"/>
                    </a:cubicBezTo>
                    <a:cubicBezTo>
                      <a:pt x="43608" y="147995"/>
                      <a:pt x="42190" y="149922"/>
                      <a:pt x="41658" y="152052"/>
                    </a:cubicBezTo>
                    <a:cubicBezTo>
                      <a:pt x="41237" y="153734"/>
                      <a:pt x="39397" y="165859"/>
                      <a:pt x="37492" y="168716"/>
                    </a:cubicBezTo>
                    <a:cubicBezTo>
                      <a:pt x="35858" y="171167"/>
                      <a:pt x="33326" y="172881"/>
                      <a:pt x="31243" y="174964"/>
                    </a:cubicBezTo>
                    <a:cubicBezTo>
                      <a:pt x="27577" y="185962"/>
                      <a:pt x="30377" y="179389"/>
                      <a:pt x="20829" y="193711"/>
                    </a:cubicBezTo>
                    <a:lnTo>
                      <a:pt x="16663" y="199959"/>
                    </a:lnTo>
                    <a:cubicBezTo>
                      <a:pt x="10151" y="226006"/>
                      <a:pt x="18474" y="193622"/>
                      <a:pt x="12497" y="214540"/>
                    </a:cubicBezTo>
                    <a:cubicBezTo>
                      <a:pt x="11711" y="217293"/>
                      <a:pt x="10528" y="220011"/>
                      <a:pt x="10414" y="222872"/>
                    </a:cubicBezTo>
                    <a:cubicBezTo>
                      <a:pt x="9831" y="237441"/>
                      <a:pt x="10414" y="252033"/>
                      <a:pt x="10414" y="266613"/>
                    </a:cubicBezTo>
                    <a:lnTo>
                      <a:pt x="12497" y="266613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176" name="Freeform: Shape 4644">
                <a:extLst>
                  <a:ext uri="{FF2B5EF4-FFF2-40B4-BE49-F238E27FC236}">
                    <a16:creationId xmlns:a16="http://schemas.microsoft.com/office/drawing/2014/main" id="{DEC58BCD-1B80-68E5-3D45-45E476271679}"/>
                  </a:ext>
                </a:extLst>
              </p:cNvPr>
              <p:cNvSpPr/>
              <p:nvPr/>
            </p:nvSpPr>
            <p:spPr>
              <a:xfrm>
                <a:off x="5713557" y="2615673"/>
                <a:ext cx="24900" cy="134674"/>
              </a:xfrm>
              <a:custGeom>
                <a:avLst/>
                <a:gdLst>
                  <a:gd name="connsiteX0" fmla="*/ 0 w 45825"/>
                  <a:gd name="connsiteY0" fmla="*/ 0 h 245784"/>
                  <a:gd name="connsiteX1" fmla="*/ 0 w 45825"/>
                  <a:gd name="connsiteY1" fmla="*/ 0 h 245784"/>
                  <a:gd name="connsiteX2" fmla="*/ 2083 w 45825"/>
                  <a:gd name="connsiteY2" fmla="*/ 41659 h 245784"/>
                  <a:gd name="connsiteX3" fmla="*/ 4166 w 45825"/>
                  <a:gd name="connsiteY3" fmla="*/ 47907 h 245784"/>
                  <a:gd name="connsiteX4" fmla="*/ 8332 w 45825"/>
                  <a:gd name="connsiteY4" fmla="*/ 54156 h 245784"/>
                  <a:gd name="connsiteX5" fmla="*/ 14581 w 45825"/>
                  <a:gd name="connsiteY5" fmla="*/ 58322 h 245784"/>
                  <a:gd name="connsiteX6" fmla="*/ 24995 w 45825"/>
                  <a:gd name="connsiteY6" fmla="*/ 68736 h 245784"/>
                  <a:gd name="connsiteX7" fmla="*/ 31244 w 45825"/>
                  <a:gd name="connsiteY7" fmla="*/ 81234 h 245784"/>
                  <a:gd name="connsiteX8" fmla="*/ 39576 w 45825"/>
                  <a:gd name="connsiteY8" fmla="*/ 93731 h 245784"/>
                  <a:gd name="connsiteX9" fmla="*/ 43742 w 45825"/>
                  <a:gd name="connsiteY9" fmla="*/ 99980 h 245784"/>
                  <a:gd name="connsiteX10" fmla="*/ 45825 w 45825"/>
                  <a:gd name="connsiteY10" fmla="*/ 106229 h 245784"/>
                  <a:gd name="connsiteX11" fmla="*/ 43742 w 45825"/>
                  <a:gd name="connsiteY11" fmla="*/ 139556 h 245784"/>
                  <a:gd name="connsiteX12" fmla="*/ 41659 w 45825"/>
                  <a:gd name="connsiteY12" fmla="*/ 145804 h 245784"/>
                  <a:gd name="connsiteX13" fmla="*/ 39576 w 45825"/>
                  <a:gd name="connsiteY13" fmla="*/ 156219 h 245784"/>
                  <a:gd name="connsiteX14" fmla="*/ 35410 w 45825"/>
                  <a:gd name="connsiteY14" fmla="*/ 162468 h 245784"/>
                  <a:gd name="connsiteX15" fmla="*/ 29161 w 45825"/>
                  <a:gd name="connsiteY15" fmla="*/ 183297 h 245784"/>
                  <a:gd name="connsiteX16" fmla="*/ 24995 w 45825"/>
                  <a:gd name="connsiteY16" fmla="*/ 189546 h 245784"/>
                  <a:gd name="connsiteX17" fmla="*/ 16664 w 45825"/>
                  <a:gd name="connsiteY17" fmla="*/ 208292 h 245784"/>
                  <a:gd name="connsiteX18" fmla="*/ 14581 w 45825"/>
                  <a:gd name="connsiteY18" fmla="*/ 220789 h 245784"/>
                  <a:gd name="connsiteX19" fmla="*/ 10415 w 45825"/>
                  <a:gd name="connsiteY19" fmla="*/ 227038 h 245784"/>
                  <a:gd name="connsiteX20" fmla="*/ 12498 w 45825"/>
                  <a:gd name="connsiteY20" fmla="*/ 245784 h 245784"/>
                  <a:gd name="connsiteX21" fmla="*/ 12498 w 45825"/>
                  <a:gd name="connsiteY21" fmla="*/ 245784 h 245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45825" h="245784">
                    <a:moveTo>
                      <a:pt x="0" y="0"/>
                    </a:moveTo>
                    <a:lnTo>
                      <a:pt x="0" y="0"/>
                    </a:lnTo>
                    <a:cubicBezTo>
                      <a:pt x="694" y="13886"/>
                      <a:pt x="878" y="27808"/>
                      <a:pt x="2083" y="41659"/>
                    </a:cubicBezTo>
                    <a:cubicBezTo>
                      <a:pt x="2273" y="43846"/>
                      <a:pt x="3184" y="45943"/>
                      <a:pt x="4166" y="47907"/>
                    </a:cubicBezTo>
                    <a:cubicBezTo>
                      <a:pt x="5286" y="50146"/>
                      <a:pt x="6562" y="52386"/>
                      <a:pt x="8332" y="54156"/>
                    </a:cubicBezTo>
                    <a:cubicBezTo>
                      <a:pt x="10102" y="55926"/>
                      <a:pt x="12498" y="56933"/>
                      <a:pt x="14581" y="58322"/>
                    </a:cubicBezTo>
                    <a:cubicBezTo>
                      <a:pt x="25691" y="74988"/>
                      <a:pt x="11109" y="54850"/>
                      <a:pt x="24995" y="68736"/>
                    </a:cubicBezTo>
                    <a:cubicBezTo>
                      <a:pt x="31931" y="75672"/>
                      <a:pt x="27008" y="73610"/>
                      <a:pt x="31244" y="81234"/>
                    </a:cubicBezTo>
                    <a:cubicBezTo>
                      <a:pt x="33676" y="85611"/>
                      <a:pt x="36799" y="89565"/>
                      <a:pt x="39576" y="93731"/>
                    </a:cubicBezTo>
                    <a:cubicBezTo>
                      <a:pt x="40965" y="95814"/>
                      <a:pt x="42950" y="97605"/>
                      <a:pt x="43742" y="99980"/>
                    </a:cubicBezTo>
                    <a:lnTo>
                      <a:pt x="45825" y="106229"/>
                    </a:lnTo>
                    <a:cubicBezTo>
                      <a:pt x="45131" y="117338"/>
                      <a:pt x="44907" y="128486"/>
                      <a:pt x="43742" y="139556"/>
                    </a:cubicBezTo>
                    <a:cubicBezTo>
                      <a:pt x="43512" y="141739"/>
                      <a:pt x="42191" y="143674"/>
                      <a:pt x="41659" y="145804"/>
                    </a:cubicBezTo>
                    <a:cubicBezTo>
                      <a:pt x="40800" y="149239"/>
                      <a:pt x="40819" y="152904"/>
                      <a:pt x="39576" y="156219"/>
                    </a:cubicBezTo>
                    <a:cubicBezTo>
                      <a:pt x="38697" y="158563"/>
                      <a:pt x="36799" y="160385"/>
                      <a:pt x="35410" y="162468"/>
                    </a:cubicBezTo>
                    <a:cubicBezTo>
                      <a:pt x="34246" y="167125"/>
                      <a:pt x="31189" y="180255"/>
                      <a:pt x="29161" y="183297"/>
                    </a:cubicBezTo>
                    <a:cubicBezTo>
                      <a:pt x="27772" y="185380"/>
                      <a:pt x="26012" y="187258"/>
                      <a:pt x="24995" y="189546"/>
                    </a:cubicBezTo>
                    <a:cubicBezTo>
                      <a:pt x="15081" y="211855"/>
                      <a:pt x="26092" y="194150"/>
                      <a:pt x="16664" y="208292"/>
                    </a:cubicBezTo>
                    <a:cubicBezTo>
                      <a:pt x="15970" y="212458"/>
                      <a:pt x="15917" y="216783"/>
                      <a:pt x="14581" y="220789"/>
                    </a:cubicBezTo>
                    <a:cubicBezTo>
                      <a:pt x="13789" y="223164"/>
                      <a:pt x="10623" y="224543"/>
                      <a:pt x="10415" y="227038"/>
                    </a:cubicBezTo>
                    <a:cubicBezTo>
                      <a:pt x="9893" y="233303"/>
                      <a:pt x="12498" y="245784"/>
                      <a:pt x="12498" y="245784"/>
                    </a:cubicBezTo>
                    <a:lnTo>
                      <a:pt x="12498" y="245784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177" name="Freeform: Shape 4645">
                <a:extLst>
                  <a:ext uri="{FF2B5EF4-FFF2-40B4-BE49-F238E27FC236}">
                    <a16:creationId xmlns:a16="http://schemas.microsoft.com/office/drawing/2014/main" id="{62A07CB8-9398-AB13-ED8F-1F1EA914A1D3}"/>
                  </a:ext>
                </a:extLst>
              </p:cNvPr>
              <p:cNvSpPr/>
              <p:nvPr/>
            </p:nvSpPr>
            <p:spPr>
              <a:xfrm>
                <a:off x="5739513" y="2612250"/>
                <a:ext cx="21579" cy="131250"/>
              </a:xfrm>
              <a:custGeom>
                <a:avLst/>
                <a:gdLst>
                  <a:gd name="connsiteX0" fmla="*/ 4304 w 39714"/>
                  <a:gd name="connsiteY0" fmla="*/ 0 h 239535"/>
                  <a:gd name="connsiteX1" fmla="*/ 4304 w 39714"/>
                  <a:gd name="connsiteY1" fmla="*/ 0 h 239535"/>
                  <a:gd name="connsiteX2" fmla="*/ 138 w 39714"/>
                  <a:gd name="connsiteY2" fmla="*/ 18746 h 239535"/>
                  <a:gd name="connsiteX3" fmla="*/ 6387 w 39714"/>
                  <a:gd name="connsiteY3" fmla="*/ 52072 h 239535"/>
                  <a:gd name="connsiteX4" fmla="*/ 8470 w 39714"/>
                  <a:gd name="connsiteY4" fmla="*/ 58321 h 239535"/>
                  <a:gd name="connsiteX5" fmla="*/ 14719 w 39714"/>
                  <a:gd name="connsiteY5" fmla="*/ 62487 h 239535"/>
                  <a:gd name="connsiteX6" fmla="*/ 18885 w 39714"/>
                  <a:gd name="connsiteY6" fmla="*/ 68736 h 239535"/>
                  <a:gd name="connsiteX7" fmla="*/ 35548 w 39714"/>
                  <a:gd name="connsiteY7" fmla="*/ 87482 h 239535"/>
                  <a:gd name="connsiteX8" fmla="*/ 39714 w 39714"/>
                  <a:gd name="connsiteY8" fmla="*/ 99979 h 239535"/>
                  <a:gd name="connsiteX9" fmla="*/ 37631 w 39714"/>
                  <a:gd name="connsiteY9" fmla="*/ 147887 h 239535"/>
                  <a:gd name="connsiteX10" fmla="*/ 31382 w 39714"/>
                  <a:gd name="connsiteY10" fmla="*/ 179130 h 239535"/>
                  <a:gd name="connsiteX11" fmla="*/ 27216 w 39714"/>
                  <a:gd name="connsiteY11" fmla="*/ 185379 h 239535"/>
                  <a:gd name="connsiteX12" fmla="*/ 25133 w 39714"/>
                  <a:gd name="connsiteY12" fmla="*/ 193711 h 239535"/>
                  <a:gd name="connsiteX13" fmla="*/ 23051 w 39714"/>
                  <a:gd name="connsiteY13" fmla="*/ 199959 h 239535"/>
                  <a:gd name="connsiteX14" fmla="*/ 23051 w 39714"/>
                  <a:gd name="connsiteY14" fmla="*/ 239535 h 239535"/>
                  <a:gd name="connsiteX15" fmla="*/ 23051 w 39714"/>
                  <a:gd name="connsiteY15" fmla="*/ 239535 h 239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9714" h="239535">
                    <a:moveTo>
                      <a:pt x="4304" y="0"/>
                    </a:moveTo>
                    <a:lnTo>
                      <a:pt x="4304" y="0"/>
                    </a:lnTo>
                    <a:cubicBezTo>
                      <a:pt x="2915" y="6249"/>
                      <a:pt x="474" y="12354"/>
                      <a:pt x="138" y="18746"/>
                    </a:cubicBezTo>
                    <a:cubicBezTo>
                      <a:pt x="-664" y="33980"/>
                      <a:pt x="2105" y="39226"/>
                      <a:pt x="6387" y="52072"/>
                    </a:cubicBezTo>
                    <a:cubicBezTo>
                      <a:pt x="7081" y="54155"/>
                      <a:pt x="6643" y="57103"/>
                      <a:pt x="8470" y="58321"/>
                    </a:cubicBezTo>
                    <a:lnTo>
                      <a:pt x="14719" y="62487"/>
                    </a:lnTo>
                    <a:cubicBezTo>
                      <a:pt x="16108" y="64570"/>
                      <a:pt x="17222" y="66865"/>
                      <a:pt x="18885" y="68736"/>
                    </a:cubicBezTo>
                    <a:cubicBezTo>
                      <a:pt x="23076" y="73451"/>
                      <a:pt x="32396" y="80391"/>
                      <a:pt x="35548" y="87482"/>
                    </a:cubicBezTo>
                    <a:cubicBezTo>
                      <a:pt x="37331" y="91495"/>
                      <a:pt x="39714" y="99979"/>
                      <a:pt x="39714" y="99979"/>
                    </a:cubicBezTo>
                    <a:cubicBezTo>
                      <a:pt x="39020" y="115948"/>
                      <a:pt x="38628" y="131934"/>
                      <a:pt x="37631" y="147887"/>
                    </a:cubicBezTo>
                    <a:cubicBezTo>
                      <a:pt x="37214" y="154555"/>
                      <a:pt x="36034" y="172152"/>
                      <a:pt x="31382" y="179130"/>
                    </a:cubicBezTo>
                    <a:lnTo>
                      <a:pt x="27216" y="185379"/>
                    </a:lnTo>
                    <a:cubicBezTo>
                      <a:pt x="26522" y="188156"/>
                      <a:pt x="25919" y="190958"/>
                      <a:pt x="25133" y="193711"/>
                    </a:cubicBezTo>
                    <a:cubicBezTo>
                      <a:pt x="24530" y="195822"/>
                      <a:pt x="23151" y="197766"/>
                      <a:pt x="23051" y="199959"/>
                    </a:cubicBezTo>
                    <a:cubicBezTo>
                      <a:pt x="22452" y="213137"/>
                      <a:pt x="23051" y="226343"/>
                      <a:pt x="23051" y="239535"/>
                    </a:cubicBezTo>
                    <a:lnTo>
                      <a:pt x="23051" y="239535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178" name="Freeform: Shape 4646">
                <a:extLst>
                  <a:ext uri="{FF2B5EF4-FFF2-40B4-BE49-F238E27FC236}">
                    <a16:creationId xmlns:a16="http://schemas.microsoft.com/office/drawing/2014/main" id="{926C6DF5-8D89-57ED-42F9-65A7A0171955}"/>
                  </a:ext>
                </a:extLst>
              </p:cNvPr>
              <p:cNvSpPr/>
              <p:nvPr/>
            </p:nvSpPr>
            <p:spPr>
              <a:xfrm>
                <a:off x="5766751" y="2607684"/>
                <a:ext cx="21537" cy="140380"/>
              </a:xfrm>
              <a:custGeom>
                <a:avLst/>
                <a:gdLst>
                  <a:gd name="connsiteX0" fmla="*/ 0 w 39637"/>
                  <a:gd name="connsiteY0" fmla="*/ 0 h 256198"/>
                  <a:gd name="connsiteX1" fmla="*/ 0 w 39637"/>
                  <a:gd name="connsiteY1" fmla="*/ 0 h 256198"/>
                  <a:gd name="connsiteX2" fmla="*/ 4166 w 39637"/>
                  <a:gd name="connsiteY2" fmla="*/ 18746 h 256198"/>
                  <a:gd name="connsiteX3" fmla="*/ 10415 w 39637"/>
                  <a:gd name="connsiteY3" fmla="*/ 31244 h 256198"/>
                  <a:gd name="connsiteX4" fmla="*/ 16664 w 39637"/>
                  <a:gd name="connsiteY4" fmla="*/ 35409 h 256198"/>
                  <a:gd name="connsiteX5" fmla="*/ 18747 w 39637"/>
                  <a:gd name="connsiteY5" fmla="*/ 41658 h 256198"/>
                  <a:gd name="connsiteX6" fmla="*/ 27078 w 39637"/>
                  <a:gd name="connsiteY6" fmla="*/ 54156 h 256198"/>
                  <a:gd name="connsiteX7" fmla="*/ 31244 w 39637"/>
                  <a:gd name="connsiteY7" fmla="*/ 66653 h 256198"/>
                  <a:gd name="connsiteX8" fmla="*/ 35410 w 39637"/>
                  <a:gd name="connsiteY8" fmla="*/ 79151 h 256198"/>
                  <a:gd name="connsiteX9" fmla="*/ 37493 w 39637"/>
                  <a:gd name="connsiteY9" fmla="*/ 85399 h 256198"/>
                  <a:gd name="connsiteX10" fmla="*/ 37493 w 39637"/>
                  <a:gd name="connsiteY10" fmla="*/ 141638 h 256198"/>
                  <a:gd name="connsiteX11" fmla="*/ 33327 w 39637"/>
                  <a:gd name="connsiteY11" fmla="*/ 172882 h 256198"/>
                  <a:gd name="connsiteX12" fmla="*/ 29161 w 39637"/>
                  <a:gd name="connsiteY12" fmla="*/ 179131 h 256198"/>
                  <a:gd name="connsiteX13" fmla="*/ 27078 w 39637"/>
                  <a:gd name="connsiteY13" fmla="*/ 185379 h 256198"/>
                  <a:gd name="connsiteX14" fmla="*/ 18747 w 39637"/>
                  <a:gd name="connsiteY14" fmla="*/ 197877 h 256198"/>
                  <a:gd name="connsiteX15" fmla="*/ 14581 w 39637"/>
                  <a:gd name="connsiteY15" fmla="*/ 210374 h 256198"/>
                  <a:gd name="connsiteX16" fmla="*/ 12498 w 39637"/>
                  <a:gd name="connsiteY16" fmla="*/ 216623 h 256198"/>
                  <a:gd name="connsiteX17" fmla="*/ 14581 w 39637"/>
                  <a:gd name="connsiteY17" fmla="*/ 245784 h 256198"/>
                  <a:gd name="connsiteX18" fmla="*/ 16664 w 39637"/>
                  <a:gd name="connsiteY18" fmla="*/ 254116 h 256198"/>
                  <a:gd name="connsiteX19" fmla="*/ 12498 w 39637"/>
                  <a:gd name="connsiteY19" fmla="*/ 256198 h 256198"/>
                  <a:gd name="connsiteX20" fmla="*/ 12498 w 39637"/>
                  <a:gd name="connsiteY20" fmla="*/ 256198 h 256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39637" h="256198">
                    <a:moveTo>
                      <a:pt x="0" y="0"/>
                    </a:moveTo>
                    <a:lnTo>
                      <a:pt x="0" y="0"/>
                    </a:lnTo>
                    <a:cubicBezTo>
                      <a:pt x="1389" y="6249"/>
                      <a:pt x="2613" y="12536"/>
                      <a:pt x="4166" y="18746"/>
                    </a:cubicBezTo>
                    <a:cubicBezTo>
                      <a:pt x="5295" y="23263"/>
                      <a:pt x="7021" y="27850"/>
                      <a:pt x="10415" y="31244"/>
                    </a:cubicBezTo>
                    <a:cubicBezTo>
                      <a:pt x="12185" y="33014"/>
                      <a:pt x="14581" y="34021"/>
                      <a:pt x="16664" y="35409"/>
                    </a:cubicBezTo>
                    <a:cubicBezTo>
                      <a:pt x="17358" y="37492"/>
                      <a:pt x="17681" y="39739"/>
                      <a:pt x="18747" y="41658"/>
                    </a:cubicBezTo>
                    <a:cubicBezTo>
                      <a:pt x="21178" y="46035"/>
                      <a:pt x="25495" y="49406"/>
                      <a:pt x="27078" y="54156"/>
                    </a:cubicBezTo>
                    <a:lnTo>
                      <a:pt x="31244" y="66653"/>
                    </a:lnTo>
                    <a:lnTo>
                      <a:pt x="35410" y="79151"/>
                    </a:lnTo>
                    <a:lnTo>
                      <a:pt x="37493" y="85399"/>
                    </a:lnTo>
                    <a:cubicBezTo>
                      <a:pt x="40443" y="117843"/>
                      <a:pt x="40259" y="102911"/>
                      <a:pt x="37493" y="141638"/>
                    </a:cubicBezTo>
                    <a:cubicBezTo>
                      <a:pt x="37105" y="147068"/>
                      <a:pt x="37561" y="164414"/>
                      <a:pt x="33327" y="172882"/>
                    </a:cubicBezTo>
                    <a:cubicBezTo>
                      <a:pt x="32207" y="175121"/>
                      <a:pt x="30281" y="176892"/>
                      <a:pt x="29161" y="179131"/>
                    </a:cubicBezTo>
                    <a:cubicBezTo>
                      <a:pt x="28179" y="181095"/>
                      <a:pt x="28144" y="183460"/>
                      <a:pt x="27078" y="185379"/>
                    </a:cubicBezTo>
                    <a:cubicBezTo>
                      <a:pt x="24647" y="189756"/>
                      <a:pt x="20330" y="193127"/>
                      <a:pt x="18747" y="197877"/>
                    </a:cubicBezTo>
                    <a:lnTo>
                      <a:pt x="14581" y="210374"/>
                    </a:lnTo>
                    <a:lnTo>
                      <a:pt x="12498" y="216623"/>
                    </a:lnTo>
                    <a:cubicBezTo>
                      <a:pt x="13192" y="226343"/>
                      <a:pt x="13505" y="236099"/>
                      <a:pt x="14581" y="245784"/>
                    </a:cubicBezTo>
                    <a:cubicBezTo>
                      <a:pt x="14897" y="248629"/>
                      <a:pt x="17225" y="251309"/>
                      <a:pt x="16664" y="254116"/>
                    </a:cubicBezTo>
                    <a:cubicBezTo>
                      <a:pt x="16360" y="255638"/>
                      <a:pt x="13887" y="255504"/>
                      <a:pt x="12498" y="256198"/>
                    </a:cubicBezTo>
                    <a:lnTo>
                      <a:pt x="12498" y="256198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179" name="Freeform: Shape 4647">
                <a:extLst>
                  <a:ext uri="{FF2B5EF4-FFF2-40B4-BE49-F238E27FC236}">
                    <a16:creationId xmlns:a16="http://schemas.microsoft.com/office/drawing/2014/main" id="{00F0C258-605F-5A61-5BCD-22C20DD6AEB5}"/>
                  </a:ext>
                </a:extLst>
              </p:cNvPr>
              <p:cNvSpPr/>
              <p:nvPr/>
            </p:nvSpPr>
            <p:spPr>
              <a:xfrm>
                <a:off x="5792783" y="2606543"/>
                <a:ext cx="26602" cy="135815"/>
              </a:xfrm>
              <a:custGeom>
                <a:avLst/>
                <a:gdLst>
                  <a:gd name="connsiteX0" fmla="*/ 0 w 48958"/>
                  <a:gd name="connsiteY0" fmla="*/ 0 h 247867"/>
                  <a:gd name="connsiteX1" fmla="*/ 0 w 48958"/>
                  <a:gd name="connsiteY1" fmla="*/ 0 h 247867"/>
                  <a:gd name="connsiteX2" fmla="*/ 4165 w 48958"/>
                  <a:gd name="connsiteY2" fmla="*/ 35409 h 247867"/>
                  <a:gd name="connsiteX3" fmla="*/ 8331 w 48958"/>
                  <a:gd name="connsiteY3" fmla="*/ 41658 h 247867"/>
                  <a:gd name="connsiteX4" fmla="*/ 20829 w 48958"/>
                  <a:gd name="connsiteY4" fmla="*/ 52073 h 247867"/>
                  <a:gd name="connsiteX5" fmla="*/ 33326 w 48958"/>
                  <a:gd name="connsiteY5" fmla="*/ 62487 h 247867"/>
                  <a:gd name="connsiteX6" fmla="*/ 41658 w 48958"/>
                  <a:gd name="connsiteY6" fmla="*/ 74985 h 247867"/>
                  <a:gd name="connsiteX7" fmla="*/ 45824 w 48958"/>
                  <a:gd name="connsiteY7" fmla="*/ 91648 h 247867"/>
                  <a:gd name="connsiteX8" fmla="*/ 47907 w 48958"/>
                  <a:gd name="connsiteY8" fmla="*/ 97897 h 247867"/>
                  <a:gd name="connsiteX9" fmla="*/ 37492 w 48958"/>
                  <a:gd name="connsiteY9" fmla="*/ 162467 h 247867"/>
                  <a:gd name="connsiteX10" fmla="*/ 16663 w 48958"/>
                  <a:gd name="connsiteY10" fmla="*/ 187462 h 247867"/>
                  <a:gd name="connsiteX11" fmla="*/ 12497 w 48958"/>
                  <a:gd name="connsiteY11" fmla="*/ 193711 h 247867"/>
                  <a:gd name="connsiteX12" fmla="*/ 8331 w 48958"/>
                  <a:gd name="connsiteY12" fmla="*/ 199960 h 247867"/>
                  <a:gd name="connsiteX13" fmla="*/ 6248 w 48958"/>
                  <a:gd name="connsiteY13" fmla="*/ 212457 h 247867"/>
                  <a:gd name="connsiteX14" fmla="*/ 4165 w 48958"/>
                  <a:gd name="connsiteY14" fmla="*/ 218706 h 247867"/>
                  <a:gd name="connsiteX15" fmla="*/ 2082 w 48958"/>
                  <a:gd name="connsiteY15" fmla="*/ 247867 h 247867"/>
                  <a:gd name="connsiteX16" fmla="*/ 2082 w 48958"/>
                  <a:gd name="connsiteY16" fmla="*/ 245784 h 247867"/>
                  <a:gd name="connsiteX0" fmla="*/ 0 w 48958"/>
                  <a:gd name="connsiteY0" fmla="*/ 0 h 247867"/>
                  <a:gd name="connsiteX1" fmla="*/ 0 w 48958"/>
                  <a:gd name="connsiteY1" fmla="*/ 0 h 247867"/>
                  <a:gd name="connsiteX2" fmla="*/ 4165 w 48958"/>
                  <a:gd name="connsiteY2" fmla="*/ 35409 h 247867"/>
                  <a:gd name="connsiteX3" fmla="*/ 8331 w 48958"/>
                  <a:gd name="connsiteY3" fmla="*/ 41658 h 247867"/>
                  <a:gd name="connsiteX4" fmla="*/ 20829 w 48958"/>
                  <a:gd name="connsiteY4" fmla="*/ 52073 h 247867"/>
                  <a:gd name="connsiteX5" fmla="*/ 33326 w 48958"/>
                  <a:gd name="connsiteY5" fmla="*/ 62487 h 247867"/>
                  <a:gd name="connsiteX6" fmla="*/ 41658 w 48958"/>
                  <a:gd name="connsiteY6" fmla="*/ 74985 h 247867"/>
                  <a:gd name="connsiteX7" fmla="*/ 45824 w 48958"/>
                  <a:gd name="connsiteY7" fmla="*/ 91648 h 247867"/>
                  <a:gd name="connsiteX8" fmla="*/ 47907 w 48958"/>
                  <a:gd name="connsiteY8" fmla="*/ 97897 h 247867"/>
                  <a:gd name="connsiteX9" fmla="*/ 37492 w 48958"/>
                  <a:gd name="connsiteY9" fmla="*/ 162467 h 247867"/>
                  <a:gd name="connsiteX10" fmla="*/ 16663 w 48958"/>
                  <a:gd name="connsiteY10" fmla="*/ 187462 h 247867"/>
                  <a:gd name="connsiteX11" fmla="*/ 12497 w 48958"/>
                  <a:gd name="connsiteY11" fmla="*/ 193711 h 247867"/>
                  <a:gd name="connsiteX12" fmla="*/ 8331 w 48958"/>
                  <a:gd name="connsiteY12" fmla="*/ 199960 h 247867"/>
                  <a:gd name="connsiteX13" fmla="*/ 6248 w 48958"/>
                  <a:gd name="connsiteY13" fmla="*/ 212457 h 247867"/>
                  <a:gd name="connsiteX14" fmla="*/ 4165 w 48958"/>
                  <a:gd name="connsiteY14" fmla="*/ 218706 h 247867"/>
                  <a:gd name="connsiteX15" fmla="*/ 2082 w 48958"/>
                  <a:gd name="connsiteY15" fmla="*/ 247867 h 247867"/>
                  <a:gd name="connsiteX16" fmla="*/ 4165 w 48958"/>
                  <a:gd name="connsiteY16" fmla="*/ 245784 h 247867"/>
                  <a:gd name="connsiteX0" fmla="*/ 0 w 48958"/>
                  <a:gd name="connsiteY0" fmla="*/ 0 h 247867"/>
                  <a:gd name="connsiteX1" fmla="*/ 0 w 48958"/>
                  <a:gd name="connsiteY1" fmla="*/ 0 h 247867"/>
                  <a:gd name="connsiteX2" fmla="*/ 4165 w 48958"/>
                  <a:gd name="connsiteY2" fmla="*/ 35409 h 247867"/>
                  <a:gd name="connsiteX3" fmla="*/ 8331 w 48958"/>
                  <a:gd name="connsiteY3" fmla="*/ 41658 h 247867"/>
                  <a:gd name="connsiteX4" fmla="*/ 20829 w 48958"/>
                  <a:gd name="connsiteY4" fmla="*/ 52073 h 247867"/>
                  <a:gd name="connsiteX5" fmla="*/ 33326 w 48958"/>
                  <a:gd name="connsiteY5" fmla="*/ 62487 h 247867"/>
                  <a:gd name="connsiteX6" fmla="*/ 41658 w 48958"/>
                  <a:gd name="connsiteY6" fmla="*/ 74985 h 247867"/>
                  <a:gd name="connsiteX7" fmla="*/ 45824 w 48958"/>
                  <a:gd name="connsiteY7" fmla="*/ 91648 h 247867"/>
                  <a:gd name="connsiteX8" fmla="*/ 47907 w 48958"/>
                  <a:gd name="connsiteY8" fmla="*/ 97897 h 247867"/>
                  <a:gd name="connsiteX9" fmla="*/ 37492 w 48958"/>
                  <a:gd name="connsiteY9" fmla="*/ 162467 h 247867"/>
                  <a:gd name="connsiteX10" fmla="*/ 16663 w 48958"/>
                  <a:gd name="connsiteY10" fmla="*/ 187462 h 247867"/>
                  <a:gd name="connsiteX11" fmla="*/ 12497 w 48958"/>
                  <a:gd name="connsiteY11" fmla="*/ 193711 h 247867"/>
                  <a:gd name="connsiteX12" fmla="*/ 8331 w 48958"/>
                  <a:gd name="connsiteY12" fmla="*/ 199960 h 247867"/>
                  <a:gd name="connsiteX13" fmla="*/ 6248 w 48958"/>
                  <a:gd name="connsiteY13" fmla="*/ 212457 h 247867"/>
                  <a:gd name="connsiteX14" fmla="*/ 4165 w 48958"/>
                  <a:gd name="connsiteY14" fmla="*/ 218706 h 247867"/>
                  <a:gd name="connsiteX15" fmla="*/ 2082 w 48958"/>
                  <a:gd name="connsiteY15" fmla="*/ 247867 h 247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8958" h="247867">
                    <a:moveTo>
                      <a:pt x="0" y="0"/>
                    </a:moveTo>
                    <a:lnTo>
                      <a:pt x="0" y="0"/>
                    </a:lnTo>
                    <a:cubicBezTo>
                      <a:pt x="89" y="805"/>
                      <a:pt x="3626" y="33434"/>
                      <a:pt x="4165" y="35409"/>
                    </a:cubicBezTo>
                    <a:cubicBezTo>
                      <a:pt x="4824" y="37824"/>
                      <a:pt x="6728" y="39735"/>
                      <a:pt x="8331" y="41658"/>
                    </a:cubicBezTo>
                    <a:cubicBezTo>
                      <a:pt x="16631" y="51618"/>
                      <a:pt x="11890" y="44623"/>
                      <a:pt x="20829" y="52073"/>
                    </a:cubicBezTo>
                    <a:cubicBezTo>
                      <a:pt x="36858" y="65432"/>
                      <a:pt x="17817" y="52150"/>
                      <a:pt x="33326" y="62487"/>
                    </a:cubicBezTo>
                    <a:cubicBezTo>
                      <a:pt x="36103" y="66653"/>
                      <a:pt x="40075" y="70235"/>
                      <a:pt x="41658" y="74985"/>
                    </a:cubicBezTo>
                    <a:cubicBezTo>
                      <a:pt x="46420" y="89270"/>
                      <a:pt x="40797" y="71540"/>
                      <a:pt x="45824" y="91648"/>
                    </a:cubicBezTo>
                    <a:cubicBezTo>
                      <a:pt x="46357" y="93778"/>
                      <a:pt x="47213" y="95814"/>
                      <a:pt x="47907" y="97897"/>
                    </a:cubicBezTo>
                    <a:cubicBezTo>
                      <a:pt x="46922" y="122514"/>
                      <a:pt x="55086" y="144871"/>
                      <a:pt x="37492" y="162467"/>
                    </a:cubicBezTo>
                    <a:cubicBezTo>
                      <a:pt x="21456" y="178504"/>
                      <a:pt x="28262" y="170064"/>
                      <a:pt x="16663" y="187462"/>
                    </a:cubicBezTo>
                    <a:lnTo>
                      <a:pt x="12497" y="193711"/>
                    </a:lnTo>
                    <a:lnTo>
                      <a:pt x="8331" y="199960"/>
                    </a:lnTo>
                    <a:cubicBezTo>
                      <a:pt x="7637" y="204126"/>
                      <a:pt x="7164" y="208334"/>
                      <a:pt x="6248" y="212457"/>
                    </a:cubicBezTo>
                    <a:cubicBezTo>
                      <a:pt x="5772" y="214600"/>
                      <a:pt x="4526" y="216540"/>
                      <a:pt x="4165" y="218706"/>
                    </a:cubicBezTo>
                    <a:cubicBezTo>
                      <a:pt x="1699" y="233504"/>
                      <a:pt x="2082" y="243354"/>
                      <a:pt x="2082" y="247867"/>
                    </a:cubicBez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180" name="Freeform: Shape 4648">
                <a:extLst>
                  <a:ext uri="{FF2B5EF4-FFF2-40B4-BE49-F238E27FC236}">
                    <a16:creationId xmlns:a16="http://schemas.microsoft.com/office/drawing/2014/main" id="{E560BEE1-7252-3B30-044A-CC74F9A0542E}"/>
                  </a:ext>
                </a:extLst>
              </p:cNvPr>
              <p:cNvSpPr/>
              <p:nvPr/>
            </p:nvSpPr>
            <p:spPr>
              <a:xfrm>
                <a:off x="5817682" y="2608826"/>
                <a:ext cx="21504" cy="135815"/>
              </a:xfrm>
              <a:custGeom>
                <a:avLst/>
                <a:gdLst>
                  <a:gd name="connsiteX0" fmla="*/ 0 w 39575"/>
                  <a:gd name="connsiteY0" fmla="*/ 0 h 247867"/>
                  <a:gd name="connsiteX1" fmla="*/ 0 w 39575"/>
                  <a:gd name="connsiteY1" fmla="*/ 0 h 247867"/>
                  <a:gd name="connsiteX2" fmla="*/ 4165 w 39575"/>
                  <a:gd name="connsiteY2" fmla="*/ 29161 h 247867"/>
                  <a:gd name="connsiteX3" fmla="*/ 8331 w 39575"/>
                  <a:gd name="connsiteY3" fmla="*/ 35409 h 247867"/>
                  <a:gd name="connsiteX4" fmla="*/ 18746 w 39575"/>
                  <a:gd name="connsiteY4" fmla="*/ 52073 h 247867"/>
                  <a:gd name="connsiteX5" fmla="*/ 22912 w 39575"/>
                  <a:gd name="connsiteY5" fmla="*/ 64570 h 247867"/>
                  <a:gd name="connsiteX6" fmla="*/ 24995 w 39575"/>
                  <a:gd name="connsiteY6" fmla="*/ 74985 h 247867"/>
                  <a:gd name="connsiteX7" fmla="*/ 33326 w 39575"/>
                  <a:gd name="connsiteY7" fmla="*/ 87482 h 247867"/>
                  <a:gd name="connsiteX8" fmla="*/ 37492 w 39575"/>
                  <a:gd name="connsiteY8" fmla="*/ 93731 h 247867"/>
                  <a:gd name="connsiteX9" fmla="*/ 39575 w 39575"/>
                  <a:gd name="connsiteY9" fmla="*/ 99980 h 247867"/>
                  <a:gd name="connsiteX10" fmla="*/ 37492 w 39575"/>
                  <a:gd name="connsiteY10" fmla="*/ 120809 h 247867"/>
                  <a:gd name="connsiteX11" fmla="*/ 35409 w 39575"/>
                  <a:gd name="connsiteY11" fmla="*/ 127058 h 247867"/>
                  <a:gd name="connsiteX12" fmla="*/ 33326 w 39575"/>
                  <a:gd name="connsiteY12" fmla="*/ 160384 h 247867"/>
                  <a:gd name="connsiteX13" fmla="*/ 31243 w 39575"/>
                  <a:gd name="connsiteY13" fmla="*/ 166633 h 247867"/>
                  <a:gd name="connsiteX14" fmla="*/ 24995 w 39575"/>
                  <a:gd name="connsiteY14" fmla="*/ 168716 h 247867"/>
                  <a:gd name="connsiteX15" fmla="*/ 20829 w 39575"/>
                  <a:gd name="connsiteY15" fmla="*/ 174965 h 247867"/>
                  <a:gd name="connsiteX16" fmla="*/ 16663 w 39575"/>
                  <a:gd name="connsiteY16" fmla="*/ 193711 h 247867"/>
                  <a:gd name="connsiteX17" fmla="*/ 14580 w 39575"/>
                  <a:gd name="connsiteY17" fmla="*/ 199960 h 247867"/>
                  <a:gd name="connsiteX18" fmla="*/ 10414 w 39575"/>
                  <a:gd name="connsiteY18" fmla="*/ 214540 h 247867"/>
                  <a:gd name="connsiteX19" fmla="*/ 8331 w 39575"/>
                  <a:gd name="connsiteY19" fmla="*/ 247867 h 247867"/>
                  <a:gd name="connsiteX20" fmla="*/ 8331 w 39575"/>
                  <a:gd name="connsiteY20" fmla="*/ 247867 h 247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39575" h="247867">
                    <a:moveTo>
                      <a:pt x="0" y="0"/>
                    </a:moveTo>
                    <a:lnTo>
                      <a:pt x="0" y="0"/>
                    </a:lnTo>
                    <a:cubicBezTo>
                      <a:pt x="531" y="5837"/>
                      <a:pt x="160" y="21151"/>
                      <a:pt x="4165" y="29161"/>
                    </a:cubicBezTo>
                    <a:cubicBezTo>
                      <a:pt x="5284" y="31400"/>
                      <a:pt x="6942" y="33326"/>
                      <a:pt x="8331" y="35409"/>
                    </a:cubicBezTo>
                    <a:cubicBezTo>
                      <a:pt x="13289" y="50282"/>
                      <a:pt x="8843" y="45471"/>
                      <a:pt x="18746" y="52073"/>
                    </a:cubicBezTo>
                    <a:cubicBezTo>
                      <a:pt x="20135" y="56239"/>
                      <a:pt x="22051" y="60264"/>
                      <a:pt x="22912" y="64570"/>
                    </a:cubicBezTo>
                    <a:cubicBezTo>
                      <a:pt x="23606" y="68042"/>
                      <a:pt x="23530" y="71762"/>
                      <a:pt x="24995" y="74985"/>
                    </a:cubicBezTo>
                    <a:cubicBezTo>
                      <a:pt x="27067" y="79543"/>
                      <a:pt x="30549" y="83316"/>
                      <a:pt x="33326" y="87482"/>
                    </a:cubicBezTo>
                    <a:cubicBezTo>
                      <a:pt x="34715" y="89565"/>
                      <a:pt x="36700" y="91356"/>
                      <a:pt x="37492" y="93731"/>
                    </a:cubicBezTo>
                    <a:lnTo>
                      <a:pt x="39575" y="99980"/>
                    </a:lnTo>
                    <a:cubicBezTo>
                      <a:pt x="38881" y="106923"/>
                      <a:pt x="38553" y="113913"/>
                      <a:pt x="37492" y="120809"/>
                    </a:cubicBezTo>
                    <a:cubicBezTo>
                      <a:pt x="37158" y="122979"/>
                      <a:pt x="35639" y="124874"/>
                      <a:pt x="35409" y="127058"/>
                    </a:cubicBezTo>
                    <a:cubicBezTo>
                      <a:pt x="34244" y="138127"/>
                      <a:pt x="34491" y="149315"/>
                      <a:pt x="33326" y="160384"/>
                    </a:cubicBezTo>
                    <a:cubicBezTo>
                      <a:pt x="33096" y="162568"/>
                      <a:pt x="32795" y="165080"/>
                      <a:pt x="31243" y="166633"/>
                    </a:cubicBezTo>
                    <a:cubicBezTo>
                      <a:pt x="29691" y="168185"/>
                      <a:pt x="27078" y="168022"/>
                      <a:pt x="24995" y="168716"/>
                    </a:cubicBezTo>
                    <a:cubicBezTo>
                      <a:pt x="23606" y="170799"/>
                      <a:pt x="21949" y="172726"/>
                      <a:pt x="20829" y="174965"/>
                    </a:cubicBezTo>
                    <a:cubicBezTo>
                      <a:pt x="18015" y="180592"/>
                      <a:pt x="17943" y="187949"/>
                      <a:pt x="16663" y="193711"/>
                    </a:cubicBezTo>
                    <a:cubicBezTo>
                      <a:pt x="16187" y="195854"/>
                      <a:pt x="15183" y="197849"/>
                      <a:pt x="14580" y="199960"/>
                    </a:cubicBezTo>
                    <a:cubicBezTo>
                      <a:pt x="9349" y="218268"/>
                      <a:pt x="15408" y="199557"/>
                      <a:pt x="10414" y="214540"/>
                    </a:cubicBezTo>
                    <a:cubicBezTo>
                      <a:pt x="8285" y="246477"/>
                      <a:pt x="8331" y="235346"/>
                      <a:pt x="8331" y="247867"/>
                    </a:cubicBezTo>
                    <a:lnTo>
                      <a:pt x="8331" y="247867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181" name="Freeform: Shape 4649">
                <a:extLst>
                  <a:ext uri="{FF2B5EF4-FFF2-40B4-BE49-F238E27FC236}">
                    <a16:creationId xmlns:a16="http://schemas.microsoft.com/office/drawing/2014/main" id="{D16155B2-8BDE-62E9-7114-A758B86023F9}"/>
                  </a:ext>
                </a:extLst>
              </p:cNvPr>
              <p:cNvSpPr/>
              <p:nvPr/>
            </p:nvSpPr>
            <p:spPr>
              <a:xfrm>
                <a:off x="5845977" y="2614532"/>
                <a:ext cx="20372" cy="136956"/>
              </a:xfrm>
              <a:custGeom>
                <a:avLst/>
                <a:gdLst>
                  <a:gd name="connsiteX0" fmla="*/ 0 w 37492"/>
                  <a:gd name="connsiteY0" fmla="*/ 0 h 249950"/>
                  <a:gd name="connsiteX1" fmla="*/ 0 w 37492"/>
                  <a:gd name="connsiteY1" fmla="*/ 0 h 249950"/>
                  <a:gd name="connsiteX2" fmla="*/ 2082 w 37492"/>
                  <a:gd name="connsiteY2" fmla="*/ 18747 h 249950"/>
                  <a:gd name="connsiteX3" fmla="*/ 6248 w 37492"/>
                  <a:gd name="connsiteY3" fmla="*/ 24995 h 249950"/>
                  <a:gd name="connsiteX4" fmla="*/ 8331 w 37492"/>
                  <a:gd name="connsiteY4" fmla="*/ 31244 h 249950"/>
                  <a:gd name="connsiteX5" fmla="*/ 12497 w 37492"/>
                  <a:gd name="connsiteY5" fmla="*/ 37493 h 249950"/>
                  <a:gd name="connsiteX6" fmla="*/ 16663 w 37492"/>
                  <a:gd name="connsiteY6" fmla="*/ 49990 h 249950"/>
                  <a:gd name="connsiteX7" fmla="*/ 18746 w 37492"/>
                  <a:gd name="connsiteY7" fmla="*/ 64571 h 249950"/>
                  <a:gd name="connsiteX8" fmla="*/ 24995 w 37492"/>
                  <a:gd name="connsiteY8" fmla="*/ 83317 h 249950"/>
                  <a:gd name="connsiteX9" fmla="*/ 29160 w 37492"/>
                  <a:gd name="connsiteY9" fmla="*/ 95814 h 249950"/>
                  <a:gd name="connsiteX10" fmla="*/ 33326 w 37492"/>
                  <a:gd name="connsiteY10" fmla="*/ 102063 h 249950"/>
                  <a:gd name="connsiteX11" fmla="*/ 35409 w 37492"/>
                  <a:gd name="connsiteY11" fmla="*/ 110395 h 249950"/>
                  <a:gd name="connsiteX12" fmla="*/ 37492 w 37492"/>
                  <a:gd name="connsiteY12" fmla="*/ 116644 h 249950"/>
                  <a:gd name="connsiteX13" fmla="*/ 35409 w 37492"/>
                  <a:gd name="connsiteY13" fmla="*/ 158302 h 249950"/>
                  <a:gd name="connsiteX14" fmla="*/ 29160 w 37492"/>
                  <a:gd name="connsiteY14" fmla="*/ 172882 h 249950"/>
                  <a:gd name="connsiteX15" fmla="*/ 22912 w 37492"/>
                  <a:gd name="connsiteY15" fmla="*/ 177048 h 249950"/>
                  <a:gd name="connsiteX16" fmla="*/ 18746 w 37492"/>
                  <a:gd name="connsiteY16" fmla="*/ 183297 h 249950"/>
                  <a:gd name="connsiteX17" fmla="*/ 14580 w 37492"/>
                  <a:gd name="connsiteY17" fmla="*/ 195794 h 249950"/>
                  <a:gd name="connsiteX18" fmla="*/ 8331 w 37492"/>
                  <a:gd name="connsiteY18" fmla="*/ 199960 h 249950"/>
                  <a:gd name="connsiteX19" fmla="*/ 6248 w 37492"/>
                  <a:gd name="connsiteY19" fmla="*/ 208292 h 249950"/>
                  <a:gd name="connsiteX20" fmla="*/ 4165 w 37492"/>
                  <a:gd name="connsiteY20" fmla="*/ 214541 h 249950"/>
                  <a:gd name="connsiteX21" fmla="*/ 6248 w 37492"/>
                  <a:gd name="connsiteY21" fmla="*/ 249950 h 249950"/>
                  <a:gd name="connsiteX22" fmla="*/ 6248 w 37492"/>
                  <a:gd name="connsiteY22" fmla="*/ 249950 h 249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37492" h="249950">
                    <a:moveTo>
                      <a:pt x="0" y="0"/>
                    </a:moveTo>
                    <a:lnTo>
                      <a:pt x="0" y="0"/>
                    </a:lnTo>
                    <a:cubicBezTo>
                      <a:pt x="694" y="6249"/>
                      <a:pt x="557" y="12647"/>
                      <a:pt x="2082" y="18747"/>
                    </a:cubicBezTo>
                    <a:cubicBezTo>
                      <a:pt x="2689" y="21175"/>
                      <a:pt x="5128" y="22756"/>
                      <a:pt x="6248" y="24995"/>
                    </a:cubicBezTo>
                    <a:cubicBezTo>
                      <a:pt x="7230" y="26959"/>
                      <a:pt x="7349" y="29280"/>
                      <a:pt x="8331" y="31244"/>
                    </a:cubicBezTo>
                    <a:cubicBezTo>
                      <a:pt x="9451" y="33483"/>
                      <a:pt x="11480" y="35205"/>
                      <a:pt x="12497" y="37493"/>
                    </a:cubicBezTo>
                    <a:cubicBezTo>
                      <a:pt x="14280" y="41506"/>
                      <a:pt x="16663" y="49990"/>
                      <a:pt x="16663" y="49990"/>
                    </a:cubicBezTo>
                    <a:cubicBezTo>
                      <a:pt x="17357" y="54850"/>
                      <a:pt x="17642" y="59787"/>
                      <a:pt x="18746" y="64571"/>
                    </a:cubicBezTo>
                    <a:cubicBezTo>
                      <a:pt x="18746" y="64572"/>
                      <a:pt x="23954" y="80192"/>
                      <a:pt x="24995" y="83317"/>
                    </a:cubicBezTo>
                    <a:cubicBezTo>
                      <a:pt x="24997" y="83322"/>
                      <a:pt x="29156" y="95809"/>
                      <a:pt x="29160" y="95814"/>
                    </a:cubicBezTo>
                    <a:lnTo>
                      <a:pt x="33326" y="102063"/>
                    </a:lnTo>
                    <a:cubicBezTo>
                      <a:pt x="34020" y="104840"/>
                      <a:pt x="34623" y="107642"/>
                      <a:pt x="35409" y="110395"/>
                    </a:cubicBezTo>
                    <a:cubicBezTo>
                      <a:pt x="36012" y="112506"/>
                      <a:pt x="37492" y="114448"/>
                      <a:pt x="37492" y="116644"/>
                    </a:cubicBezTo>
                    <a:cubicBezTo>
                      <a:pt x="37492" y="130547"/>
                      <a:pt x="36564" y="144447"/>
                      <a:pt x="35409" y="158302"/>
                    </a:cubicBezTo>
                    <a:cubicBezTo>
                      <a:pt x="34974" y="163518"/>
                      <a:pt x="32942" y="169100"/>
                      <a:pt x="29160" y="172882"/>
                    </a:cubicBezTo>
                    <a:cubicBezTo>
                      <a:pt x="27390" y="174652"/>
                      <a:pt x="24995" y="175659"/>
                      <a:pt x="22912" y="177048"/>
                    </a:cubicBezTo>
                    <a:cubicBezTo>
                      <a:pt x="21523" y="179131"/>
                      <a:pt x="19763" y="181009"/>
                      <a:pt x="18746" y="183297"/>
                    </a:cubicBezTo>
                    <a:cubicBezTo>
                      <a:pt x="16963" y="187310"/>
                      <a:pt x="18234" y="193358"/>
                      <a:pt x="14580" y="195794"/>
                    </a:cubicBezTo>
                    <a:lnTo>
                      <a:pt x="8331" y="199960"/>
                    </a:lnTo>
                    <a:cubicBezTo>
                      <a:pt x="7637" y="202737"/>
                      <a:pt x="7034" y="205539"/>
                      <a:pt x="6248" y="208292"/>
                    </a:cubicBezTo>
                    <a:cubicBezTo>
                      <a:pt x="5645" y="210403"/>
                      <a:pt x="4165" y="212345"/>
                      <a:pt x="4165" y="214541"/>
                    </a:cubicBezTo>
                    <a:cubicBezTo>
                      <a:pt x="4165" y="226364"/>
                      <a:pt x="6248" y="249950"/>
                      <a:pt x="6248" y="249950"/>
                    </a:cubicBezTo>
                    <a:lnTo>
                      <a:pt x="6248" y="249950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182" name="Freeform: Shape 4650">
                <a:extLst>
                  <a:ext uri="{FF2B5EF4-FFF2-40B4-BE49-F238E27FC236}">
                    <a16:creationId xmlns:a16="http://schemas.microsoft.com/office/drawing/2014/main" id="{7FFC9C00-8D2B-3CDE-329B-DC1EB8059E45}"/>
                  </a:ext>
                </a:extLst>
              </p:cNvPr>
              <p:cNvSpPr/>
              <p:nvPr/>
            </p:nvSpPr>
            <p:spPr>
              <a:xfrm>
                <a:off x="5870876" y="2617956"/>
                <a:ext cx="15845" cy="136956"/>
              </a:xfrm>
              <a:custGeom>
                <a:avLst/>
                <a:gdLst>
                  <a:gd name="connsiteX0" fmla="*/ 0 w 29161"/>
                  <a:gd name="connsiteY0" fmla="*/ 0 h 249950"/>
                  <a:gd name="connsiteX1" fmla="*/ 0 w 29161"/>
                  <a:gd name="connsiteY1" fmla="*/ 0 h 249950"/>
                  <a:gd name="connsiteX2" fmla="*/ 4166 w 29161"/>
                  <a:gd name="connsiteY2" fmla="*/ 24995 h 249950"/>
                  <a:gd name="connsiteX3" fmla="*/ 8331 w 29161"/>
                  <a:gd name="connsiteY3" fmla="*/ 31244 h 249950"/>
                  <a:gd name="connsiteX4" fmla="*/ 12497 w 29161"/>
                  <a:gd name="connsiteY4" fmla="*/ 43741 h 249950"/>
                  <a:gd name="connsiteX5" fmla="*/ 14580 w 29161"/>
                  <a:gd name="connsiteY5" fmla="*/ 49990 h 249950"/>
                  <a:gd name="connsiteX6" fmla="*/ 24995 w 29161"/>
                  <a:gd name="connsiteY6" fmla="*/ 77068 h 249950"/>
                  <a:gd name="connsiteX7" fmla="*/ 29161 w 29161"/>
                  <a:gd name="connsiteY7" fmla="*/ 83317 h 249950"/>
                  <a:gd name="connsiteX8" fmla="*/ 27078 w 29161"/>
                  <a:gd name="connsiteY8" fmla="*/ 160385 h 249950"/>
                  <a:gd name="connsiteX9" fmla="*/ 24995 w 29161"/>
                  <a:gd name="connsiteY9" fmla="*/ 166633 h 249950"/>
                  <a:gd name="connsiteX10" fmla="*/ 16663 w 29161"/>
                  <a:gd name="connsiteY10" fmla="*/ 179131 h 249950"/>
                  <a:gd name="connsiteX11" fmla="*/ 12497 w 29161"/>
                  <a:gd name="connsiteY11" fmla="*/ 185380 h 249950"/>
                  <a:gd name="connsiteX12" fmla="*/ 10414 w 29161"/>
                  <a:gd name="connsiteY12" fmla="*/ 191628 h 249950"/>
                  <a:gd name="connsiteX13" fmla="*/ 2083 w 29161"/>
                  <a:gd name="connsiteY13" fmla="*/ 204126 h 249950"/>
                  <a:gd name="connsiteX14" fmla="*/ 4166 w 29161"/>
                  <a:gd name="connsiteY14" fmla="*/ 249950 h 249950"/>
                  <a:gd name="connsiteX15" fmla="*/ 4166 w 29161"/>
                  <a:gd name="connsiteY15" fmla="*/ 249950 h 249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9161" h="249950">
                    <a:moveTo>
                      <a:pt x="0" y="0"/>
                    </a:moveTo>
                    <a:lnTo>
                      <a:pt x="0" y="0"/>
                    </a:lnTo>
                    <a:cubicBezTo>
                      <a:pt x="660" y="5944"/>
                      <a:pt x="676" y="18015"/>
                      <a:pt x="4166" y="24995"/>
                    </a:cubicBezTo>
                    <a:cubicBezTo>
                      <a:pt x="5285" y="27234"/>
                      <a:pt x="7314" y="28956"/>
                      <a:pt x="8331" y="31244"/>
                    </a:cubicBezTo>
                    <a:cubicBezTo>
                      <a:pt x="10114" y="35257"/>
                      <a:pt x="11108" y="39575"/>
                      <a:pt x="12497" y="43741"/>
                    </a:cubicBezTo>
                    <a:lnTo>
                      <a:pt x="14580" y="49990"/>
                    </a:lnTo>
                    <a:cubicBezTo>
                      <a:pt x="17371" y="69527"/>
                      <a:pt x="13940" y="60485"/>
                      <a:pt x="24995" y="77068"/>
                    </a:cubicBezTo>
                    <a:lnTo>
                      <a:pt x="29161" y="83317"/>
                    </a:lnTo>
                    <a:cubicBezTo>
                      <a:pt x="28467" y="109006"/>
                      <a:pt x="28361" y="134718"/>
                      <a:pt x="27078" y="160385"/>
                    </a:cubicBezTo>
                    <a:cubicBezTo>
                      <a:pt x="26968" y="162578"/>
                      <a:pt x="26061" y="164714"/>
                      <a:pt x="24995" y="166633"/>
                    </a:cubicBezTo>
                    <a:cubicBezTo>
                      <a:pt x="22563" y="171010"/>
                      <a:pt x="19440" y="174965"/>
                      <a:pt x="16663" y="179131"/>
                    </a:cubicBezTo>
                    <a:cubicBezTo>
                      <a:pt x="15274" y="181214"/>
                      <a:pt x="13289" y="183005"/>
                      <a:pt x="12497" y="185380"/>
                    </a:cubicBezTo>
                    <a:cubicBezTo>
                      <a:pt x="11803" y="187463"/>
                      <a:pt x="11480" y="189709"/>
                      <a:pt x="10414" y="191628"/>
                    </a:cubicBezTo>
                    <a:cubicBezTo>
                      <a:pt x="7983" y="196005"/>
                      <a:pt x="2083" y="204126"/>
                      <a:pt x="2083" y="204126"/>
                    </a:cubicBezTo>
                    <a:cubicBezTo>
                      <a:pt x="4275" y="245781"/>
                      <a:pt x="4166" y="230491"/>
                      <a:pt x="4166" y="249950"/>
                    </a:cubicBezTo>
                    <a:lnTo>
                      <a:pt x="4166" y="249950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183" name="Freeform: Shape 4651">
                <a:extLst>
                  <a:ext uri="{FF2B5EF4-FFF2-40B4-BE49-F238E27FC236}">
                    <a16:creationId xmlns:a16="http://schemas.microsoft.com/office/drawing/2014/main" id="{CE180D23-8EEF-2B3C-B11A-C142A1E7DA61}"/>
                  </a:ext>
                </a:extLst>
              </p:cNvPr>
              <p:cNvSpPr/>
              <p:nvPr/>
            </p:nvSpPr>
            <p:spPr>
              <a:xfrm>
                <a:off x="5893318" y="2637358"/>
                <a:ext cx="22829" cy="138097"/>
              </a:xfrm>
              <a:custGeom>
                <a:avLst/>
                <a:gdLst>
                  <a:gd name="connsiteX0" fmla="*/ 12854 w 42014"/>
                  <a:gd name="connsiteY0" fmla="*/ 0 h 252032"/>
                  <a:gd name="connsiteX1" fmla="*/ 12854 w 42014"/>
                  <a:gd name="connsiteY1" fmla="*/ 0 h 252032"/>
                  <a:gd name="connsiteX2" fmla="*/ 14936 w 42014"/>
                  <a:gd name="connsiteY2" fmla="*/ 18746 h 252032"/>
                  <a:gd name="connsiteX3" fmla="*/ 23268 w 42014"/>
                  <a:gd name="connsiteY3" fmla="*/ 45824 h 252032"/>
                  <a:gd name="connsiteX4" fmla="*/ 29517 w 42014"/>
                  <a:gd name="connsiteY4" fmla="*/ 49990 h 252032"/>
                  <a:gd name="connsiteX5" fmla="*/ 33683 w 42014"/>
                  <a:gd name="connsiteY5" fmla="*/ 62487 h 252032"/>
                  <a:gd name="connsiteX6" fmla="*/ 35766 w 42014"/>
                  <a:gd name="connsiteY6" fmla="*/ 68736 h 252032"/>
                  <a:gd name="connsiteX7" fmla="*/ 37849 w 42014"/>
                  <a:gd name="connsiteY7" fmla="*/ 85399 h 252032"/>
                  <a:gd name="connsiteX8" fmla="*/ 39931 w 42014"/>
                  <a:gd name="connsiteY8" fmla="*/ 91648 h 252032"/>
                  <a:gd name="connsiteX9" fmla="*/ 42014 w 42014"/>
                  <a:gd name="connsiteY9" fmla="*/ 108311 h 252032"/>
                  <a:gd name="connsiteX10" fmla="*/ 39931 w 42014"/>
                  <a:gd name="connsiteY10" fmla="*/ 152052 h 252032"/>
                  <a:gd name="connsiteX11" fmla="*/ 29517 w 42014"/>
                  <a:gd name="connsiteY11" fmla="*/ 170799 h 252032"/>
                  <a:gd name="connsiteX12" fmla="*/ 25351 w 42014"/>
                  <a:gd name="connsiteY12" fmla="*/ 177047 h 252032"/>
                  <a:gd name="connsiteX13" fmla="*/ 19102 w 42014"/>
                  <a:gd name="connsiteY13" fmla="*/ 183296 h 252032"/>
                  <a:gd name="connsiteX14" fmla="*/ 6605 w 42014"/>
                  <a:gd name="connsiteY14" fmla="*/ 204125 h 252032"/>
                  <a:gd name="connsiteX15" fmla="*/ 2439 w 42014"/>
                  <a:gd name="connsiteY15" fmla="*/ 216623 h 252032"/>
                  <a:gd name="connsiteX16" fmla="*/ 356 w 42014"/>
                  <a:gd name="connsiteY16" fmla="*/ 222872 h 252032"/>
                  <a:gd name="connsiteX17" fmla="*/ 4522 w 42014"/>
                  <a:gd name="connsiteY17" fmla="*/ 252032 h 252032"/>
                  <a:gd name="connsiteX18" fmla="*/ 4522 w 42014"/>
                  <a:gd name="connsiteY18" fmla="*/ 252032 h 2520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2014" h="252032">
                    <a:moveTo>
                      <a:pt x="12854" y="0"/>
                    </a:moveTo>
                    <a:lnTo>
                      <a:pt x="12854" y="0"/>
                    </a:lnTo>
                    <a:cubicBezTo>
                      <a:pt x="13548" y="6249"/>
                      <a:pt x="14156" y="12507"/>
                      <a:pt x="14936" y="18746"/>
                    </a:cubicBezTo>
                    <a:cubicBezTo>
                      <a:pt x="16034" y="27530"/>
                      <a:pt x="16361" y="38917"/>
                      <a:pt x="23268" y="45824"/>
                    </a:cubicBezTo>
                    <a:cubicBezTo>
                      <a:pt x="25038" y="47594"/>
                      <a:pt x="27434" y="48601"/>
                      <a:pt x="29517" y="49990"/>
                    </a:cubicBezTo>
                    <a:lnTo>
                      <a:pt x="33683" y="62487"/>
                    </a:lnTo>
                    <a:lnTo>
                      <a:pt x="35766" y="68736"/>
                    </a:lnTo>
                    <a:cubicBezTo>
                      <a:pt x="36460" y="74290"/>
                      <a:pt x="36848" y="79892"/>
                      <a:pt x="37849" y="85399"/>
                    </a:cubicBezTo>
                    <a:cubicBezTo>
                      <a:pt x="38242" y="87559"/>
                      <a:pt x="39538" y="89488"/>
                      <a:pt x="39931" y="91648"/>
                    </a:cubicBezTo>
                    <a:cubicBezTo>
                      <a:pt x="40932" y="97155"/>
                      <a:pt x="41320" y="102757"/>
                      <a:pt x="42014" y="108311"/>
                    </a:cubicBezTo>
                    <a:cubicBezTo>
                      <a:pt x="41320" y="122891"/>
                      <a:pt x="41143" y="137506"/>
                      <a:pt x="39931" y="152052"/>
                    </a:cubicBezTo>
                    <a:cubicBezTo>
                      <a:pt x="39407" y="158340"/>
                      <a:pt x="31905" y="167218"/>
                      <a:pt x="29517" y="170799"/>
                    </a:cubicBezTo>
                    <a:cubicBezTo>
                      <a:pt x="28128" y="172882"/>
                      <a:pt x="27121" y="175277"/>
                      <a:pt x="25351" y="177047"/>
                    </a:cubicBezTo>
                    <a:cubicBezTo>
                      <a:pt x="23268" y="179130"/>
                      <a:pt x="20910" y="180971"/>
                      <a:pt x="19102" y="183296"/>
                    </a:cubicBezTo>
                    <a:cubicBezTo>
                      <a:pt x="15079" y="188469"/>
                      <a:pt x="9271" y="197461"/>
                      <a:pt x="6605" y="204125"/>
                    </a:cubicBezTo>
                    <a:cubicBezTo>
                      <a:pt x="4974" y="208202"/>
                      <a:pt x="3828" y="212457"/>
                      <a:pt x="2439" y="216623"/>
                    </a:cubicBezTo>
                    <a:lnTo>
                      <a:pt x="356" y="222872"/>
                    </a:lnTo>
                    <a:cubicBezTo>
                      <a:pt x="2514" y="250929"/>
                      <a:pt x="-3964" y="243550"/>
                      <a:pt x="4522" y="252032"/>
                    </a:cubicBezTo>
                    <a:lnTo>
                      <a:pt x="4522" y="252032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184" name="Rectangle: Rounded Corners 183">
                <a:extLst>
                  <a:ext uri="{FF2B5EF4-FFF2-40B4-BE49-F238E27FC236}">
                    <a16:creationId xmlns:a16="http://schemas.microsoft.com/office/drawing/2014/main" id="{12C0AB98-4815-81A5-98C7-A1BC647873A5}"/>
                  </a:ext>
                </a:extLst>
              </p:cNvPr>
              <p:cNvSpPr/>
              <p:nvPr/>
            </p:nvSpPr>
            <p:spPr>
              <a:xfrm>
                <a:off x="5661453" y="2731159"/>
                <a:ext cx="275343" cy="392051"/>
              </a:xfrm>
              <a:prstGeom prst="roundRect">
                <a:avLst>
                  <a:gd name="adj" fmla="val 35662"/>
                </a:avLst>
              </a:prstGeom>
              <a:gradFill flip="none" rotWithShape="1">
                <a:gsLst>
                  <a:gs pos="16000">
                    <a:srgbClr val="FFEAD5"/>
                  </a:gs>
                  <a:gs pos="75000">
                    <a:srgbClr val="FFCC99"/>
                  </a:gs>
                </a:gsLst>
                <a:path path="circle">
                  <a:fillToRect l="50000" t="50000" r="50000" b="50000"/>
                </a:path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185" name="Oval 184">
                <a:extLst>
                  <a:ext uri="{FF2B5EF4-FFF2-40B4-BE49-F238E27FC236}">
                    <a16:creationId xmlns:a16="http://schemas.microsoft.com/office/drawing/2014/main" id="{F03E0C8A-1985-A791-23D2-719DDB02B70B}"/>
                  </a:ext>
                </a:extLst>
              </p:cNvPr>
              <p:cNvSpPr/>
              <p:nvPr/>
            </p:nvSpPr>
            <p:spPr>
              <a:xfrm>
                <a:off x="5727380" y="2930951"/>
                <a:ext cx="141069" cy="115934"/>
              </a:xfrm>
              <a:prstGeom prst="ellipse">
                <a:avLst/>
              </a:prstGeom>
              <a:gradFill flip="none" rotWithShape="1">
                <a:gsLst>
                  <a:gs pos="16000">
                    <a:srgbClr val="FFEAD5"/>
                  </a:gs>
                  <a:gs pos="74000">
                    <a:srgbClr val="A45200"/>
                  </a:gs>
                  <a:gs pos="53000">
                    <a:srgbClr val="FFC081"/>
                  </a:gs>
                </a:gsLst>
                <a:path path="circle">
                  <a:fillToRect l="50000" t="50000" r="50000" b="50000"/>
                </a:path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0" name="!!Group 1011">
              <a:extLst>
                <a:ext uri="{FF2B5EF4-FFF2-40B4-BE49-F238E27FC236}">
                  <a16:creationId xmlns:a16="http://schemas.microsoft.com/office/drawing/2014/main" id="{BD31E9B4-6DB2-097E-B52E-0DC4C732A357}"/>
                </a:ext>
              </a:extLst>
            </p:cNvPr>
            <p:cNvGrpSpPr/>
            <p:nvPr/>
          </p:nvGrpSpPr>
          <p:grpSpPr>
            <a:xfrm>
              <a:off x="3841682" y="2939278"/>
              <a:ext cx="274267" cy="514649"/>
              <a:chOff x="5661453" y="2606543"/>
              <a:chExt cx="275343" cy="516667"/>
            </a:xfrm>
          </p:grpSpPr>
          <p:sp>
            <p:nvSpPr>
              <p:cNvPr id="164" name="Freeform: Shape 4632">
                <a:extLst>
                  <a:ext uri="{FF2B5EF4-FFF2-40B4-BE49-F238E27FC236}">
                    <a16:creationId xmlns:a16="http://schemas.microsoft.com/office/drawing/2014/main" id="{68106828-C8A9-1652-C968-5876E48D9D02}"/>
                  </a:ext>
                </a:extLst>
              </p:cNvPr>
              <p:cNvSpPr/>
              <p:nvPr/>
            </p:nvSpPr>
            <p:spPr>
              <a:xfrm>
                <a:off x="5684131" y="2624804"/>
                <a:ext cx="24899" cy="146087"/>
              </a:xfrm>
              <a:custGeom>
                <a:avLst/>
                <a:gdLst>
                  <a:gd name="connsiteX0" fmla="*/ 0 w 45824"/>
                  <a:gd name="connsiteY0" fmla="*/ 0 h 266613"/>
                  <a:gd name="connsiteX1" fmla="*/ 0 w 45824"/>
                  <a:gd name="connsiteY1" fmla="*/ 0 h 266613"/>
                  <a:gd name="connsiteX2" fmla="*/ 4165 w 45824"/>
                  <a:gd name="connsiteY2" fmla="*/ 18746 h 266613"/>
                  <a:gd name="connsiteX3" fmla="*/ 10414 w 45824"/>
                  <a:gd name="connsiteY3" fmla="*/ 47907 h 266613"/>
                  <a:gd name="connsiteX4" fmla="*/ 16663 w 45824"/>
                  <a:gd name="connsiteY4" fmla="*/ 52072 h 266613"/>
                  <a:gd name="connsiteX5" fmla="*/ 20829 w 45824"/>
                  <a:gd name="connsiteY5" fmla="*/ 58321 h 266613"/>
                  <a:gd name="connsiteX6" fmla="*/ 27078 w 45824"/>
                  <a:gd name="connsiteY6" fmla="*/ 60404 h 266613"/>
                  <a:gd name="connsiteX7" fmla="*/ 33326 w 45824"/>
                  <a:gd name="connsiteY7" fmla="*/ 64570 h 266613"/>
                  <a:gd name="connsiteX8" fmla="*/ 41658 w 45824"/>
                  <a:gd name="connsiteY8" fmla="*/ 77067 h 266613"/>
                  <a:gd name="connsiteX9" fmla="*/ 45824 w 45824"/>
                  <a:gd name="connsiteY9" fmla="*/ 83316 h 266613"/>
                  <a:gd name="connsiteX10" fmla="*/ 43741 w 45824"/>
                  <a:gd name="connsiteY10" fmla="*/ 145804 h 266613"/>
                  <a:gd name="connsiteX11" fmla="*/ 41658 w 45824"/>
                  <a:gd name="connsiteY11" fmla="*/ 152052 h 266613"/>
                  <a:gd name="connsiteX12" fmla="*/ 37492 w 45824"/>
                  <a:gd name="connsiteY12" fmla="*/ 168716 h 266613"/>
                  <a:gd name="connsiteX13" fmla="*/ 31243 w 45824"/>
                  <a:gd name="connsiteY13" fmla="*/ 174964 h 266613"/>
                  <a:gd name="connsiteX14" fmla="*/ 20829 w 45824"/>
                  <a:gd name="connsiteY14" fmla="*/ 193711 h 266613"/>
                  <a:gd name="connsiteX15" fmla="*/ 16663 w 45824"/>
                  <a:gd name="connsiteY15" fmla="*/ 199959 h 266613"/>
                  <a:gd name="connsiteX16" fmla="*/ 12497 w 45824"/>
                  <a:gd name="connsiteY16" fmla="*/ 214540 h 266613"/>
                  <a:gd name="connsiteX17" fmla="*/ 10414 w 45824"/>
                  <a:gd name="connsiteY17" fmla="*/ 222872 h 266613"/>
                  <a:gd name="connsiteX18" fmla="*/ 10414 w 45824"/>
                  <a:gd name="connsiteY18" fmla="*/ 266613 h 266613"/>
                  <a:gd name="connsiteX19" fmla="*/ 12497 w 45824"/>
                  <a:gd name="connsiteY19" fmla="*/ 266613 h 266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45824" h="266613">
                    <a:moveTo>
                      <a:pt x="0" y="0"/>
                    </a:moveTo>
                    <a:lnTo>
                      <a:pt x="0" y="0"/>
                    </a:lnTo>
                    <a:cubicBezTo>
                      <a:pt x="1388" y="6249"/>
                      <a:pt x="3053" y="12442"/>
                      <a:pt x="4165" y="18746"/>
                    </a:cubicBezTo>
                    <a:cubicBezTo>
                      <a:pt x="4487" y="20573"/>
                      <a:pt x="6286" y="45156"/>
                      <a:pt x="10414" y="47907"/>
                    </a:cubicBezTo>
                    <a:lnTo>
                      <a:pt x="16663" y="52072"/>
                    </a:lnTo>
                    <a:cubicBezTo>
                      <a:pt x="18052" y="54155"/>
                      <a:pt x="18874" y="56757"/>
                      <a:pt x="20829" y="58321"/>
                    </a:cubicBezTo>
                    <a:cubicBezTo>
                      <a:pt x="22544" y="59693"/>
                      <a:pt x="25114" y="59422"/>
                      <a:pt x="27078" y="60404"/>
                    </a:cubicBezTo>
                    <a:cubicBezTo>
                      <a:pt x="29317" y="61524"/>
                      <a:pt x="31243" y="63181"/>
                      <a:pt x="33326" y="64570"/>
                    </a:cubicBezTo>
                    <a:lnTo>
                      <a:pt x="41658" y="77067"/>
                    </a:lnTo>
                    <a:lnTo>
                      <a:pt x="45824" y="83316"/>
                    </a:lnTo>
                    <a:cubicBezTo>
                      <a:pt x="45130" y="104145"/>
                      <a:pt x="45002" y="125001"/>
                      <a:pt x="43741" y="145804"/>
                    </a:cubicBezTo>
                    <a:cubicBezTo>
                      <a:pt x="43608" y="147995"/>
                      <a:pt x="42190" y="149922"/>
                      <a:pt x="41658" y="152052"/>
                    </a:cubicBezTo>
                    <a:cubicBezTo>
                      <a:pt x="41237" y="153734"/>
                      <a:pt x="39397" y="165859"/>
                      <a:pt x="37492" y="168716"/>
                    </a:cubicBezTo>
                    <a:cubicBezTo>
                      <a:pt x="35858" y="171167"/>
                      <a:pt x="33326" y="172881"/>
                      <a:pt x="31243" y="174964"/>
                    </a:cubicBezTo>
                    <a:cubicBezTo>
                      <a:pt x="27577" y="185962"/>
                      <a:pt x="30377" y="179389"/>
                      <a:pt x="20829" y="193711"/>
                    </a:cubicBezTo>
                    <a:lnTo>
                      <a:pt x="16663" y="199959"/>
                    </a:lnTo>
                    <a:cubicBezTo>
                      <a:pt x="10151" y="226006"/>
                      <a:pt x="18474" y="193622"/>
                      <a:pt x="12497" y="214540"/>
                    </a:cubicBezTo>
                    <a:cubicBezTo>
                      <a:pt x="11711" y="217293"/>
                      <a:pt x="10528" y="220011"/>
                      <a:pt x="10414" y="222872"/>
                    </a:cubicBezTo>
                    <a:cubicBezTo>
                      <a:pt x="9831" y="237441"/>
                      <a:pt x="10414" y="252033"/>
                      <a:pt x="10414" y="266613"/>
                    </a:cubicBezTo>
                    <a:lnTo>
                      <a:pt x="12497" y="266613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165" name="Freeform: Shape 4633">
                <a:extLst>
                  <a:ext uri="{FF2B5EF4-FFF2-40B4-BE49-F238E27FC236}">
                    <a16:creationId xmlns:a16="http://schemas.microsoft.com/office/drawing/2014/main" id="{2ECE0E0D-DF3A-09CF-F8F1-47CFF0DD996D}"/>
                  </a:ext>
                </a:extLst>
              </p:cNvPr>
              <p:cNvSpPr/>
              <p:nvPr/>
            </p:nvSpPr>
            <p:spPr>
              <a:xfrm>
                <a:off x="5713557" y="2615673"/>
                <a:ext cx="24900" cy="134674"/>
              </a:xfrm>
              <a:custGeom>
                <a:avLst/>
                <a:gdLst>
                  <a:gd name="connsiteX0" fmla="*/ 0 w 45825"/>
                  <a:gd name="connsiteY0" fmla="*/ 0 h 245784"/>
                  <a:gd name="connsiteX1" fmla="*/ 0 w 45825"/>
                  <a:gd name="connsiteY1" fmla="*/ 0 h 245784"/>
                  <a:gd name="connsiteX2" fmla="*/ 2083 w 45825"/>
                  <a:gd name="connsiteY2" fmla="*/ 41659 h 245784"/>
                  <a:gd name="connsiteX3" fmla="*/ 4166 w 45825"/>
                  <a:gd name="connsiteY3" fmla="*/ 47907 h 245784"/>
                  <a:gd name="connsiteX4" fmla="*/ 8332 w 45825"/>
                  <a:gd name="connsiteY4" fmla="*/ 54156 h 245784"/>
                  <a:gd name="connsiteX5" fmla="*/ 14581 w 45825"/>
                  <a:gd name="connsiteY5" fmla="*/ 58322 h 245784"/>
                  <a:gd name="connsiteX6" fmla="*/ 24995 w 45825"/>
                  <a:gd name="connsiteY6" fmla="*/ 68736 h 245784"/>
                  <a:gd name="connsiteX7" fmla="*/ 31244 w 45825"/>
                  <a:gd name="connsiteY7" fmla="*/ 81234 h 245784"/>
                  <a:gd name="connsiteX8" fmla="*/ 39576 w 45825"/>
                  <a:gd name="connsiteY8" fmla="*/ 93731 h 245784"/>
                  <a:gd name="connsiteX9" fmla="*/ 43742 w 45825"/>
                  <a:gd name="connsiteY9" fmla="*/ 99980 h 245784"/>
                  <a:gd name="connsiteX10" fmla="*/ 45825 w 45825"/>
                  <a:gd name="connsiteY10" fmla="*/ 106229 h 245784"/>
                  <a:gd name="connsiteX11" fmla="*/ 43742 w 45825"/>
                  <a:gd name="connsiteY11" fmla="*/ 139556 h 245784"/>
                  <a:gd name="connsiteX12" fmla="*/ 41659 w 45825"/>
                  <a:gd name="connsiteY12" fmla="*/ 145804 h 245784"/>
                  <a:gd name="connsiteX13" fmla="*/ 39576 w 45825"/>
                  <a:gd name="connsiteY13" fmla="*/ 156219 h 245784"/>
                  <a:gd name="connsiteX14" fmla="*/ 35410 w 45825"/>
                  <a:gd name="connsiteY14" fmla="*/ 162468 h 245784"/>
                  <a:gd name="connsiteX15" fmla="*/ 29161 w 45825"/>
                  <a:gd name="connsiteY15" fmla="*/ 183297 h 245784"/>
                  <a:gd name="connsiteX16" fmla="*/ 24995 w 45825"/>
                  <a:gd name="connsiteY16" fmla="*/ 189546 h 245784"/>
                  <a:gd name="connsiteX17" fmla="*/ 16664 w 45825"/>
                  <a:gd name="connsiteY17" fmla="*/ 208292 h 245784"/>
                  <a:gd name="connsiteX18" fmla="*/ 14581 w 45825"/>
                  <a:gd name="connsiteY18" fmla="*/ 220789 h 245784"/>
                  <a:gd name="connsiteX19" fmla="*/ 10415 w 45825"/>
                  <a:gd name="connsiteY19" fmla="*/ 227038 h 245784"/>
                  <a:gd name="connsiteX20" fmla="*/ 12498 w 45825"/>
                  <a:gd name="connsiteY20" fmla="*/ 245784 h 245784"/>
                  <a:gd name="connsiteX21" fmla="*/ 12498 w 45825"/>
                  <a:gd name="connsiteY21" fmla="*/ 245784 h 245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45825" h="245784">
                    <a:moveTo>
                      <a:pt x="0" y="0"/>
                    </a:moveTo>
                    <a:lnTo>
                      <a:pt x="0" y="0"/>
                    </a:lnTo>
                    <a:cubicBezTo>
                      <a:pt x="694" y="13886"/>
                      <a:pt x="878" y="27808"/>
                      <a:pt x="2083" y="41659"/>
                    </a:cubicBezTo>
                    <a:cubicBezTo>
                      <a:pt x="2273" y="43846"/>
                      <a:pt x="3184" y="45943"/>
                      <a:pt x="4166" y="47907"/>
                    </a:cubicBezTo>
                    <a:cubicBezTo>
                      <a:pt x="5286" y="50146"/>
                      <a:pt x="6562" y="52386"/>
                      <a:pt x="8332" y="54156"/>
                    </a:cubicBezTo>
                    <a:cubicBezTo>
                      <a:pt x="10102" y="55926"/>
                      <a:pt x="12498" y="56933"/>
                      <a:pt x="14581" y="58322"/>
                    </a:cubicBezTo>
                    <a:cubicBezTo>
                      <a:pt x="25691" y="74988"/>
                      <a:pt x="11109" y="54850"/>
                      <a:pt x="24995" y="68736"/>
                    </a:cubicBezTo>
                    <a:cubicBezTo>
                      <a:pt x="31931" y="75672"/>
                      <a:pt x="27008" y="73610"/>
                      <a:pt x="31244" y="81234"/>
                    </a:cubicBezTo>
                    <a:cubicBezTo>
                      <a:pt x="33676" y="85611"/>
                      <a:pt x="36799" y="89565"/>
                      <a:pt x="39576" y="93731"/>
                    </a:cubicBezTo>
                    <a:cubicBezTo>
                      <a:pt x="40965" y="95814"/>
                      <a:pt x="42950" y="97605"/>
                      <a:pt x="43742" y="99980"/>
                    </a:cubicBezTo>
                    <a:lnTo>
                      <a:pt x="45825" y="106229"/>
                    </a:lnTo>
                    <a:cubicBezTo>
                      <a:pt x="45131" y="117338"/>
                      <a:pt x="44907" y="128486"/>
                      <a:pt x="43742" y="139556"/>
                    </a:cubicBezTo>
                    <a:cubicBezTo>
                      <a:pt x="43512" y="141739"/>
                      <a:pt x="42191" y="143674"/>
                      <a:pt x="41659" y="145804"/>
                    </a:cubicBezTo>
                    <a:cubicBezTo>
                      <a:pt x="40800" y="149239"/>
                      <a:pt x="40819" y="152904"/>
                      <a:pt x="39576" y="156219"/>
                    </a:cubicBezTo>
                    <a:cubicBezTo>
                      <a:pt x="38697" y="158563"/>
                      <a:pt x="36799" y="160385"/>
                      <a:pt x="35410" y="162468"/>
                    </a:cubicBezTo>
                    <a:cubicBezTo>
                      <a:pt x="34246" y="167125"/>
                      <a:pt x="31189" y="180255"/>
                      <a:pt x="29161" y="183297"/>
                    </a:cubicBezTo>
                    <a:cubicBezTo>
                      <a:pt x="27772" y="185380"/>
                      <a:pt x="26012" y="187258"/>
                      <a:pt x="24995" y="189546"/>
                    </a:cubicBezTo>
                    <a:cubicBezTo>
                      <a:pt x="15081" y="211855"/>
                      <a:pt x="26092" y="194150"/>
                      <a:pt x="16664" y="208292"/>
                    </a:cubicBezTo>
                    <a:cubicBezTo>
                      <a:pt x="15970" y="212458"/>
                      <a:pt x="15917" y="216783"/>
                      <a:pt x="14581" y="220789"/>
                    </a:cubicBezTo>
                    <a:cubicBezTo>
                      <a:pt x="13789" y="223164"/>
                      <a:pt x="10623" y="224543"/>
                      <a:pt x="10415" y="227038"/>
                    </a:cubicBezTo>
                    <a:cubicBezTo>
                      <a:pt x="9893" y="233303"/>
                      <a:pt x="12498" y="245784"/>
                      <a:pt x="12498" y="245784"/>
                    </a:cubicBezTo>
                    <a:lnTo>
                      <a:pt x="12498" y="245784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166" name="Freeform: Shape 4634">
                <a:extLst>
                  <a:ext uri="{FF2B5EF4-FFF2-40B4-BE49-F238E27FC236}">
                    <a16:creationId xmlns:a16="http://schemas.microsoft.com/office/drawing/2014/main" id="{9C5D0CF5-9F8B-1473-1687-DF5340895453}"/>
                  </a:ext>
                </a:extLst>
              </p:cNvPr>
              <p:cNvSpPr/>
              <p:nvPr/>
            </p:nvSpPr>
            <p:spPr>
              <a:xfrm>
                <a:off x="5739513" y="2612250"/>
                <a:ext cx="21579" cy="131250"/>
              </a:xfrm>
              <a:custGeom>
                <a:avLst/>
                <a:gdLst>
                  <a:gd name="connsiteX0" fmla="*/ 4304 w 39714"/>
                  <a:gd name="connsiteY0" fmla="*/ 0 h 239535"/>
                  <a:gd name="connsiteX1" fmla="*/ 4304 w 39714"/>
                  <a:gd name="connsiteY1" fmla="*/ 0 h 239535"/>
                  <a:gd name="connsiteX2" fmla="*/ 138 w 39714"/>
                  <a:gd name="connsiteY2" fmla="*/ 18746 h 239535"/>
                  <a:gd name="connsiteX3" fmla="*/ 6387 w 39714"/>
                  <a:gd name="connsiteY3" fmla="*/ 52072 h 239535"/>
                  <a:gd name="connsiteX4" fmla="*/ 8470 w 39714"/>
                  <a:gd name="connsiteY4" fmla="*/ 58321 h 239535"/>
                  <a:gd name="connsiteX5" fmla="*/ 14719 w 39714"/>
                  <a:gd name="connsiteY5" fmla="*/ 62487 h 239535"/>
                  <a:gd name="connsiteX6" fmla="*/ 18885 w 39714"/>
                  <a:gd name="connsiteY6" fmla="*/ 68736 h 239535"/>
                  <a:gd name="connsiteX7" fmla="*/ 35548 w 39714"/>
                  <a:gd name="connsiteY7" fmla="*/ 87482 h 239535"/>
                  <a:gd name="connsiteX8" fmla="*/ 39714 w 39714"/>
                  <a:gd name="connsiteY8" fmla="*/ 99979 h 239535"/>
                  <a:gd name="connsiteX9" fmla="*/ 37631 w 39714"/>
                  <a:gd name="connsiteY9" fmla="*/ 147887 h 239535"/>
                  <a:gd name="connsiteX10" fmla="*/ 31382 w 39714"/>
                  <a:gd name="connsiteY10" fmla="*/ 179130 h 239535"/>
                  <a:gd name="connsiteX11" fmla="*/ 27216 w 39714"/>
                  <a:gd name="connsiteY11" fmla="*/ 185379 h 239535"/>
                  <a:gd name="connsiteX12" fmla="*/ 25133 w 39714"/>
                  <a:gd name="connsiteY12" fmla="*/ 193711 h 239535"/>
                  <a:gd name="connsiteX13" fmla="*/ 23051 w 39714"/>
                  <a:gd name="connsiteY13" fmla="*/ 199959 h 239535"/>
                  <a:gd name="connsiteX14" fmla="*/ 23051 w 39714"/>
                  <a:gd name="connsiteY14" fmla="*/ 239535 h 239535"/>
                  <a:gd name="connsiteX15" fmla="*/ 23051 w 39714"/>
                  <a:gd name="connsiteY15" fmla="*/ 239535 h 239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9714" h="239535">
                    <a:moveTo>
                      <a:pt x="4304" y="0"/>
                    </a:moveTo>
                    <a:lnTo>
                      <a:pt x="4304" y="0"/>
                    </a:lnTo>
                    <a:cubicBezTo>
                      <a:pt x="2915" y="6249"/>
                      <a:pt x="474" y="12354"/>
                      <a:pt x="138" y="18746"/>
                    </a:cubicBezTo>
                    <a:cubicBezTo>
                      <a:pt x="-664" y="33980"/>
                      <a:pt x="2105" y="39226"/>
                      <a:pt x="6387" y="52072"/>
                    </a:cubicBezTo>
                    <a:cubicBezTo>
                      <a:pt x="7081" y="54155"/>
                      <a:pt x="6643" y="57103"/>
                      <a:pt x="8470" y="58321"/>
                    </a:cubicBezTo>
                    <a:lnTo>
                      <a:pt x="14719" y="62487"/>
                    </a:lnTo>
                    <a:cubicBezTo>
                      <a:pt x="16108" y="64570"/>
                      <a:pt x="17222" y="66865"/>
                      <a:pt x="18885" y="68736"/>
                    </a:cubicBezTo>
                    <a:cubicBezTo>
                      <a:pt x="23076" y="73451"/>
                      <a:pt x="32396" y="80391"/>
                      <a:pt x="35548" y="87482"/>
                    </a:cubicBezTo>
                    <a:cubicBezTo>
                      <a:pt x="37331" y="91495"/>
                      <a:pt x="39714" y="99979"/>
                      <a:pt x="39714" y="99979"/>
                    </a:cubicBezTo>
                    <a:cubicBezTo>
                      <a:pt x="39020" y="115948"/>
                      <a:pt x="38628" y="131934"/>
                      <a:pt x="37631" y="147887"/>
                    </a:cubicBezTo>
                    <a:cubicBezTo>
                      <a:pt x="37214" y="154555"/>
                      <a:pt x="36034" y="172152"/>
                      <a:pt x="31382" y="179130"/>
                    </a:cubicBezTo>
                    <a:lnTo>
                      <a:pt x="27216" y="185379"/>
                    </a:lnTo>
                    <a:cubicBezTo>
                      <a:pt x="26522" y="188156"/>
                      <a:pt x="25919" y="190958"/>
                      <a:pt x="25133" y="193711"/>
                    </a:cubicBezTo>
                    <a:cubicBezTo>
                      <a:pt x="24530" y="195822"/>
                      <a:pt x="23151" y="197766"/>
                      <a:pt x="23051" y="199959"/>
                    </a:cubicBezTo>
                    <a:cubicBezTo>
                      <a:pt x="22452" y="213137"/>
                      <a:pt x="23051" y="226343"/>
                      <a:pt x="23051" y="239535"/>
                    </a:cubicBezTo>
                    <a:lnTo>
                      <a:pt x="23051" y="239535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167" name="Freeform: Shape 4635">
                <a:extLst>
                  <a:ext uri="{FF2B5EF4-FFF2-40B4-BE49-F238E27FC236}">
                    <a16:creationId xmlns:a16="http://schemas.microsoft.com/office/drawing/2014/main" id="{A47C5222-D6D7-7573-E0BD-EFE5D9CE8405}"/>
                  </a:ext>
                </a:extLst>
              </p:cNvPr>
              <p:cNvSpPr/>
              <p:nvPr/>
            </p:nvSpPr>
            <p:spPr>
              <a:xfrm>
                <a:off x="5766751" y="2607684"/>
                <a:ext cx="21537" cy="140380"/>
              </a:xfrm>
              <a:custGeom>
                <a:avLst/>
                <a:gdLst>
                  <a:gd name="connsiteX0" fmla="*/ 0 w 39637"/>
                  <a:gd name="connsiteY0" fmla="*/ 0 h 256198"/>
                  <a:gd name="connsiteX1" fmla="*/ 0 w 39637"/>
                  <a:gd name="connsiteY1" fmla="*/ 0 h 256198"/>
                  <a:gd name="connsiteX2" fmla="*/ 4166 w 39637"/>
                  <a:gd name="connsiteY2" fmla="*/ 18746 h 256198"/>
                  <a:gd name="connsiteX3" fmla="*/ 10415 w 39637"/>
                  <a:gd name="connsiteY3" fmla="*/ 31244 h 256198"/>
                  <a:gd name="connsiteX4" fmla="*/ 16664 w 39637"/>
                  <a:gd name="connsiteY4" fmla="*/ 35409 h 256198"/>
                  <a:gd name="connsiteX5" fmla="*/ 18747 w 39637"/>
                  <a:gd name="connsiteY5" fmla="*/ 41658 h 256198"/>
                  <a:gd name="connsiteX6" fmla="*/ 27078 w 39637"/>
                  <a:gd name="connsiteY6" fmla="*/ 54156 h 256198"/>
                  <a:gd name="connsiteX7" fmla="*/ 31244 w 39637"/>
                  <a:gd name="connsiteY7" fmla="*/ 66653 h 256198"/>
                  <a:gd name="connsiteX8" fmla="*/ 35410 w 39637"/>
                  <a:gd name="connsiteY8" fmla="*/ 79151 h 256198"/>
                  <a:gd name="connsiteX9" fmla="*/ 37493 w 39637"/>
                  <a:gd name="connsiteY9" fmla="*/ 85399 h 256198"/>
                  <a:gd name="connsiteX10" fmla="*/ 37493 w 39637"/>
                  <a:gd name="connsiteY10" fmla="*/ 141638 h 256198"/>
                  <a:gd name="connsiteX11" fmla="*/ 33327 w 39637"/>
                  <a:gd name="connsiteY11" fmla="*/ 172882 h 256198"/>
                  <a:gd name="connsiteX12" fmla="*/ 29161 w 39637"/>
                  <a:gd name="connsiteY12" fmla="*/ 179131 h 256198"/>
                  <a:gd name="connsiteX13" fmla="*/ 27078 w 39637"/>
                  <a:gd name="connsiteY13" fmla="*/ 185379 h 256198"/>
                  <a:gd name="connsiteX14" fmla="*/ 18747 w 39637"/>
                  <a:gd name="connsiteY14" fmla="*/ 197877 h 256198"/>
                  <a:gd name="connsiteX15" fmla="*/ 14581 w 39637"/>
                  <a:gd name="connsiteY15" fmla="*/ 210374 h 256198"/>
                  <a:gd name="connsiteX16" fmla="*/ 12498 w 39637"/>
                  <a:gd name="connsiteY16" fmla="*/ 216623 h 256198"/>
                  <a:gd name="connsiteX17" fmla="*/ 14581 w 39637"/>
                  <a:gd name="connsiteY17" fmla="*/ 245784 h 256198"/>
                  <a:gd name="connsiteX18" fmla="*/ 16664 w 39637"/>
                  <a:gd name="connsiteY18" fmla="*/ 254116 h 256198"/>
                  <a:gd name="connsiteX19" fmla="*/ 12498 w 39637"/>
                  <a:gd name="connsiteY19" fmla="*/ 256198 h 256198"/>
                  <a:gd name="connsiteX20" fmla="*/ 12498 w 39637"/>
                  <a:gd name="connsiteY20" fmla="*/ 256198 h 256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39637" h="256198">
                    <a:moveTo>
                      <a:pt x="0" y="0"/>
                    </a:moveTo>
                    <a:lnTo>
                      <a:pt x="0" y="0"/>
                    </a:lnTo>
                    <a:cubicBezTo>
                      <a:pt x="1389" y="6249"/>
                      <a:pt x="2613" y="12536"/>
                      <a:pt x="4166" y="18746"/>
                    </a:cubicBezTo>
                    <a:cubicBezTo>
                      <a:pt x="5295" y="23263"/>
                      <a:pt x="7021" y="27850"/>
                      <a:pt x="10415" y="31244"/>
                    </a:cubicBezTo>
                    <a:cubicBezTo>
                      <a:pt x="12185" y="33014"/>
                      <a:pt x="14581" y="34021"/>
                      <a:pt x="16664" y="35409"/>
                    </a:cubicBezTo>
                    <a:cubicBezTo>
                      <a:pt x="17358" y="37492"/>
                      <a:pt x="17681" y="39739"/>
                      <a:pt x="18747" y="41658"/>
                    </a:cubicBezTo>
                    <a:cubicBezTo>
                      <a:pt x="21178" y="46035"/>
                      <a:pt x="25495" y="49406"/>
                      <a:pt x="27078" y="54156"/>
                    </a:cubicBezTo>
                    <a:lnTo>
                      <a:pt x="31244" y="66653"/>
                    </a:lnTo>
                    <a:lnTo>
                      <a:pt x="35410" y="79151"/>
                    </a:lnTo>
                    <a:lnTo>
                      <a:pt x="37493" y="85399"/>
                    </a:lnTo>
                    <a:cubicBezTo>
                      <a:pt x="40443" y="117843"/>
                      <a:pt x="40259" y="102911"/>
                      <a:pt x="37493" y="141638"/>
                    </a:cubicBezTo>
                    <a:cubicBezTo>
                      <a:pt x="37105" y="147068"/>
                      <a:pt x="37561" y="164414"/>
                      <a:pt x="33327" y="172882"/>
                    </a:cubicBezTo>
                    <a:cubicBezTo>
                      <a:pt x="32207" y="175121"/>
                      <a:pt x="30281" y="176892"/>
                      <a:pt x="29161" y="179131"/>
                    </a:cubicBezTo>
                    <a:cubicBezTo>
                      <a:pt x="28179" y="181095"/>
                      <a:pt x="28144" y="183460"/>
                      <a:pt x="27078" y="185379"/>
                    </a:cubicBezTo>
                    <a:cubicBezTo>
                      <a:pt x="24647" y="189756"/>
                      <a:pt x="20330" y="193127"/>
                      <a:pt x="18747" y="197877"/>
                    </a:cubicBezTo>
                    <a:lnTo>
                      <a:pt x="14581" y="210374"/>
                    </a:lnTo>
                    <a:lnTo>
                      <a:pt x="12498" y="216623"/>
                    </a:lnTo>
                    <a:cubicBezTo>
                      <a:pt x="13192" y="226343"/>
                      <a:pt x="13505" y="236099"/>
                      <a:pt x="14581" y="245784"/>
                    </a:cubicBezTo>
                    <a:cubicBezTo>
                      <a:pt x="14897" y="248629"/>
                      <a:pt x="17225" y="251309"/>
                      <a:pt x="16664" y="254116"/>
                    </a:cubicBezTo>
                    <a:cubicBezTo>
                      <a:pt x="16360" y="255638"/>
                      <a:pt x="13887" y="255504"/>
                      <a:pt x="12498" y="256198"/>
                    </a:cubicBezTo>
                    <a:lnTo>
                      <a:pt x="12498" y="256198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168" name="Freeform: Shape 4636">
                <a:extLst>
                  <a:ext uri="{FF2B5EF4-FFF2-40B4-BE49-F238E27FC236}">
                    <a16:creationId xmlns:a16="http://schemas.microsoft.com/office/drawing/2014/main" id="{C850A469-2B0F-DA5D-FB7E-77AAD372D419}"/>
                  </a:ext>
                </a:extLst>
              </p:cNvPr>
              <p:cNvSpPr/>
              <p:nvPr/>
            </p:nvSpPr>
            <p:spPr>
              <a:xfrm>
                <a:off x="5792783" y="2606543"/>
                <a:ext cx="26602" cy="135815"/>
              </a:xfrm>
              <a:custGeom>
                <a:avLst/>
                <a:gdLst>
                  <a:gd name="connsiteX0" fmla="*/ 0 w 48958"/>
                  <a:gd name="connsiteY0" fmla="*/ 0 h 247867"/>
                  <a:gd name="connsiteX1" fmla="*/ 0 w 48958"/>
                  <a:gd name="connsiteY1" fmla="*/ 0 h 247867"/>
                  <a:gd name="connsiteX2" fmla="*/ 4165 w 48958"/>
                  <a:gd name="connsiteY2" fmla="*/ 35409 h 247867"/>
                  <a:gd name="connsiteX3" fmla="*/ 8331 w 48958"/>
                  <a:gd name="connsiteY3" fmla="*/ 41658 h 247867"/>
                  <a:gd name="connsiteX4" fmla="*/ 20829 w 48958"/>
                  <a:gd name="connsiteY4" fmla="*/ 52073 h 247867"/>
                  <a:gd name="connsiteX5" fmla="*/ 33326 w 48958"/>
                  <a:gd name="connsiteY5" fmla="*/ 62487 h 247867"/>
                  <a:gd name="connsiteX6" fmla="*/ 41658 w 48958"/>
                  <a:gd name="connsiteY6" fmla="*/ 74985 h 247867"/>
                  <a:gd name="connsiteX7" fmla="*/ 45824 w 48958"/>
                  <a:gd name="connsiteY7" fmla="*/ 91648 h 247867"/>
                  <a:gd name="connsiteX8" fmla="*/ 47907 w 48958"/>
                  <a:gd name="connsiteY8" fmla="*/ 97897 h 247867"/>
                  <a:gd name="connsiteX9" fmla="*/ 37492 w 48958"/>
                  <a:gd name="connsiteY9" fmla="*/ 162467 h 247867"/>
                  <a:gd name="connsiteX10" fmla="*/ 16663 w 48958"/>
                  <a:gd name="connsiteY10" fmla="*/ 187462 h 247867"/>
                  <a:gd name="connsiteX11" fmla="*/ 12497 w 48958"/>
                  <a:gd name="connsiteY11" fmla="*/ 193711 h 247867"/>
                  <a:gd name="connsiteX12" fmla="*/ 8331 w 48958"/>
                  <a:gd name="connsiteY12" fmla="*/ 199960 h 247867"/>
                  <a:gd name="connsiteX13" fmla="*/ 6248 w 48958"/>
                  <a:gd name="connsiteY13" fmla="*/ 212457 h 247867"/>
                  <a:gd name="connsiteX14" fmla="*/ 4165 w 48958"/>
                  <a:gd name="connsiteY14" fmla="*/ 218706 h 247867"/>
                  <a:gd name="connsiteX15" fmla="*/ 2082 w 48958"/>
                  <a:gd name="connsiteY15" fmla="*/ 247867 h 247867"/>
                  <a:gd name="connsiteX16" fmla="*/ 2082 w 48958"/>
                  <a:gd name="connsiteY16" fmla="*/ 245784 h 247867"/>
                  <a:gd name="connsiteX0" fmla="*/ 0 w 48958"/>
                  <a:gd name="connsiteY0" fmla="*/ 0 h 247867"/>
                  <a:gd name="connsiteX1" fmla="*/ 0 w 48958"/>
                  <a:gd name="connsiteY1" fmla="*/ 0 h 247867"/>
                  <a:gd name="connsiteX2" fmla="*/ 4165 w 48958"/>
                  <a:gd name="connsiteY2" fmla="*/ 35409 h 247867"/>
                  <a:gd name="connsiteX3" fmla="*/ 8331 w 48958"/>
                  <a:gd name="connsiteY3" fmla="*/ 41658 h 247867"/>
                  <a:gd name="connsiteX4" fmla="*/ 20829 w 48958"/>
                  <a:gd name="connsiteY4" fmla="*/ 52073 h 247867"/>
                  <a:gd name="connsiteX5" fmla="*/ 33326 w 48958"/>
                  <a:gd name="connsiteY5" fmla="*/ 62487 h 247867"/>
                  <a:gd name="connsiteX6" fmla="*/ 41658 w 48958"/>
                  <a:gd name="connsiteY6" fmla="*/ 74985 h 247867"/>
                  <a:gd name="connsiteX7" fmla="*/ 45824 w 48958"/>
                  <a:gd name="connsiteY7" fmla="*/ 91648 h 247867"/>
                  <a:gd name="connsiteX8" fmla="*/ 47907 w 48958"/>
                  <a:gd name="connsiteY8" fmla="*/ 97897 h 247867"/>
                  <a:gd name="connsiteX9" fmla="*/ 37492 w 48958"/>
                  <a:gd name="connsiteY9" fmla="*/ 162467 h 247867"/>
                  <a:gd name="connsiteX10" fmla="*/ 16663 w 48958"/>
                  <a:gd name="connsiteY10" fmla="*/ 187462 h 247867"/>
                  <a:gd name="connsiteX11" fmla="*/ 12497 w 48958"/>
                  <a:gd name="connsiteY11" fmla="*/ 193711 h 247867"/>
                  <a:gd name="connsiteX12" fmla="*/ 8331 w 48958"/>
                  <a:gd name="connsiteY12" fmla="*/ 199960 h 247867"/>
                  <a:gd name="connsiteX13" fmla="*/ 6248 w 48958"/>
                  <a:gd name="connsiteY13" fmla="*/ 212457 h 247867"/>
                  <a:gd name="connsiteX14" fmla="*/ 4165 w 48958"/>
                  <a:gd name="connsiteY14" fmla="*/ 218706 h 247867"/>
                  <a:gd name="connsiteX15" fmla="*/ 2082 w 48958"/>
                  <a:gd name="connsiteY15" fmla="*/ 247867 h 247867"/>
                  <a:gd name="connsiteX16" fmla="*/ 4165 w 48958"/>
                  <a:gd name="connsiteY16" fmla="*/ 245784 h 247867"/>
                  <a:gd name="connsiteX0" fmla="*/ 0 w 48958"/>
                  <a:gd name="connsiteY0" fmla="*/ 0 h 247867"/>
                  <a:gd name="connsiteX1" fmla="*/ 0 w 48958"/>
                  <a:gd name="connsiteY1" fmla="*/ 0 h 247867"/>
                  <a:gd name="connsiteX2" fmla="*/ 4165 w 48958"/>
                  <a:gd name="connsiteY2" fmla="*/ 35409 h 247867"/>
                  <a:gd name="connsiteX3" fmla="*/ 8331 w 48958"/>
                  <a:gd name="connsiteY3" fmla="*/ 41658 h 247867"/>
                  <a:gd name="connsiteX4" fmla="*/ 20829 w 48958"/>
                  <a:gd name="connsiteY4" fmla="*/ 52073 h 247867"/>
                  <a:gd name="connsiteX5" fmla="*/ 33326 w 48958"/>
                  <a:gd name="connsiteY5" fmla="*/ 62487 h 247867"/>
                  <a:gd name="connsiteX6" fmla="*/ 41658 w 48958"/>
                  <a:gd name="connsiteY6" fmla="*/ 74985 h 247867"/>
                  <a:gd name="connsiteX7" fmla="*/ 45824 w 48958"/>
                  <a:gd name="connsiteY7" fmla="*/ 91648 h 247867"/>
                  <a:gd name="connsiteX8" fmla="*/ 47907 w 48958"/>
                  <a:gd name="connsiteY8" fmla="*/ 97897 h 247867"/>
                  <a:gd name="connsiteX9" fmla="*/ 37492 w 48958"/>
                  <a:gd name="connsiteY9" fmla="*/ 162467 h 247867"/>
                  <a:gd name="connsiteX10" fmla="*/ 16663 w 48958"/>
                  <a:gd name="connsiteY10" fmla="*/ 187462 h 247867"/>
                  <a:gd name="connsiteX11" fmla="*/ 12497 w 48958"/>
                  <a:gd name="connsiteY11" fmla="*/ 193711 h 247867"/>
                  <a:gd name="connsiteX12" fmla="*/ 8331 w 48958"/>
                  <a:gd name="connsiteY12" fmla="*/ 199960 h 247867"/>
                  <a:gd name="connsiteX13" fmla="*/ 6248 w 48958"/>
                  <a:gd name="connsiteY13" fmla="*/ 212457 h 247867"/>
                  <a:gd name="connsiteX14" fmla="*/ 4165 w 48958"/>
                  <a:gd name="connsiteY14" fmla="*/ 218706 h 247867"/>
                  <a:gd name="connsiteX15" fmla="*/ 2082 w 48958"/>
                  <a:gd name="connsiteY15" fmla="*/ 247867 h 247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8958" h="247867">
                    <a:moveTo>
                      <a:pt x="0" y="0"/>
                    </a:moveTo>
                    <a:lnTo>
                      <a:pt x="0" y="0"/>
                    </a:lnTo>
                    <a:cubicBezTo>
                      <a:pt x="89" y="805"/>
                      <a:pt x="3626" y="33434"/>
                      <a:pt x="4165" y="35409"/>
                    </a:cubicBezTo>
                    <a:cubicBezTo>
                      <a:pt x="4824" y="37824"/>
                      <a:pt x="6728" y="39735"/>
                      <a:pt x="8331" y="41658"/>
                    </a:cubicBezTo>
                    <a:cubicBezTo>
                      <a:pt x="16631" y="51618"/>
                      <a:pt x="11890" y="44623"/>
                      <a:pt x="20829" y="52073"/>
                    </a:cubicBezTo>
                    <a:cubicBezTo>
                      <a:pt x="36858" y="65432"/>
                      <a:pt x="17817" y="52150"/>
                      <a:pt x="33326" y="62487"/>
                    </a:cubicBezTo>
                    <a:cubicBezTo>
                      <a:pt x="36103" y="66653"/>
                      <a:pt x="40075" y="70235"/>
                      <a:pt x="41658" y="74985"/>
                    </a:cubicBezTo>
                    <a:cubicBezTo>
                      <a:pt x="46420" y="89270"/>
                      <a:pt x="40797" y="71540"/>
                      <a:pt x="45824" y="91648"/>
                    </a:cubicBezTo>
                    <a:cubicBezTo>
                      <a:pt x="46357" y="93778"/>
                      <a:pt x="47213" y="95814"/>
                      <a:pt x="47907" y="97897"/>
                    </a:cubicBezTo>
                    <a:cubicBezTo>
                      <a:pt x="46922" y="122514"/>
                      <a:pt x="55086" y="144871"/>
                      <a:pt x="37492" y="162467"/>
                    </a:cubicBezTo>
                    <a:cubicBezTo>
                      <a:pt x="21456" y="178504"/>
                      <a:pt x="28262" y="170064"/>
                      <a:pt x="16663" y="187462"/>
                    </a:cubicBezTo>
                    <a:lnTo>
                      <a:pt x="12497" y="193711"/>
                    </a:lnTo>
                    <a:lnTo>
                      <a:pt x="8331" y="199960"/>
                    </a:lnTo>
                    <a:cubicBezTo>
                      <a:pt x="7637" y="204126"/>
                      <a:pt x="7164" y="208334"/>
                      <a:pt x="6248" y="212457"/>
                    </a:cubicBezTo>
                    <a:cubicBezTo>
                      <a:pt x="5772" y="214600"/>
                      <a:pt x="4526" y="216540"/>
                      <a:pt x="4165" y="218706"/>
                    </a:cubicBezTo>
                    <a:cubicBezTo>
                      <a:pt x="1699" y="233504"/>
                      <a:pt x="2082" y="243354"/>
                      <a:pt x="2082" y="247867"/>
                    </a:cubicBez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169" name="Freeform: Shape 4637">
                <a:extLst>
                  <a:ext uri="{FF2B5EF4-FFF2-40B4-BE49-F238E27FC236}">
                    <a16:creationId xmlns:a16="http://schemas.microsoft.com/office/drawing/2014/main" id="{ED79070F-49E6-1137-6E34-06EEE3DD64AA}"/>
                  </a:ext>
                </a:extLst>
              </p:cNvPr>
              <p:cNvSpPr/>
              <p:nvPr/>
            </p:nvSpPr>
            <p:spPr>
              <a:xfrm>
                <a:off x="5817682" y="2608826"/>
                <a:ext cx="21504" cy="135815"/>
              </a:xfrm>
              <a:custGeom>
                <a:avLst/>
                <a:gdLst>
                  <a:gd name="connsiteX0" fmla="*/ 0 w 39575"/>
                  <a:gd name="connsiteY0" fmla="*/ 0 h 247867"/>
                  <a:gd name="connsiteX1" fmla="*/ 0 w 39575"/>
                  <a:gd name="connsiteY1" fmla="*/ 0 h 247867"/>
                  <a:gd name="connsiteX2" fmla="*/ 4165 w 39575"/>
                  <a:gd name="connsiteY2" fmla="*/ 29161 h 247867"/>
                  <a:gd name="connsiteX3" fmla="*/ 8331 w 39575"/>
                  <a:gd name="connsiteY3" fmla="*/ 35409 h 247867"/>
                  <a:gd name="connsiteX4" fmla="*/ 18746 w 39575"/>
                  <a:gd name="connsiteY4" fmla="*/ 52073 h 247867"/>
                  <a:gd name="connsiteX5" fmla="*/ 22912 w 39575"/>
                  <a:gd name="connsiteY5" fmla="*/ 64570 h 247867"/>
                  <a:gd name="connsiteX6" fmla="*/ 24995 w 39575"/>
                  <a:gd name="connsiteY6" fmla="*/ 74985 h 247867"/>
                  <a:gd name="connsiteX7" fmla="*/ 33326 w 39575"/>
                  <a:gd name="connsiteY7" fmla="*/ 87482 h 247867"/>
                  <a:gd name="connsiteX8" fmla="*/ 37492 w 39575"/>
                  <a:gd name="connsiteY8" fmla="*/ 93731 h 247867"/>
                  <a:gd name="connsiteX9" fmla="*/ 39575 w 39575"/>
                  <a:gd name="connsiteY9" fmla="*/ 99980 h 247867"/>
                  <a:gd name="connsiteX10" fmla="*/ 37492 w 39575"/>
                  <a:gd name="connsiteY10" fmla="*/ 120809 h 247867"/>
                  <a:gd name="connsiteX11" fmla="*/ 35409 w 39575"/>
                  <a:gd name="connsiteY11" fmla="*/ 127058 h 247867"/>
                  <a:gd name="connsiteX12" fmla="*/ 33326 w 39575"/>
                  <a:gd name="connsiteY12" fmla="*/ 160384 h 247867"/>
                  <a:gd name="connsiteX13" fmla="*/ 31243 w 39575"/>
                  <a:gd name="connsiteY13" fmla="*/ 166633 h 247867"/>
                  <a:gd name="connsiteX14" fmla="*/ 24995 w 39575"/>
                  <a:gd name="connsiteY14" fmla="*/ 168716 h 247867"/>
                  <a:gd name="connsiteX15" fmla="*/ 20829 w 39575"/>
                  <a:gd name="connsiteY15" fmla="*/ 174965 h 247867"/>
                  <a:gd name="connsiteX16" fmla="*/ 16663 w 39575"/>
                  <a:gd name="connsiteY16" fmla="*/ 193711 h 247867"/>
                  <a:gd name="connsiteX17" fmla="*/ 14580 w 39575"/>
                  <a:gd name="connsiteY17" fmla="*/ 199960 h 247867"/>
                  <a:gd name="connsiteX18" fmla="*/ 10414 w 39575"/>
                  <a:gd name="connsiteY18" fmla="*/ 214540 h 247867"/>
                  <a:gd name="connsiteX19" fmla="*/ 8331 w 39575"/>
                  <a:gd name="connsiteY19" fmla="*/ 247867 h 247867"/>
                  <a:gd name="connsiteX20" fmla="*/ 8331 w 39575"/>
                  <a:gd name="connsiteY20" fmla="*/ 247867 h 247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39575" h="247867">
                    <a:moveTo>
                      <a:pt x="0" y="0"/>
                    </a:moveTo>
                    <a:lnTo>
                      <a:pt x="0" y="0"/>
                    </a:lnTo>
                    <a:cubicBezTo>
                      <a:pt x="531" y="5837"/>
                      <a:pt x="160" y="21151"/>
                      <a:pt x="4165" y="29161"/>
                    </a:cubicBezTo>
                    <a:cubicBezTo>
                      <a:pt x="5284" y="31400"/>
                      <a:pt x="6942" y="33326"/>
                      <a:pt x="8331" y="35409"/>
                    </a:cubicBezTo>
                    <a:cubicBezTo>
                      <a:pt x="13289" y="50282"/>
                      <a:pt x="8843" y="45471"/>
                      <a:pt x="18746" y="52073"/>
                    </a:cubicBezTo>
                    <a:cubicBezTo>
                      <a:pt x="20135" y="56239"/>
                      <a:pt x="22051" y="60264"/>
                      <a:pt x="22912" y="64570"/>
                    </a:cubicBezTo>
                    <a:cubicBezTo>
                      <a:pt x="23606" y="68042"/>
                      <a:pt x="23530" y="71762"/>
                      <a:pt x="24995" y="74985"/>
                    </a:cubicBezTo>
                    <a:cubicBezTo>
                      <a:pt x="27067" y="79543"/>
                      <a:pt x="30549" y="83316"/>
                      <a:pt x="33326" y="87482"/>
                    </a:cubicBezTo>
                    <a:cubicBezTo>
                      <a:pt x="34715" y="89565"/>
                      <a:pt x="36700" y="91356"/>
                      <a:pt x="37492" y="93731"/>
                    </a:cubicBezTo>
                    <a:lnTo>
                      <a:pt x="39575" y="99980"/>
                    </a:lnTo>
                    <a:cubicBezTo>
                      <a:pt x="38881" y="106923"/>
                      <a:pt x="38553" y="113913"/>
                      <a:pt x="37492" y="120809"/>
                    </a:cubicBezTo>
                    <a:cubicBezTo>
                      <a:pt x="37158" y="122979"/>
                      <a:pt x="35639" y="124874"/>
                      <a:pt x="35409" y="127058"/>
                    </a:cubicBezTo>
                    <a:cubicBezTo>
                      <a:pt x="34244" y="138127"/>
                      <a:pt x="34491" y="149315"/>
                      <a:pt x="33326" y="160384"/>
                    </a:cubicBezTo>
                    <a:cubicBezTo>
                      <a:pt x="33096" y="162568"/>
                      <a:pt x="32795" y="165080"/>
                      <a:pt x="31243" y="166633"/>
                    </a:cubicBezTo>
                    <a:cubicBezTo>
                      <a:pt x="29691" y="168185"/>
                      <a:pt x="27078" y="168022"/>
                      <a:pt x="24995" y="168716"/>
                    </a:cubicBezTo>
                    <a:cubicBezTo>
                      <a:pt x="23606" y="170799"/>
                      <a:pt x="21949" y="172726"/>
                      <a:pt x="20829" y="174965"/>
                    </a:cubicBezTo>
                    <a:cubicBezTo>
                      <a:pt x="18015" y="180592"/>
                      <a:pt x="17943" y="187949"/>
                      <a:pt x="16663" y="193711"/>
                    </a:cubicBezTo>
                    <a:cubicBezTo>
                      <a:pt x="16187" y="195854"/>
                      <a:pt x="15183" y="197849"/>
                      <a:pt x="14580" y="199960"/>
                    </a:cubicBezTo>
                    <a:cubicBezTo>
                      <a:pt x="9349" y="218268"/>
                      <a:pt x="15408" y="199557"/>
                      <a:pt x="10414" y="214540"/>
                    </a:cubicBezTo>
                    <a:cubicBezTo>
                      <a:pt x="8285" y="246477"/>
                      <a:pt x="8331" y="235346"/>
                      <a:pt x="8331" y="247867"/>
                    </a:cubicBezTo>
                    <a:lnTo>
                      <a:pt x="8331" y="247867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170" name="Freeform: Shape 4638">
                <a:extLst>
                  <a:ext uri="{FF2B5EF4-FFF2-40B4-BE49-F238E27FC236}">
                    <a16:creationId xmlns:a16="http://schemas.microsoft.com/office/drawing/2014/main" id="{2B8B1BA6-5B6C-EA1C-F7E2-4E7D3650485B}"/>
                  </a:ext>
                </a:extLst>
              </p:cNvPr>
              <p:cNvSpPr/>
              <p:nvPr/>
            </p:nvSpPr>
            <p:spPr>
              <a:xfrm>
                <a:off x="5845977" y="2614532"/>
                <a:ext cx="20372" cy="136956"/>
              </a:xfrm>
              <a:custGeom>
                <a:avLst/>
                <a:gdLst>
                  <a:gd name="connsiteX0" fmla="*/ 0 w 37492"/>
                  <a:gd name="connsiteY0" fmla="*/ 0 h 249950"/>
                  <a:gd name="connsiteX1" fmla="*/ 0 w 37492"/>
                  <a:gd name="connsiteY1" fmla="*/ 0 h 249950"/>
                  <a:gd name="connsiteX2" fmla="*/ 2082 w 37492"/>
                  <a:gd name="connsiteY2" fmla="*/ 18747 h 249950"/>
                  <a:gd name="connsiteX3" fmla="*/ 6248 w 37492"/>
                  <a:gd name="connsiteY3" fmla="*/ 24995 h 249950"/>
                  <a:gd name="connsiteX4" fmla="*/ 8331 w 37492"/>
                  <a:gd name="connsiteY4" fmla="*/ 31244 h 249950"/>
                  <a:gd name="connsiteX5" fmla="*/ 12497 w 37492"/>
                  <a:gd name="connsiteY5" fmla="*/ 37493 h 249950"/>
                  <a:gd name="connsiteX6" fmla="*/ 16663 w 37492"/>
                  <a:gd name="connsiteY6" fmla="*/ 49990 h 249950"/>
                  <a:gd name="connsiteX7" fmla="*/ 18746 w 37492"/>
                  <a:gd name="connsiteY7" fmla="*/ 64571 h 249950"/>
                  <a:gd name="connsiteX8" fmla="*/ 24995 w 37492"/>
                  <a:gd name="connsiteY8" fmla="*/ 83317 h 249950"/>
                  <a:gd name="connsiteX9" fmla="*/ 29160 w 37492"/>
                  <a:gd name="connsiteY9" fmla="*/ 95814 h 249950"/>
                  <a:gd name="connsiteX10" fmla="*/ 33326 w 37492"/>
                  <a:gd name="connsiteY10" fmla="*/ 102063 h 249950"/>
                  <a:gd name="connsiteX11" fmla="*/ 35409 w 37492"/>
                  <a:gd name="connsiteY11" fmla="*/ 110395 h 249950"/>
                  <a:gd name="connsiteX12" fmla="*/ 37492 w 37492"/>
                  <a:gd name="connsiteY12" fmla="*/ 116644 h 249950"/>
                  <a:gd name="connsiteX13" fmla="*/ 35409 w 37492"/>
                  <a:gd name="connsiteY13" fmla="*/ 158302 h 249950"/>
                  <a:gd name="connsiteX14" fmla="*/ 29160 w 37492"/>
                  <a:gd name="connsiteY14" fmla="*/ 172882 h 249950"/>
                  <a:gd name="connsiteX15" fmla="*/ 22912 w 37492"/>
                  <a:gd name="connsiteY15" fmla="*/ 177048 h 249950"/>
                  <a:gd name="connsiteX16" fmla="*/ 18746 w 37492"/>
                  <a:gd name="connsiteY16" fmla="*/ 183297 h 249950"/>
                  <a:gd name="connsiteX17" fmla="*/ 14580 w 37492"/>
                  <a:gd name="connsiteY17" fmla="*/ 195794 h 249950"/>
                  <a:gd name="connsiteX18" fmla="*/ 8331 w 37492"/>
                  <a:gd name="connsiteY18" fmla="*/ 199960 h 249950"/>
                  <a:gd name="connsiteX19" fmla="*/ 6248 w 37492"/>
                  <a:gd name="connsiteY19" fmla="*/ 208292 h 249950"/>
                  <a:gd name="connsiteX20" fmla="*/ 4165 w 37492"/>
                  <a:gd name="connsiteY20" fmla="*/ 214541 h 249950"/>
                  <a:gd name="connsiteX21" fmla="*/ 6248 w 37492"/>
                  <a:gd name="connsiteY21" fmla="*/ 249950 h 249950"/>
                  <a:gd name="connsiteX22" fmla="*/ 6248 w 37492"/>
                  <a:gd name="connsiteY22" fmla="*/ 249950 h 249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37492" h="249950">
                    <a:moveTo>
                      <a:pt x="0" y="0"/>
                    </a:moveTo>
                    <a:lnTo>
                      <a:pt x="0" y="0"/>
                    </a:lnTo>
                    <a:cubicBezTo>
                      <a:pt x="694" y="6249"/>
                      <a:pt x="557" y="12647"/>
                      <a:pt x="2082" y="18747"/>
                    </a:cubicBezTo>
                    <a:cubicBezTo>
                      <a:pt x="2689" y="21175"/>
                      <a:pt x="5128" y="22756"/>
                      <a:pt x="6248" y="24995"/>
                    </a:cubicBezTo>
                    <a:cubicBezTo>
                      <a:pt x="7230" y="26959"/>
                      <a:pt x="7349" y="29280"/>
                      <a:pt x="8331" y="31244"/>
                    </a:cubicBezTo>
                    <a:cubicBezTo>
                      <a:pt x="9451" y="33483"/>
                      <a:pt x="11480" y="35205"/>
                      <a:pt x="12497" y="37493"/>
                    </a:cubicBezTo>
                    <a:cubicBezTo>
                      <a:pt x="14280" y="41506"/>
                      <a:pt x="16663" y="49990"/>
                      <a:pt x="16663" y="49990"/>
                    </a:cubicBezTo>
                    <a:cubicBezTo>
                      <a:pt x="17357" y="54850"/>
                      <a:pt x="17642" y="59787"/>
                      <a:pt x="18746" y="64571"/>
                    </a:cubicBezTo>
                    <a:cubicBezTo>
                      <a:pt x="18746" y="64572"/>
                      <a:pt x="23954" y="80192"/>
                      <a:pt x="24995" y="83317"/>
                    </a:cubicBezTo>
                    <a:cubicBezTo>
                      <a:pt x="24997" y="83322"/>
                      <a:pt x="29156" y="95809"/>
                      <a:pt x="29160" y="95814"/>
                    </a:cubicBezTo>
                    <a:lnTo>
                      <a:pt x="33326" y="102063"/>
                    </a:lnTo>
                    <a:cubicBezTo>
                      <a:pt x="34020" y="104840"/>
                      <a:pt x="34623" y="107642"/>
                      <a:pt x="35409" y="110395"/>
                    </a:cubicBezTo>
                    <a:cubicBezTo>
                      <a:pt x="36012" y="112506"/>
                      <a:pt x="37492" y="114448"/>
                      <a:pt x="37492" y="116644"/>
                    </a:cubicBezTo>
                    <a:cubicBezTo>
                      <a:pt x="37492" y="130547"/>
                      <a:pt x="36564" y="144447"/>
                      <a:pt x="35409" y="158302"/>
                    </a:cubicBezTo>
                    <a:cubicBezTo>
                      <a:pt x="34974" y="163518"/>
                      <a:pt x="32942" y="169100"/>
                      <a:pt x="29160" y="172882"/>
                    </a:cubicBezTo>
                    <a:cubicBezTo>
                      <a:pt x="27390" y="174652"/>
                      <a:pt x="24995" y="175659"/>
                      <a:pt x="22912" y="177048"/>
                    </a:cubicBezTo>
                    <a:cubicBezTo>
                      <a:pt x="21523" y="179131"/>
                      <a:pt x="19763" y="181009"/>
                      <a:pt x="18746" y="183297"/>
                    </a:cubicBezTo>
                    <a:cubicBezTo>
                      <a:pt x="16963" y="187310"/>
                      <a:pt x="18234" y="193358"/>
                      <a:pt x="14580" y="195794"/>
                    </a:cubicBezTo>
                    <a:lnTo>
                      <a:pt x="8331" y="199960"/>
                    </a:lnTo>
                    <a:cubicBezTo>
                      <a:pt x="7637" y="202737"/>
                      <a:pt x="7034" y="205539"/>
                      <a:pt x="6248" y="208292"/>
                    </a:cubicBezTo>
                    <a:cubicBezTo>
                      <a:pt x="5645" y="210403"/>
                      <a:pt x="4165" y="212345"/>
                      <a:pt x="4165" y="214541"/>
                    </a:cubicBezTo>
                    <a:cubicBezTo>
                      <a:pt x="4165" y="226364"/>
                      <a:pt x="6248" y="249950"/>
                      <a:pt x="6248" y="249950"/>
                    </a:cubicBezTo>
                    <a:lnTo>
                      <a:pt x="6248" y="249950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171" name="Freeform: Shape 4639">
                <a:extLst>
                  <a:ext uri="{FF2B5EF4-FFF2-40B4-BE49-F238E27FC236}">
                    <a16:creationId xmlns:a16="http://schemas.microsoft.com/office/drawing/2014/main" id="{8B9B0674-BBD8-A2DE-11E3-BD0F550E6EE4}"/>
                  </a:ext>
                </a:extLst>
              </p:cNvPr>
              <p:cNvSpPr/>
              <p:nvPr/>
            </p:nvSpPr>
            <p:spPr>
              <a:xfrm>
                <a:off x="5870876" y="2617956"/>
                <a:ext cx="15845" cy="136956"/>
              </a:xfrm>
              <a:custGeom>
                <a:avLst/>
                <a:gdLst>
                  <a:gd name="connsiteX0" fmla="*/ 0 w 29161"/>
                  <a:gd name="connsiteY0" fmla="*/ 0 h 249950"/>
                  <a:gd name="connsiteX1" fmla="*/ 0 w 29161"/>
                  <a:gd name="connsiteY1" fmla="*/ 0 h 249950"/>
                  <a:gd name="connsiteX2" fmla="*/ 4166 w 29161"/>
                  <a:gd name="connsiteY2" fmla="*/ 24995 h 249950"/>
                  <a:gd name="connsiteX3" fmla="*/ 8331 w 29161"/>
                  <a:gd name="connsiteY3" fmla="*/ 31244 h 249950"/>
                  <a:gd name="connsiteX4" fmla="*/ 12497 w 29161"/>
                  <a:gd name="connsiteY4" fmla="*/ 43741 h 249950"/>
                  <a:gd name="connsiteX5" fmla="*/ 14580 w 29161"/>
                  <a:gd name="connsiteY5" fmla="*/ 49990 h 249950"/>
                  <a:gd name="connsiteX6" fmla="*/ 24995 w 29161"/>
                  <a:gd name="connsiteY6" fmla="*/ 77068 h 249950"/>
                  <a:gd name="connsiteX7" fmla="*/ 29161 w 29161"/>
                  <a:gd name="connsiteY7" fmla="*/ 83317 h 249950"/>
                  <a:gd name="connsiteX8" fmla="*/ 27078 w 29161"/>
                  <a:gd name="connsiteY8" fmla="*/ 160385 h 249950"/>
                  <a:gd name="connsiteX9" fmla="*/ 24995 w 29161"/>
                  <a:gd name="connsiteY9" fmla="*/ 166633 h 249950"/>
                  <a:gd name="connsiteX10" fmla="*/ 16663 w 29161"/>
                  <a:gd name="connsiteY10" fmla="*/ 179131 h 249950"/>
                  <a:gd name="connsiteX11" fmla="*/ 12497 w 29161"/>
                  <a:gd name="connsiteY11" fmla="*/ 185380 h 249950"/>
                  <a:gd name="connsiteX12" fmla="*/ 10414 w 29161"/>
                  <a:gd name="connsiteY12" fmla="*/ 191628 h 249950"/>
                  <a:gd name="connsiteX13" fmla="*/ 2083 w 29161"/>
                  <a:gd name="connsiteY13" fmla="*/ 204126 h 249950"/>
                  <a:gd name="connsiteX14" fmla="*/ 4166 w 29161"/>
                  <a:gd name="connsiteY14" fmla="*/ 249950 h 249950"/>
                  <a:gd name="connsiteX15" fmla="*/ 4166 w 29161"/>
                  <a:gd name="connsiteY15" fmla="*/ 249950 h 249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9161" h="249950">
                    <a:moveTo>
                      <a:pt x="0" y="0"/>
                    </a:moveTo>
                    <a:lnTo>
                      <a:pt x="0" y="0"/>
                    </a:lnTo>
                    <a:cubicBezTo>
                      <a:pt x="660" y="5944"/>
                      <a:pt x="676" y="18015"/>
                      <a:pt x="4166" y="24995"/>
                    </a:cubicBezTo>
                    <a:cubicBezTo>
                      <a:pt x="5285" y="27234"/>
                      <a:pt x="7314" y="28956"/>
                      <a:pt x="8331" y="31244"/>
                    </a:cubicBezTo>
                    <a:cubicBezTo>
                      <a:pt x="10114" y="35257"/>
                      <a:pt x="11108" y="39575"/>
                      <a:pt x="12497" y="43741"/>
                    </a:cubicBezTo>
                    <a:lnTo>
                      <a:pt x="14580" y="49990"/>
                    </a:lnTo>
                    <a:cubicBezTo>
                      <a:pt x="17371" y="69527"/>
                      <a:pt x="13940" y="60485"/>
                      <a:pt x="24995" y="77068"/>
                    </a:cubicBezTo>
                    <a:lnTo>
                      <a:pt x="29161" y="83317"/>
                    </a:lnTo>
                    <a:cubicBezTo>
                      <a:pt x="28467" y="109006"/>
                      <a:pt x="28361" y="134718"/>
                      <a:pt x="27078" y="160385"/>
                    </a:cubicBezTo>
                    <a:cubicBezTo>
                      <a:pt x="26968" y="162578"/>
                      <a:pt x="26061" y="164714"/>
                      <a:pt x="24995" y="166633"/>
                    </a:cubicBezTo>
                    <a:cubicBezTo>
                      <a:pt x="22563" y="171010"/>
                      <a:pt x="19440" y="174965"/>
                      <a:pt x="16663" y="179131"/>
                    </a:cubicBezTo>
                    <a:cubicBezTo>
                      <a:pt x="15274" y="181214"/>
                      <a:pt x="13289" y="183005"/>
                      <a:pt x="12497" y="185380"/>
                    </a:cubicBezTo>
                    <a:cubicBezTo>
                      <a:pt x="11803" y="187463"/>
                      <a:pt x="11480" y="189709"/>
                      <a:pt x="10414" y="191628"/>
                    </a:cubicBezTo>
                    <a:cubicBezTo>
                      <a:pt x="7983" y="196005"/>
                      <a:pt x="2083" y="204126"/>
                      <a:pt x="2083" y="204126"/>
                    </a:cubicBezTo>
                    <a:cubicBezTo>
                      <a:pt x="4275" y="245781"/>
                      <a:pt x="4166" y="230491"/>
                      <a:pt x="4166" y="249950"/>
                    </a:cubicBezTo>
                    <a:lnTo>
                      <a:pt x="4166" y="249950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172" name="Freeform: Shape 4640">
                <a:extLst>
                  <a:ext uri="{FF2B5EF4-FFF2-40B4-BE49-F238E27FC236}">
                    <a16:creationId xmlns:a16="http://schemas.microsoft.com/office/drawing/2014/main" id="{B66EDB81-E414-EF5D-937F-8AAA0D5419B2}"/>
                  </a:ext>
                </a:extLst>
              </p:cNvPr>
              <p:cNvSpPr/>
              <p:nvPr/>
            </p:nvSpPr>
            <p:spPr>
              <a:xfrm>
                <a:off x="5893318" y="2637358"/>
                <a:ext cx="22829" cy="138097"/>
              </a:xfrm>
              <a:custGeom>
                <a:avLst/>
                <a:gdLst>
                  <a:gd name="connsiteX0" fmla="*/ 12854 w 42014"/>
                  <a:gd name="connsiteY0" fmla="*/ 0 h 252032"/>
                  <a:gd name="connsiteX1" fmla="*/ 12854 w 42014"/>
                  <a:gd name="connsiteY1" fmla="*/ 0 h 252032"/>
                  <a:gd name="connsiteX2" fmla="*/ 14936 w 42014"/>
                  <a:gd name="connsiteY2" fmla="*/ 18746 h 252032"/>
                  <a:gd name="connsiteX3" fmla="*/ 23268 w 42014"/>
                  <a:gd name="connsiteY3" fmla="*/ 45824 h 252032"/>
                  <a:gd name="connsiteX4" fmla="*/ 29517 w 42014"/>
                  <a:gd name="connsiteY4" fmla="*/ 49990 h 252032"/>
                  <a:gd name="connsiteX5" fmla="*/ 33683 w 42014"/>
                  <a:gd name="connsiteY5" fmla="*/ 62487 h 252032"/>
                  <a:gd name="connsiteX6" fmla="*/ 35766 w 42014"/>
                  <a:gd name="connsiteY6" fmla="*/ 68736 h 252032"/>
                  <a:gd name="connsiteX7" fmla="*/ 37849 w 42014"/>
                  <a:gd name="connsiteY7" fmla="*/ 85399 h 252032"/>
                  <a:gd name="connsiteX8" fmla="*/ 39931 w 42014"/>
                  <a:gd name="connsiteY8" fmla="*/ 91648 h 252032"/>
                  <a:gd name="connsiteX9" fmla="*/ 42014 w 42014"/>
                  <a:gd name="connsiteY9" fmla="*/ 108311 h 252032"/>
                  <a:gd name="connsiteX10" fmla="*/ 39931 w 42014"/>
                  <a:gd name="connsiteY10" fmla="*/ 152052 h 252032"/>
                  <a:gd name="connsiteX11" fmla="*/ 29517 w 42014"/>
                  <a:gd name="connsiteY11" fmla="*/ 170799 h 252032"/>
                  <a:gd name="connsiteX12" fmla="*/ 25351 w 42014"/>
                  <a:gd name="connsiteY12" fmla="*/ 177047 h 252032"/>
                  <a:gd name="connsiteX13" fmla="*/ 19102 w 42014"/>
                  <a:gd name="connsiteY13" fmla="*/ 183296 h 252032"/>
                  <a:gd name="connsiteX14" fmla="*/ 6605 w 42014"/>
                  <a:gd name="connsiteY14" fmla="*/ 204125 h 252032"/>
                  <a:gd name="connsiteX15" fmla="*/ 2439 w 42014"/>
                  <a:gd name="connsiteY15" fmla="*/ 216623 h 252032"/>
                  <a:gd name="connsiteX16" fmla="*/ 356 w 42014"/>
                  <a:gd name="connsiteY16" fmla="*/ 222872 h 252032"/>
                  <a:gd name="connsiteX17" fmla="*/ 4522 w 42014"/>
                  <a:gd name="connsiteY17" fmla="*/ 252032 h 252032"/>
                  <a:gd name="connsiteX18" fmla="*/ 4522 w 42014"/>
                  <a:gd name="connsiteY18" fmla="*/ 252032 h 2520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2014" h="252032">
                    <a:moveTo>
                      <a:pt x="12854" y="0"/>
                    </a:moveTo>
                    <a:lnTo>
                      <a:pt x="12854" y="0"/>
                    </a:lnTo>
                    <a:cubicBezTo>
                      <a:pt x="13548" y="6249"/>
                      <a:pt x="14156" y="12507"/>
                      <a:pt x="14936" y="18746"/>
                    </a:cubicBezTo>
                    <a:cubicBezTo>
                      <a:pt x="16034" y="27530"/>
                      <a:pt x="16361" y="38917"/>
                      <a:pt x="23268" y="45824"/>
                    </a:cubicBezTo>
                    <a:cubicBezTo>
                      <a:pt x="25038" y="47594"/>
                      <a:pt x="27434" y="48601"/>
                      <a:pt x="29517" y="49990"/>
                    </a:cubicBezTo>
                    <a:lnTo>
                      <a:pt x="33683" y="62487"/>
                    </a:lnTo>
                    <a:lnTo>
                      <a:pt x="35766" y="68736"/>
                    </a:lnTo>
                    <a:cubicBezTo>
                      <a:pt x="36460" y="74290"/>
                      <a:pt x="36848" y="79892"/>
                      <a:pt x="37849" y="85399"/>
                    </a:cubicBezTo>
                    <a:cubicBezTo>
                      <a:pt x="38242" y="87559"/>
                      <a:pt x="39538" y="89488"/>
                      <a:pt x="39931" y="91648"/>
                    </a:cubicBezTo>
                    <a:cubicBezTo>
                      <a:pt x="40932" y="97155"/>
                      <a:pt x="41320" y="102757"/>
                      <a:pt x="42014" y="108311"/>
                    </a:cubicBezTo>
                    <a:cubicBezTo>
                      <a:pt x="41320" y="122891"/>
                      <a:pt x="41143" y="137506"/>
                      <a:pt x="39931" y="152052"/>
                    </a:cubicBezTo>
                    <a:cubicBezTo>
                      <a:pt x="39407" y="158340"/>
                      <a:pt x="31905" y="167218"/>
                      <a:pt x="29517" y="170799"/>
                    </a:cubicBezTo>
                    <a:cubicBezTo>
                      <a:pt x="28128" y="172882"/>
                      <a:pt x="27121" y="175277"/>
                      <a:pt x="25351" y="177047"/>
                    </a:cubicBezTo>
                    <a:cubicBezTo>
                      <a:pt x="23268" y="179130"/>
                      <a:pt x="20910" y="180971"/>
                      <a:pt x="19102" y="183296"/>
                    </a:cubicBezTo>
                    <a:cubicBezTo>
                      <a:pt x="15079" y="188469"/>
                      <a:pt x="9271" y="197461"/>
                      <a:pt x="6605" y="204125"/>
                    </a:cubicBezTo>
                    <a:cubicBezTo>
                      <a:pt x="4974" y="208202"/>
                      <a:pt x="3828" y="212457"/>
                      <a:pt x="2439" y="216623"/>
                    </a:cubicBezTo>
                    <a:lnTo>
                      <a:pt x="356" y="222872"/>
                    </a:lnTo>
                    <a:cubicBezTo>
                      <a:pt x="2514" y="250929"/>
                      <a:pt x="-3964" y="243550"/>
                      <a:pt x="4522" y="252032"/>
                    </a:cubicBezTo>
                    <a:lnTo>
                      <a:pt x="4522" y="252032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173" name="Rectangle: Rounded Corners 172">
                <a:extLst>
                  <a:ext uri="{FF2B5EF4-FFF2-40B4-BE49-F238E27FC236}">
                    <a16:creationId xmlns:a16="http://schemas.microsoft.com/office/drawing/2014/main" id="{CCE86E62-0A79-7CE0-2FD0-36314C1B8BA1}"/>
                  </a:ext>
                </a:extLst>
              </p:cNvPr>
              <p:cNvSpPr/>
              <p:nvPr/>
            </p:nvSpPr>
            <p:spPr>
              <a:xfrm>
                <a:off x="5661453" y="2731159"/>
                <a:ext cx="275343" cy="392051"/>
              </a:xfrm>
              <a:prstGeom prst="roundRect">
                <a:avLst>
                  <a:gd name="adj" fmla="val 35662"/>
                </a:avLst>
              </a:prstGeom>
              <a:gradFill flip="none" rotWithShape="1">
                <a:gsLst>
                  <a:gs pos="16000">
                    <a:srgbClr val="FFEAD5"/>
                  </a:gs>
                  <a:gs pos="75000">
                    <a:srgbClr val="FFCC99"/>
                  </a:gs>
                </a:gsLst>
                <a:path path="circle">
                  <a:fillToRect l="50000" t="50000" r="50000" b="50000"/>
                </a:path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174" name="Oval 173">
                <a:extLst>
                  <a:ext uri="{FF2B5EF4-FFF2-40B4-BE49-F238E27FC236}">
                    <a16:creationId xmlns:a16="http://schemas.microsoft.com/office/drawing/2014/main" id="{E89AE31F-4158-943C-B1CF-7E73C7608662}"/>
                  </a:ext>
                </a:extLst>
              </p:cNvPr>
              <p:cNvSpPr/>
              <p:nvPr/>
            </p:nvSpPr>
            <p:spPr>
              <a:xfrm>
                <a:off x="5727380" y="2930951"/>
                <a:ext cx="141069" cy="115934"/>
              </a:xfrm>
              <a:prstGeom prst="ellipse">
                <a:avLst/>
              </a:prstGeom>
              <a:gradFill flip="none" rotWithShape="1">
                <a:gsLst>
                  <a:gs pos="16000">
                    <a:srgbClr val="FFEAD5"/>
                  </a:gs>
                  <a:gs pos="74000">
                    <a:srgbClr val="A45200"/>
                  </a:gs>
                  <a:gs pos="53000">
                    <a:srgbClr val="FFC081"/>
                  </a:gs>
                </a:gsLst>
                <a:path path="circle">
                  <a:fillToRect l="50000" t="50000" r="50000" b="50000"/>
                </a:path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BB20F9ED-3A7B-099D-4D1C-98EED9909CFD}"/>
                </a:ext>
              </a:extLst>
            </p:cNvPr>
            <p:cNvGrpSpPr/>
            <p:nvPr/>
          </p:nvGrpSpPr>
          <p:grpSpPr>
            <a:xfrm>
              <a:off x="2410861" y="2829989"/>
              <a:ext cx="291975" cy="623937"/>
              <a:chOff x="4423627" y="1973989"/>
              <a:chExt cx="245880" cy="525434"/>
            </a:xfrm>
          </p:grpSpPr>
          <p:sp>
            <p:nvSpPr>
              <p:cNvPr id="159" name="Rectangle: Rounded Corners 158">
                <a:extLst>
                  <a:ext uri="{FF2B5EF4-FFF2-40B4-BE49-F238E27FC236}">
                    <a16:creationId xmlns:a16="http://schemas.microsoft.com/office/drawing/2014/main" id="{07568DB1-8762-B1C6-38AD-8B284837BC1B}"/>
                  </a:ext>
                </a:extLst>
              </p:cNvPr>
              <p:cNvSpPr/>
              <p:nvPr/>
            </p:nvSpPr>
            <p:spPr>
              <a:xfrm>
                <a:off x="4423627" y="2125527"/>
                <a:ext cx="245880" cy="373896"/>
              </a:xfrm>
              <a:prstGeom prst="roundRect">
                <a:avLst>
                  <a:gd name="adj" fmla="val 35662"/>
                </a:avLst>
              </a:prstGeom>
              <a:gradFill flip="none" rotWithShape="1">
                <a:gsLst>
                  <a:gs pos="0">
                    <a:srgbClr val="CDBB56">
                      <a:tint val="66000"/>
                      <a:satMod val="160000"/>
                    </a:srgbClr>
                  </a:gs>
                  <a:gs pos="50000">
                    <a:srgbClr val="CDBB56">
                      <a:tint val="44500"/>
                      <a:satMod val="160000"/>
                    </a:srgbClr>
                  </a:gs>
                  <a:gs pos="100000">
                    <a:srgbClr val="CDBB56">
                      <a:tint val="23500"/>
                      <a:satMod val="160000"/>
                    </a:srgbClr>
                  </a:gs>
                </a:gsLst>
                <a:lin ang="16200000" scaled="1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78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160" name="Oval 159">
                <a:extLst>
                  <a:ext uri="{FF2B5EF4-FFF2-40B4-BE49-F238E27FC236}">
                    <a16:creationId xmlns:a16="http://schemas.microsoft.com/office/drawing/2014/main" id="{D7E7134E-9C6B-C9CE-2176-1F28862E4386}"/>
                  </a:ext>
                </a:extLst>
              </p:cNvPr>
              <p:cNvSpPr/>
              <p:nvPr/>
            </p:nvSpPr>
            <p:spPr>
              <a:xfrm>
                <a:off x="4484332" y="2302259"/>
                <a:ext cx="124470" cy="109248"/>
              </a:xfrm>
              <a:prstGeom prst="ellipse">
                <a:avLst/>
              </a:prstGeom>
              <a:gradFill flip="none" rotWithShape="1">
                <a:gsLst>
                  <a:gs pos="0">
                    <a:srgbClr val="C4D600">
                      <a:shade val="30000"/>
                      <a:satMod val="115000"/>
                    </a:srgbClr>
                  </a:gs>
                  <a:gs pos="50000">
                    <a:srgbClr val="C4D600">
                      <a:shade val="67500"/>
                      <a:satMod val="115000"/>
                    </a:srgbClr>
                  </a:gs>
                  <a:gs pos="100000">
                    <a:srgbClr val="C4D600">
                      <a:shade val="100000"/>
                      <a:satMod val="115000"/>
                    </a:srgbClr>
                  </a:gs>
                </a:gsLst>
                <a:lin ang="18900000" scaled="1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78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A6E35F98-1F05-AD36-F62C-0F07731B8C74}"/>
                  </a:ext>
                </a:extLst>
              </p:cNvPr>
              <p:cNvSpPr/>
              <p:nvPr/>
            </p:nvSpPr>
            <p:spPr>
              <a:xfrm>
                <a:off x="4505701" y="1973989"/>
                <a:ext cx="76654" cy="81868"/>
              </a:xfrm>
              <a:prstGeom prst="ellipse">
                <a:avLst/>
              </a:prstGeom>
              <a:gradFill>
                <a:gsLst>
                  <a:gs pos="0">
                    <a:srgbClr val="FFEBFB"/>
                  </a:gs>
                  <a:gs pos="93000">
                    <a:srgbClr val="8E9A00"/>
                  </a:gs>
                  <a:gs pos="26000">
                    <a:srgbClr val="C4D600"/>
                  </a:gs>
                </a:gsLst>
                <a:path path="circle">
                  <a:fillToRect l="50000" t="50000" r="50000" b="50000"/>
                </a:path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  <p:sp>
            <p:nvSpPr>
              <p:cNvPr id="162" name="Oval 161">
                <a:extLst>
                  <a:ext uri="{FF2B5EF4-FFF2-40B4-BE49-F238E27FC236}">
                    <a16:creationId xmlns:a16="http://schemas.microsoft.com/office/drawing/2014/main" id="{72F1BB58-09F9-4852-9D49-40EAA4AA09F3}"/>
                  </a:ext>
                </a:extLst>
              </p:cNvPr>
              <p:cNvSpPr/>
              <p:nvPr/>
            </p:nvSpPr>
            <p:spPr>
              <a:xfrm>
                <a:off x="4489535" y="2087624"/>
                <a:ext cx="76654" cy="81868"/>
              </a:xfrm>
              <a:prstGeom prst="ellipse">
                <a:avLst/>
              </a:prstGeom>
              <a:gradFill>
                <a:gsLst>
                  <a:gs pos="0">
                    <a:srgbClr val="FFEBFB"/>
                  </a:gs>
                  <a:gs pos="93000">
                    <a:srgbClr val="8E9A00"/>
                  </a:gs>
                  <a:gs pos="26000">
                    <a:srgbClr val="C4D600"/>
                  </a:gs>
                </a:gsLst>
                <a:path path="circle">
                  <a:fillToRect l="50000" t="50000" r="50000" b="50000"/>
                </a:path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853080A-4AE2-C1D2-F592-C0A6461BB97E}"/>
                  </a:ext>
                </a:extLst>
              </p:cNvPr>
              <p:cNvSpPr/>
              <p:nvPr/>
            </p:nvSpPr>
            <p:spPr>
              <a:xfrm>
                <a:off x="4572183" y="2046690"/>
                <a:ext cx="76654" cy="81868"/>
              </a:xfrm>
              <a:prstGeom prst="ellipse">
                <a:avLst/>
              </a:prstGeom>
              <a:gradFill>
                <a:gsLst>
                  <a:gs pos="0">
                    <a:srgbClr val="FFEBFB"/>
                  </a:gs>
                  <a:gs pos="93000">
                    <a:srgbClr val="8E9A00"/>
                  </a:gs>
                  <a:gs pos="26000">
                    <a:srgbClr val="C4D600"/>
                  </a:gs>
                </a:gsLst>
                <a:path path="circle">
                  <a:fillToRect l="50000" t="50000" r="50000" b="50000"/>
                </a:path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</p:grpSp>
        <p:grpSp>
          <p:nvGrpSpPr>
            <p:cNvPr id="42" name="!!Group 899">
              <a:extLst>
                <a:ext uri="{FF2B5EF4-FFF2-40B4-BE49-F238E27FC236}">
                  <a16:creationId xmlns:a16="http://schemas.microsoft.com/office/drawing/2014/main" id="{C0B64639-50AA-B888-8239-333C09D8446E}"/>
                </a:ext>
              </a:extLst>
            </p:cNvPr>
            <p:cNvGrpSpPr/>
            <p:nvPr/>
          </p:nvGrpSpPr>
          <p:grpSpPr>
            <a:xfrm>
              <a:off x="2134571" y="2939278"/>
              <a:ext cx="274267" cy="514649"/>
              <a:chOff x="5661453" y="2606543"/>
              <a:chExt cx="275343" cy="516667"/>
            </a:xfrm>
          </p:grpSpPr>
          <p:sp>
            <p:nvSpPr>
              <p:cNvPr id="148" name="Freeform: Shape 4616">
                <a:extLst>
                  <a:ext uri="{FF2B5EF4-FFF2-40B4-BE49-F238E27FC236}">
                    <a16:creationId xmlns:a16="http://schemas.microsoft.com/office/drawing/2014/main" id="{F6E06D25-F35B-35A3-DABA-CF049647CCA1}"/>
                  </a:ext>
                </a:extLst>
              </p:cNvPr>
              <p:cNvSpPr/>
              <p:nvPr/>
            </p:nvSpPr>
            <p:spPr>
              <a:xfrm>
                <a:off x="5684131" y="2624804"/>
                <a:ext cx="24899" cy="146087"/>
              </a:xfrm>
              <a:custGeom>
                <a:avLst/>
                <a:gdLst>
                  <a:gd name="connsiteX0" fmla="*/ 0 w 45824"/>
                  <a:gd name="connsiteY0" fmla="*/ 0 h 266613"/>
                  <a:gd name="connsiteX1" fmla="*/ 0 w 45824"/>
                  <a:gd name="connsiteY1" fmla="*/ 0 h 266613"/>
                  <a:gd name="connsiteX2" fmla="*/ 4165 w 45824"/>
                  <a:gd name="connsiteY2" fmla="*/ 18746 h 266613"/>
                  <a:gd name="connsiteX3" fmla="*/ 10414 w 45824"/>
                  <a:gd name="connsiteY3" fmla="*/ 47907 h 266613"/>
                  <a:gd name="connsiteX4" fmla="*/ 16663 w 45824"/>
                  <a:gd name="connsiteY4" fmla="*/ 52072 h 266613"/>
                  <a:gd name="connsiteX5" fmla="*/ 20829 w 45824"/>
                  <a:gd name="connsiteY5" fmla="*/ 58321 h 266613"/>
                  <a:gd name="connsiteX6" fmla="*/ 27078 w 45824"/>
                  <a:gd name="connsiteY6" fmla="*/ 60404 h 266613"/>
                  <a:gd name="connsiteX7" fmla="*/ 33326 w 45824"/>
                  <a:gd name="connsiteY7" fmla="*/ 64570 h 266613"/>
                  <a:gd name="connsiteX8" fmla="*/ 41658 w 45824"/>
                  <a:gd name="connsiteY8" fmla="*/ 77067 h 266613"/>
                  <a:gd name="connsiteX9" fmla="*/ 45824 w 45824"/>
                  <a:gd name="connsiteY9" fmla="*/ 83316 h 266613"/>
                  <a:gd name="connsiteX10" fmla="*/ 43741 w 45824"/>
                  <a:gd name="connsiteY10" fmla="*/ 145804 h 266613"/>
                  <a:gd name="connsiteX11" fmla="*/ 41658 w 45824"/>
                  <a:gd name="connsiteY11" fmla="*/ 152052 h 266613"/>
                  <a:gd name="connsiteX12" fmla="*/ 37492 w 45824"/>
                  <a:gd name="connsiteY12" fmla="*/ 168716 h 266613"/>
                  <a:gd name="connsiteX13" fmla="*/ 31243 w 45824"/>
                  <a:gd name="connsiteY13" fmla="*/ 174964 h 266613"/>
                  <a:gd name="connsiteX14" fmla="*/ 20829 w 45824"/>
                  <a:gd name="connsiteY14" fmla="*/ 193711 h 266613"/>
                  <a:gd name="connsiteX15" fmla="*/ 16663 w 45824"/>
                  <a:gd name="connsiteY15" fmla="*/ 199959 h 266613"/>
                  <a:gd name="connsiteX16" fmla="*/ 12497 w 45824"/>
                  <a:gd name="connsiteY16" fmla="*/ 214540 h 266613"/>
                  <a:gd name="connsiteX17" fmla="*/ 10414 w 45824"/>
                  <a:gd name="connsiteY17" fmla="*/ 222872 h 266613"/>
                  <a:gd name="connsiteX18" fmla="*/ 10414 w 45824"/>
                  <a:gd name="connsiteY18" fmla="*/ 266613 h 266613"/>
                  <a:gd name="connsiteX19" fmla="*/ 12497 w 45824"/>
                  <a:gd name="connsiteY19" fmla="*/ 266613 h 266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45824" h="266613">
                    <a:moveTo>
                      <a:pt x="0" y="0"/>
                    </a:moveTo>
                    <a:lnTo>
                      <a:pt x="0" y="0"/>
                    </a:lnTo>
                    <a:cubicBezTo>
                      <a:pt x="1388" y="6249"/>
                      <a:pt x="3053" y="12442"/>
                      <a:pt x="4165" y="18746"/>
                    </a:cubicBezTo>
                    <a:cubicBezTo>
                      <a:pt x="4487" y="20573"/>
                      <a:pt x="6286" y="45156"/>
                      <a:pt x="10414" y="47907"/>
                    </a:cubicBezTo>
                    <a:lnTo>
                      <a:pt x="16663" y="52072"/>
                    </a:lnTo>
                    <a:cubicBezTo>
                      <a:pt x="18052" y="54155"/>
                      <a:pt x="18874" y="56757"/>
                      <a:pt x="20829" y="58321"/>
                    </a:cubicBezTo>
                    <a:cubicBezTo>
                      <a:pt x="22544" y="59693"/>
                      <a:pt x="25114" y="59422"/>
                      <a:pt x="27078" y="60404"/>
                    </a:cubicBezTo>
                    <a:cubicBezTo>
                      <a:pt x="29317" y="61524"/>
                      <a:pt x="31243" y="63181"/>
                      <a:pt x="33326" y="64570"/>
                    </a:cubicBezTo>
                    <a:lnTo>
                      <a:pt x="41658" y="77067"/>
                    </a:lnTo>
                    <a:lnTo>
                      <a:pt x="45824" y="83316"/>
                    </a:lnTo>
                    <a:cubicBezTo>
                      <a:pt x="45130" y="104145"/>
                      <a:pt x="45002" y="125001"/>
                      <a:pt x="43741" y="145804"/>
                    </a:cubicBezTo>
                    <a:cubicBezTo>
                      <a:pt x="43608" y="147995"/>
                      <a:pt x="42190" y="149922"/>
                      <a:pt x="41658" y="152052"/>
                    </a:cubicBezTo>
                    <a:cubicBezTo>
                      <a:pt x="41237" y="153734"/>
                      <a:pt x="39397" y="165859"/>
                      <a:pt x="37492" y="168716"/>
                    </a:cubicBezTo>
                    <a:cubicBezTo>
                      <a:pt x="35858" y="171167"/>
                      <a:pt x="33326" y="172881"/>
                      <a:pt x="31243" y="174964"/>
                    </a:cubicBezTo>
                    <a:cubicBezTo>
                      <a:pt x="27577" y="185962"/>
                      <a:pt x="30377" y="179389"/>
                      <a:pt x="20829" y="193711"/>
                    </a:cubicBezTo>
                    <a:lnTo>
                      <a:pt x="16663" y="199959"/>
                    </a:lnTo>
                    <a:cubicBezTo>
                      <a:pt x="10151" y="226006"/>
                      <a:pt x="18474" y="193622"/>
                      <a:pt x="12497" y="214540"/>
                    </a:cubicBezTo>
                    <a:cubicBezTo>
                      <a:pt x="11711" y="217293"/>
                      <a:pt x="10528" y="220011"/>
                      <a:pt x="10414" y="222872"/>
                    </a:cubicBezTo>
                    <a:cubicBezTo>
                      <a:pt x="9831" y="237441"/>
                      <a:pt x="10414" y="252033"/>
                      <a:pt x="10414" y="266613"/>
                    </a:cubicBezTo>
                    <a:lnTo>
                      <a:pt x="12497" y="266613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149" name="Freeform: Shape 4617">
                <a:extLst>
                  <a:ext uri="{FF2B5EF4-FFF2-40B4-BE49-F238E27FC236}">
                    <a16:creationId xmlns:a16="http://schemas.microsoft.com/office/drawing/2014/main" id="{0EB18B9E-9132-8C4B-A10B-8944F7139FE7}"/>
                  </a:ext>
                </a:extLst>
              </p:cNvPr>
              <p:cNvSpPr/>
              <p:nvPr/>
            </p:nvSpPr>
            <p:spPr>
              <a:xfrm>
                <a:off x="5713557" y="2615673"/>
                <a:ext cx="24900" cy="134674"/>
              </a:xfrm>
              <a:custGeom>
                <a:avLst/>
                <a:gdLst>
                  <a:gd name="connsiteX0" fmla="*/ 0 w 45825"/>
                  <a:gd name="connsiteY0" fmla="*/ 0 h 245784"/>
                  <a:gd name="connsiteX1" fmla="*/ 0 w 45825"/>
                  <a:gd name="connsiteY1" fmla="*/ 0 h 245784"/>
                  <a:gd name="connsiteX2" fmla="*/ 2083 w 45825"/>
                  <a:gd name="connsiteY2" fmla="*/ 41659 h 245784"/>
                  <a:gd name="connsiteX3" fmla="*/ 4166 w 45825"/>
                  <a:gd name="connsiteY3" fmla="*/ 47907 h 245784"/>
                  <a:gd name="connsiteX4" fmla="*/ 8332 w 45825"/>
                  <a:gd name="connsiteY4" fmla="*/ 54156 h 245784"/>
                  <a:gd name="connsiteX5" fmla="*/ 14581 w 45825"/>
                  <a:gd name="connsiteY5" fmla="*/ 58322 h 245784"/>
                  <a:gd name="connsiteX6" fmla="*/ 24995 w 45825"/>
                  <a:gd name="connsiteY6" fmla="*/ 68736 h 245784"/>
                  <a:gd name="connsiteX7" fmla="*/ 31244 w 45825"/>
                  <a:gd name="connsiteY7" fmla="*/ 81234 h 245784"/>
                  <a:gd name="connsiteX8" fmla="*/ 39576 w 45825"/>
                  <a:gd name="connsiteY8" fmla="*/ 93731 h 245784"/>
                  <a:gd name="connsiteX9" fmla="*/ 43742 w 45825"/>
                  <a:gd name="connsiteY9" fmla="*/ 99980 h 245784"/>
                  <a:gd name="connsiteX10" fmla="*/ 45825 w 45825"/>
                  <a:gd name="connsiteY10" fmla="*/ 106229 h 245784"/>
                  <a:gd name="connsiteX11" fmla="*/ 43742 w 45825"/>
                  <a:gd name="connsiteY11" fmla="*/ 139556 h 245784"/>
                  <a:gd name="connsiteX12" fmla="*/ 41659 w 45825"/>
                  <a:gd name="connsiteY12" fmla="*/ 145804 h 245784"/>
                  <a:gd name="connsiteX13" fmla="*/ 39576 w 45825"/>
                  <a:gd name="connsiteY13" fmla="*/ 156219 h 245784"/>
                  <a:gd name="connsiteX14" fmla="*/ 35410 w 45825"/>
                  <a:gd name="connsiteY14" fmla="*/ 162468 h 245784"/>
                  <a:gd name="connsiteX15" fmla="*/ 29161 w 45825"/>
                  <a:gd name="connsiteY15" fmla="*/ 183297 h 245784"/>
                  <a:gd name="connsiteX16" fmla="*/ 24995 w 45825"/>
                  <a:gd name="connsiteY16" fmla="*/ 189546 h 245784"/>
                  <a:gd name="connsiteX17" fmla="*/ 16664 w 45825"/>
                  <a:gd name="connsiteY17" fmla="*/ 208292 h 245784"/>
                  <a:gd name="connsiteX18" fmla="*/ 14581 w 45825"/>
                  <a:gd name="connsiteY18" fmla="*/ 220789 h 245784"/>
                  <a:gd name="connsiteX19" fmla="*/ 10415 w 45825"/>
                  <a:gd name="connsiteY19" fmla="*/ 227038 h 245784"/>
                  <a:gd name="connsiteX20" fmla="*/ 12498 w 45825"/>
                  <a:gd name="connsiteY20" fmla="*/ 245784 h 245784"/>
                  <a:gd name="connsiteX21" fmla="*/ 12498 w 45825"/>
                  <a:gd name="connsiteY21" fmla="*/ 245784 h 245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45825" h="245784">
                    <a:moveTo>
                      <a:pt x="0" y="0"/>
                    </a:moveTo>
                    <a:lnTo>
                      <a:pt x="0" y="0"/>
                    </a:lnTo>
                    <a:cubicBezTo>
                      <a:pt x="694" y="13886"/>
                      <a:pt x="878" y="27808"/>
                      <a:pt x="2083" y="41659"/>
                    </a:cubicBezTo>
                    <a:cubicBezTo>
                      <a:pt x="2273" y="43846"/>
                      <a:pt x="3184" y="45943"/>
                      <a:pt x="4166" y="47907"/>
                    </a:cubicBezTo>
                    <a:cubicBezTo>
                      <a:pt x="5286" y="50146"/>
                      <a:pt x="6562" y="52386"/>
                      <a:pt x="8332" y="54156"/>
                    </a:cubicBezTo>
                    <a:cubicBezTo>
                      <a:pt x="10102" y="55926"/>
                      <a:pt x="12498" y="56933"/>
                      <a:pt x="14581" y="58322"/>
                    </a:cubicBezTo>
                    <a:cubicBezTo>
                      <a:pt x="25691" y="74988"/>
                      <a:pt x="11109" y="54850"/>
                      <a:pt x="24995" y="68736"/>
                    </a:cubicBezTo>
                    <a:cubicBezTo>
                      <a:pt x="31931" y="75672"/>
                      <a:pt x="27008" y="73610"/>
                      <a:pt x="31244" y="81234"/>
                    </a:cubicBezTo>
                    <a:cubicBezTo>
                      <a:pt x="33676" y="85611"/>
                      <a:pt x="36799" y="89565"/>
                      <a:pt x="39576" y="93731"/>
                    </a:cubicBezTo>
                    <a:cubicBezTo>
                      <a:pt x="40965" y="95814"/>
                      <a:pt x="42950" y="97605"/>
                      <a:pt x="43742" y="99980"/>
                    </a:cubicBezTo>
                    <a:lnTo>
                      <a:pt x="45825" y="106229"/>
                    </a:lnTo>
                    <a:cubicBezTo>
                      <a:pt x="45131" y="117338"/>
                      <a:pt x="44907" y="128486"/>
                      <a:pt x="43742" y="139556"/>
                    </a:cubicBezTo>
                    <a:cubicBezTo>
                      <a:pt x="43512" y="141739"/>
                      <a:pt x="42191" y="143674"/>
                      <a:pt x="41659" y="145804"/>
                    </a:cubicBezTo>
                    <a:cubicBezTo>
                      <a:pt x="40800" y="149239"/>
                      <a:pt x="40819" y="152904"/>
                      <a:pt x="39576" y="156219"/>
                    </a:cubicBezTo>
                    <a:cubicBezTo>
                      <a:pt x="38697" y="158563"/>
                      <a:pt x="36799" y="160385"/>
                      <a:pt x="35410" y="162468"/>
                    </a:cubicBezTo>
                    <a:cubicBezTo>
                      <a:pt x="34246" y="167125"/>
                      <a:pt x="31189" y="180255"/>
                      <a:pt x="29161" y="183297"/>
                    </a:cubicBezTo>
                    <a:cubicBezTo>
                      <a:pt x="27772" y="185380"/>
                      <a:pt x="26012" y="187258"/>
                      <a:pt x="24995" y="189546"/>
                    </a:cubicBezTo>
                    <a:cubicBezTo>
                      <a:pt x="15081" y="211855"/>
                      <a:pt x="26092" y="194150"/>
                      <a:pt x="16664" y="208292"/>
                    </a:cubicBezTo>
                    <a:cubicBezTo>
                      <a:pt x="15970" y="212458"/>
                      <a:pt x="15917" y="216783"/>
                      <a:pt x="14581" y="220789"/>
                    </a:cubicBezTo>
                    <a:cubicBezTo>
                      <a:pt x="13789" y="223164"/>
                      <a:pt x="10623" y="224543"/>
                      <a:pt x="10415" y="227038"/>
                    </a:cubicBezTo>
                    <a:cubicBezTo>
                      <a:pt x="9893" y="233303"/>
                      <a:pt x="12498" y="245784"/>
                      <a:pt x="12498" y="245784"/>
                    </a:cubicBezTo>
                    <a:lnTo>
                      <a:pt x="12498" y="245784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150" name="Freeform: Shape 4618">
                <a:extLst>
                  <a:ext uri="{FF2B5EF4-FFF2-40B4-BE49-F238E27FC236}">
                    <a16:creationId xmlns:a16="http://schemas.microsoft.com/office/drawing/2014/main" id="{276B2B2E-C57C-CA11-9004-A7982616CED5}"/>
                  </a:ext>
                </a:extLst>
              </p:cNvPr>
              <p:cNvSpPr/>
              <p:nvPr/>
            </p:nvSpPr>
            <p:spPr>
              <a:xfrm>
                <a:off x="5739513" y="2612250"/>
                <a:ext cx="21579" cy="131250"/>
              </a:xfrm>
              <a:custGeom>
                <a:avLst/>
                <a:gdLst>
                  <a:gd name="connsiteX0" fmla="*/ 4304 w 39714"/>
                  <a:gd name="connsiteY0" fmla="*/ 0 h 239535"/>
                  <a:gd name="connsiteX1" fmla="*/ 4304 w 39714"/>
                  <a:gd name="connsiteY1" fmla="*/ 0 h 239535"/>
                  <a:gd name="connsiteX2" fmla="*/ 138 w 39714"/>
                  <a:gd name="connsiteY2" fmla="*/ 18746 h 239535"/>
                  <a:gd name="connsiteX3" fmla="*/ 6387 w 39714"/>
                  <a:gd name="connsiteY3" fmla="*/ 52072 h 239535"/>
                  <a:gd name="connsiteX4" fmla="*/ 8470 w 39714"/>
                  <a:gd name="connsiteY4" fmla="*/ 58321 h 239535"/>
                  <a:gd name="connsiteX5" fmla="*/ 14719 w 39714"/>
                  <a:gd name="connsiteY5" fmla="*/ 62487 h 239535"/>
                  <a:gd name="connsiteX6" fmla="*/ 18885 w 39714"/>
                  <a:gd name="connsiteY6" fmla="*/ 68736 h 239535"/>
                  <a:gd name="connsiteX7" fmla="*/ 35548 w 39714"/>
                  <a:gd name="connsiteY7" fmla="*/ 87482 h 239535"/>
                  <a:gd name="connsiteX8" fmla="*/ 39714 w 39714"/>
                  <a:gd name="connsiteY8" fmla="*/ 99979 h 239535"/>
                  <a:gd name="connsiteX9" fmla="*/ 37631 w 39714"/>
                  <a:gd name="connsiteY9" fmla="*/ 147887 h 239535"/>
                  <a:gd name="connsiteX10" fmla="*/ 31382 w 39714"/>
                  <a:gd name="connsiteY10" fmla="*/ 179130 h 239535"/>
                  <a:gd name="connsiteX11" fmla="*/ 27216 w 39714"/>
                  <a:gd name="connsiteY11" fmla="*/ 185379 h 239535"/>
                  <a:gd name="connsiteX12" fmla="*/ 25133 w 39714"/>
                  <a:gd name="connsiteY12" fmla="*/ 193711 h 239535"/>
                  <a:gd name="connsiteX13" fmla="*/ 23051 w 39714"/>
                  <a:gd name="connsiteY13" fmla="*/ 199959 h 239535"/>
                  <a:gd name="connsiteX14" fmla="*/ 23051 w 39714"/>
                  <a:gd name="connsiteY14" fmla="*/ 239535 h 239535"/>
                  <a:gd name="connsiteX15" fmla="*/ 23051 w 39714"/>
                  <a:gd name="connsiteY15" fmla="*/ 239535 h 239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9714" h="239535">
                    <a:moveTo>
                      <a:pt x="4304" y="0"/>
                    </a:moveTo>
                    <a:lnTo>
                      <a:pt x="4304" y="0"/>
                    </a:lnTo>
                    <a:cubicBezTo>
                      <a:pt x="2915" y="6249"/>
                      <a:pt x="474" y="12354"/>
                      <a:pt x="138" y="18746"/>
                    </a:cubicBezTo>
                    <a:cubicBezTo>
                      <a:pt x="-664" y="33980"/>
                      <a:pt x="2105" y="39226"/>
                      <a:pt x="6387" y="52072"/>
                    </a:cubicBezTo>
                    <a:cubicBezTo>
                      <a:pt x="7081" y="54155"/>
                      <a:pt x="6643" y="57103"/>
                      <a:pt x="8470" y="58321"/>
                    </a:cubicBezTo>
                    <a:lnTo>
                      <a:pt x="14719" y="62487"/>
                    </a:lnTo>
                    <a:cubicBezTo>
                      <a:pt x="16108" y="64570"/>
                      <a:pt x="17222" y="66865"/>
                      <a:pt x="18885" y="68736"/>
                    </a:cubicBezTo>
                    <a:cubicBezTo>
                      <a:pt x="23076" y="73451"/>
                      <a:pt x="32396" y="80391"/>
                      <a:pt x="35548" y="87482"/>
                    </a:cubicBezTo>
                    <a:cubicBezTo>
                      <a:pt x="37331" y="91495"/>
                      <a:pt x="39714" y="99979"/>
                      <a:pt x="39714" y="99979"/>
                    </a:cubicBezTo>
                    <a:cubicBezTo>
                      <a:pt x="39020" y="115948"/>
                      <a:pt x="38628" y="131934"/>
                      <a:pt x="37631" y="147887"/>
                    </a:cubicBezTo>
                    <a:cubicBezTo>
                      <a:pt x="37214" y="154555"/>
                      <a:pt x="36034" y="172152"/>
                      <a:pt x="31382" y="179130"/>
                    </a:cubicBezTo>
                    <a:lnTo>
                      <a:pt x="27216" y="185379"/>
                    </a:lnTo>
                    <a:cubicBezTo>
                      <a:pt x="26522" y="188156"/>
                      <a:pt x="25919" y="190958"/>
                      <a:pt x="25133" y="193711"/>
                    </a:cubicBezTo>
                    <a:cubicBezTo>
                      <a:pt x="24530" y="195822"/>
                      <a:pt x="23151" y="197766"/>
                      <a:pt x="23051" y="199959"/>
                    </a:cubicBezTo>
                    <a:cubicBezTo>
                      <a:pt x="22452" y="213137"/>
                      <a:pt x="23051" y="226343"/>
                      <a:pt x="23051" y="239535"/>
                    </a:cubicBezTo>
                    <a:lnTo>
                      <a:pt x="23051" y="239535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151" name="Freeform: Shape 4619">
                <a:extLst>
                  <a:ext uri="{FF2B5EF4-FFF2-40B4-BE49-F238E27FC236}">
                    <a16:creationId xmlns:a16="http://schemas.microsoft.com/office/drawing/2014/main" id="{462BBA0F-5EA4-86BD-3563-04054C6C9177}"/>
                  </a:ext>
                </a:extLst>
              </p:cNvPr>
              <p:cNvSpPr/>
              <p:nvPr/>
            </p:nvSpPr>
            <p:spPr>
              <a:xfrm>
                <a:off x="5766751" y="2607684"/>
                <a:ext cx="21537" cy="140380"/>
              </a:xfrm>
              <a:custGeom>
                <a:avLst/>
                <a:gdLst>
                  <a:gd name="connsiteX0" fmla="*/ 0 w 39637"/>
                  <a:gd name="connsiteY0" fmla="*/ 0 h 256198"/>
                  <a:gd name="connsiteX1" fmla="*/ 0 w 39637"/>
                  <a:gd name="connsiteY1" fmla="*/ 0 h 256198"/>
                  <a:gd name="connsiteX2" fmla="*/ 4166 w 39637"/>
                  <a:gd name="connsiteY2" fmla="*/ 18746 h 256198"/>
                  <a:gd name="connsiteX3" fmla="*/ 10415 w 39637"/>
                  <a:gd name="connsiteY3" fmla="*/ 31244 h 256198"/>
                  <a:gd name="connsiteX4" fmla="*/ 16664 w 39637"/>
                  <a:gd name="connsiteY4" fmla="*/ 35409 h 256198"/>
                  <a:gd name="connsiteX5" fmla="*/ 18747 w 39637"/>
                  <a:gd name="connsiteY5" fmla="*/ 41658 h 256198"/>
                  <a:gd name="connsiteX6" fmla="*/ 27078 w 39637"/>
                  <a:gd name="connsiteY6" fmla="*/ 54156 h 256198"/>
                  <a:gd name="connsiteX7" fmla="*/ 31244 w 39637"/>
                  <a:gd name="connsiteY7" fmla="*/ 66653 h 256198"/>
                  <a:gd name="connsiteX8" fmla="*/ 35410 w 39637"/>
                  <a:gd name="connsiteY8" fmla="*/ 79151 h 256198"/>
                  <a:gd name="connsiteX9" fmla="*/ 37493 w 39637"/>
                  <a:gd name="connsiteY9" fmla="*/ 85399 h 256198"/>
                  <a:gd name="connsiteX10" fmla="*/ 37493 w 39637"/>
                  <a:gd name="connsiteY10" fmla="*/ 141638 h 256198"/>
                  <a:gd name="connsiteX11" fmla="*/ 33327 w 39637"/>
                  <a:gd name="connsiteY11" fmla="*/ 172882 h 256198"/>
                  <a:gd name="connsiteX12" fmla="*/ 29161 w 39637"/>
                  <a:gd name="connsiteY12" fmla="*/ 179131 h 256198"/>
                  <a:gd name="connsiteX13" fmla="*/ 27078 w 39637"/>
                  <a:gd name="connsiteY13" fmla="*/ 185379 h 256198"/>
                  <a:gd name="connsiteX14" fmla="*/ 18747 w 39637"/>
                  <a:gd name="connsiteY14" fmla="*/ 197877 h 256198"/>
                  <a:gd name="connsiteX15" fmla="*/ 14581 w 39637"/>
                  <a:gd name="connsiteY15" fmla="*/ 210374 h 256198"/>
                  <a:gd name="connsiteX16" fmla="*/ 12498 w 39637"/>
                  <a:gd name="connsiteY16" fmla="*/ 216623 h 256198"/>
                  <a:gd name="connsiteX17" fmla="*/ 14581 w 39637"/>
                  <a:gd name="connsiteY17" fmla="*/ 245784 h 256198"/>
                  <a:gd name="connsiteX18" fmla="*/ 16664 w 39637"/>
                  <a:gd name="connsiteY18" fmla="*/ 254116 h 256198"/>
                  <a:gd name="connsiteX19" fmla="*/ 12498 w 39637"/>
                  <a:gd name="connsiteY19" fmla="*/ 256198 h 256198"/>
                  <a:gd name="connsiteX20" fmla="*/ 12498 w 39637"/>
                  <a:gd name="connsiteY20" fmla="*/ 256198 h 256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39637" h="256198">
                    <a:moveTo>
                      <a:pt x="0" y="0"/>
                    </a:moveTo>
                    <a:lnTo>
                      <a:pt x="0" y="0"/>
                    </a:lnTo>
                    <a:cubicBezTo>
                      <a:pt x="1389" y="6249"/>
                      <a:pt x="2613" y="12536"/>
                      <a:pt x="4166" y="18746"/>
                    </a:cubicBezTo>
                    <a:cubicBezTo>
                      <a:pt x="5295" y="23263"/>
                      <a:pt x="7021" y="27850"/>
                      <a:pt x="10415" y="31244"/>
                    </a:cubicBezTo>
                    <a:cubicBezTo>
                      <a:pt x="12185" y="33014"/>
                      <a:pt x="14581" y="34021"/>
                      <a:pt x="16664" y="35409"/>
                    </a:cubicBezTo>
                    <a:cubicBezTo>
                      <a:pt x="17358" y="37492"/>
                      <a:pt x="17681" y="39739"/>
                      <a:pt x="18747" y="41658"/>
                    </a:cubicBezTo>
                    <a:cubicBezTo>
                      <a:pt x="21178" y="46035"/>
                      <a:pt x="25495" y="49406"/>
                      <a:pt x="27078" y="54156"/>
                    </a:cubicBezTo>
                    <a:lnTo>
                      <a:pt x="31244" y="66653"/>
                    </a:lnTo>
                    <a:lnTo>
                      <a:pt x="35410" y="79151"/>
                    </a:lnTo>
                    <a:lnTo>
                      <a:pt x="37493" y="85399"/>
                    </a:lnTo>
                    <a:cubicBezTo>
                      <a:pt x="40443" y="117843"/>
                      <a:pt x="40259" y="102911"/>
                      <a:pt x="37493" y="141638"/>
                    </a:cubicBezTo>
                    <a:cubicBezTo>
                      <a:pt x="37105" y="147068"/>
                      <a:pt x="37561" y="164414"/>
                      <a:pt x="33327" y="172882"/>
                    </a:cubicBezTo>
                    <a:cubicBezTo>
                      <a:pt x="32207" y="175121"/>
                      <a:pt x="30281" y="176892"/>
                      <a:pt x="29161" y="179131"/>
                    </a:cubicBezTo>
                    <a:cubicBezTo>
                      <a:pt x="28179" y="181095"/>
                      <a:pt x="28144" y="183460"/>
                      <a:pt x="27078" y="185379"/>
                    </a:cubicBezTo>
                    <a:cubicBezTo>
                      <a:pt x="24647" y="189756"/>
                      <a:pt x="20330" y="193127"/>
                      <a:pt x="18747" y="197877"/>
                    </a:cubicBezTo>
                    <a:lnTo>
                      <a:pt x="14581" y="210374"/>
                    </a:lnTo>
                    <a:lnTo>
                      <a:pt x="12498" y="216623"/>
                    </a:lnTo>
                    <a:cubicBezTo>
                      <a:pt x="13192" y="226343"/>
                      <a:pt x="13505" y="236099"/>
                      <a:pt x="14581" y="245784"/>
                    </a:cubicBezTo>
                    <a:cubicBezTo>
                      <a:pt x="14897" y="248629"/>
                      <a:pt x="17225" y="251309"/>
                      <a:pt x="16664" y="254116"/>
                    </a:cubicBezTo>
                    <a:cubicBezTo>
                      <a:pt x="16360" y="255638"/>
                      <a:pt x="13887" y="255504"/>
                      <a:pt x="12498" y="256198"/>
                    </a:cubicBezTo>
                    <a:lnTo>
                      <a:pt x="12498" y="256198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152" name="Freeform: Shape 4620">
                <a:extLst>
                  <a:ext uri="{FF2B5EF4-FFF2-40B4-BE49-F238E27FC236}">
                    <a16:creationId xmlns:a16="http://schemas.microsoft.com/office/drawing/2014/main" id="{B3EA739E-595D-3094-44FB-21D1ABF4E005}"/>
                  </a:ext>
                </a:extLst>
              </p:cNvPr>
              <p:cNvSpPr/>
              <p:nvPr/>
            </p:nvSpPr>
            <p:spPr>
              <a:xfrm>
                <a:off x="5792783" y="2606543"/>
                <a:ext cx="26602" cy="135815"/>
              </a:xfrm>
              <a:custGeom>
                <a:avLst/>
                <a:gdLst>
                  <a:gd name="connsiteX0" fmla="*/ 0 w 48958"/>
                  <a:gd name="connsiteY0" fmla="*/ 0 h 247867"/>
                  <a:gd name="connsiteX1" fmla="*/ 0 w 48958"/>
                  <a:gd name="connsiteY1" fmla="*/ 0 h 247867"/>
                  <a:gd name="connsiteX2" fmla="*/ 4165 w 48958"/>
                  <a:gd name="connsiteY2" fmla="*/ 35409 h 247867"/>
                  <a:gd name="connsiteX3" fmla="*/ 8331 w 48958"/>
                  <a:gd name="connsiteY3" fmla="*/ 41658 h 247867"/>
                  <a:gd name="connsiteX4" fmla="*/ 20829 w 48958"/>
                  <a:gd name="connsiteY4" fmla="*/ 52073 h 247867"/>
                  <a:gd name="connsiteX5" fmla="*/ 33326 w 48958"/>
                  <a:gd name="connsiteY5" fmla="*/ 62487 h 247867"/>
                  <a:gd name="connsiteX6" fmla="*/ 41658 w 48958"/>
                  <a:gd name="connsiteY6" fmla="*/ 74985 h 247867"/>
                  <a:gd name="connsiteX7" fmla="*/ 45824 w 48958"/>
                  <a:gd name="connsiteY7" fmla="*/ 91648 h 247867"/>
                  <a:gd name="connsiteX8" fmla="*/ 47907 w 48958"/>
                  <a:gd name="connsiteY8" fmla="*/ 97897 h 247867"/>
                  <a:gd name="connsiteX9" fmla="*/ 37492 w 48958"/>
                  <a:gd name="connsiteY9" fmla="*/ 162467 h 247867"/>
                  <a:gd name="connsiteX10" fmla="*/ 16663 w 48958"/>
                  <a:gd name="connsiteY10" fmla="*/ 187462 h 247867"/>
                  <a:gd name="connsiteX11" fmla="*/ 12497 w 48958"/>
                  <a:gd name="connsiteY11" fmla="*/ 193711 h 247867"/>
                  <a:gd name="connsiteX12" fmla="*/ 8331 w 48958"/>
                  <a:gd name="connsiteY12" fmla="*/ 199960 h 247867"/>
                  <a:gd name="connsiteX13" fmla="*/ 6248 w 48958"/>
                  <a:gd name="connsiteY13" fmla="*/ 212457 h 247867"/>
                  <a:gd name="connsiteX14" fmla="*/ 4165 w 48958"/>
                  <a:gd name="connsiteY14" fmla="*/ 218706 h 247867"/>
                  <a:gd name="connsiteX15" fmla="*/ 2082 w 48958"/>
                  <a:gd name="connsiteY15" fmla="*/ 247867 h 247867"/>
                  <a:gd name="connsiteX16" fmla="*/ 2082 w 48958"/>
                  <a:gd name="connsiteY16" fmla="*/ 245784 h 247867"/>
                  <a:gd name="connsiteX0" fmla="*/ 0 w 48958"/>
                  <a:gd name="connsiteY0" fmla="*/ 0 h 247867"/>
                  <a:gd name="connsiteX1" fmla="*/ 0 w 48958"/>
                  <a:gd name="connsiteY1" fmla="*/ 0 h 247867"/>
                  <a:gd name="connsiteX2" fmla="*/ 4165 w 48958"/>
                  <a:gd name="connsiteY2" fmla="*/ 35409 h 247867"/>
                  <a:gd name="connsiteX3" fmla="*/ 8331 w 48958"/>
                  <a:gd name="connsiteY3" fmla="*/ 41658 h 247867"/>
                  <a:gd name="connsiteX4" fmla="*/ 20829 w 48958"/>
                  <a:gd name="connsiteY4" fmla="*/ 52073 h 247867"/>
                  <a:gd name="connsiteX5" fmla="*/ 33326 w 48958"/>
                  <a:gd name="connsiteY5" fmla="*/ 62487 h 247867"/>
                  <a:gd name="connsiteX6" fmla="*/ 41658 w 48958"/>
                  <a:gd name="connsiteY6" fmla="*/ 74985 h 247867"/>
                  <a:gd name="connsiteX7" fmla="*/ 45824 w 48958"/>
                  <a:gd name="connsiteY7" fmla="*/ 91648 h 247867"/>
                  <a:gd name="connsiteX8" fmla="*/ 47907 w 48958"/>
                  <a:gd name="connsiteY8" fmla="*/ 97897 h 247867"/>
                  <a:gd name="connsiteX9" fmla="*/ 37492 w 48958"/>
                  <a:gd name="connsiteY9" fmla="*/ 162467 h 247867"/>
                  <a:gd name="connsiteX10" fmla="*/ 16663 w 48958"/>
                  <a:gd name="connsiteY10" fmla="*/ 187462 h 247867"/>
                  <a:gd name="connsiteX11" fmla="*/ 12497 w 48958"/>
                  <a:gd name="connsiteY11" fmla="*/ 193711 h 247867"/>
                  <a:gd name="connsiteX12" fmla="*/ 8331 w 48958"/>
                  <a:gd name="connsiteY12" fmla="*/ 199960 h 247867"/>
                  <a:gd name="connsiteX13" fmla="*/ 6248 w 48958"/>
                  <a:gd name="connsiteY13" fmla="*/ 212457 h 247867"/>
                  <a:gd name="connsiteX14" fmla="*/ 4165 w 48958"/>
                  <a:gd name="connsiteY14" fmla="*/ 218706 h 247867"/>
                  <a:gd name="connsiteX15" fmla="*/ 2082 w 48958"/>
                  <a:gd name="connsiteY15" fmla="*/ 247867 h 247867"/>
                  <a:gd name="connsiteX16" fmla="*/ 4165 w 48958"/>
                  <a:gd name="connsiteY16" fmla="*/ 245784 h 247867"/>
                  <a:gd name="connsiteX0" fmla="*/ 0 w 48958"/>
                  <a:gd name="connsiteY0" fmla="*/ 0 h 247867"/>
                  <a:gd name="connsiteX1" fmla="*/ 0 w 48958"/>
                  <a:gd name="connsiteY1" fmla="*/ 0 h 247867"/>
                  <a:gd name="connsiteX2" fmla="*/ 4165 w 48958"/>
                  <a:gd name="connsiteY2" fmla="*/ 35409 h 247867"/>
                  <a:gd name="connsiteX3" fmla="*/ 8331 w 48958"/>
                  <a:gd name="connsiteY3" fmla="*/ 41658 h 247867"/>
                  <a:gd name="connsiteX4" fmla="*/ 20829 w 48958"/>
                  <a:gd name="connsiteY4" fmla="*/ 52073 h 247867"/>
                  <a:gd name="connsiteX5" fmla="*/ 33326 w 48958"/>
                  <a:gd name="connsiteY5" fmla="*/ 62487 h 247867"/>
                  <a:gd name="connsiteX6" fmla="*/ 41658 w 48958"/>
                  <a:gd name="connsiteY6" fmla="*/ 74985 h 247867"/>
                  <a:gd name="connsiteX7" fmla="*/ 45824 w 48958"/>
                  <a:gd name="connsiteY7" fmla="*/ 91648 h 247867"/>
                  <a:gd name="connsiteX8" fmla="*/ 47907 w 48958"/>
                  <a:gd name="connsiteY8" fmla="*/ 97897 h 247867"/>
                  <a:gd name="connsiteX9" fmla="*/ 37492 w 48958"/>
                  <a:gd name="connsiteY9" fmla="*/ 162467 h 247867"/>
                  <a:gd name="connsiteX10" fmla="*/ 16663 w 48958"/>
                  <a:gd name="connsiteY10" fmla="*/ 187462 h 247867"/>
                  <a:gd name="connsiteX11" fmla="*/ 12497 w 48958"/>
                  <a:gd name="connsiteY11" fmla="*/ 193711 h 247867"/>
                  <a:gd name="connsiteX12" fmla="*/ 8331 w 48958"/>
                  <a:gd name="connsiteY12" fmla="*/ 199960 h 247867"/>
                  <a:gd name="connsiteX13" fmla="*/ 6248 w 48958"/>
                  <a:gd name="connsiteY13" fmla="*/ 212457 h 247867"/>
                  <a:gd name="connsiteX14" fmla="*/ 4165 w 48958"/>
                  <a:gd name="connsiteY14" fmla="*/ 218706 h 247867"/>
                  <a:gd name="connsiteX15" fmla="*/ 2082 w 48958"/>
                  <a:gd name="connsiteY15" fmla="*/ 247867 h 247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8958" h="247867">
                    <a:moveTo>
                      <a:pt x="0" y="0"/>
                    </a:moveTo>
                    <a:lnTo>
                      <a:pt x="0" y="0"/>
                    </a:lnTo>
                    <a:cubicBezTo>
                      <a:pt x="89" y="805"/>
                      <a:pt x="3626" y="33434"/>
                      <a:pt x="4165" y="35409"/>
                    </a:cubicBezTo>
                    <a:cubicBezTo>
                      <a:pt x="4824" y="37824"/>
                      <a:pt x="6728" y="39735"/>
                      <a:pt x="8331" y="41658"/>
                    </a:cubicBezTo>
                    <a:cubicBezTo>
                      <a:pt x="16631" y="51618"/>
                      <a:pt x="11890" y="44623"/>
                      <a:pt x="20829" y="52073"/>
                    </a:cubicBezTo>
                    <a:cubicBezTo>
                      <a:pt x="36858" y="65432"/>
                      <a:pt x="17817" y="52150"/>
                      <a:pt x="33326" y="62487"/>
                    </a:cubicBezTo>
                    <a:cubicBezTo>
                      <a:pt x="36103" y="66653"/>
                      <a:pt x="40075" y="70235"/>
                      <a:pt x="41658" y="74985"/>
                    </a:cubicBezTo>
                    <a:cubicBezTo>
                      <a:pt x="46420" y="89270"/>
                      <a:pt x="40797" y="71540"/>
                      <a:pt x="45824" y="91648"/>
                    </a:cubicBezTo>
                    <a:cubicBezTo>
                      <a:pt x="46357" y="93778"/>
                      <a:pt x="47213" y="95814"/>
                      <a:pt x="47907" y="97897"/>
                    </a:cubicBezTo>
                    <a:cubicBezTo>
                      <a:pt x="46922" y="122514"/>
                      <a:pt x="55086" y="144871"/>
                      <a:pt x="37492" y="162467"/>
                    </a:cubicBezTo>
                    <a:cubicBezTo>
                      <a:pt x="21456" y="178504"/>
                      <a:pt x="28262" y="170064"/>
                      <a:pt x="16663" y="187462"/>
                    </a:cubicBezTo>
                    <a:lnTo>
                      <a:pt x="12497" y="193711"/>
                    </a:lnTo>
                    <a:lnTo>
                      <a:pt x="8331" y="199960"/>
                    </a:lnTo>
                    <a:cubicBezTo>
                      <a:pt x="7637" y="204126"/>
                      <a:pt x="7164" y="208334"/>
                      <a:pt x="6248" y="212457"/>
                    </a:cubicBezTo>
                    <a:cubicBezTo>
                      <a:pt x="5772" y="214600"/>
                      <a:pt x="4526" y="216540"/>
                      <a:pt x="4165" y="218706"/>
                    </a:cubicBezTo>
                    <a:cubicBezTo>
                      <a:pt x="1699" y="233504"/>
                      <a:pt x="2082" y="243354"/>
                      <a:pt x="2082" y="247867"/>
                    </a:cubicBez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153" name="Freeform: Shape 4621">
                <a:extLst>
                  <a:ext uri="{FF2B5EF4-FFF2-40B4-BE49-F238E27FC236}">
                    <a16:creationId xmlns:a16="http://schemas.microsoft.com/office/drawing/2014/main" id="{8703AFB6-3967-50F1-B051-05BE456C3F9D}"/>
                  </a:ext>
                </a:extLst>
              </p:cNvPr>
              <p:cNvSpPr/>
              <p:nvPr/>
            </p:nvSpPr>
            <p:spPr>
              <a:xfrm>
                <a:off x="5817682" y="2608826"/>
                <a:ext cx="21504" cy="135815"/>
              </a:xfrm>
              <a:custGeom>
                <a:avLst/>
                <a:gdLst>
                  <a:gd name="connsiteX0" fmla="*/ 0 w 39575"/>
                  <a:gd name="connsiteY0" fmla="*/ 0 h 247867"/>
                  <a:gd name="connsiteX1" fmla="*/ 0 w 39575"/>
                  <a:gd name="connsiteY1" fmla="*/ 0 h 247867"/>
                  <a:gd name="connsiteX2" fmla="*/ 4165 w 39575"/>
                  <a:gd name="connsiteY2" fmla="*/ 29161 h 247867"/>
                  <a:gd name="connsiteX3" fmla="*/ 8331 w 39575"/>
                  <a:gd name="connsiteY3" fmla="*/ 35409 h 247867"/>
                  <a:gd name="connsiteX4" fmla="*/ 18746 w 39575"/>
                  <a:gd name="connsiteY4" fmla="*/ 52073 h 247867"/>
                  <a:gd name="connsiteX5" fmla="*/ 22912 w 39575"/>
                  <a:gd name="connsiteY5" fmla="*/ 64570 h 247867"/>
                  <a:gd name="connsiteX6" fmla="*/ 24995 w 39575"/>
                  <a:gd name="connsiteY6" fmla="*/ 74985 h 247867"/>
                  <a:gd name="connsiteX7" fmla="*/ 33326 w 39575"/>
                  <a:gd name="connsiteY7" fmla="*/ 87482 h 247867"/>
                  <a:gd name="connsiteX8" fmla="*/ 37492 w 39575"/>
                  <a:gd name="connsiteY8" fmla="*/ 93731 h 247867"/>
                  <a:gd name="connsiteX9" fmla="*/ 39575 w 39575"/>
                  <a:gd name="connsiteY9" fmla="*/ 99980 h 247867"/>
                  <a:gd name="connsiteX10" fmla="*/ 37492 w 39575"/>
                  <a:gd name="connsiteY10" fmla="*/ 120809 h 247867"/>
                  <a:gd name="connsiteX11" fmla="*/ 35409 w 39575"/>
                  <a:gd name="connsiteY11" fmla="*/ 127058 h 247867"/>
                  <a:gd name="connsiteX12" fmla="*/ 33326 w 39575"/>
                  <a:gd name="connsiteY12" fmla="*/ 160384 h 247867"/>
                  <a:gd name="connsiteX13" fmla="*/ 31243 w 39575"/>
                  <a:gd name="connsiteY13" fmla="*/ 166633 h 247867"/>
                  <a:gd name="connsiteX14" fmla="*/ 24995 w 39575"/>
                  <a:gd name="connsiteY14" fmla="*/ 168716 h 247867"/>
                  <a:gd name="connsiteX15" fmla="*/ 20829 w 39575"/>
                  <a:gd name="connsiteY15" fmla="*/ 174965 h 247867"/>
                  <a:gd name="connsiteX16" fmla="*/ 16663 w 39575"/>
                  <a:gd name="connsiteY16" fmla="*/ 193711 h 247867"/>
                  <a:gd name="connsiteX17" fmla="*/ 14580 w 39575"/>
                  <a:gd name="connsiteY17" fmla="*/ 199960 h 247867"/>
                  <a:gd name="connsiteX18" fmla="*/ 10414 w 39575"/>
                  <a:gd name="connsiteY18" fmla="*/ 214540 h 247867"/>
                  <a:gd name="connsiteX19" fmla="*/ 8331 w 39575"/>
                  <a:gd name="connsiteY19" fmla="*/ 247867 h 247867"/>
                  <a:gd name="connsiteX20" fmla="*/ 8331 w 39575"/>
                  <a:gd name="connsiteY20" fmla="*/ 247867 h 247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39575" h="247867">
                    <a:moveTo>
                      <a:pt x="0" y="0"/>
                    </a:moveTo>
                    <a:lnTo>
                      <a:pt x="0" y="0"/>
                    </a:lnTo>
                    <a:cubicBezTo>
                      <a:pt x="531" y="5837"/>
                      <a:pt x="160" y="21151"/>
                      <a:pt x="4165" y="29161"/>
                    </a:cubicBezTo>
                    <a:cubicBezTo>
                      <a:pt x="5284" y="31400"/>
                      <a:pt x="6942" y="33326"/>
                      <a:pt x="8331" y="35409"/>
                    </a:cubicBezTo>
                    <a:cubicBezTo>
                      <a:pt x="13289" y="50282"/>
                      <a:pt x="8843" y="45471"/>
                      <a:pt x="18746" y="52073"/>
                    </a:cubicBezTo>
                    <a:cubicBezTo>
                      <a:pt x="20135" y="56239"/>
                      <a:pt x="22051" y="60264"/>
                      <a:pt x="22912" y="64570"/>
                    </a:cubicBezTo>
                    <a:cubicBezTo>
                      <a:pt x="23606" y="68042"/>
                      <a:pt x="23530" y="71762"/>
                      <a:pt x="24995" y="74985"/>
                    </a:cubicBezTo>
                    <a:cubicBezTo>
                      <a:pt x="27067" y="79543"/>
                      <a:pt x="30549" y="83316"/>
                      <a:pt x="33326" y="87482"/>
                    </a:cubicBezTo>
                    <a:cubicBezTo>
                      <a:pt x="34715" y="89565"/>
                      <a:pt x="36700" y="91356"/>
                      <a:pt x="37492" y="93731"/>
                    </a:cubicBezTo>
                    <a:lnTo>
                      <a:pt x="39575" y="99980"/>
                    </a:lnTo>
                    <a:cubicBezTo>
                      <a:pt x="38881" y="106923"/>
                      <a:pt x="38553" y="113913"/>
                      <a:pt x="37492" y="120809"/>
                    </a:cubicBezTo>
                    <a:cubicBezTo>
                      <a:pt x="37158" y="122979"/>
                      <a:pt x="35639" y="124874"/>
                      <a:pt x="35409" y="127058"/>
                    </a:cubicBezTo>
                    <a:cubicBezTo>
                      <a:pt x="34244" y="138127"/>
                      <a:pt x="34491" y="149315"/>
                      <a:pt x="33326" y="160384"/>
                    </a:cubicBezTo>
                    <a:cubicBezTo>
                      <a:pt x="33096" y="162568"/>
                      <a:pt x="32795" y="165080"/>
                      <a:pt x="31243" y="166633"/>
                    </a:cubicBezTo>
                    <a:cubicBezTo>
                      <a:pt x="29691" y="168185"/>
                      <a:pt x="27078" y="168022"/>
                      <a:pt x="24995" y="168716"/>
                    </a:cubicBezTo>
                    <a:cubicBezTo>
                      <a:pt x="23606" y="170799"/>
                      <a:pt x="21949" y="172726"/>
                      <a:pt x="20829" y="174965"/>
                    </a:cubicBezTo>
                    <a:cubicBezTo>
                      <a:pt x="18015" y="180592"/>
                      <a:pt x="17943" y="187949"/>
                      <a:pt x="16663" y="193711"/>
                    </a:cubicBezTo>
                    <a:cubicBezTo>
                      <a:pt x="16187" y="195854"/>
                      <a:pt x="15183" y="197849"/>
                      <a:pt x="14580" y="199960"/>
                    </a:cubicBezTo>
                    <a:cubicBezTo>
                      <a:pt x="9349" y="218268"/>
                      <a:pt x="15408" y="199557"/>
                      <a:pt x="10414" y="214540"/>
                    </a:cubicBezTo>
                    <a:cubicBezTo>
                      <a:pt x="8285" y="246477"/>
                      <a:pt x="8331" y="235346"/>
                      <a:pt x="8331" y="247867"/>
                    </a:cubicBezTo>
                    <a:lnTo>
                      <a:pt x="8331" y="247867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154" name="Freeform: Shape 4622">
                <a:extLst>
                  <a:ext uri="{FF2B5EF4-FFF2-40B4-BE49-F238E27FC236}">
                    <a16:creationId xmlns:a16="http://schemas.microsoft.com/office/drawing/2014/main" id="{C9C78AD3-2379-69DF-8A68-B5CB1AEEFB71}"/>
                  </a:ext>
                </a:extLst>
              </p:cNvPr>
              <p:cNvSpPr/>
              <p:nvPr/>
            </p:nvSpPr>
            <p:spPr>
              <a:xfrm>
                <a:off x="5845977" y="2614532"/>
                <a:ext cx="20372" cy="136956"/>
              </a:xfrm>
              <a:custGeom>
                <a:avLst/>
                <a:gdLst>
                  <a:gd name="connsiteX0" fmla="*/ 0 w 37492"/>
                  <a:gd name="connsiteY0" fmla="*/ 0 h 249950"/>
                  <a:gd name="connsiteX1" fmla="*/ 0 w 37492"/>
                  <a:gd name="connsiteY1" fmla="*/ 0 h 249950"/>
                  <a:gd name="connsiteX2" fmla="*/ 2082 w 37492"/>
                  <a:gd name="connsiteY2" fmla="*/ 18747 h 249950"/>
                  <a:gd name="connsiteX3" fmla="*/ 6248 w 37492"/>
                  <a:gd name="connsiteY3" fmla="*/ 24995 h 249950"/>
                  <a:gd name="connsiteX4" fmla="*/ 8331 w 37492"/>
                  <a:gd name="connsiteY4" fmla="*/ 31244 h 249950"/>
                  <a:gd name="connsiteX5" fmla="*/ 12497 w 37492"/>
                  <a:gd name="connsiteY5" fmla="*/ 37493 h 249950"/>
                  <a:gd name="connsiteX6" fmla="*/ 16663 w 37492"/>
                  <a:gd name="connsiteY6" fmla="*/ 49990 h 249950"/>
                  <a:gd name="connsiteX7" fmla="*/ 18746 w 37492"/>
                  <a:gd name="connsiteY7" fmla="*/ 64571 h 249950"/>
                  <a:gd name="connsiteX8" fmla="*/ 24995 w 37492"/>
                  <a:gd name="connsiteY8" fmla="*/ 83317 h 249950"/>
                  <a:gd name="connsiteX9" fmla="*/ 29160 w 37492"/>
                  <a:gd name="connsiteY9" fmla="*/ 95814 h 249950"/>
                  <a:gd name="connsiteX10" fmla="*/ 33326 w 37492"/>
                  <a:gd name="connsiteY10" fmla="*/ 102063 h 249950"/>
                  <a:gd name="connsiteX11" fmla="*/ 35409 w 37492"/>
                  <a:gd name="connsiteY11" fmla="*/ 110395 h 249950"/>
                  <a:gd name="connsiteX12" fmla="*/ 37492 w 37492"/>
                  <a:gd name="connsiteY12" fmla="*/ 116644 h 249950"/>
                  <a:gd name="connsiteX13" fmla="*/ 35409 w 37492"/>
                  <a:gd name="connsiteY13" fmla="*/ 158302 h 249950"/>
                  <a:gd name="connsiteX14" fmla="*/ 29160 w 37492"/>
                  <a:gd name="connsiteY14" fmla="*/ 172882 h 249950"/>
                  <a:gd name="connsiteX15" fmla="*/ 22912 w 37492"/>
                  <a:gd name="connsiteY15" fmla="*/ 177048 h 249950"/>
                  <a:gd name="connsiteX16" fmla="*/ 18746 w 37492"/>
                  <a:gd name="connsiteY16" fmla="*/ 183297 h 249950"/>
                  <a:gd name="connsiteX17" fmla="*/ 14580 w 37492"/>
                  <a:gd name="connsiteY17" fmla="*/ 195794 h 249950"/>
                  <a:gd name="connsiteX18" fmla="*/ 8331 w 37492"/>
                  <a:gd name="connsiteY18" fmla="*/ 199960 h 249950"/>
                  <a:gd name="connsiteX19" fmla="*/ 6248 w 37492"/>
                  <a:gd name="connsiteY19" fmla="*/ 208292 h 249950"/>
                  <a:gd name="connsiteX20" fmla="*/ 4165 w 37492"/>
                  <a:gd name="connsiteY20" fmla="*/ 214541 h 249950"/>
                  <a:gd name="connsiteX21" fmla="*/ 6248 w 37492"/>
                  <a:gd name="connsiteY21" fmla="*/ 249950 h 249950"/>
                  <a:gd name="connsiteX22" fmla="*/ 6248 w 37492"/>
                  <a:gd name="connsiteY22" fmla="*/ 249950 h 249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37492" h="249950">
                    <a:moveTo>
                      <a:pt x="0" y="0"/>
                    </a:moveTo>
                    <a:lnTo>
                      <a:pt x="0" y="0"/>
                    </a:lnTo>
                    <a:cubicBezTo>
                      <a:pt x="694" y="6249"/>
                      <a:pt x="557" y="12647"/>
                      <a:pt x="2082" y="18747"/>
                    </a:cubicBezTo>
                    <a:cubicBezTo>
                      <a:pt x="2689" y="21175"/>
                      <a:pt x="5128" y="22756"/>
                      <a:pt x="6248" y="24995"/>
                    </a:cubicBezTo>
                    <a:cubicBezTo>
                      <a:pt x="7230" y="26959"/>
                      <a:pt x="7349" y="29280"/>
                      <a:pt x="8331" y="31244"/>
                    </a:cubicBezTo>
                    <a:cubicBezTo>
                      <a:pt x="9451" y="33483"/>
                      <a:pt x="11480" y="35205"/>
                      <a:pt x="12497" y="37493"/>
                    </a:cubicBezTo>
                    <a:cubicBezTo>
                      <a:pt x="14280" y="41506"/>
                      <a:pt x="16663" y="49990"/>
                      <a:pt x="16663" y="49990"/>
                    </a:cubicBezTo>
                    <a:cubicBezTo>
                      <a:pt x="17357" y="54850"/>
                      <a:pt x="17642" y="59787"/>
                      <a:pt x="18746" y="64571"/>
                    </a:cubicBezTo>
                    <a:cubicBezTo>
                      <a:pt x="18746" y="64572"/>
                      <a:pt x="23954" y="80192"/>
                      <a:pt x="24995" y="83317"/>
                    </a:cubicBezTo>
                    <a:cubicBezTo>
                      <a:pt x="24997" y="83322"/>
                      <a:pt x="29156" y="95809"/>
                      <a:pt x="29160" y="95814"/>
                    </a:cubicBezTo>
                    <a:lnTo>
                      <a:pt x="33326" y="102063"/>
                    </a:lnTo>
                    <a:cubicBezTo>
                      <a:pt x="34020" y="104840"/>
                      <a:pt x="34623" y="107642"/>
                      <a:pt x="35409" y="110395"/>
                    </a:cubicBezTo>
                    <a:cubicBezTo>
                      <a:pt x="36012" y="112506"/>
                      <a:pt x="37492" y="114448"/>
                      <a:pt x="37492" y="116644"/>
                    </a:cubicBezTo>
                    <a:cubicBezTo>
                      <a:pt x="37492" y="130547"/>
                      <a:pt x="36564" y="144447"/>
                      <a:pt x="35409" y="158302"/>
                    </a:cubicBezTo>
                    <a:cubicBezTo>
                      <a:pt x="34974" y="163518"/>
                      <a:pt x="32942" y="169100"/>
                      <a:pt x="29160" y="172882"/>
                    </a:cubicBezTo>
                    <a:cubicBezTo>
                      <a:pt x="27390" y="174652"/>
                      <a:pt x="24995" y="175659"/>
                      <a:pt x="22912" y="177048"/>
                    </a:cubicBezTo>
                    <a:cubicBezTo>
                      <a:pt x="21523" y="179131"/>
                      <a:pt x="19763" y="181009"/>
                      <a:pt x="18746" y="183297"/>
                    </a:cubicBezTo>
                    <a:cubicBezTo>
                      <a:pt x="16963" y="187310"/>
                      <a:pt x="18234" y="193358"/>
                      <a:pt x="14580" y="195794"/>
                    </a:cubicBezTo>
                    <a:lnTo>
                      <a:pt x="8331" y="199960"/>
                    </a:lnTo>
                    <a:cubicBezTo>
                      <a:pt x="7637" y="202737"/>
                      <a:pt x="7034" y="205539"/>
                      <a:pt x="6248" y="208292"/>
                    </a:cubicBezTo>
                    <a:cubicBezTo>
                      <a:pt x="5645" y="210403"/>
                      <a:pt x="4165" y="212345"/>
                      <a:pt x="4165" y="214541"/>
                    </a:cubicBezTo>
                    <a:cubicBezTo>
                      <a:pt x="4165" y="226364"/>
                      <a:pt x="6248" y="249950"/>
                      <a:pt x="6248" y="249950"/>
                    </a:cubicBezTo>
                    <a:lnTo>
                      <a:pt x="6248" y="249950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155" name="Freeform: Shape 4623">
                <a:extLst>
                  <a:ext uri="{FF2B5EF4-FFF2-40B4-BE49-F238E27FC236}">
                    <a16:creationId xmlns:a16="http://schemas.microsoft.com/office/drawing/2014/main" id="{E88E192F-E8DA-C416-59B5-B722C1981AFD}"/>
                  </a:ext>
                </a:extLst>
              </p:cNvPr>
              <p:cNvSpPr/>
              <p:nvPr/>
            </p:nvSpPr>
            <p:spPr>
              <a:xfrm>
                <a:off x="5870876" y="2617956"/>
                <a:ext cx="15845" cy="136956"/>
              </a:xfrm>
              <a:custGeom>
                <a:avLst/>
                <a:gdLst>
                  <a:gd name="connsiteX0" fmla="*/ 0 w 29161"/>
                  <a:gd name="connsiteY0" fmla="*/ 0 h 249950"/>
                  <a:gd name="connsiteX1" fmla="*/ 0 w 29161"/>
                  <a:gd name="connsiteY1" fmla="*/ 0 h 249950"/>
                  <a:gd name="connsiteX2" fmla="*/ 4166 w 29161"/>
                  <a:gd name="connsiteY2" fmla="*/ 24995 h 249950"/>
                  <a:gd name="connsiteX3" fmla="*/ 8331 w 29161"/>
                  <a:gd name="connsiteY3" fmla="*/ 31244 h 249950"/>
                  <a:gd name="connsiteX4" fmla="*/ 12497 w 29161"/>
                  <a:gd name="connsiteY4" fmla="*/ 43741 h 249950"/>
                  <a:gd name="connsiteX5" fmla="*/ 14580 w 29161"/>
                  <a:gd name="connsiteY5" fmla="*/ 49990 h 249950"/>
                  <a:gd name="connsiteX6" fmla="*/ 24995 w 29161"/>
                  <a:gd name="connsiteY6" fmla="*/ 77068 h 249950"/>
                  <a:gd name="connsiteX7" fmla="*/ 29161 w 29161"/>
                  <a:gd name="connsiteY7" fmla="*/ 83317 h 249950"/>
                  <a:gd name="connsiteX8" fmla="*/ 27078 w 29161"/>
                  <a:gd name="connsiteY8" fmla="*/ 160385 h 249950"/>
                  <a:gd name="connsiteX9" fmla="*/ 24995 w 29161"/>
                  <a:gd name="connsiteY9" fmla="*/ 166633 h 249950"/>
                  <a:gd name="connsiteX10" fmla="*/ 16663 w 29161"/>
                  <a:gd name="connsiteY10" fmla="*/ 179131 h 249950"/>
                  <a:gd name="connsiteX11" fmla="*/ 12497 w 29161"/>
                  <a:gd name="connsiteY11" fmla="*/ 185380 h 249950"/>
                  <a:gd name="connsiteX12" fmla="*/ 10414 w 29161"/>
                  <a:gd name="connsiteY12" fmla="*/ 191628 h 249950"/>
                  <a:gd name="connsiteX13" fmla="*/ 2083 w 29161"/>
                  <a:gd name="connsiteY13" fmla="*/ 204126 h 249950"/>
                  <a:gd name="connsiteX14" fmla="*/ 4166 w 29161"/>
                  <a:gd name="connsiteY14" fmla="*/ 249950 h 249950"/>
                  <a:gd name="connsiteX15" fmla="*/ 4166 w 29161"/>
                  <a:gd name="connsiteY15" fmla="*/ 249950 h 249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9161" h="249950">
                    <a:moveTo>
                      <a:pt x="0" y="0"/>
                    </a:moveTo>
                    <a:lnTo>
                      <a:pt x="0" y="0"/>
                    </a:lnTo>
                    <a:cubicBezTo>
                      <a:pt x="660" y="5944"/>
                      <a:pt x="676" y="18015"/>
                      <a:pt x="4166" y="24995"/>
                    </a:cubicBezTo>
                    <a:cubicBezTo>
                      <a:pt x="5285" y="27234"/>
                      <a:pt x="7314" y="28956"/>
                      <a:pt x="8331" y="31244"/>
                    </a:cubicBezTo>
                    <a:cubicBezTo>
                      <a:pt x="10114" y="35257"/>
                      <a:pt x="11108" y="39575"/>
                      <a:pt x="12497" y="43741"/>
                    </a:cubicBezTo>
                    <a:lnTo>
                      <a:pt x="14580" y="49990"/>
                    </a:lnTo>
                    <a:cubicBezTo>
                      <a:pt x="17371" y="69527"/>
                      <a:pt x="13940" y="60485"/>
                      <a:pt x="24995" y="77068"/>
                    </a:cubicBezTo>
                    <a:lnTo>
                      <a:pt x="29161" y="83317"/>
                    </a:lnTo>
                    <a:cubicBezTo>
                      <a:pt x="28467" y="109006"/>
                      <a:pt x="28361" y="134718"/>
                      <a:pt x="27078" y="160385"/>
                    </a:cubicBezTo>
                    <a:cubicBezTo>
                      <a:pt x="26968" y="162578"/>
                      <a:pt x="26061" y="164714"/>
                      <a:pt x="24995" y="166633"/>
                    </a:cubicBezTo>
                    <a:cubicBezTo>
                      <a:pt x="22563" y="171010"/>
                      <a:pt x="19440" y="174965"/>
                      <a:pt x="16663" y="179131"/>
                    </a:cubicBezTo>
                    <a:cubicBezTo>
                      <a:pt x="15274" y="181214"/>
                      <a:pt x="13289" y="183005"/>
                      <a:pt x="12497" y="185380"/>
                    </a:cubicBezTo>
                    <a:cubicBezTo>
                      <a:pt x="11803" y="187463"/>
                      <a:pt x="11480" y="189709"/>
                      <a:pt x="10414" y="191628"/>
                    </a:cubicBezTo>
                    <a:cubicBezTo>
                      <a:pt x="7983" y="196005"/>
                      <a:pt x="2083" y="204126"/>
                      <a:pt x="2083" y="204126"/>
                    </a:cubicBezTo>
                    <a:cubicBezTo>
                      <a:pt x="4275" y="245781"/>
                      <a:pt x="4166" y="230491"/>
                      <a:pt x="4166" y="249950"/>
                    </a:cubicBezTo>
                    <a:lnTo>
                      <a:pt x="4166" y="249950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156" name="Freeform: Shape 4624">
                <a:extLst>
                  <a:ext uri="{FF2B5EF4-FFF2-40B4-BE49-F238E27FC236}">
                    <a16:creationId xmlns:a16="http://schemas.microsoft.com/office/drawing/2014/main" id="{E19B5593-D869-D1FE-5CD4-42FE89B4DD10}"/>
                  </a:ext>
                </a:extLst>
              </p:cNvPr>
              <p:cNvSpPr/>
              <p:nvPr/>
            </p:nvSpPr>
            <p:spPr>
              <a:xfrm>
                <a:off x="5893318" y="2637358"/>
                <a:ext cx="22829" cy="138097"/>
              </a:xfrm>
              <a:custGeom>
                <a:avLst/>
                <a:gdLst>
                  <a:gd name="connsiteX0" fmla="*/ 12854 w 42014"/>
                  <a:gd name="connsiteY0" fmla="*/ 0 h 252032"/>
                  <a:gd name="connsiteX1" fmla="*/ 12854 w 42014"/>
                  <a:gd name="connsiteY1" fmla="*/ 0 h 252032"/>
                  <a:gd name="connsiteX2" fmla="*/ 14936 w 42014"/>
                  <a:gd name="connsiteY2" fmla="*/ 18746 h 252032"/>
                  <a:gd name="connsiteX3" fmla="*/ 23268 w 42014"/>
                  <a:gd name="connsiteY3" fmla="*/ 45824 h 252032"/>
                  <a:gd name="connsiteX4" fmla="*/ 29517 w 42014"/>
                  <a:gd name="connsiteY4" fmla="*/ 49990 h 252032"/>
                  <a:gd name="connsiteX5" fmla="*/ 33683 w 42014"/>
                  <a:gd name="connsiteY5" fmla="*/ 62487 h 252032"/>
                  <a:gd name="connsiteX6" fmla="*/ 35766 w 42014"/>
                  <a:gd name="connsiteY6" fmla="*/ 68736 h 252032"/>
                  <a:gd name="connsiteX7" fmla="*/ 37849 w 42014"/>
                  <a:gd name="connsiteY7" fmla="*/ 85399 h 252032"/>
                  <a:gd name="connsiteX8" fmla="*/ 39931 w 42014"/>
                  <a:gd name="connsiteY8" fmla="*/ 91648 h 252032"/>
                  <a:gd name="connsiteX9" fmla="*/ 42014 w 42014"/>
                  <a:gd name="connsiteY9" fmla="*/ 108311 h 252032"/>
                  <a:gd name="connsiteX10" fmla="*/ 39931 w 42014"/>
                  <a:gd name="connsiteY10" fmla="*/ 152052 h 252032"/>
                  <a:gd name="connsiteX11" fmla="*/ 29517 w 42014"/>
                  <a:gd name="connsiteY11" fmla="*/ 170799 h 252032"/>
                  <a:gd name="connsiteX12" fmla="*/ 25351 w 42014"/>
                  <a:gd name="connsiteY12" fmla="*/ 177047 h 252032"/>
                  <a:gd name="connsiteX13" fmla="*/ 19102 w 42014"/>
                  <a:gd name="connsiteY13" fmla="*/ 183296 h 252032"/>
                  <a:gd name="connsiteX14" fmla="*/ 6605 w 42014"/>
                  <a:gd name="connsiteY14" fmla="*/ 204125 h 252032"/>
                  <a:gd name="connsiteX15" fmla="*/ 2439 w 42014"/>
                  <a:gd name="connsiteY15" fmla="*/ 216623 h 252032"/>
                  <a:gd name="connsiteX16" fmla="*/ 356 w 42014"/>
                  <a:gd name="connsiteY16" fmla="*/ 222872 h 252032"/>
                  <a:gd name="connsiteX17" fmla="*/ 4522 w 42014"/>
                  <a:gd name="connsiteY17" fmla="*/ 252032 h 252032"/>
                  <a:gd name="connsiteX18" fmla="*/ 4522 w 42014"/>
                  <a:gd name="connsiteY18" fmla="*/ 252032 h 2520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2014" h="252032">
                    <a:moveTo>
                      <a:pt x="12854" y="0"/>
                    </a:moveTo>
                    <a:lnTo>
                      <a:pt x="12854" y="0"/>
                    </a:lnTo>
                    <a:cubicBezTo>
                      <a:pt x="13548" y="6249"/>
                      <a:pt x="14156" y="12507"/>
                      <a:pt x="14936" y="18746"/>
                    </a:cubicBezTo>
                    <a:cubicBezTo>
                      <a:pt x="16034" y="27530"/>
                      <a:pt x="16361" y="38917"/>
                      <a:pt x="23268" y="45824"/>
                    </a:cubicBezTo>
                    <a:cubicBezTo>
                      <a:pt x="25038" y="47594"/>
                      <a:pt x="27434" y="48601"/>
                      <a:pt x="29517" y="49990"/>
                    </a:cubicBezTo>
                    <a:lnTo>
                      <a:pt x="33683" y="62487"/>
                    </a:lnTo>
                    <a:lnTo>
                      <a:pt x="35766" y="68736"/>
                    </a:lnTo>
                    <a:cubicBezTo>
                      <a:pt x="36460" y="74290"/>
                      <a:pt x="36848" y="79892"/>
                      <a:pt x="37849" y="85399"/>
                    </a:cubicBezTo>
                    <a:cubicBezTo>
                      <a:pt x="38242" y="87559"/>
                      <a:pt x="39538" y="89488"/>
                      <a:pt x="39931" y="91648"/>
                    </a:cubicBezTo>
                    <a:cubicBezTo>
                      <a:pt x="40932" y="97155"/>
                      <a:pt x="41320" y="102757"/>
                      <a:pt x="42014" y="108311"/>
                    </a:cubicBezTo>
                    <a:cubicBezTo>
                      <a:pt x="41320" y="122891"/>
                      <a:pt x="41143" y="137506"/>
                      <a:pt x="39931" y="152052"/>
                    </a:cubicBezTo>
                    <a:cubicBezTo>
                      <a:pt x="39407" y="158340"/>
                      <a:pt x="31905" y="167218"/>
                      <a:pt x="29517" y="170799"/>
                    </a:cubicBezTo>
                    <a:cubicBezTo>
                      <a:pt x="28128" y="172882"/>
                      <a:pt x="27121" y="175277"/>
                      <a:pt x="25351" y="177047"/>
                    </a:cubicBezTo>
                    <a:cubicBezTo>
                      <a:pt x="23268" y="179130"/>
                      <a:pt x="20910" y="180971"/>
                      <a:pt x="19102" y="183296"/>
                    </a:cubicBezTo>
                    <a:cubicBezTo>
                      <a:pt x="15079" y="188469"/>
                      <a:pt x="9271" y="197461"/>
                      <a:pt x="6605" y="204125"/>
                    </a:cubicBezTo>
                    <a:cubicBezTo>
                      <a:pt x="4974" y="208202"/>
                      <a:pt x="3828" y="212457"/>
                      <a:pt x="2439" y="216623"/>
                    </a:cubicBezTo>
                    <a:lnTo>
                      <a:pt x="356" y="222872"/>
                    </a:lnTo>
                    <a:cubicBezTo>
                      <a:pt x="2514" y="250929"/>
                      <a:pt x="-3964" y="243550"/>
                      <a:pt x="4522" y="252032"/>
                    </a:cubicBezTo>
                    <a:lnTo>
                      <a:pt x="4522" y="252032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157" name="Rectangle: Rounded Corners 156">
                <a:extLst>
                  <a:ext uri="{FF2B5EF4-FFF2-40B4-BE49-F238E27FC236}">
                    <a16:creationId xmlns:a16="http://schemas.microsoft.com/office/drawing/2014/main" id="{B036199F-0FEC-E5C5-9832-4D6417D83525}"/>
                  </a:ext>
                </a:extLst>
              </p:cNvPr>
              <p:cNvSpPr/>
              <p:nvPr/>
            </p:nvSpPr>
            <p:spPr>
              <a:xfrm>
                <a:off x="5661453" y="2731159"/>
                <a:ext cx="275343" cy="392051"/>
              </a:xfrm>
              <a:prstGeom prst="roundRect">
                <a:avLst>
                  <a:gd name="adj" fmla="val 35662"/>
                </a:avLst>
              </a:prstGeom>
              <a:gradFill flip="none" rotWithShape="1">
                <a:gsLst>
                  <a:gs pos="16000">
                    <a:srgbClr val="FFEAD5"/>
                  </a:gs>
                  <a:gs pos="75000">
                    <a:srgbClr val="FFCC99"/>
                  </a:gs>
                </a:gsLst>
                <a:path path="circle">
                  <a:fillToRect l="50000" t="50000" r="50000" b="50000"/>
                </a:path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158" name="Oval 157">
                <a:extLst>
                  <a:ext uri="{FF2B5EF4-FFF2-40B4-BE49-F238E27FC236}">
                    <a16:creationId xmlns:a16="http://schemas.microsoft.com/office/drawing/2014/main" id="{F440E07A-421A-1B7F-61B4-594EE46987AF}"/>
                  </a:ext>
                </a:extLst>
              </p:cNvPr>
              <p:cNvSpPr/>
              <p:nvPr/>
            </p:nvSpPr>
            <p:spPr>
              <a:xfrm>
                <a:off x="5727380" y="2930951"/>
                <a:ext cx="141069" cy="115934"/>
              </a:xfrm>
              <a:prstGeom prst="ellipse">
                <a:avLst/>
              </a:prstGeom>
              <a:gradFill flip="none" rotWithShape="1">
                <a:gsLst>
                  <a:gs pos="16000">
                    <a:srgbClr val="FFEAD5"/>
                  </a:gs>
                  <a:gs pos="74000">
                    <a:srgbClr val="A45200"/>
                  </a:gs>
                  <a:gs pos="53000">
                    <a:srgbClr val="FFC081"/>
                  </a:gs>
                </a:gsLst>
                <a:path path="circle">
                  <a:fillToRect l="50000" t="50000" r="50000" b="50000"/>
                </a:path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4" name="!!Group 1060">
              <a:extLst>
                <a:ext uri="{FF2B5EF4-FFF2-40B4-BE49-F238E27FC236}">
                  <a16:creationId xmlns:a16="http://schemas.microsoft.com/office/drawing/2014/main" id="{EF9529DF-34F6-70DC-CF7C-D4E4B1B98DA6}"/>
                </a:ext>
              </a:extLst>
            </p:cNvPr>
            <p:cNvGrpSpPr/>
            <p:nvPr/>
          </p:nvGrpSpPr>
          <p:grpSpPr>
            <a:xfrm>
              <a:off x="4679152" y="2951825"/>
              <a:ext cx="274267" cy="514649"/>
              <a:chOff x="5661453" y="2606543"/>
              <a:chExt cx="275343" cy="516667"/>
            </a:xfrm>
          </p:grpSpPr>
          <p:sp>
            <p:nvSpPr>
              <p:cNvPr id="135" name="Freeform: Shape 4603">
                <a:extLst>
                  <a:ext uri="{FF2B5EF4-FFF2-40B4-BE49-F238E27FC236}">
                    <a16:creationId xmlns:a16="http://schemas.microsoft.com/office/drawing/2014/main" id="{89E682A0-485C-F73C-20EB-744B1417B6DA}"/>
                  </a:ext>
                </a:extLst>
              </p:cNvPr>
              <p:cNvSpPr/>
              <p:nvPr/>
            </p:nvSpPr>
            <p:spPr>
              <a:xfrm>
                <a:off x="5684131" y="2624804"/>
                <a:ext cx="24899" cy="146087"/>
              </a:xfrm>
              <a:custGeom>
                <a:avLst/>
                <a:gdLst>
                  <a:gd name="connsiteX0" fmla="*/ 0 w 45824"/>
                  <a:gd name="connsiteY0" fmla="*/ 0 h 266613"/>
                  <a:gd name="connsiteX1" fmla="*/ 0 w 45824"/>
                  <a:gd name="connsiteY1" fmla="*/ 0 h 266613"/>
                  <a:gd name="connsiteX2" fmla="*/ 4165 w 45824"/>
                  <a:gd name="connsiteY2" fmla="*/ 18746 h 266613"/>
                  <a:gd name="connsiteX3" fmla="*/ 10414 w 45824"/>
                  <a:gd name="connsiteY3" fmla="*/ 47907 h 266613"/>
                  <a:gd name="connsiteX4" fmla="*/ 16663 w 45824"/>
                  <a:gd name="connsiteY4" fmla="*/ 52072 h 266613"/>
                  <a:gd name="connsiteX5" fmla="*/ 20829 w 45824"/>
                  <a:gd name="connsiteY5" fmla="*/ 58321 h 266613"/>
                  <a:gd name="connsiteX6" fmla="*/ 27078 w 45824"/>
                  <a:gd name="connsiteY6" fmla="*/ 60404 h 266613"/>
                  <a:gd name="connsiteX7" fmla="*/ 33326 w 45824"/>
                  <a:gd name="connsiteY7" fmla="*/ 64570 h 266613"/>
                  <a:gd name="connsiteX8" fmla="*/ 41658 w 45824"/>
                  <a:gd name="connsiteY8" fmla="*/ 77067 h 266613"/>
                  <a:gd name="connsiteX9" fmla="*/ 45824 w 45824"/>
                  <a:gd name="connsiteY9" fmla="*/ 83316 h 266613"/>
                  <a:gd name="connsiteX10" fmla="*/ 43741 w 45824"/>
                  <a:gd name="connsiteY10" fmla="*/ 145804 h 266613"/>
                  <a:gd name="connsiteX11" fmla="*/ 41658 w 45824"/>
                  <a:gd name="connsiteY11" fmla="*/ 152052 h 266613"/>
                  <a:gd name="connsiteX12" fmla="*/ 37492 w 45824"/>
                  <a:gd name="connsiteY12" fmla="*/ 168716 h 266613"/>
                  <a:gd name="connsiteX13" fmla="*/ 31243 w 45824"/>
                  <a:gd name="connsiteY13" fmla="*/ 174964 h 266613"/>
                  <a:gd name="connsiteX14" fmla="*/ 20829 w 45824"/>
                  <a:gd name="connsiteY14" fmla="*/ 193711 h 266613"/>
                  <a:gd name="connsiteX15" fmla="*/ 16663 w 45824"/>
                  <a:gd name="connsiteY15" fmla="*/ 199959 h 266613"/>
                  <a:gd name="connsiteX16" fmla="*/ 12497 w 45824"/>
                  <a:gd name="connsiteY16" fmla="*/ 214540 h 266613"/>
                  <a:gd name="connsiteX17" fmla="*/ 10414 w 45824"/>
                  <a:gd name="connsiteY17" fmla="*/ 222872 h 266613"/>
                  <a:gd name="connsiteX18" fmla="*/ 10414 w 45824"/>
                  <a:gd name="connsiteY18" fmla="*/ 266613 h 266613"/>
                  <a:gd name="connsiteX19" fmla="*/ 12497 w 45824"/>
                  <a:gd name="connsiteY19" fmla="*/ 266613 h 266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45824" h="266613">
                    <a:moveTo>
                      <a:pt x="0" y="0"/>
                    </a:moveTo>
                    <a:lnTo>
                      <a:pt x="0" y="0"/>
                    </a:lnTo>
                    <a:cubicBezTo>
                      <a:pt x="1388" y="6249"/>
                      <a:pt x="3053" y="12442"/>
                      <a:pt x="4165" y="18746"/>
                    </a:cubicBezTo>
                    <a:cubicBezTo>
                      <a:pt x="4487" y="20573"/>
                      <a:pt x="6286" y="45156"/>
                      <a:pt x="10414" y="47907"/>
                    </a:cubicBezTo>
                    <a:lnTo>
                      <a:pt x="16663" y="52072"/>
                    </a:lnTo>
                    <a:cubicBezTo>
                      <a:pt x="18052" y="54155"/>
                      <a:pt x="18874" y="56757"/>
                      <a:pt x="20829" y="58321"/>
                    </a:cubicBezTo>
                    <a:cubicBezTo>
                      <a:pt x="22544" y="59693"/>
                      <a:pt x="25114" y="59422"/>
                      <a:pt x="27078" y="60404"/>
                    </a:cubicBezTo>
                    <a:cubicBezTo>
                      <a:pt x="29317" y="61524"/>
                      <a:pt x="31243" y="63181"/>
                      <a:pt x="33326" y="64570"/>
                    </a:cubicBezTo>
                    <a:lnTo>
                      <a:pt x="41658" y="77067"/>
                    </a:lnTo>
                    <a:lnTo>
                      <a:pt x="45824" y="83316"/>
                    </a:lnTo>
                    <a:cubicBezTo>
                      <a:pt x="45130" y="104145"/>
                      <a:pt x="45002" y="125001"/>
                      <a:pt x="43741" y="145804"/>
                    </a:cubicBezTo>
                    <a:cubicBezTo>
                      <a:pt x="43608" y="147995"/>
                      <a:pt x="42190" y="149922"/>
                      <a:pt x="41658" y="152052"/>
                    </a:cubicBezTo>
                    <a:cubicBezTo>
                      <a:pt x="41237" y="153734"/>
                      <a:pt x="39397" y="165859"/>
                      <a:pt x="37492" y="168716"/>
                    </a:cubicBezTo>
                    <a:cubicBezTo>
                      <a:pt x="35858" y="171167"/>
                      <a:pt x="33326" y="172881"/>
                      <a:pt x="31243" y="174964"/>
                    </a:cubicBezTo>
                    <a:cubicBezTo>
                      <a:pt x="27577" y="185962"/>
                      <a:pt x="30377" y="179389"/>
                      <a:pt x="20829" y="193711"/>
                    </a:cubicBezTo>
                    <a:lnTo>
                      <a:pt x="16663" y="199959"/>
                    </a:lnTo>
                    <a:cubicBezTo>
                      <a:pt x="10151" y="226006"/>
                      <a:pt x="18474" y="193622"/>
                      <a:pt x="12497" y="214540"/>
                    </a:cubicBezTo>
                    <a:cubicBezTo>
                      <a:pt x="11711" y="217293"/>
                      <a:pt x="10528" y="220011"/>
                      <a:pt x="10414" y="222872"/>
                    </a:cubicBezTo>
                    <a:cubicBezTo>
                      <a:pt x="9831" y="237441"/>
                      <a:pt x="10414" y="252033"/>
                      <a:pt x="10414" y="266613"/>
                    </a:cubicBezTo>
                    <a:lnTo>
                      <a:pt x="12497" y="266613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136" name="Freeform: Shape 4604">
                <a:extLst>
                  <a:ext uri="{FF2B5EF4-FFF2-40B4-BE49-F238E27FC236}">
                    <a16:creationId xmlns:a16="http://schemas.microsoft.com/office/drawing/2014/main" id="{C879F1AA-34BD-FE49-738C-A109FFA91DE6}"/>
                  </a:ext>
                </a:extLst>
              </p:cNvPr>
              <p:cNvSpPr/>
              <p:nvPr/>
            </p:nvSpPr>
            <p:spPr>
              <a:xfrm>
                <a:off x="5713557" y="2615673"/>
                <a:ext cx="24900" cy="134674"/>
              </a:xfrm>
              <a:custGeom>
                <a:avLst/>
                <a:gdLst>
                  <a:gd name="connsiteX0" fmla="*/ 0 w 45825"/>
                  <a:gd name="connsiteY0" fmla="*/ 0 h 245784"/>
                  <a:gd name="connsiteX1" fmla="*/ 0 w 45825"/>
                  <a:gd name="connsiteY1" fmla="*/ 0 h 245784"/>
                  <a:gd name="connsiteX2" fmla="*/ 2083 w 45825"/>
                  <a:gd name="connsiteY2" fmla="*/ 41659 h 245784"/>
                  <a:gd name="connsiteX3" fmla="*/ 4166 w 45825"/>
                  <a:gd name="connsiteY3" fmla="*/ 47907 h 245784"/>
                  <a:gd name="connsiteX4" fmla="*/ 8332 w 45825"/>
                  <a:gd name="connsiteY4" fmla="*/ 54156 h 245784"/>
                  <a:gd name="connsiteX5" fmla="*/ 14581 w 45825"/>
                  <a:gd name="connsiteY5" fmla="*/ 58322 h 245784"/>
                  <a:gd name="connsiteX6" fmla="*/ 24995 w 45825"/>
                  <a:gd name="connsiteY6" fmla="*/ 68736 h 245784"/>
                  <a:gd name="connsiteX7" fmla="*/ 31244 w 45825"/>
                  <a:gd name="connsiteY7" fmla="*/ 81234 h 245784"/>
                  <a:gd name="connsiteX8" fmla="*/ 39576 w 45825"/>
                  <a:gd name="connsiteY8" fmla="*/ 93731 h 245784"/>
                  <a:gd name="connsiteX9" fmla="*/ 43742 w 45825"/>
                  <a:gd name="connsiteY9" fmla="*/ 99980 h 245784"/>
                  <a:gd name="connsiteX10" fmla="*/ 45825 w 45825"/>
                  <a:gd name="connsiteY10" fmla="*/ 106229 h 245784"/>
                  <a:gd name="connsiteX11" fmla="*/ 43742 w 45825"/>
                  <a:gd name="connsiteY11" fmla="*/ 139556 h 245784"/>
                  <a:gd name="connsiteX12" fmla="*/ 41659 w 45825"/>
                  <a:gd name="connsiteY12" fmla="*/ 145804 h 245784"/>
                  <a:gd name="connsiteX13" fmla="*/ 39576 w 45825"/>
                  <a:gd name="connsiteY13" fmla="*/ 156219 h 245784"/>
                  <a:gd name="connsiteX14" fmla="*/ 35410 w 45825"/>
                  <a:gd name="connsiteY14" fmla="*/ 162468 h 245784"/>
                  <a:gd name="connsiteX15" fmla="*/ 29161 w 45825"/>
                  <a:gd name="connsiteY15" fmla="*/ 183297 h 245784"/>
                  <a:gd name="connsiteX16" fmla="*/ 24995 w 45825"/>
                  <a:gd name="connsiteY16" fmla="*/ 189546 h 245784"/>
                  <a:gd name="connsiteX17" fmla="*/ 16664 w 45825"/>
                  <a:gd name="connsiteY17" fmla="*/ 208292 h 245784"/>
                  <a:gd name="connsiteX18" fmla="*/ 14581 w 45825"/>
                  <a:gd name="connsiteY18" fmla="*/ 220789 h 245784"/>
                  <a:gd name="connsiteX19" fmla="*/ 10415 w 45825"/>
                  <a:gd name="connsiteY19" fmla="*/ 227038 h 245784"/>
                  <a:gd name="connsiteX20" fmla="*/ 12498 w 45825"/>
                  <a:gd name="connsiteY20" fmla="*/ 245784 h 245784"/>
                  <a:gd name="connsiteX21" fmla="*/ 12498 w 45825"/>
                  <a:gd name="connsiteY21" fmla="*/ 245784 h 245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45825" h="245784">
                    <a:moveTo>
                      <a:pt x="0" y="0"/>
                    </a:moveTo>
                    <a:lnTo>
                      <a:pt x="0" y="0"/>
                    </a:lnTo>
                    <a:cubicBezTo>
                      <a:pt x="694" y="13886"/>
                      <a:pt x="878" y="27808"/>
                      <a:pt x="2083" y="41659"/>
                    </a:cubicBezTo>
                    <a:cubicBezTo>
                      <a:pt x="2273" y="43846"/>
                      <a:pt x="3184" y="45943"/>
                      <a:pt x="4166" y="47907"/>
                    </a:cubicBezTo>
                    <a:cubicBezTo>
                      <a:pt x="5286" y="50146"/>
                      <a:pt x="6562" y="52386"/>
                      <a:pt x="8332" y="54156"/>
                    </a:cubicBezTo>
                    <a:cubicBezTo>
                      <a:pt x="10102" y="55926"/>
                      <a:pt x="12498" y="56933"/>
                      <a:pt x="14581" y="58322"/>
                    </a:cubicBezTo>
                    <a:cubicBezTo>
                      <a:pt x="25691" y="74988"/>
                      <a:pt x="11109" y="54850"/>
                      <a:pt x="24995" y="68736"/>
                    </a:cubicBezTo>
                    <a:cubicBezTo>
                      <a:pt x="31931" y="75672"/>
                      <a:pt x="27008" y="73610"/>
                      <a:pt x="31244" y="81234"/>
                    </a:cubicBezTo>
                    <a:cubicBezTo>
                      <a:pt x="33676" y="85611"/>
                      <a:pt x="36799" y="89565"/>
                      <a:pt x="39576" y="93731"/>
                    </a:cubicBezTo>
                    <a:cubicBezTo>
                      <a:pt x="40965" y="95814"/>
                      <a:pt x="42950" y="97605"/>
                      <a:pt x="43742" y="99980"/>
                    </a:cubicBezTo>
                    <a:lnTo>
                      <a:pt x="45825" y="106229"/>
                    </a:lnTo>
                    <a:cubicBezTo>
                      <a:pt x="45131" y="117338"/>
                      <a:pt x="44907" y="128486"/>
                      <a:pt x="43742" y="139556"/>
                    </a:cubicBezTo>
                    <a:cubicBezTo>
                      <a:pt x="43512" y="141739"/>
                      <a:pt x="42191" y="143674"/>
                      <a:pt x="41659" y="145804"/>
                    </a:cubicBezTo>
                    <a:cubicBezTo>
                      <a:pt x="40800" y="149239"/>
                      <a:pt x="40819" y="152904"/>
                      <a:pt x="39576" y="156219"/>
                    </a:cubicBezTo>
                    <a:cubicBezTo>
                      <a:pt x="38697" y="158563"/>
                      <a:pt x="36799" y="160385"/>
                      <a:pt x="35410" y="162468"/>
                    </a:cubicBezTo>
                    <a:cubicBezTo>
                      <a:pt x="34246" y="167125"/>
                      <a:pt x="31189" y="180255"/>
                      <a:pt x="29161" y="183297"/>
                    </a:cubicBezTo>
                    <a:cubicBezTo>
                      <a:pt x="27772" y="185380"/>
                      <a:pt x="26012" y="187258"/>
                      <a:pt x="24995" y="189546"/>
                    </a:cubicBezTo>
                    <a:cubicBezTo>
                      <a:pt x="15081" y="211855"/>
                      <a:pt x="26092" y="194150"/>
                      <a:pt x="16664" y="208292"/>
                    </a:cubicBezTo>
                    <a:cubicBezTo>
                      <a:pt x="15970" y="212458"/>
                      <a:pt x="15917" y="216783"/>
                      <a:pt x="14581" y="220789"/>
                    </a:cubicBezTo>
                    <a:cubicBezTo>
                      <a:pt x="13789" y="223164"/>
                      <a:pt x="10623" y="224543"/>
                      <a:pt x="10415" y="227038"/>
                    </a:cubicBezTo>
                    <a:cubicBezTo>
                      <a:pt x="9893" y="233303"/>
                      <a:pt x="12498" y="245784"/>
                      <a:pt x="12498" y="245784"/>
                    </a:cubicBezTo>
                    <a:lnTo>
                      <a:pt x="12498" y="245784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137" name="Freeform: Shape 4605">
                <a:extLst>
                  <a:ext uri="{FF2B5EF4-FFF2-40B4-BE49-F238E27FC236}">
                    <a16:creationId xmlns:a16="http://schemas.microsoft.com/office/drawing/2014/main" id="{EFD23D64-717C-1F78-E2A8-5C243A97462B}"/>
                  </a:ext>
                </a:extLst>
              </p:cNvPr>
              <p:cNvSpPr/>
              <p:nvPr/>
            </p:nvSpPr>
            <p:spPr>
              <a:xfrm>
                <a:off x="5739513" y="2612250"/>
                <a:ext cx="21579" cy="131250"/>
              </a:xfrm>
              <a:custGeom>
                <a:avLst/>
                <a:gdLst>
                  <a:gd name="connsiteX0" fmla="*/ 4304 w 39714"/>
                  <a:gd name="connsiteY0" fmla="*/ 0 h 239535"/>
                  <a:gd name="connsiteX1" fmla="*/ 4304 w 39714"/>
                  <a:gd name="connsiteY1" fmla="*/ 0 h 239535"/>
                  <a:gd name="connsiteX2" fmla="*/ 138 w 39714"/>
                  <a:gd name="connsiteY2" fmla="*/ 18746 h 239535"/>
                  <a:gd name="connsiteX3" fmla="*/ 6387 w 39714"/>
                  <a:gd name="connsiteY3" fmla="*/ 52072 h 239535"/>
                  <a:gd name="connsiteX4" fmla="*/ 8470 w 39714"/>
                  <a:gd name="connsiteY4" fmla="*/ 58321 h 239535"/>
                  <a:gd name="connsiteX5" fmla="*/ 14719 w 39714"/>
                  <a:gd name="connsiteY5" fmla="*/ 62487 h 239535"/>
                  <a:gd name="connsiteX6" fmla="*/ 18885 w 39714"/>
                  <a:gd name="connsiteY6" fmla="*/ 68736 h 239535"/>
                  <a:gd name="connsiteX7" fmla="*/ 35548 w 39714"/>
                  <a:gd name="connsiteY7" fmla="*/ 87482 h 239535"/>
                  <a:gd name="connsiteX8" fmla="*/ 39714 w 39714"/>
                  <a:gd name="connsiteY8" fmla="*/ 99979 h 239535"/>
                  <a:gd name="connsiteX9" fmla="*/ 37631 w 39714"/>
                  <a:gd name="connsiteY9" fmla="*/ 147887 h 239535"/>
                  <a:gd name="connsiteX10" fmla="*/ 31382 w 39714"/>
                  <a:gd name="connsiteY10" fmla="*/ 179130 h 239535"/>
                  <a:gd name="connsiteX11" fmla="*/ 27216 w 39714"/>
                  <a:gd name="connsiteY11" fmla="*/ 185379 h 239535"/>
                  <a:gd name="connsiteX12" fmla="*/ 25133 w 39714"/>
                  <a:gd name="connsiteY12" fmla="*/ 193711 h 239535"/>
                  <a:gd name="connsiteX13" fmla="*/ 23051 w 39714"/>
                  <a:gd name="connsiteY13" fmla="*/ 199959 h 239535"/>
                  <a:gd name="connsiteX14" fmla="*/ 23051 w 39714"/>
                  <a:gd name="connsiteY14" fmla="*/ 239535 h 239535"/>
                  <a:gd name="connsiteX15" fmla="*/ 23051 w 39714"/>
                  <a:gd name="connsiteY15" fmla="*/ 239535 h 239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9714" h="239535">
                    <a:moveTo>
                      <a:pt x="4304" y="0"/>
                    </a:moveTo>
                    <a:lnTo>
                      <a:pt x="4304" y="0"/>
                    </a:lnTo>
                    <a:cubicBezTo>
                      <a:pt x="2915" y="6249"/>
                      <a:pt x="474" y="12354"/>
                      <a:pt x="138" y="18746"/>
                    </a:cubicBezTo>
                    <a:cubicBezTo>
                      <a:pt x="-664" y="33980"/>
                      <a:pt x="2105" y="39226"/>
                      <a:pt x="6387" y="52072"/>
                    </a:cubicBezTo>
                    <a:cubicBezTo>
                      <a:pt x="7081" y="54155"/>
                      <a:pt x="6643" y="57103"/>
                      <a:pt x="8470" y="58321"/>
                    </a:cubicBezTo>
                    <a:lnTo>
                      <a:pt x="14719" y="62487"/>
                    </a:lnTo>
                    <a:cubicBezTo>
                      <a:pt x="16108" y="64570"/>
                      <a:pt x="17222" y="66865"/>
                      <a:pt x="18885" y="68736"/>
                    </a:cubicBezTo>
                    <a:cubicBezTo>
                      <a:pt x="23076" y="73451"/>
                      <a:pt x="32396" y="80391"/>
                      <a:pt x="35548" y="87482"/>
                    </a:cubicBezTo>
                    <a:cubicBezTo>
                      <a:pt x="37331" y="91495"/>
                      <a:pt x="39714" y="99979"/>
                      <a:pt x="39714" y="99979"/>
                    </a:cubicBezTo>
                    <a:cubicBezTo>
                      <a:pt x="39020" y="115948"/>
                      <a:pt x="38628" y="131934"/>
                      <a:pt x="37631" y="147887"/>
                    </a:cubicBezTo>
                    <a:cubicBezTo>
                      <a:pt x="37214" y="154555"/>
                      <a:pt x="36034" y="172152"/>
                      <a:pt x="31382" y="179130"/>
                    </a:cubicBezTo>
                    <a:lnTo>
                      <a:pt x="27216" y="185379"/>
                    </a:lnTo>
                    <a:cubicBezTo>
                      <a:pt x="26522" y="188156"/>
                      <a:pt x="25919" y="190958"/>
                      <a:pt x="25133" y="193711"/>
                    </a:cubicBezTo>
                    <a:cubicBezTo>
                      <a:pt x="24530" y="195822"/>
                      <a:pt x="23151" y="197766"/>
                      <a:pt x="23051" y="199959"/>
                    </a:cubicBezTo>
                    <a:cubicBezTo>
                      <a:pt x="22452" y="213137"/>
                      <a:pt x="23051" y="226343"/>
                      <a:pt x="23051" y="239535"/>
                    </a:cubicBezTo>
                    <a:lnTo>
                      <a:pt x="23051" y="239535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138" name="Freeform: Shape 4606">
                <a:extLst>
                  <a:ext uri="{FF2B5EF4-FFF2-40B4-BE49-F238E27FC236}">
                    <a16:creationId xmlns:a16="http://schemas.microsoft.com/office/drawing/2014/main" id="{C021EC16-F4B2-B209-6D6E-47B33A5CF037}"/>
                  </a:ext>
                </a:extLst>
              </p:cNvPr>
              <p:cNvSpPr/>
              <p:nvPr/>
            </p:nvSpPr>
            <p:spPr>
              <a:xfrm>
                <a:off x="5766751" y="2607684"/>
                <a:ext cx="21537" cy="140380"/>
              </a:xfrm>
              <a:custGeom>
                <a:avLst/>
                <a:gdLst>
                  <a:gd name="connsiteX0" fmla="*/ 0 w 39637"/>
                  <a:gd name="connsiteY0" fmla="*/ 0 h 256198"/>
                  <a:gd name="connsiteX1" fmla="*/ 0 w 39637"/>
                  <a:gd name="connsiteY1" fmla="*/ 0 h 256198"/>
                  <a:gd name="connsiteX2" fmla="*/ 4166 w 39637"/>
                  <a:gd name="connsiteY2" fmla="*/ 18746 h 256198"/>
                  <a:gd name="connsiteX3" fmla="*/ 10415 w 39637"/>
                  <a:gd name="connsiteY3" fmla="*/ 31244 h 256198"/>
                  <a:gd name="connsiteX4" fmla="*/ 16664 w 39637"/>
                  <a:gd name="connsiteY4" fmla="*/ 35409 h 256198"/>
                  <a:gd name="connsiteX5" fmla="*/ 18747 w 39637"/>
                  <a:gd name="connsiteY5" fmla="*/ 41658 h 256198"/>
                  <a:gd name="connsiteX6" fmla="*/ 27078 w 39637"/>
                  <a:gd name="connsiteY6" fmla="*/ 54156 h 256198"/>
                  <a:gd name="connsiteX7" fmla="*/ 31244 w 39637"/>
                  <a:gd name="connsiteY7" fmla="*/ 66653 h 256198"/>
                  <a:gd name="connsiteX8" fmla="*/ 35410 w 39637"/>
                  <a:gd name="connsiteY8" fmla="*/ 79151 h 256198"/>
                  <a:gd name="connsiteX9" fmla="*/ 37493 w 39637"/>
                  <a:gd name="connsiteY9" fmla="*/ 85399 h 256198"/>
                  <a:gd name="connsiteX10" fmla="*/ 37493 w 39637"/>
                  <a:gd name="connsiteY10" fmla="*/ 141638 h 256198"/>
                  <a:gd name="connsiteX11" fmla="*/ 33327 w 39637"/>
                  <a:gd name="connsiteY11" fmla="*/ 172882 h 256198"/>
                  <a:gd name="connsiteX12" fmla="*/ 29161 w 39637"/>
                  <a:gd name="connsiteY12" fmla="*/ 179131 h 256198"/>
                  <a:gd name="connsiteX13" fmla="*/ 27078 w 39637"/>
                  <a:gd name="connsiteY13" fmla="*/ 185379 h 256198"/>
                  <a:gd name="connsiteX14" fmla="*/ 18747 w 39637"/>
                  <a:gd name="connsiteY14" fmla="*/ 197877 h 256198"/>
                  <a:gd name="connsiteX15" fmla="*/ 14581 w 39637"/>
                  <a:gd name="connsiteY15" fmla="*/ 210374 h 256198"/>
                  <a:gd name="connsiteX16" fmla="*/ 12498 w 39637"/>
                  <a:gd name="connsiteY16" fmla="*/ 216623 h 256198"/>
                  <a:gd name="connsiteX17" fmla="*/ 14581 w 39637"/>
                  <a:gd name="connsiteY17" fmla="*/ 245784 h 256198"/>
                  <a:gd name="connsiteX18" fmla="*/ 16664 w 39637"/>
                  <a:gd name="connsiteY18" fmla="*/ 254116 h 256198"/>
                  <a:gd name="connsiteX19" fmla="*/ 12498 w 39637"/>
                  <a:gd name="connsiteY19" fmla="*/ 256198 h 256198"/>
                  <a:gd name="connsiteX20" fmla="*/ 12498 w 39637"/>
                  <a:gd name="connsiteY20" fmla="*/ 256198 h 256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39637" h="256198">
                    <a:moveTo>
                      <a:pt x="0" y="0"/>
                    </a:moveTo>
                    <a:lnTo>
                      <a:pt x="0" y="0"/>
                    </a:lnTo>
                    <a:cubicBezTo>
                      <a:pt x="1389" y="6249"/>
                      <a:pt x="2613" y="12536"/>
                      <a:pt x="4166" y="18746"/>
                    </a:cubicBezTo>
                    <a:cubicBezTo>
                      <a:pt x="5295" y="23263"/>
                      <a:pt x="7021" y="27850"/>
                      <a:pt x="10415" y="31244"/>
                    </a:cubicBezTo>
                    <a:cubicBezTo>
                      <a:pt x="12185" y="33014"/>
                      <a:pt x="14581" y="34021"/>
                      <a:pt x="16664" y="35409"/>
                    </a:cubicBezTo>
                    <a:cubicBezTo>
                      <a:pt x="17358" y="37492"/>
                      <a:pt x="17681" y="39739"/>
                      <a:pt x="18747" y="41658"/>
                    </a:cubicBezTo>
                    <a:cubicBezTo>
                      <a:pt x="21178" y="46035"/>
                      <a:pt x="25495" y="49406"/>
                      <a:pt x="27078" y="54156"/>
                    </a:cubicBezTo>
                    <a:lnTo>
                      <a:pt x="31244" y="66653"/>
                    </a:lnTo>
                    <a:lnTo>
                      <a:pt x="35410" y="79151"/>
                    </a:lnTo>
                    <a:lnTo>
                      <a:pt x="37493" y="85399"/>
                    </a:lnTo>
                    <a:cubicBezTo>
                      <a:pt x="40443" y="117843"/>
                      <a:pt x="40259" y="102911"/>
                      <a:pt x="37493" y="141638"/>
                    </a:cubicBezTo>
                    <a:cubicBezTo>
                      <a:pt x="37105" y="147068"/>
                      <a:pt x="37561" y="164414"/>
                      <a:pt x="33327" y="172882"/>
                    </a:cubicBezTo>
                    <a:cubicBezTo>
                      <a:pt x="32207" y="175121"/>
                      <a:pt x="30281" y="176892"/>
                      <a:pt x="29161" y="179131"/>
                    </a:cubicBezTo>
                    <a:cubicBezTo>
                      <a:pt x="28179" y="181095"/>
                      <a:pt x="28144" y="183460"/>
                      <a:pt x="27078" y="185379"/>
                    </a:cubicBezTo>
                    <a:cubicBezTo>
                      <a:pt x="24647" y="189756"/>
                      <a:pt x="20330" y="193127"/>
                      <a:pt x="18747" y="197877"/>
                    </a:cubicBezTo>
                    <a:lnTo>
                      <a:pt x="14581" y="210374"/>
                    </a:lnTo>
                    <a:lnTo>
                      <a:pt x="12498" y="216623"/>
                    </a:lnTo>
                    <a:cubicBezTo>
                      <a:pt x="13192" y="226343"/>
                      <a:pt x="13505" y="236099"/>
                      <a:pt x="14581" y="245784"/>
                    </a:cubicBezTo>
                    <a:cubicBezTo>
                      <a:pt x="14897" y="248629"/>
                      <a:pt x="17225" y="251309"/>
                      <a:pt x="16664" y="254116"/>
                    </a:cubicBezTo>
                    <a:cubicBezTo>
                      <a:pt x="16360" y="255638"/>
                      <a:pt x="13887" y="255504"/>
                      <a:pt x="12498" y="256198"/>
                    </a:cubicBezTo>
                    <a:lnTo>
                      <a:pt x="12498" y="256198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139" name="Freeform: Shape 4607">
                <a:extLst>
                  <a:ext uri="{FF2B5EF4-FFF2-40B4-BE49-F238E27FC236}">
                    <a16:creationId xmlns:a16="http://schemas.microsoft.com/office/drawing/2014/main" id="{25C76A5B-3ECA-D850-8FB5-E823F8DA4462}"/>
                  </a:ext>
                </a:extLst>
              </p:cNvPr>
              <p:cNvSpPr/>
              <p:nvPr/>
            </p:nvSpPr>
            <p:spPr>
              <a:xfrm>
                <a:off x="5792783" y="2606543"/>
                <a:ext cx="26602" cy="135815"/>
              </a:xfrm>
              <a:custGeom>
                <a:avLst/>
                <a:gdLst>
                  <a:gd name="connsiteX0" fmla="*/ 0 w 48958"/>
                  <a:gd name="connsiteY0" fmla="*/ 0 h 247867"/>
                  <a:gd name="connsiteX1" fmla="*/ 0 w 48958"/>
                  <a:gd name="connsiteY1" fmla="*/ 0 h 247867"/>
                  <a:gd name="connsiteX2" fmla="*/ 4165 w 48958"/>
                  <a:gd name="connsiteY2" fmla="*/ 35409 h 247867"/>
                  <a:gd name="connsiteX3" fmla="*/ 8331 w 48958"/>
                  <a:gd name="connsiteY3" fmla="*/ 41658 h 247867"/>
                  <a:gd name="connsiteX4" fmla="*/ 20829 w 48958"/>
                  <a:gd name="connsiteY4" fmla="*/ 52073 h 247867"/>
                  <a:gd name="connsiteX5" fmla="*/ 33326 w 48958"/>
                  <a:gd name="connsiteY5" fmla="*/ 62487 h 247867"/>
                  <a:gd name="connsiteX6" fmla="*/ 41658 w 48958"/>
                  <a:gd name="connsiteY6" fmla="*/ 74985 h 247867"/>
                  <a:gd name="connsiteX7" fmla="*/ 45824 w 48958"/>
                  <a:gd name="connsiteY7" fmla="*/ 91648 h 247867"/>
                  <a:gd name="connsiteX8" fmla="*/ 47907 w 48958"/>
                  <a:gd name="connsiteY8" fmla="*/ 97897 h 247867"/>
                  <a:gd name="connsiteX9" fmla="*/ 37492 w 48958"/>
                  <a:gd name="connsiteY9" fmla="*/ 162467 h 247867"/>
                  <a:gd name="connsiteX10" fmla="*/ 16663 w 48958"/>
                  <a:gd name="connsiteY10" fmla="*/ 187462 h 247867"/>
                  <a:gd name="connsiteX11" fmla="*/ 12497 w 48958"/>
                  <a:gd name="connsiteY11" fmla="*/ 193711 h 247867"/>
                  <a:gd name="connsiteX12" fmla="*/ 8331 w 48958"/>
                  <a:gd name="connsiteY12" fmla="*/ 199960 h 247867"/>
                  <a:gd name="connsiteX13" fmla="*/ 6248 w 48958"/>
                  <a:gd name="connsiteY13" fmla="*/ 212457 h 247867"/>
                  <a:gd name="connsiteX14" fmla="*/ 4165 w 48958"/>
                  <a:gd name="connsiteY14" fmla="*/ 218706 h 247867"/>
                  <a:gd name="connsiteX15" fmla="*/ 2082 w 48958"/>
                  <a:gd name="connsiteY15" fmla="*/ 247867 h 247867"/>
                  <a:gd name="connsiteX16" fmla="*/ 2082 w 48958"/>
                  <a:gd name="connsiteY16" fmla="*/ 245784 h 247867"/>
                  <a:gd name="connsiteX0" fmla="*/ 0 w 48958"/>
                  <a:gd name="connsiteY0" fmla="*/ 0 h 247867"/>
                  <a:gd name="connsiteX1" fmla="*/ 0 w 48958"/>
                  <a:gd name="connsiteY1" fmla="*/ 0 h 247867"/>
                  <a:gd name="connsiteX2" fmla="*/ 4165 w 48958"/>
                  <a:gd name="connsiteY2" fmla="*/ 35409 h 247867"/>
                  <a:gd name="connsiteX3" fmla="*/ 8331 w 48958"/>
                  <a:gd name="connsiteY3" fmla="*/ 41658 h 247867"/>
                  <a:gd name="connsiteX4" fmla="*/ 20829 w 48958"/>
                  <a:gd name="connsiteY4" fmla="*/ 52073 h 247867"/>
                  <a:gd name="connsiteX5" fmla="*/ 33326 w 48958"/>
                  <a:gd name="connsiteY5" fmla="*/ 62487 h 247867"/>
                  <a:gd name="connsiteX6" fmla="*/ 41658 w 48958"/>
                  <a:gd name="connsiteY6" fmla="*/ 74985 h 247867"/>
                  <a:gd name="connsiteX7" fmla="*/ 45824 w 48958"/>
                  <a:gd name="connsiteY7" fmla="*/ 91648 h 247867"/>
                  <a:gd name="connsiteX8" fmla="*/ 47907 w 48958"/>
                  <a:gd name="connsiteY8" fmla="*/ 97897 h 247867"/>
                  <a:gd name="connsiteX9" fmla="*/ 37492 w 48958"/>
                  <a:gd name="connsiteY9" fmla="*/ 162467 h 247867"/>
                  <a:gd name="connsiteX10" fmla="*/ 16663 w 48958"/>
                  <a:gd name="connsiteY10" fmla="*/ 187462 h 247867"/>
                  <a:gd name="connsiteX11" fmla="*/ 12497 w 48958"/>
                  <a:gd name="connsiteY11" fmla="*/ 193711 h 247867"/>
                  <a:gd name="connsiteX12" fmla="*/ 8331 w 48958"/>
                  <a:gd name="connsiteY12" fmla="*/ 199960 h 247867"/>
                  <a:gd name="connsiteX13" fmla="*/ 6248 w 48958"/>
                  <a:gd name="connsiteY13" fmla="*/ 212457 h 247867"/>
                  <a:gd name="connsiteX14" fmla="*/ 4165 w 48958"/>
                  <a:gd name="connsiteY14" fmla="*/ 218706 h 247867"/>
                  <a:gd name="connsiteX15" fmla="*/ 2082 w 48958"/>
                  <a:gd name="connsiteY15" fmla="*/ 247867 h 247867"/>
                  <a:gd name="connsiteX16" fmla="*/ 4165 w 48958"/>
                  <a:gd name="connsiteY16" fmla="*/ 245784 h 247867"/>
                  <a:gd name="connsiteX0" fmla="*/ 0 w 48958"/>
                  <a:gd name="connsiteY0" fmla="*/ 0 h 247867"/>
                  <a:gd name="connsiteX1" fmla="*/ 0 w 48958"/>
                  <a:gd name="connsiteY1" fmla="*/ 0 h 247867"/>
                  <a:gd name="connsiteX2" fmla="*/ 4165 w 48958"/>
                  <a:gd name="connsiteY2" fmla="*/ 35409 h 247867"/>
                  <a:gd name="connsiteX3" fmla="*/ 8331 w 48958"/>
                  <a:gd name="connsiteY3" fmla="*/ 41658 h 247867"/>
                  <a:gd name="connsiteX4" fmla="*/ 20829 w 48958"/>
                  <a:gd name="connsiteY4" fmla="*/ 52073 h 247867"/>
                  <a:gd name="connsiteX5" fmla="*/ 33326 w 48958"/>
                  <a:gd name="connsiteY5" fmla="*/ 62487 h 247867"/>
                  <a:gd name="connsiteX6" fmla="*/ 41658 w 48958"/>
                  <a:gd name="connsiteY6" fmla="*/ 74985 h 247867"/>
                  <a:gd name="connsiteX7" fmla="*/ 45824 w 48958"/>
                  <a:gd name="connsiteY7" fmla="*/ 91648 h 247867"/>
                  <a:gd name="connsiteX8" fmla="*/ 47907 w 48958"/>
                  <a:gd name="connsiteY8" fmla="*/ 97897 h 247867"/>
                  <a:gd name="connsiteX9" fmla="*/ 37492 w 48958"/>
                  <a:gd name="connsiteY9" fmla="*/ 162467 h 247867"/>
                  <a:gd name="connsiteX10" fmla="*/ 16663 w 48958"/>
                  <a:gd name="connsiteY10" fmla="*/ 187462 h 247867"/>
                  <a:gd name="connsiteX11" fmla="*/ 12497 w 48958"/>
                  <a:gd name="connsiteY11" fmla="*/ 193711 h 247867"/>
                  <a:gd name="connsiteX12" fmla="*/ 8331 w 48958"/>
                  <a:gd name="connsiteY12" fmla="*/ 199960 h 247867"/>
                  <a:gd name="connsiteX13" fmla="*/ 6248 w 48958"/>
                  <a:gd name="connsiteY13" fmla="*/ 212457 h 247867"/>
                  <a:gd name="connsiteX14" fmla="*/ 4165 w 48958"/>
                  <a:gd name="connsiteY14" fmla="*/ 218706 h 247867"/>
                  <a:gd name="connsiteX15" fmla="*/ 2082 w 48958"/>
                  <a:gd name="connsiteY15" fmla="*/ 247867 h 247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8958" h="247867">
                    <a:moveTo>
                      <a:pt x="0" y="0"/>
                    </a:moveTo>
                    <a:lnTo>
                      <a:pt x="0" y="0"/>
                    </a:lnTo>
                    <a:cubicBezTo>
                      <a:pt x="89" y="805"/>
                      <a:pt x="3626" y="33434"/>
                      <a:pt x="4165" y="35409"/>
                    </a:cubicBezTo>
                    <a:cubicBezTo>
                      <a:pt x="4824" y="37824"/>
                      <a:pt x="6728" y="39735"/>
                      <a:pt x="8331" y="41658"/>
                    </a:cubicBezTo>
                    <a:cubicBezTo>
                      <a:pt x="16631" y="51618"/>
                      <a:pt x="11890" y="44623"/>
                      <a:pt x="20829" y="52073"/>
                    </a:cubicBezTo>
                    <a:cubicBezTo>
                      <a:pt x="36858" y="65432"/>
                      <a:pt x="17817" y="52150"/>
                      <a:pt x="33326" y="62487"/>
                    </a:cubicBezTo>
                    <a:cubicBezTo>
                      <a:pt x="36103" y="66653"/>
                      <a:pt x="40075" y="70235"/>
                      <a:pt x="41658" y="74985"/>
                    </a:cubicBezTo>
                    <a:cubicBezTo>
                      <a:pt x="46420" y="89270"/>
                      <a:pt x="40797" y="71540"/>
                      <a:pt x="45824" y="91648"/>
                    </a:cubicBezTo>
                    <a:cubicBezTo>
                      <a:pt x="46357" y="93778"/>
                      <a:pt x="47213" y="95814"/>
                      <a:pt x="47907" y="97897"/>
                    </a:cubicBezTo>
                    <a:cubicBezTo>
                      <a:pt x="46922" y="122514"/>
                      <a:pt x="55086" y="144871"/>
                      <a:pt x="37492" y="162467"/>
                    </a:cubicBezTo>
                    <a:cubicBezTo>
                      <a:pt x="21456" y="178504"/>
                      <a:pt x="28262" y="170064"/>
                      <a:pt x="16663" y="187462"/>
                    </a:cubicBezTo>
                    <a:lnTo>
                      <a:pt x="12497" y="193711"/>
                    </a:lnTo>
                    <a:lnTo>
                      <a:pt x="8331" y="199960"/>
                    </a:lnTo>
                    <a:cubicBezTo>
                      <a:pt x="7637" y="204126"/>
                      <a:pt x="7164" y="208334"/>
                      <a:pt x="6248" y="212457"/>
                    </a:cubicBezTo>
                    <a:cubicBezTo>
                      <a:pt x="5772" y="214600"/>
                      <a:pt x="4526" y="216540"/>
                      <a:pt x="4165" y="218706"/>
                    </a:cubicBezTo>
                    <a:cubicBezTo>
                      <a:pt x="1699" y="233504"/>
                      <a:pt x="2082" y="243354"/>
                      <a:pt x="2082" y="247867"/>
                    </a:cubicBez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140" name="Freeform: Shape 4608">
                <a:extLst>
                  <a:ext uri="{FF2B5EF4-FFF2-40B4-BE49-F238E27FC236}">
                    <a16:creationId xmlns:a16="http://schemas.microsoft.com/office/drawing/2014/main" id="{F0BBD0C2-FD82-DFF8-3D74-BEF6F2802964}"/>
                  </a:ext>
                </a:extLst>
              </p:cNvPr>
              <p:cNvSpPr/>
              <p:nvPr/>
            </p:nvSpPr>
            <p:spPr>
              <a:xfrm>
                <a:off x="5817682" y="2608826"/>
                <a:ext cx="21504" cy="135815"/>
              </a:xfrm>
              <a:custGeom>
                <a:avLst/>
                <a:gdLst>
                  <a:gd name="connsiteX0" fmla="*/ 0 w 39575"/>
                  <a:gd name="connsiteY0" fmla="*/ 0 h 247867"/>
                  <a:gd name="connsiteX1" fmla="*/ 0 w 39575"/>
                  <a:gd name="connsiteY1" fmla="*/ 0 h 247867"/>
                  <a:gd name="connsiteX2" fmla="*/ 4165 w 39575"/>
                  <a:gd name="connsiteY2" fmla="*/ 29161 h 247867"/>
                  <a:gd name="connsiteX3" fmla="*/ 8331 w 39575"/>
                  <a:gd name="connsiteY3" fmla="*/ 35409 h 247867"/>
                  <a:gd name="connsiteX4" fmla="*/ 18746 w 39575"/>
                  <a:gd name="connsiteY4" fmla="*/ 52073 h 247867"/>
                  <a:gd name="connsiteX5" fmla="*/ 22912 w 39575"/>
                  <a:gd name="connsiteY5" fmla="*/ 64570 h 247867"/>
                  <a:gd name="connsiteX6" fmla="*/ 24995 w 39575"/>
                  <a:gd name="connsiteY6" fmla="*/ 74985 h 247867"/>
                  <a:gd name="connsiteX7" fmla="*/ 33326 w 39575"/>
                  <a:gd name="connsiteY7" fmla="*/ 87482 h 247867"/>
                  <a:gd name="connsiteX8" fmla="*/ 37492 w 39575"/>
                  <a:gd name="connsiteY8" fmla="*/ 93731 h 247867"/>
                  <a:gd name="connsiteX9" fmla="*/ 39575 w 39575"/>
                  <a:gd name="connsiteY9" fmla="*/ 99980 h 247867"/>
                  <a:gd name="connsiteX10" fmla="*/ 37492 w 39575"/>
                  <a:gd name="connsiteY10" fmla="*/ 120809 h 247867"/>
                  <a:gd name="connsiteX11" fmla="*/ 35409 w 39575"/>
                  <a:gd name="connsiteY11" fmla="*/ 127058 h 247867"/>
                  <a:gd name="connsiteX12" fmla="*/ 33326 w 39575"/>
                  <a:gd name="connsiteY12" fmla="*/ 160384 h 247867"/>
                  <a:gd name="connsiteX13" fmla="*/ 31243 w 39575"/>
                  <a:gd name="connsiteY13" fmla="*/ 166633 h 247867"/>
                  <a:gd name="connsiteX14" fmla="*/ 24995 w 39575"/>
                  <a:gd name="connsiteY14" fmla="*/ 168716 h 247867"/>
                  <a:gd name="connsiteX15" fmla="*/ 20829 w 39575"/>
                  <a:gd name="connsiteY15" fmla="*/ 174965 h 247867"/>
                  <a:gd name="connsiteX16" fmla="*/ 16663 w 39575"/>
                  <a:gd name="connsiteY16" fmla="*/ 193711 h 247867"/>
                  <a:gd name="connsiteX17" fmla="*/ 14580 w 39575"/>
                  <a:gd name="connsiteY17" fmla="*/ 199960 h 247867"/>
                  <a:gd name="connsiteX18" fmla="*/ 10414 w 39575"/>
                  <a:gd name="connsiteY18" fmla="*/ 214540 h 247867"/>
                  <a:gd name="connsiteX19" fmla="*/ 8331 w 39575"/>
                  <a:gd name="connsiteY19" fmla="*/ 247867 h 247867"/>
                  <a:gd name="connsiteX20" fmla="*/ 8331 w 39575"/>
                  <a:gd name="connsiteY20" fmla="*/ 247867 h 247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39575" h="247867">
                    <a:moveTo>
                      <a:pt x="0" y="0"/>
                    </a:moveTo>
                    <a:lnTo>
                      <a:pt x="0" y="0"/>
                    </a:lnTo>
                    <a:cubicBezTo>
                      <a:pt x="531" y="5837"/>
                      <a:pt x="160" y="21151"/>
                      <a:pt x="4165" y="29161"/>
                    </a:cubicBezTo>
                    <a:cubicBezTo>
                      <a:pt x="5284" y="31400"/>
                      <a:pt x="6942" y="33326"/>
                      <a:pt x="8331" y="35409"/>
                    </a:cubicBezTo>
                    <a:cubicBezTo>
                      <a:pt x="13289" y="50282"/>
                      <a:pt x="8843" y="45471"/>
                      <a:pt x="18746" y="52073"/>
                    </a:cubicBezTo>
                    <a:cubicBezTo>
                      <a:pt x="20135" y="56239"/>
                      <a:pt x="22051" y="60264"/>
                      <a:pt x="22912" y="64570"/>
                    </a:cubicBezTo>
                    <a:cubicBezTo>
                      <a:pt x="23606" y="68042"/>
                      <a:pt x="23530" y="71762"/>
                      <a:pt x="24995" y="74985"/>
                    </a:cubicBezTo>
                    <a:cubicBezTo>
                      <a:pt x="27067" y="79543"/>
                      <a:pt x="30549" y="83316"/>
                      <a:pt x="33326" y="87482"/>
                    </a:cubicBezTo>
                    <a:cubicBezTo>
                      <a:pt x="34715" y="89565"/>
                      <a:pt x="36700" y="91356"/>
                      <a:pt x="37492" y="93731"/>
                    </a:cubicBezTo>
                    <a:lnTo>
                      <a:pt x="39575" y="99980"/>
                    </a:lnTo>
                    <a:cubicBezTo>
                      <a:pt x="38881" y="106923"/>
                      <a:pt x="38553" y="113913"/>
                      <a:pt x="37492" y="120809"/>
                    </a:cubicBezTo>
                    <a:cubicBezTo>
                      <a:pt x="37158" y="122979"/>
                      <a:pt x="35639" y="124874"/>
                      <a:pt x="35409" y="127058"/>
                    </a:cubicBezTo>
                    <a:cubicBezTo>
                      <a:pt x="34244" y="138127"/>
                      <a:pt x="34491" y="149315"/>
                      <a:pt x="33326" y="160384"/>
                    </a:cubicBezTo>
                    <a:cubicBezTo>
                      <a:pt x="33096" y="162568"/>
                      <a:pt x="32795" y="165080"/>
                      <a:pt x="31243" y="166633"/>
                    </a:cubicBezTo>
                    <a:cubicBezTo>
                      <a:pt x="29691" y="168185"/>
                      <a:pt x="27078" y="168022"/>
                      <a:pt x="24995" y="168716"/>
                    </a:cubicBezTo>
                    <a:cubicBezTo>
                      <a:pt x="23606" y="170799"/>
                      <a:pt x="21949" y="172726"/>
                      <a:pt x="20829" y="174965"/>
                    </a:cubicBezTo>
                    <a:cubicBezTo>
                      <a:pt x="18015" y="180592"/>
                      <a:pt x="17943" y="187949"/>
                      <a:pt x="16663" y="193711"/>
                    </a:cubicBezTo>
                    <a:cubicBezTo>
                      <a:pt x="16187" y="195854"/>
                      <a:pt x="15183" y="197849"/>
                      <a:pt x="14580" y="199960"/>
                    </a:cubicBezTo>
                    <a:cubicBezTo>
                      <a:pt x="9349" y="218268"/>
                      <a:pt x="15408" y="199557"/>
                      <a:pt x="10414" y="214540"/>
                    </a:cubicBezTo>
                    <a:cubicBezTo>
                      <a:pt x="8285" y="246477"/>
                      <a:pt x="8331" y="235346"/>
                      <a:pt x="8331" y="247867"/>
                    </a:cubicBezTo>
                    <a:lnTo>
                      <a:pt x="8331" y="247867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141" name="Freeform: Shape 4609">
                <a:extLst>
                  <a:ext uri="{FF2B5EF4-FFF2-40B4-BE49-F238E27FC236}">
                    <a16:creationId xmlns:a16="http://schemas.microsoft.com/office/drawing/2014/main" id="{75FFADFE-09B5-E8CD-EFE5-E04E74930A76}"/>
                  </a:ext>
                </a:extLst>
              </p:cNvPr>
              <p:cNvSpPr/>
              <p:nvPr/>
            </p:nvSpPr>
            <p:spPr>
              <a:xfrm>
                <a:off x="5845977" y="2614532"/>
                <a:ext cx="20372" cy="136956"/>
              </a:xfrm>
              <a:custGeom>
                <a:avLst/>
                <a:gdLst>
                  <a:gd name="connsiteX0" fmla="*/ 0 w 37492"/>
                  <a:gd name="connsiteY0" fmla="*/ 0 h 249950"/>
                  <a:gd name="connsiteX1" fmla="*/ 0 w 37492"/>
                  <a:gd name="connsiteY1" fmla="*/ 0 h 249950"/>
                  <a:gd name="connsiteX2" fmla="*/ 2082 w 37492"/>
                  <a:gd name="connsiteY2" fmla="*/ 18747 h 249950"/>
                  <a:gd name="connsiteX3" fmla="*/ 6248 w 37492"/>
                  <a:gd name="connsiteY3" fmla="*/ 24995 h 249950"/>
                  <a:gd name="connsiteX4" fmla="*/ 8331 w 37492"/>
                  <a:gd name="connsiteY4" fmla="*/ 31244 h 249950"/>
                  <a:gd name="connsiteX5" fmla="*/ 12497 w 37492"/>
                  <a:gd name="connsiteY5" fmla="*/ 37493 h 249950"/>
                  <a:gd name="connsiteX6" fmla="*/ 16663 w 37492"/>
                  <a:gd name="connsiteY6" fmla="*/ 49990 h 249950"/>
                  <a:gd name="connsiteX7" fmla="*/ 18746 w 37492"/>
                  <a:gd name="connsiteY7" fmla="*/ 64571 h 249950"/>
                  <a:gd name="connsiteX8" fmla="*/ 24995 w 37492"/>
                  <a:gd name="connsiteY8" fmla="*/ 83317 h 249950"/>
                  <a:gd name="connsiteX9" fmla="*/ 29160 w 37492"/>
                  <a:gd name="connsiteY9" fmla="*/ 95814 h 249950"/>
                  <a:gd name="connsiteX10" fmla="*/ 33326 w 37492"/>
                  <a:gd name="connsiteY10" fmla="*/ 102063 h 249950"/>
                  <a:gd name="connsiteX11" fmla="*/ 35409 w 37492"/>
                  <a:gd name="connsiteY11" fmla="*/ 110395 h 249950"/>
                  <a:gd name="connsiteX12" fmla="*/ 37492 w 37492"/>
                  <a:gd name="connsiteY12" fmla="*/ 116644 h 249950"/>
                  <a:gd name="connsiteX13" fmla="*/ 35409 w 37492"/>
                  <a:gd name="connsiteY13" fmla="*/ 158302 h 249950"/>
                  <a:gd name="connsiteX14" fmla="*/ 29160 w 37492"/>
                  <a:gd name="connsiteY14" fmla="*/ 172882 h 249950"/>
                  <a:gd name="connsiteX15" fmla="*/ 22912 w 37492"/>
                  <a:gd name="connsiteY15" fmla="*/ 177048 h 249950"/>
                  <a:gd name="connsiteX16" fmla="*/ 18746 w 37492"/>
                  <a:gd name="connsiteY16" fmla="*/ 183297 h 249950"/>
                  <a:gd name="connsiteX17" fmla="*/ 14580 w 37492"/>
                  <a:gd name="connsiteY17" fmla="*/ 195794 h 249950"/>
                  <a:gd name="connsiteX18" fmla="*/ 8331 w 37492"/>
                  <a:gd name="connsiteY18" fmla="*/ 199960 h 249950"/>
                  <a:gd name="connsiteX19" fmla="*/ 6248 w 37492"/>
                  <a:gd name="connsiteY19" fmla="*/ 208292 h 249950"/>
                  <a:gd name="connsiteX20" fmla="*/ 4165 w 37492"/>
                  <a:gd name="connsiteY20" fmla="*/ 214541 h 249950"/>
                  <a:gd name="connsiteX21" fmla="*/ 6248 w 37492"/>
                  <a:gd name="connsiteY21" fmla="*/ 249950 h 249950"/>
                  <a:gd name="connsiteX22" fmla="*/ 6248 w 37492"/>
                  <a:gd name="connsiteY22" fmla="*/ 249950 h 249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37492" h="249950">
                    <a:moveTo>
                      <a:pt x="0" y="0"/>
                    </a:moveTo>
                    <a:lnTo>
                      <a:pt x="0" y="0"/>
                    </a:lnTo>
                    <a:cubicBezTo>
                      <a:pt x="694" y="6249"/>
                      <a:pt x="557" y="12647"/>
                      <a:pt x="2082" y="18747"/>
                    </a:cubicBezTo>
                    <a:cubicBezTo>
                      <a:pt x="2689" y="21175"/>
                      <a:pt x="5128" y="22756"/>
                      <a:pt x="6248" y="24995"/>
                    </a:cubicBezTo>
                    <a:cubicBezTo>
                      <a:pt x="7230" y="26959"/>
                      <a:pt x="7349" y="29280"/>
                      <a:pt x="8331" y="31244"/>
                    </a:cubicBezTo>
                    <a:cubicBezTo>
                      <a:pt x="9451" y="33483"/>
                      <a:pt x="11480" y="35205"/>
                      <a:pt x="12497" y="37493"/>
                    </a:cubicBezTo>
                    <a:cubicBezTo>
                      <a:pt x="14280" y="41506"/>
                      <a:pt x="16663" y="49990"/>
                      <a:pt x="16663" y="49990"/>
                    </a:cubicBezTo>
                    <a:cubicBezTo>
                      <a:pt x="17357" y="54850"/>
                      <a:pt x="17642" y="59787"/>
                      <a:pt x="18746" y="64571"/>
                    </a:cubicBezTo>
                    <a:cubicBezTo>
                      <a:pt x="18746" y="64572"/>
                      <a:pt x="23954" y="80192"/>
                      <a:pt x="24995" y="83317"/>
                    </a:cubicBezTo>
                    <a:cubicBezTo>
                      <a:pt x="24997" y="83322"/>
                      <a:pt x="29156" y="95809"/>
                      <a:pt x="29160" y="95814"/>
                    </a:cubicBezTo>
                    <a:lnTo>
                      <a:pt x="33326" y="102063"/>
                    </a:lnTo>
                    <a:cubicBezTo>
                      <a:pt x="34020" y="104840"/>
                      <a:pt x="34623" y="107642"/>
                      <a:pt x="35409" y="110395"/>
                    </a:cubicBezTo>
                    <a:cubicBezTo>
                      <a:pt x="36012" y="112506"/>
                      <a:pt x="37492" y="114448"/>
                      <a:pt x="37492" y="116644"/>
                    </a:cubicBezTo>
                    <a:cubicBezTo>
                      <a:pt x="37492" y="130547"/>
                      <a:pt x="36564" y="144447"/>
                      <a:pt x="35409" y="158302"/>
                    </a:cubicBezTo>
                    <a:cubicBezTo>
                      <a:pt x="34974" y="163518"/>
                      <a:pt x="32942" y="169100"/>
                      <a:pt x="29160" y="172882"/>
                    </a:cubicBezTo>
                    <a:cubicBezTo>
                      <a:pt x="27390" y="174652"/>
                      <a:pt x="24995" y="175659"/>
                      <a:pt x="22912" y="177048"/>
                    </a:cubicBezTo>
                    <a:cubicBezTo>
                      <a:pt x="21523" y="179131"/>
                      <a:pt x="19763" y="181009"/>
                      <a:pt x="18746" y="183297"/>
                    </a:cubicBezTo>
                    <a:cubicBezTo>
                      <a:pt x="16963" y="187310"/>
                      <a:pt x="18234" y="193358"/>
                      <a:pt x="14580" y="195794"/>
                    </a:cubicBezTo>
                    <a:lnTo>
                      <a:pt x="8331" y="199960"/>
                    </a:lnTo>
                    <a:cubicBezTo>
                      <a:pt x="7637" y="202737"/>
                      <a:pt x="7034" y="205539"/>
                      <a:pt x="6248" y="208292"/>
                    </a:cubicBezTo>
                    <a:cubicBezTo>
                      <a:pt x="5645" y="210403"/>
                      <a:pt x="4165" y="212345"/>
                      <a:pt x="4165" y="214541"/>
                    </a:cubicBezTo>
                    <a:cubicBezTo>
                      <a:pt x="4165" y="226364"/>
                      <a:pt x="6248" y="249950"/>
                      <a:pt x="6248" y="249950"/>
                    </a:cubicBezTo>
                    <a:lnTo>
                      <a:pt x="6248" y="249950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142" name="Freeform: Shape 4610">
                <a:extLst>
                  <a:ext uri="{FF2B5EF4-FFF2-40B4-BE49-F238E27FC236}">
                    <a16:creationId xmlns:a16="http://schemas.microsoft.com/office/drawing/2014/main" id="{154D75DF-D06D-59BC-998D-7E44CF960E15}"/>
                  </a:ext>
                </a:extLst>
              </p:cNvPr>
              <p:cNvSpPr/>
              <p:nvPr/>
            </p:nvSpPr>
            <p:spPr>
              <a:xfrm>
                <a:off x="5870876" y="2617956"/>
                <a:ext cx="15845" cy="136956"/>
              </a:xfrm>
              <a:custGeom>
                <a:avLst/>
                <a:gdLst>
                  <a:gd name="connsiteX0" fmla="*/ 0 w 29161"/>
                  <a:gd name="connsiteY0" fmla="*/ 0 h 249950"/>
                  <a:gd name="connsiteX1" fmla="*/ 0 w 29161"/>
                  <a:gd name="connsiteY1" fmla="*/ 0 h 249950"/>
                  <a:gd name="connsiteX2" fmla="*/ 4166 w 29161"/>
                  <a:gd name="connsiteY2" fmla="*/ 24995 h 249950"/>
                  <a:gd name="connsiteX3" fmla="*/ 8331 w 29161"/>
                  <a:gd name="connsiteY3" fmla="*/ 31244 h 249950"/>
                  <a:gd name="connsiteX4" fmla="*/ 12497 w 29161"/>
                  <a:gd name="connsiteY4" fmla="*/ 43741 h 249950"/>
                  <a:gd name="connsiteX5" fmla="*/ 14580 w 29161"/>
                  <a:gd name="connsiteY5" fmla="*/ 49990 h 249950"/>
                  <a:gd name="connsiteX6" fmla="*/ 24995 w 29161"/>
                  <a:gd name="connsiteY6" fmla="*/ 77068 h 249950"/>
                  <a:gd name="connsiteX7" fmla="*/ 29161 w 29161"/>
                  <a:gd name="connsiteY7" fmla="*/ 83317 h 249950"/>
                  <a:gd name="connsiteX8" fmla="*/ 27078 w 29161"/>
                  <a:gd name="connsiteY8" fmla="*/ 160385 h 249950"/>
                  <a:gd name="connsiteX9" fmla="*/ 24995 w 29161"/>
                  <a:gd name="connsiteY9" fmla="*/ 166633 h 249950"/>
                  <a:gd name="connsiteX10" fmla="*/ 16663 w 29161"/>
                  <a:gd name="connsiteY10" fmla="*/ 179131 h 249950"/>
                  <a:gd name="connsiteX11" fmla="*/ 12497 w 29161"/>
                  <a:gd name="connsiteY11" fmla="*/ 185380 h 249950"/>
                  <a:gd name="connsiteX12" fmla="*/ 10414 w 29161"/>
                  <a:gd name="connsiteY12" fmla="*/ 191628 h 249950"/>
                  <a:gd name="connsiteX13" fmla="*/ 2083 w 29161"/>
                  <a:gd name="connsiteY13" fmla="*/ 204126 h 249950"/>
                  <a:gd name="connsiteX14" fmla="*/ 4166 w 29161"/>
                  <a:gd name="connsiteY14" fmla="*/ 249950 h 249950"/>
                  <a:gd name="connsiteX15" fmla="*/ 4166 w 29161"/>
                  <a:gd name="connsiteY15" fmla="*/ 249950 h 249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9161" h="249950">
                    <a:moveTo>
                      <a:pt x="0" y="0"/>
                    </a:moveTo>
                    <a:lnTo>
                      <a:pt x="0" y="0"/>
                    </a:lnTo>
                    <a:cubicBezTo>
                      <a:pt x="660" y="5944"/>
                      <a:pt x="676" y="18015"/>
                      <a:pt x="4166" y="24995"/>
                    </a:cubicBezTo>
                    <a:cubicBezTo>
                      <a:pt x="5285" y="27234"/>
                      <a:pt x="7314" y="28956"/>
                      <a:pt x="8331" y="31244"/>
                    </a:cubicBezTo>
                    <a:cubicBezTo>
                      <a:pt x="10114" y="35257"/>
                      <a:pt x="11108" y="39575"/>
                      <a:pt x="12497" y="43741"/>
                    </a:cubicBezTo>
                    <a:lnTo>
                      <a:pt x="14580" y="49990"/>
                    </a:lnTo>
                    <a:cubicBezTo>
                      <a:pt x="17371" y="69527"/>
                      <a:pt x="13940" y="60485"/>
                      <a:pt x="24995" y="77068"/>
                    </a:cubicBezTo>
                    <a:lnTo>
                      <a:pt x="29161" y="83317"/>
                    </a:lnTo>
                    <a:cubicBezTo>
                      <a:pt x="28467" y="109006"/>
                      <a:pt x="28361" y="134718"/>
                      <a:pt x="27078" y="160385"/>
                    </a:cubicBezTo>
                    <a:cubicBezTo>
                      <a:pt x="26968" y="162578"/>
                      <a:pt x="26061" y="164714"/>
                      <a:pt x="24995" y="166633"/>
                    </a:cubicBezTo>
                    <a:cubicBezTo>
                      <a:pt x="22563" y="171010"/>
                      <a:pt x="19440" y="174965"/>
                      <a:pt x="16663" y="179131"/>
                    </a:cubicBezTo>
                    <a:cubicBezTo>
                      <a:pt x="15274" y="181214"/>
                      <a:pt x="13289" y="183005"/>
                      <a:pt x="12497" y="185380"/>
                    </a:cubicBezTo>
                    <a:cubicBezTo>
                      <a:pt x="11803" y="187463"/>
                      <a:pt x="11480" y="189709"/>
                      <a:pt x="10414" y="191628"/>
                    </a:cubicBezTo>
                    <a:cubicBezTo>
                      <a:pt x="7983" y="196005"/>
                      <a:pt x="2083" y="204126"/>
                      <a:pt x="2083" y="204126"/>
                    </a:cubicBezTo>
                    <a:cubicBezTo>
                      <a:pt x="4275" y="245781"/>
                      <a:pt x="4166" y="230491"/>
                      <a:pt x="4166" y="249950"/>
                    </a:cubicBezTo>
                    <a:lnTo>
                      <a:pt x="4166" y="249950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143" name="Freeform: Shape 4611">
                <a:extLst>
                  <a:ext uri="{FF2B5EF4-FFF2-40B4-BE49-F238E27FC236}">
                    <a16:creationId xmlns:a16="http://schemas.microsoft.com/office/drawing/2014/main" id="{128E3643-5F9E-27CB-15CB-F0516B7471AE}"/>
                  </a:ext>
                </a:extLst>
              </p:cNvPr>
              <p:cNvSpPr/>
              <p:nvPr/>
            </p:nvSpPr>
            <p:spPr>
              <a:xfrm>
                <a:off x="5893318" y="2637358"/>
                <a:ext cx="22829" cy="138097"/>
              </a:xfrm>
              <a:custGeom>
                <a:avLst/>
                <a:gdLst>
                  <a:gd name="connsiteX0" fmla="*/ 12854 w 42014"/>
                  <a:gd name="connsiteY0" fmla="*/ 0 h 252032"/>
                  <a:gd name="connsiteX1" fmla="*/ 12854 w 42014"/>
                  <a:gd name="connsiteY1" fmla="*/ 0 h 252032"/>
                  <a:gd name="connsiteX2" fmla="*/ 14936 w 42014"/>
                  <a:gd name="connsiteY2" fmla="*/ 18746 h 252032"/>
                  <a:gd name="connsiteX3" fmla="*/ 23268 w 42014"/>
                  <a:gd name="connsiteY3" fmla="*/ 45824 h 252032"/>
                  <a:gd name="connsiteX4" fmla="*/ 29517 w 42014"/>
                  <a:gd name="connsiteY4" fmla="*/ 49990 h 252032"/>
                  <a:gd name="connsiteX5" fmla="*/ 33683 w 42014"/>
                  <a:gd name="connsiteY5" fmla="*/ 62487 h 252032"/>
                  <a:gd name="connsiteX6" fmla="*/ 35766 w 42014"/>
                  <a:gd name="connsiteY6" fmla="*/ 68736 h 252032"/>
                  <a:gd name="connsiteX7" fmla="*/ 37849 w 42014"/>
                  <a:gd name="connsiteY7" fmla="*/ 85399 h 252032"/>
                  <a:gd name="connsiteX8" fmla="*/ 39931 w 42014"/>
                  <a:gd name="connsiteY8" fmla="*/ 91648 h 252032"/>
                  <a:gd name="connsiteX9" fmla="*/ 42014 w 42014"/>
                  <a:gd name="connsiteY9" fmla="*/ 108311 h 252032"/>
                  <a:gd name="connsiteX10" fmla="*/ 39931 w 42014"/>
                  <a:gd name="connsiteY10" fmla="*/ 152052 h 252032"/>
                  <a:gd name="connsiteX11" fmla="*/ 29517 w 42014"/>
                  <a:gd name="connsiteY11" fmla="*/ 170799 h 252032"/>
                  <a:gd name="connsiteX12" fmla="*/ 25351 w 42014"/>
                  <a:gd name="connsiteY12" fmla="*/ 177047 h 252032"/>
                  <a:gd name="connsiteX13" fmla="*/ 19102 w 42014"/>
                  <a:gd name="connsiteY13" fmla="*/ 183296 h 252032"/>
                  <a:gd name="connsiteX14" fmla="*/ 6605 w 42014"/>
                  <a:gd name="connsiteY14" fmla="*/ 204125 h 252032"/>
                  <a:gd name="connsiteX15" fmla="*/ 2439 w 42014"/>
                  <a:gd name="connsiteY15" fmla="*/ 216623 h 252032"/>
                  <a:gd name="connsiteX16" fmla="*/ 356 w 42014"/>
                  <a:gd name="connsiteY16" fmla="*/ 222872 h 252032"/>
                  <a:gd name="connsiteX17" fmla="*/ 4522 w 42014"/>
                  <a:gd name="connsiteY17" fmla="*/ 252032 h 252032"/>
                  <a:gd name="connsiteX18" fmla="*/ 4522 w 42014"/>
                  <a:gd name="connsiteY18" fmla="*/ 252032 h 2520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2014" h="252032">
                    <a:moveTo>
                      <a:pt x="12854" y="0"/>
                    </a:moveTo>
                    <a:lnTo>
                      <a:pt x="12854" y="0"/>
                    </a:lnTo>
                    <a:cubicBezTo>
                      <a:pt x="13548" y="6249"/>
                      <a:pt x="14156" y="12507"/>
                      <a:pt x="14936" y="18746"/>
                    </a:cubicBezTo>
                    <a:cubicBezTo>
                      <a:pt x="16034" y="27530"/>
                      <a:pt x="16361" y="38917"/>
                      <a:pt x="23268" y="45824"/>
                    </a:cubicBezTo>
                    <a:cubicBezTo>
                      <a:pt x="25038" y="47594"/>
                      <a:pt x="27434" y="48601"/>
                      <a:pt x="29517" y="49990"/>
                    </a:cubicBezTo>
                    <a:lnTo>
                      <a:pt x="33683" y="62487"/>
                    </a:lnTo>
                    <a:lnTo>
                      <a:pt x="35766" y="68736"/>
                    </a:lnTo>
                    <a:cubicBezTo>
                      <a:pt x="36460" y="74290"/>
                      <a:pt x="36848" y="79892"/>
                      <a:pt x="37849" y="85399"/>
                    </a:cubicBezTo>
                    <a:cubicBezTo>
                      <a:pt x="38242" y="87559"/>
                      <a:pt x="39538" y="89488"/>
                      <a:pt x="39931" y="91648"/>
                    </a:cubicBezTo>
                    <a:cubicBezTo>
                      <a:pt x="40932" y="97155"/>
                      <a:pt x="41320" y="102757"/>
                      <a:pt x="42014" y="108311"/>
                    </a:cubicBezTo>
                    <a:cubicBezTo>
                      <a:pt x="41320" y="122891"/>
                      <a:pt x="41143" y="137506"/>
                      <a:pt x="39931" y="152052"/>
                    </a:cubicBezTo>
                    <a:cubicBezTo>
                      <a:pt x="39407" y="158340"/>
                      <a:pt x="31905" y="167218"/>
                      <a:pt x="29517" y="170799"/>
                    </a:cubicBezTo>
                    <a:cubicBezTo>
                      <a:pt x="28128" y="172882"/>
                      <a:pt x="27121" y="175277"/>
                      <a:pt x="25351" y="177047"/>
                    </a:cubicBezTo>
                    <a:cubicBezTo>
                      <a:pt x="23268" y="179130"/>
                      <a:pt x="20910" y="180971"/>
                      <a:pt x="19102" y="183296"/>
                    </a:cubicBezTo>
                    <a:cubicBezTo>
                      <a:pt x="15079" y="188469"/>
                      <a:pt x="9271" y="197461"/>
                      <a:pt x="6605" y="204125"/>
                    </a:cubicBezTo>
                    <a:cubicBezTo>
                      <a:pt x="4974" y="208202"/>
                      <a:pt x="3828" y="212457"/>
                      <a:pt x="2439" y="216623"/>
                    </a:cubicBezTo>
                    <a:lnTo>
                      <a:pt x="356" y="222872"/>
                    </a:lnTo>
                    <a:cubicBezTo>
                      <a:pt x="2514" y="250929"/>
                      <a:pt x="-3964" y="243550"/>
                      <a:pt x="4522" y="252032"/>
                    </a:cubicBezTo>
                    <a:lnTo>
                      <a:pt x="4522" y="252032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144" name="Rectangle: Rounded Corners 143">
                <a:extLst>
                  <a:ext uri="{FF2B5EF4-FFF2-40B4-BE49-F238E27FC236}">
                    <a16:creationId xmlns:a16="http://schemas.microsoft.com/office/drawing/2014/main" id="{7ACD5D04-7270-DC42-0905-3FFDAD6C126F}"/>
                  </a:ext>
                </a:extLst>
              </p:cNvPr>
              <p:cNvSpPr/>
              <p:nvPr/>
            </p:nvSpPr>
            <p:spPr>
              <a:xfrm>
                <a:off x="5661453" y="2731159"/>
                <a:ext cx="275343" cy="392051"/>
              </a:xfrm>
              <a:prstGeom prst="roundRect">
                <a:avLst>
                  <a:gd name="adj" fmla="val 35662"/>
                </a:avLst>
              </a:prstGeom>
              <a:gradFill flip="none" rotWithShape="1">
                <a:gsLst>
                  <a:gs pos="16000">
                    <a:srgbClr val="FFEAD5"/>
                  </a:gs>
                  <a:gs pos="75000">
                    <a:srgbClr val="FFCC99"/>
                  </a:gs>
                </a:gsLst>
                <a:path path="circle">
                  <a:fillToRect l="50000" t="50000" r="50000" b="50000"/>
                </a:path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145" name="Oval 144">
                <a:extLst>
                  <a:ext uri="{FF2B5EF4-FFF2-40B4-BE49-F238E27FC236}">
                    <a16:creationId xmlns:a16="http://schemas.microsoft.com/office/drawing/2014/main" id="{85665AD9-550E-07D6-8BE1-4BA81209BFC6}"/>
                  </a:ext>
                </a:extLst>
              </p:cNvPr>
              <p:cNvSpPr/>
              <p:nvPr/>
            </p:nvSpPr>
            <p:spPr>
              <a:xfrm>
                <a:off x="5727380" y="2930951"/>
                <a:ext cx="141069" cy="115934"/>
              </a:xfrm>
              <a:prstGeom prst="ellipse">
                <a:avLst/>
              </a:prstGeom>
              <a:gradFill flip="none" rotWithShape="1">
                <a:gsLst>
                  <a:gs pos="16000">
                    <a:srgbClr val="FFEAD5"/>
                  </a:gs>
                  <a:gs pos="74000">
                    <a:srgbClr val="A45200"/>
                  </a:gs>
                  <a:gs pos="53000">
                    <a:srgbClr val="FFC081"/>
                  </a:gs>
                </a:gsLst>
                <a:path path="circle">
                  <a:fillToRect l="50000" t="50000" r="50000" b="50000"/>
                </a:path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15D3D8C2-EBC1-4C4A-5B9F-23071ABD9378}"/>
                </a:ext>
              </a:extLst>
            </p:cNvPr>
            <p:cNvSpPr txBox="1"/>
            <p:nvPr/>
          </p:nvSpPr>
          <p:spPr>
            <a:xfrm>
              <a:off x="2096218" y="2185784"/>
              <a:ext cx="865629" cy="189411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R="0" lvl="0" indent="0" defTabSz="685783" fontAlgn="auto">
                <a:lnSpc>
                  <a:spcPts val="16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30051"/>
                </a:buClr>
                <a:buSzTx/>
                <a:buFontTx/>
                <a:buNone/>
                <a:tabLst/>
                <a:defRPr kumimoji="0" sz="1100" b="1" i="0" u="none" strike="noStrike" kern="0" cap="none" spc="0" normalizeH="0" baseline="0">
                  <a:ln>
                    <a:noFill/>
                  </a:ln>
                  <a:solidFill>
                    <a:srgbClr val="0D3759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/>
                  <a:cs typeface="Arial" panose="020B0604020202020204" pitchFamily="34" charset="0"/>
                </a:defRPr>
              </a:lvl1pPr>
            </a:lstStyle>
            <a:p>
              <a:pPr marL="0" marR="0" lvl="0" indent="0" algn="ctr" defTabSz="685783" eaLnBrk="1" fontAlgn="auto" latinLnBrk="0" hangingPunct="1">
                <a:lnSpc>
                  <a:spcPts val="16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30051"/>
                </a:buClr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Oxygen</a:t>
              </a:r>
            </a:p>
          </p:txBody>
        </p:sp>
        <p:grpSp>
          <p:nvGrpSpPr>
            <p:cNvPr id="50" name="!!Group 676">
              <a:extLst>
                <a:ext uri="{FF2B5EF4-FFF2-40B4-BE49-F238E27FC236}">
                  <a16:creationId xmlns:a16="http://schemas.microsoft.com/office/drawing/2014/main" id="{58C9B399-284F-32F2-50D6-13D4E4F55564}"/>
                </a:ext>
              </a:extLst>
            </p:cNvPr>
            <p:cNvGrpSpPr/>
            <p:nvPr/>
          </p:nvGrpSpPr>
          <p:grpSpPr>
            <a:xfrm>
              <a:off x="1317419" y="2925228"/>
              <a:ext cx="274267" cy="514649"/>
              <a:chOff x="5661453" y="2606543"/>
              <a:chExt cx="275343" cy="516667"/>
            </a:xfrm>
          </p:grpSpPr>
          <p:sp>
            <p:nvSpPr>
              <p:cNvPr id="57" name="Freeform: Shape 3440">
                <a:extLst>
                  <a:ext uri="{FF2B5EF4-FFF2-40B4-BE49-F238E27FC236}">
                    <a16:creationId xmlns:a16="http://schemas.microsoft.com/office/drawing/2014/main" id="{471A165A-57C2-92C0-DB88-64FC0443D052}"/>
                  </a:ext>
                </a:extLst>
              </p:cNvPr>
              <p:cNvSpPr/>
              <p:nvPr/>
            </p:nvSpPr>
            <p:spPr>
              <a:xfrm>
                <a:off x="5684131" y="2624804"/>
                <a:ext cx="24899" cy="146087"/>
              </a:xfrm>
              <a:custGeom>
                <a:avLst/>
                <a:gdLst>
                  <a:gd name="connsiteX0" fmla="*/ 0 w 45824"/>
                  <a:gd name="connsiteY0" fmla="*/ 0 h 266613"/>
                  <a:gd name="connsiteX1" fmla="*/ 0 w 45824"/>
                  <a:gd name="connsiteY1" fmla="*/ 0 h 266613"/>
                  <a:gd name="connsiteX2" fmla="*/ 4165 w 45824"/>
                  <a:gd name="connsiteY2" fmla="*/ 18746 h 266613"/>
                  <a:gd name="connsiteX3" fmla="*/ 10414 w 45824"/>
                  <a:gd name="connsiteY3" fmla="*/ 47907 h 266613"/>
                  <a:gd name="connsiteX4" fmla="*/ 16663 w 45824"/>
                  <a:gd name="connsiteY4" fmla="*/ 52072 h 266613"/>
                  <a:gd name="connsiteX5" fmla="*/ 20829 w 45824"/>
                  <a:gd name="connsiteY5" fmla="*/ 58321 h 266613"/>
                  <a:gd name="connsiteX6" fmla="*/ 27078 w 45824"/>
                  <a:gd name="connsiteY6" fmla="*/ 60404 h 266613"/>
                  <a:gd name="connsiteX7" fmla="*/ 33326 w 45824"/>
                  <a:gd name="connsiteY7" fmla="*/ 64570 h 266613"/>
                  <a:gd name="connsiteX8" fmla="*/ 41658 w 45824"/>
                  <a:gd name="connsiteY8" fmla="*/ 77067 h 266613"/>
                  <a:gd name="connsiteX9" fmla="*/ 45824 w 45824"/>
                  <a:gd name="connsiteY9" fmla="*/ 83316 h 266613"/>
                  <a:gd name="connsiteX10" fmla="*/ 43741 w 45824"/>
                  <a:gd name="connsiteY10" fmla="*/ 145804 h 266613"/>
                  <a:gd name="connsiteX11" fmla="*/ 41658 w 45824"/>
                  <a:gd name="connsiteY11" fmla="*/ 152052 h 266613"/>
                  <a:gd name="connsiteX12" fmla="*/ 37492 w 45824"/>
                  <a:gd name="connsiteY12" fmla="*/ 168716 h 266613"/>
                  <a:gd name="connsiteX13" fmla="*/ 31243 w 45824"/>
                  <a:gd name="connsiteY13" fmla="*/ 174964 h 266613"/>
                  <a:gd name="connsiteX14" fmla="*/ 20829 w 45824"/>
                  <a:gd name="connsiteY14" fmla="*/ 193711 h 266613"/>
                  <a:gd name="connsiteX15" fmla="*/ 16663 w 45824"/>
                  <a:gd name="connsiteY15" fmla="*/ 199959 h 266613"/>
                  <a:gd name="connsiteX16" fmla="*/ 12497 w 45824"/>
                  <a:gd name="connsiteY16" fmla="*/ 214540 h 266613"/>
                  <a:gd name="connsiteX17" fmla="*/ 10414 w 45824"/>
                  <a:gd name="connsiteY17" fmla="*/ 222872 h 266613"/>
                  <a:gd name="connsiteX18" fmla="*/ 10414 w 45824"/>
                  <a:gd name="connsiteY18" fmla="*/ 266613 h 266613"/>
                  <a:gd name="connsiteX19" fmla="*/ 12497 w 45824"/>
                  <a:gd name="connsiteY19" fmla="*/ 266613 h 266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45824" h="266613">
                    <a:moveTo>
                      <a:pt x="0" y="0"/>
                    </a:moveTo>
                    <a:lnTo>
                      <a:pt x="0" y="0"/>
                    </a:lnTo>
                    <a:cubicBezTo>
                      <a:pt x="1388" y="6249"/>
                      <a:pt x="3053" y="12442"/>
                      <a:pt x="4165" y="18746"/>
                    </a:cubicBezTo>
                    <a:cubicBezTo>
                      <a:pt x="4487" y="20573"/>
                      <a:pt x="6286" y="45156"/>
                      <a:pt x="10414" y="47907"/>
                    </a:cubicBezTo>
                    <a:lnTo>
                      <a:pt x="16663" y="52072"/>
                    </a:lnTo>
                    <a:cubicBezTo>
                      <a:pt x="18052" y="54155"/>
                      <a:pt x="18874" y="56757"/>
                      <a:pt x="20829" y="58321"/>
                    </a:cubicBezTo>
                    <a:cubicBezTo>
                      <a:pt x="22544" y="59693"/>
                      <a:pt x="25114" y="59422"/>
                      <a:pt x="27078" y="60404"/>
                    </a:cubicBezTo>
                    <a:cubicBezTo>
                      <a:pt x="29317" y="61524"/>
                      <a:pt x="31243" y="63181"/>
                      <a:pt x="33326" y="64570"/>
                    </a:cubicBezTo>
                    <a:lnTo>
                      <a:pt x="41658" y="77067"/>
                    </a:lnTo>
                    <a:lnTo>
                      <a:pt x="45824" y="83316"/>
                    </a:lnTo>
                    <a:cubicBezTo>
                      <a:pt x="45130" y="104145"/>
                      <a:pt x="45002" y="125001"/>
                      <a:pt x="43741" y="145804"/>
                    </a:cubicBezTo>
                    <a:cubicBezTo>
                      <a:pt x="43608" y="147995"/>
                      <a:pt x="42190" y="149922"/>
                      <a:pt x="41658" y="152052"/>
                    </a:cubicBezTo>
                    <a:cubicBezTo>
                      <a:pt x="41237" y="153734"/>
                      <a:pt x="39397" y="165859"/>
                      <a:pt x="37492" y="168716"/>
                    </a:cubicBezTo>
                    <a:cubicBezTo>
                      <a:pt x="35858" y="171167"/>
                      <a:pt x="33326" y="172881"/>
                      <a:pt x="31243" y="174964"/>
                    </a:cubicBezTo>
                    <a:cubicBezTo>
                      <a:pt x="27577" y="185962"/>
                      <a:pt x="30377" y="179389"/>
                      <a:pt x="20829" y="193711"/>
                    </a:cubicBezTo>
                    <a:lnTo>
                      <a:pt x="16663" y="199959"/>
                    </a:lnTo>
                    <a:cubicBezTo>
                      <a:pt x="10151" y="226006"/>
                      <a:pt x="18474" y="193622"/>
                      <a:pt x="12497" y="214540"/>
                    </a:cubicBezTo>
                    <a:cubicBezTo>
                      <a:pt x="11711" y="217293"/>
                      <a:pt x="10528" y="220011"/>
                      <a:pt x="10414" y="222872"/>
                    </a:cubicBezTo>
                    <a:cubicBezTo>
                      <a:pt x="9831" y="237441"/>
                      <a:pt x="10414" y="252033"/>
                      <a:pt x="10414" y="266613"/>
                    </a:cubicBezTo>
                    <a:lnTo>
                      <a:pt x="12497" y="266613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58" name="Freeform: Shape 3441">
                <a:extLst>
                  <a:ext uri="{FF2B5EF4-FFF2-40B4-BE49-F238E27FC236}">
                    <a16:creationId xmlns:a16="http://schemas.microsoft.com/office/drawing/2014/main" id="{268300CF-74EC-D64E-83BF-6F8B2A5E587F}"/>
                  </a:ext>
                </a:extLst>
              </p:cNvPr>
              <p:cNvSpPr/>
              <p:nvPr/>
            </p:nvSpPr>
            <p:spPr>
              <a:xfrm>
                <a:off x="5713557" y="2615673"/>
                <a:ext cx="24900" cy="134674"/>
              </a:xfrm>
              <a:custGeom>
                <a:avLst/>
                <a:gdLst>
                  <a:gd name="connsiteX0" fmla="*/ 0 w 45825"/>
                  <a:gd name="connsiteY0" fmla="*/ 0 h 245784"/>
                  <a:gd name="connsiteX1" fmla="*/ 0 w 45825"/>
                  <a:gd name="connsiteY1" fmla="*/ 0 h 245784"/>
                  <a:gd name="connsiteX2" fmla="*/ 2083 w 45825"/>
                  <a:gd name="connsiteY2" fmla="*/ 41659 h 245784"/>
                  <a:gd name="connsiteX3" fmla="*/ 4166 w 45825"/>
                  <a:gd name="connsiteY3" fmla="*/ 47907 h 245784"/>
                  <a:gd name="connsiteX4" fmla="*/ 8332 w 45825"/>
                  <a:gd name="connsiteY4" fmla="*/ 54156 h 245784"/>
                  <a:gd name="connsiteX5" fmla="*/ 14581 w 45825"/>
                  <a:gd name="connsiteY5" fmla="*/ 58322 h 245784"/>
                  <a:gd name="connsiteX6" fmla="*/ 24995 w 45825"/>
                  <a:gd name="connsiteY6" fmla="*/ 68736 h 245784"/>
                  <a:gd name="connsiteX7" fmla="*/ 31244 w 45825"/>
                  <a:gd name="connsiteY7" fmla="*/ 81234 h 245784"/>
                  <a:gd name="connsiteX8" fmla="*/ 39576 w 45825"/>
                  <a:gd name="connsiteY8" fmla="*/ 93731 h 245784"/>
                  <a:gd name="connsiteX9" fmla="*/ 43742 w 45825"/>
                  <a:gd name="connsiteY9" fmla="*/ 99980 h 245784"/>
                  <a:gd name="connsiteX10" fmla="*/ 45825 w 45825"/>
                  <a:gd name="connsiteY10" fmla="*/ 106229 h 245784"/>
                  <a:gd name="connsiteX11" fmla="*/ 43742 w 45825"/>
                  <a:gd name="connsiteY11" fmla="*/ 139556 h 245784"/>
                  <a:gd name="connsiteX12" fmla="*/ 41659 w 45825"/>
                  <a:gd name="connsiteY12" fmla="*/ 145804 h 245784"/>
                  <a:gd name="connsiteX13" fmla="*/ 39576 w 45825"/>
                  <a:gd name="connsiteY13" fmla="*/ 156219 h 245784"/>
                  <a:gd name="connsiteX14" fmla="*/ 35410 w 45825"/>
                  <a:gd name="connsiteY14" fmla="*/ 162468 h 245784"/>
                  <a:gd name="connsiteX15" fmla="*/ 29161 w 45825"/>
                  <a:gd name="connsiteY15" fmla="*/ 183297 h 245784"/>
                  <a:gd name="connsiteX16" fmla="*/ 24995 w 45825"/>
                  <a:gd name="connsiteY16" fmla="*/ 189546 h 245784"/>
                  <a:gd name="connsiteX17" fmla="*/ 16664 w 45825"/>
                  <a:gd name="connsiteY17" fmla="*/ 208292 h 245784"/>
                  <a:gd name="connsiteX18" fmla="*/ 14581 w 45825"/>
                  <a:gd name="connsiteY18" fmla="*/ 220789 h 245784"/>
                  <a:gd name="connsiteX19" fmla="*/ 10415 w 45825"/>
                  <a:gd name="connsiteY19" fmla="*/ 227038 h 245784"/>
                  <a:gd name="connsiteX20" fmla="*/ 12498 w 45825"/>
                  <a:gd name="connsiteY20" fmla="*/ 245784 h 245784"/>
                  <a:gd name="connsiteX21" fmla="*/ 12498 w 45825"/>
                  <a:gd name="connsiteY21" fmla="*/ 245784 h 245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45825" h="245784">
                    <a:moveTo>
                      <a:pt x="0" y="0"/>
                    </a:moveTo>
                    <a:lnTo>
                      <a:pt x="0" y="0"/>
                    </a:lnTo>
                    <a:cubicBezTo>
                      <a:pt x="694" y="13886"/>
                      <a:pt x="878" y="27808"/>
                      <a:pt x="2083" y="41659"/>
                    </a:cubicBezTo>
                    <a:cubicBezTo>
                      <a:pt x="2273" y="43846"/>
                      <a:pt x="3184" y="45943"/>
                      <a:pt x="4166" y="47907"/>
                    </a:cubicBezTo>
                    <a:cubicBezTo>
                      <a:pt x="5286" y="50146"/>
                      <a:pt x="6562" y="52386"/>
                      <a:pt x="8332" y="54156"/>
                    </a:cubicBezTo>
                    <a:cubicBezTo>
                      <a:pt x="10102" y="55926"/>
                      <a:pt x="12498" y="56933"/>
                      <a:pt x="14581" y="58322"/>
                    </a:cubicBezTo>
                    <a:cubicBezTo>
                      <a:pt x="25691" y="74988"/>
                      <a:pt x="11109" y="54850"/>
                      <a:pt x="24995" y="68736"/>
                    </a:cubicBezTo>
                    <a:cubicBezTo>
                      <a:pt x="31931" y="75672"/>
                      <a:pt x="27008" y="73610"/>
                      <a:pt x="31244" y="81234"/>
                    </a:cubicBezTo>
                    <a:cubicBezTo>
                      <a:pt x="33676" y="85611"/>
                      <a:pt x="36799" y="89565"/>
                      <a:pt x="39576" y="93731"/>
                    </a:cubicBezTo>
                    <a:cubicBezTo>
                      <a:pt x="40965" y="95814"/>
                      <a:pt x="42950" y="97605"/>
                      <a:pt x="43742" y="99980"/>
                    </a:cubicBezTo>
                    <a:lnTo>
                      <a:pt x="45825" y="106229"/>
                    </a:lnTo>
                    <a:cubicBezTo>
                      <a:pt x="45131" y="117338"/>
                      <a:pt x="44907" y="128486"/>
                      <a:pt x="43742" y="139556"/>
                    </a:cubicBezTo>
                    <a:cubicBezTo>
                      <a:pt x="43512" y="141739"/>
                      <a:pt x="42191" y="143674"/>
                      <a:pt x="41659" y="145804"/>
                    </a:cubicBezTo>
                    <a:cubicBezTo>
                      <a:pt x="40800" y="149239"/>
                      <a:pt x="40819" y="152904"/>
                      <a:pt x="39576" y="156219"/>
                    </a:cubicBezTo>
                    <a:cubicBezTo>
                      <a:pt x="38697" y="158563"/>
                      <a:pt x="36799" y="160385"/>
                      <a:pt x="35410" y="162468"/>
                    </a:cubicBezTo>
                    <a:cubicBezTo>
                      <a:pt x="34246" y="167125"/>
                      <a:pt x="31189" y="180255"/>
                      <a:pt x="29161" y="183297"/>
                    </a:cubicBezTo>
                    <a:cubicBezTo>
                      <a:pt x="27772" y="185380"/>
                      <a:pt x="26012" y="187258"/>
                      <a:pt x="24995" y="189546"/>
                    </a:cubicBezTo>
                    <a:cubicBezTo>
                      <a:pt x="15081" y="211855"/>
                      <a:pt x="26092" y="194150"/>
                      <a:pt x="16664" y="208292"/>
                    </a:cubicBezTo>
                    <a:cubicBezTo>
                      <a:pt x="15970" y="212458"/>
                      <a:pt x="15917" y="216783"/>
                      <a:pt x="14581" y="220789"/>
                    </a:cubicBezTo>
                    <a:cubicBezTo>
                      <a:pt x="13789" y="223164"/>
                      <a:pt x="10623" y="224543"/>
                      <a:pt x="10415" y="227038"/>
                    </a:cubicBezTo>
                    <a:cubicBezTo>
                      <a:pt x="9893" y="233303"/>
                      <a:pt x="12498" y="245784"/>
                      <a:pt x="12498" y="245784"/>
                    </a:cubicBezTo>
                    <a:lnTo>
                      <a:pt x="12498" y="245784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59" name="Freeform: Shape 3442">
                <a:extLst>
                  <a:ext uri="{FF2B5EF4-FFF2-40B4-BE49-F238E27FC236}">
                    <a16:creationId xmlns:a16="http://schemas.microsoft.com/office/drawing/2014/main" id="{FFA17E4B-7BAA-DF9F-8118-9A36A21C3507}"/>
                  </a:ext>
                </a:extLst>
              </p:cNvPr>
              <p:cNvSpPr/>
              <p:nvPr/>
            </p:nvSpPr>
            <p:spPr>
              <a:xfrm>
                <a:off x="5739513" y="2612250"/>
                <a:ext cx="21579" cy="131250"/>
              </a:xfrm>
              <a:custGeom>
                <a:avLst/>
                <a:gdLst>
                  <a:gd name="connsiteX0" fmla="*/ 4304 w 39714"/>
                  <a:gd name="connsiteY0" fmla="*/ 0 h 239535"/>
                  <a:gd name="connsiteX1" fmla="*/ 4304 w 39714"/>
                  <a:gd name="connsiteY1" fmla="*/ 0 h 239535"/>
                  <a:gd name="connsiteX2" fmla="*/ 138 w 39714"/>
                  <a:gd name="connsiteY2" fmla="*/ 18746 h 239535"/>
                  <a:gd name="connsiteX3" fmla="*/ 6387 w 39714"/>
                  <a:gd name="connsiteY3" fmla="*/ 52072 h 239535"/>
                  <a:gd name="connsiteX4" fmla="*/ 8470 w 39714"/>
                  <a:gd name="connsiteY4" fmla="*/ 58321 h 239535"/>
                  <a:gd name="connsiteX5" fmla="*/ 14719 w 39714"/>
                  <a:gd name="connsiteY5" fmla="*/ 62487 h 239535"/>
                  <a:gd name="connsiteX6" fmla="*/ 18885 w 39714"/>
                  <a:gd name="connsiteY6" fmla="*/ 68736 h 239535"/>
                  <a:gd name="connsiteX7" fmla="*/ 35548 w 39714"/>
                  <a:gd name="connsiteY7" fmla="*/ 87482 h 239535"/>
                  <a:gd name="connsiteX8" fmla="*/ 39714 w 39714"/>
                  <a:gd name="connsiteY8" fmla="*/ 99979 h 239535"/>
                  <a:gd name="connsiteX9" fmla="*/ 37631 w 39714"/>
                  <a:gd name="connsiteY9" fmla="*/ 147887 h 239535"/>
                  <a:gd name="connsiteX10" fmla="*/ 31382 w 39714"/>
                  <a:gd name="connsiteY10" fmla="*/ 179130 h 239535"/>
                  <a:gd name="connsiteX11" fmla="*/ 27216 w 39714"/>
                  <a:gd name="connsiteY11" fmla="*/ 185379 h 239535"/>
                  <a:gd name="connsiteX12" fmla="*/ 25133 w 39714"/>
                  <a:gd name="connsiteY12" fmla="*/ 193711 h 239535"/>
                  <a:gd name="connsiteX13" fmla="*/ 23051 w 39714"/>
                  <a:gd name="connsiteY13" fmla="*/ 199959 h 239535"/>
                  <a:gd name="connsiteX14" fmla="*/ 23051 w 39714"/>
                  <a:gd name="connsiteY14" fmla="*/ 239535 h 239535"/>
                  <a:gd name="connsiteX15" fmla="*/ 23051 w 39714"/>
                  <a:gd name="connsiteY15" fmla="*/ 239535 h 239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9714" h="239535">
                    <a:moveTo>
                      <a:pt x="4304" y="0"/>
                    </a:moveTo>
                    <a:lnTo>
                      <a:pt x="4304" y="0"/>
                    </a:lnTo>
                    <a:cubicBezTo>
                      <a:pt x="2915" y="6249"/>
                      <a:pt x="474" y="12354"/>
                      <a:pt x="138" y="18746"/>
                    </a:cubicBezTo>
                    <a:cubicBezTo>
                      <a:pt x="-664" y="33980"/>
                      <a:pt x="2105" y="39226"/>
                      <a:pt x="6387" y="52072"/>
                    </a:cubicBezTo>
                    <a:cubicBezTo>
                      <a:pt x="7081" y="54155"/>
                      <a:pt x="6643" y="57103"/>
                      <a:pt x="8470" y="58321"/>
                    </a:cubicBezTo>
                    <a:lnTo>
                      <a:pt x="14719" y="62487"/>
                    </a:lnTo>
                    <a:cubicBezTo>
                      <a:pt x="16108" y="64570"/>
                      <a:pt x="17222" y="66865"/>
                      <a:pt x="18885" y="68736"/>
                    </a:cubicBezTo>
                    <a:cubicBezTo>
                      <a:pt x="23076" y="73451"/>
                      <a:pt x="32396" y="80391"/>
                      <a:pt x="35548" y="87482"/>
                    </a:cubicBezTo>
                    <a:cubicBezTo>
                      <a:pt x="37331" y="91495"/>
                      <a:pt x="39714" y="99979"/>
                      <a:pt x="39714" y="99979"/>
                    </a:cubicBezTo>
                    <a:cubicBezTo>
                      <a:pt x="39020" y="115948"/>
                      <a:pt x="38628" y="131934"/>
                      <a:pt x="37631" y="147887"/>
                    </a:cubicBezTo>
                    <a:cubicBezTo>
                      <a:pt x="37214" y="154555"/>
                      <a:pt x="36034" y="172152"/>
                      <a:pt x="31382" y="179130"/>
                    </a:cubicBezTo>
                    <a:lnTo>
                      <a:pt x="27216" y="185379"/>
                    </a:lnTo>
                    <a:cubicBezTo>
                      <a:pt x="26522" y="188156"/>
                      <a:pt x="25919" y="190958"/>
                      <a:pt x="25133" y="193711"/>
                    </a:cubicBezTo>
                    <a:cubicBezTo>
                      <a:pt x="24530" y="195822"/>
                      <a:pt x="23151" y="197766"/>
                      <a:pt x="23051" y="199959"/>
                    </a:cubicBezTo>
                    <a:cubicBezTo>
                      <a:pt x="22452" y="213137"/>
                      <a:pt x="23051" y="226343"/>
                      <a:pt x="23051" y="239535"/>
                    </a:cubicBezTo>
                    <a:lnTo>
                      <a:pt x="23051" y="239535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60" name="Freeform: Shape 3443">
                <a:extLst>
                  <a:ext uri="{FF2B5EF4-FFF2-40B4-BE49-F238E27FC236}">
                    <a16:creationId xmlns:a16="http://schemas.microsoft.com/office/drawing/2014/main" id="{BCDEEA7B-4A47-EC44-4F4C-130B4D327009}"/>
                  </a:ext>
                </a:extLst>
              </p:cNvPr>
              <p:cNvSpPr/>
              <p:nvPr/>
            </p:nvSpPr>
            <p:spPr>
              <a:xfrm>
                <a:off x="5766751" y="2607684"/>
                <a:ext cx="21537" cy="140380"/>
              </a:xfrm>
              <a:custGeom>
                <a:avLst/>
                <a:gdLst>
                  <a:gd name="connsiteX0" fmla="*/ 0 w 39637"/>
                  <a:gd name="connsiteY0" fmla="*/ 0 h 256198"/>
                  <a:gd name="connsiteX1" fmla="*/ 0 w 39637"/>
                  <a:gd name="connsiteY1" fmla="*/ 0 h 256198"/>
                  <a:gd name="connsiteX2" fmla="*/ 4166 w 39637"/>
                  <a:gd name="connsiteY2" fmla="*/ 18746 h 256198"/>
                  <a:gd name="connsiteX3" fmla="*/ 10415 w 39637"/>
                  <a:gd name="connsiteY3" fmla="*/ 31244 h 256198"/>
                  <a:gd name="connsiteX4" fmla="*/ 16664 w 39637"/>
                  <a:gd name="connsiteY4" fmla="*/ 35409 h 256198"/>
                  <a:gd name="connsiteX5" fmla="*/ 18747 w 39637"/>
                  <a:gd name="connsiteY5" fmla="*/ 41658 h 256198"/>
                  <a:gd name="connsiteX6" fmla="*/ 27078 w 39637"/>
                  <a:gd name="connsiteY6" fmla="*/ 54156 h 256198"/>
                  <a:gd name="connsiteX7" fmla="*/ 31244 w 39637"/>
                  <a:gd name="connsiteY7" fmla="*/ 66653 h 256198"/>
                  <a:gd name="connsiteX8" fmla="*/ 35410 w 39637"/>
                  <a:gd name="connsiteY8" fmla="*/ 79151 h 256198"/>
                  <a:gd name="connsiteX9" fmla="*/ 37493 w 39637"/>
                  <a:gd name="connsiteY9" fmla="*/ 85399 h 256198"/>
                  <a:gd name="connsiteX10" fmla="*/ 37493 w 39637"/>
                  <a:gd name="connsiteY10" fmla="*/ 141638 h 256198"/>
                  <a:gd name="connsiteX11" fmla="*/ 33327 w 39637"/>
                  <a:gd name="connsiteY11" fmla="*/ 172882 h 256198"/>
                  <a:gd name="connsiteX12" fmla="*/ 29161 w 39637"/>
                  <a:gd name="connsiteY12" fmla="*/ 179131 h 256198"/>
                  <a:gd name="connsiteX13" fmla="*/ 27078 w 39637"/>
                  <a:gd name="connsiteY13" fmla="*/ 185379 h 256198"/>
                  <a:gd name="connsiteX14" fmla="*/ 18747 w 39637"/>
                  <a:gd name="connsiteY14" fmla="*/ 197877 h 256198"/>
                  <a:gd name="connsiteX15" fmla="*/ 14581 w 39637"/>
                  <a:gd name="connsiteY15" fmla="*/ 210374 h 256198"/>
                  <a:gd name="connsiteX16" fmla="*/ 12498 w 39637"/>
                  <a:gd name="connsiteY16" fmla="*/ 216623 h 256198"/>
                  <a:gd name="connsiteX17" fmla="*/ 14581 w 39637"/>
                  <a:gd name="connsiteY17" fmla="*/ 245784 h 256198"/>
                  <a:gd name="connsiteX18" fmla="*/ 16664 w 39637"/>
                  <a:gd name="connsiteY18" fmla="*/ 254116 h 256198"/>
                  <a:gd name="connsiteX19" fmla="*/ 12498 w 39637"/>
                  <a:gd name="connsiteY19" fmla="*/ 256198 h 256198"/>
                  <a:gd name="connsiteX20" fmla="*/ 12498 w 39637"/>
                  <a:gd name="connsiteY20" fmla="*/ 256198 h 256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39637" h="256198">
                    <a:moveTo>
                      <a:pt x="0" y="0"/>
                    </a:moveTo>
                    <a:lnTo>
                      <a:pt x="0" y="0"/>
                    </a:lnTo>
                    <a:cubicBezTo>
                      <a:pt x="1389" y="6249"/>
                      <a:pt x="2613" y="12536"/>
                      <a:pt x="4166" y="18746"/>
                    </a:cubicBezTo>
                    <a:cubicBezTo>
                      <a:pt x="5295" y="23263"/>
                      <a:pt x="7021" y="27850"/>
                      <a:pt x="10415" y="31244"/>
                    </a:cubicBezTo>
                    <a:cubicBezTo>
                      <a:pt x="12185" y="33014"/>
                      <a:pt x="14581" y="34021"/>
                      <a:pt x="16664" y="35409"/>
                    </a:cubicBezTo>
                    <a:cubicBezTo>
                      <a:pt x="17358" y="37492"/>
                      <a:pt x="17681" y="39739"/>
                      <a:pt x="18747" y="41658"/>
                    </a:cubicBezTo>
                    <a:cubicBezTo>
                      <a:pt x="21178" y="46035"/>
                      <a:pt x="25495" y="49406"/>
                      <a:pt x="27078" y="54156"/>
                    </a:cubicBezTo>
                    <a:lnTo>
                      <a:pt x="31244" y="66653"/>
                    </a:lnTo>
                    <a:lnTo>
                      <a:pt x="35410" y="79151"/>
                    </a:lnTo>
                    <a:lnTo>
                      <a:pt x="37493" y="85399"/>
                    </a:lnTo>
                    <a:cubicBezTo>
                      <a:pt x="40443" y="117843"/>
                      <a:pt x="40259" y="102911"/>
                      <a:pt x="37493" y="141638"/>
                    </a:cubicBezTo>
                    <a:cubicBezTo>
                      <a:pt x="37105" y="147068"/>
                      <a:pt x="37561" y="164414"/>
                      <a:pt x="33327" y="172882"/>
                    </a:cubicBezTo>
                    <a:cubicBezTo>
                      <a:pt x="32207" y="175121"/>
                      <a:pt x="30281" y="176892"/>
                      <a:pt x="29161" y="179131"/>
                    </a:cubicBezTo>
                    <a:cubicBezTo>
                      <a:pt x="28179" y="181095"/>
                      <a:pt x="28144" y="183460"/>
                      <a:pt x="27078" y="185379"/>
                    </a:cubicBezTo>
                    <a:cubicBezTo>
                      <a:pt x="24647" y="189756"/>
                      <a:pt x="20330" y="193127"/>
                      <a:pt x="18747" y="197877"/>
                    </a:cubicBezTo>
                    <a:lnTo>
                      <a:pt x="14581" y="210374"/>
                    </a:lnTo>
                    <a:lnTo>
                      <a:pt x="12498" y="216623"/>
                    </a:lnTo>
                    <a:cubicBezTo>
                      <a:pt x="13192" y="226343"/>
                      <a:pt x="13505" y="236099"/>
                      <a:pt x="14581" y="245784"/>
                    </a:cubicBezTo>
                    <a:cubicBezTo>
                      <a:pt x="14897" y="248629"/>
                      <a:pt x="17225" y="251309"/>
                      <a:pt x="16664" y="254116"/>
                    </a:cubicBezTo>
                    <a:cubicBezTo>
                      <a:pt x="16360" y="255638"/>
                      <a:pt x="13887" y="255504"/>
                      <a:pt x="12498" y="256198"/>
                    </a:cubicBezTo>
                    <a:lnTo>
                      <a:pt x="12498" y="256198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61" name="Freeform: Shape 3444">
                <a:extLst>
                  <a:ext uri="{FF2B5EF4-FFF2-40B4-BE49-F238E27FC236}">
                    <a16:creationId xmlns:a16="http://schemas.microsoft.com/office/drawing/2014/main" id="{EDAA7F7A-7061-F627-77A0-4D726C7A1BB6}"/>
                  </a:ext>
                </a:extLst>
              </p:cNvPr>
              <p:cNvSpPr/>
              <p:nvPr/>
            </p:nvSpPr>
            <p:spPr>
              <a:xfrm>
                <a:off x="5792783" y="2606543"/>
                <a:ext cx="26602" cy="135815"/>
              </a:xfrm>
              <a:custGeom>
                <a:avLst/>
                <a:gdLst>
                  <a:gd name="connsiteX0" fmla="*/ 0 w 48958"/>
                  <a:gd name="connsiteY0" fmla="*/ 0 h 247867"/>
                  <a:gd name="connsiteX1" fmla="*/ 0 w 48958"/>
                  <a:gd name="connsiteY1" fmla="*/ 0 h 247867"/>
                  <a:gd name="connsiteX2" fmla="*/ 4165 w 48958"/>
                  <a:gd name="connsiteY2" fmla="*/ 35409 h 247867"/>
                  <a:gd name="connsiteX3" fmla="*/ 8331 w 48958"/>
                  <a:gd name="connsiteY3" fmla="*/ 41658 h 247867"/>
                  <a:gd name="connsiteX4" fmla="*/ 20829 w 48958"/>
                  <a:gd name="connsiteY4" fmla="*/ 52073 h 247867"/>
                  <a:gd name="connsiteX5" fmla="*/ 33326 w 48958"/>
                  <a:gd name="connsiteY5" fmla="*/ 62487 h 247867"/>
                  <a:gd name="connsiteX6" fmla="*/ 41658 w 48958"/>
                  <a:gd name="connsiteY6" fmla="*/ 74985 h 247867"/>
                  <a:gd name="connsiteX7" fmla="*/ 45824 w 48958"/>
                  <a:gd name="connsiteY7" fmla="*/ 91648 h 247867"/>
                  <a:gd name="connsiteX8" fmla="*/ 47907 w 48958"/>
                  <a:gd name="connsiteY8" fmla="*/ 97897 h 247867"/>
                  <a:gd name="connsiteX9" fmla="*/ 37492 w 48958"/>
                  <a:gd name="connsiteY9" fmla="*/ 162467 h 247867"/>
                  <a:gd name="connsiteX10" fmla="*/ 16663 w 48958"/>
                  <a:gd name="connsiteY10" fmla="*/ 187462 h 247867"/>
                  <a:gd name="connsiteX11" fmla="*/ 12497 w 48958"/>
                  <a:gd name="connsiteY11" fmla="*/ 193711 h 247867"/>
                  <a:gd name="connsiteX12" fmla="*/ 8331 w 48958"/>
                  <a:gd name="connsiteY12" fmla="*/ 199960 h 247867"/>
                  <a:gd name="connsiteX13" fmla="*/ 6248 w 48958"/>
                  <a:gd name="connsiteY13" fmla="*/ 212457 h 247867"/>
                  <a:gd name="connsiteX14" fmla="*/ 4165 w 48958"/>
                  <a:gd name="connsiteY14" fmla="*/ 218706 h 247867"/>
                  <a:gd name="connsiteX15" fmla="*/ 2082 w 48958"/>
                  <a:gd name="connsiteY15" fmla="*/ 247867 h 247867"/>
                  <a:gd name="connsiteX16" fmla="*/ 2082 w 48958"/>
                  <a:gd name="connsiteY16" fmla="*/ 245784 h 247867"/>
                  <a:gd name="connsiteX0" fmla="*/ 0 w 48958"/>
                  <a:gd name="connsiteY0" fmla="*/ 0 h 247867"/>
                  <a:gd name="connsiteX1" fmla="*/ 0 w 48958"/>
                  <a:gd name="connsiteY1" fmla="*/ 0 h 247867"/>
                  <a:gd name="connsiteX2" fmla="*/ 4165 w 48958"/>
                  <a:gd name="connsiteY2" fmla="*/ 35409 h 247867"/>
                  <a:gd name="connsiteX3" fmla="*/ 8331 w 48958"/>
                  <a:gd name="connsiteY3" fmla="*/ 41658 h 247867"/>
                  <a:gd name="connsiteX4" fmla="*/ 20829 w 48958"/>
                  <a:gd name="connsiteY4" fmla="*/ 52073 h 247867"/>
                  <a:gd name="connsiteX5" fmla="*/ 33326 w 48958"/>
                  <a:gd name="connsiteY5" fmla="*/ 62487 h 247867"/>
                  <a:gd name="connsiteX6" fmla="*/ 41658 w 48958"/>
                  <a:gd name="connsiteY6" fmla="*/ 74985 h 247867"/>
                  <a:gd name="connsiteX7" fmla="*/ 45824 w 48958"/>
                  <a:gd name="connsiteY7" fmla="*/ 91648 h 247867"/>
                  <a:gd name="connsiteX8" fmla="*/ 47907 w 48958"/>
                  <a:gd name="connsiteY8" fmla="*/ 97897 h 247867"/>
                  <a:gd name="connsiteX9" fmla="*/ 37492 w 48958"/>
                  <a:gd name="connsiteY9" fmla="*/ 162467 h 247867"/>
                  <a:gd name="connsiteX10" fmla="*/ 16663 w 48958"/>
                  <a:gd name="connsiteY10" fmla="*/ 187462 h 247867"/>
                  <a:gd name="connsiteX11" fmla="*/ 12497 w 48958"/>
                  <a:gd name="connsiteY11" fmla="*/ 193711 h 247867"/>
                  <a:gd name="connsiteX12" fmla="*/ 8331 w 48958"/>
                  <a:gd name="connsiteY12" fmla="*/ 199960 h 247867"/>
                  <a:gd name="connsiteX13" fmla="*/ 6248 w 48958"/>
                  <a:gd name="connsiteY13" fmla="*/ 212457 h 247867"/>
                  <a:gd name="connsiteX14" fmla="*/ 4165 w 48958"/>
                  <a:gd name="connsiteY14" fmla="*/ 218706 h 247867"/>
                  <a:gd name="connsiteX15" fmla="*/ 2082 w 48958"/>
                  <a:gd name="connsiteY15" fmla="*/ 247867 h 247867"/>
                  <a:gd name="connsiteX16" fmla="*/ 4165 w 48958"/>
                  <a:gd name="connsiteY16" fmla="*/ 245784 h 247867"/>
                  <a:gd name="connsiteX0" fmla="*/ 0 w 48958"/>
                  <a:gd name="connsiteY0" fmla="*/ 0 h 247867"/>
                  <a:gd name="connsiteX1" fmla="*/ 0 w 48958"/>
                  <a:gd name="connsiteY1" fmla="*/ 0 h 247867"/>
                  <a:gd name="connsiteX2" fmla="*/ 4165 w 48958"/>
                  <a:gd name="connsiteY2" fmla="*/ 35409 h 247867"/>
                  <a:gd name="connsiteX3" fmla="*/ 8331 w 48958"/>
                  <a:gd name="connsiteY3" fmla="*/ 41658 h 247867"/>
                  <a:gd name="connsiteX4" fmla="*/ 20829 w 48958"/>
                  <a:gd name="connsiteY4" fmla="*/ 52073 h 247867"/>
                  <a:gd name="connsiteX5" fmla="*/ 33326 w 48958"/>
                  <a:gd name="connsiteY5" fmla="*/ 62487 h 247867"/>
                  <a:gd name="connsiteX6" fmla="*/ 41658 w 48958"/>
                  <a:gd name="connsiteY6" fmla="*/ 74985 h 247867"/>
                  <a:gd name="connsiteX7" fmla="*/ 45824 w 48958"/>
                  <a:gd name="connsiteY7" fmla="*/ 91648 h 247867"/>
                  <a:gd name="connsiteX8" fmla="*/ 47907 w 48958"/>
                  <a:gd name="connsiteY8" fmla="*/ 97897 h 247867"/>
                  <a:gd name="connsiteX9" fmla="*/ 37492 w 48958"/>
                  <a:gd name="connsiteY9" fmla="*/ 162467 h 247867"/>
                  <a:gd name="connsiteX10" fmla="*/ 16663 w 48958"/>
                  <a:gd name="connsiteY10" fmla="*/ 187462 h 247867"/>
                  <a:gd name="connsiteX11" fmla="*/ 12497 w 48958"/>
                  <a:gd name="connsiteY11" fmla="*/ 193711 h 247867"/>
                  <a:gd name="connsiteX12" fmla="*/ 8331 w 48958"/>
                  <a:gd name="connsiteY12" fmla="*/ 199960 h 247867"/>
                  <a:gd name="connsiteX13" fmla="*/ 6248 w 48958"/>
                  <a:gd name="connsiteY13" fmla="*/ 212457 h 247867"/>
                  <a:gd name="connsiteX14" fmla="*/ 4165 w 48958"/>
                  <a:gd name="connsiteY14" fmla="*/ 218706 h 247867"/>
                  <a:gd name="connsiteX15" fmla="*/ 2082 w 48958"/>
                  <a:gd name="connsiteY15" fmla="*/ 247867 h 247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8958" h="247867">
                    <a:moveTo>
                      <a:pt x="0" y="0"/>
                    </a:moveTo>
                    <a:lnTo>
                      <a:pt x="0" y="0"/>
                    </a:lnTo>
                    <a:cubicBezTo>
                      <a:pt x="89" y="805"/>
                      <a:pt x="3626" y="33434"/>
                      <a:pt x="4165" y="35409"/>
                    </a:cubicBezTo>
                    <a:cubicBezTo>
                      <a:pt x="4824" y="37824"/>
                      <a:pt x="6728" y="39735"/>
                      <a:pt x="8331" y="41658"/>
                    </a:cubicBezTo>
                    <a:cubicBezTo>
                      <a:pt x="16631" y="51618"/>
                      <a:pt x="11890" y="44623"/>
                      <a:pt x="20829" y="52073"/>
                    </a:cubicBezTo>
                    <a:cubicBezTo>
                      <a:pt x="36858" y="65432"/>
                      <a:pt x="17817" y="52150"/>
                      <a:pt x="33326" y="62487"/>
                    </a:cubicBezTo>
                    <a:cubicBezTo>
                      <a:pt x="36103" y="66653"/>
                      <a:pt x="40075" y="70235"/>
                      <a:pt x="41658" y="74985"/>
                    </a:cubicBezTo>
                    <a:cubicBezTo>
                      <a:pt x="46420" y="89270"/>
                      <a:pt x="40797" y="71540"/>
                      <a:pt x="45824" y="91648"/>
                    </a:cubicBezTo>
                    <a:cubicBezTo>
                      <a:pt x="46357" y="93778"/>
                      <a:pt x="47213" y="95814"/>
                      <a:pt x="47907" y="97897"/>
                    </a:cubicBezTo>
                    <a:cubicBezTo>
                      <a:pt x="46922" y="122514"/>
                      <a:pt x="55086" y="144871"/>
                      <a:pt x="37492" y="162467"/>
                    </a:cubicBezTo>
                    <a:cubicBezTo>
                      <a:pt x="21456" y="178504"/>
                      <a:pt x="28262" y="170064"/>
                      <a:pt x="16663" y="187462"/>
                    </a:cubicBezTo>
                    <a:lnTo>
                      <a:pt x="12497" y="193711"/>
                    </a:lnTo>
                    <a:lnTo>
                      <a:pt x="8331" y="199960"/>
                    </a:lnTo>
                    <a:cubicBezTo>
                      <a:pt x="7637" y="204126"/>
                      <a:pt x="7164" y="208334"/>
                      <a:pt x="6248" y="212457"/>
                    </a:cubicBezTo>
                    <a:cubicBezTo>
                      <a:pt x="5772" y="214600"/>
                      <a:pt x="4526" y="216540"/>
                      <a:pt x="4165" y="218706"/>
                    </a:cubicBezTo>
                    <a:cubicBezTo>
                      <a:pt x="1699" y="233504"/>
                      <a:pt x="2082" y="243354"/>
                      <a:pt x="2082" y="247867"/>
                    </a:cubicBez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62" name="Freeform: Shape 3445">
                <a:extLst>
                  <a:ext uri="{FF2B5EF4-FFF2-40B4-BE49-F238E27FC236}">
                    <a16:creationId xmlns:a16="http://schemas.microsoft.com/office/drawing/2014/main" id="{04D1D8C9-51BE-408B-C54A-D6DB425CDDBF}"/>
                  </a:ext>
                </a:extLst>
              </p:cNvPr>
              <p:cNvSpPr/>
              <p:nvPr/>
            </p:nvSpPr>
            <p:spPr>
              <a:xfrm>
                <a:off x="5817682" y="2608826"/>
                <a:ext cx="21504" cy="135815"/>
              </a:xfrm>
              <a:custGeom>
                <a:avLst/>
                <a:gdLst>
                  <a:gd name="connsiteX0" fmla="*/ 0 w 39575"/>
                  <a:gd name="connsiteY0" fmla="*/ 0 h 247867"/>
                  <a:gd name="connsiteX1" fmla="*/ 0 w 39575"/>
                  <a:gd name="connsiteY1" fmla="*/ 0 h 247867"/>
                  <a:gd name="connsiteX2" fmla="*/ 4165 w 39575"/>
                  <a:gd name="connsiteY2" fmla="*/ 29161 h 247867"/>
                  <a:gd name="connsiteX3" fmla="*/ 8331 w 39575"/>
                  <a:gd name="connsiteY3" fmla="*/ 35409 h 247867"/>
                  <a:gd name="connsiteX4" fmla="*/ 18746 w 39575"/>
                  <a:gd name="connsiteY4" fmla="*/ 52073 h 247867"/>
                  <a:gd name="connsiteX5" fmla="*/ 22912 w 39575"/>
                  <a:gd name="connsiteY5" fmla="*/ 64570 h 247867"/>
                  <a:gd name="connsiteX6" fmla="*/ 24995 w 39575"/>
                  <a:gd name="connsiteY6" fmla="*/ 74985 h 247867"/>
                  <a:gd name="connsiteX7" fmla="*/ 33326 w 39575"/>
                  <a:gd name="connsiteY7" fmla="*/ 87482 h 247867"/>
                  <a:gd name="connsiteX8" fmla="*/ 37492 w 39575"/>
                  <a:gd name="connsiteY8" fmla="*/ 93731 h 247867"/>
                  <a:gd name="connsiteX9" fmla="*/ 39575 w 39575"/>
                  <a:gd name="connsiteY9" fmla="*/ 99980 h 247867"/>
                  <a:gd name="connsiteX10" fmla="*/ 37492 w 39575"/>
                  <a:gd name="connsiteY10" fmla="*/ 120809 h 247867"/>
                  <a:gd name="connsiteX11" fmla="*/ 35409 w 39575"/>
                  <a:gd name="connsiteY11" fmla="*/ 127058 h 247867"/>
                  <a:gd name="connsiteX12" fmla="*/ 33326 w 39575"/>
                  <a:gd name="connsiteY12" fmla="*/ 160384 h 247867"/>
                  <a:gd name="connsiteX13" fmla="*/ 31243 w 39575"/>
                  <a:gd name="connsiteY13" fmla="*/ 166633 h 247867"/>
                  <a:gd name="connsiteX14" fmla="*/ 24995 w 39575"/>
                  <a:gd name="connsiteY14" fmla="*/ 168716 h 247867"/>
                  <a:gd name="connsiteX15" fmla="*/ 20829 w 39575"/>
                  <a:gd name="connsiteY15" fmla="*/ 174965 h 247867"/>
                  <a:gd name="connsiteX16" fmla="*/ 16663 w 39575"/>
                  <a:gd name="connsiteY16" fmla="*/ 193711 h 247867"/>
                  <a:gd name="connsiteX17" fmla="*/ 14580 w 39575"/>
                  <a:gd name="connsiteY17" fmla="*/ 199960 h 247867"/>
                  <a:gd name="connsiteX18" fmla="*/ 10414 w 39575"/>
                  <a:gd name="connsiteY18" fmla="*/ 214540 h 247867"/>
                  <a:gd name="connsiteX19" fmla="*/ 8331 w 39575"/>
                  <a:gd name="connsiteY19" fmla="*/ 247867 h 247867"/>
                  <a:gd name="connsiteX20" fmla="*/ 8331 w 39575"/>
                  <a:gd name="connsiteY20" fmla="*/ 247867 h 247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39575" h="247867">
                    <a:moveTo>
                      <a:pt x="0" y="0"/>
                    </a:moveTo>
                    <a:lnTo>
                      <a:pt x="0" y="0"/>
                    </a:lnTo>
                    <a:cubicBezTo>
                      <a:pt x="531" y="5837"/>
                      <a:pt x="160" y="21151"/>
                      <a:pt x="4165" y="29161"/>
                    </a:cubicBezTo>
                    <a:cubicBezTo>
                      <a:pt x="5284" y="31400"/>
                      <a:pt x="6942" y="33326"/>
                      <a:pt x="8331" y="35409"/>
                    </a:cubicBezTo>
                    <a:cubicBezTo>
                      <a:pt x="13289" y="50282"/>
                      <a:pt x="8843" y="45471"/>
                      <a:pt x="18746" y="52073"/>
                    </a:cubicBezTo>
                    <a:cubicBezTo>
                      <a:pt x="20135" y="56239"/>
                      <a:pt x="22051" y="60264"/>
                      <a:pt x="22912" y="64570"/>
                    </a:cubicBezTo>
                    <a:cubicBezTo>
                      <a:pt x="23606" y="68042"/>
                      <a:pt x="23530" y="71762"/>
                      <a:pt x="24995" y="74985"/>
                    </a:cubicBezTo>
                    <a:cubicBezTo>
                      <a:pt x="27067" y="79543"/>
                      <a:pt x="30549" y="83316"/>
                      <a:pt x="33326" y="87482"/>
                    </a:cubicBezTo>
                    <a:cubicBezTo>
                      <a:pt x="34715" y="89565"/>
                      <a:pt x="36700" y="91356"/>
                      <a:pt x="37492" y="93731"/>
                    </a:cubicBezTo>
                    <a:lnTo>
                      <a:pt x="39575" y="99980"/>
                    </a:lnTo>
                    <a:cubicBezTo>
                      <a:pt x="38881" y="106923"/>
                      <a:pt x="38553" y="113913"/>
                      <a:pt x="37492" y="120809"/>
                    </a:cubicBezTo>
                    <a:cubicBezTo>
                      <a:pt x="37158" y="122979"/>
                      <a:pt x="35639" y="124874"/>
                      <a:pt x="35409" y="127058"/>
                    </a:cubicBezTo>
                    <a:cubicBezTo>
                      <a:pt x="34244" y="138127"/>
                      <a:pt x="34491" y="149315"/>
                      <a:pt x="33326" y="160384"/>
                    </a:cubicBezTo>
                    <a:cubicBezTo>
                      <a:pt x="33096" y="162568"/>
                      <a:pt x="32795" y="165080"/>
                      <a:pt x="31243" y="166633"/>
                    </a:cubicBezTo>
                    <a:cubicBezTo>
                      <a:pt x="29691" y="168185"/>
                      <a:pt x="27078" y="168022"/>
                      <a:pt x="24995" y="168716"/>
                    </a:cubicBezTo>
                    <a:cubicBezTo>
                      <a:pt x="23606" y="170799"/>
                      <a:pt x="21949" y="172726"/>
                      <a:pt x="20829" y="174965"/>
                    </a:cubicBezTo>
                    <a:cubicBezTo>
                      <a:pt x="18015" y="180592"/>
                      <a:pt x="17943" y="187949"/>
                      <a:pt x="16663" y="193711"/>
                    </a:cubicBezTo>
                    <a:cubicBezTo>
                      <a:pt x="16187" y="195854"/>
                      <a:pt x="15183" y="197849"/>
                      <a:pt x="14580" y="199960"/>
                    </a:cubicBezTo>
                    <a:cubicBezTo>
                      <a:pt x="9349" y="218268"/>
                      <a:pt x="15408" y="199557"/>
                      <a:pt x="10414" y="214540"/>
                    </a:cubicBezTo>
                    <a:cubicBezTo>
                      <a:pt x="8285" y="246477"/>
                      <a:pt x="8331" y="235346"/>
                      <a:pt x="8331" y="247867"/>
                    </a:cubicBezTo>
                    <a:lnTo>
                      <a:pt x="8331" y="247867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63" name="Freeform: Shape 3446">
                <a:extLst>
                  <a:ext uri="{FF2B5EF4-FFF2-40B4-BE49-F238E27FC236}">
                    <a16:creationId xmlns:a16="http://schemas.microsoft.com/office/drawing/2014/main" id="{F4A3D27C-4806-3087-3928-481BCE70E6B8}"/>
                  </a:ext>
                </a:extLst>
              </p:cNvPr>
              <p:cNvSpPr/>
              <p:nvPr/>
            </p:nvSpPr>
            <p:spPr>
              <a:xfrm>
                <a:off x="5845977" y="2614532"/>
                <a:ext cx="20372" cy="136956"/>
              </a:xfrm>
              <a:custGeom>
                <a:avLst/>
                <a:gdLst>
                  <a:gd name="connsiteX0" fmla="*/ 0 w 37492"/>
                  <a:gd name="connsiteY0" fmla="*/ 0 h 249950"/>
                  <a:gd name="connsiteX1" fmla="*/ 0 w 37492"/>
                  <a:gd name="connsiteY1" fmla="*/ 0 h 249950"/>
                  <a:gd name="connsiteX2" fmla="*/ 2082 w 37492"/>
                  <a:gd name="connsiteY2" fmla="*/ 18747 h 249950"/>
                  <a:gd name="connsiteX3" fmla="*/ 6248 w 37492"/>
                  <a:gd name="connsiteY3" fmla="*/ 24995 h 249950"/>
                  <a:gd name="connsiteX4" fmla="*/ 8331 w 37492"/>
                  <a:gd name="connsiteY4" fmla="*/ 31244 h 249950"/>
                  <a:gd name="connsiteX5" fmla="*/ 12497 w 37492"/>
                  <a:gd name="connsiteY5" fmla="*/ 37493 h 249950"/>
                  <a:gd name="connsiteX6" fmla="*/ 16663 w 37492"/>
                  <a:gd name="connsiteY6" fmla="*/ 49990 h 249950"/>
                  <a:gd name="connsiteX7" fmla="*/ 18746 w 37492"/>
                  <a:gd name="connsiteY7" fmla="*/ 64571 h 249950"/>
                  <a:gd name="connsiteX8" fmla="*/ 24995 w 37492"/>
                  <a:gd name="connsiteY8" fmla="*/ 83317 h 249950"/>
                  <a:gd name="connsiteX9" fmla="*/ 29160 w 37492"/>
                  <a:gd name="connsiteY9" fmla="*/ 95814 h 249950"/>
                  <a:gd name="connsiteX10" fmla="*/ 33326 w 37492"/>
                  <a:gd name="connsiteY10" fmla="*/ 102063 h 249950"/>
                  <a:gd name="connsiteX11" fmla="*/ 35409 w 37492"/>
                  <a:gd name="connsiteY11" fmla="*/ 110395 h 249950"/>
                  <a:gd name="connsiteX12" fmla="*/ 37492 w 37492"/>
                  <a:gd name="connsiteY12" fmla="*/ 116644 h 249950"/>
                  <a:gd name="connsiteX13" fmla="*/ 35409 w 37492"/>
                  <a:gd name="connsiteY13" fmla="*/ 158302 h 249950"/>
                  <a:gd name="connsiteX14" fmla="*/ 29160 w 37492"/>
                  <a:gd name="connsiteY14" fmla="*/ 172882 h 249950"/>
                  <a:gd name="connsiteX15" fmla="*/ 22912 w 37492"/>
                  <a:gd name="connsiteY15" fmla="*/ 177048 h 249950"/>
                  <a:gd name="connsiteX16" fmla="*/ 18746 w 37492"/>
                  <a:gd name="connsiteY16" fmla="*/ 183297 h 249950"/>
                  <a:gd name="connsiteX17" fmla="*/ 14580 w 37492"/>
                  <a:gd name="connsiteY17" fmla="*/ 195794 h 249950"/>
                  <a:gd name="connsiteX18" fmla="*/ 8331 w 37492"/>
                  <a:gd name="connsiteY18" fmla="*/ 199960 h 249950"/>
                  <a:gd name="connsiteX19" fmla="*/ 6248 w 37492"/>
                  <a:gd name="connsiteY19" fmla="*/ 208292 h 249950"/>
                  <a:gd name="connsiteX20" fmla="*/ 4165 w 37492"/>
                  <a:gd name="connsiteY20" fmla="*/ 214541 h 249950"/>
                  <a:gd name="connsiteX21" fmla="*/ 6248 w 37492"/>
                  <a:gd name="connsiteY21" fmla="*/ 249950 h 249950"/>
                  <a:gd name="connsiteX22" fmla="*/ 6248 w 37492"/>
                  <a:gd name="connsiteY22" fmla="*/ 249950 h 249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37492" h="249950">
                    <a:moveTo>
                      <a:pt x="0" y="0"/>
                    </a:moveTo>
                    <a:lnTo>
                      <a:pt x="0" y="0"/>
                    </a:lnTo>
                    <a:cubicBezTo>
                      <a:pt x="694" y="6249"/>
                      <a:pt x="557" y="12647"/>
                      <a:pt x="2082" y="18747"/>
                    </a:cubicBezTo>
                    <a:cubicBezTo>
                      <a:pt x="2689" y="21175"/>
                      <a:pt x="5128" y="22756"/>
                      <a:pt x="6248" y="24995"/>
                    </a:cubicBezTo>
                    <a:cubicBezTo>
                      <a:pt x="7230" y="26959"/>
                      <a:pt x="7349" y="29280"/>
                      <a:pt x="8331" y="31244"/>
                    </a:cubicBezTo>
                    <a:cubicBezTo>
                      <a:pt x="9451" y="33483"/>
                      <a:pt x="11480" y="35205"/>
                      <a:pt x="12497" y="37493"/>
                    </a:cubicBezTo>
                    <a:cubicBezTo>
                      <a:pt x="14280" y="41506"/>
                      <a:pt x="16663" y="49990"/>
                      <a:pt x="16663" y="49990"/>
                    </a:cubicBezTo>
                    <a:cubicBezTo>
                      <a:pt x="17357" y="54850"/>
                      <a:pt x="17642" y="59787"/>
                      <a:pt x="18746" y="64571"/>
                    </a:cubicBezTo>
                    <a:cubicBezTo>
                      <a:pt x="18746" y="64572"/>
                      <a:pt x="23954" y="80192"/>
                      <a:pt x="24995" y="83317"/>
                    </a:cubicBezTo>
                    <a:cubicBezTo>
                      <a:pt x="24997" y="83322"/>
                      <a:pt x="29156" y="95809"/>
                      <a:pt x="29160" y="95814"/>
                    </a:cubicBezTo>
                    <a:lnTo>
                      <a:pt x="33326" y="102063"/>
                    </a:lnTo>
                    <a:cubicBezTo>
                      <a:pt x="34020" y="104840"/>
                      <a:pt x="34623" y="107642"/>
                      <a:pt x="35409" y="110395"/>
                    </a:cubicBezTo>
                    <a:cubicBezTo>
                      <a:pt x="36012" y="112506"/>
                      <a:pt x="37492" y="114448"/>
                      <a:pt x="37492" y="116644"/>
                    </a:cubicBezTo>
                    <a:cubicBezTo>
                      <a:pt x="37492" y="130547"/>
                      <a:pt x="36564" y="144447"/>
                      <a:pt x="35409" y="158302"/>
                    </a:cubicBezTo>
                    <a:cubicBezTo>
                      <a:pt x="34974" y="163518"/>
                      <a:pt x="32942" y="169100"/>
                      <a:pt x="29160" y="172882"/>
                    </a:cubicBezTo>
                    <a:cubicBezTo>
                      <a:pt x="27390" y="174652"/>
                      <a:pt x="24995" y="175659"/>
                      <a:pt x="22912" y="177048"/>
                    </a:cubicBezTo>
                    <a:cubicBezTo>
                      <a:pt x="21523" y="179131"/>
                      <a:pt x="19763" y="181009"/>
                      <a:pt x="18746" y="183297"/>
                    </a:cubicBezTo>
                    <a:cubicBezTo>
                      <a:pt x="16963" y="187310"/>
                      <a:pt x="18234" y="193358"/>
                      <a:pt x="14580" y="195794"/>
                    </a:cubicBezTo>
                    <a:lnTo>
                      <a:pt x="8331" y="199960"/>
                    </a:lnTo>
                    <a:cubicBezTo>
                      <a:pt x="7637" y="202737"/>
                      <a:pt x="7034" y="205539"/>
                      <a:pt x="6248" y="208292"/>
                    </a:cubicBezTo>
                    <a:cubicBezTo>
                      <a:pt x="5645" y="210403"/>
                      <a:pt x="4165" y="212345"/>
                      <a:pt x="4165" y="214541"/>
                    </a:cubicBezTo>
                    <a:cubicBezTo>
                      <a:pt x="4165" y="226364"/>
                      <a:pt x="6248" y="249950"/>
                      <a:pt x="6248" y="249950"/>
                    </a:cubicBezTo>
                    <a:lnTo>
                      <a:pt x="6248" y="249950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64" name="Freeform: Shape 3447">
                <a:extLst>
                  <a:ext uri="{FF2B5EF4-FFF2-40B4-BE49-F238E27FC236}">
                    <a16:creationId xmlns:a16="http://schemas.microsoft.com/office/drawing/2014/main" id="{696FFB17-AED7-4545-3504-BD6FDF2A76B9}"/>
                  </a:ext>
                </a:extLst>
              </p:cNvPr>
              <p:cNvSpPr/>
              <p:nvPr/>
            </p:nvSpPr>
            <p:spPr>
              <a:xfrm>
                <a:off x="5870876" y="2617956"/>
                <a:ext cx="15845" cy="136956"/>
              </a:xfrm>
              <a:custGeom>
                <a:avLst/>
                <a:gdLst>
                  <a:gd name="connsiteX0" fmla="*/ 0 w 29161"/>
                  <a:gd name="connsiteY0" fmla="*/ 0 h 249950"/>
                  <a:gd name="connsiteX1" fmla="*/ 0 w 29161"/>
                  <a:gd name="connsiteY1" fmla="*/ 0 h 249950"/>
                  <a:gd name="connsiteX2" fmla="*/ 4166 w 29161"/>
                  <a:gd name="connsiteY2" fmla="*/ 24995 h 249950"/>
                  <a:gd name="connsiteX3" fmla="*/ 8331 w 29161"/>
                  <a:gd name="connsiteY3" fmla="*/ 31244 h 249950"/>
                  <a:gd name="connsiteX4" fmla="*/ 12497 w 29161"/>
                  <a:gd name="connsiteY4" fmla="*/ 43741 h 249950"/>
                  <a:gd name="connsiteX5" fmla="*/ 14580 w 29161"/>
                  <a:gd name="connsiteY5" fmla="*/ 49990 h 249950"/>
                  <a:gd name="connsiteX6" fmla="*/ 24995 w 29161"/>
                  <a:gd name="connsiteY6" fmla="*/ 77068 h 249950"/>
                  <a:gd name="connsiteX7" fmla="*/ 29161 w 29161"/>
                  <a:gd name="connsiteY7" fmla="*/ 83317 h 249950"/>
                  <a:gd name="connsiteX8" fmla="*/ 27078 w 29161"/>
                  <a:gd name="connsiteY8" fmla="*/ 160385 h 249950"/>
                  <a:gd name="connsiteX9" fmla="*/ 24995 w 29161"/>
                  <a:gd name="connsiteY9" fmla="*/ 166633 h 249950"/>
                  <a:gd name="connsiteX10" fmla="*/ 16663 w 29161"/>
                  <a:gd name="connsiteY10" fmla="*/ 179131 h 249950"/>
                  <a:gd name="connsiteX11" fmla="*/ 12497 w 29161"/>
                  <a:gd name="connsiteY11" fmla="*/ 185380 h 249950"/>
                  <a:gd name="connsiteX12" fmla="*/ 10414 w 29161"/>
                  <a:gd name="connsiteY12" fmla="*/ 191628 h 249950"/>
                  <a:gd name="connsiteX13" fmla="*/ 2083 w 29161"/>
                  <a:gd name="connsiteY13" fmla="*/ 204126 h 249950"/>
                  <a:gd name="connsiteX14" fmla="*/ 4166 w 29161"/>
                  <a:gd name="connsiteY14" fmla="*/ 249950 h 249950"/>
                  <a:gd name="connsiteX15" fmla="*/ 4166 w 29161"/>
                  <a:gd name="connsiteY15" fmla="*/ 249950 h 249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9161" h="249950">
                    <a:moveTo>
                      <a:pt x="0" y="0"/>
                    </a:moveTo>
                    <a:lnTo>
                      <a:pt x="0" y="0"/>
                    </a:lnTo>
                    <a:cubicBezTo>
                      <a:pt x="660" y="5944"/>
                      <a:pt x="676" y="18015"/>
                      <a:pt x="4166" y="24995"/>
                    </a:cubicBezTo>
                    <a:cubicBezTo>
                      <a:pt x="5285" y="27234"/>
                      <a:pt x="7314" y="28956"/>
                      <a:pt x="8331" y="31244"/>
                    </a:cubicBezTo>
                    <a:cubicBezTo>
                      <a:pt x="10114" y="35257"/>
                      <a:pt x="11108" y="39575"/>
                      <a:pt x="12497" y="43741"/>
                    </a:cubicBezTo>
                    <a:lnTo>
                      <a:pt x="14580" y="49990"/>
                    </a:lnTo>
                    <a:cubicBezTo>
                      <a:pt x="17371" y="69527"/>
                      <a:pt x="13940" y="60485"/>
                      <a:pt x="24995" y="77068"/>
                    </a:cubicBezTo>
                    <a:lnTo>
                      <a:pt x="29161" y="83317"/>
                    </a:lnTo>
                    <a:cubicBezTo>
                      <a:pt x="28467" y="109006"/>
                      <a:pt x="28361" y="134718"/>
                      <a:pt x="27078" y="160385"/>
                    </a:cubicBezTo>
                    <a:cubicBezTo>
                      <a:pt x="26968" y="162578"/>
                      <a:pt x="26061" y="164714"/>
                      <a:pt x="24995" y="166633"/>
                    </a:cubicBezTo>
                    <a:cubicBezTo>
                      <a:pt x="22563" y="171010"/>
                      <a:pt x="19440" y="174965"/>
                      <a:pt x="16663" y="179131"/>
                    </a:cubicBezTo>
                    <a:cubicBezTo>
                      <a:pt x="15274" y="181214"/>
                      <a:pt x="13289" y="183005"/>
                      <a:pt x="12497" y="185380"/>
                    </a:cubicBezTo>
                    <a:cubicBezTo>
                      <a:pt x="11803" y="187463"/>
                      <a:pt x="11480" y="189709"/>
                      <a:pt x="10414" y="191628"/>
                    </a:cubicBezTo>
                    <a:cubicBezTo>
                      <a:pt x="7983" y="196005"/>
                      <a:pt x="2083" y="204126"/>
                      <a:pt x="2083" y="204126"/>
                    </a:cubicBezTo>
                    <a:cubicBezTo>
                      <a:pt x="4275" y="245781"/>
                      <a:pt x="4166" y="230491"/>
                      <a:pt x="4166" y="249950"/>
                    </a:cubicBezTo>
                    <a:lnTo>
                      <a:pt x="4166" y="249950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65" name="Freeform: Shape 3448">
                <a:extLst>
                  <a:ext uri="{FF2B5EF4-FFF2-40B4-BE49-F238E27FC236}">
                    <a16:creationId xmlns:a16="http://schemas.microsoft.com/office/drawing/2014/main" id="{0A75725A-5082-7D53-1262-BC3FB7BFF149}"/>
                  </a:ext>
                </a:extLst>
              </p:cNvPr>
              <p:cNvSpPr/>
              <p:nvPr/>
            </p:nvSpPr>
            <p:spPr>
              <a:xfrm>
                <a:off x="5893318" y="2637358"/>
                <a:ext cx="22829" cy="138097"/>
              </a:xfrm>
              <a:custGeom>
                <a:avLst/>
                <a:gdLst>
                  <a:gd name="connsiteX0" fmla="*/ 12854 w 42014"/>
                  <a:gd name="connsiteY0" fmla="*/ 0 h 252032"/>
                  <a:gd name="connsiteX1" fmla="*/ 12854 w 42014"/>
                  <a:gd name="connsiteY1" fmla="*/ 0 h 252032"/>
                  <a:gd name="connsiteX2" fmla="*/ 14936 w 42014"/>
                  <a:gd name="connsiteY2" fmla="*/ 18746 h 252032"/>
                  <a:gd name="connsiteX3" fmla="*/ 23268 w 42014"/>
                  <a:gd name="connsiteY3" fmla="*/ 45824 h 252032"/>
                  <a:gd name="connsiteX4" fmla="*/ 29517 w 42014"/>
                  <a:gd name="connsiteY4" fmla="*/ 49990 h 252032"/>
                  <a:gd name="connsiteX5" fmla="*/ 33683 w 42014"/>
                  <a:gd name="connsiteY5" fmla="*/ 62487 h 252032"/>
                  <a:gd name="connsiteX6" fmla="*/ 35766 w 42014"/>
                  <a:gd name="connsiteY6" fmla="*/ 68736 h 252032"/>
                  <a:gd name="connsiteX7" fmla="*/ 37849 w 42014"/>
                  <a:gd name="connsiteY7" fmla="*/ 85399 h 252032"/>
                  <a:gd name="connsiteX8" fmla="*/ 39931 w 42014"/>
                  <a:gd name="connsiteY8" fmla="*/ 91648 h 252032"/>
                  <a:gd name="connsiteX9" fmla="*/ 42014 w 42014"/>
                  <a:gd name="connsiteY9" fmla="*/ 108311 h 252032"/>
                  <a:gd name="connsiteX10" fmla="*/ 39931 w 42014"/>
                  <a:gd name="connsiteY10" fmla="*/ 152052 h 252032"/>
                  <a:gd name="connsiteX11" fmla="*/ 29517 w 42014"/>
                  <a:gd name="connsiteY11" fmla="*/ 170799 h 252032"/>
                  <a:gd name="connsiteX12" fmla="*/ 25351 w 42014"/>
                  <a:gd name="connsiteY12" fmla="*/ 177047 h 252032"/>
                  <a:gd name="connsiteX13" fmla="*/ 19102 w 42014"/>
                  <a:gd name="connsiteY13" fmla="*/ 183296 h 252032"/>
                  <a:gd name="connsiteX14" fmla="*/ 6605 w 42014"/>
                  <a:gd name="connsiteY14" fmla="*/ 204125 h 252032"/>
                  <a:gd name="connsiteX15" fmla="*/ 2439 w 42014"/>
                  <a:gd name="connsiteY15" fmla="*/ 216623 h 252032"/>
                  <a:gd name="connsiteX16" fmla="*/ 356 w 42014"/>
                  <a:gd name="connsiteY16" fmla="*/ 222872 h 252032"/>
                  <a:gd name="connsiteX17" fmla="*/ 4522 w 42014"/>
                  <a:gd name="connsiteY17" fmla="*/ 252032 h 252032"/>
                  <a:gd name="connsiteX18" fmla="*/ 4522 w 42014"/>
                  <a:gd name="connsiteY18" fmla="*/ 252032 h 2520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2014" h="252032">
                    <a:moveTo>
                      <a:pt x="12854" y="0"/>
                    </a:moveTo>
                    <a:lnTo>
                      <a:pt x="12854" y="0"/>
                    </a:lnTo>
                    <a:cubicBezTo>
                      <a:pt x="13548" y="6249"/>
                      <a:pt x="14156" y="12507"/>
                      <a:pt x="14936" y="18746"/>
                    </a:cubicBezTo>
                    <a:cubicBezTo>
                      <a:pt x="16034" y="27530"/>
                      <a:pt x="16361" y="38917"/>
                      <a:pt x="23268" y="45824"/>
                    </a:cubicBezTo>
                    <a:cubicBezTo>
                      <a:pt x="25038" y="47594"/>
                      <a:pt x="27434" y="48601"/>
                      <a:pt x="29517" y="49990"/>
                    </a:cubicBezTo>
                    <a:lnTo>
                      <a:pt x="33683" y="62487"/>
                    </a:lnTo>
                    <a:lnTo>
                      <a:pt x="35766" y="68736"/>
                    </a:lnTo>
                    <a:cubicBezTo>
                      <a:pt x="36460" y="74290"/>
                      <a:pt x="36848" y="79892"/>
                      <a:pt x="37849" y="85399"/>
                    </a:cubicBezTo>
                    <a:cubicBezTo>
                      <a:pt x="38242" y="87559"/>
                      <a:pt x="39538" y="89488"/>
                      <a:pt x="39931" y="91648"/>
                    </a:cubicBezTo>
                    <a:cubicBezTo>
                      <a:pt x="40932" y="97155"/>
                      <a:pt x="41320" y="102757"/>
                      <a:pt x="42014" y="108311"/>
                    </a:cubicBezTo>
                    <a:cubicBezTo>
                      <a:pt x="41320" y="122891"/>
                      <a:pt x="41143" y="137506"/>
                      <a:pt x="39931" y="152052"/>
                    </a:cubicBezTo>
                    <a:cubicBezTo>
                      <a:pt x="39407" y="158340"/>
                      <a:pt x="31905" y="167218"/>
                      <a:pt x="29517" y="170799"/>
                    </a:cubicBezTo>
                    <a:cubicBezTo>
                      <a:pt x="28128" y="172882"/>
                      <a:pt x="27121" y="175277"/>
                      <a:pt x="25351" y="177047"/>
                    </a:cubicBezTo>
                    <a:cubicBezTo>
                      <a:pt x="23268" y="179130"/>
                      <a:pt x="20910" y="180971"/>
                      <a:pt x="19102" y="183296"/>
                    </a:cubicBezTo>
                    <a:cubicBezTo>
                      <a:pt x="15079" y="188469"/>
                      <a:pt x="9271" y="197461"/>
                      <a:pt x="6605" y="204125"/>
                    </a:cubicBezTo>
                    <a:cubicBezTo>
                      <a:pt x="4974" y="208202"/>
                      <a:pt x="3828" y="212457"/>
                      <a:pt x="2439" y="216623"/>
                    </a:cubicBezTo>
                    <a:lnTo>
                      <a:pt x="356" y="222872"/>
                    </a:lnTo>
                    <a:cubicBezTo>
                      <a:pt x="2514" y="250929"/>
                      <a:pt x="-3964" y="243550"/>
                      <a:pt x="4522" y="252032"/>
                    </a:cubicBezTo>
                    <a:lnTo>
                      <a:pt x="4522" y="252032"/>
                    </a:lnTo>
                  </a:path>
                </a:pathLst>
              </a:custGeom>
              <a:noFill/>
              <a:ln w="22225" cap="rnd" cmpd="sng" algn="ctr">
                <a:solidFill>
                  <a:srgbClr val="FFA74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66" name="Rectangle: Rounded Corners 65">
                <a:extLst>
                  <a:ext uri="{FF2B5EF4-FFF2-40B4-BE49-F238E27FC236}">
                    <a16:creationId xmlns:a16="http://schemas.microsoft.com/office/drawing/2014/main" id="{8056918A-4BF8-C2A9-A363-DE573707881B}"/>
                  </a:ext>
                </a:extLst>
              </p:cNvPr>
              <p:cNvSpPr/>
              <p:nvPr/>
            </p:nvSpPr>
            <p:spPr>
              <a:xfrm>
                <a:off x="5661453" y="2731159"/>
                <a:ext cx="275343" cy="392051"/>
              </a:xfrm>
              <a:prstGeom prst="roundRect">
                <a:avLst>
                  <a:gd name="adj" fmla="val 35662"/>
                </a:avLst>
              </a:prstGeom>
              <a:gradFill flip="none" rotWithShape="1">
                <a:gsLst>
                  <a:gs pos="16000">
                    <a:srgbClr val="FFEAD5"/>
                  </a:gs>
                  <a:gs pos="75000">
                    <a:srgbClr val="FFCC99"/>
                  </a:gs>
                </a:gsLst>
                <a:path path="circle">
                  <a:fillToRect l="50000" t="50000" r="50000" b="50000"/>
                </a:path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042D47D8-3D4F-67B7-7209-32FE327B7082}"/>
                  </a:ext>
                </a:extLst>
              </p:cNvPr>
              <p:cNvSpPr/>
              <p:nvPr/>
            </p:nvSpPr>
            <p:spPr>
              <a:xfrm>
                <a:off x="5727380" y="2930951"/>
                <a:ext cx="141069" cy="115934"/>
              </a:xfrm>
              <a:prstGeom prst="ellipse">
                <a:avLst/>
              </a:prstGeom>
              <a:gradFill flip="none" rotWithShape="1">
                <a:gsLst>
                  <a:gs pos="16000">
                    <a:srgbClr val="FFEAD5"/>
                  </a:gs>
                  <a:gs pos="74000">
                    <a:srgbClr val="A45200"/>
                  </a:gs>
                  <a:gs pos="53000">
                    <a:srgbClr val="FFC081"/>
                  </a:gs>
                </a:gsLst>
                <a:path path="circle">
                  <a:fillToRect l="50000" t="50000" r="50000" b="50000"/>
                </a:path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5783">
                  <a:defRPr/>
                </a:pPr>
                <a:endParaRPr lang="en-US" sz="1000" kern="0"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09A8563F-6A19-4A87-4461-B784E99D6A62}"/>
                </a:ext>
              </a:extLst>
            </p:cNvPr>
            <p:cNvGrpSpPr/>
            <p:nvPr/>
          </p:nvGrpSpPr>
          <p:grpSpPr>
            <a:xfrm>
              <a:off x="1570412" y="2829991"/>
              <a:ext cx="291975" cy="623937"/>
              <a:chOff x="4423627" y="1973989"/>
              <a:chExt cx="245880" cy="525434"/>
            </a:xfrm>
          </p:grpSpPr>
          <p:sp>
            <p:nvSpPr>
              <p:cNvPr id="52" name="Rectangle: Rounded Corners 51">
                <a:extLst>
                  <a:ext uri="{FF2B5EF4-FFF2-40B4-BE49-F238E27FC236}">
                    <a16:creationId xmlns:a16="http://schemas.microsoft.com/office/drawing/2014/main" id="{FFB845DE-9BC7-66D2-9337-61CF413A71E8}"/>
                  </a:ext>
                </a:extLst>
              </p:cNvPr>
              <p:cNvSpPr/>
              <p:nvPr/>
            </p:nvSpPr>
            <p:spPr>
              <a:xfrm>
                <a:off x="4423627" y="2125527"/>
                <a:ext cx="245880" cy="373896"/>
              </a:xfrm>
              <a:prstGeom prst="roundRect">
                <a:avLst>
                  <a:gd name="adj" fmla="val 35662"/>
                </a:avLst>
              </a:prstGeom>
              <a:gradFill flip="none" rotWithShape="1">
                <a:gsLst>
                  <a:gs pos="0">
                    <a:srgbClr val="CDBB56">
                      <a:tint val="66000"/>
                      <a:satMod val="160000"/>
                    </a:srgbClr>
                  </a:gs>
                  <a:gs pos="50000">
                    <a:srgbClr val="CDBB56">
                      <a:tint val="44500"/>
                      <a:satMod val="160000"/>
                    </a:srgbClr>
                  </a:gs>
                  <a:gs pos="100000">
                    <a:srgbClr val="CDBB56">
                      <a:tint val="23500"/>
                      <a:satMod val="160000"/>
                    </a:srgbClr>
                  </a:gs>
                </a:gsLst>
                <a:lin ang="16200000" scaled="1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78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4F16A19C-49CB-CD40-AD0D-3ABC7BACCFDB}"/>
                  </a:ext>
                </a:extLst>
              </p:cNvPr>
              <p:cNvSpPr/>
              <p:nvPr/>
            </p:nvSpPr>
            <p:spPr>
              <a:xfrm>
                <a:off x="4484332" y="2302259"/>
                <a:ext cx="124470" cy="109248"/>
              </a:xfrm>
              <a:prstGeom prst="ellipse">
                <a:avLst/>
              </a:prstGeom>
              <a:gradFill flip="none" rotWithShape="1">
                <a:gsLst>
                  <a:gs pos="0">
                    <a:srgbClr val="C4D600">
                      <a:shade val="30000"/>
                      <a:satMod val="115000"/>
                    </a:srgbClr>
                  </a:gs>
                  <a:gs pos="50000">
                    <a:srgbClr val="C4D600">
                      <a:shade val="67500"/>
                      <a:satMod val="115000"/>
                    </a:srgbClr>
                  </a:gs>
                  <a:gs pos="100000">
                    <a:srgbClr val="C4D600">
                      <a:shade val="100000"/>
                      <a:satMod val="115000"/>
                    </a:srgbClr>
                  </a:gs>
                </a:gsLst>
                <a:lin ang="18900000" scaled="1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78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88A5C116-7809-8DD6-33C4-466C578BEF12}"/>
                  </a:ext>
                </a:extLst>
              </p:cNvPr>
              <p:cNvSpPr/>
              <p:nvPr/>
            </p:nvSpPr>
            <p:spPr>
              <a:xfrm>
                <a:off x="4505701" y="1973989"/>
                <a:ext cx="76654" cy="81868"/>
              </a:xfrm>
              <a:prstGeom prst="ellipse">
                <a:avLst/>
              </a:prstGeom>
              <a:gradFill>
                <a:gsLst>
                  <a:gs pos="0">
                    <a:srgbClr val="FFEBFB"/>
                  </a:gs>
                  <a:gs pos="93000">
                    <a:srgbClr val="8E9A00"/>
                  </a:gs>
                  <a:gs pos="26000">
                    <a:srgbClr val="C4D600"/>
                  </a:gs>
                </a:gsLst>
                <a:path path="circle">
                  <a:fillToRect l="50000" t="50000" r="50000" b="50000"/>
                </a:path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  <p:sp>
            <p:nvSpPr>
              <p:cNvPr id="55" name="Oval 54">
                <a:extLst>
                  <a:ext uri="{FF2B5EF4-FFF2-40B4-BE49-F238E27FC236}">
                    <a16:creationId xmlns:a16="http://schemas.microsoft.com/office/drawing/2014/main" id="{0192724D-EA7B-51B0-EB13-7632B04B9A9D}"/>
                  </a:ext>
                </a:extLst>
              </p:cNvPr>
              <p:cNvSpPr/>
              <p:nvPr/>
            </p:nvSpPr>
            <p:spPr>
              <a:xfrm>
                <a:off x="4489535" y="2087624"/>
                <a:ext cx="76654" cy="81868"/>
              </a:xfrm>
              <a:prstGeom prst="ellipse">
                <a:avLst/>
              </a:prstGeom>
              <a:gradFill>
                <a:gsLst>
                  <a:gs pos="0">
                    <a:srgbClr val="FFEBFB"/>
                  </a:gs>
                  <a:gs pos="93000">
                    <a:srgbClr val="8E9A00"/>
                  </a:gs>
                  <a:gs pos="26000">
                    <a:srgbClr val="C4D600"/>
                  </a:gs>
                </a:gsLst>
                <a:path path="circle">
                  <a:fillToRect l="50000" t="50000" r="50000" b="50000"/>
                </a:path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DB32C8B3-9937-3B5A-A9EA-2D0D8C21CD84}"/>
                  </a:ext>
                </a:extLst>
              </p:cNvPr>
              <p:cNvSpPr/>
              <p:nvPr/>
            </p:nvSpPr>
            <p:spPr>
              <a:xfrm>
                <a:off x="4572183" y="2046690"/>
                <a:ext cx="76654" cy="81868"/>
              </a:xfrm>
              <a:prstGeom prst="ellipse">
                <a:avLst/>
              </a:prstGeom>
              <a:gradFill>
                <a:gsLst>
                  <a:gs pos="0">
                    <a:srgbClr val="FFEBFB"/>
                  </a:gs>
                  <a:gs pos="93000">
                    <a:srgbClr val="8E9A00"/>
                  </a:gs>
                  <a:gs pos="26000">
                    <a:srgbClr val="C4D600"/>
                  </a:gs>
                </a:gsLst>
                <a:path path="circle">
                  <a:fillToRect l="50000" t="50000" r="50000" b="50000"/>
                </a:path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</p:grpSp>
        <p:grpSp>
          <p:nvGrpSpPr>
            <p:cNvPr id="266" name="Group 265">
              <a:extLst>
                <a:ext uri="{FF2B5EF4-FFF2-40B4-BE49-F238E27FC236}">
                  <a16:creationId xmlns:a16="http://schemas.microsoft.com/office/drawing/2014/main" id="{62208517-F951-4F0C-408E-EA51FF942DA9}"/>
                </a:ext>
              </a:extLst>
            </p:cNvPr>
            <p:cNvGrpSpPr/>
            <p:nvPr/>
          </p:nvGrpSpPr>
          <p:grpSpPr>
            <a:xfrm>
              <a:off x="330702" y="4073935"/>
              <a:ext cx="5609435" cy="1298579"/>
              <a:chOff x="330702" y="4073935"/>
              <a:chExt cx="5609435" cy="1298579"/>
            </a:xfrm>
          </p:grpSpPr>
          <p:sp>
            <p:nvSpPr>
              <p:cNvPr id="10" name="Rectangle: Rounded Corners 9">
                <a:extLst>
                  <a:ext uri="{FF2B5EF4-FFF2-40B4-BE49-F238E27FC236}">
                    <a16:creationId xmlns:a16="http://schemas.microsoft.com/office/drawing/2014/main" id="{96606F87-635F-2D73-982E-79AF63F0D6B5}"/>
                  </a:ext>
                </a:extLst>
              </p:cNvPr>
              <p:cNvSpPr/>
              <p:nvPr/>
            </p:nvSpPr>
            <p:spPr>
              <a:xfrm>
                <a:off x="330702" y="4073935"/>
                <a:ext cx="2232000" cy="540000"/>
              </a:xfrm>
              <a:prstGeom prst="round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400"/>
                  <a:t>Worsen epithelial hypoxia</a:t>
                </a:r>
              </a:p>
            </p:txBody>
          </p:sp>
          <p:sp>
            <p:nvSpPr>
              <p:cNvPr id="13" name="Rectangle: Rounded Corners 12">
                <a:extLst>
                  <a:ext uri="{FF2B5EF4-FFF2-40B4-BE49-F238E27FC236}">
                    <a16:creationId xmlns:a16="http://schemas.microsoft.com/office/drawing/2014/main" id="{10DE062A-1F6D-C48B-B875-E3E7547CBE83}"/>
                  </a:ext>
                </a:extLst>
              </p:cNvPr>
              <p:cNvSpPr/>
              <p:nvPr/>
            </p:nvSpPr>
            <p:spPr>
              <a:xfrm>
                <a:off x="2019420" y="4832514"/>
                <a:ext cx="2232000" cy="540000"/>
              </a:xfrm>
              <a:prstGeom prst="round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400"/>
                  <a:t>Release of IL-1</a:t>
                </a:r>
                <a:r>
                  <a:rPr lang="el-GR" sz="1400"/>
                  <a:t>α</a:t>
                </a:r>
                <a:endParaRPr lang="en-GB" sz="1400"/>
              </a:p>
            </p:txBody>
          </p:sp>
          <p:sp>
            <p:nvSpPr>
              <p:cNvPr id="14" name="Rectangle: Rounded Corners 13">
                <a:extLst>
                  <a:ext uri="{FF2B5EF4-FFF2-40B4-BE49-F238E27FC236}">
                    <a16:creationId xmlns:a16="http://schemas.microsoft.com/office/drawing/2014/main" id="{C632090E-082A-5238-D74A-741C6F41AC4E}"/>
                  </a:ext>
                </a:extLst>
              </p:cNvPr>
              <p:cNvSpPr/>
              <p:nvPr/>
            </p:nvSpPr>
            <p:spPr>
              <a:xfrm>
                <a:off x="3708137" y="4073935"/>
                <a:ext cx="2232000" cy="540000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400"/>
                  <a:t>Stimulation of additional mucin secretion</a:t>
                </a:r>
                <a:endParaRPr lang="en-GB" sz="1400" baseline="30000"/>
              </a:p>
            </p:txBody>
          </p:sp>
        </p:grp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8DB5D451-33A2-F177-9B40-51A00D289B3C}"/>
                </a:ext>
              </a:extLst>
            </p:cNvPr>
            <p:cNvCxnSpPr>
              <a:cxnSpLocks/>
              <a:endCxn id="14" idx="0"/>
            </p:cNvCxnSpPr>
            <p:nvPr/>
          </p:nvCxnSpPr>
          <p:spPr>
            <a:xfrm>
              <a:off x="4100912" y="3518108"/>
              <a:ext cx="720000" cy="555827"/>
            </a:xfrm>
            <a:prstGeom prst="straightConnector1">
              <a:avLst/>
            </a:prstGeom>
            <a:ln w="19050">
              <a:solidFill>
                <a:schemeClr val="accent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7762AE8E-14D0-1EB1-1B99-808AF3D89B43}"/>
                </a:ext>
              </a:extLst>
            </p:cNvPr>
            <p:cNvCxnSpPr>
              <a:cxnSpLocks/>
              <a:stCxn id="207" idx="5"/>
              <a:endCxn id="13" idx="0"/>
            </p:cNvCxnSpPr>
            <p:nvPr/>
          </p:nvCxnSpPr>
          <p:spPr>
            <a:xfrm flipH="1">
              <a:off x="3135420" y="3439603"/>
              <a:ext cx="0" cy="1392911"/>
            </a:xfrm>
            <a:prstGeom prst="straightConnector1">
              <a:avLst/>
            </a:prstGeom>
            <a:ln w="19050"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3" name="Straight Arrow Connector 272">
              <a:extLst>
                <a:ext uri="{FF2B5EF4-FFF2-40B4-BE49-F238E27FC236}">
                  <a16:creationId xmlns:a16="http://schemas.microsoft.com/office/drawing/2014/main" id="{D9D2D4AB-26AC-5B69-C227-F586195FD9FF}"/>
                </a:ext>
              </a:extLst>
            </p:cNvPr>
            <p:cNvCxnSpPr>
              <a:cxnSpLocks/>
              <a:endCxn id="10" idx="0"/>
            </p:cNvCxnSpPr>
            <p:nvPr/>
          </p:nvCxnSpPr>
          <p:spPr>
            <a:xfrm flipH="1">
              <a:off x="1446701" y="3518108"/>
              <a:ext cx="720000" cy="555827"/>
            </a:xfrm>
            <a:prstGeom prst="straightConnector1">
              <a:avLst/>
            </a:prstGeom>
            <a:ln w="19050">
              <a:solidFill>
                <a:schemeClr val="bg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8" name="TextBox 277">
              <a:extLst>
                <a:ext uri="{FF2B5EF4-FFF2-40B4-BE49-F238E27FC236}">
                  <a16:creationId xmlns:a16="http://schemas.microsoft.com/office/drawing/2014/main" id="{88D7A4D1-400C-DB61-9D8C-E41699845960}"/>
                </a:ext>
              </a:extLst>
            </p:cNvPr>
            <p:cNvSpPr txBox="1"/>
            <p:nvPr/>
          </p:nvSpPr>
          <p:spPr>
            <a:xfrm>
              <a:off x="3733597" y="2375195"/>
              <a:ext cx="865629" cy="189411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R="0" lvl="0" indent="0" defTabSz="685783" fontAlgn="auto">
                <a:lnSpc>
                  <a:spcPts val="16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30051"/>
                </a:buClr>
                <a:buSzTx/>
                <a:buFontTx/>
                <a:buNone/>
                <a:tabLst/>
                <a:defRPr kumimoji="0" sz="1100" b="1" i="0" u="none" strike="noStrike" kern="0" cap="none" spc="0" normalizeH="0" baseline="0">
                  <a:ln>
                    <a:noFill/>
                  </a:ln>
                  <a:solidFill>
                    <a:srgbClr val="0D3759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/>
                  <a:cs typeface="Arial" panose="020B0604020202020204" pitchFamily="34" charset="0"/>
                </a:defRPr>
              </a:lvl1pPr>
            </a:lstStyle>
            <a:p>
              <a:pPr marL="0" marR="0" lvl="0" indent="0" algn="ctr" defTabSz="685783" eaLnBrk="1" fontAlgn="auto" latinLnBrk="0" hangingPunct="1">
                <a:lnSpc>
                  <a:spcPts val="16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30051"/>
                </a:buClr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Mucus plug</a:t>
              </a:r>
            </a:p>
          </p:txBody>
        </p:sp>
        <p:grpSp>
          <p:nvGrpSpPr>
            <p:cNvPr id="293" name="Group 292">
              <a:extLst>
                <a:ext uri="{FF2B5EF4-FFF2-40B4-BE49-F238E27FC236}">
                  <a16:creationId xmlns:a16="http://schemas.microsoft.com/office/drawing/2014/main" id="{A895CADF-A700-A152-1318-99714AC459B0}"/>
                </a:ext>
              </a:extLst>
            </p:cNvPr>
            <p:cNvGrpSpPr/>
            <p:nvPr/>
          </p:nvGrpSpPr>
          <p:grpSpPr>
            <a:xfrm>
              <a:off x="2988997" y="2150039"/>
              <a:ext cx="404163" cy="616670"/>
              <a:chOff x="2988997" y="2150039"/>
              <a:chExt cx="404163" cy="616670"/>
            </a:xfrm>
          </p:grpSpPr>
          <p:cxnSp>
            <p:nvCxnSpPr>
              <p:cNvPr id="284" name="Straight Arrow Connector 283">
                <a:extLst>
                  <a:ext uri="{FF2B5EF4-FFF2-40B4-BE49-F238E27FC236}">
                    <a16:creationId xmlns:a16="http://schemas.microsoft.com/office/drawing/2014/main" id="{8002F6DD-A083-3119-01F5-9A683DF28CC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166341" y="2457387"/>
                <a:ext cx="0" cy="309322"/>
              </a:xfrm>
              <a:prstGeom prst="straightConnector1">
                <a:avLst/>
              </a:prstGeom>
              <a:ln w="31750">
                <a:solidFill>
                  <a:schemeClr val="accent1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7" name="Straight Arrow Connector 286">
                <a:extLst>
                  <a:ext uri="{FF2B5EF4-FFF2-40B4-BE49-F238E27FC236}">
                    <a16:creationId xmlns:a16="http://schemas.microsoft.com/office/drawing/2014/main" id="{F6A475FE-8326-7432-3377-D108947DC00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71925" y="2762388"/>
                <a:ext cx="188833" cy="0"/>
              </a:xfrm>
              <a:prstGeom prst="straightConnector1">
                <a:avLst/>
              </a:prstGeom>
              <a:ln w="31750">
                <a:solidFill>
                  <a:schemeClr val="accent1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92" name="Group 291">
                <a:extLst>
                  <a:ext uri="{FF2B5EF4-FFF2-40B4-BE49-F238E27FC236}">
                    <a16:creationId xmlns:a16="http://schemas.microsoft.com/office/drawing/2014/main" id="{3B2C18E4-509C-B246-DE9E-B79A8ACC4D7D}"/>
                  </a:ext>
                </a:extLst>
              </p:cNvPr>
              <p:cNvGrpSpPr/>
              <p:nvPr/>
            </p:nvGrpSpPr>
            <p:grpSpPr>
              <a:xfrm>
                <a:off x="2988997" y="2150039"/>
                <a:ext cx="404163" cy="293463"/>
                <a:chOff x="3039353" y="2150039"/>
                <a:chExt cx="404163" cy="293463"/>
              </a:xfrm>
            </p:grpSpPr>
            <p:sp>
              <p:nvSpPr>
                <p:cNvPr id="279" name="Oval 278">
                  <a:extLst>
                    <a:ext uri="{FF2B5EF4-FFF2-40B4-BE49-F238E27FC236}">
                      <a16:creationId xmlns:a16="http://schemas.microsoft.com/office/drawing/2014/main" id="{37ADA54B-BC29-E320-E3BC-199F9EA0F882}"/>
                    </a:ext>
                  </a:extLst>
                </p:cNvPr>
                <p:cNvSpPr/>
                <p:nvPr/>
              </p:nvSpPr>
              <p:spPr>
                <a:xfrm rot="1293024">
                  <a:off x="3039353" y="2150039"/>
                  <a:ext cx="94882" cy="101338"/>
                </a:xfrm>
                <a:prstGeom prst="ellipse">
                  <a:avLst/>
                </a:prstGeom>
                <a:gradFill>
                  <a:gsLst>
                    <a:gs pos="35000">
                      <a:schemeClr val="accent1">
                        <a:lumMod val="40000"/>
                        <a:lumOff val="60000"/>
                      </a:schemeClr>
                    </a:gs>
                    <a:gs pos="100000">
                      <a:schemeClr val="accent1">
                        <a:lumMod val="20000"/>
                        <a:lumOff val="80000"/>
                      </a:schemeClr>
                    </a:gs>
                  </a:gsLst>
                  <a:lin ang="5400000" scaled="0"/>
                </a:gradFill>
                <a:ln w="3175" cap="flat" cmpd="sng" algn="ctr">
                  <a:solidFill>
                    <a:schemeClr val="accent1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</a:endParaRPr>
                </a:p>
              </p:txBody>
            </p:sp>
            <p:sp>
              <p:nvSpPr>
                <p:cNvPr id="280" name="Oval 279">
                  <a:extLst>
                    <a:ext uri="{FF2B5EF4-FFF2-40B4-BE49-F238E27FC236}">
                      <a16:creationId xmlns:a16="http://schemas.microsoft.com/office/drawing/2014/main" id="{F222E0DA-14AA-339D-B45F-6E824DF151B5}"/>
                    </a:ext>
                  </a:extLst>
                </p:cNvPr>
                <p:cNvSpPr/>
                <p:nvPr/>
              </p:nvSpPr>
              <p:spPr>
                <a:xfrm rot="1293024">
                  <a:off x="3059446" y="2320417"/>
                  <a:ext cx="94882" cy="101338"/>
                </a:xfrm>
                <a:prstGeom prst="ellipse">
                  <a:avLst/>
                </a:prstGeom>
                <a:gradFill>
                  <a:gsLst>
                    <a:gs pos="35000">
                      <a:schemeClr val="accent1">
                        <a:lumMod val="40000"/>
                        <a:lumOff val="60000"/>
                      </a:schemeClr>
                    </a:gs>
                    <a:gs pos="100000">
                      <a:schemeClr val="accent1">
                        <a:lumMod val="20000"/>
                        <a:lumOff val="80000"/>
                      </a:schemeClr>
                    </a:gs>
                  </a:gsLst>
                  <a:lin ang="5400000" scaled="0"/>
                </a:gradFill>
                <a:ln w="3175" cap="flat" cmpd="sng" algn="ctr">
                  <a:solidFill>
                    <a:schemeClr val="accent1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</a:endParaRPr>
                </a:p>
              </p:txBody>
            </p:sp>
            <p:sp>
              <p:nvSpPr>
                <p:cNvPr id="281" name="Oval 280">
                  <a:extLst>
                    <a:ext uri="{FF2B5EF4-FFF2-40B4-BE49-F238E27FC236}">
                      <a16:creationId xmlns:a16="http://schemas.microsoft.com/office/drawing/2014/main" id="{2FC1316F-8C33-4FBF-95F7-3866FD50C13D}"/>
                    </a:ext>
                  </a:extLst>
                </p:cNvPr>
                <p:cNvSpPr/>
                <p:nvPr/>
              </p:nvSpPr>
              <p:spPr>
                <a:xfrm rot="1293024">
                  <a:off x="3197110" y="2199668"/>
                  <a:ext cx="94882" cy="101338"/>
                </a:xfrm>
                <a:prstGeom prst="ellipse">
                  <a:avLst/>
                </a:prstGeom>
                <a:gradFill>
                  <a:gsLst>
                    <a:gs pos="35000">
                      <a:schemeClr val="accent1">
                        <a:lumMod val="40000"/>
                        <a:lumOff val="60000"/>
                      </a:schemeClr>
                    </a:gs>
                    <a:gs pos="100000">
                      <a:schemeClr val="accent1">
                        <a:lumMod val="20000"/>
                        <a:lumOff val="80000"/>
                      </a:schemeClr>
                    </a:gs>
                  </a:gsLst>
                  <a:lin ang="5400000" scaled="0"/>
                </a:gradFill>
                <a:ln w="3175" cap="flat" cmpd="sng" algn="ctr">
                  <a:solidFill>
                    <a:schemeClr val="accent1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</a:endParaRPr>
                </a:p>
              </p:txBody>
            </p:sp>
            <p:sp>
              <p:nvSpPr>
                <p:cNvPr id="282" name="Oval 281">
                  <a:extLst>
                    <a:ext uri="{FF2B5EF4-FFF2-40B4-BE49-F238E27FC236}">
                      <a16:creationId xmlns:a16="http://schemas.microsoft.com/office/drawing/2014/main" id="{8FFE4E33-F09A-D2A1-F043-B911B5840935}"/>
                    </a:ext>
                  </a:extLst>
                </p:cNvPr>
                <p:cNvSpPr/>
                <p:nvPr/>
              </p:nvSpPr>
              <p:spPr>
                <a:xfrm rot="1293024">
                  <a:off x="3348634" y="2226928"/>
                  <a:ext cx="94882" cy="101338"/>
                </a:xfrm>
                <a:prstGeom prst="ellipse">
                  <a:avLst/>
                </a:prstGeom>
                <a:gradFill>
                  <a:gsLst>
                    <a:gs pos="35000">
                      <a:schemeClr val="accent1">
                        <a:lumMod val="40000"/>
                        <a:lumOff val="60000"/>
                      </a:schemeClr>
                    </a:gs>
                    <a:gs pos="100000">
                      <a:schemeClr val="accent1">
                        <a:lumMod val="20000"/>
                        <a:lumOff val="80000"/>
                      </a:schemeClr>
                    </a:gs>
                  </a:gsLst>
                  <a:lin ang="5400000" scaled="0"/>
                </a:gradFill>
                <a:ln w="3175" cap="flat" cmpd="sng" algn="ctr">
                  <a:solidFill>
                    <a:schemeClr val="accent1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</a:endParaRPr>
                </a:p>
              </p:txBody>
            </p:sp>
            <p:sp>
              <p:nvSpPr>
                <p:cNvPr id="291" name="Oval 290">
                  <a:extLst>
                    <a:ext uri="{FF2B5EF4-FFF2-40B4-BE49-F238E27FC236}">
                      <a16:creationId xmlns:a16="http://schemas.microsoft.com/office/drawing/2014/main" id="{2F79BBBA-EDB2-5E0D-4192-41C335498043}"/>
                    </a:ext>
                  </a:extLst>
                </p:cNvPr>
                <p:cNvSpPr/>
                <p:nvPr/>
              </p:nvSpPr>
              <p:spPr>
                <a:xfrm rot="1293024">
                  <a:off x="3259845" y="2342164"/>
                  <a:ext cx="94882" cy="101338"/>
                </a:xfrm>
                <a:prstGeom prst="ellipse">
                  <a:avLst/>
                </a:prstGeom>
                <a:gradFill>
                  <a:gsLst>
                    <a:gs pos="35000">
                      <a:schemeClr val="accent1">
                        <a:lumMod val="40000"/>
                        <a:lumOff val="60000"/>
                      </a:schemeClr>
                    </a:gs>
                    <a:gs pos="100000">
                      <a:schemeClr val="accent1">
                        <a:lumMod val="20000"/>
                        <a:lumOff val="80000"/>
                      </a:schemeClr>
                    </a:gs>
                  </a:gsLst>
                  <a:lin ang="5400000" scaled="0"/>
                </a:gradFill>
                <a:ln w="3175" cap="flat" cmpd="sng" algn="ctr">
                  <a:solidFill>
                    <a:schemeClr val="accent1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</a:endParaRPr>
                </a:p>
              </p:txBody>
            </p:sp>
          </p:grpSp>
        </p:grpSp>
      </p:grpSp>
      <p:sp>
        <p:nvSpPr>
          <p:cNvPr id="296" name="TextBox 295">
            <a:extLst>
              <a:ext uri="{FF2B5EF4-FFF2-40B4-BE49-F238E27FC236}">
                <a16:creationId xmlns:a16="http://schemas.microsoft.com/office/drawing/2014/main" id="{EBF287A8-E9B7-553A-4C71-10AE23C45ABD}"/>
              </a:ext>
            </a:extLst>
          </p:cNvPr>
          <p:cNvSpPr txBox="1"/>
          <p:nvPr/>
        </p:nvSpPr>
        <p:spPr>
          <a:xfrm>
            <a:off x="749102" y="1483871"/>
            <a:ext cx="519941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b="1"/>
              <a:t>Excess mucus creates a feedback loop whereby limiting oxygen availability to the epithelial cells leads to the stimulation of mucin secretion</a:t>
            </a:r>
            <a:r>
              <a:rPr lang="en-GB" b="1" baseline="30000"/>
              <a:t>1</a:t>
            </a:r>
          </a:p>
        </p:txBody>
      </p:sp>
      <p:cxnSp>
        <p:nvCxnSpPr>
          <p:cNvPr id="297" name="Straight Arrow Connector 296">
            <a:extLst>
              <a:ext uri="{FF2B5EF4-FFF2-40B4-BE49-F238E27FC236}">
                <a16:creationId xmlns:a16="http://schemas.microsoft.com/office/drawing/2014/main" id="{34E6FE34-F0A1-4B29-6F76-3F85F9F4380F}"/>
              </a:ext>
            </a:extLst>
          </p:cNvPr>
          <p:cNvCxnSpPr>
            <a:cxnSpLocks/>
            <a:stCxn id="13" idx="3"/>
            <a:endCxn id="14" idx="2"/>
          </p:cNvCxnSpPr>
          <p:nvPr/>
        </p:nvCxnSpPr>
        <p:spPr>
          <a:xfrm flipV="1">
            <a:off x="4251420" y="4944443"/>
            <a:ext cx="572717" cy="488579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0" name="Straight Arrow Connector 299">
            <a:extLst>
              <a:ext uri="{FF2B5EF4-FFF2-40B4-BE49-F238E27FC236}">
                <a16:creationId xmlns:a16="http://schemas.microsoft.com/office/drawing/2014/main" id="{FBF13876-12AA-A8A9-D8D3-BCA40D20BDA6}"/>
              </a:ext>
            </a:extLst>
          </p:cNvPr>
          <p:cNvCxnSpPr>
            <a:cxnSpLocks/>
            <a:stCxn id="13" idx="1"/>
            <a:endCxn id="10" idx="2"/>
          </p:cNvCxnSpPr>
          <p:nvPr/>
        </p:nvCxnSpPr>
        <p:spPr>
          <a:xfrm flipH="1" flipV="1">
            <a:off x="1446702" y="4944443"/>
            <a:ext cx="572718" cy="488579"/>
          </a:xfrm>
          <a:prstGeom prst="straightConnector1">
            <a:avLst/>
          </a:prstGeom>
          <a:ln w="1905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372588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E5EF44-6492-5478-2662-3C6C074654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D8A883D-987B-8491-F294-014ECD9526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Ins="0"/>
          <a:lstStyle/>
          <a:p>
            <a:r>
              <a:rPr lang="en-GB" noProof="0"/>
              <a:t>The pathology of a mucus plug: MUC5AC</a:t>
            </a:r>
            <a:r>
              <a:rPr lang="en-GB" baseline="30000" noProof="0"/>
              <a:t>1,2</a:t>
            </a:r>
          </a:p>
        </p:txBody>
      </p:sp>
      <p:sp>
        <p:nvSpPr>
          <p:cNvPr id="8" name="Footer Placeholder 8">
            <a:extLst>
              <a:ext uri="{FF2B5EF4-FFF2-40B4-BE49-F238E27FC236}">
                <a16:creationId xmlns:a16="http://schemas.microsoft.com/office/drawing/2014/main" id="{DD983604-5A53-3C52-D688-E2DF7E3AD7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8282" y="6390000"/>
            <a:ext cx="10512000" cy="288000"/>
          </a:xfrm>
        </p:spPr>
        <p:txBody>
          <a:bodyPr/>
          <a:lstStyle/>
          <a:p>
            <a:r>
              <a:rPr lang="en-GB" sz="800" dirty="0"/>
              <a:t>*Signiﬁcantly different from the healthy subgroup, P, 0.05 (analysis of variance using Kruskal-Wallis test). Figure adapted from Lachowicz-Scroggins ME, et al</a:t>
            </a:r>
          </a:p>
          <a:p>
            <a:r>
              <a:rPr lang="en-GB" sz="800" dirty="0"/>
              <a:t>DAPI, 4′,6-diamidino-2-phenylindole; MUC, mucin.</a:t>
            </a:r>
          </a:p>
          <a:p>
            <a:r>
              <a:rPr lang="en-GB" sz="800" noProof="0" dirty="0"/>
              <a:t>1. Bonser LR, et al. J Clin Invest. 2016;126(6):2367-71; 2. Lachowicz-Scroggins ME, et al. Am J </a:t>
            </a:r>
            <a:r>
              <a:rPr lang="en-GB" sz="800" noProof="0" dirty="0" err="1"/>
              <a:t>Resp</a:t>
            </a:r>
            <a:r>
              <a:rPr lang="en-GB" sz="800" noProof="0" dirty="0"/>
              <a:t> Crit Care Med. 2016;194(10):1296–1299; 3</a:t>
            </a:r>
            <a:r>
              <a:rPr lang="en-GB" sz="800" dirty="0"/>
              <a:t>. Yuan S, et al. Sci </a:t>
            </a:r>
            <a:r>
              <a:rPr lang="en-GB" sz="800" dirty="0" err="1"/>
              <a:t>Transl</a:t>
            </a:r>
            <a:r>
              <a:rPr lang="en-GB" sz="800" dirty="0"/>
              <a:t> Med. 2015 Feb 25;7(276):276ra27; 4. Thornton DJ, et al. Annu Rev Physiol. 2008;70:459-86</a:t>
            </a:r>
            <a:r>
              <a:rPr lang="en-GB" sz="800" noProof="0" dirty="0"/>
              <a:t>.</a:t>
            </a:r>
            <a:br>
              <a:rPr lang="en-GB" sz="800" noProof="0" dirty="0"/>
            </a:b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656665"/>
                </a:solidFill>
                <a:effectLst/>
                <a:uLnTx/>
                <a:uFillTx/>
                <a:ea typeface="+mn-ea"/>
                <a:cs typeface="+mn-cs"/>
              </a:rPr>
              <a:t>GB-73345 | Date of preparation: </a:t>
            </a:r>
            <a:r>
              <a:rPr lang="en-GB" sz="800" spc="0" dirty="0">
                <a:solidFill>
                  <a:srgbClr val="656665"/>
                </a:solidFill>
              </a:rPr>
              <a:t>March 2026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656665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CE19D3E-00A2-0A7E-A6CF-19D39C272E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8BAEAC-A895-4A01-AB9B-F6141799970D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9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EEF9DD2-2D2A-EB81-2FC3-5A95A69D4B27}"/>
              </a:ext>
            </a:extLst>
          </p:cNvPr>
          <p:cNvSpPr txBox="1"/>
          <p:nvPr/>
        </p:nvSpPr>
        <p:spPr>
          <a:xfrm>
            <a:off x="379722" y="1338678"/>
            <a:ext cx="11263995" cy="9233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noProof="0"/>
              <a:t>MUC5AC and MUC5B are both </a:t>
            </a:r>
            <a:r>
              <a:rPr lang="en-GB"/>
              <a:t>gel-forming mucin glycoproteins</a:t>
            </a:r>
            <a:r>
              <a:rPr lang="en-GB" baseline="30000"/>
              <a:t>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noProof="0"/>
              <a:t>MUC5AC</a:t>
            </a:r>
            <a:r>
              <a:rPr lang="en-GB" noProof="0"/>
              <a:t> is </a:t>
            </a:r>
            <a:r>
              <a:rPr lang="en-GB"/>
              <a:t>produced </a:t>
            </a:r>
            <a:r>
              <a:rPr lang="en-GB" noProof="0"/>
              <a:t>by </a:t>
            </a:r>
            <a:r>
              <a:rPr lang="en-GB" b="1" noProof="0"/>
              <a:t>specialised airway epithelial cells </a:t>
            </a:r>
            <a:r>
              <a:rPr lang="en-GB" noProof="0"/>
              <a:t>known as mucus (or goblet) cells</a:t>
            </a:r>
            <a:r>
              <a:rPr lang="en-GB" baseline="30000" noProof="0"/>
              <a:t>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noProof="0"/>
              <a:t>MUC5AC expression is induced in patients with </a:t>
            </a:r>
            <a:r>
              <a:rPr lang="en-GB" b="1" noProof="0"/>
              <a:t>asthma, </a:t>
            </a:r>
            <a:r>
              <a:rPr lang="en-GB" noProof="0"/>
              <a:t>whereas MUC5B expression was decreased or unaffected</a:t>
            </a:r>
            <a:r>
              <a:rPr lang="en-GB" baseline="30000" noProof="0"/>
              <a:t>1</a:t>
            </a:r>
          </a:p>
        </p:txBody>
      </p:sp>
      <p:pic>
        <p:nvPicPr>
          <p:cNvPr id="20" name="Picture 19" descr="A collage of different colored cells&#10;&#10;Description automatically generated">
            <a:extLst>
              <a:ext uri="{FF2B5EF4-FFF2-40B4-BE49-F238E27FC236}">
                <a16:creationId xmlns:a16="http://schemas.microsoft.com/office/drawing/2014/main" id="{20818EB5-117F-D7E4-DBFD-D3807921559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51548" b="9920"/>
          <a:stretch/>
        </p:blipFill>
        <p:spPr>
          <a:xfrm>
            <a:off x="677989" y="3213805"/>
            <a:ext cx="2878189" cy="257658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121C8DB-8627-B4A8-FF79-14564C2AC502}"/>
              </a:ext>
            </a:extLst>
          </p:cNvPr>
          <p:cNvSpPr txBox="1"/>
          <p:nvPr/>
        </p:nvSpPr>
        <p:spPr>
          <a:xfrm>
            <a:off x="379722" y="2322107"/>
            <a:ext cx="3528000" cy="831600"/>
          </a:xfrm>
          <a:prstGeom prst="rect">
            <a:avLst/>
          </a:prstGeom>
          <a:solidFill>
            <a:schemeClr val="accent4"/>
          </a:solidFill>
          <a:ln w="28575">
            <a:solidFill>
              <a:schemeClr val="accent4"/>
            </a:solidFill>
          </a:ln>
        </p:spPr>
        <p:txBody>
          <a:bodyPr wrap="square" anchor="ctr">
            <a:noAutofit/>
          </a:bodyPr>
          <a:lstStyle/>
          <a:p>
            <a:pPr algn="ctr"/>
            <a:r>
              <a:rPr lang="en-GB" sz="1600" noProof="0">
                <a:solidFill>
                  <a:schemeClr val="bg1"/>
                </a:solidFill>
              </a:rPr>
              <a:t>MUC5AC </a:t>
            </a:r>
            <a:r>
              <a:rPr lang="en-GB" sz="1600" b="1" noProof="0">
                <a:solidFill>
                  <a:schemeClr val="bg1"/>
                </a:solidFill>
              </a:rPr>
              <a:t>localises </a:t>
            </a:r>
            <a:r>
              <a:rPr lang="en-GB" sz="1600" noProof="0">
                <a:solidFill>
                  <a:schemeClr val="bg1"/>
                </a:solidFill>
              </a:rPr>
              <a:t>to </a:t>
            </a:r>
            <a:r>
              <a:rPr lang="en-GB" sz="1600" b="1" noProof="0">
                <a:solidFill>
                  <a:schemeClr val="bg1"/>
                </a:solidFill>
              </a:rPr>
              <a:t>distinct domains </a:t>
            </a:r>
            <a:r>
              <a:rPr lang="en-GB" sz="1600" noProof="0">
                <a:solidFill>
                  <a:schemeClr val="bg1"/>
                </a:solidFill>
              </a:rPr>
              <a:t>in mucus plugs in fatal asthma</a:t>
            </a:r>
            <a:r>
              <a:rPr lang="en-GB" sz="1600" baseline="30000" noProof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130A045-2840-B8E7-A56A-BCFC23ED38B2}"/>
              </a:ext>
            </a:extLst>
          </p:cNvPr>
          <p:cNvSpPr/>
          <p:nvPr/>
        </p:nvSpPr>
        <p:spPr>
          <a:xfrm>
            <a:off x="379722" y="2322106"/>
            <a:ext cx="3528000" cy="3734753"/>
          </a:xfrm>
          <a:prstGeom prst="rect">
            <a:avLst/>
          </a:prstGeom>
          <a:noFill/>
          <a:ln w="28575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B1196C05-C752-A37C-46ED-CE1CE39773BE}"/>
              </a:ext>
            </a:extLst>
          </p:cNvPr>
          <p:cNvGrpSpPr/>
          <p:nvPr/>
        </p:nvGrpSpPr>
        <p:grpSpPr>
          <a:xfrm>
            <a:off x="744741" y="5778027"/>
            <a:ext cx="2694108" cy="252000"/>
            <a:chOff x="669436" y="5962809"/>
            <a:chExt cx="2694108" cy="252000"/>
          </a:xfrm>
        </p:grpSpPr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8D4C0422-2BE4-EEC3-1BB5-BA3BA97CA22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r="63403"/>
            <a:stretch/>
          </p:blipFill>
          <p:spPr>
            <a:xfrm>
              <a:off x="669436" y="5962809"/>
              <a:ext cx="797303" cy="252000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17F1F5A1-6431-742B-FC59-C2BE9583CB8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l="39569" r="28398"/>
            <a:stretch/>
          </p:blipFill>
          <p:spPr>
            <a:xfrm>
              <a:off x="1789231" y="5962809"/>
              <a:ext cx="697870" cy="252000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800815A-FD52-E65B-8634-F5F4C868652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l="74573"/>
            <a:stretch/>
          </p:blipFill>
          <p:spPr>
            <a:xfrm>
              <a:off x="2809594" y="5962809"/>
              <a:ext cx="553950" cy="252000"/>
            </a:xfrm>
            <a:prstGeom prst="rect">
              <a:avLst/>
            </a:prstGeom>
          </p:spPr>
        </p:pic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D30D95DD-13EA-167E-2359-5E1886BC66D4}"/>
              </a:ext>
            </a:extLst>
          </p:cNvPr>
          <p:cNvSpPr txBox="1"/>
          <p:nvPr/>
        </p:nvSpPr>
        <p:spPr>
          <a:xfrm>
            <a:off x="4182867" y="2322710"/>
            <a:ext cx="3528000" cy="830997"/>
          </a:xfrm>
          <a:prstGeom prst="rect">
            <a:avLst/>
          </a:prstGeom>
          <a:solidFill>
            <a:schemeClr val="accent4"/>
          </a:solidFill>
          <a:ln w="28575">
            <a:solidFill>
              <a:schemeClr val="accent4"/>
            </a:solidFill>
          </a:ln>
        </p:spPr>
        <p:txBody>
          <a:bodyPr wrap="square" anchor="ctr">
            <a:spAutoFit/>
          </a:bodyPr>
          <a:lstStyle/>
          <a:p>
            <a:pPr algn="ctr"/>
            <a:r>
              <a:rPr lang="en-GB" sz="1600" noProof="0">
                <a:solidFill>
                  <a:schemeClr val="bg1"/>
                </a:solidFill>
              </a:rPr>
              <a:t>The ratio of MUC5B to MUC5AC is </a:t>
            </a:r>
            <a:r>
              <a:rPr lang="en-GB" sz="1600" b="1" noProof="0">
                <a:solidFill>
                  <a:schemeClr val="bg1"/>
                </a:solidFill>
              </a:rPr>
              <a:t>significantly lower</a:t>
            </a:r>
            <a:r>
              <a:rPr lang="en-GB" sz="1600" noProof="0">
                <a:solidFill>
                  <a:schemeClr val="bg1"/>
                </a:solidFill>
              </a:rPr>
              <a:t> in patients with asthma compared with healthy controls</a:t>
            </a:r>
            <a:r>
              <a:rPr lang="en-GB" sz="1600" baseline="30000" noProof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DC2C365-CB4C-3C0A-1DD1-927204BF92DE}"/>
              </a:ext>
            </a:extLst>
          </p:cNvPr>
          <p:cNvSpPr/>
          <p:nvPr/>
        </p:nvSpPr>
        <p:spPr>
          <a:xfrm>
            <a:off x="4182867" y="2322106"/>
            <a:ext cx="3528000" cy="3734753"/>
          </a:xfrm>
          <a:prstGeom prst="rect">
            <a:avLst/>
          </a:prstGeom>
          <a:noFill/>
          <a:ln w="28575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81B32B0-7D1F-D37D-8DAE-477FEACF51F7}"/>
              </a:ext>
            </a:extLst>
          </p:cNvPr>
          <p:cNvSpPr txBox="1"/>
          <p:nvPr/>
        </p:nvSpPr>
        <p:spPr>
          <a:xfrm>
            <a:off x="5177641" y="5724984"/>
            <a:ext cx="504000" cy="2644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algn="ctr">
              <a:lnSpc>
                <a:spcPct val="90000"/>
              </a:lnSpc>
            </a:pPr>
            <a:r>
              <a:rPr lang="en-US" sz="900"/>
              <a:t>Healthy</a:t>
            </a:r>
            <a:endParaRPr lang="en-GB" sz="90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6CFF32B-21E5-E946-AF6A-55A1A13ED3CE}"/>
              </a:ext>
            </a:extLst>
          </p:cNvPr>
          <p:cNvSpPr txBox="1"/>
          <p:nvPr/>
        </p:nvSpPr>
        <p:spPr>
          <a:xfrm>
            <a:off x="5863026" y="5724984"/>
            <a:ext cx="504000" cy="2644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algn="ctr">
              <a:lnSpc>
                <a:spcPct val="90000"/>
              </a:lnSpc>
            </a:pPr>
            <a:r>
              <a:rPr lang="en-US" sz="900"/>
              <a:t>Stable asthma</a:t>
            </a:r>
            <a:endParaRPr lang="en-GB" sz="90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01C40401-55A0-8493-C8E1-6CF02E794B9C}"/>
              </a:ext>
            </a:extLst>
          </p:cNvPr>
          <p:cNvGrpSpPr/>
          <p:nvPr/>
        </p:nvGrpSpPr>
        <p:grpSpPr>
          <a:xfrm>
            <a:off x="4465478" y="3651432"/>
            <a:ext cx="2671485" cy="2045432"/>
            <a:chOff x="8005866" y="2429205"/>
            <a:chExt cx="2671485" cy="3175680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10C16FAC-FF6F-7234-B512-04697FCF39E2}"/>
                </a:ext>
              </a:extLst>
            </p:cNvPr>
            <p:cNvSpPr txBox="1"/>
            <p:nvPr/>
          </p:nvSpPr>
          <p:spPr>
            <a:xfrm rot="16200000">
              <a:off x="7186706" y="3977562"/>
              <a:ext cx="1902768" cy="2644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1200" b="1"/>
                <a:t>Ratio 5B/5AC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F9251E5-B186-8B5E-F061-816816DBC420}"/>
                </a:ext>
              </a:extLst>
            </p:cNvPr>
            <p:cNvSpPr txBox="1"/>
            <p:nvPr/>
          </p:nvSpPr>
          <p:spPr>
            <a:xfrm>
              <a:off x="8138089" y="2429205"/>
              <a:ext cx="264449" cy="2170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GB" sz="1000"/>
                <a:t>100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BC179608-F012-C66C-FA35-7170EADC05ED}"/>
                </a:ext>
              </a:extLst>
            </p:cNvPr>
            <p:cNvSpPr txBox="1"/>
            <p:nvPr/>
          </p:nvSpPr>
          <p:spPr>
            <a:xfrm>
              <a:off x="8138089" y="3418985"/>
              <a:ext cx="264449" cy="2170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GB" sz="1000"/>
                <a:t>10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C51A90B-C982-D310-BBFB-9FCE4BBB6547}"/>
                </a:ext>
              </a:extLst>
            </p:cNvPr>
            <p:cNvSpPr txBox="1"/>
            <p:nvPr/>
          </p:nvSpPr>
          <p:spPr>
            <a:xfrm>
              <a:off x="8138089" y="4408765"/>
              <a:ext cx="264449" cy="2170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GB" sz="1000"/>
                <a:t>1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78B470AA-685D-560C-13B5-B1DF30562DA3}"/>
                </a:ext>
              </a:extLst>
            </p:cNvPr>
            <p:cNvSpPr txBox="1"/>
            <p:nvPr/>
          </p:nvSpPr>
          <p:spPr>
            <a:xfrm>
              <a:off x="8138089" y="5387873"/>
              <a:ext cx="264449" cy="2170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GB" sz="1000"/>
                <a:t>0.1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D92DAC6D-0F27-DED6-01CD-E8BB90E0441C}"/>
                </a:ext>
              </a:extLst>
            </p:cNvPr>
            <p:cNvCxnSpPr>
              <a:cxnSpLocks/>
            </p:cNvCxnSpPr>
            <p:nvPr/>
          </p:nvCxnSpPr>
          <p:spPr>
            <a:xfrm>
              <a:off x="8486931" y="2563212"/>
              <a:ext cx="0" cy="2944800"/>
            </a:xfrm>
            <a:prstGeom prst="line">
              <a:avLst/>
            </a:prstGeom>
            <a:ln w="12700" cap="sq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6C062A5F-43CF-F145-3ADD-FEB6923A5A6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485289" y="5508012"/>
              <a:ext cx="2192062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09FFA34E-BA9B-71A1-1DC0-A015969D0081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8452971" y="2515137"/>
              <a:ext cx="0" cy="75463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2FFD9338-F4D0-BE79-A32D-5941E64B02B8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8452972" y="3500185"/>
              <a:ext cx="0" cy="75463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698D5AE9-F417-9529-A6FD-30000122B4BD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8452973" y="4485232"/>
              <a:ext cx="0" cy="75463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33CFDF10-0F13-D986-B490-351B29E60442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8452975" y="5470280"/>
              <a:ext cx="0" cy="75463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38AB4C3E-8AD7-23B6-7CFF-2E50C05B02C1}"/>
              </a:ext>
            </a:extLst>
          </p:cNvPr>
          <p:cNvSpPr txBox="1"/>
          <p:nvPr/>
        </p:nvSpPr>
        <p:spPr>
          <a:xfrm>
            <a:off x="6475030" y="5724984"/>
            <a:ext cx="723174" cy="2644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algn="ctr">
              <a:lnSpc>
                <a:spcPct val="90000"/>
              </a:lnSpc>
            </a:pPr>
            <a:r>
              <a:rPr lang="en-US" sz="900"/>
              <a:t>Exacerbations</a:t>
            </a:r>
            <a:br>
              <a:rPr lang="en-US" sz="900"/>
            </a:br>
            <a:r>
              <a:rPr lang="en-US" sz="900"/>
              <a:t>of asthma</a:t>
            </a:r>
            <a:endParaRPr lang="en-GB" sz="900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7F3CDF8D-9E5E-EE7F-36BF-5A70F02EF12A}"/>
              </a:ext>
            </a:extLst>
          </p:cNvPr>
          <p:cNvGrpSpPr/>
          <p:nvPr/>
        </p:nvGrpSpPr>
        <p:grpSpPr>
          <a:xfrm>
            <a:off x="6609220" y="3271755"/>
            <a:ext cx="385200" cy="2183354"/>
            <a:chOff x="9305275" y="3138179"/>
            <a:chExt cx="385200" cy="2183354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B21E3587-7617-D703-F56D-B791A63B239D}"/>
                </a:ext>
              </a:extLst>
            </p:cNvPr>
            <p:cNvGrpSpPr/>
            <p:nvPr/>
          </p:nvGrpSpPr>
          <p:grpSpPr>
            <a:xfrm>
              <a:off x="9389567" y="4422071"/>
              <a:ext cx="216616" cy="864000"/>
              <a:chOff x="11367953" y="3597506"/>
              <a:chExt cx="275763" cy="277200"/>
            </a:xfrm>
          </p:grpSpPr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34A2EC84-B1B7-32E5-D7F3-65319BCCB00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367953" y="3597506"/>
                <a:ext cx="275763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BA7732A7-E737-FC3E-7ACD-D7F14A89C93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367953" y="3874706"/>
                <a:ext cx="275763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2FEB802B-FE3A-7F65-D69D-C6B53F21D756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11367952" y="3736106"/>
                <a:ext cx="277200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EC556EA5-BA41-8BD8-1B6B-413D7C906E5F}"/>
                </a:ext>
              </a:extLst>
            </p:cNvPr>
            <p:cNvSpPr/>
            <p:nvPr/>
          </p:nvSpPr>
          <p:spPr>
            <a:xfrm>
              <a:off x="9305275" y="3138179"/>
              <a:ext cx="385200" cy="38520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72000" rtlCol="0" anchor="ctr"/>
            <a:lstStyle/>
            <a:p>
              <a:r>
                <a:rPr lang="en-GB" sz="700">
                  <a:solidFill>
                    <a:schemeClr val="tx1"/>
                  </a:solidFill>
                </a:rPr>
                <a:t>5B</a:t>
              </a:r>
            </a:p>
          </p:txBody>
        </p:sp>
        <p:sp>
          <p:nvSpPr>
            <p:cNvPr id="36" name="Pie 35">
              <a:extLst>
                <a:ext uri="{FF2B5EF4-FFF2-40B4-BE49-F238E27FC236}">
                  <a16:creationId xmlns:a16="http://schemas.microsoft.com/office/drawing/2014/main" id="{18AC713C-0D55-0914-769B-4E77E0592263}"/>
                </a:ext>
              </a:extLst>
            </p:cNvPr>
            <p:cNvSpPr/>
            <p:nvPr/>
          </p:nvSpPr>
          <p:spPr>
            <a:xfrm>
              <a:off x="9306319" y="3138179"/>
              <a:ext cx="384156" cy="385200"/>
            </a:xfrm>
            <a:prstGeom prst="pie">
              <a:avLst>
                <a:gd name="adj1" fmla="val 16252036"/>
                <a:gd name="adj2" fmla="val 8730863"/>
              </a:avLst>
            </a:prstGeom>
            <a:solidFill>
              <a:schemeClr val="accent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GB" sz="700">
                  <a:solidFill>
                    <a:schemeClr val="bg1"/>
                  </a:solidFill>
                </a:rPr>
                <a:t>         5AC</a:t>
              </a: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4B4DADEE-ACB5-B4FA-362C-79AE6E4D1E69}"/>
                </a:ext>
              </a:extLst>
            </p:cNvPr>
            <p:cNvSpPr/>
            <p:nvPr/>
          </p:nvSpPr>
          <p:spPr>
            <a:xfrm>
              <a:off x="9376348" y="4767531"/>
              <a:ext cx="252000" cy="360000"/>
            </a:xfrm>
            <a:prstGeom prst="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81ECC2DD-BEFA-236D-F44D-862E4E5BDFCA}"/>
                </a:ext>
              </a:extLst>
            </p:cNvPr>
            <p:cNvCxnSpPr>
              <a:cxnSpLocks/>
            </p:cNvCxnSpPr>
            <p:nvPr/>
          </p:nvCxnSpPr>
          <p:spPr>
            <a:xfrm>
              <a:off x="9376348" y="5006543"/>
              <a:ext cx="252000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Triangle 38">
              <a:extLst>
                <a:ext uri="{FF2B5EF4-FFF2-40B4-BE49-F238E27FC236}">
                  <a16:creationId xmlns:a16="http://schemas.microsoft.com/office/drawing/2014/main" id="{E3642638-8A71-7F43-4BD9-205EEE5E1E1D}"/>
                </a:ext>
              </a:extLst>
            </p:cNvPr>
            <p:cNvSpPr/>
            <p:nvPr/>
          </p:nvSpPr>
          <p:spPr>
            <a:xfrm>
              <a:off x="9468327" y="4384370"/>
              <a:ext cx="72000" cy="67213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0" name="Triangle 39">
              <a:extLst>
                <a:ext uri="{FF2B5EF4-FFF2-40B4-BE49-F238E27FC236}">
                  <a16:creationId xmlns:a16="http://schemas.microsoft.com/office/drawing/2014/main" id="{671EB86C-15AC-AEDC-9777-CBCF19F45EE4}"/>
                </a:ext>
              </a:extLst>
            </p:cNvPr>
            <p:cNvSpPr/>
            <p:nvPr/>
          </p:nvSpPr>
          <p:spPr>
            <a:xfrm>
              <a:off x="9427052" y="4647895"/>
              <a:ext cx="72000" cy="67213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1" name="Triangle 40">
              <a:extLst>
                <a:ext uri="{FF2B5EF4-FFF2-40B4-BE49-F238E27FC236}">
                  <a16:creationId xmlns:a16="http://schemas.microsoft.com/office/drawing/2014/main" id="{7A1D8E67-B630-61F6-74C7-4FCABBF8D39E}"/>
                </a:ext>
              </a:extLst>
            </p:cNvPr>
            <p:cNvSpPr/>
            <p:nvPr/>
          </p:nvSpPr>
          <p:spPr>
            <a:xfrm>
              <a:off x="9503252" y="4609795"/>
              <a:ext cx="72000" cy="67213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2" name="Triangle 41">
              <a:extLst>
                <a:ext uri="{FF2B5EF4-FFF2-40B4-BE49-F238E27FC236}">
                  <a16:creationId xmlns:a16="http://schemas.microsoft.com/office/drawing/2014/main" id="{0ADC3DAD-52F4-3F33-FF16-5619320636AC}"/>
                </a:ext>
              </a:extLst>
            </p:cNvPr>
            <p:cNvSpPr/>
            <p:nvPr/>
          </p:nvSpPr>
          <p:spPr>
            <a:xfrm>
              <a:off x="9468327" y="4825695"/>
              <a:ext cx="72000" cy="67213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3" name="Triangle 42">
              <a:extLst>
                <a:ext uri="{FF2B5EF4-FFF2-40B4-BE49-F238E27FC236}">
                  <a16:creationId xmlns:a16="http://schemas.microsoft.com/office/drawing/2014/main" id="{BC035222-3E37-A281-757D-7AAC7255AA43}"/>
                </a:ext>
              </a:extLst>
            </p:cNvPr>
            <p:cNvSpPr/>
            <p:nvPr/>
          </p:nvSpPr>
          <p:spPr>
            <a:xfrm>
              <a:off x="9468327" y="5111445"/>
              <a:ext cx="72000" cy="67213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4" name="Triangle 43">
              <a:extLst>
                <a:ext uri="{FF2B5EF4-FFF2-40B4-BE49-F238E27FC236}">
                  <a16:creationId xmlns:a16="http://schemas.microsoft.com/office/drawing/2014/main" id="{D58E6A4B-6102-2899-4EB3-AA2DBE6F5ED5}"/>
                </a:ext>
              </a:extLst>
            </p:cNvPr>
            <p:cNvSpPr/>
            <p:nvPr/>
          </p:nvSpPr>
          <p:spPr>
            <a:xfrm>
              <a:off x="9544527" y="5044770"/>
              <a:ext cx="72000" cy="67213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5" name="Triangle 44">
              <a:extLst>
                <a:ext uri="{FF2B5EF4-FFF2-40B4-BE49-F238E27FC236}">
                  <a16:creationId xmlns:a16="http://schemas.microsoft.com/office/drawing/2014/main" id="{B2751EAB-AC9E-EB11-C35C-44A55F485A83}"/>
                </a:ext>
              </a:extLst>
            </p:cNvPr>
            <p:cNvSpPr/>
            <p:nvPr/>
          </p:nvSpPr>
          <p:spPr>
            <a:xfrm>
              <a:off x="9395302" y="5044770"/>
              <a:ext cx="72000" cy="67213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6" name="Triangle 45">
              <a:extLst>
                <a:ext uri="{FF2B5EF4-FFF2-40B4-BE49-F238E27FC236}">
                  <a16:creationId xmlns:a16="http://schemas.microsoft.com/office/drawing/2014/main" id="{A376A930-F895-147E-4656-289633729266}"/>
                </a:ext>
              </a:extLst>
            </p:cNvPr>
            <p:cNvSpPr/>
            <p:nvPr/>
          </p:nvSpPr>
          <p:spPr>
            <a:xfrm>
              <a:off x="9500077" y="5197170"/>
              <a:ext cx="72000" cy="67213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7" name="Triangle 46">
              <a:extLst>
                <a:ext uri="{FF2B5EF4-FFF2-40B4-BE49-F238E27FC236}">
                  <a16:creationId xmlns:a16="http://schemas.microsoft.com/office/drawing/2014/main" id="{A056DEC2-C9EC-61A5-43EB-A21FC009B3A3}"/>
                </a:ext>
              </a:extLst>
            </p:cNvPr>
            <p:cNvSpPr/>
            <p:nvPr/>
          </p:nvSpPr>
          <p:spPr>
            <a:xfrm>
              <a:off x="9423877" y="5254320"/>
              <a:ext cx="72000" cy="67213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8" name="Triangle 47">
              <a:extLst>
                <a:ext uri="{FF2B5EF4-FFF2-40B4-BE49-F238E27FC236}">
                  <a16:creationId xmlns:a16="http://schemas.microsoft.com/office/drawing/2014/main" id="{C67E87FD-5943-758D-3B69-E19CBEF709B8}"/>
                </a:ext>
              </a:extLst>
            </p:cNvPr>
            <p:cNvSpPr/>
            <p:nvPr/>
          </p:nvSpPr>
          <p:spPr>
            <a:xfrm>
              <a:off x="9388952" y="4965395"/>
              <a:ext cx="72000" cy="67213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9" name="Triangle 48">
              <a:extLst>
                <a:ext uri="{FF2B5EF4-FFF2-40B4-BE49-F238E27FC236}">
                  <a16:creationId xmlns:a16="http://schemas.microsoft.com/office/drawing/2014/main" id="{9E3FC533-484B-6A31-D20C-28E9019084F1}"/>
                </a:ext>
              </a:extLst>
            </p:cNvPr>
            <p:cNvSpPr/>
            <p:nvPr/>
          </p:nvSpPr>
          <p:spPr>
            <a:xfrm>
              <a:off x="9465152" y="4962220"/>
              <a:ext cx="72000" cy="67213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50" name="Triangle 49">
              <a:extLst>
                <a:ext uri="{FF2B5EF4-FFF2-40B4-BE49-F238E27FC236}">
                  <a16:creationId xmlns:a16="http://schemas.microsoft.com/office/drawing/2014/main" id="{F6E10600-7F8D-3AA6-20C4-EF887BE8A989}"/>
                </a:ext>
              </a:extLst>
            </p:cNvPr>
            <p:cNvSpPr/>
            <p:nvPr/>
          </p:nvSpPr>
          <p:spPr>
            <a:xfrm>
              <a:off x="9427052" y="4984445"/>
              <a:ext cx="72000" cy="67213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51" name="Triangle 50">
              <a:extLst>
                <a:ext uri="{FF2B5EF4-FFF2-40B4-BE49-F238E27FC236}">
                  <a16:creationId xmlns:a16="http://schemas.microsoft.com/office/drawing/2014/main" id="{92CFC2E7-F56C-4CA4-DC2A-1E6BCF65885B}"/>
                </a:ext>
              </a:extLst>
            </p:cNvPr>
            <p:cNvSpPr/>
            <p:nvPr/>
          </p:nvSpPr>
          <p:spPr>
            <a:xfrm>
              <a:off x="9503252" y="4981270"/>
              <a:ext cx="72000" cy="67213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7E999BE5-E404-FB75-A084-ABA16085708C}"/>
                </a:ext>
              </a:extLst>
            </p:cNvPr>
            <p:cNvSpPr/>
            <p:nvPr/>
          </p:nvSpPr>
          <p:spPr>
            <a:xfrm>
              <a:off x="9507968" y="3803559"/>
              <a:ext cx="67213" cy="6721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600">
                  <a:solidFill>
                    <a:schemeClr val="tx1"/>
                  </a:solidFill>
                </a:rPr>
                <a:t>*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D76F1D32-91A3-EAFA-A064-D7A98F94218D}"/>
              </a:ext>
            </a:extLst>
          </p:cNvPr>
          <p:cNvGrpSpPr/>
          <p:nvPr/>
        </p:nvGrpSpPr>
        <p:grpSpPr>
          <a:xfrm>
            <a:off x="5907255" y="3271755"/>
            <a:ext cx="385200" cy="2299071"/>
            <a:chOff x="8888655" y="3138179"/>
            <a:chExt cx="385200" cy="2299071"/>
          </a:xfrm>
        </p:grpSpPr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FE905118-94F7-5915-11EE-373A09D1B37A}"/>
                </a:ext>
              </a:extLst>
            </p:cNvPr>
            <p:cNvGrpSpPr/>
            <p:nvPr/>
          </p:nvGrpSpPr>
          <p:grpSpPr>
            <a:xfrm>
              <a:off x="8992328" y="4706885"/>
              <a:ext cx="216616" cy="702000"/>
              <a:chOff x="11367953" y="3597506"/>
              <a:chExt cx="275763" cy="277200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DFF345E5-6FB2-98E9-7C88-33C9DE0C66F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367953" y="3597506"/>
                <a:ext cx="275763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D568BF34-0E20-CDFE-51F3-9B810CB87FF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367953" y="3874706"/>
                <a:ext cx="275763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7522A6E4-823D-DD56-8412-063EBD47BDFC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11367952" y="3736106"/>
                <a:ext cx="277200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8" name="Pie 57">
              <a:extLst>
                <a:ext uri="{FF2B5EF4-FFF2-40B4-BE49-F238E27FC236}">
                  <a16:creationId xmlns:a16="http://schemas.microsoft.com/office/drawing/2014/main" id="{4EEB8196-5C75-4EAF-FECA-8636F469D2F1}"/>
                </a:ext>
              </a:extLst>
            </p:cNvPr>
            <p:cNvSpPr/>
            <p:nvPr/>
          </p:nvSpPr>
          <p:spPr>
            <a:xfrm>
              <a:off x="8889699" y="3138179"/>
              <a:ext cx="384156" cy="385200"/>
            </a:xfrm>
            <a:prstGeom prst="pie">
              <a:avLst>
                <a:gd name="adj1" fmla="val 16252036"/>
                <a:gd name="adj2" fmla="val 6794280"/>
              </a:avLst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GB" sz="700">
                  <a:solidFill>
                    <a:schemeClr val="bg1"/>
                  </a:solidFill>
                </a:rPr>
                <a:t>         5AC</a:t>
              </a: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0FE40F86-7BB2-CBA7-977F-4031FDC21DA1}"/>
                </a:ext>
              </a:extLst>
            </p:cNvPr>
            <p:cNvSpPr/>
            <p:nvPr/>
          </p:nvSpPr>
          <p:spPr>
            <a:xfrm>
              <a:off x="8971613" y="4790017"/>
              <a:ext cx="252000" cy="216526"/>
            </a:xfrm>
            <a:prstGeom prst="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31441CC3-2362-BC66-943B-5B5ECA17ACB7}"/>
                </a:ext>
              </a:extLst>
            </p:cNvPr>
            <p:cNvSpPr/>
            <p:nvPr/>
          </p:nvSpPr>
          <p:spPr>
            <a:xfrm>
              <a:off x="9064006" y="4077812"/>
              <a:ext cx="67213" cy="6721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91F8F7D0-EFB2-1D1F-056F-F3FD2E8DE2EA}"/>
                </a:ext>
              </a:extLst>
            </p:cNvPr>
            <p:cNvSpPr/>
            <p:nvPr/>
          </p:nvSpPr>
          <p:spPr>
            <a:xfrm>
              <a:off x="8990981" y="4334987"/>
              <a:ext cx="67213" cy="6721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53DA32B9-923D-D02E-4AC0-8C5730B05A63}"/>
                </a:ext>
              </a:extLst>
            </p:cNvPr>
            <p:cNvSpPr/>
            <p:nvPr/>
          </p:nvSpPr>
          <p:spPr>
            <a:xfrm>
              <a:off x="9064006" y="4379437"/>
              <a:ext cx="67213" cy="6721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53A9D81C-BCFD-E067-6877-CF4AA20F2954}"/>
                </a:ext>
              </a:extLst>
            </p:cNvPr>
            <p:cNvSpPr/>
            <p:nvPr/>
          </p:nvSpPr>
          <p:spPr>
            <a:xfrm>
              <a:off x="9143381" y="4334987"/>
              <a:ext cx="67213" cy="6721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3F6FF680-C726-9061-35DA-C8927B40B820}"/>
                </a:ext>
              </a:extLst>
            </p:cNvPr>
            <p:cNvSpPr/>
            <p:nvPr/>
          </p:nvSpPr>
          <p:spPr>
            <a:xfrm>
              <a:off x="9140206" y="4706462"/>
              <a:ext cx="67213" cy="6721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F9F1B0E3-C189-D336-4B2F-F11C8A96F5A1}"/>
                </a:ext>
              </a:extLst>
            </p:cNvPr>
            <p:cNvSpPr/>
            <p:nvPr/>
          </p:nvSpPr>
          <p:spPr>
            <a:xfrm>
              <a:off x="8990981" y="4665187"/>
              <a:ext cx="67213" cy="6721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B258EF54-2EB6-1DF6-06A6-350C8EC6212F}"/>
                </a:ext>
              </a:extLst>
            </p:cNvPr>
            <p:cNvSpPr/>
            <p:nvPr/>
          </p:nvSpPr>
          <p:spPr>
            <a:xfrm>
              <a:off x="9060831" y="4712812"/>
              <a:ext cx="67213" cy="6721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28A1A7B9-5634-F447-2B12-9D0D20F83B6D}"/>
                </a:ext>
              </a:extLst>
            </p:cNvPr>
            <p:cNvSpPr/>
            <p:nvPr/>
          </p:nvSpPr>
          <p:spPr>
            <a:xfrm>
              <a:off x="9083056" y="4747737"/>
              <a:ext cx="67213" cy="6721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AA174841-64B3-04AB-96A5-7BF2C275D373}"/>
                </a:ext>
              </a:extLst>
            </p:cNvPr>
            <p:cNvSpPr/>
            <p:nvPr/>
          </p:nvSpPr>
          <p:spPr>
            <a:xfrm>
              <a:off x="9041781" y="4754087"/>
              <a:ext cx="67213" cy="6721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3B214E6F-F9B9-D95C-2777-7789BD987CCC}"/>
                </a:ext>
              </a:extLst>
            </p:cNvPr>
            <p:cNvSpPr/>
            <p:nvPr/>
          </p:nvSpPr>
          <p:spPr>
            <a:xfrm>
              <a:off x="9060831" y="4814412"/>
              <a:ext cx="67213" cy="6721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60B2A56D-9249-2340-6BA7-56F438BE6D0F}"/>
                </a:ext>
              </a:extLst>
            </p:cNvPr>
            <p:cNvSpPr/>
            <p:nvPr/>
          </p:nvSpPr>
          <p:spPr>
            <a:xfrm>
              <a:off x="9022731" y="4801712"/>
              <a:ext cx="67213" cy="6721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0BCE982D-9291-8630-1CE0-4B9423AF5011}"/>
                </a:ext>
              </a:extLst>
            </p:cNvPr>
            <p:cNvSpPr/>
            <p:nvPr/>
          </p:nvSpPr>
          <p:spPr>
            <a:xfrm>
              <a:off x="8987806" y="4820762"/>
              <a:ext cx="67213" cy="6721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3C3B70A7-F231-22F4-E610-12E1FF053B47}"/>
                </a:ext>
              </a:extLst>
            </p:cNvPr>
            <p:cNvSpPr/>
            <p:nvPr/>
          </p:nvSpPr>
          <p:spPr>
            <a:xfrm>
              <a:off x="8984631" y="4846162"/>
              <a:ext cx="67213" cy="6721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B9BCA097-BBE6-9B83-8D6D-58ACA851291E}"/>
                </a:ext>
              </a:extLst>
            </p:cNvPr>
            <p:cNvSpPr/>
            <p:nvPr/>
          </p:nvSpPr>
          <p:spPr>
            <a:xfrm>
              <a:off x="9105281" y="4789012"/>
              <a:ext cx="67213" cy="6721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CE0AEB1C-3D0D-DA2F-42EF-623BFDA434AC}"/>
                </a:ext>
              </a:extLst>
            </p:cNvPr>
            <p:cNvSpPr/>
            <p:nvPr/>
          </p:nvSpPr>
          <p:spPr>
            <a:xfrm>
              <a:off x="9133856" y="4811237"/>
              <a:ext cx="67213" cy="6721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63E7D244-68B5-49BA-B746-96EE30A4A68E}"/>
                </a:ext>
              </a:extLst>
            </p:cNvPr>
            <p:cNvSpPr/>
            <p:nvPr/>
          </p:nvSpPr>
          <p:spPr>
            <a:xfrm>
              <a:off x="9140206" y="4839812"/>
              <a:ext cx="67213" cy="6721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57A2C954-D6CE-017A-381C-588E21820E77}"/>
                </a:ext>
              </a:extLst>
            </p:cNvPr>
            <p:cNvSpPr/>
            <p:nvPr/>
          </p:nvSpPr>
          <p:spPr>
            <a:xfrm>
              <a:off x="9146556" y="4950937"/>
              <a:ext cx="67213" cy="6721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F8C11A88-FA77-23EF-1B5A-4E052D169C79}"/>
                </a:ext>
              </a:extLst>
            </p:cNvPr>
            <p:cNvSpPr/>
            <p:nvPr/>
          </p:nvSpPr>
          <p:spPr>
            <a:xfrm>
              <a:off x="9098931" y="4992212"/>
              <a:ext cx="67213" cy="6721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D33EBB8A-E632-B465-B011-640D6FD15836}"/>
                </a:ext>
              </a:extLst>
            </p:cNvPr>
            <p:cNvSpPr/>
            <p:nvPr/>
          </p:nvSpPr>
          <p:spPr>
            <a:xfrm>
              <a:off x="9016381" y="4998562"/>
              <a:ext cx="67213" cy="6721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CED8E190-95C0-37AF-44F1-641C45220385}"/>
                </a:ext>
              </a:extLst>
            </p:cNvPr>
            <p:cNvSpPr/>
            <p:nvPr/>
          </p:nvSpPr>
          <p:spPr>
            <a:xfrm>
              <a:off x="9057656" y="4906487"/>
              <a:ext cx="67213" cy="6721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DC757C3F-7E35-51F5-4C85-F503A7D2E451}"/>
                </a:ext>
              </a:extLst>
            </p:cNvPr>
            <p:cNvSpPr/>
            <p:nvPr/>
          </p:nvSpPr>
          <p:spPr>
            <a:xfrm>
              <a:off x="8962406" y="4957287"/>
              <a:ext cx="67213" cy="6721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842F4340-C95F-0573-E315-312DC04F5365}"/>
                </a:ext>
              </a:extLst>
            </p:cNvPr>
            <p:cNvSpPr/>
            <p:nvPr/>
          </p:nvSpPr>
          <p:spPr>
            <a:xfrm>
              <a:off x="8981456" y="4941412"/>
              <a:ext cx="67213" cy="6721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1E8ADA88-F2CA-6F87-B09E-BC82F3456520}"/>
                </a:ext>
              </a:extLst>
            </p:cNvPr>
            <p:cNvSpPr/>
            <p:nvPr/>
          </p:nvSpPr>
          <p:spPr>
            <a:xfrm>
              <a:off x="9029081" y="4973162"/>
              <a:ext cx="67213" cy="6721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B5F2246F-34C3-0372-40BE-1DAFA5EFA340}"/>
                </a:ext>
              </a:extLst>
            </p:cNvPr>
            <p:cNvSpPr/>
            <p:nvPr/>
          </p:nvSpPr>
          <p:spPr>
            <a:xfrm>
              <a:off x="9076706" y="4966812"/>
              <a:ext cx="67213" cy="6721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7CCE5B12-A20F-A5D4-CB42-506D6E301603}"/>
                </a:ext>
              </a:extLst>
            </p:cNvPr>
            <p:cNvSpPr/>
            <p:nvPr/>
          </p:nvSpPr>
          <p:spPr>
            <a:xfrm>
              <a:off x="9067181" y="5170012"/>
              <a:ext cx="67213" cy="6721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BB4717D6-E241-21CE-E6F2-2633D19D076A}"/>
                </a:ext>
              </a:extLst>
            </p:cNvPr>
            <p:cNvSpPr/>
            <p:nvPr/>
          </p:nvSpPr>
          <p:spPr>
            <a:xfrm>
              <a:off x="9140206" y="5160487"/>
              <a:ext cx="67213" cy="6721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66ED2792-DA2B-079E-1022-E957C24660D2}"/>
                </a:ext>
              </a:extLst>
            </p:cNvPr>
            <p:cNvSpPr/>
            <p:nvPr/>
          </p:nvSpPr>
          <p:spPr>
            <a:xfrm>
              <a:off x="8987806" y="5147787"/>
              <a:ext cx="67213" cy="6721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179E631C-5406-2626-6561-39D2971EDFA1}"/>
                </a:ext>
              </a:extLst>
            </p:cNvPr>
            <p:cNvSpPr/>
            <p:nvPr/>
          </p:nvSpPr>
          <p:spPr>
            <a:xfrm>
              <a:off x="9067181" y="5287487"/>
              <a:ext cx="67213" cy="6721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CDAB3114-76A9-5A3E-70A9-76B9EBA157BA}"/>
                </a:ext>
              </a:extLst>
            </p:cNvPr>
            <p:cNvSpPr/>
            <p:nvPr/>
          </p:nvSpPr>
          <p:spPr>
            <a:xfrm>
              <a:off x="9064006" y="5370037"/>
              <a:ext cx="67213" cy="6721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368EF639-1DD4-26FC-E087-69ADC693DE4F}"/>
                </a:ext>
              </a:extLst>
            </p:cNvPr>
            <p:cNvSpPr/>
            <p:nvPr/>
          </p:nvSpPr>
          <p:spPr>
            <a:xfrm>
              <a:off x="9079343" y="3790859"/>
              <a:ext cx="67213" cy="6721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600">
                  <a:solidFill>
                    <a:schemeClr val="tx1"/>
                  </a:solidFill>
                </a:rPr>
                <a:t>*</a:t>
              </a:r>
            </a:p>
          </p:txBody>
        </p:sp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C46E132B-6F5B-617D-0CA6-3BDD18459E8E}"/>
                </a:ext>
              </a:extLst>
            </p:cNvPr>
            <p:cNvSpPr/>
            <p:nvPr/>
          </p:nvSpPr>
          <p:spPr>
            <a:xfrm>
              <a:off x="8888655" y="3138179"/>
              <a:ext cx="385200" cy="38520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36000" rtlCol="0" anchor="ctr"/>
            <a:lstStyle/>
            <a:p>
              <a:r>
                <a:rPr lang="en-GB" sz="700">
                  <a:solidFill>
                    <a:schemeClr val="tx1"/>
                  </a:solidFill>
                </a:rPr>
                <a:t>5B</a:t>
              </a:r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768459A7-113F-6EAF-1916-C540DE9C4A78}"/>
              </a:ext>
            </a:extLst>
          </p:cNvPr>
          <p:cNvGrpSpPr/>
          <p:nvPr/>
        </p:nvGrpSpPr>
        <p:grpSpPr>
          <a:xfrm>
            <a:off x="5205290" y="3271755"/>
            <a:ext cx="385200" cy="1994271"/>
            <a:chOff x="8493678" y="3138179"/>
            <a:chExt cx="385200" cy="1994271"/>
          </a:xfrm>
        </p:grpSpPr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A6CA428D-5ECF-CBF6-2CDD-05F770B44FFE}"/>
                </a:ext>
              </a:extLst>
            </p:cNvPr>
            <p:cNvGrpSpPr/>
            <p:nvPr/>
          </p:nvGrpSpPr>
          <p:grpSpPr>
            <a:xfrm>
              <a:off x="8587594" y="4249685"/>
              <a:ext cx="216616" cy="846000"/>
              <a:chOff x="11367953" y="3597506"/>
              <a:chExt cx="275763" cy="277200"/>
            </a:xfrm>
          </p:grpSpPr>
          <p:cxnSp>
            <p:nvCxnSpPr>
              <p:cNvPr id="116" name="Straight Connector 115">
                <a:extLst>
                  <a:ext uri="{FF2B5EF4-FFF2-40B4-BE49-F238E27FC236}">
                    <a16:creationId xmlns:a16="http://schemas.microsoft.com/office/drawing/2014/main" id="{E4057B8B-8B16-59D6-E733-BD49DB5417E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367953" y="3597506"/>
                <a:ext cx="275763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>
                <a:extLst>
                  <a:ext uri="{FF2B5EF4-FFF2-40B4-BE49-F238E27FC236}">
                    <a16:creationId xmlns:a16="http://schemas.microsoft.com/office/drawing/2014/main" id="{05F68841-100F-BCCB-3DC4-A67B0DF1EB6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367953" y="3874706"/>
                <a:ext cx="275763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>
                <a:extLst>
                  <a:ext uri="{FF2B5EF4-FFF2-40B4-BE49-F238E27FC236}">
                    <a16:creationId xmlns:a16="http://schemas.microsoft.com/office/drawing/2014/main" id="{F77883CC-C001-F8A0-A0A8-4F7871436020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11367952" y="3736106"/>
                <a:ext cx="277200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6" name="Pie 95">
              <a:extLst>
                <a:ext uri="{FF2B5EF4-FFF2-40B4-BE49-F238E27FC236}">
                  <a16:creationId xmlns:a16="http://schemas.microsoft.com/office/drawing/2014/main" id="{CD51871A-857F-16CB-F098-88B51F354361}"/>
                </a:ext>
              </a:extLst>
            </p:cNvPr>
            <p:cNvSpPr/>
            <p:nvPr/>
          </p:nvSpPr>
          <p:spPr>
            <a:xfrm>
              <a:off x="8494722" y="3138179"/>
              <a:ext cx="384156" cy="385200"/>
            </a:xfrm>
            <a:prstGeom prst="pie">
              <a:avLst>
                <a:gd name="adj1" fmla="val 16252036"/>
                <a:gd name="adj2" fmla="val 3332985"/>
              </a:avLst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72000" rtlCol="0" anchor="ctr"/>
            <a:lstStyle/>
            <a:p>
              <a:pPr algn="ctr"/>
              <a:r>
                <a:rPr lang="en-GB" sz="700">
                  <a:solidFill>
                    <a:schemeClr val="bg1"/>
                  </a:solidFill>
                </a:rPr>
                <a:t>         5AC</a:t>
              </a:r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134E4666-2D38-7D93-D6E0-EFB1F14CE871}"/>
                </a:ext>
              </a:extLst>
            </p:cNvPr>
            <p:cNvSpPr/>
            <p:nvPr/>
          </p:nvSpPr>
          <p:spPr>
            <a:xfrm>
              <a:off x="8574373" y="4302835"/>
              <a:ext cx="252000" cy="562063"/>
            </a:xfrm>
            <a:prstGeom prst="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EA7FEEE4-1E29-72F7-3A7C-11090CD12BE2}"/>
                </a:ext>
              </a:extLst>
            </p:cNvPr>
            <p:cNvCxnSpPr>
              <a:cxnSpLocks/>
            </p:cNvCxnSpPr>
            <p:nvPr/>
          </p:nvCxnSpPr>
          <p:spPr>
            <a:xfrm>
              <a:off x="8574373" y="4714234"/>
              <a:ext cx="252000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41A5F5DC-EBF3-954E-27B5-15A962A236F4}"/>
                </a:ext>
              </a:extLst>
            </p:cNvPr>
            <p:cNvSpPr/>
            <p:nvPr/>
          </p:nvSpPr>
          <p:spPr>
            <a:xfrm>
              <a:off x="8671288" y="3604169"/>
              <a:ext cx="67213" cy="6721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0" name="Oval 99">
              <a:extLst>
                <a:ext uri="{FF2B5EF4-FFF2-40B4-BE49-F238E27FC236}">
                  <a16:creationId xmlns:a16="http://schemas.microsoft.com/office/drawing/2014/main" id="{6615AC51-CFD4-7679-6356-FE22E3C3C87A}"/>
                </a:ext>
              </a:extLst>
            </p:cNvPr>
            <p:cNvSpPr/>
            <p:nvPr/>
          </p:nvSpPr>
          <p:spPr>
            <a:xfrm>
              <a:off x="8671288" y="4011137"/>
              <a:ext cx="67213" cy="6721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1" name="Oval 100">
              <a:extLst>
                <a:ext uri="{FF2B5EF4-FFF2-40B4-BE49-F238E27FC236}">
                  <a16:creationId xmlns:a16="http://schemas.microsoft.com/office/drawing/2014/main" id="{0607F79D-E4A3-3C45-2A86-77B24EAF4E4C}"/>
                </a:ext>
              </a:extLst>
            </p:cNvPr>
            <p:cNvSpPr/>
            <p:nvPr/>
          </p:nvSpPr>
          <p:spPr>
            <a:xfrm>
              <a:off x="8703038" y="4201637"/>
              <a:ext cx="67213" cy="6721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2" name="Oval 101">
              <a:extLst>
                <a:ext uri="{FF2B5EF4-FFF2-40B4-BE49-F238E27FC236}">
                  <a16:creationId xmlns:a16="http://schemas.microsoft.com/office/drawing/2014/main" id="{4D41F8DF-EC32-36D5-C548-385063132291}"/>
                </a:ext>
              </a:extLst>
            </p:cNvPr>
            <p:cNvSpPr/>
            <p:nvPr/>
          </p:nvSpPr>
          <p:spPr>
            <a:xfrm>
              <a:off x="8614138" y="4214337"/>
              <a:ext cx="67213" cy="6721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3" name="Oval 102">
              <a:extLst>
                <a:ext uri="{FF2B5EF4-FFF2-40B4-BE49-F238E27FC236}">
                  <a16:creationId xmlns:a16="http://schemas.microsoft.com/office/drawing/2014/main" id="{84DFE4CA-5406-960D-DF35-21DA316E2FAB}"/>
                </a:ext>
              </a:extLst>
            </p:cNvPr>
            <p:cNvSpPr/>
            <p:nvPr/>
          </p:nvSpPr>
          <p:spPr>
            <a:xfrm>
              <a:off x="8661763" y="4515962"/>
              <a:ext cx="67213" cy="6721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4" name="Oval 103">
              <a:extLst>
                <a:ext uri="{FF2B5EF4-FFF2-40B4-BE49-F238E27FC236}">
                  <a16:creationId xmlns:a16="http://schemas.microsoft.com/office/drawing/2014/main" id="{2D19940E-B5F6-0359-5706-C38A84FE1C39}"/>
                </a:ext>
              </a:extLst>
            </p:cNvPr>
            <p:cNvSpPr/>
            <p:nvPr/>
          </p:nvSpPr>
          <p:spPr>
            <a:xfrm>
              <a:off x="8734788" y="4620737"/>
              <a:ext cx="67213" cy="6721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5" name="Oval 104">
              <a:extLst>
                <a:ext uri="{FF2B5EF4-FFF2-40B4-BE49-F238E27FC236}">
                  <a16:creationId xmlns:a16="http://schemas.microsoft.com/office/drawing/2014/main" id="{12068AB8-C820-7C6A-D354-5765E22E1AF0}"/>
                </a:ext>
              </a:extLst>
            </p:cNvPr>
            <p:cNvSpPr/>
            <p:nvPr/>
          </p:nvSpPr>
          <p:spPr>
            <a:xfrm>
              <a:off x="8588738" y="4617562"/>
              <a:ext cx="67213" cy="6721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26EF715C-444C-E73E-FC9F-94B999E9C9FC}"/>
                </a:ext>
              </a:extLst>
            </p:cNvPr>
            <p:cNvSpPr/>
            <p:nvPr/>
          </p:nvSpPr>
          <p:spPr>
            <a:xfrm>
              <a:off x="8658588" y="4671537"/>
              <a:ext cx="67213" cy="6721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7" name="Oval 106">
              <a:extLst>
                <a:ext uri="{FF2B5EF4-FFF2-40B4-BE49-F238E27FC236}">
                  <a16:creationId xmlns:a16="http://schemas.microsoft.com/office/drawing/2014/main" id="{C396B21F-436A-FAD9-630C-B4BC9DBB6A2E}"/>
                </a:ext>
              </a:extLst>
            </p:cNvPr>
            <p:cNvSpPr/>
            <p:nvPr/>
          </p:nvSpPr>
          <p:spPr>
            <a:xfrm>
              <a:off x="8623663" y="4687412"/>
              <a:ext cx="67213" cy="6721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8" name="Oval 107">
              <a:extLst>
                <a:ext uri="{FF2B5EF4-FFF2-40B4-BE49-F238E27FC236}">
                  <a16:creationId xmlns:a16="http://schemas.microsoft.com/office/drawing/2014/main" id="{4327AA59-E638-5B5E-0BFE-6692DB62F7A3}"/>
                </a:ext>
              </a:extLst>
            </p:cNvPr>
            <p:cNvSpPr/>
            <p:nvPr/>
          </p:nvSpPr>
          <p:spPr>
            <a:xfrm>
              <a:off x="8588738" y="4792187"/>
              <a:ext cx="67213" cy="6721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9" name="Oval 108">
              <a:extLst>
                <a:ext uri="{FF2B5EF4-FFF2-40B4-BE49-F238E27FC236}">
                  <a16:creationId xmlns:a16="http://schemas.microsoft.com/office/drawing/2014/main" id="{C8F62D57-14D8-4F7B-1965-676147750136}"/>
                </a:ext>
              </a:extLst>
            </p:cNvPr>
            <p:cNvSpPr/>
            <p:nvPr/>
          </p:nvSpPr>
          <p:spPr>
            <a:xfrm>
              <a:off x="8699863" y="4757262"/>
              <a:ext cx="67213" cy="6721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0" name="Oval 109">
              <a:extLst>
                <a:ext uri="{FF2B5EF4-FFF2-40B4-BE49-F238E27FC236}">
                  <a16:creationId xmlns:a16="http://schemas.microsoft.com/office/drawing/2014/main" id="{D0B552AF-3122-F699-B4DA-E8199C222B74}"/>
                </a:ext>
              </a:extLst>
            </p:cNvPr>
            <p:cNvSpPr/>
            <p:nvPr/>
          </p:nvSpPr>
          <p:spPr>
            <a:xfrm>
              <a:off x="8728438" y="4792187"/>
              <a:ext cx="67213" cy="6721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1" name="Oval 110">
              <a:extLst>
                <a:ext uri="{FF2B5EF4-FFF2-40B4-BE49-F238E27FC236}">
                  <a16:creationId xmlns:a16="http://schemas.microsoft.com/office/drawing/2014/main" id="{90F3C720-AE9B-2048-2E5D-0EA33DE0FB00}"/>
                </a:ext>
              </a:extLst>
            </p:cNvPr>
            <p:cNvSpPr/>
            <p:nvPr/>
          </p:nvSpPr>
          <p:spPr>
            <a:xfrm>
              <a:off x="8658588" y="4849337"/>
              <a:ext cx="67213" cy="6721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2" name="Oval 111">
              <a:extLst>
                <a:ext uri="{FF2B5EF4-FFF2-40B4-BE49-F238E27FC236}">
                  <a16:creationId xmlns:a16="http://schemas.microsoft.com/office/drawing/2014/main" id="{9F0A3A75-FB2A-36B2-F146-8BE470CD87DC}"/>
                </a:ext>
              </a:extLst>
            </p:cNvPr>
            <p:cNvSpPr/>
            <p:nvPr/>
          </p:nvSpPr>
          <p:spPr>
            <a:xfrm>
              <a:off x="8658588" y="4931887"/>
              <a:ext cx="67213" cy="6721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3" name="Oval 112">
              <a:extLst>
                <a:ext uri="{FF2B5EF4-FFF2-40B4-BE49-F238E27FC236}">
                  <a16:creationId xmlns:a16="http://schemas.microsoft.com/office/drawing/2014/main" id="{C961D8E3-0A14-6DE2-B9F7-0CE610C7E03A}"/>
                </a:ext>
              </a:extLst>
            </p:cNvPr>
            <p:cNvSpPr/>
            <p:nvPr/>
          </p:nvSpPr>
          <p:spPr>
            <a:xfrm>
              <a:off x="8693513" y="5008087"/>
              <a:ext cx="67213" cy="6721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BF273E9E-DAE4-0CB9-2169-FE18D24CB6EE}"/>
                </a:ext>
              </a:extLst>
            </p:cNvPr>
            <p:cNvSpPr/>
            <p:nvPr/>
          </p:nvSpPr>
          <p:spPr>
            <a:xfrm>
              <a:off x="8620488" y="5065237"/>
              <a:ext cx="67213" cy="6721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C9824081-4EB3-BB85-EFC4-56F1970AED50}"/>
                </a:ext>
              </a:extLst>
            </p:cNvPr>
            <p:cNvSpPr/>
            <p:nvPr/>
          </p:nvSpPr>
          <p:spPr>
            <a:xfrm>
              <a:off x="8493678" y="3138179"/>
              <a:ext cx="385200" cy="38520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r>
                <a:rPr lang="en-GB" sz="700">
                  <a:solidFill>
                    <a:schemeClr val="tx1"/>
                  </a:solidFill>
                </a:rPr>
                <a:t>5B</a:t>
              </a:r>
            </a:p>
          </p:txBody>
        </p:sp>
      </p:grpSp>
      <p:sp>
        <p:nvSpPr>
          <p:cNvPr id="121" name="TextBox 120">
            <a:extLst>
              <a:ext uri="{FF2B5EF4-FFF2-40B4-BE49-F238E27FC236}">
                <a16:creationId xmlns:a16="http://schemas.microsoft.com/office/drawing/2014/main" id="{762958D0-2F08-99BB-7B24-AAB654D338A0}"/>
              </a:ext>
            </a:extLst>
          </p:cNvPr>
          <p:cNvSpPr txBox="1"/>
          <p:nvPr/>
        </p:nvSpPr>
        <p:spPr>
          <a:xfrm>
            <a:off x="7986011" y="2322710"/>
            <a:ext cx="3528000" cy="830997"/>
          </a:xfrm>
          <a:prstGeom prst="rect">
            <a:avLst/>
          </a:prstGeom>
          <a:solidFill>
            <a:schemeClr val="accent4"/>
          </a:solidFill>
          <a:ln w="28575">
            <a:solidFill>
              <a:schemeClr val="accent4"/>
            </a:solidFill>
          </a:ln>
        </p:spPr>
        <p:txBody>
          <a:bodyPr wrap="square" anchor="ctr">
            <a:noAutofit/>
          </a:bodyPr>
          <a:lstStyle/>
          <a:p>
            <a:pPr algn="ctr"/>
            <a:r>
              <a:rPr lang="en-GB" sz="1600" noProof="0">
                <a:solidFill>
                  <a:schemeClr val="bg1"/>
                </a:solidFill>
              </a:rPr>
              <a:t>Why does </a:t>
            </a:r>
            <a:r>
              <a:rPr lang="en-GB" sz="1600" b="1" noProof="0">
                <a:solidFill>
                  <a:schemeClr val="bg1"/>
                </a:solidFill>
              </a:rPr>
              <a:t>MUC5AC</a:t>
            </a:r>
            <a:r>
              <a:rPr lang="en-GB" sz="1600" noProof="0">
                <a:solidFill>
                  <a:schemeClr val="bg1"/>
                </a:solidFill>
              </a:rPr>
              <a:t> cause </a:t>
            </a:r>
            <a:r>
              <a:rPr lang="en-GB" sz="1600" b="1" noProof="0">
                <a:solidFill>
                  <a:schemeClr val="bg1"/>
                </a:solidFill>
              </a:rPr>
              <a:t>mucus plugging</a:t>
            </a:r>
            <a:r>
              <a:rPr lang="en-GB" sz="1600" noProof="0">
                <a:solidFill>
                  <a:schemeClr val="bg1"/>
                </a:solidFill>
              </a:rPr>
              <a:t>?</a:t>
            </a:r>
            <a:endParaRPr lang="en-GB" sz="1600" baseline="30000" noProof="0">
              <a:solidFill>
                <a:schemeClr val="bg1"/>
              </a:solidFill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E843035F-3198-4521-3084-E0BD28E167A4}"/>
              </a:ext>
            </a:extLst>
          </p:cNvPr>
          <p:cNvSpPr/>
          <p:nvPr/>
        </p:nvSpPr>
        <p:spPr>
          <a:xfrm>
            <a:off x="7986010" y="2322106"/>
            <a:ext cx="3604009" cy="3734753"/>
          </a:xfrm>
          <a:prstGeom prst="rect">
            <a:avLst/>
          </a:prstGeom>
          <a:noFill/>
          <a:ln w="28575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116000"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>
                <a:solidFill>
                  <a:schemeClr val="tx1"/>
                </a:solidFill>
              </a:rPr>
              <a:t>MUC5AC </a:t>
            </a:r>
            <a:r>
              <a:rPr lang="en-GB" sz="1600" b="1">
                <a:solidFill>
                  <a:schemeClr val="tx1"/>
                </a:solidFill>
              </a:rPr>
              <a:t>tethers mucin</a:t>
            </a:r>
            <a:r>
              <a:rPr lang="en-GB" sz="1600">
                <a:solidFill>
                  <a:schemeClr val="tx1"/>
                </a:solidFill>
              </a:rPr>
              <a:t> to the epithelium making it </a:t>
            </a:r>
            <a:r>
              <a:rPr lang="en-GB" sz="1600" b="1">
                <a:solidFill>
                  <a:schemeClr val="tx1"/>
                </a:solidFill>
              </a:rPr>
              <a:t>more difficult to clear</a:t>
            </a:r>
            <a:r>
              <a:rPr lang="en-GB" sz="1600" baseline="30000">
                <a:solidFill>
                  <a:schemeClr val="tx1"/>
                </a:solidFill>
              </a:rPr>
              <a:t>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>
                <a:solidFill>
                  <a:schemeClr val="tx1"/>
                </a:solidFill>
              </a:rPr>
              <a:t>MUC5AC is a </a:t>
            </a:r>
            <a:r>
              <a:rPr lang="en-GB" sz="1600" b="1">
                <a:solidFill>
                  <a:schemeClr val="tx1"/>
                </a:solidFill>
              </a:rPr>
              <a:t>highly branched mucin </a:t>
            </a:r>
            <a:r>
              <a:rPr lang="en-GB" sz="1600">
                <a:solidFill>
                  <a:schemeClr val="tx1"/>
                </a:solidFill>
              </a:rPr>
              <a:t>that contains many </a:t>
            </a:r>
            <a:r>
              <a:rPr lang="en-GB" sz="1600" b="1">
                <a:solidFill>
                  <a:schemeClr val="tx1"/>
                </a:solidFill>
              </a:rPr>
              <a:t>cysteine domains</a:t>
            </a:r>
            <a:r>
              <a:rPr lang="en-GB" sz="1600" baseline="30000">
                <a:solidFill>
                  <a:schemeClr val="tx1"/>
                </a:solidFill>
              </a:rPr>
              <a:t>3,4</a:t>
            </a:r>
            <a:endParaRPr lang="en-GB" sz="1600">
              <a:solidFill>
                <a:schemeClr val="tx1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600">
                <a:solidFill>
                  <a:schemeClr val="tx1"/>
                </a:solidFill>
              </a:rPr>
              <a:t>This makes the mucin highly susceptible to </a:t>
            </a:r>
            <a:r>
              <a:rPr lang="en-GB" sz="1600" b="1">
                <a:solidFill>
                  <a:schemeClr val="tx1"/>
                </a:solidFill>
              </a:rPr>
              <a:t>crosslinking</a:t>
            </a:r>
            <a:r>
              <a:rPr lang="en-GB" sz="1600" baseline="30000">
                <a:solidFill>
                  <a:schemeClr val="tx1"/>
                </a:solidFill>
              </a:rPr>
              <a:t>3,4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600">
                <a:solidFill>
                  <a:schemeClr val="tx1"/>
                </a:solidFill>
              </a:rPr>
              <a:t>Resulting in a more </a:t>
            </a:r>
            <a:r>
              <a:rPr lang="en-GB" sz="1600" b="1">
                <a:solidFill>
                  <a:schemeClr val="tx1"/>
                </a:solidFill>
              </a:rPr>
              <a:t>‘sticky’ gel</a:t>
            </a:r>
            <a:r>
              <a:rPr lang="en-GB" sz="1600" baseline="30000">
                <a:solidFill>
                  <a:schemeClr val="tx1"/>
                </a:solidFill>
              </a:rPr>
              <a:t>3,4</a:t>
            </a:r>
            <a:endParaRPr lang="en-GB" sz="16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86267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A419DE-7D58-6B54-97A2-A5E07A353C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FBF8FBD-5D08-B836-7AF4-38548FB08A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Ins="0"/>
          <a:lstStyle/>
          <a:p>
            <a:r>
              <a:rPr lang="en-GB"/>
              <a:t>The composition of the epithelium differs with more goblet cells and </a:t>
            </a:r>
            <a:r>
              <a:rPr lang="en-GB" noProof="0"/>
              <a:t>MUC5AC in asthma</a:t>
            </a:r>
            <a:r>
              <a:rPr lang="en-GB" baseline="30000" noProof="0"/>
              <a:t>1,2</a:t>
            </a:r>
            <a:r>
              <a:rPr lang="en-GB" noProof="0"/>
              <a:t> </a:t>
            </a:r>
            <a:endParaRPr lang="en-GB" baseline="30000" noProof="0">
              <a:ea typeface="Cambria"/>
            </a:endParaRPr>
          </a:p>
        </p:txBody>
      </p:sp>
      <p:sp>
        <p:nvSpPr>
          <p:cNvPr id="8" name="Footer Placeholder 8">
            <a:extLst>
              <a:ext uri="{FF2B5EF4-FFF2-40B4-BE49-F238E27FC236}">
                <a16:creationId xmlns:a16="http://schemas.microsoft.com/office/drawing/2014/main" id="{9EF5A257-D742-4355-8971-2E16AC9425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z="800" dirty="0"/>
              <a:t>Figure is adapted from </a:t>
            </a:r>
            <a:r>
              <a:rPr lang="en-GB" sz="800" dirty="0" err="1"/>
              <a:t>Heijink</a:t>
            </a:r>
            <a:r>
              <a:rPr lang="en-GB" sz="800" dirty="0"/>
              <a:t> IH, et al. </a:t>
            </a:r>
            <a:r>
              <a:rPr lang="en-GB" sz="800" baseline="30000" noProof="0" dirty="0" err="1"/>
              <a:t>a</a:t>
            </a:r>
            <a:r>
              <a:rPr lang="en-GB" sz="800" noProof="0" dirty="0" err="1"/>
              <a:t>Dots</a:t>
            </a:r>
            <a:r>
              <a:rPr lang="en-GB" sz="800" noProof="0" dirty="0"/>
              <a:t> on figure represent outliers.</a:t>
            </a:r>
            <a:br>
              <a:rPr lang="en-GB" sz="800" noProof="0" dirty="0"/>
            </a:br>
            <a:r>
              <a:rPr lang="en-GB" sz="800" noProof="0" dirty="0"/>
              <a:t>1. </a:t>
            </a:r>
            <a:r>
              <a:rPr lang="en-GB" sz="800" noProof="0" dirty="0" err="1"/>
              <a:t>Heijink</a:t>
            </a:r>
            <a:r>
              <a:rPr lang="en-GB" sz="800" noProof="0" dirty="0"/>
              <a:t> IH, et al. Allergy. 2020 Aug;75(8):1902-1917; 2. Jeffrey PK, Li D. </a:t>
            </a:r>
            <a:r>
              <a:rPr lang="en-GB" sz="800" noProof="0" dirty="0" err="1"/>
              <a:t>Eur</a:t>
            </a:r>
            <a:r>
              <a:rPr lang="en-GB" sz="800" noProof="0" dirty="0"/>
              <a:t> Respir J. 1997;10:1655-1662.</a:t>
            </a:r>
            <a:br>
              <a:rPr lang="en-GB" sz="800" noProof="0" dirty="0"/>
            </a:br>
            <a:r>
              <a:rPr lang="en-GB" sz="800" spc="0" dirty="0">
                <a:solidFill>
                  <a:srgbClr val="656665"/>
                </a:solidFill>
              </a:rPr>
              <a:t>GB-73345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656665"/>
                </a:solidFill>
                <a:effectLst/>
                <a:uLnTx/>
                <a:uFillTx/>
                <a:ea typeface="+mn-ea"/>
                <a:cs typeface="+mn-cs"/>
              </a:rPr>
              <a:t> | Date of preparation: </a:t>
            </a:r>
            <a:r>
              <a:rPr lang="en-GB" sz="800" spc="0" dirty="0">
                <a:solidFill>
                  <a:srgbClr val="656665"/>
                </a:solidFill>
              </a:rPr>
              <a:t>March 2026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656665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3F9315D-64AD-333F-826A-38F1338C80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8BAEAC-A895-4A01-AB9B-F6141799970D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9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" name="Picture 2" descr="A close-up of a microscope&#10;&#10;AI-generated content may be incorrect.">
            <a:extLst>
              <a:ext uri="{FF2B5EF4-FFF2-40B4-BE49-F238E27FC236}">
                <a16:creationId xmlns:a16="http://schemas.microsoft.com/office/drawing/2014/main" id="{B39424A6-1449-F325-86D2-7151680B97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09293" y="3949179"/>
            <a:ext cx="1906900" cy="237621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E853B51-A0B7-CC34-16B3-3B6AE26AAFE4}"/>
              </a:ext>
            </a:extLst>
          </p:cNvPr>
          <p:cNvSpPr txBox="1"/>
          <p:nvPr/>
        </p:nvSpPr>
        <p:spPr>
          <a:xfrm>
            <a:off x="6357016" y="4819683"/>
            <a:ext cx="2746934" cy="14839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noProof="0"/>
              <a:t>Transitional cell in </a:t>
            </a:r>
            <a:r>
              <a:rPr lang="en-GB" b="1" noProof="0"/>
              <a:t>bronchial epithelium</a:t>
            </a:r>
            <a:r>
              <a:rPr lang="en-GB" noProof="0"/>
              <a:t>, showing features both of ciliated and mucus secretory cells</a:t>
            </a:r>
            <a:r>
              <a:rPr lang="en-GB" baseline="30000" noProof="0"/>
              <a:t>2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E90643A-B01A-B300-4CCD-60F60FAEFABE}"/>
              </a:ext>
            </a:extLst>
          </p:cNvPr>
          <p:cNvSpPr txBox="1"/>
          <p:nvPr/>
        </p:nvSpPr>
        <p:spPr>
          <a:xfrm>
            <a:off x="6733666" y="1451684"/>
            <a:ext cx="496273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>
                <a:ea typeface="Calibri"/>
                <a:cs typeface="Calibri"/>
              </a:rPr>
              <a:t>An i</a:t>
            </a:r>
            <a:r>
              <a:rPr lang="en-GB" b="1">
                <a:ea typeface="Calibri"/>
                <a:cs typeface="Calibri"/>
              </a:rPr>
              <a:t>ncrease in mucus producing cells</a:t>
            </a:r>
            <a:r>
              <a:rPr lang="en-GB">
                <a:ea typeface="Calibri"/>
                <a:cs typeface="Calibri"/>
              </a:rPr>
              <a:t> (mucus ciliated cells and goblet cells) and a </a:t>
            </a:r>
            <a:r>
              <a:rPr lang="en-GB" b="1">
                <a:ea typeface="Calibri"/>
                <a:cs typeface="Calibri"/>
              </a:rPr>
              <a:t>decrease in ciliated cells </a:t>
            </a:r>
            <a:r>
              <a:rPr lang="en-GB">
                <a:ea typeface="Calibri"/>
                <a:cs typeface="Calibri"/>
              </a:rPr>
              <a:t>is associated with dysregulation of the niche and the failure to productively clear mucus</a:t>
            </a:r>
            <a:r>
              <a:rPr lang="en-GB" baseline="30000">
                <a:ea typeface="Calibri"/>
                <a:cs typeface="Calibri"/>
              </a:rPr>
              <a:t>1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7494498-FBCB-ADE3-2FC5-D3C6797B2B9A}"/>
              </a:ext>
            </a:extLst>
          </p:cNvPr>
          <p:cNvGrpSpPr/>
          <p:nvPr/>
        </p:nvGrpSpPr>
        <p:grpSpPr>
          <a:xfrm>
            <a:off x="566326" y="1514524"/>
            <a:ext cx="5879156" cy="4455050"/>
            <a:chOff x="566326" y="1514524"/>
            <a:chExt cx="5879156" cy="4455050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8798EF28-1ADF-B5B7-FA99-773798AA1885}"/>
                </a:ext>
              </a:extLst>
            </p:cNvPr>
            <p:cNvSpPr txBox="1"/>
            <p:nvPr/>
          </p:nvSpPr>
          <p:spPr>
            <a:xfrm rot="16200000">
              <a:off x="-252834" y="3687447"/>
              <a:ext cx="1902768" cy="2644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1200" b="1"/>
                <a:t>Percentage of total </a:t>
              </a:r>
              <a:r>
                <a:rPr lang="en-GB" sz="1200" b="1" err="1"/>
                <a:t>cells</a:t>
              </a:r>
              <a:r>
                <a:rPr lang="en-GB" sz="1200" b="1" baseline="30000" err="1"/>
                <a:t>a</a:t>
              </a:r>
              <a:endParaRPr lang="en-GB" sz="1200" b="1" baseline="30000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AE664D32-A2B0-BBF3-9AB1-B096B753390C}"/>
                </a:ext>
              </a:extLst>
            </p:cNvPr>
            <p:cNvSpPr txBox="1"/>
            <p:nvPr/>
          </p:nvSpPr>
          <p:spPr>
            <a:xfrm>
              <a:off x="698549" y="2160438"/>
              <a:ext cx="264449" cy="2170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GB" sz="1000"/>
                <a:t>75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C6ECF7D-B298-8BB5-9350-B1EB56F8C9E3}"/>
                </a:ext>
              </a:extLst>
            </p:cNvPr>
            <p:cNvSpPr txBox="1"/>
            <p:nvPr/>
          </p:nvSpPr>
          <p:spPr>
            <a:xfrm>
              <a:off x="698549" y="2425909"/>
              <a:ext cx="264449" cy="2170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GB" sz="1000"/>
                <a:t>50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7D74618B-8752-43C9-A8AE-59773473141A}"/>
                </a:ext>
              </a:extLst>
            </p:cNvPr>
            <p:cNvSpPr txBox="1"/>
            <p:nvPr/>
          </p:nvSpPr>
          <p:spPr>
            <a:xfrm>
              <a:off x="698549" y="2819199"/>
              <a:ext cx="264449" cy="2170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GB" sz="1000"/>
                <a:t>25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93261612-5BF0-7C49-1C41-8C94D419F3F6}"/>
                </a:ext>
              </a:extLst>
            </p:cNvPr>
            <p:cNvSpPr txBox="1"/>
            <p:nvPr/>
          </p:nvSpPr>
          <p:spPr>
            <a:xfrm>
              <a:off x="698549" y="5129780"/>
              <a:ext cx="264449" cy="2170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GB" sz="1000"/>
                <a:t>0</a:t>
              </a:r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416DFCE4-FE30-362A-4FFC-6E10EA020E1D}"/>
                </a:ext>
              </a:extLst>
            </p:cNvPr>
            <p:cNvCxnSpPr>
              <a:cxnSpLocks/>
            </p:cNvCxnSpPr>
            <p:nvPr/>
          </p:nvCxnSpPr>
          <p:spPr>
            <a:xfrm>
              <a:off x="3175628" y="1999450"/>
              <a:ext cx="0" cy="756000"/>
            </a:xfrm>
            <a:prstGeom prst="straightConnector1">
              <a:avLst/>
            </a:prstGeom>
            <a:ln w="412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F2EF91A7-A930-9FD7-BFAC-06DDD9A1F07A}"/>
                </a:ext>
              </a:extLst>
            </p:cNvPr>
            <p:cNvSpPr txBox="1"/>
            <p:nvPr/>
          </p:nvSpPr>
          <p:spPr>
            <a:xfrm>
              <a:off x="2535794" y="5705127"/>
              <a:ext cx="1902768" cy="2644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1200" b="1"/>
                <a:t>Cell types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2ED4AA2-CA44-6269-A0D6-83158C90F4AE}"/>
                </a:ext>
              </a:extLst>
            </p:cNvPr>
            <p:cNvSpPr txBox="1"/>
            <p:nvPr/>
          </p:nvSpPr>
          <p:spPr>
            <a:xfrm>
              <a:off x="1024046" y="5301293"/>
              <a:ext cx="504000" cy="2644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lvl="1" algn="ctr">
                <a:lnSpc>
                  <a:spcPct val="90000"/>
                </a:lnSpc>
              </a:pPr>
              <a:r>
                <a:rPr lang="en-US" sz="900"/>
                <a:t>Ciliated cells</a:t>
              </a:r>
              <a:endParaRPr lang="en-GB" sz="900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B508E5F3-A6D5-7537-F0B0-284BB9B7E7A5}"/>
                </a:ext>
              </a:extLst>
            </p:cNvPr>
            <p:cNvSpPr txBox="1"/>
            <p:nvPr/>
          </p:nvSpPr>
          <p:spPr>
            <a:xfrm>
              <a:off x="1527962" y="5301293"/>
              <a:ext cx="504000" cy="2644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lvl="1" algn="ctr">
                <a:lnSpc>
                  <a:spcPct val="90000"/>
                </a:lnSpc>
              </a:pPr>
              <a:r>
                <a:rPr lang="en-US" sz="900"/>
                <a:t>Basal </a:t>
              </a:r>
              <a:br>
                <a:rPr lang="en-US" sz="900"/>
              </a:br>
              <a:r>
                <a:rPr lang="en-US" sz="900"/>
                <a:t>cells</a:t>
              </a:r>
              <a:endParaRPr lang="en-GB" sz="900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A6940907-BCAE-025B-46CF-EFFCC23A24C7}"/>
                </a:ext>
              </a:extLst>
            </p:cNvPr>
            <p:cNvSpPr txBox="1"/>
            <p:nvPr/>
          </p:nvSpPr>
          <p:spPr>
            <a:xfrm>
              <a:off x="1960438" y="5301293"/>
              <a:ext cx="629324" cy="287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lvl="1" algn="ctr">
                <a:lnSpc>
                  <a:spcPct val="90000"/>
                </a:lnSpc>
              </a:pPr>
              <a:r>
                <a:rPr lang="en-US" sz="900" err="1"/>
                <a:t>Suprabasal</a:t>
              </a:r>
              <a:r>
                <a:rPr lang="en-US" sz="900"/>
                <a:t> cells</a:t>
              </a:r>
              <a:endParaRPr lang="en-GB" sz="900"/>
            </a:p>
            <a:p>
              <a:pPr marL="0" lvl="1" algn="ctr">
                <a:lnSpc>
                  <a:spcPct val="90000"/>
                </a:lnSpc>
              </a:pPr>
              <a:endParaRPr lang="en-GB" sz="900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5E83D81A-3F05-28A2-A24E-9E450D5F0527}"/>
                </a:ext>
              </a:extLst>
            </p:cNvPr>
            <p:cNvSpPr txBox="1"/>
            <p:nvPr/>
          </p:nvSpPr>
          <p:spPr>
            <a:xfrm>
              <a:off x="2535794" y="5301293"/>
              <a:ext cx="504000" cy="2644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lvl="1" algn="ctr">
                <a:lnSpc>
                  <a:spcPct val="90000"/>
                </a:lnSpc>
              </a:pPr>
              <a:r>
                <a:rPr lang="en-US" sz="900"/>
                <a:t>Mucus ciliated cells</a:t>
              </a:r>
              <a:endParaRPr lang="en-GB" sz="90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8697A2C2-7446-061F-8267-54F23ABE6DAC}"/>
                </a:ext>
              </a:extLst>
            </p:cNvPr>
            <p:cNvSpPr txBox="1"/>
            <p:nvPr/>
          </p:nvSpPr>
          <p:spPr>
            <a:xfrm>
              <a:off x="3039710" y="5301293"/>
              <a:ext cx="504000" cy="2644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lvl="1" algn="ctr">
                <a:lnSpc>
                  <a:spcPct val="90000"/>
                </a:lnSpc>
              </a:pPr>
              <a:r>
                <a:rPr lang="en-US" sz="900"/>
                <a:t>Goblet </a:t>
              </a:r>
              <a:br>
                <a:rPr lang="en-US" sz="900"/>
              </a:br>
              <a:r>
                <a:rPr lang="en-US" sz="900"/>
                <a:t>cells</a:t>
              </a:r>
              <a:endParaRPr lang="en-GB" sz="90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3710AA74-5125-F69A-9B39-2E54506368F4}"/>
                </a:ext>
              </a:extLst>
            </p:cNvPr>
            <p:cNvSpPr txBox="1"/>
            <p:nvPr/>
          </p:nvSpPr>
          <p:spPr>
            <a:xfrm>
              <a:off x="3543626" y="5301293"/>
              <a:ext cx="504000" cy="2644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lvl="1" algn="ctr">
                <a:lnSpc>
                  <a:spcPct val="90000"/>
                </a:lnSpc>
              </a:pPr>
              <a:r>
                <a:rPr lang="en-US" sz="900"/>
                <a:t>Dendritic cells</a:t>
              </a:r>
              <a:endParaRPr lang="en-GB" sz="900"/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693776A0-0D30-DD3B-0811-43BFC3E03674}"/>
                </a:ext>
              </a:extLst>
            </p:cNvPr>
            <p:cNvSpPr txBox="1"/>
            <p:nvPr/>
          </p:nvSpPr>
          <p:spPr>
            <a:xfrm>
              <a:off x="4047542" y="5301293"/>
              <a:ext cx="504000" cy="2644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lvl="1" algn="ctr">
                <a:lnSpc>
                  <a:spcPct val="90000"/>
                </a:lnSpc>
              </a:pPr>
              <a:r>
                <a:rPr lang="en-US" sz="900"/>
                <a:t>Plasma cells/</a:t>
              </a:r>
              <a:br>
                <a:rPr lang="en-US" sz="900"/>
              </a:br>
              <a:r>
                <a:rPr lang="en-US" sz="900"/>
                <a:t>B cells</a:t>
              </a:r>
              <a:endParaRPr lang="en-GB" sz="900"/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70B0A84C-8EC7-B81F-46A7-6F5F772743C4}"/>
                </a:ext>
              </a:extLst>
            </p:cNvPr>
            <p:cNvSpPr txBox="1"/>
            <p:nvPr/>
          </p:nvSpPr>
          <p:spPr>
            <a:xfrm>
              <a:off x="4551458" y="5301293"/>
              <a:ext cx="504000" cy="2644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lvl="1" algn="ctr">
                <a:lnSpc>
                  <a:spcPct val="90000"/>
                </a:lnSpc>
              </a:pPr>
              <a:r>
                <a:rPr lang="en-US" sz="900"/>
                <a:t>T cells</a:t>
              </a:r>
              <a:endParaRPr lang="en-GB" sz="900"/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5EABECAF-2B9D-6FD2-09E9-F64D29943CAE}"/>
                </a:ext>
              </a:extLst>
            </p:cNvPr>
            <p:cNvSpPr txBox="1"/>
            <p:nvPr/>
          </p:nvSpPr>
          <p:spPr>
            <a:xfrm>
              <a:off x="5055374" y="5301293"/>
              <a:ext cx="504000" cy="2644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lvl="1" algn="ctr">
                <a:lnSpc>
                  <a:spcPct val="90000"/>
                </a:lnSpc>
              </a:pPr>
              <a:r>
                <a:rPr lang="en-US" sz="900"/>
                <a:t>Smooth muscle</a:t>
              </a:r>
              <a:endParaRPr lang="en-GB" sz="900"/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AD582937-FBB2-5ED6-C0DB-EE58B0AE8A22}"/>
                </a:ext>
              </a:extLst>
            </p:cNvPr>
            <p:cNvSpPr txBox="1"/>
            <p:nvPr/>
          </p:nvSpPr>
          <p:spPr>
            <a:xfrm>
              <a:off x="5559288" y="5301293"/>
              <a:ext cx="504000" cy="2644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lvl="1" algn="ctr">
                <a:lnSpc>
                  <a:spcPct val="90000"/>
                </a:lnSpc>
              </a:pPr>
              <a:r>
                <a:rPr lang="en-US" sz="900"/>
                <a:t>Mast </a:t>
              </a:r>
              <a:br>
                <a:rPr lang="en-US" sz="900"/>
              </a:br>
              <a:r>
                <a:rPr lang="en-US" sz="900"/>
                <a:t>cells</a:t>
              </a:r>
              <a:endParaRPr lang="en-GB" sz="900"/>
            </a:p>
          </p:txBody>
        </p: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E8F37D52-BB89-B0E3-ADB1-D566A76E7DDF}"/>
                </a:ext>
              </a:extLst>
            </p:cNvPr>
            <p:cNvCxnSpPr>
              <a:cxnSpLocks/>
            </p:cNvCxnSpPr>
            <p:nvPr/>
          </p:nvCxnSpPr>
          <p:spPr>
            <a:xfrm>
              <a:off x="1047391" y="2273097"/>
              <a:ext cx="0" cy="2944800"/>
            </a:xfrm>
            <a:prstGeom prst="line">
              <a:avLst/>
            </a:prstGeom>
            <a:ln w="12700" cap="sq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15CC2A88-8E24-E6E7-5CD1-6E734D265D0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5749" y="5217897"/>
              <a:ext cx="5066526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D694232E-7CCA-1624-6193-6F45C04D229A}"/>
                </a:ext>
              </a:extLst>
            </p:cNvPr>
            <p:cNvGrpSpPr/>
            <p:nvPr/>
          </p:nvGrpSpPr>
          <p:grpSpPr>
            <a:xfrm>
              <a:off x="1105586" y="2759786"/>
              <a:ext cx="144000" cy="314864"/>
              <a:chOff x="1144034" y="2497347"/>
              <a:chExt cx="90000" cy="314864"/>
            </a:xfrm>
          </p:grpSpPr>
          <p:cxnSp>
            <p:nvCxnSpPr>
              <p:cNvPr id="140" name="Straight Connector 139">
                <a:extLst>
                  <a:ext uri="{FF2B5EF4-FFF2-40B4-BE49-F238E27FC236}">
                    <a16:creationId xmlns:a16="http://schemas.microsoft.com/office/drawing/2014/main" id="{E41D5EE1-4E6E-2B6F-0AC4-E862366A994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89034" y="2497347"/>
                <a:ext cx="0" cy="314864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1" name="Rectangle 140">
                <a:extLst>
                  <a:ext uri="{FF2B5EF4-FFF2-40B4-BE49-F238E27FC236}">
                    <a16:creationId xmlns:a16="http://schemas.microsoft.com/office/drawing/2014/main" id="{43C78AFC-BDE1-360A-E076-FDD0953802B2}"/>
                  </a:ext>
                </a:extLst>
              </p:cNvPr>
              <p:cNvSpPr/>
              <p:nvPr/>
            </p:nvSpPr>
            <p:spPr>
              <a:xfrm>
                <a:off x="1144722" y="2633374"/>
                <a:ext cx="88624" cy="154800"/>
              </a:xfrm>
              <a:prstGeom prst="rect">
                <a:avLst/>
              </a:prstGeom>
              <a:solidFill>
                <a:schemeClr val="bg2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142" name="Straight Connector 141">
                <a:extLst>
                  <a:ext uri="{FF2B5EF4-FFF2-40B4-BE49-F238E27FC236}">
                    <a16:creationId xmlns:a16="http://schemas.microsoft.com/office/drawing/2014/main" id="{7542C70E-2891-5006-8AEA-39E19ECB1B7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144034" y="2693521"/>
                <a:ext cx="90000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CE504AB2-F48F-6E90-A11C-AC0DD3FB8D4D}"/>
                </a:ext>
              </a:extLst>
            </p:cNvPr>
            <p:cNvGrpSpPr/>
            <p:nvPr/>
          </p:nvGrpSpPr>
          <p:grpSpPr>
            <a:xfrm>
              <a:off x="1608844" y="2759786"/>
              <a:ext cx="144000" cy="486000"/>
              <a:chOff x="1144034" y="2497347"/>
              <a:chExt cx="90000" cy="486000"/>
            </a:xfrm>
          </p:grpSpPr>
          <p:cxnSp>
            <p:nvCxnSpPr>
              <p:cNvPr id="137" name="Straight Connector 136">
                <a:extLst>
                  <a:ext uri="{FF2B5EF4-FFF2-40B4-BE49-F238E27FC236}">
                    <a16:creationId xmlns:a16="http://schemas.microsoft.com/office/drawing/2014/main" id="{2D624FB3-3AC3-11D0-EAD5-92D0FD9EAC8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89034" y="2497347"/>
                <a:ext cx="0" cy="48600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8" name="Rectangle 137">
                <a:extLst>
                  <a:ext uri="{FF2B5EF4-FFF2-40B4-BE49-F238E27FC236}">
                    <a16:creationId xmlns:a16="http://schemas.microsoft.com/office/drawing/2014/main" id="{4E964239-38AF-6929-6FA0-2AC446A78ED4}"/>
                  </a:ext>
                </a:extLst>
              </p:cNvPr>
              <p:cNvSpPr/>
              <p:nvPr/>
            </p:nvSpPr>
            <p:spPr>
              <a:xfrm>
                <a:off x="1144722" y="2633374"/>
                <a:ext cx="88624" cy="306000"/>
              </a:xfrm>
              <a:prstGeom prst="rect">
                <a:avLst/>
              </a:prstGeom>
              <a:solidFill>
                <a:schemeClr val="bg2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139" name="Straight Connector 138">
                <a:extLst>
                  <a:ext uri="{FF2B5EF4-FFF2-40B4-BE49-F238E27FC236}">
                    <a16:creationId xmlns:a16="http://schemas.microsoft.com/office/drawing/2014/main" id="{79F90A00-B322-72C9-4116-92B2325A148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144034" y="2715086"/>
                <a:ext cx="90000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40DC1341-5166-8C0C-10E5-8A535B724CCF}"/>
                </a:ext>
              </a:extLst>
            </p:cNvPr>
            <p:cNvGrpSpPr/>
            <p:nvPr/>
          </p:nvGrpSpPr>
          <p:grpSpPr>
            <a:xfrm>
              <a:off x="2615360" y="4761837"/>
              <a:ext cx="144000" cy="144000"/>
              <a:chOff x="1144034" y="2834371"/>
              <a:chExt cx="90000" cy="144000"/>
            </a:xfrm>
          </p:grpSpPr>
          <p:cxnSp>
            <p:nvCxnSpPr>
              <p:cNvPr id="134" name="Straight Connector 133">
                <a:extLst>
                  <a:ext uri="{FF2B5EF4-FFF2-40B4-BE49-F238E27FC236}">
                    <a16:creationId xmlns:a16="http://schemas.microsoft.com/office/drawing/2014/main" id="{39CD88E1-0909-1C45-D07E-0FEFC50E361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89034" y="2906371"/>
                <a:ext cx="0" cy="7200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5" name="Rectangle 134">
                <a:extLst>
                  <a:ext uri="{FF2B5EF4-FFF2-40B4-BE49-F238E27FC236}">
                    <a16:creationId xmlns:a16="http://schemas.microsoft.com/office/drawing/2014/main" id="{12B5D57D-C573-052E-A94C-6636CEE1E672}"/>
                  </a:ext>
                </a:extLst>
              </p:cNvPr>
              <p:cNvSpPr/>
              <p:nvPr/>
            </p:nvSpPr>
            <p:spPr>
              <a:xfrm>
                <a:off x="1144722" y="2834371"/>
                <a:ext cx="88624" cy="118800"/>
              </a:xfrm>
              <a:prstGeom prst="rect">
                <a:avLst/>
              </a:prstGeom>
              <a:solidFill>
                <a:schemeClr val="bg2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136" name="Straight Connector 135">
                <a:extLst>
                  <a:ext uri="{FF2B5EF4-FFF2-40B4-BE49-F238E27FC236}">
                    <a16:creationId xmlns:a16="http://schemas.microsoft.com/office/drawing/2014/main" id="{95585114-9100-418A-6A9F-2C5D285C21D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144034" y="2865620"/>
                <a:ext cx="90000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0E80AA98-CDB7-A5F0-99F9-D3F52B09E4DF}"/>
                </a:ext>
              </a:extLst>
            </p:cNvPr>
            <p:cNvGrpSpPr/>
            <p:nvPr/>
          </p:nvGrpSpPr>
          <p:grpSpPr>
            <a:xfrm>
              <a:off x="3118618" y="4788569"/>
              <a:ext cx="144000" cy="432000"/>
              <a:chOff x="1144034" y="2747935"/>
              <a:chExt cx="90000" cy="432000"/>
            </a:xfrm>
          </p:grpSpPr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80FEB881-F5CE-8C25-A5D2-EC60DE6717D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89034" y="2747935"/>
                <a:ext cx="0" cy="43200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2CA06F22-FB92-3E25-6E86-E42A33178948}"/>
                  </a:ext>
                </a:extLst>
              </p:cNvPr>
              <p:cNvSpPr/>
              <p:nvPr/>
            </p:nvSpPr>
            <p:spPr>
              <a:xfrm>
                <a:off x="1144722" y="2834371"/>
                <a:ext cx="88624" cy="252000"/>
              </a:xfrm>
              <a:prstGeom prst="rect">
                <a:avLst/>
              </a:prstGeom>
              <a:solidFill>
                <a:schemeClr val="bg2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133" name="Straight Connector 132">
                <a:extLst>
                  <a:ext uri="{FF2B5EF4-FFF2-40B4-BE49-F238E27FC236}">
                    <a16:creationId xmlns:a16="http://schemas.microsoft.com/office/drawing/2014/main" id="{CABCABD2-E563-5A4F-12B1-A171769A6C4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144034" y="2915417"/>
                <a:ext cx="90000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0B85D3CE-B1BF-7843-4621-861302C111E5}"/>
                </a:ext>
              </a:extLst>
            </p:cNvPr>
            <p:cNvGrpSpPr/>
            <p:nvPr/>
          </p:nvGrpSpPr>
          <p:grpSpPr>
            <a:xfrm>
              <a:off x="3621876" y="4178063"/>
              <a:ext cx="144000" cy="1049666"/>
              <a:chOff x="1144034" y="2353429"/>
              <a:chExt cx="90000" cy="1049666"/>
            </a:xfrm>
          </p:grpSpPr>
          <p:cxnSp>
            <p:nvCxnSpPr>
              <p:cNvPr id="128" name="Straight Connector 127">
                <a:extLst>
                  <a:ext uri="{FF2B5EF4-FFF2-40B4-BE49-F238E27FC236}">
                    <a16:creationId xmlns:a16="http://schemas.microsoft.com/office/drawing/2014/main" id="{F09A64A6-5847-CB50-4D84-BFEB5E070B8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89034" y="2353429"/>
                <a:ext cx="0" cy="1049666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5E54798D-0428-5688-CAC4-C49F9FFAD466}"/>
                  </a:ext>
                </a:extLst>
              </p:cNvPr>
              <p:cNvSpPr/>
              <p:nvPr/>
            </p:nvSpPr>
            <p:spPr>
              <a:xfrm>
                <a:off x="1144722" y="2838898"/>
                <a:ext cx="88624" cy="378000"/>
              </a:xfrm>
              <a:prstGeom prst="rect">
                <a:avLst/>
              </a:prstGeom>
              <a:solidFill>
                <a:schemeClr val="bg2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130" name="Straight Connector 129">
                <a:extLst>
                  <a:ext uri="{FF2B5EF4-FFF2-40B4-BE49-F238E27FC236}">
                    <a16:creationId xmlns:a16="http://schemas.microsoft.com/office/drawing/2014/main" id="{721F8410-97BC-50F8-3A5C-7B1B3003500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144034" y="3101014"/>
                <a:ext cx="90000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95D52F19-E134-57B3-F6BA-40943359EE8B}"/>
                </a:ext>
              </a:extLst>
            </p:cNvPr>
            <p:cNvGrpSpPr/>
            <p:nvPr/>
          </p:nvGrpSpPr>
          <p:grpSpPr>
            <a:xfrm>
              <a:off x="4125134" y="4601267"/>
              <a:ext cx="144000" cy="525738"/>
              <a:chOff x="1144034" y="2776633"/>
              <a:chExt cx="90000" cy="525738"/>
            </a:xfrm>
          </p:grpSpPr>
          <p:cxnSp>
            <p:nvCxnSpPr>
              <p:cNvPr id="125" name="Straight Connector 124">
                <a:extLst>
                  <a:ext uri="{FF2B5EF4-FFF2-40B4-BE49-F238E27FC236}">
                    <a16:creationId xmlns:a16="http://schemas.microsoft.com/office/drawing/2014/main" id="{7C7739B1-6AF9-6684-E980-780D3809360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89034" y="2776633"/>
                <a:ext cx="0" cy="525738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6" name="Rectangle 125">
                <a:extLst>
                  <a:ext uri="{FF2B5EF4-FFF2-40B4-BE49-F238E27FC236}">
                    <a16:creationId xmlns:a16="http://schemas.microsoft.com/office/drawing/2014/main" id="{2B1DDDF7-A918-3E85-6B6A-A3D343FB417E}"/>
                  </a:ext>
                </a:extLst>
              </p:cNvPr>
              <p:cNvSpPr/>
              <p:nvPr/>
            </p:nvSpPr>
            <p:spPr>
              <a:xfrm>
                <a:off x="1144722" y="2983759"/>
                <a:ext cx="88624" cy="288000"/>
              </a:xfrm>
              <a:prstGeom prst="rect">
                <a:avLst/>
              </a:prstGeom>
              <a:solidFill>
                <a:schemeClr val="bg2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127" name="Straight Connector 126">
                <a:extLst>
                  <a:ext uri="{FF2B5EF4-FFF2-40B4-BE49-F238E27FC236}">
                    <a16:creationId xmlns:a16="http://schemas.microsoft.com/office/drawing/2014/main" id="{281896B4-E86A-C4B2-25A7-BA4349B7961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144034" y="3219886"/>
                <a:ext cx="90000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5623679E-57D2-D511-B426-3A64B5CE3813}"/>
                </a:ext>
              </a:extLst>
            </p:cNvPr>
            <p:cNvGrpSpPr/>
            <p:nvPr/>
          </p:nvGrpSpPr>
          <p:grpSpPr>
            <a:xfrm>
              <a:off x="4628392" y="4886392"/>
              <a:ext cx="144000" cy="332193"/>
              <a:chOff x="1144034" y="2940307"/>
              <a:chExt cx="90000" cy="332193"/>
            </a:xfrm>
          </p:grpSpPr>
          <p:cxnSp>
            <p:nvCxnSpPr>
              <p:cNvPr id="122" name="Straight Connector 121">
                <a:extLst>
                  <a:ext uri="{FF2B5EF4-FFF2-40B4-BE49-F238E27FC236}">
                    <a16:creationId xmlns:a16="http://schemas.microsoft.com/office/drawing/2014/main" id="{89AF6D85-FE6E-1399-2F28-00A073E51D0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89034" y="2940307"/>
                <a:ext cx="0" cy="332193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D9785309-E2A0-C2C3-E71F-6F6C9ADF762C}"/>
                  </a:ext>
                </a:extLst>
              </p:cNvPr>
              <p:cNvSpPr/>
              <p:nvPr/>
            </p:nvSpPr>
            <p:spPr>
              <a:xfrm>
                <a:off x="1144722" y="2983759"/>
                <a:ext cx="88624" cy="262800"/>
              </a:xfrm>
              <a:prstGeom prst="rect">
                <a:avLst/>
              </a:prstGeom>
              <a:solidFill>
                <a:schemeClr val="bg2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124" name="Straight Connector 123">
                <a:extLst>
                  <a:ext uri="{FF2B5EF4-FFF2-40B4-BE49-F238E27FC236}">
                    <a16:creationId xmlns:a16="http://schemas.microsoft.com/office/drawing/2014/main" id="{DB27F8BC-1005-4A29-58C4-D99F02EBDC6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144034" y="3137590"/>
                <a:ext cx="90000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018485BE-C5FC-7061-DCEC-96B98178CE17}"/>
                </a:ext>
              </a:extLst>
            </p:cNvPr>
            <p:cNvGrpSpPr/>
            <p:nvPr/>
          </p:nvGrpSpPr>
          <p:grpSpPr>
            <a:xfrm>
              <a:off x="5131650" y="5068964"/>
              <a:ext cx="144000" cy="144000"/>
              <a:chOff x="1144034" y="3122879"/>
              <a:chExt cx="90000" cy="144000"/>
            </a:xfrm>
          </p:grpSpPr>
          <p:cxnSp>
            <p:nvCxnSpPr>
              <p:cNvPr id="119" name="Straight Connector 118">
                <a:extLst>
                  <a:ext uri="{FF2B5EF4-FFF2-40B4-BE49-F238E27FC236}">
                    <a16:creationId xmlns:a16="http://schemas.microsoft.com/office/drawing/2014/main" id="{B5364F74-AA3E-C2AC-5A94-BD418205C6B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89034" y="3122879"/>
                <a:ext cx="0" cy="14400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0" name="Rectangle 119">
                <a:extLst>
                  <a:ext uri="{FF2B5EF4-FFF2-40B4-BE49-F238E27FC236}">
                    <a16:creationId xmlns:a16="http://schemas.microsoft.com/office/drawing/2014/main" id="{41FF0937-3ABD-3A60-BFCA-53EB18FE2D8F}"/>
                  </a:ext>
                </a:extLst>
              </p:cNvPr>
              <p:cNvSpPr/>
              <p:nvPr/>
            </p:nvSpPr>
            <p:spPr>
              <a:xfrm>
                <a:off x="1144722" y="3136037"/>
                <a:ext cx="88622" cy="72000"/>
              </a:xfrm>
              <a:prstGeom prst="rect">
                <a:avLst/>
              </a:prstGeom>
              <a:solidFill>
                <a:schemeClr val="bg2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121" name="Straight Connector 120">
                <a:extLst>
                  <a:ext uri="{FF2B5EF4-FFF2-40B4-BE49-F238E27FC236}">
                    <a16:creationId xmlns:a16="http://schemas.microsoft.com/office/drawing/2014/main" id="{1D82C94A-8A12-CACA-E215-7FF388517D2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144034" y="3183310"/>
                <a:ext cx="90000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321BC24A-9D2D-62F6-6CB3-23753938D337}"/>
                </a:ext>
              </a:extLst>
            </p:cNvPr>
            <p:cNvGrpSpPr/>
            <p:nvPr/>
          </p:nvGrpSpPr>
          <p:grpSpPr>
            <a:xfrm>
              <a:off x="5634909" y="5114684"/>
              <a:ext cx="144000" cy="108000"/>
              <a:chOff x="1144034" y="3086303"/>
              <a:chExt cx="90000" cy="108000"/>
            </a:xfrm>
          </p:grpSpPr>
          <p:cxnSp>
            <p:nvCxnSpPr>
              <p:cNvPr id="116" name="Straight Connector 115">
                <a:extLst>
                  <a:ext uri="{FF2B5EF4-FFF2-40B4-BE49-F238E27FC236}">
                    <a16:creationId xmlns:a16="http://schemas.microsoft.com/office/drawing/2014/main" id="{522177B6-1D64-961A-7D9B-9A18311D898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89034" y="3086303"/>
                <a:ext cx="0" cy="10800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7" name="Rectangle 116">
                <a:extLst>
                  <a:ext uri="{FF2B5EF4-FFF2-40B4-BE49-F238E27FC236}">
                    <a16:creationId xmlns:a16="http://schemas.microsoft.com/office/drawing/2014/main" id="{A5E67431-D4C2-90E3-5C1F-B3C51E1CC1F0}"/>
                  </a:ext>
                </a:extLst>
              </p:cNvPr>
              <p:cNvSpPr/>
              <p:nvPr/>
            </p:nvSpPr>
            <p:spPr>
              <a:xfrm>
                <a:off x="1144722" y="3136037"/>
                <a:ext cx="88622" cy="54000"/>
              </a:xfrm>
              <a:prstGeom prst="rect">
                <a:avLst/>
              </a:prstGeom>
              <a:solidFill>
                <a:schemeClr val="bg2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118" name="Straight Connector 117">
                <a:extLst>
                  <a:ext uri="{FF2B5EF4-FFF2-40B4-BE49-F238E27FC236}">
                    <a16:creationId xmlns:a16="http://schemas.microsoft.com/office/drawing/2014/main" id="{1B553B00-9E3B-4CBC-0ED5-BEF3A5E8515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144034" y="3151306"/>
                <a:ext cx="90000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9E79CBE3-0C68-B012-0046-C13FA84D2F23}"/>
                </a:ext>
              </a:extLst>
            </p:cNvPr>
            <p:cNvGrpSpPr/>
            <p:nvPr/>
          </p:nvGrpSpPr>
          <p:grpSpPr>
            <a:xfrm>
              <a:off x="5311650" y="4797713"/>
              <a:ext cx="144000" cy="414000"/>
              <a:chOff x="1144034" y="2819624"/>
              <a:chExt cx="90000" cy="414000"/>
            </a:xfrm>
          </p:grpSpPr>
          <p:cxnSp>
            <p:nvCxnSpPr>
              <p:cNvPr id="113" name="Straight Connector 112">
                <a:extLst>
                  <a:ext uri="{FF2B5EF4-FFF2-40B4-BE49-F238E27FC236}">
                    <a16:creationId xmlns:a16="http://schemas.microsoft.com/office/drawing/2014/main" id="{9187B962-1823-8717-DF52-27D78FDD7CA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89034" y="2819624"/>
                <a:ext cx="0" cy="41400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4" name="Rectangle 113">
                <a:extLst>
                  <a:ext uri="{FF2B5EF4-FFF2-40B4-BE49-F238E27FC236}">
                    <a16:creationId xmlns:a16="http://schemas.microsoft.com/office/drawing/2014/main" id="{67FD04F9-A6F7-77C8-3525-70950D9C4440}"/>
                  </a:ext>
                </a:extLst>
              </p:cNvPr>
              <p:cNvSpPr/>
              <p:nvPr/>
            </p:nvSpPr>
            <p:spPr>
              <a:xfrm>
                <a:off x="1144722" y="3036461"/>
                <a:ext cx="88622" cy="162000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115" name="Straight Connector 114">
                <a:extLst>
                  <a:ext uri="{FF2B5EF4-FFF2-40B4-BE49-F238E27FC236}">
                    <a16:creationId xmlns:a16="http://schemas.microsoft.com/office/drawing/2014/main" id="{B1CAFEB3-E382-C64C-9207-3A2E59DCECA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144034" y="3165022"/>
                <a:ext cx="90000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BCD89F57-1EE8-6ADF-AF8F-E5CFB76908C7}"/>
                </a:ext>
              </a:extLst>
            </p:cNvPr>
            <p:cNvGrpSpPr/>
            <p:nvPr/>
          </p:nvGrpSpPr>
          <p:grpSpPr>
            <a:xfrm>
              <a:off x="4808392" y="4399472"/>
              <a:ext cx="144000" cy="792000"/>
              <a:chOff x="1144034" y="2849180"/>
              <a:chExt cx="90000" cy="792000"/>
            </a:xfrm>
          </p:grpSpPr>
          <p:cxnSp>
            <p:nvCxnSpPr>
              <p:cNvPr id="110" name="Straight Connector 109">
                <a:extLst>
                  <a:ext uri="{FF2B5EF4-FFF2-40B4-BE49-F238E27FC236}">
                    <a16:creationId xmlns:a16="http://schemas.microsoft.com/office/drawing/2014/main" id="{8A7E3E42-5FD6-5DFF-CCB0-8DB17256A09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89034" y="2849180"/>
                <a:ext cx="0" cy="79200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1" name="Rectangle 110">
                <a:extLst>
                  <a:ext uri="{FF2B5EF4-FFF2-40B4-BE49-F238E27FC236}">
                    <a16:creationId xmlns:a16="http://schemas.microsoft.com/office/drawing/2014/main" id="{BAC54B4E-1C04-0A41-CC7B-F7521D422EF0}"/>
                  </a:ext>
                </a:extLst>
              </p:cNvPr>
              <p:cNvSpPr/>
              <p:nvPr/>
            </p:nvSpPr>
            <p:spPr>
              <a:xfrm>
                <a:off x="1144722" y="3050177"/>
                <a:ext cx="88622" cy="540000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112" name="Straight Connector 111">
                <a:extLst>
                  <a:ext uri="{FF2B5EF4-FFF2-40B4-BE49-F238E27FC236}">
                    <a16:creationId xmlns:a16="http://schemas.microsoft.com/office/drawing/2014/main" id="{B1B1C1C3-BA20-DEFE-B8A1-7CEB53E83E2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144034" y="3555990"/>
                <a:ext cx="90000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EB02FCEB-B8B3-4816-FAFD-DC4C109AD9F8}"/>
                </a:ext>
              </a:extLst>
            </p:cNvPr>
            <p:cNvGrpSpPr/>
            <p:nvPr/>
          </p:nvGrpSpPr>
          <p:grpSpPr>
            <a:xfrm>
              <a:off x="4305134" y="3561906"/>
              <a:ext cx="144000" cy="1656512"/>
              <a:chOff x="1144034" y="2258177"/>
              <a:chExt cx="90000" cy="1656512"/>
            </a:xfrm>
          </p:grpSpPr>
          <p:cxnSp>
            <p:nvCxnSpPr>
              <p:cNvPr id="107" name="Straight Connector 106">
                <a:extLst>
                  <a:ext uri="{FF2B5EF4-FFF2-40B4-BE49-F238E27FC236}">
                    <a16:creationId xmlns:a16="http://schemas.microsoft.com/office/drawing/2014/main" id="{CB7D564F-8250-A0D5-B0FC-AC3B24D478D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89034" y="2258177"/>
                <a:ext cx="0" cy="1656512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id="{FBBDC893-C1C7-3271-121A-283EE3881AD8}"/>
                  </a:ext>
                </a:extLst>
              </p:cNvPr>
              <p:cNvSpPr/>
              <p:nvPr/>
            </p:nvSpPr>
            <p:spPr>
              <a:xfrm>
                <a:off x="1144722" y="3050177"/>
                <a:ext cx="88622" cy="720000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109" name="Straight Connector 108">
                <a:extLst>
                  <a:ext uri="{FF2B5EF4-FFF2-40B4-BE49-F238E27FC236}">
                    <a16:creationId xmlns:a16="http://schemas.microsoft.com/office/drawing/2014/main" id="{3E50EE86-75F9-15A1-F132-1278CF6F540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144034" y="3551418"/>
                <a:ext cx="90000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7BE4965B-3E14-2507-0626-B9E7709E4D0F}"/>
                </a:ext>
              </a:extLst>
            </p:cNvPr>
            <p:cNvGrpSpPr/>
            <p:nvPr/>
          </p:nvGrpSpPr>
          <p:grpSpPr>
            <a:xfrm>
              <a:off x="3298618" y="3036211"/>
              <a:ext cx="144000" cy="1949813"/>
              <a:chOff x="1144034" y="2416613"/>
              <a:chExt cx="90000" cy="1949813"/>
            </a:xfrm>
          </p:grpSpPr>
          <p:cxnSp>
            <p:nvCxnSpPr>
              <p:cNvPr id="104" name="Straight Connector 103">
                <a:extLst>
                  <a:ext uri="{FF2B5EF4-FFF2-40B4-BE49-F238E27FC236}">
                    <a16:creationId xmlns:a16="http://schemas.microsoft.com/office/drawing/2014/main" id="{7F2B9408-C8E2-9ED2-D8E3-B21BAAE363A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89034" y="2416613"/>
                <a:ext cx="0" cy="1949813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5" name="Rectangle 104">
                <a:extLst>
                  <a:ext uri="{FF2B5EF4-FFF2-40B4-BE49-F238E27FC236}">
                    <a16:creationId xmlns:a16="http://schemas.microsoft.com/office/drawing/2014/main" id="{FB8BE989-F43C-76BD-A937-AACA658DAA47}"/>
                  </a:ext>
                </a:extLst>
              </p:cNvPr>
              <p:cNvSpPr/>
              <p:nvPr/>
            </p:nvSpPr>
            <p:spPr>
              <a:xfrm>
                <a:off x="1144722" y="3050177"/>
                <a:ext cx="88622" cy="964800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106" name="Straight Connector 105">
                <a:extLst>
                  <a:ext uri="{FF2B5EF4-FFF2-40B4-BE49-F238E27FC236}">
                    <a16:creationId xmlns:a16="http://schemas.microsoft.com/office/drawing/2014/main" id="{36C9CA14-F350-9AAA-E0CB-6F929E034A9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144034" y="3350250"/>
                <a:ext cx="90000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E51BBE8A-1FC2-2AF3-B4B9-FA3E4469EA51}"/>
                </a:ext>
              </a:extLst>
            </p:cNvPr>
            <p:cNvGrpSpPr/>
            <p:nvPr/>
          </p:nvGrpSpPr>
          <p:grpSpPr>
            <a:xfrm>
              <a:off x="2795360" y="2843454"/>
              <a:ext cx="144000" cy="2191468"/>
              <a:chOff x="1144034" y="2416613"/>
              <a:chExt cx="90000" cy="2191468"/>
            </a:xfrm>
          </p:grpSpPr>
          <p:cxnSp>
            <p:nvCxnSpPr>
              <p:cNvPr id="101" name="Straight Connector 100">
                <a:extLst>
                  <a:ext uri="{FF2B5EF4-FFF2-40B4-BE49-F238E27FC236}">
                    <a16:creationId xmlns:a16="http://schemas.microsoft.com/office/drawing/2014/main" id="{32601A47-DB94-9A5B-B7BF-586448CD7FF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89034" y="2416613"/>
                <a:ext cx="0" cy="2191468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2" name="Rectangle 101">
                <a:extLst>
                  <a:ext uri="{FF2B5EF4-FFF2-40B4-BE49-F238E27FC236}">
                    <a16:creationId xmlns:a16="http://schemas.microsoft.com/office/drawing/2014/main" id="{B651606E-5E09-EAAE-FC4B-D69C5B5869B8}"/>
                  </a:ext>
                </a:extLst>
              </p:cNvPr>
              <p:cNvSpPr/>
              <p:nvPr/>
            </p:nvSpPr>
            <p:spPr>
              <a:xfrm>
                <a:off x="1144722" y="3367978"/>
                <a:ext cx="88622" cy="1080000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103" name="Straight Connector 102">
                <a:extLst>
                  <a:ext uri="{FF2B5EF4-FFF2-40B4-BE49-F238E27FC236}">
                    <a16:creationId xmlns:a16="http://schemas.microsoft.com/office/drawing/2014/main" id="{CD5B9ECF-1DD4-27C1-00DB-8F374292B4D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144034" y="4142406"/>
                <a:ext cx="90000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D0B3F007-53EC-2D85-2468-AAFA86C33745}"/>
                </a:ext>
              </a:extLst>
            </p:cNvPr>
            <p:cNvGrpSpPr/>
            <p:nvPr/>
          </p:nvGrpSpPr>
          <p:grpSpPr>
            <a:xfrm>
              <a:off x="3801876" y="4735719"/>
              <a:ext cx="144000" cy="306000"/>
              <a:chOff x="1144034" y="3005440"/>
              <a:chExt cx="90000" cy="306000"/>
            </a:xfrm>
          </p:grpSpPr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22E6EB3F-D48F-0EC1-1F59-3469D56DCA2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89034" y="3005440"/>
                <a:ext cx="0" cy="30600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9" name="Rectangle 98">
                <a:extLst>
                  <a:ext uri="{FF2B5EF4-FFF2-40B4-BE49-F238E27FC236}">
                    <a16:creationId xmlns:a16="http://schemas.microsoft.com/office/drawing/2014/main" id="{574464D4-09A1-4DF3-E0BD-07E686160943}"/>
                  </a:ext>
                </a:extLst>
              </p:cNvPr>
              <p:cNvSpPr/>
              <p:nvPr/>
            </p:nvSpPr>
            <p:spPr>
              <a:xfrm>
                <a:off x="1144722" y="3036461"/>
                <a:ext cx="88622" cy="198000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100" name="Straight Connector 99">
                <a:extLst>
                  <a:ext uri="{FF2B5EF4-FFF2-40B4-BE49-F238E27FC236}">
                    <a16:creationId xmlns:a16="http://schemas.microsoft.com/office/drawing/2014/main" id="{CDD14AA2-F9D6-7D66-2819-039EDE55B85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144034" y="3130792"/>
                <a:ext cx="90000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74B28F38-2375-CA2A-835D-A5F436FF5E34}"/>
                </a:ext>
              </a:extLst>
            </p:cNvPr>
            <p:cNvGrpSpPr/>
            <p:nvPr/>
          </p:nvGrpSpPr>
          <p:grpSpPr>
            <a:xfrm>
              <a:off x="2292102" y="2868285"/>
              <a:ext cx="144000" cy="552990"/>
              <a:chOff x="1144034" y="2878789"/>
              <a:chExt cx="90000" cy="552990"/>
            </a:xfrm>
          </p:grpSpPr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13BF6660-27B8-9334-E945-988CA25CC62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89034" y="2878789"/>
                <a:ext cx="0" cy="55299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A989C315-21E0-25CA-62FA-9EE49C7C678C}"/>
                  </a:ext>
                </a:extLst>
              </p:cNvPr>
              <p:cNvSpPr/>
              <p:nvPr/>
            </p:nvSpPr>
            <p:spPr>
              <a:xfrm>
                <a:off x="1144722" y="3036461"/>
                <a:ext cx="88622" cy="360000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E7E28AFC-386F-9D78-9737-59EF95E652B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144034" y="3341055"/>
                <a:ext cx="90000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1A612AE5-0236-B148-DD45-4C1019C632EB}"/>
                </a:ext>
              </a:extLst>
            </p:cNvPr>
            <p:cNvGrpSpPr/>
            <p:nvPr/>
          </p:nvGrpSpPr>
          <p:grpSpPr>
            <a:xfrm>
              <a:off x="1788844" y="2707359"/>
              <a:ext cx="144000" cy="1745673"/>
              <a:chOff x="1144034" y="2717863"/>
              <a:chExt cx="90000" cy="1745673"/>
            </a:xfrm>
          </p:grpSpPr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F058C338-74C3-B687-D65E-923CE2A9FA7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89034" y="2717863"/>
                <a:ext cx="0" cy="1745673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755A4161-F529-DFB5-4DFC-33B58085C4FD}"/>
                  </a:ext>
                </a:extLst>
              </p:cNvPr>
              <p:cNvSpPr/>
              <p:nvPr/>
            </p:nvSpPr>
            <p:spPr>
              <a:xfrm>
                <a:off x="1144722" y="3036461"/>
                <a:ext cx="88622" cy="712800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004A2308-E8E3-F615-0EF6-0D582CFA89B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144034" y="3253036"/>
                <a:ext cx="90000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84803483-0C22-9CB6-740F-FD52E52E5BEC}"/>
                </a:ext>
              </a:extLst>
            </p:cNvPr>
            <p:cNvSpPr/>
            <p:nvPr/>
          </p:nvSpPr>
          <p:spPr>
            <a:xfrm>
              <a:off x="1150814" y="4859839"/>
              <a:ext cx="53544" cy="5354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028C6594-E145-22FC-817A-CFDC403D4927}"/>
                </a:ext>
              </a:extLst>
            </p:cNvPr>
            <p:cNvGrpSpPr/>
            <p:nvPr/>
          </p:nvGrpSpPr>
          <p:grpSpPr>
            <a:xfrm>
              <a:off x="1285586" y="3012332"/>
              <a:ext cx="144000" cy="980301"/>
              <a:chOff x="1246775" y="2749893"/>
              <a:chExt cx="144000" cy="980301"/>
            </a:xfrm>
          </p:grpSpPr>
          <p:grpSp>
            <p:nvGrpSpPr>
              <p:cNvPr id="87" name="Group 86">
                <a:extLst>
                  <a:ext uri="{FF2B5EF4-FFF2-40B4-BE49-F238E27FC236}">
                    <a16:creationId xmlns:a16="http://schemas.microsoft.com/office/drawing/2014/main" id="{81A41CAD-9237-C7B3-7251-2893FCE0AEB5}"/>
                  </a:ext>
                </a:extLst>
              </p:cNvPr>
              <p:cNvGrpSpPr/>
              <p:nvPr/>
            </p:nvGrpSpPr>
            <p:grpSpPr>
              <a:xfrm>
                <a:off x="1246775" y="2749893"/>
                <a:ext cx="144000" cy="146698"/>
                <a:chOff x="1144034" y="2759673"/>
                <a:chExt cx="90000" cy="146698"/>
              </a:xfrm>
            </p:grpSpPr>
            <p:cxnSp>
              <p:nvCxnSpPr>
                <p:cNvPr id="89" name="Straight Connector 88">
                  <a:extLst>
                    <a:ext uri="{FF2B5EF4-FFF2-40B4-BE49-F238E27FC236}">
                      <a16:creationId xmlns:a16="http://schemas.microsoft.com/office/drawing/2014/main" id="{9039C7B5-92BE-D7E7-8EA3-0D03CFDF122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189034" y="2759673"/>
                  <a:ext cx="0" cy="72000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0" name="Rectangle 89">
                  <a:extLst>
                    <a:ext uri="{FF2B5EF4-FFF2-40B4-BE49-F238E27FC236}">
                      <a16:creationId xmlns:a16="http://schemas.microsoft.com/office/drawing/2014/main" id="{3DB08A94-8BD8-CD4C-78A4-DB7A535516BD}"/>
                    </a:ext>
                  </a:extLst>
                </p:cNvPr>
                <p:cNvSpPr/>
                <p:nvPr/>
              </p:nvSpPr>
              <p:spPr>
                <a:xfrm>
                  <a:off x="1144722" y="2834371"/>
                  <a:ext cx="88624" cy="72000"/>
                </a:xfrm>
                <a:prstGeom prst="rect">
                  <a:avLst/>
                </a:prstGeom>
                <a:solidFill>
                  <a:schemeClr val="accent2"/>
                </a:solidFill>
                <a:ln w="1905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cxnSp>
              <p:nvCxnSpPr>
                <p:cNvPr id="91" name="Straight Connector 90">
                  <a:extLst>
                    <a:ext uri="{FF2B5EF4-FFF2-40B4-BE49-F238E27FC236}">
                      <a16:creationId xmlns:a16="http://schemas.microsoft.com/office/drawing/2014/main" id="{3B2778D2-F99F-B442-18F3-DF4A5E53C2C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1144034" y="2874674"/>
                  <a:ext cx="90000" cy="0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EAB8AC98-FE50-70A7-1CB1-BFD9E66625A6}"/>
                  </a:ext>
                </a:extLst>
              </p:cNvPr>
              <p:cNvSpPr/>
              <p:nvPr/>
            </p:nvSpPr>
            <p:spPr>
              <a:xfrm>
                <a:off x="1292003" y="3676650"/>
                <a:ext cx="53544" cy="53544"/>
              </a:xfrm>
              <a:prstGeom prst="ellipse">
                <a:avLst/>
              </a:prstGeom>
              <a:solidFill>
                <a:schemeClr val="tx1"/>
              </a:solidFill>
              <a:ln w="19050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B7CEE76A-10A3-A5E1-4F26-77878086D088}"/>
                </a:ext>
              </a:extLst>
            </p:cNvPr>
            <p:cNvSpPr/>
            <p:nvPr/>
          </p:nvSpPr>
          <p:spPr>
            <a:xfrm>
              <a:off x="1654072" y="4431214"/>
              <a:ext cx="53544" cy="5354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3A595F6A-08A4-AB9B-273B-078043628013}"/>
                </a:ext>
              </a:extLst>
            </p:cNvPr>
            <p:cNvGrpSpPr/>
            <p:nvPr/>
          </p:nvGrpSpPr>
          <p:grpSpPr>
            <a:xfrm>
              <a:off x="2112102" y="2942139"/>
              <a:ext cx="144000" cy="298671"/>
              <a:chOff x="1883087" y="2679700"/>
              <a:chExt cx="144000" cy="298671"/>
            </a:xfrm>
          </p:grpSpPr>
          <p:grpSp>
            <p:nvGrpSpPr>
              <p:cNvPr id="82" name="Group 81">
                <a:extLst>
                  <a:ext uri="{FF2B5EF4-FFF2-40B4-BE49-F238E27FC236}">
                    <a16:creationId xmlns:a16="http://schemas.microsoft.com/office/drawing/2014/main" id="{556E35BB-8800-3906-4033-32BFF616619A}"/>
                  </a:ext>
                </a:extLst>
              </p:cNvPr>
              <p:cNvGrpSpPr/>
              <p:nvPr/>
            </p:nvGrpSpPr>
            <p:grpSpPr>
              <a:xfrm>
                <a:off x="1883087" y="2834371"/>
                <a:ext cx="144000" cy="144000"/>
                <a:chOff x="1144034" y="2834371"/>
                <a:chExt cx="90000" cy="144000"/>
              </a:xfrm>
            </p:grpSpPr>
            <p:cxnSp>
              <p:nvCxnSpPr>
                <p:cNvPr id="84" name="Straight Connector 83">
                  <a:extLst>
                    <a:ext uri="{FF2B5EF4-FFF2-40B4-BE49-F238E27FC236}">
                      <a16:creationId xmlns:a16="http://schemas.microsoft.com/office/drawing/2014/main" id="{7B5ACB2F-6D76-550D-22BE-E677C7411F7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189034" y="2906371"/>
                  <a:ext cx="0" cy="7200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5" name="Rectangle 84">
                  <a:extLst>
                    <a:ext uri="{FF2B5EF4-FFF2-40B4-BE49-F238E27FC236}">
                      <a16:creationId xmlns:a16="http://schemas.microsoft.com/office/drawing/2014/main" id="{291426F6-4CE4-9C43-33AA-EFD2E94DD048}"/>
                    </a:ext>
                  </a:extLst>
                </p:cNvPr>
                <p:cNvSpPr/>
                <p:nvPr/>
              </p:nvSpPr>
              <p:spPr>
                <a:xfrm>
                  <a:off x="1144722" y="2834371"/>
                  <a:ext cx="88624" cy="72000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cxnSp>
              <p:nvCxnSpPr>
                <p:cNvPr id="86" name="Straight Connector 85">
                  <a:extLst>
                    <a:ext uri="{FF2B5EF4-FFF2-40B4-BE49-F238E27FC236}">
                      <a16:creationId xmlns:a16="http://schemas.microsoft.com/office/drawing/2014/main" id="{DA286E32-AE4C-9B03-52DB-E4399882091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1144034" y="2874674"/>
                  <a:ext cx="90000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025C1C00-55E9-AFE7-D744-ADC3C94C2C12}"/>
                  </a:ext>
                </a:extLst>
              </p:cNvPr>
              <p:cNvSpPr/>
              <p:nvPr/>
            </p:nvSpPr>
            <p:spPr>
              <a:xfrm>
                <a:off x="1928315" y="2679700"/>
                <a:ext cx="53544" cy="53544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7FBEEFEF-7E03-AEDA-0A0E-FF4CD79552B0}"/>
                </a:ext>
              </a:extLst>
            </p:cNvPr>
            <p:cNvSpPr/>
            <p:nvPr/>
          </p:nvSpPr>
          <p:spPr>
            <a:xfrm>
              <a:off x="2661202" y="5087547"/>
              <a:ext cx="53544" cy="5354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A56C3C9A-482B-17CB-8742-6AF5BABFDBFE}"/>
                </a:ext>
              </a:extLst>
            </p:cNvPr>
            <p:cNvSpPr/>
            <p:nvPr/>
          </p:nvSpPr>
          <p:spPr>
            <a:xfrm>
              <a:off x="3847104" y="4195372"/>
              <a:ext cx="53544" cy="5354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0C585661-A614-D377-FDBA-46C71D2AE3DE}"/>
                </a:ext>
              </a:extLst>
            </p:cNvPr>
            <p:cNvSpPr/>
            <p:nvPr/>
          </p:nvSpPr>
          <p:spPr>
            <a:xfrm>
              <a:off x="4673620" y="4515731"/>
              <a:ext cx="53544" cy="5354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14C28AA8-215B-2786-A3AE-01D70C05DFFE}"/>
                </a:ext>
              </a:extLst>
            </p:cNvPr>
            <p:cNvGrpSpPr/>
            <p:nvPr/>
          </p:nvGrpSpPr>
          <p:grpSpPr>
            <a:xfrm>
              <a:off x="5814909" y="4436672"/>
              <a:ext cx="144000" cy="766021"/>
              <a:chOff x="5805909" y="4174233"/>
              <a:chExt cx="144000" cy="766021"/>
            </a:xfrm>
          </p:grpSpPr>
          <p:grpSp>
            <p:nvGrpSpPr>
              <p:cNvPr id="77" name="Group 76">
                <a:extLst>
                  <a:ext uri="{FF2B5EF4-FFF2-40B4-BE49-F238E27FC236}">
                    <a16:creationId xmlns:a16="http://schemas.microsoft.com/office/drawing/2014/main" id="{C5C71C9F-E4E3-AECB-474D-DB752564DD6F}"/>
                  </a:ext>
                </a:extLst>
              </p:cNvPr>
              <p:cNvGrpSpPr/>
              <p:nvPr/>
            </p:nvGrpSpPr>
            <p:grpSpPr>
              <a:xfrm>
                <a:off x="5805909" y="4562254"/>
                <a:ext cx="144000" cy="378000"/>
                <a:chOff x="1144034" y="2855748"/>
                <a:chExt cx="90000" cy="378000"/>
              </a:xfrm>
            </p:grpSpPr>
            <p:cxnSp>
              <p:nvCxnSpPr>
                <p:cNvPr id="79" name="Straight Connector 78">
                  <a:extLst>
                    <a:ext uri="{FF2B5EF4-FFF2-40B4-BE49-F238E27FC236}">
                      <a16:creationId xmlns:a16="http://schemas.microsoft.com/office/drawing/2014/main" id="{B0201CE5-BBEA-93EA-A9D0-790DDF6686A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189034" y="2855748"/>
                  <a:ext cx="0" cy="378000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0" name="Rectangle 79">
                  <a:extLst>
                    <a:ext uri="{FF2B5EF4-FFF2-40B4-BE49-F238E27FC236}">
                      <a16:creationId xmlns:a16="http://schemas.microsoft.com/office/drawing/2014/main" id="{B510AD90-9CF1-514E-E0E9-D8F90479C7B5}"/>
                    </a:ext>
                  </a:extLst>
                </p:cNvPr>
                <p:cNvSpPr/>
                <p:nvPr/>
              </p:nvSpPr>
              <p:spPr>
                <a:xfrm>
                  <a:off x="1144722" y="2921153"/>
                  <a:ext cx="88622" cy="270000"/>
                </a:xfrm>
                <a:prstGeom prst="rect">
                  <a:avLst/>
                </a:prstGeom>
                <a:solidFill>
                  <a:schemeClr val="accent2"/>
                </a:solidFill>
                <a:ln w="1905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cxnSp>
              <p:nvCxnSpPr>
                <p:cNvPr id="81" name="Straight Connector 80">
                  <a:extLst>
                    <a:ext uri="{FF2B5EF4-FFF2-40B4-BE49-F238E27FC236}">
                      <a16:creationId xmlns:a16="http://schemas.microsoft.com/office/drawing/2014/main" id="{8572DB6E-B04F-F31D-F417-9D59F372386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1144034" y="3137590"/>
                  <a:ext cx="90000" cy="0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72DE67FA-ABD9-2D74-C904-047AF5D1BDF6}"/>
                  </a:ext>
                </a:extLst>
              </p:cNvPr>
              <p:cNvSpPr/>
              <p:nvPr/>
            </p:nvSpPr>
            <p:spPr>
              <a:xfrm>
                <a:off x="5851137" y="4174233"/>
                <a:ext cx="53544" cy="53544"/>
              </a:xfrm>
              <a:prstGeom prst="ellipse">
                <a:avLst/>
              </a:prstGeom>
              <a:solidFill>
                <a:schemeClr val="tx1"/>
              </a:solidFill>
              <a:ln w="19050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cxnSp>
          <p:nvCxnSpPr>
            <p:cNvPr id="59" name="Straight Arrow Connector 58">
              <a:extLst>
                <a:ext uri="{FF2B5EF4-FFF2-40B4-BE49-F238E27FC236}">
                  <a16:creationId xmlns:a16="http://schemas.microsoft.com/office/drawing/2014/main" id="{18E4206A-C461-7A41-D226-53AD1E770272}"/>
                </a:ext>
              </a:extLst>
            </p:cNvPr>
            <p:cNvCxnSpPr>
              <a:cxnSpLocks/>
            </p:cNvCxnSpPr>
            <p:nvPr/>
          </p:nvCxnSpPr>
          <p:spPr>
            <a:xfrm>
              <a:off x="1412143" y="1999450"/>
              <a:ext cx="0" cy="756000"/>
            </a:xfrm>
            <a:prstGeom prst="straightConnector1">
              <a:avLst/>
            </a:prstGeom>
            <a:ln w="412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C017F95B-126B-2BE1-2F32-C368735529FC}"/>
                </a:ext>
              </a:extLst>
            </p:cNvPr>
            <p:cNvSpPr txBox="1"/>
            <p:nvPr/>
          </p:nvSpPr>
          <p:spPr>
            <a:xfrm>
              <a:off x="2214446" y="1514524"/>
              <a:ext cx="1883633" cy="52322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400" noProof="0"/>
                <a:t>Increase in MUC5AC+ and goblet cells</a:t>
              </a: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CE6A52D2-59F9-F748-1A3A-9B52BFE21F1B}"/>
                </a:ext>
              </a:extLst>
            </p:cNvPr>
            <p:cNvSpPr txBox="1"/>
            <p:nvPr/>
          </p:nvSpPr>
          <p:spPr>
            <a:xfrm>
              <a:off x="842085" y="1514524"/>
              <a:ext cx="1174787" cy="52322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400" noProof="0"/>
                <a:t>Decrease in </a:t>
              </a:r>
            </a:p>
            <a:p>
              <a:pPr algn="ctr"/>
              <a:r>
                <a:rPr lang="en-GB" sz="1400" noProof="0"/>
                <a:t>ciliated cells</a:t>
              </a:r>
            </a:p>
          </p:txBody>
        </p: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1C11862A-5207-29BD-5155-3A6D58277F3C}"/>
                </a:ext>
              </a:extLst>
            </p:cNvPr>
            <p:cNvGrpSpPr/>
            <p:nvPr/>
          </p:nvGrpSpPr>
          <p:grpSpPr>
            <a:xfrm>
              <a:off x="5308898" y="2066987"/>
              <a:ext cx="1136584" cy="554266"/>
              <a:chOff x="5377548" y="3115158"/>
              <a:chExt cx="1136584" cy="554266"/>
            </a:xfrm>
          </p:grpSpPr>
          <p:grpSp>
            <p:nvGrpSpPr>
              <p:cNvPr id="67" name="Group 66">
                <a:extLst>
                  <a:ext uri="{FF2B5EF4-FFF2-40B4-BE49-F238E27FC236}">
                    <a16:creationId xmlns:a16="http://schemas.microsoft.com/office/drawing/2014/main" id="{54006114-C6F2-68D3-2FD1-6DE6AB3FD3C8}"/>
                  </a:ext>
                </a:extLst>
              </p:cNvPr>
              <p:cNvGrpSpPr/>
              <p:nvPr/>
            </p:nvGrpSpPr>
            <p:grpSpPr>
              <a:xfrm>
                <a:off x="5377548" y="3115158"/>
                <a:ext cx="144000" cy="262604"/>
                <a:chOff x="1144034" y="2572233"/>
                <a:chExt cx="90000" cy="262604"/>
              </a:xfrm>
            </p:grpSpPr>
            <p:cxnSp>
              <p:nvCxnSpPr>
                <p:cNvPr id="74" name="Straight Connector 73">
                  <a:extLst>
                    <a:ext uri="{FF2B5EF4-FFF2-40B4-BE49-F238E27FC236}">
                      <a16:creationId xmlns:a16="http://schemas.microsoft.com/office/drawing/2014/main" id="{C980BFDD-46BA-433B-E763-54A786C5467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189034" y="2572233"/>
                  <a:ext cx="0" cy="262604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5" name="Rectangle 74">
                  <a:extLst>
                    <a:ext uri="{FF2B5EF4-FFF2-40B4-BE49-F238E27FC236}">
                      <a16:creationId xmlns:a16="http://schemas.microsoft.com/office/drawing/2014/main" id="{AC6B41C0-1583-C9B3-0D65-A04EC66CA84F}"/>
                    </a:ext>
                  </a:extLst>
                </p:cNvPr>
                <p:cNvSpPr/>
                <p:nvPr/>
              </p:nvSpPr>
              <p:spPr>
                <a:xfrm>
                  <a:off x="1144722" y="2633374"/>
                  <a:ext cx="88624" cy="144000"/>
                </a:xfrm>
                <a:prstGeom prst="rect">
                  <a:avLst/>
                </a:prstGeom>
                <a:solidFill>
                  <a:schemeClr val="bg2"/>
                </a:solidFill>
                <a:ln w="1905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cxnSp>
              <p:nvCxnSpPr>
                <p:cNvPr id="76" name="Straight Connector 75">
                  <a:extLst>
                    <a:ext uri="{FF2B5EF4-FFF2-40B4-BE49-F238E27FC236}">
                      <a16:creationId xmlns:a16="http://schemas.microsoft.com/office/drawing/2014/main" id="{564D8C02-8E57-8BF5-BF5A-358CB71AF4D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1144034" y="2705345"/>
                  <a:ext cx="90000" cy="0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8" name="Group 67">
                <a:extLst>
                  <a:ext uri="{FF2B5EF4-FFF2-40B4-BE49-F238E27FC236}">
                    <a16:creationId xmlns:a16="http://schemas.microsoft.com/office/drawing/2014/main" id="{E34A4651-41F8-C33F-298C-A49A3D1D1A42}"/>
                  </a:ext>
                </a:extLst>
              </p:cNvPr>
              <p:cNvGrpSpPr/>
              <p:nvPr/>
            </p:nvGrpSpPr>
            <p:grpSpPr>
              <a:xfrm>
                <a:off x="5377548" y="3406820"/>
                <a:ext cx="144000" cy="262604"/>
                <a:chOff x="1144034" y="2572233"/>
                <a:chExt cx="90000" cy="262604"/>
              </a:xfrm>
            </p:grpSpPr>
            <p:cxnSp>
              <p:nvCxnSpPr>
                <p:cNvPr id="71" name="Straight Connector 70">
                  <a:extLst>
                    <a:ext uri="{FF2B5EF4-FFF2-40B4-BE49-F238E27FC236}">
                      <a16:creationId xmlns:a16="http://schemas.microsoft.com/office/drawing/2014/main" id="{D77AA81F-5CBA-DECA-A1CD-8E7372A6C02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189034" y="2572233"/>
                  <a:ext cx="0" cy="262604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2" name="Rectangle 71">
                  <a:extLst>
                    <a:ext uri="{FF2B5EF4-FFF2-40B4-BE49-F238E27FC236}">
                      <a16:creationId xmlns:a16="http://schemas.microsoft.com/office/drawing/2014/main" id="{F8CE9AB8-1806-ED93-DB25-8821A1C00E23}"/>
                    </a:ext>
                  </a:extLst>
                </p:cNvPr>
                <p:cNvSpPr/>
                <p:nvPr/>
              </p:nvSpPr>
              <p:spPr>
                <a:xfrm>
                  <a:off x="1144722" y="2633374"/>
                  <a:ext cx="88624" cy="144000"/>
                </a:xfrm>
                <a:prstGeom prst="rect">
                  <a:avLst/>
                </a:prstGeom>
                <a:solidFill>
                  <a:schemeClr val="accent2"/>
                </a:solidFill>
                <a:ln w="1905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cxnSp>
              <p:nvCxnSpPr>
                <p:cNvPr id="73" name="Straight Connector 72">
                  <a:extLst>
                    <a:ext uri="{FF2B5EF4-FFF2-40B4-BE49-F238E27FC236}">
                      <a16:creationId xmlns:a16="http://schemas.microsoft.com/office/drawing/2014/main" id="{8DB408DF-84CE-3983-699A-B26F7EC0AAC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1144034" y="2705345"/>
                  <a:ext cx="90000" cy="0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69" name="TextBox 68">
                <a:extLst>
                  <a:ext uri="{FF2B5EF4-FFF2-40B4-BE49-F238E27FC236}">
                    <a16:creationId xmlns:a16="http://schemas.microsoft.com/office/drawing/2014/main" id="{A78E74E5-D9E6-B458-17F5-6A80E2080EC9}"/>
                  </a:ext>
                </a:extLst>
              </p:cNvPr>
              <p:cNvSpPr txBox="1"/>
              <p:nvPr/>
            </p:nvSpPr>
            <p:spPr>
              <a:xfrm>
                <a:off x="5578132" y="3129871"/>
                <a:ext cx="936000" cy="215444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lIns="0" tIns="0" rIns="0" bIns="0" rtlCol="0">
                <a:noAutofit/>
              </a:bodyPr>
              <a:lstStyle/>
              <a:p>
                <a:r>
                  <a:rPr lang="en-GB" sz="1400" noProof="0"/>
                  <a:t>Control</a:t>
                </a:r>
              </a:p>
            </p:txBody>
          </p:sp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03703133-43B1-AE6F-22EB-0B4ED1BA1B18}"/>
                  </a:ext>
                </a:extLst>
              </p:cNvPr>
              <p:cNvSpPr txBox="1"/>
              <p:nvPr/>
            </p:nvSpPr>
            <p:spPr>
              <a:xfrm>
                <a:off x="5578132" y="3440114"/>
                <a:ext cx="936000" cy="215444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lIns="0" tIns="0" rIns="0" bIns="0" rtlCol="0">
                <a:noAutofit/>
              </a:bodyPr>
              <a:lstStyle/>
              <a:p>
                <a:r>
                  <a:rPr lang="en-GB" sz="1400" noProof="0"/>
                  <a:t>Asthma</a:t>
                </a:r>
              </a:p>
            </p:txBody>
          </p:sp>
        </p:grp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2D75B004-972B-4945-9528-58D6C5C24806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013431" y="2225022"/>
              <a:ext cx="0" cy="75463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F220F2F2-FCEC-F35E-732B-6AACB27FDCB7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013432" y="2469497"/>
              <a:ext cx="0" cy="75463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8DB1C3C3-BD15-2CA7-FE24-19F42D7AFA7E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013433" y="2856847"/>
              <a:ext cx="0" cy="75463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13B38E06-0C8C-F8B3-1257-06BEF85CDC77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013435" y="5180165"/>
              <a:ext cx="0" cy="75463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3" name="Oval 142">
              <a:extLst>
                <a:ext uri="{FF2B5EF4-FFF2-40B4-BE49-F238E27FC236}">
                  <a16:creationId xmlns:a16="http://schemas.microsoft.com/office/drawing/2014/main" id="{843F6941-A0C8-EBAE-177C-440627272716}"/>
                </a:ext>
              </a:extLst>
            </p:cNvPr>
            <p:cNvSpPr/>
            <p:nvPr/>
          </p:nvSpPr>
          <p:spPr>
            <a:xfrm>
              <a:off x="5172095" y="4915781"/>
              <a:ext cx="53544" cy="5354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0038915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89BEC1-00F6-1AAB-D6DC-F695EE06E5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ADCA095-50C7-3372-37A7-44B9D4C621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Ins="0"/>
          <a:lstStyle/>
          <a:p>
            <a:r>
              <a:rPr lang="en-GB" noProof="0"/>
              <a:t>Patients with </a:t>
            </a:r>
            <a:r>
              <a:rPr lang="en-GB" noProof="0" err="1"/>
              <a:t>CRSwNP</a:t>
            </a:r>
            <a:r>
              <a:rPr lang="en-GB" noProof="0"/>
              <a:t> experience submucosal gland hypoplasia and goblet cell hyperplasia</a:t>
            </a:r>
            <a:endParaRPr lang="en-GB" baseline="30000" noProof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18D1942-9FEF-C356-2FDB-83100817B70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48282" y="2281382"/>
            <a:ext cx="5691568" cy="3730618"/>
          </a:xfrm>
        </p:spPr>
        <p:txBody>
          <a:bodyPr/>
          <a:lstStyle/>
          <a:p>
            <a:r>
              <a:rPr lang="en-GB"/>
              <a:t>Submucosal gland hypoplasia and goblet cell hyperplasia results in </a:t>
            </a:r>
            <a:r>
              <a:rPr lang="en-GB" b="1"/>
              <a:t>elevated</a:t>
            </a:r>
            <a:r>
              <a:rPr lang="en-GB"/>
              <a:t> nasal mucus rich in gel-forming mucin </a:t>
            </a:r>
            <a:r>
              <a:rPr lang="en-GB" b="1"/>
              <a:t>MUC5AC</a:t>
            </a:r>
          </a:p>
          <a:p>
            <a:pPr lvl="1"/>
            <a:r>
              <a:rPr lang="en-GB"/>
              <a:t>The increased proportion of mucus and goblet cells compared with serous cells indicates that the mucus of patients with </a:t>
            </a:r>
            <a:r>
              <a:rPr lang="en-GB" err="1"/>
              <a:t>CRSwNP</a:t>
            </a:r>
            <a:r>
              <a:rPr lang="en-GB"/>
              <a:t> is likely </a:t>
            </a:r>
            <a:r>
              <a:rPr lang="en-GB" b="1"/>
              <a:t>highly viscous</a:t>
            </a:r>
          </a:p>
          <a:p>
            <a:pPr lvl="1"/>
            <a:r>
              <a:rPr lang="en-GB"/>
              <a:t>Patients with </a:t>
            </a:r>
            <a:r>
              <a:rPr lang="en-GB" err="1"/>
              <a:t>CRSwNP</a:t>
            </a:r>
            <a:r>
              <a:rPr lang="en-GB"/>
              <a:t> have significantly </a:t>
            </a:r>
            <a:r>
              <a:rPr lang="en-GB" b="1"/>
              <a:t>higher MUC5AC</a:t>
            </a:r>
            <a:r>
              <a:rPr lang="en-GB"/>
              <a:t> levels compared with healthy controls and patients with </a:t>
            </a:r>
            <a:r>
              <a:rPr lang="en-GB" err="1"/>
              <a:t>CRSsNP</a:t>
            </a:r>
            <a:endParaRPr lang="en-GB"/>
          </a:p>
        </p:txBody>
      </p:sp>
      <p:sp>
        <p:nvSpPr>
          <p:cNvPr id="8" name="Footer Placeholder 8">
            <a:extLst>
              <a:ext uri="{FF2B5EF4-FFF2-40B4-BE49-F238E27FC236}">
                <a16:creationId xmlns:a16="http://schemas.microsoft.com/office/drawing/2014/main" id="{3BC38EB2-3309-A36C-537A-ABB25ED1EA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656665"/>
                </a:solidFill>
                <a:effectLst/>
                <a:uLnTx/>
                <a:uFillTx/>
                <a:ea typeface="+mn-ea"/>
                <a:cs typeface="+mn-cs"/>
              </a:rPr>
              <a:t>CRSsNP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656665"/>
                </a:solidFill>
                <a:effectLst/>
                <a:uLnTx/>
                <a:uFillTx/>
                <a:ea typeface="+mn-ea"/>
                <a:cs typeface="+mn-cs"/>
              </a:rPr>
              <a:t>, chronic rhinosinusitis without nasal polyps</a:t>
            </a:r>
            <a:r>
              <a:rPr lang="en-GB" sz="800" spc="0" dirty="0">
                <a:solidFill>
                  <a:srgbClr val="656665"/>
                </a:solidFill>
              </a:rPr>
              <a:t>; </a:t>
            </a:r>
            <a:r>
              <a:rPr lang="en-GB" sz="800" spc="0" dirty="0" err="1">
                <a:solidFill>
                  <a:srgbClr val="656665"/>
                </a:solidFill>
              </a:rPr>
              <a:t>CRSwNP</a:t>
            </a:r>
            <a:r>
              <a:rPr lang="en-GB" sz="800" spc="0" dirty="0">
                <a:solidFill>
                  <a:srgbClr val="656665"/>
                </a:solidFill>
              </a:rPr>
              <a:t>, chronic rhinosinusitis with nasal polyps; MUC, mucin.</a:t>
            </a:r>
            <a:b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656665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656665"/>
                </a:solidFill>
                <a:effectLst/>
                <a:uLnTx/>
                <a:uFillTx/>
                <a:ea typeface="+mn-ea"/>
                <a:cs typeface="+mn-cs"/>
              </a:rPr>
              <a:t>Tu Y, et al. Inflammation. 2021;44(5):1937-1948.</a:t>
            </a:r>
            <a:b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656665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lang="en-GB" sz="800" spc="0" dirty="0">
                <a:solidFill>
                  <a:srgbClr val="656665"/>
                </a:solidFill>
              </a:rPr>
              <a:t>GB-73345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656665"/>
                </a:solidFill>
                <a:effectLst/>
                <a:uLnTx/>
                <a:uFillTx/>
                <a:ea typeface="+mn-ea"/>
                <a:cs typeface="+mn-cs"/>
              </a:rPr>
              <a:t> | Date of preparation: </a:t>
            </a:r>
            <a:r>
              <a:rPr lang="en-GB" sz="800" spc="0" dirty="0">
                <a:solidFill>
                  <a:srgbClr val="656665"/>
                </a:solidFill>
              </a:rPr>
              <a:t>March 2026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656665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EDFA63B-AC82-AC7F-E58A-B9D1A66ECA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8BAEAC-A895-4A01-AB9B-F6141799970D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9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8B2D82F-C973-2E8E-185D-86AB1D8705F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982" r="50000"/>
          <a:stretch>
            <a:fillRect/>
          </a:stretch>
        </p:blipFill>
        <p:spPr>
          <a:xfrm>
            <a:off x="8168641" y="2191731"/>
            <a:ext cx="2183148" cy="193384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F3F77304-896D-0A05-A8EB-C39935DEC1BB}"/>
              </a:ext>
            </a:extLst>
          </p:cNvPr>
          <p:cNvSpPr txBox="1"/>
          <p:nvPr/>
        </p:nvSpPr>
        <p:spPr>
          <a:xfrm>
            <a:off x="7024900" y="1385699"/>
            <a:ext cx="4111940" cy="584775"/>
          </a:xfrm>
          <a:prstGeom prst="rect">
            <a:avLst/>
          </a:prstGeom>
          <a:solidFill>
            <a:schemeClr val="accent4"/>
          </a:solidFill>
          <a:ln w="28575">
            <a:solidFill>
              <a:schemeClr val="accent4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GB" sz="1600" noProof="0">
                <a:solidFill>
                  <a:schemeClr val="bg1"/>
                </a:solidFill>
              </a:rPr>
              <a:t>MUC5AC protein levels in healthy controls and patients with </a:t>
            </a:r>
            <a:r>
              <a:rPr lang="en-GB" sz="1600" noProof="0" err="1">
                <a:solidFill>
                  <a:schemeClr val="bg1"/>
                </a:solidFill>
              </a:rPr>
              <a:t>CRSsNP</a:t>
            </a:r>
            <a:r>
              <a:rPr lang="en-GB" sz="1600" noProof="0">
                <a:solidFill>
                  <a:schemeClr val="bg1"/>
                </a:solidFill>
              </a:rPr>
              <a:t> and </a:t>
            </a:r>
            <a:r>
              <a:rPr lang="en-GB" sz="1600" noProof="0" err="1">
                <a:solidFill>
                  <a:schemeClr val="bg1"/>
                </a:solidFill>
              </a:rPr>
              <a:t>CRSwNP</a:t>
            </a:r>
            <a:endParaRPr lang="en-GB" sz="1600" baseline="30000" noProof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B6CE591-A256-3091-F73A-995B9DE75615}"/>
              </a:ext>
            </a:extLst>
          </p:cNvPr>
          <p:cNvSpPr/>
          <p:nvPr/>
        </p:nvSpPr>
        <p:spPr>
          <a:xfrm>
            <a:off x="7024900" y="1385698"/>
            <a:ext cx="4111940" cy="4863091"/>
          </a:xfrm>
          <a:prstGeom prst="rect">
            <a:avLst/>
          </a:prstGeom>
          <a:noFill/>
          <a:ln w="28575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C0D903A-40A2-2663-6A44-62F586DDA2EB}"/>
              </a:ext>
            </a:extLst>
          </p:cNvPr>
          <p:cNvSpPr txBox="1"/>
          <p:nvPr/>
        </p:nvSpPr>
        <p:spPr>
          <a:xfrm>
            <a:off x="7897173" y="2022454"/>
            <a:ext cx="24546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noProof="0"/>
              <a:t>MUC5AC protein levels</a:t>
            </a:r>
            <a:endParaRPr lang="en-GB" sz="1400" b="1" baseline="30000" noProof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5F45A14-9027-EF72-160F-B55CEA6A539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53982"/>
          <a:stretch>
            <a:fillRect/>
          </a:stretch>
        </p:blipFill>
        <p:spPr>
          <a:xfrm>
            <a:off x="8168641" y="4262964"/>
            <a:ext cx="2183148" cy="193384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B1CF25A4-D787-42B3-4C4C-17075BB90DC0}"/>
              </a:ext>
            </a:extLst>
          </p:cNvPr>
          <p:cNvSpPr txBox="1"/>
          <p:nvPr/>
        </p:nvSpPr>
        <p:spPr>
          <a:xfrm>
            <a:off x="7545021" y="4007377"/>
            <a:ext cx="3286521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400" b="1" noProof="0"/>
              <a:t>Ratio of MUC5AC:lysozyme protein</a:t>
            </a:r>
            <a:endParaRPr lang="en-GB" sz="1400" b="1" baseline="30000" noProof="0"/>
          </a:p>
        </p:txBody>
      </p:sp>
    </p:spTree>
    <p:extLst>
      <p:ext uri="{BB962C8B-B14F-4D97-AF65-F5344CB8AC3E}">
        <p14:creationId xmlns:p14="http://schemas.microsoft.com/office/powerpoint/2010/main" val="403318546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DF05F6-D5C3-ED47-3F90-78E824919F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184F1B-A231-600F-0310-82D5B42BAB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noProof="0"/>
              <a:t>Crosslinking of mucin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15FA5A8-B5FC-3247-6DC5-B682075627C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Footer Placeholder 8">
            <a:extLst>
              <a:ext uri="{FF2B5EF4-FFF2-40B4-BE49-F238E27FC236}">
                <a16:creationId xmlns:a16="http://schemas.microsoft.com/office/drawing/2014/main" id="{C0E0C755-EA00-D414-A804-3EEAAD57749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48000" y="6303601"/>
            <a:ext cx="10520282" cy="288000"/>
          </a:xfrm>
        </p:spPr>
        <p:txBody>
          <a:bodyPr/>
          <a:lstStyle/>
          <a:p>
            <a:pPr lvl="0"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2026 AstraZeneca. All Rights Reserved. This information is intended for healthcare professionals only.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piCentral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is sponsored and developed by AstraZeneca. </a:t>
            </a:r>
          </a:p>
          <a:p>
            <a:pPr lvl="0"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B-73345 | Date of preparation: </a:t>
            </a:r>
            <a:r>
              <a:rPr lang="en-GB" spc="0" dirty="0"/>
              <a:t>March 2026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332989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CB6031-01B2-E74C-0EAC-6F8A9A635F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8BE03EA-DA9E-A300-5063-5F7C7AE65E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Ins="0"/>
          <a:lstStyle/>
          <a:p>
            <a:r>
              <a:rPr lang="en-GB" noProof="0"/>
              <a:t>Crosslinking of MUC5AC results in pathogenic mucus</a:t>
            </a:r>
            <a:endParaRPr lang="en-GB" baseline="30000" noProof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1512FA3-7538-0A02-F54C-BC90D1DD8E0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48282" y="1404000"/>
            <a:ext cx="4687952" cy="4608000"/>
          </a:xfrm>
        </p:spPr>
        <p:txBody>
          <a:bodyPr/>
          <a:lstStyle/>
          <a:p>
            <a:r>
              <a:rPr lang="en-GB" b="1" noProof="0"/>
              <a:t>Airway inflammation </a:t>
            </a:r>
            <a:r>
              <a:rPr lang="en-GB" noProof="0"/>
              <a:t>and</a:t>
            </a:r>
            <a:r>
              <a:rPr lang="en-GB" b="1" noProof="0"/>
              <a:t> environmental exposure </a:t>
            </a:r>
            <a:r>
              <a:rPr lang="en-GB" noProof="0"/>
              <a:t>can cause mucin oxidation</a:t>
            </a:r>
          </a:p>
          <a:p>
            <a:pPr lvl="1"/>
            <a:endParaRPr lang="en-GB" noProof="0"/>
          </a:p>
          <a:p>
            <a:r>
              <a:rPr lang="en-GB" b="1" noProof="0"/>
              <a:t>Oxidation</a:t>
            </a:r>
            <a:r>
              <a:rPr lang="en-GB" noProof="0"/>
              <a:t> can cause cross-linking:</a:t>
            </a:r>
          </a:p>
          <a:p>
            <a:pPr lvl="1"/>
            <a:r>
              <a:rPr lang="en-GB" noProof="0"/>
              <a:t>At the end of mucin chains, </a:t>
            </a:r>
            <a:br>
              <a:rPr lang="en-GB" noProof="0"/>
            </a:br>
            <a:r>
              <a:rPr lang="en-GB" noProof="0"/>
              <a:t>which extend the mucin</a:t>
            </a:r>
          </a:p>
          <a:p>
            <a:pPr lvl="1"/>
            <a:r>
              <a:rPr lang="en-GB" noProof="0"/>
              <a:t>Between mucin chains,</a:t>
            </a:r>
            <a:r>
              <a:rPr lang="en-GB"/>
              <a:t> </a:t>
            </a:r>
            <a:br>
              <a:rPr lang="en-GB"/>
            </a:br>
            <a:r>
              <a:rPr lang="en-GB"/>
              <a:t>to </a:t>
            </a:r>
            <a:r>
              <a:rPr lang="en-GB" noProof="0"/>
              <a:t>create side links</a:t>
            </a:r>
          </a:p>
          <a:p>
            <a:pPr lvl="1"/>
            <a:endParaRPr lang="en-GB" noProof="0"/>
          </a:p>
          <a:p>
            <a:r>
              <a:rPr lang="en-GB" noProof="0"/>
              <a:t>Cross-linking </a:t>
            </a:r>
            <a:r>
              <a:rPr lang="en-GB" b="1" noProof="0"/>
              <a:t>increases </a:t>
            </a:r>
            <a:r>
              <a:rPr lang="en-GB" noProof="0"/>
              <a:t>the </a:t>
            </a:r>
            <a:r>
              <a:rPr lang="en-GB" b="1" noProof="0"/>
              <a:t>elasticity</a:t>
            </a:r>
            <a:r>
              <a:rPr lang="en-GB" noProof="0"/>
              <a:t> </a:t>
            </a:r>
            <a:br>
              <a:rPr lang="en-GB" noProof="0"/>
            </a:br>
            <a:r>
              <a:rPr lang="en-GB" noProof="0"/>
              <a:t>of the mucus, which </a:t>
            </a:r>
            <a:r>
              <a:rPr lang="en-GB" b="1" noProof="0"/>
              <a:t>decreases mucociliary transport</a:t>
            </a:r>
          </a:p>
        </p:txBody>
      </p:sp>
      <p:sp>
        <p:nvSpPr>
          <p:cNvPr id="8" name="Footer Placeholder 8">
            <a:extLst>
              <a:ext uri="{FF2B5EF4-FFF2-40B4-BE49-F238E27FC236}">
                <a16:creationId xmlns:a16="http://schemas.microsoft.com/office/drawing/2014/main" id="{455935B8-170F-11D8-8A50-D1834D928F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sz="800" noProof="0" dirty="0"/>
          </a:p>
          <a:p>
            <a:r>
              <a:rPr lang="en-GB" sz="800" dirty="0"/>
              <a:t>Figure is adapted from Yuan et al. 2015</a:t>
            </a:r>
            <a:endParaRPr lang="en-GB" sz="800" noProof="0" dirty="0"/>
          </a:p>
          <a:p>
            <a:r>
              <a:rPr lang="en-GB" sz="800" noProof="0" dirty="0"/>
              <a:t>Yuan S, et al. Sci </a:t>
            </a:r>
            <a:r>
              <a:rPr lang="en-GB" sz="800" noProof="0" dirty="0" err="1"/>
              <a:t>Transl</a:t>
            </a:r>
            <a:r>
              <a:rPr lang="en-GB" sz="800" noProof="0" dirty="0"/>
              <a:t> Med. 2015 Feb 25;7(276):276ra27.</a:t>
            </a:r>
            <a:br>
              <a:rPr lang="en-GB" sz="800" noProof="0" dirty="0"/>
            </a:b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656665"/>
                </a:solidFill>
                <a:effectLst/>
                <a:uLnTx/>
                <a:uFillTx/>
                <a:ea typeface="+mn-ea"/>
                <a:cs typeface="+mn-cs"/>
              </a:rPr>
              <a:t>GB-73345 | Date of preparation: </a:t>
            </a:r>
            <a:r>
              <a:rPr lang="en-GB" sz="800" spc="0" dirty="0">
                <a:solidFill>
                  <a:srgbClr val="656665"/>
                </a:solidFill>
              </a:rPr>
              <a:t>March 2026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656665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D569830-F598-E705-973C-4386EF4E40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8BAEAC-A895-4A01-AB9B-F6141799970D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9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ight Arrow 5">
            <a:extLst>
              <a:ext uri="{FF2B5EF4-FFF2-40B4-BE49-F238E27FC236}">
                <a16:creationId xmlns:a16="http://schemas.microsoft.com/office/drawing/2014/main" id="{AE01F951-60EF-B52F-5B16-DCE85A296061}"/>
              </a:ext>
            </a:extLst>
          </p:cNvPr>
          <p:cNvSpPr/>
          <p:nvPr/>
        </p:nvSpPr>
        <p:spPr>
          <a:xfrm>
            <a:off x="8116775" y="3205114"/>
            <a:ext cx="837512" cy="1376314"/>
          </a:xfrm>
          <a:prstGeom prst="rightArrow">
            <a:avLst>
              <a:gd name="adj1" fmla="val 65068"/>
              <a:gd name="adj2" fmla="val 36493"/>
            </a:avLst>
          </a:prstGeom>
          <a:gradFill>
            <a:gsLst>
              <a:gs pos="1000">
                <a:schemeClr val="bg1"/>
              </a:gs>
              <a:gs pos="55000">
                <a:schemeClr val="accent2">
                  <a:lumMod val="20000"/>
                  <a:lumOff val="8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39D119-FFD0-9902-8F69-5C71881DE2F2}"/>
              </a:ext>
            </a:extLst>
          </p:cNvPr>
          <p:cNvSpPr txBox="1"/>
          <p:nvPr/>
        </p:nvSpPr>
        <p:spPr>
          <a:xfrm>
            <a:off x="8191452" y="3799002"/>
            <a:ext cx="631596" cy="1508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sz="1200" b="1">
                <a:solidFill>
                  <a:schemeClr val="accent2"/>
                </a:solidFill>
              </a:rPr>
              <a:t>Oxidation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12865B1-B93B-1ED6-4837-B35FDF05BD72}"/>
              </a:ext>
            </a:extLst>
          </p:cNvPr>
          <p:cNvGrpSpPr/>
          <p:nvPr/>
        </p:nvGrpSpPr>
        <p:grpSpPr>
          <a:xfrm>
            <a:off x="5638102" y="4955877"/>
            <a:ext cx="2690510" cy="847052"/>
            <a:chOff x="5316718" y="5447753"/>
            <a:chExt cx="2690510" cy="847052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0E6C9D3-6C3F-19FB-B4A4-9979003D4273}"/>
                </a:ext>
              </a:extLst>
            </p:cNvPr>
            <p:cNvSpPr/>
            <p:nvPr/>
          </p:nvSpPr>
          <p:spPr>
            <a:xfrm>
              <a:off x="5316718" y="5447753"/>
              <a:ext cx="2690510" cy="847052"/>
            </a:xfrm>
            <a:prstGeom prst="rect">
              <a:avLst/>
            </a:prstGeom>
            <a:noFill/>
            <a:ln w="1905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09A59DAE-F1AD-D228-1418-716DF79F2576}"/>
                </a:ext>
              </a:extLst>
            </p:cNvPr>
            <p:cNvSpPr/>
            <p:nvPr/>
          </p:nvSpPr>
          <p:spPr>
            <a:xfrm>
              <a:off x="5760480" y="5792691"/>
              <a:ext cx="1738217" cy="75701"/>
            </a:xfrm>
            <a:custGeom>
              <a:avLst/>
              <a:gdLst>
                <a:gd name="connsiteX0" fmla="*/ 1700117 w 1738217"/>
                <a:gd name="connsiteY0" fmla="*/ 75702 h 75701"/>
                <a:gd name="connsiteX1" fmla="*/ 38100 w 1738217"/>
                <a:gd name="connsiteY1" fmla="*/ 75702 h 75701"/>
                <a:gd name="connsiteX2" fmla="*/ 0 w 1738217"/>
                <a:gd name="connsiteY2" fmla="*/ 37851 h 75701"/>
                <a:gd name="connsiteX3" fmla="*/ 38100 w 1738217"/>
                <a:gd name="connsiteY3" fmla="*/ 0 h 75701"/>
                <a:gd name="connsiteX4" fmla="*/ 1700117 w 1738217"/>
                <a:gd name="connsiteY4" fmla="*/ 0 h 75701"/>
                <a:gd name="connsiteX5" fmla="*/ 1738217 w 1738217"/>
                <a:gd name="connsiteY5" fmla="*/ 37851 h 75701"/>
                <a:gd name="connsiteX6" fmla="*/ 1700117 w 1738217"/>
                <a:gd name="connsiteY6" fmla="*/ 75702 h 75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38217" h="75701">
                  <a:moveTo>
                    <a:pt x="1700117" y="75702"/>
                  </a:moveTo>
                  <a:lnTo>
                    <a:pt x="38100" y="75702"/>
                  </a:lnTo>
                  <a:cubicBezTo>
                    <a:pt x="17050" y="75702"/>
                    <a:pt x="0" y="58764"/>
                    <a:pt x="0" y="37851"/>
                  </a:cubicBezTo>
                  <a:cubicBezTo>
                    <a:pt x="0" y="16938"/>
                    <a:pt x="17050" y="0"/>
                    <a:pt x="38100" y="0"/>
                  </a:cubicBezTo>
                  <a:lnTo>
                    <a:pt x="1700117" y="0"/>
                  </a:lnTo>
                  <a:cubicBezTo>
                    <a:pt x="1721168" y="0"/>
                    <a:pt x="1738217" y="16938"/>
                    <a:pt x="1738217" y="37851"/>
                  </a:cubicBezTo>
                  <a:cubicBezTo>
                    <a:pt x="1738217" y="58764"/>
                    <a:pt x="1721168" y="75702"/>
                    <a:pt x="1700117" y="75702"/>
                  </a:cubicBezTo>
                  <a:close/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grpSp>
          <p:nvGrpSpPr>
            <p:cNvPr id="12" name="Graphic 8">
              <a:extLst>
                <a:ext uri="{FF2B5EF4-FFF2-40B4-BE49-F238E27FC236}">
                  <a16:creationId xmlns:a16="http://schemas.microsoft.com/office/drawing/2014/main" id="{862771E3-EF10-A177-CB03-F0B60FBCD10B}"/>
                </a:ext>
              </a:extLst>
            </p:cNvPr>
            <p:cNvGrpSpPr/>
            <p:nvPr/>
          </p:nvGrpSpPr>
          <p:grpSpPr>
            <a:xfrm>
              <a:off x="6232444" y="5792691"/>
              <a:ext cx="818769" cy="75701"/>
              <a:chOff x="6232444" y="5792691"/>
              <a:chExt cx="818769" cy="75701"/>
            </a:xfrm>
            <a:solidFill>
              <a:schemeClr val="bg2"/>
            </a:solidFill>
          </p:grpSpPr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id="{1862DE2E-E1D3-B295-C36C-746C61A9C7C9}"/>
                  </a:ext>
                </a:extLst>
              </p:cNvPr>
              <p:cNvSpPr/>
              <p:nvPr/>
            </p:nvSpPr>
            <p:spPr>
              <a:xfrm>
                <a:off x="7012351" y="5792691"/>
                <a:ext cx="38862" cy="75701"/>
              </a:xfrm>
              <a:custGeom>
                <a:avLst/>
                <a:gdLst>
                  <a:gd name="connsiteX0" fmla="*/ 0 w 38862"/>
                  <a:gd name="connsiteY0" fmla="*/ 0 h 75701"/>
                  <a:gd name="connsiteX1" fmla="*/ 38862 w 38862"/>
                  <a:gd name="connsiteY1" fmla="*/ 0 h 75701"/>
                  <a:gd name="connsiteX2" fmla="*/ 38862 w 38862"/>
                  <a:gd name="connsiteY2" fmla="*/ 75702 h 75701"/>
                  <a:gd name="connsiteX3" fmla="*/ 0 w 38862"/>
                  <a:gd name="connsiteY3" fmla="*/ 75702 h 75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862" h="75701">
                    <a:moveTo>
                      <a:pt x="0" y="0"/>
                    </a:moveTo>
                    <a:lnTo>
                      <a:pt x="38862" y="0"/>
                    </a:lnTo>
                    <a:lnTo>
                      <a:pt x="38862" y="75702"/>
                    </a:lnTo>
                    <a:lnTo>
                      <a:pt x="0" y="75702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id="{04962FC8-9C32-EE96-0836-461F04297581}"/>
                  </a:ext>
                </a:extLst>
              </p:cNvPr>
              <p:cNvSpPr/>
              <p:nvPr/>
            </p:nvSpPr>
            <p:spPr>
              <a:xfrm>
                <a:off x="6619730" y="5792691"/>
                <a:ext cx="38861" cy="75701"/>
              </a:xfrm>
              <a:custGeom>
                <a:avLst/>
                <a:gdLst>
                  <a:gd name="connsiteX0" fmla="*/ 0 w 38861"/>
                  <a:gd name="connsiteY0" fmla="*/ 0 h 75701"/>
                  <a:gd name="connsiteX1" fmla="*/ 38862 w 38861"/>
                  <a:gd name="connsiteY1" fmla="*/ 0 h 75701"/>
                  <a:gd name="connsiteX2" fmla="*/ 38862 w 38861"/>
                  <a:gd name="connsiteY2" fmla="*/ 75702 h 75701"/>
                  <a:gd name="connsiteX3" fmla="*/ 0 w 38861"/>
                  <a:gd name="connsiteY3" fmla="*/ 75702 h 75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861" h="75701">
                    <a:moveTo>
                      <a:pt x="0" y="0"/>
                    </a:moveTo>
                    <a:lnTo>
                      <a:pt x="38862" y="0"/>
                    </a:lnTo>
                    <a:lnTo>
                      <a:pt x="38862" y="75702"/>
                    </a:lnTo>
                    <a:lnTo>
                      <a:pt x="0" y="75702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id="{38EE6C53-1864-9313-E7E5-B2C947F786A2}"/>
                  </a:ext>
                </a:extLst>
              </p:cNvPr>
              <p:cNvSpPr/>
              <p:nvPr/>
            </p:nvSpPr>
            <p:spPr>
              <a:xfrm>
                <a:off x="6232444" y="5792691"/>
                <a:ext cx="38861" cy="75701"/>
              </a:xfrm>
              <a:custGeom>
                <a:avLst/>
                <a:gdLst>
                  <a:gd name="connsiteX0" fmla="*/ 0 w 38861"/>
                  <a:gd name="connsiteY0" fmla="*/ 0 h 75701"/>
                  <a:gd name="connsiteX1" fmla="*/ 38862 w 38861"/>
                  <a:gd name="connsiteY1" fmla="*/ 0 h 75701"/>
                  <a:gd name="connsiteX2" fmla="*/ 38862 w 38861"/>
                  <a:gd name="connsiteY2" fmla="*/ 75702 h 75701"/>
                  <a:gd name="connsiteX3" fmla="*/ 0 w 38861"/>
                  <a:gd name="connsiteY3" fmla="*/ 75702 h 75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861" h="75701">
                    <a:moveTo>
                      <a:pt x="0" y="0"/>
                    </a:moveTo>
                    <a:lnTo>
                      <a:pt x="38862" y="0"/>
                    </a:lnTo>
                    <a:lnTo>
                      <a:pt x="38862" y="75702"/>
                    </a:lnTo>
                    <a:lnTo>
                      <a:pt x="0" y="75702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grpSp>
          <p:nvGrpSpPr>
            <p:cNvPr id="13" name="Graphic 8">
              <a:extLst>
                <a:ext uri="{FF2B5EF4-FFF2-40B4-BE49-F238E27FC236}">
                  <a16:creationId xmlns:a16="http://schemas.microsoft.com/office/drawing/2014/main" id="{031A796F-0773-5A8E-957E-BEC13084E0A8}"/>
                </a:ext>
              </a:extLst>
            </p:cNvPr>
            <p:cNvGrpSpPr/>
            <p:nvPr/>
          </p:nvGrpSpPr>
          <p:grpSpPr>
            <a:xfrm>
              <a:off x="5760480" y="5792691"/>
              <a:ext cx="1738217" cy="75701"/>
              <a:chOff x="5760480" y="5792691"/>
              <a:chExt cx="1738217" cy="75701"/>
            </a:xfrm>
            <a:solidFill>
              <a:srgbClr val="562480"/>
            </a:solidFill>
          </p:grpSpPr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id="{CA96F7E9-2D62-2B7A-047E-E902A3718636}"/>
                  </a:ext>
                </a:extLst>
              </p:cNvPr>
              <p:cNvSpPr/>
              <p:nvPr/>
            </p:nvSpPr>
            <p:spPr>
              <a:xfrm>
                <a:off x="5760480" y="5792691"/>
                <a:ext cx="64770" cy="75701"/>
              </a:xfrm>
              <a:custGeom>
                <a:avLst/>
                <a:gdLst>
                  <a:gd name="connsiteX0" fmla="*/ 38100 w 64770"/>
                  <a:gd name="connsiteY0" fmla="*/ 0 h 75701"/>
                  <a:gd name="connsiteX1" fmla="*/ 0 w 64770"/>
                  <a:gd name="connsiteY1" fmla="*/ 37851 h 75701"/>
                  <a:gd name="connsiteX2" fmla="*/ 38100 w 64770"/>
                  <a:gd name="connsiteY2" fmla="*/ 75702 h 75701"/>
                  <a:gd name="connsiteX3" fmla="*/ 64770 w 64770"/>
                  <a:gd name="connsiteY3" fmla="*/ 75702 h 75701"/>
                  <a:gd name="connsiteX4" fmla="*/ 64770 w 64770"/>
                  <a:gd name="connsiteY4" fmla="*/ 0 h 75701"/>
                  <a:gd name="connsiteX5" fmla="*/ 38100 w 64770"/>
                  <a:gd name="connsiteY5" fmla="*/ 0 h 75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4770" h="75701">
                    <a:moveTo>
                      <a:pt x="38100" y="0"/>
                    </a:moveTo>
                    <a:cubicBezTo>
                      <a:pt x="17050" y="0"/>
                      <a:pt x="0" y="16938"/>
                      <a:pt x="0" y="37851"/>
                    </a:cubicBezTo>
                    <a:cubicBezTo>
                      <a:pt x="0" y="58764"/>
                      <a:pt x="17050" y="75702"/>
                      <a:pt x="38100" y="75702"/>
                    </a:cubicBezTo>
                    <a:lnTo>
                      <a:pt x="64770" y="75702"/>
                    </a:lnTo>
                    <a:lnTo>
                      <a:pt x="64770" y="0"/>
                    </a:lnTo>
                    <a:lnTo>
                      <a:pt x="38100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id="{C95E5ADF-6981-A898-BD04-B953B13AADE6}"/>
                  </a:ext>
                </a:extLst>
              </p:cNvPr>
              <p:cNvSpPr/>
              <p:nvPr/>
            </p:nvSpPr>
            <p:spPr>
              <a:xfrm>
                <a:off x="7429927" y="5792691"/>
                <a:ext cx="68770" cy="75701"/>
              </a:xfrm>
              <a:custGeom>
                <a:avLst/>
                <a:gdLst>
                  <a:gd name="connsiteX0" fmla="*/ 68771 w 68770"/>
                  <a:gd name="connsiteY0" fmla="*/ 37851 h 75701"/>
                  <a:gd name="connsiteX1" fmla="*/ 30671 w 68770"/>
                  <a:gd name="connsiteY1" fmla="*/ 0 h 75701"/>
                  <a:gd name="connsiteX2" fmla="*/ 0 w 68770"/>
                  <a:gd name="connsiteY2" fmla="*/ 0 h 75701"/>
                  <a:gd name="connsiteX3" fmla="*/ 0 w 68770"/>
                  <a:gd name="connsiteY3" fmla="*/ 75702 h 75701"/>
                  <a:gd name="connsiteX4" fmla="*/ 30671 w 68770"/>
                  <a:gd name="connsiteY4" fmla="*/ 75702 h 75701"/>
                  <a:gd name="connsiteX5" fmla="*/ 68771 w 68770"/>
                  <a:gd name="connsiteY5" fmla="*/ 37851 h 75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8770" h="75701">
                    <a:moveTo>
                      <a:pt x="68771" y="37851"/>
                    </a:moveTo>
                    <a:cubicBezTo>
                      <a:pt x="68771" y="16938"/>
                      <a:pt x="51721" y="0"/>
                      <a:pt x="30671" y="0"/>
                    </a:cubicBezTo>
                    <a:lnTo>
                      <a:pt x="0" y="0"/>
                    </a:lnTo>
                    <a:lnTo>
                      <a:pt x="0" y="75702"/>
                    </a:lnTo>
                    <a:lnTo>
                      <a:pt x="30671" y="75702"/>
                    </a:lnTo>
                    <a:cubicBezTo>
                      <a:pt x="51721" y="75702"/>
                      <a:pt x="68771" y="58764"/>
                      <a:pt x="68771" y="37851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6ACF923-5863-33DB-3352-610B8F40B3FB}"/>
                </a:ext>
              </a:extLst>
            </p:cNvPr>
            <p:cNvSpPr txBox="1"/>
            <p:nvPr/>
          </p:nvSpPr>
          <p:spPr>
            <a:xfrm>
              <a:off x="7125928" y="5932131"/>
              <a:ext cx="736027" cy="10432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800">
                  <a:solidFill>
                    <a:schemeClr val="accent2"/>
                  </a:solidFill>
                </a:rPr>
                <a:t>Terminal cysteines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461F893D-D704-323B-7AA3-F7EC5589D801}"/>
                </a:ext>
              </a:extLst>
            </p:cNvPr>
            <p:cNvSpPr txBox="1"/>
            <p:nvPr/>
          </p:nvSpPr>
          <p:spPr>
            <a:xfrm>
              <a:off x="5419677" y="5932131"/>
              <a:ext cx="736027" cy="10432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800">
                  <a:solidFill>
                    <a:schemeClr val="accent2"/>
                  </a:solidFill>
                </a:rPr>
                <a:t>Terminal cysteines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EE8B87A0-A8EC-2F84-5796-910020D45A6F}"/>
                </a:ext>
              </a:extLst>
            </p:cNvPr>
            <p:cNvSpPr txBox="1"/>
            <p:nvPr/>
          </p:nvSpPr>
          <p:spPr>
            <a:xfrm>
              <a:off x="6249236" y="5932131"/>
              <a:ext cx="736027" cy="10432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800">
                  <a:solidFill>
                    <a:schemeClr val="bg2"/>
                  </a:solidFill>
                </a:rPr>
                <a:t>Internal </a:t>
              </a:r>
              <a:br>
                <a:rPr lang="en-GB" sz="800">
                  <a:solidFill>
                    <a:schemeClr val="bg2"/>
                  </a:solidFill>
                </a:rPr>
              </a:br>
              <a:r>
                <a:rPr lang="en-GB" sz="800">
                  <a:solidFill>
                    <a:schemeClr val="bg2"/>
                  </a:solidFill>
                </a:rPr>
                <a:t>cysteines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E94A6E77-D73D-4602-9497-8D68B6380077}"/>
                </a:ext>
              </a:extLst>
            </p:cNvPr>
            <p:cNvSpPr txBox="1"/>
            <p:nvPr/>
          </p:nvSpPr>
          <p:spPr>
            <a:xfrm>
              <a:off x="6321641" y="5539871"/>
              <a:ext cx="736027" cy="10432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400" b="1"/>
                <a:t>Mucin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8FC69C19-CBFC-207F-BBEC-71E715FCDBE2}"/>
              </a:ext>
            </a:extLst>
          </p:cNvPr>
          <p:cNvGrpSpPr/>
          <p:nvPr/>
        </p:nvGrpSpPr>
        <p:grpSpPr>
          <a:xfrm>
            <a:off x="8949596" y="1605227"/>
            <a:ext cx="2586340" cy="3512710"/>
            <a:chOff x="8949596" y="1605227"/>
            <a:chExt cx="2586340" cy="3512710"/>
          </a:xfrm>
        </p:grpSpPr>
        <p:grpSp>
          <p:nvGrpSpPr>
            <p:cNvPr id="25" name="Graphic 5">
              <a:extLst>
                <a:ext uri="{FF2B5EF4-FFF2-40B4-BE49-F238E27FC236}">
                  <a16:creationId xmlns:a16="http://schemas.microsoft.com/office/drawing/2014/main" id="{D22801E5-5195-C5C4-12D8-9E1249CFDBE0}"/>
                </a:ext>
              </a:extLst>
            </p:cNvPr>
            <p:cNvGrpSpPr/>
            <p:nvPr/>
          </p:nvGrpSpPr>
          <p:grpSpPr>
            <a:xfrm>
              <a:off x="8949596" y="3257723"/>
              <a:ext cx="2586215" cy="1860214"/>
              <a:chOff x="8949596" y="3257723"/>
              <a:chExt cx="2586215" cy="1860214"/>
            </a:xfrm>
            <a:solidFill>
              <a:schemeClr val="bg2">
                <a:lumMod val="20000"/>
                <a:lumOff val="80000"/>
              </a:schemeClr>
            </a:solidFill>
          </p:grpSpPr>
          <p:sp>
            <p:nvSpPr>
              <p:cNvPr id="141" name="Freeform 140">
                <a:extLst>
                  <a:ext uri="{FF2B5EF4-FFF2-40B4-BE49-F238E27FC236}">
                    <a16:creationId xmlns:a16="http://schemas.microsoft.com/office/drawing/2014/main" id="{25AC3F10-719D-8827-8538-65562CEF2247}"/>
                  </a:ext>
                </a:extLst>
              </p:cNvPr>
              <p:cNvSpPr/>
              <p:nvPr/>
            </p:nvSpPr>
            <p:spPr>
              <a:xfrm>
                <a:off x="11032198" y="3523042"/>
                <a:ext cx="309967" cy="428119"/>
              </a:xfrm>
              <a:custGeom>
                <a:avLst/>
                <a:gdLst>
                  <a:gd name="connsiteX0" fmla="*/ 25138 w 309967"/>
                  <a:gd name="connsiteY0" fmla="*/ 427995 h 428119"/>
                  <a:gd name="connsiteX1" fmla="*/ 8450 w 309967"/>
                  <a:gd name="connsiteY1" fmla="*/ 421721 h 428119"/>
                  <a:gd name="connsiteX2" fmla="*/ 6317 w 309967"/>
                  <a:gd name="connsiteY2" fmla="*/ 386337 h 428119"/>
                  <a:gd name="connsiteX3" fmla="*/ 262157 w 309967"/>
                  <a:gd name="connsiteY3" fmla="*/ 14435 h 428119"/>
                  <a:gd name="connsiteX4" fmla="*/ 295533 w 309967"/>
                  <a:gd name="connsiteY4" fmla="*/ 2389 h 428119"/>
                  <a:gd name="connsiteX5" fmla="*/ 307578 w 309967"/>
                  <a:gd name="connsiteY5" fmla="*/ 35765 h 428119"/>
                  <a:gd name="connsiteX6" fmla="*/ 43834 w 309967"/>
                  <a:gd name="connsiteY6" fmla="*/ 419713 h 428119"/>
                  <a:gd name="connsiteX7" fmla="*/ 25013 w 309967"/>
                  <a:gd name="connsiteY7" fmla="*/ 428120 h 428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9967" h="428119">
                    <a:moveTo>
                      <a:pt x="25138" y="427995"/>
                    </a:moveTo>
                    <a:cubicBezTo>
                      <a:pt x="19241" y="427995"/>
                      <a:pt x="13218" y="425862"/>
                      <a:pt x="8450" y="421721"/>
                    </a:cubicBezTo>
                    <a:cubicBezTo>
                      <a:pt x="-1964" y="412561"/>
                      <a:pt x="-2843" y="396626"/>
                      <a:pt x="6317" y="386337"/>
                    </a:cubicBezTo>
                    <a:cubicBezTo>
                      <a:pt x="118239" y="260488"/>
                      <a:pt x="192017" y="163999"/>
                      <a:pt x="262157" y="14435"/>
                    </a:cubicBezTo>
                    <a:cubicBezTo>
                      <a:pt x="268054" y="1887"/>
                      <a:pt x="282986" y="-3508"/>
                      <a:pt x="295533" y="2389"/>
                    </a:cubicBezTo>
                    <a:cubicBezTo>
                      <a:pt x="308080" y="8287"/>
                      <a:pt x="313475" y="23218"/>
                      <a:pt x="307578" y="35765"/>
                    </a:cubicBezTo>
                    <a:cubicBezTo>
                      <a:pt x="234929" y="190850"/>
                      <a:pt x="158767" y="290350"/>
                      <a:pt x="43834" y="419713"/>
                    </a:cubicBezTo>
                    <a:cubicBezTo>
                      <a:pt x="38815" y="425234"/>
                      <a:pt x="32039" y="428120"/>
                      <a:pt x="25013" y="428120"/>
                    </a:cubicBezTo>
                    <a:close/>
                  </a:path>
                </a:pathLst>
              </a:custGeom>
              <a:solidFill>
                <a:schemeClr val="bg2">
                  <a:lumMod val="40000"/>
                  <a:lumOff val="60000"/>
                </a:schemeClr>
              </a:solidFill>
              <a:ln w="125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42" name="Freeform 141">
                <a:extLst>
                  <a:ext uri="{FF2B5EF4-FFF2-40B4-BE49-F238E27FC236}">
                    <a16:creationId xmlns:a16="http://schemas.microsoft.com/office/drawing/2014/main" id="{7E5FEA00-27DB-C2C9-BBD0-627D50ADA513}"/>
                  </a:ext>
                </a:extLst>
              </p:cNvPr>
              <p:cNvSpPr/>
              <p:nvPr/>
            </p:nvSpPr>
            <p:spPr>
              <a:xfrm>
                <a:off x="10248150" y="3984235"/>
                <a:ext cx="674605" cy="97293"/>
              </a:xfrm>
              <a:custGeom>
                <a:avLst/>
                <a:gdLst>
                  <a:gd name="connsiteX0" fmla="*/ 303404 w 674605"/>
                  <a:gd name="connsiteY0" fmla="*/ 97294 h 97293"/>
                  <a:gd name="connsiteX1" fmla="*/ 122471 w 674605"/>
                  <a:gd name="connsiteY1" fmla="*/ 92777 h 97293"/>
                  <a:gd name="connsiteX2" fmla="*/ 24477 w 674605"/>
                  <a:gd name="connsiteY2" fmla="*/ 89515 h 97293"/>
                  <a:gd name="connsiteX3" fmla="*/ 9 w 674605"/>
                  <a:gd name="connsiteY3" fmla="*/ 63793 h 97293"/>
                  <a:gd name="connsiteX4" fmla="*/ 25104 w 674605"/>
                  <a:gd name="connsiteY4" fmla="*/ 39325 h 97293"/>
                  <a:gd name="connsiteX5" fmla="*/ 25732 w 674605"/>
                  <a:gd name="connsiteY5" fmla="*/ 39325 h 97293"/>
                  <a:gd name="connsiteX6" fmla="*/ 124353 w 674605"/>
                  <a:gd name="connsiteY6" fmla="*/ 42588 h 97293"/>
                  <a:gd name="connsiteX7" fmla="*/ 640801 w 674605"/>
                  <a:gd name="connsiteY7" fmla="*/ 1558 h 97293"/>
                  <a:gd name="connsiteX8" fmla="*/ 673048 w 674605"/>
                  <a:gd name="connsiteY8" fmla="*/ 16364 h 97293"/>
                  <a:gd name="connsiteX9" fmla="*/ 658242 w 674605"/>
                  <a:gd name="connsiteY9" fmla="*/ 48611 h 97293"/>
                  <a:gd name="connsiteX10" fmla="*/ 303529 w 674605"/>
                  <a:gd name="connsiteY10" fmla="*/ 97169 h 97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74605" h="97293">
                    <a:moveTo>
                      <a:pt x="303404" y="97294"/>
                    </a:moveTo>
                    <a:cubicBezTo>
                      <a:pt x="242047" y="97294"/>
                      <a:pt x="180942" y="95036"/>
                      <a:pt x="122471" y="92777"/>
                    </a:cubicBezTo>
                    <a:cubicBezTo>
                      <a:pt x="88719" y="91522"/>
                      <a:pt x="55971" y="90268"/>
                      <a:pt x="24477" y="89515"/>
                    </a:cubicBezTo>
                    <a:cubicBezTo>
                      <a:pt x="10675" y="89138"/>
                      <a:pt x="-367" y="77720"/>
                      <a:pt x="9" y="63793"/>
                    </a:cubicBezTo>
                    <a:cubicBezTo>
                      <a:pt x="386" y="50116"/>
                      <a:pt x="11553" y="39325"/>
                      <a:pt x="25104" y="39325"/>
                    </a:cubicBezTo>
                    <a:cubicBezTo>
                      <a:pt x="25355" y="39325"/>
                      <a:pt x="25480" y="39325"/>
                      <a:pt x="25732" y="39325"/>
                    </a:cubicBezTo>
                    <a:cubicBezTo>
                      <a:pt x="57351" y="40078"/>
                      <a:pt x="90476" y="41333"/>
                      <a:pt x="124353" y="42588"/>
                    </a:cubicBezTo>
                    <a:cubicBezTo>
                      <a:pt x="297130" y="49112"/>
                      <a:pt x="492868" y="56515"/>
                      <a:pt x="640801" y="1558"/>
                    </a:cubicBezTo>
                    <a:cubicBezTo>
                      <a:pt x="653725" y="-3210"/>
                      <a:pt x="668280" y="3315"/>
                      <a:pt x="673048" y="16364"/>
                    </a:cubicBezTo>
                    <a:cubicBezTo>
                      <a:pt x="677816" y="29413"/>
                      <a:pt x="671291" y="43842"/>
                      <a:pt x="658242" y="48611"/>
                    </a:cubicBezTo>
                    <a:cubicBezTo>
                      <a:pt x="552845" y="87758"/>
                      <a:pt x="427873" y="97169"/>
                      <a:pt x="303529" y="97169"/>
                    </a:cubicBezTo>
                    <a:close/>
                  </a:path>
                </a:pathLst>
              </a:custGeom>
              <a:solidFill>
                <a:schemeClr val="bg2">
                  <a:lumMod val="40000"/>
                  <a:lumOff val="60000"/>
                </a:schemeClr>
              </a:solidFill>
              <a:ln w="125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43" name="Freeform 142">
                <a:extLst>
                  <a:ext uri="{FF2B5EF4-FFF2-40B4-BE49-F238E27FC236}">
                    <a16:creationId xmlns:a16="http://schemas.microsoft.com/office/drawing/2014/main" id="{3E5A5052-6CB5-218D-39CD-CCA1C4E92B35}"/>
                  </a:ext>
                </a:extLst>
              </p:cNvPr>
              <p:cNvSpPr/>
              <p:nvPr/>
            </p:nvSpPr>
            <p:spPr>
              <a:xfrm>
                <a:off x="9457354" y="3995315"/>
                <a:ext cx="666196" cy="375679"/>
              </a:xfrm>
              <a:custGeom>
                <a:avLst/>
                <a:gdLst>
                  <a:gd name="connsiteX0" fmla="*/ 25042 w 666196"/>
                  <a:gd name="connsiteY0" fmla="*/ 375429 h 375679"/>
                  <a:gd name="connsiteX1" fmla="*/ 826 w 666196"/>
                  <a:gd name="connsiteY1" fmla="*/ 356734 h 375679"/>
                  <a:gd name="connsiteX2" fmla="*/ 18643 w 666196"/>
                  <a:gd name="connsiteY2" fmla="*/ 326118 h 375679"/>
                  <a:gd name="connsiteX3" fmla="*/ 223666 w 666196"/>
                  <a:gd name="connsiteY3" fmla="*/ 207797 h 375679"/>
                  <a:gd name="connsiteX4" fmla="*/ 340732 w 666196"/>
                  <a:gd name="connsiteY4" fmla="*/ 125863 h 375679"/>
                  <a:gd name="connsiteX5" fmla="*/ 637602 w 666196"/>
                  <a:gd name="connsiteY5" fmla="*/ 264 h 375679"/>
                  <a:gd name="connsiteX6" fmla="*/ 665959 w 666196"/>
                  <a:gd name="connsiteY6" fmla="*/ 21720 h 375679"/>
                  <a:gd name="connsiteX7" fmla="*/ 644503 w 666196"/>
                  <a:gd name="connsiteY7" fmla="*/ 50077 h 375679"/>
                  <a:gd name="connsiteX8" fmla="*/ 366204 w 666196"/>
                  <a:gd name="connsiteY8" fmla="*/ 169277 h 375679"/>
                  <a:gd name="connsiteX9" fmla="*/ 254030 w 666196"/>
                  <a:gd name="connsiteY9" fmla="*/ 247823 h 375679"/>
                  <a:gd name="connsiteX10" fmla="*/ 31441 w 666196"/>
                  <a:gd name="connsiteY10" fmla="*/ 374802 h 375679"/>
                  <a:gd name="connsiteX11" fmla="*/ 25042 w 666196"/>
                  <a:gd name="connsiteY11" fmla="*/ 375680 h 375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66196" h="375679">
                    <a:moveTo>
                      <a:pt x="25042" y="375429"/>
                    </a:moveTo>
                    <a:cubicBezTo>
                      <a:pt x="13875" y="375429"/>
                      <a:pt x="3712" y="368026"/>
                      <a:pt x="826" y="356734"/>
                    </a:cubicBezTo>
                    <a:cubicBezTo>
                      <a:pt x="-2688" y="343308"/>
                      <a:pt x="5343" y="329631"/>
                      <a:pt x="18643" y="326118"/>
                    </a:cubicBezTo>
                    <a:cubicBezTo>
                      <a:pt x="94178" y="306168"/>
                      <a:pt x="157040" y="258362"/>
                      <a:pt x="223666" y="207797"/>
                    </a:cubicBezTo>
                    <a:cubicBezTo>
                      <a:pt x="260932" y="179440"/>
                      <a:pt x="299577" y="150079"/>
                      <a:pt x="340732" y="125863"/>
                    </a:cubicBezTo>
                    <a:cubicBezTo>
                      <a:pt x="438476" y="68522"/>
                      <a:pt x="541992" y="13564"/>
                      <a:pt x="637602" y="264"/>
                    </a:cubicBezTo>
                    <a:cubicBezTo>
                      <a:pt x="651404" y="-1744"/>
                      <a:pt x="663952" y="7918"/>
                      <a:pt x="665959" y="21720"/>
                    </a:cubicBezTo>
                    <a:cubicBezTo>
                      <a:pt x="667841" y="35397"/>
                      <a:pt x="658305" y="48069"/>
                      <a:pt x="644503" y="50077"/>
                    </a:cubicBezTo>
                    <a:cubicBezTo>
                      <a:pt x="557676" y="62122"/>
                      <a:pt x="459430" y="114445"/>
                      <a:pt x="366204" y="169277"/>
                    </a:cubicBezTo>
                    <a:cubicBezTo>
                      <a:pt x="327558" y="191987"/>
                      <a:pt x="290167" y="220344"/>
                      <a:pt x="254030" y="247823"/>
                    </a:cubicBezTo>
                    <a:cubicBezTo>
                      <a:pt x="186526" y="299141"/>
                      <a:pt x="116637" y="352342"/>
                      <a:pt x="31441" y="374802"/>
                    </a:cubicBezTo>
                    <a:cubicBezTo>
                      <a:pt x="29308" y="375304"/>
                      <a:pt x="27175" y="375680"/>
                      <a:pt x="25042" y="375680"/>
                    </a:cubicBezTo>
                    <a:close/>
                  </a:path>
                </a:pathLst>
              </a:custGeom>
              <a:solidFill>
                <a:schemeClr val="bg2">
                  <a:lumMod val="40000"/>
                  <a:lumOff val="60000"/>
                </a:schemeClr>
              </a:solidFill>
              <a:ln w="125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44" name="Freeform 143">
                <a:extLst>
                  <a:ext uri="{FF2B5EF4-FFF2-40B4-BE49-F238E27FC236}">
                    <a16:creationId xmlns:a16="http://schemas.microsoft.com/office/drawing/2014/main" id="{05534036-E47D-2FA1-F9D1-C52AE2A9122E}"/>
                  </a:ext>
                </a:extLst>
              </p:cNvPr>
              <p:cNvSpPr/>
              <p:nvPr/>
            </p:nvSpPr>
            <p:spPr>
              <a:xfrm>
                <a:off x="9015924" y="3859812"/>
                <a:ext cx="318599" cy="530631"/>
              </a:xfrm>
              <a:custGeom>
                <a:avLst/>
                <a:gdLst>
                  <a:gd name="connsiteX0" fmla="*/ 293569 w 318599"/>
                  <a:gd name="connsiteY0" fmla="*/ 530506 h 530631"/>
                  <a:gd name="connsiteX1" fmla="*/ 286794 w 318599"/>
                  <a:gd name="connsiteY1" fmla="*/ 529628 h 530631"/>
                  <a:gd name="connsiteX2" fmla="*/ 81018 w 318599"/>
                  <a:gd name="connsiteY2" fmla="*/ 363250 h 530631"/>
                  <a:gd name="connsiteX3" fmla="*/ 7491 w 318599"/>
                  <a:gd name="connsiteY3" fmla="*/ 20708 h 530631"/>
                  <a:gd name="connsiteX4" fmla="*/ 36601 w 318599"/>
                  <a:gd name="connsiteY4" fmla="*/ 381 h 530631"/>
                  <a:gd name="connsiteX5" fmla="*/ 56927 w 318599"/>
                  <a:gd name="connsiteY5" fmla="*/ 29491 h 530631"/>
                  <a:gd name="connsiteX6" fmla="*/ 121546 w 318599"/>
                  <a:gd name="connsiteY6" fmla="*/ 333638 h 530631"/>
                  <a:gd name="connsiteX7" fmla="*/ 300220 w 318599"/>
                  <a:gd name="connsiteY7" fmla="*/ 481320 h 530631"/>
                  <a:gd name="connsiteX8" fmla="*/ 317661 w 318599"/>
                  <a:gd name="connsiteY8" fmla="*/ 512187 h 530631"/>
                  <a:gd name="connsiteX9" fmla="*/ 293444 w 318599"/>
                  <a:gd name="connsiteY9" fmla="*/ 530631 h 5306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18599" h="530631">
                    <a:moveTo>
                      <a:pt x="293569" y="530506"/>
                    </a:moveTo>
                    <a:cubicBezTo>
                      <a:pt x="291311" y="530506"/>
                      <a:pt x="289053" y="530255"/>
                      <a:pt x="286794" y="529628"/>
                    </a:cubicBezTo>
                    <a:cubicBezTo>
                      <a:pt x="216780" y="510179"/>
                      <a:pt x="147519" y="454218"/>
                      <a:pt x="81018" y="363250"/>
                    </a:cubicBezTo>
                    <a:cubicBezTo>
                      <a:pt x="12384" y="269396"/>
                      <a:pt x="-14467" y="144550"/>
                      <a:pt x="7491" y="20708"/>
                    </a:cubicBezTo>
                    <a:cubicBezTo>
                      <a:pt x="9875" y="7031"/>
                      <a:pt x="22924" y="-2003"/>
                      <a:pt x="36601" y="381"/>
                    </a:cubicBezTo>
                    <a:cubicBezTo>
                      <a:pt x="50277" y="2765"/>
                      <a:pt x="59311" y="15815"/>
                      <a:pt x="56927" y="29491"/>
                    </a:cubicBezTo>
                    <a:cubicBezTo>
                      <a:pt x="37353" y="139908"/>
                      <a:pt x="60942" y="250826"/>
                      <a:pt x="121546" y="333638"/>
                    </a:cubicBezTo>
                    <a:cubicBezTo>
                      <a:pt x="180393" y="414192"/>
                      <a:pt x="242251" y="465134"/>
                      <a:pt x="300220" y="481320"/>
                    </a:cubicBezTo>
                    <a:cubicBezTo>
                      <a:pt x="313520" y="485085"/>
                      <a:pt x="321425" y="498887"/>
                      <a:pt x="317661" y="512187"/>
                    </a:cubicBezTo>
                    <a:cubicBezTo>
                      <a:pt x="314524" y="523354"/>
                      <a:pt x="304486" y="530631"/>
                      <a:pt x="293444" y="530631"/>
                    </a:cubicBezTo>
                    <a:close/>
                  </a:path>
                </a:pathLst>
              </a:custGeom>
              <a:solidFill>
                <a:schemeClr val="bg2">
                  <a:lumMod val="40000"/>
                  <a:lumOff val="60000"/>
                </a:schemeClr>
              </a:solidFill>
              <a:ln w="125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45" name="Freeform 144">
                <a:extLst>
                  <a:ext uri="{FF2B5EF4-FFF2-40B4-BE49-F238E27FC236}">
                    <a16:creationId xmlns:a16="http://schemas.microsoft.com/office/drawing/2014/main" id="{E086EEB4-80A9-3997-80BA-2643FB725ACD}"/>
                  </a:ext>
                </a:extLst>
              </p:cNvPr>
              <p:cNvSpPr/>
              <p:nvPr/>
            </p:nvSpPr>
            <p:spPr>
              <a:xfrm>
                <a:off x="9088300" y="3555853"/>
                <a:ext cx="508654" cy="254653"/>
              </a:xfrm>
              <a:custGeom>
                <a:avLst/>
                <a:gdLst>
                  <a:gd name="connsiteX0" fmla="*/ 483433 w 508654"/>
                  <a:gd name="connsiteY0" fmla="*/ 254653 h 254653"/>
                  <a:gd name="connsiteX1" fmla="*/ 463482 w 508654"/>
                  <a:gd name="connsiteY1" fmla="*/ 244867 h 254653"/>
                  <a:gd name="connsiteX2" fmla="*/ 432742 w 508654"/>
                  <a:gd name="connsiteY2" fmla="*/ 203586 h 254653"/>
                  <a:gd name="connsiteX3" fmla="*/ 253189 w 508654"/>
                  <a:gd name="connsiteY3" fmla="*/ 50508 h 254653"/>
                  <a:gd name="connsiteX4" fmla="*/ 42896 w 508654"/>
                  <a:gd name="connsiteY4" fmla="*/ 169583 h 254653"/>
                  <a:gd name="connsiteX5" fmla="*/ 7387 w 508654"/>
                  <a:gd name="connsiteY5" fmla="*/ 169583 h 254653"/>
                  <a:gd name="connsiteX6" fmla="*/ 7387 w 508654"/>
                  <a:gd name="connsiteY6" fmla="*/ 134074 h 254653"/>
                  <a:gd name="connsiteX7" fmla="*/ 256953 w 508654"/>
                  <a:gd name="connsiteY7" fmla="*/ 445 h 254653"/>
                  <a:gd name="connsiteX8" fmla="*/ 473269 w 508654"/>
                  <a:gd name="connsiteY8" fmla="*/ 173849 h 254653"/>
                  <a:gd name="connsiteX9" fmla="*/ 503508 w 508654"/>
                  <a:gd name="connsiteY9" fmla="*/ 214376 h 254653"/>
                  <a:gd name="connsiteX10" fmla="*/ 498866 w 508654"/>
                  <a:gd name="connsiteY10" fmla="*/ 249509 h 254653"/>
                  <a:gd name="connsiteX11" fmla="*/ 483684 w 508654"/>
                  <a:gd name="connsiteY11" fmla="*/ 254653 h 254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08654" h="254653">
                    <a:moveTo>
                      <a:pt x="483433" y="254653"/>
                    </a:moveTo>
                    <a:cubicBezTo>
                      <a:pt x="475904" y="254653"/>
                      <a:pt x="468376" y="251266"/>
                      <a:pt x="463482" y="244867"/>
                    </a:cubicBezTo>
                    <a:cubicBezTo>
                      <a:pt x="453068" y="231315"/>
                      <a:pt x="442905" y="217388"/>
                      <a:pt x="432742" y="203586"/>
                    </a:cubicBezTo>
                    <a:cubicBezTo>
                      <a:pt x="376655" y="127549"/>
                      <a:pt x="323705" y="55653"/>
                      <a:pt x="253189" y="50508"/>
                    </a:cubicBezTo>
                    <a:cubicBezTo>
                      <a:pt x="195848" y="46368"/>
                      <a:pt x="126838" y="85139"/>
                      <a:pt x="42896" y="169583"/>
                    </a:cubicBezTo>
                    <a:cubicBezTo>
                      <a:pt x="33109" y="179370"/>
                      <a:pt x="17299" y="179495"/>
                      <a:pt x="7387" y="169583"/>
                    </a:cubicBezTo>
                    <a:cubicBezTo>
                      <a:pt x="-2400" y="159796"/>
                      <a:pt x="-2525" y="143986"/>
                      <a:pt x="7387" y="134074"/>
                    </a:cubicBezTo>
                    <a:cubicBezTo>
                      <a:pt x="102370" y="38714"/>
                      <a:pt x="183928" y="-4951"/>
                      <a:pt x="256953" y="445"/>
                    </a:cubicBezTo>
                    <a:cubicBezTo>
                      <a:pt x="350556" y="7346"/>
                      <a:pt x="412917" y="92040"/>
                      <a:pt x="473269" y="173849"/>
                    </a:cubicBezTo>
                    <a:cubicBezTo>
                      <a:pt x="483182" y="187400"/>
                      <a:pt x="493220" y="200951"/>
                      <a:pt x="503508" y="214376"/>
                    </a:cubicBezTo>
                    <a:cubicBezTo>
                      <a:pt x="511915" y="225418"/>
                      <a:pt x="509782" y="241102"/>
                      <a:pt x="498866" y="249509"/>
                    </a:cubicBezTo>
                    <a:cubicBezTo>
                      <a:pt x="494349" y="253022"/>
                      <a:pt x="488953" y="254653"/>
                      <a:pt x="483684" y="254653"/>
                    </a:cubicBezTo>
                    <a:close/>
                  </a:path>
                </a:pathLst>
              </a:custGeom>
              <a:solidFill>
                <a:schemeClr val="bg2">
                  <a:lumMod val="40000"/>
                  <a:lumOff val="60000"/>
                </a:schemeClr>
              </a:solidFill>
              <a:ln w="125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46" name="Freeform 145">
                <a:extLst>
                  <a:ext uri="{FF2B5EF4-FFF2-40B4-BE49-F238E27FC236}">
                    <a16:creationId xmlns:a16="http://schemas.microsoft.com/office/drawing/2014/main" id="{873DD233-112D-5ABD-F1B0-65CDDE83345B}"/>
                  </a:ext>
                </a:extLst>
              </p:cNvPr>
              <p:cNvSpPr/>
              <p:nvPr/>
            </p:nvSpPr>
            <p:spPr>
              <a:xfrm>
                <a:off x="9677672" y="3726098"/>
                <a:ext cx="587391" cy="208501"/>
              </a:xfrm>
              <a:custGeom>
                <a:avLst/>
                <a:gdLst>
                  <a:gd name="connsiteX0" fmla="*/ 93564 w 587391"/>
                  <a:gd name="connsiteY0" fmla="*/ 208376 h 208501"/>
                  <a:gd name="connsiteX1" fmla="*/ 15017 w 587391"/>
                  <a:gd name="connsiteY1" fmla="*/ 192064 h 208501"/>
                  <a:gd name="connsiteX2" fmla="*/ 2094 w 587391"/>
                  <a:gd name="connsiteY2" fmla="*/ 159065 h 208501"/>
                  <a:gd name="connsiteX3" fmla="*/ 35093 w 587391"/>
                  <a:gd name="connsiteY3" fmla="*/ 146141 h 208501"/>
                  <a:gd name="connsiteX4" fmla="*/ 287545 w 587391"/>
                  <a:gd name="connsiteY4" fmla="*/ 97457 h 208501"/>
                  <a:gd name="connsiteX5" fmla="*/ 556309 w 587391"/>
                  <a:gd name="connsiteY5" fmla="*/ 718 h 208501"/>
                  <a:gd name="connsiteX6" fmla="*/ 586673 w 587391"/>
                  <a:gd name="connsiteY6" fmla="*/ 19162 h 208501"/>
                  <a:gd name="connsiteX7" fmla="*/ 568229 w 587391"/>
                  <a:gd name="connsiteY7" fmla="*/ 49527 h 208501"/>
                  <a:gd name="connsiteX8" fmla="*/ 307495 w 587391"/>
                  <a:gd name="connsiteY8" fmla="*/ 143506 h 208501"/>
                  <a:gd name="connsiteX9" fmla="*/ 93312 w 587391"/>
                  <a:gd name="connsiteY9" fmla="*/ 208501 h 2085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87391" h="208501">
                    <a:moveTo>
                      <a:pt x="93564" y="208376"/>
                    </a:moveTo>
                    <a:cubicBezTo>
                      <a:pt x="67089" y="208376"/>
                      <a:pt x="41116" y="203482"/>
                      <a:pt x="15017" y="192064"/>
                    </a:cubicBezTo>
                    <a:cubicBezTo>
                      <a:pt x="2344" y="186544"/>
                      <a:pt x="-3427" y="171738"/>
                      <a:pt x="2094" y="159065"/>
                    </a:cubicBezTo>
                    <a:cubicBezTo>
                      <a:pt x="7614" y="146392"/>
                      <a:pt x="22420" y="140620"/>
                      <a:pt x="35093" y="146141"/>
                    </a:cubicBezTo>
                    <a:cubicBezTo>
                      <a:pt x="105483" y="177007"/>
                      <a:pt x="181897" y="143632"/>
                      <a:pt x="287545" y="97457"/>
                    </a:cubicBezTo>
                    <a:cubicBezTo>
                      <a:pt x="362829" y="64584"/>
                      <a:pt x="448151" y="27318"/>
                      <a:pt x="556309" y="718"/>
                    </a:cubicBezTo>
                    <a:cubicBezTo>
                      <a:pt x="569734" y="-2545"/>
                      <a:pt x="583286" y="5611"/>
                      <a:pt x="586673" y="19162"/>
                    </a:cubicBezTo>
                    <a:cubicBezTo>
                      <a:pt x="589936" y="32588"/>
                      <a:pt x="581780" y="46264"/>
                      <a:pt x="568229" y="49527"/>
                    </a:cubicBezTo>
                    <a:cubicBezTo>
                      <a:pt x="464211" y="75123"/>
                      <a:pt x="381023" y="111385"/>
                      <a:pt x="307495" y="143506"/>
                    </a:cubicBezTo>
                    <a:cubicBezTo>
                      <a:pt x="227067" y="178639"/>
                      <a:pt x="158684" y="208501"/>
                      <a:pt x="93312" y="208501"/>
                    </a:cubicBezTo>
                    <a:close/>
                  </a:path>
                </a:pathLst>
              </a:custGeom>
              <a:solidFill>
                <a:schemeClr val="bg2">
                  <a:lumMod val="40000"/>
                  <a:lumOff val="60000"/>
                </a:schemeClr>
              </a:solidFill>
              <a:ln w="125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47" name="Freeform 146">
                <a:extLst>
                  <a:ext uri="{FF2B5EF4-FFF2-40B4-BE49-F238E27FC236}">
                    <a16:creationId xmlns:a16="http://schemas.microsoft.com/office/drawing/2014/main" id="{0021D5C5-547D-2CE3-E13C-A2CDB0726814}"/>
                  </a:ext>
                </a:extLst>
              </p:cNvPr>
              <p:cNvSpPr/>
              <p:nvPr/>
            </p:nvSpPr>
            <p:spPr>
              <a:xfrm>
                <a:off x="10419019" y="3689488"/>
                <a:ext cx="599106" cy="151759"/>
              </a:xfrm>
              <a:custGeom>
                <a:avLst/>
                <a:gdLst>
                  <a:gd name="connsiteX0" fmla="*/ 307319 w 599106"/>
                  <a:gd name="connsiteY0" fmla="*/ 151760 h 151759"/>
                  <a:gd name="connsiteX1" fmla="*/ 27764 w 599106"/>
                  <a:gd name="connsiteY1" fmla="*/ 97681 h 151759"/>
                  <a:gd name="connsiteX2" fmla="*/ 14966 w 599106"/>
                  <a:gd name="connsiteY2" fmla="*/ 91909 h 151759"/>
                  <a:gd name="connsiteX3" fmla="*/ 2168 w 599106"/>
                  <a:gd name="connsiteY3" fmla="*/ 58784 h 151759"/>
                  <a:gd name="connsiteX4" fmla="*/ 35293 w 599106"/>
                  <a:gd name="connsiteY4" fmla="*/ 45986 h 151759"/>
                  <a:gd name="connsiteX5" fmla="*/ 48467 w 599106"/>
                  <a:gd name="connsiteY5" fmla="*/ 51883 h 151759"/>
                  <a:gd name="connsiteX6" fmla="*/ 465917 w 599106"/>
                  <a:gd name="connsiteY6" fmla="*/ 93164 h 151759"/>
                  <a:gd name="connsiteX7" fmla="*/ 550611 w 599106"/>
                  <a:gd name="connsiteY7" fmla="*/ 16123 h 151759"/>
                  <a:gd name="connsiteX8" fmla="*/ 582984 w 599106"/>
                  <a:gd name="connsiteY8" fmla="*/ 1694 h 151759"/>
                  <a:gd name="connsiteX9" fmla="*/ 597413 w 599106"/>
                  <a:gd name="connsiteY9" fmla="*/ 34066 h 151759"/>
                  <a:gd name="connsiteX10" fmla="*/ 470560 w 599106"/>
                  <a:gd name="connsiteY10" fmla="*/ 143102 h 151759"/>
                  <a:gd name="connsiteX11" fmla="*/ 307319 w 599106"/>
                  <a:gd name="connsiteY11" fmla="*/ 151509 h 1517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99106" h="151759">
                    <a:moveTo>
                      <a:pt x="307319" y="151760"/>
                    </a:moveTo>
                    <a:cubicBezTo>
                      <a:pt x="147090" y="151760"/>
                      <a:pt x="79961" y="121395"/>
                      <a:pt x="27764" y="97681"/>
                    </a:cubicBezTo>
                    <a:lnTo>
                      <a:pt x="14966" y="91909"/>
                    </a:lnTo>
                    <a:cubicBezTo>
                      <a:pt x="2293" y="86263"/>
                      <a:pt x="-3478" y="71457"/>
                      <a:pt x="2168" y="58784"/>
                    </a:cubicBezTo>
                    <a:cubicBezTo>
                      <a:pt x="7814" y="46111"/>
                      <a:pt x="22620" y="40339"/>
                      <a:pt x="35293" y="45986"/>
                    </a:cubicBezTo>
                    <a:cubicBezTo>
                      <a:pt x="39684" y="47868"/>
                      <a:pt x="44076" y="49876"/>
                      <a:pt x="48467" y="51883"/>
                    </a:cubicBezTo>
                    <a:cubicBezTo>
                      <a:pt x="114090" y="81495"/>
                      <a:pt x="195522" y="118509"/>
                      <a:pt x="465917" y="93164"/>
                    </a:cubicBezTo>
                    <a:cubicBezTo>
                      <a:pt x="513220" y="88772"/>
                      <a:pt x="538064" y="48872"/>
                      <a:pt x="550611" y="16123"/>
                    </a:cubicBezTo>
                    <a:cubicBezTo>
                      <a:pt x="555630" y="3199"/>
                      <a:pt x="570060" y="-3325"/>
                      <a:pt x="582984" y="1694"/>
                    </a:cubicBezTo>
                    <a:cubicBezTo>
                      <a:pt x="595907" y="6713"/>
                      <a:pt x="602432" y="21142"/>
                      <a:pt x="597413" y="34066"/>
                    </a:cubicBezTo>
                    <a:cubicBezTo>
                      <a:pt x="572569" y="99061"/>
                      <a:pt x="527399" y="137832"/>
                      <a:pt x="470560" y="143102"/>
                    </a:cubicBezTo>
                    <a:cubicBezTo>
                      <a:pt x="407195" y="148999"/>
                      <a:pt x="353367" y="151509"/>
                      <a:pt x="307319" y="151509"/>
                    </a:cubicBezTo>
                    <a:close/>
                  </a:path>
                </a:pathLst>
              </a:custGeom>
              <a:solidFill>
                <a:schemeClr val="bg2">
                  <a:lumMod val="40000"/>
                  <a:lumOff val="60000"/>
                </a:schemeClr>
              </a:solidFill>
              <a:ln w="125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48" name="Freeform 147">
                <a:extLst>
                  <a:ext uri="{FF2B5EF4-FFF2-40B4-BE49-F238E27FC236}">
                    <a16:creationId xmlns:a16="http://schemas.microsoft.com/office/drawing/2014/main" id="{186F73FD-CFE6-6D5E-72D7-DB216A861501}"/>
                  </a:ext>
                </a:extLst>
              </p:cNvPr>
              <p:cNvSpPr/>
              <p:nvPr/>
            </p:nvSpPr>
            <p:spPr>
              <a:xfrm>
                <a:off x="10447422" y="3259679"/>
                <a:ext cx="584245" cy="299755"/>
              </a:xfrm>
              <a:custGeom>
                <a:avLst/>
                <a:gdLst>
                  <a:gd name="connsiteX0" fmla="*/ 559222 w 584245"/>
                  <a:gd name="connsiteY0" fmla="*/ 299756 h 299755"/>
                  <a:gd name="connsiteX1" fmla="*/ 534504 w 584245"/>
                  <a:gd name="connsiteY1" fmla="*/ 278551 h 299755"/>
                  <a:gd name="connsiteX2" fmla="*/ 447551 w 584245"/>
                  <a:gd name="connsiteY2" fmla="*/ 85071 h 299755"/>
                  <a:gd name="connsiteX3" fmla="*/ 37505 w 584245"/>
                  <a:gd name="connsiteY3" fmla="*/ 148811 h 299755"/>
                  <a:gd name="connsiteX4" fmla="*/ 3251 w 584245"/>
                  <a:gd name="connsiteY4" fmla="*/ 139401 h 299755"/>
                  <a:gd name="connsiteX5" fmla="*/ 12661 w 584245"/>
                  <a:gd name="connsiteY5" fmla="*/ 105147 h 299755"/>
                  <a:gd name="connsiteX6" fmla="*/ 475406 w 584245"/>
                  <a:gd name="connsiteY6" fmla="*/ 43414 h 299755"/>
                  <a:gd name="connsiteX7" fmla="*/ 478920 w 584245"/>
                  <a:gd name="connsiteY7" fmla="*/ 45170 h 299755"/>
                  <a:gd name="connsiteX8" fmla="*/ 482558 w 584245"/>
                  <a:gd name="connsiteY8" fmla="*/ 49185 h 299755"/>
                  <a:gd name="connsiteX9" fmla="*/ 583941 w 584245"/>
                  <a:gd name="connsiteY9" fmla="*/ 270646 h 299755"/>
                  <a:gd name="connsiteX10" fmla="*/ 562986 w 584245"/>
                  <a:gd name="connsiteY10" fmla="*/ 299379 h 299755"/>
                  <a:gd name="connsiteX11" fmla="*/ 559097 w 584245"/>
                  <a:gd name="connsiteY11" fmla="*/ 299630 h 299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84245" h="299755">
                    <a:moveTo>
                      <a:pt x="559222" y="299756"/>
                    </a:moveTo>
                    <a:cubicBezTo>
                      <a:pt x="547051" y="299756"/>
                      <a:pt x="536386" y="290972"/>
                      <a:pt x="534504" y="278551"/>
                    </a:cubicBezTo>
                    <a:cubicBezTo>
                      <a:pt x="522710" y="203769"/>
                      <a:pt x="491843" y="135260"/>
                      <a:pt x="447551" y="85071"/>
                    </a:cubicBezTo>
                    <a:cubicBezTo>
                      <a:pt x="321074" y="8030"/>
                      <a:pt x="169377" y="74029"/>
                      <a:pt x="37505" y="148811"/>
                    </a:cubicBezTo>
                    <a:cubicBezTo>
                      <a:pt x="25459" y="155712"/>
                      <a:pt x="10151" y="151446"/>
                      <a:pt x="3251" y="139401"/>
                    </a:cubicBezTo>
                    <a:cubicBezTo>
                      <a:pt x="-3525" y="127355"/>
                      <a:pt x="616" y="112048"/>
                      <a:pt x="12661" y="105147"/>
                    </a:cubicBezTo>
                    <a:cubicBezTo>
                      <a:pt x="157959" y="22711"/>
                      <a:pt x="326470" y="-49060"/>
                      <a:pt x="475406" y="43414"/>
                    </a:cubicBezTo>
                    <a:lnTo>
                      <a:pt x="478920" y="45170"/>
                    </a:lnTo>
                    <a:lnTo>
                      <a:pt x="482558" y="49185"/>
                    </a:lnTo>
                    <a:cubicBezTo>
                      <a:pt x="534379" y="106276"/>
                      <a:pt x="570390" y="185073"/>
                      <a:pt x="583941" y="270646"/>
                    </a:cubicBezTo>
                    <a:cubicBezTo>
                      <a:pt x="586074" y="284322"/>
                      <a:pt x="576789" y="297121"/>
                      <a:pt x="562986" y="299379"/>
                    </a:cubicBezTo>
                    <a:cubicBezTo>
                      <a:pt x="561606" y="299630"/>
                      <a:pt x="560352" y="299630"/>
                      <a:pt x="559097" y="299630"/>
                    </a:cubicBezTo>
                    <a:close/>
                  </a:path>
                </a:pathLst>
              </a:custGeom>
              <a:solidFill>
                <a:schemeClr val="bg2">
                  <a:lumMod val="40000"/>
                  <a:lumOff val="60000"/>
                </a:schemeClr>
              </a:solidFill>
              <a:ln w="125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49" name="Freeform 148">
                <a:extLst>
                  <a:ext uri="{FF2B5EF4-FFF2-40B4-BE49-F238E27FC236}">
                    <a16:creationId xmlns:a16="http://schemas.microsoft.com/office/drawing/2014/main" id="{7983FB84-BC4C-E90B-D94D-304B892DA886}"/>
                  </a:ext>
                </a:extLst>
              </p:cNvPr>
              <p:cNvSpPr/>
              <p:nvPr/>
            </p:nvSpPr>
            <p:spPr>
              <a:xfrm>
                <a:off x="9749300" y="3446811"/>
                <a:ext cx="606840" cy="194683"/>
              </a:xfrm>
              <a:custGeom>
                <a:avLst/>
                <a:gdLst>
                  <a:gd name="connsiteX0" fmla="*/ 135237 w 606840"/>
                  <a:gd name="connsiteY0" fmla="*/ 194683 h 194683"/>
                  <a:gd name="connsiteX1" fmla="*/ 19677 w 606840"/>
                  <a:gd name="connsiteY1" fmla="*/ 182387 h 194683"/>
                  <a:gd name="connsiteX2" fmla="*/ 604 w 606840"/>
                  <a:gd name="connsiteY2" fmla="*/ 152399 h 194683"/>
                  <a:gd name="connsiteX3" fmla="*/ 30593 w 606840"/>
                  <a:gd name="connsiteY3" fmla="*/ 133327 h 194683"/>
                  <a:gd name="connsiteX4" fmla="*/ 568622 w 606840"/>
                  <a:gd name="connsiteY4" fmla="*/ 3713 h 194683"/>
                  <a:gd name="connsiteX5" fmla="*/ 603127 w 606840"/>
                  <a:gd name="connsiteY5" fmla="*/ 11994 h 194683"/>
                  <a:gd name="connsiteX6" fmla="*/ 594846 w 606840"/>
                  <a:gd name="connsiteY6" fmla="*/ 46500 h 194683"/>
                  <a:gd name="connsiteX7" fmla="*/ 135237 w 606840"/>
                  <a:gd name="connsiteY7" fmla="*/ 194683 h 194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06840" h="194683">
                    <a:moveTo>
                      <a:pt x="135237" y="194683"/>
                    </a:moveTo>
                    <a:cubicBezTo>
                      <a:pt x="95211" y="194683"/>
                      <a:pt x="56565" y="190668"/>
                      <a:pt x="19677" y="182387"/>
                    </a:cubicBezTo>
                    <a:cubicBezTo>
                      <a:pt x="6125" y="179376"/>
                      <a:pt x="-2407" y="165950"/>
                      <a:pt x="604" y="152399"/>
                    </a:cubicBezTo>
                    <a:cubicBezTo>
                      <a:pt x="3616" y="138848"/>
                      <a:pt x="17041" y="130316"/>
                      <a:pt x="30593" y="133327"/>
                    </a:cubicBezTo>
                    <a:cubicBezTo>
                      <a:pt x="238376" y="179752"/>
                      <a:pt x="456951" y="72096"/>
                      <a:pt x="568622" y="3713"/>
                    </a:cubicBezTo>
                    <a:cubicBezTo>
                      <a:pt x="580416" y="-3564"/>
                      <a:pt x="595850" y="200"/>
                      <a:pt x="603127" y="11994"/>
                    </a:cubicBezTo>
                    <a:cubicBezTo>
                      <a:pt x="610405" y="23789"/>
                      <a:pt x="606640" y="39222"/>
                      <a:pt x="594846" y="46500"/>
                    </a:cubicBezTo>
                    <a:cubicBezTo>
                      <a:pt x="435871" y="143867"/>
                      <a:pt x="276646" y="194683"/>
                      <a:pt x="135237" y="194683"/>
                    </a:cubicBezTo>
                    <a:close/>
                  </a:path>
                </a:pathLst>
              </a:custGeom>
              <a:solidFill>
                <a:schemeClr val="bg2">
                  <a:lumMod val="40000"/>
                  <a:lumOff val="60000"/>
                </a:schemeClr>
              </a:solidFill>
              <a:ln w="125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50" name="Freeform 149">
                <a:extLst>
                  <a:ext uri="{FF2B5EF4-FFF2-40B4-BE49-F238E27FC236}">
                    <a16:creationId xmlns:a16="http://schemas.microsoft.com/office/drawing/2014/main" id="{C86F8C88-651F-E9B1-E637-1468C9FBF55E}"/>
                  </a:ext>
                </a:extLst>
              </p:cNvPr>
              <p:cNvSpPr/>
              <p:nvPr/>
            </p:nvSpPr>
            <p:spPr>
              <a:xfrm>
                <a:off x="8949596" y="3257723"/>
                <a:ext cx="701629" cy="339102"/>
              </a:xfrm>
              <a:custGeom>
                <a:avLst/>
                <a:gdLst>
                  <a:gd name="connsiteX0" fmla="*/ 676467 w 701629"/>
                  <a:gd name="connsiteY0" fmla="*/ 338977 h 339102"/>
                  <a:gd name="connsiteX1" fmla="*/ 657144 w 701629"/>
                  <a:gd name="connsiteY1" fmla="*/ 329818 h 339102"/>
                  <a:gd name="connsiteX2" fmla="*/ 367426 w 701629"/>
                  <a:gd name="connsiteY2" fmla="*/ 76362 h 339102"/>
                  <a:gd name="connsiteX3" fmla="*/ 165790 w 701629"/>
                  <a:gd name="connsiteY3" fmla="*/ 66198 h 339102"/>
                  <a:gd name="connsiteX4" fmla="*/ 48473 w 701629"/>
                  <a:gd name="connsiteY4" fmla="*/ 175862 h 339102"/>
                  <a:gd name="connsiteX5" fmla="*/ 15850 w 701629"/>
                  <a:gd name="connsiteY5" fmla="*/ 189915 h 339102"/>
                  <a:gd name="connsiteX6" fmla="*/ 1797 w 701629"/>
                  <a:gd name="connsiteY6" fmla="*/ 157292 h 339102"/>
                  <a:gd name="connsiteX7" fmla="*/ 148099 w 701629"/>
                  <a:gd name="connsiteY7" fmla="*/ 19271 h 339102"/>
                  <a:gd name="connsiteX8" fmla="*/ 390388 w 701629"/>
                  <a:gd name="connsiteY8" fmla="*/ 31819 h 339102"/>
                  <a:gd name="connsiteX9" fmla="*/ 695915 w 701629"/>
                  <a:gd name="connsiteY9" fmla="*/ 297948 h 339102"/>
                  <a:gd name="connsiteX10" fmla="*/ 692527 w 701629"/>
                  <a:gd name="connsiteY10" fmla="*/ 333331 h 339102"/>
                  <a:gd name="connsiteX11" fmla="*/ 676592 w 701629"/>
                  <a:gd name="connsiteY11" fmla="*/ 339103 h 339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01629" h="339102">
                    <a:moveTo>
                      <a:pt x="676467" y="338977"/>
                    </a:moveTo>
                    <a:cubicBezTo>
                      <a:pt x="669189" y="338977"/>
                      <a:pt x="662037" y="335840"/>
                      <a:pt x="657144" y="329818"/>
                    </a:cubicBezTo>
                    <a:cubicBezTo>
                      <a:pt x="597167" y="256918"/>
                      <a:pt x="470439" y="129311"/>
                      <a:pt x="367426" y="76362"/>
                    </a:cubicBezTo>
                    <a:cubicBezTo>
                      <a:pt x="306948" y="45244"/>
                      <a:pt x="231539" y="41480"/>
                      <a:pt x="165790" y="66198"/>
                    </a:cubicBezTo>
                    <a:cubicBezTo>
                      <a:pt x="109955" y="87152"/>
                      <a:pt x="68298" y="126049"/>
                      <a:pt x="48473" y="175862"/>
                    </a:cubicBezTo>
                    <a:cubicBezTo>
                      <a:pt x="43329" y="188786"/>
                      <a:pt x="28774" y="195059"/>
                      <a:pt x="15850" y="189915"/>
                    </a:cubicBezTo>
                    <a:cubicBezTo>
                      <a:pt x="2926" y="184771"/>
                      <a:pt x="-3347" y="170216"/>
                      <a:pt x="1797" y="157292"/>
                    </a:cubicBezTo>
                    <a:cubicBezTo>
                      <a:pt x="26892" y="94179"/>
                      <a:pt x="78838" y="45119"/>
                      <a:pt x="148099" y="19271"/>
                    </a:cubicBezTo>
                    <a:cubicBezTo>
                      <a:pt x="227021" y="-10340"/>
                      <a:pt x="317488" y="-5572"/>
                      <a:pt x="390388" y="31819"/>
                    </a:cubicBezTo>
                    <a:cubicBezTo>
                      <a:pt x="493150" y="84643"/>
                      <a:pt x="620756" y="206854"/>
                      <a:pt x="695915" y="297948"/>
                    </a:cubicBezTo>
                    <a:cubicBezTo>
                      <a:pt x="704698" y="308613"/>
                      <a:pt x="703192" y="324422"/>
                      <a:pt x="692527" y="333331"/>
                    </a:cubicBezTo>
                    <a:cubicBezTo>
                      <a:pt x="687885" y="337221"/>
                      <a:pt x="682238" y="339103"/>
                      <a:pt x="676592" y="339103"/>
                    </a:cubicBezTo>
                    <a:close/>
                  </a:path>
                </a:pathLst>
              </a:custGeom>
              <a:solidFill>
                <a:schemeClr val="bg2">
                  <a:lumMod val="40000"/>
                  <a:lumOff val="60000"/>
                </a:schemeClr>
              </a:solidFill>
              <a:ln w="125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51" name="Freeform 150">
                <a:extLst>
                  <a:ext uri="{FF2B5EF4-FFF2-40B4-BE49-F238E27FC236}">
                    <a16:creationId xmlns:a16="http://schemas.microsoft.com/office/drawing/2014/main" id="{92568AA4-B788-F2EE-BB87-85825D12C919}"/>
                  </a:ext>
                </a:extLst>
              </p:cNvPr>
              <p:cNvSpPr/>
              <p:nvPr/>
            </p:nvSpPr>
            <p:spPr>
              <a:xfrm>
                <a:off x="11026360" y="4058457"/>
                <a:ext cx="509451" cy="407395"/>
              </a:xfrm>
              <a:custGeom>
                <a:avLst/>
                <a:gdLst>
                  <a:gd name="connsiteX0" fmla="*/ 484436 w 509451"/>
                  <a:gd name="connsiteY0" fmla="*/ 407396 h 407395"/>
                  <a:gd name="connsiteX1" fmla="*/ 465114 w 509451"/>
                  <a:gd name="connsiteY1" fmla="*/ 398362 h 407395"/>
                  <a:gd name="connsiteX2" fmla="*/ 12030 w 509451"/>
                  <a:gd name="connsiteY2" fmla="*/ 46535 h 407395"/>
                  <a:gd name="connsiteX3" fmla="*/ 3623 w 509451"/>
                  <a:gd name="connsiteY3" fmla="*/ 12030 h 407395"/>
                  <a:gd name="connsiteX4" fmla="*/ 38128 w 509451"/>
                  <a:gd name="connsiteY4" fmla="*/ 3623 h 407395"/>
                  <a:gd name="connsiteX5" fmla="*/ 503634 w 509451"/>
                  <a:gd name="connsiteY5" fmla="*/ 366241 h 407395"/>
                  <a:gd name="connsiteX6" fmla="*/ 500372 w 509451"/>
                  <a:gd name="connsiteY6" fmla="*/ 401624 h 407395"/>
                  <a:gd name="connsiteX7" fmla="*/ 484311 w 509451"/>
                  <a:gd name="connsiteY7" fmla="*/ 407396 h 407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09451" h="407395">
                    <a:moveTo>
                      <a:pt x="484436" y="407396"/>
                    </a:moveTo>
                    <a:cubicBezTo>
                      <a:pt x="477285" y="407396"/>
                      <a:pt x="470133" y="404259"/>
                      <a:pt x="465114" y="398362"/>
                    </a:cubicBezTo>
                    <a:cubicBezTo>
                      <a:pt x="337382" y="244657"/>
                      <a:pt x="164605" y="139385"/>
                      <a:pt x="12030" y="46535"/>
                    </a:cubicBezTo>
                    <a:cubicBezTo>
                      <a:pt x="235" y="39383"/>
                      <a:pt x="-3529" y="23950"/>
                      <a:pt x="3623" y="12030"/>
                    </a:cubicBezTo>
                    <a:cubicBezTo>
                      <a:pt x="10775" y="235"/>
                      <a:pt x="26334" y="-3529"/>
                      <a:pt x="38128" y="3623"/>
                    </a:cubicBezTo>
                    <a:cubicBezTo>
                      <a:pt x="193966" y="98481"/>
                      <a:pt x="370632" y="206137"/>
                      <a:pt x="503634" y="366241"/>
                    </a:cubicBezTo>
                    <a:cubicBezTo>
                      <a:pt x="512543" y="376906"/>
                      <a:pt x="511037" y="392715"/>
                      <a:pt x="500372" y="401624"/>
                    </a:cubicBezTo>
                    <a:cubicBezTo>
                      <a:pt x="495729" y="405514"/>
                      <a:pt x="489957" y="407396"/>
                      <a:pt x="484311" y="407396"/>
                    </a:cubicBezTo>
                    <a:close/>
                  </a:path>
                </a:pathLst>
              </a:custGeom>
              <a:solidFill>
                <a:schemeClr val="bg2">
                  <a:lumMod val="40000"/>
                  <a:lumOff val="60000"/>
                </a:schemeClr>
              </a:solidFill>
              <a:ln w="125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52" name="Freeform 151">
                <a:extLst>
                  <a:ext uri="{FF2B5EF4-FFF2-40B4-BE49-F238E27FC236}">
                    <a16:creationId xmlns:a16="http://schemas.microsoft.com/office/drawing/2014/main" id="{00C58D56-8D91-E253-72CD-84E827839D4B}"/>
                  </a:ext>
                </a:extLst>
              </p:cNvPr>
              <p:cNvSpPr/>
              <p:nvPr/>
            </p:nvSpPr>
            <p:spPr>
              <a:xfrm>
                <a:off x="9799723" y="4573248"/>
                <a:ext cx="238263" cy="544688"/>
              </a:xfrm>
              <a:custGeom>
                <a:avLst/>
                <a:gdLst>
                  <a:gd name="connsiteX0" fmla="*/ 213174 w 238263"/>
                  <a:gd name="connsiteY0" fmla="*/ 544689 h 544688"/>
                  <a:gd name="connsiteX1" fmla="*/ 189710 w 238263"/>
                  <a:gd name="connsiteY1" fmla="*/ 528503 h 544688"/>
                  <a:gd name="connsiteX2" fmla="*/ 1626 w 238263"/>
                  <a:gd name="connsiteY2" fmla="*/ 34013 h 544688"/>
                  <a:gd name="connsiteX3" fmla="*/ 16181 w 238263"/>
                  <a:gd name="connsiteY3" fmla="*/ 1641 h 544688"/>
                  <a:gd name="connsiteX4" fmla="*/ 48553 w 238263"/>
                  <a:gd name="connsiteY4" fmla="*/ 16196 h 544688"/>
                  <a:gd name="connsiteX5" fmla="*/ 236638 w 238263"/>
                  <a:gd name="connsiteY5" fmla="*/ 510686 h 544688"/>
                  <a:gd name="connsiteX6" fmla="*/ 222083 w 238263"/>
                  <a:gd name="connsiteY6" fmla="*/ 543058 h 544688"/>
                  <a:gd name="connsiteX7" fmla="*/ 213174 w 238263"/>
                  <a:gd name="connsiteY7" fmla="*/ 544689 h 544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8263" h="544688">
                    <a:moveTo>
                      <a:pt x="213174" y="544689"/>
                    </a:moveTo>
                    <a:cubicBezTo>
                      <a:pt x="203011" y="544689"/>
                      <a:pt x="193475" y="538541"/>
                      <a:pt x="189710" y="528503"/>
                    </a:cubicBezTo>
                    <a:lnTo>
                      <a:pt x="1626" y="34013"/>
                    </a:lnTo>
                    <a:cubicBezTo>
                      <a:pt x="-3267" y="21089"/>
                      <a:pt x="3257" y="6535"/>
                      <a:pt x="16181" y="1641"/>
                    </a:cubicBezTo>
                    <a:cubicBezTo>
                      <a:pt x="29105" y="-3252"/>
                      <a:pt x="43660" y="3147"/>
                      <a:pt x="48553" y="16196"/>
                    </a:cubicBezTo>
                    <a:lnTo>
                      <a:pt x="236638" y="510686"/>
                    </a:lnTo>
                    <a:cubicBezTo>
                      <a:pt x="241531" y="523610"/>
                      <a:pt x="235007" y="538165"/>
                      <a:pt x="222083" y="543058"/>
                    </a:cubicBezTo>
                    <a:cubicBezTo>
                      <a:pt x="219197" y="544187"/>
                      <a:pt x="216186" y="544689"/>
                      <a:pt x="213174" y="544689"/>
                    </a:cubicBezTo>
                    <a:close/>
                  </a:path>
                </a:pathLst>
              </a:custGeom>
              <a:solidFill>
                <a:schemeClr val="bg2">
                  <a:lumMod val="40000"/>
                  <a:lumOff val="60000"/>
                </a:schemeClr>
              </a:solidFill>
              <a:ln w="125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53" name="Freeform 152">
                <a:extLst>
                  <a:ext uri="{FF2B5EF4-FFF2-40B4-BE49-F238E27FC236}">
                    <a16:creationId xmlns:a16="http://schemas.microsoft.com/office/drawing/2014/main" id="{D71AB855-F462-C834-93EE-4033400F3C35}"/>
                  </a:ext>
                </a:extLst>
              </p:cNvPr>
              <p:cNvSpPr/>
              <p:nvPr/>
            </p:nvSpPr>
            <p:spPr>
              <a:xfrm>
                <a:off x="10772182" y="4254980"/>
                <a:ext cx="600218" cy="283396"/>
              </a:xfrm>
              <a:custGeom>
                <a:avLst/>
                <a:gdLst>
                  <a:gd name="connsiteX0" fmla="*/ 575374 w 600218"/>
                  <a:gd name="connsiteY0" fmla="*/ 283397 h 283396"/>
                  <a:gd name="connsiteX1" fmla="*/ 557431 w 600218"/>
                  <a:gd name="connsiteY1" fmla="*/ 275869 h 283396"/>
                  <a:gd name="connsiteX2" fmla="*/ 21911 w 600218"/>
                  <a:gd name="connsiteY2" fmla="*/ 50017 h 283396"/>
                  <a:gd name="connsiteX3" fmla="*/ 204 w 600218"/>
                  <a:gd name="connsiteY3" fmla="*/ 21911 h 283396"/>
                  <a:gd name="connsiteX4" fmla="*/ 28310 w 600218"/>
                  <a:gd name="connsiteY4" fmla="*/ 204 h 283396"/>
                  <a:gd name="connsiteX5" fmla="*/ 593065 w 600218"/>
                  <a:gd name="connsiteY5" fmla="*/ 240611 h 283396"/>
                  <a:gd name="connsiteX6" fmla="*/ 592689 w 600218"/>
                  <a:gd name="connsiteY6" fmla="*/ 276120 h 283396"/>
                  <a:gd name="connsiteX7" fmla="*/ 575122 w 600218"/>
                  <a:gd name="connsiteY7" fmla="*/ 283272 h 283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00218" h="283396">
                    <a:moveTo>
                      <a:pt x="575374" y="283397"/>
                    </a:moveTo>
                    <a:cubicBezTo>
                      <a:pt x="568849" y="283397"/>
                      <a:pt x="562324" y="280888"/>
                      <a:pt x="557431" y="275869"/>
                    </a:cubicBezTo>
                    <a:cubicBezTo>
                      <a:pt x="402848" y="118400"/>
                      <a:pt x="208741" y="74233"/>
                      <a:pt x="21911" y="50017"/>
                    </a:cubicBezTo>
                    <a:cubicBezTo>
                      <a:pt x="8234" y="48260"/>
                      <a:pt x="-1552" y="35587"/>
                      <a:pt x="204" y="21911"/>
                    </a:cubicBezTo>
                    <a:cubicBezTo>
                      <a:pt x="1961" y="8234"/>
                      <a:pt x="14508" y="-1553"/>
                      <a:pt x="28310" y="204"/>
                    </a:cubicBezTo>
                    <a:cubicBezTo>
                      <a:pt x="223923" y="25549"/>
                      <a:pt x="427817" y="72351"/>
                      <a:pt x="593065" y="240611"/>
                    </a:cubicBezTo>
                    <a:cubicBezTo>
                      <a:pt x="602727" y="250523"/>
                      <a:pt x="602601" y="266333"/>
                      <a:pt x="592689" y="276120"/>
                    </a:cubicBezTo>
                    <a:cubicBezTo>
                      <a:pt x="587795" y="280888"/>
                      <a:pt x="581396" y="283272"/>
                      <a:pt x="575122" y="283272"/>
                    </a:cubicBezTo>
                    <a:close/>
                  </a:path>
                </a:pathLst>
              </a:custGeom>
              <a:solidFill>
                <a:schemeClr val="bg2">
                  <a:lumMod val="40000"/>
                  <a:lumOff val="60000"/>
                </a:schemeClr>
              </a:solidFill>
              <a:ln w="125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54" name="Freeform 153">
                <a:extLst>
                  <a:ext uri="{FF2B5EF4-FFF2-40B4-BE49-F238E27FC236}">
                    <a16:creationId xmlns:a16="http://schemas.microsoft.com/office/drawing/2014/main" id="{645C501E-ABFF-CE4A-EF12-ABD8D2F0ACCC}"/>
                  </a:ext>
                </a:extLst>
              </p:cNvPr>
              <p:cNvSpPr/>
              <p:nvPr/>
            </p:nvSpPr>
            <p:spPr>
              <a:xfrm>
                <a:off x="9813583" y="4211303"/>
                <a:ext cx="839061" cy="197835"/>
              </a:xfrm>
              <a:custGeom>
                <a:avLst/>
                <a:gdLst>
                  <a:gd name="connsiteX0" fmla="*/ 25032 w 839061"/>
                  <a:gd name="connsiteY0" fmla="*/ 197836 h 197835"/>
                  <a:gd name="connsiteX1" fmla="*/ 7340 w 839061"/>
                  <a:gd name="connsiteY1" fmla="*/ 190433 h 197835"/>
                  <a:gd name="connsiteX2" fmla="*/ 7340 w 839061"/>
                  <a:gd name="connsiteY2" fmla="*/ 154924 h 197835"/>
                  <a:gd name="connsiteX3" fmla="*/ 162676 w 839061"/>
                  <a:gd name="connsiteY3" fmla="*/ 53165 h 197835"/>
                  <a:gd name="connsiteX4" fmla="*/ 195174 w 839061"/>
                  <a:gd name="connsiteY4" fmla="*/ 40743 h 197835"/>
                  <a:gd name="connsiteX5" fmla="*/ 674732 w 839061"/>
                  <a:gd name="connsiteY5" fmla="*/ 12763 h 197835"/>
                  <a:gd name="connsiteX6" fmla="*/ 741986 w 839061"/>
                  <a:gd name="connsiteY6" fmla="*/ 18409 h 197835"/>
                  <a:gd name="connsiteX7" fmla="*/ 781761 w 839061"/>
                  <a:gd name="connsiteY7" fmla="*/ 24306 h 197835"/>
                  <a:gd name="connsiteX8" fmla="*/ 816015 w 839061"/>
                  <a:gd name="connsiteY8" fmla="*/ 29576 h 197835"/>
                  <a:gd name="connsiteX9" fmla="*/ 838977 w 839061"/>
                  <a:gd name="connsiteY9" fmla="*/ 56678 h 197835"/>
                  <a:gd name="connsiteX10" fmla="*/ 811875 w 839061"/>
                  <a:gd name="connsiteY10" fmla="*/ 79640 h 197835"/>
                  <a:gd name="connsiteX11" fmla="*/ 773354 w 839061"/>
                  <a:gd name="connsiteY11" fmla="*/ 73868 h 197835"/>
                  <a:gd name="connsiteX12" fmla="*/ 738222 w 839061"/>
                  <a:gd name="connsiteY12" fmla="*/ 68473 h 197835"/>
                  <a:gd name="connsiteX13" fmla="*/ 670466 w 839061"/>
                  <a:gd name="connsiteY13" fmla="*/ 62827 h 197835"/>
                  <a:gd name="connsiteX14" fmla="*/ 213869 w 839061"/>
                  <a:gd name="connsiteY14" fmla="*/ 87294 h 197835"/>
                  <a:gd name="connsiteX15" fmla="*/ 180117 w 839061"/>
                  <a:gd name="connsiteY15" fmla="*/ 100218 h 197835"/>
                  <a:gd name="connsiteX16" fmla="*/ 42849 w 839061"/>
                  <a:gd name="connsiteY16" fmla="*/ 190433 h 197835"/>
                  <a:gd name="connsiteX17" fmla="*/ 25158 w 839061"/>
                  <a:gd name="connsiteY17" fmla="*/ 197836 h 197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839061" h="197835">
                    <a:moveTo>
                      <a:pt x="25032" y="197836"/>
                    </a:moveTo>
                    <a:cubicBezTo>
                      <a:pt x="18633" y="197836"/>
                      <a:pt x="12234" y="195326"/>
                      <a:pt x="7340" y="190433"/>
                    </a:cubicBezTo>
                    <a:cubicBezTo>
                      <a:pt x="-2447" y="180646"/>
                      <a:pt x="-2447" y="164711"/>
                      <a:pt x="7340" y="154924"/>
                    </a:cubicBezTo>
                    <a:cubicBezTo>
                      <a:pt x="77731" y="84533"/>
                      <a:pt x="111608" y="71986"/>
                      <a:pt x="162676" y="53165"/>
                    </a:cubicBezTo>
                    <a:cubicBezTo>
                      <a:pt x="172589" y="49527"/>
                      <a:pt x="183254" y="45511"/>
                      <a:pt x="195174" y="40743"/>
                    </a:cubicBezTo>
                    <a:cubicBezTo>
                      <a:pt x="337837" y="-16347"/>
                      <a:pt x="516887" y="-914"/>
                      <a:pt x="674732" y="12763"/>
                    </a:cubicBezTo>
                    <a:cubicBezTo>
                      <a:pt x="697694" y="14770"/>
                      <a:pt x="720154" y="16652"/>
                      <a:pt x="741986" y="18409"/>
                    </a:cubicBezTo>
                    <a:cubicBezTo>
                      <a:pt x="751522" y="19162"/>
                      <a:pt x="766202" y="21671"/>
                      <a:pt x="781761" y="24306"/>
                    </a:cubicBezTo>
                    <a:cubicBezTo>
                      <a:pt x="795061" y="26565"/>
                      <a:pt x="808863" y="28949"/>
                      <a:pt x="816015" y="29576"/>
                    </a:cubicBezTo>
                    <a:cubicBezTo>
                      <a:pt x="829817" y="30706"/>
                      <a:pt x="840106" y="42876"/>
                      <a:pt x="838977" y="56678"/>
                    </a:cubicBezTo>
                    <a:cubicBezTo>
                      <a:pt x="837848" y="70481"/>
                      <a:pt x="826053" y="80895"/>
                      <a:pt x="811875" y="79640"/>
                    </a:cubicBezTo>
                    <a:cubicBezTo>
                      <a:pt x="802590" y="78887"/>
                      <a:pt x="788411" y="76378"/>
                      <a:pt x="773354" y="73868"/>
                    </a:cubicBezTo>
                    <a:cubicBezTo>
                      <a:pt x="760305" y="71610"/>
                      <a:pt x="745374" y="69100"/>
                      <a:pt x="738222" y="68473"/>
                    </a:cubicBezTo>
                    <a:cubicBezTo>
                      <a:pt x="716264" y="66842"/>
                      <a:pt x="693553" y="64834"/>
                      <a:pt x="670466" y="62827"/>
                    </a:cubicBezTo>
                    <a:cubicBezTo>
                      <a:pt x="518142" y="49652"/>
                      <a:pt x="345491" y="34721"/>
                      <a:pt x="213869" y="87294"/>
                    </a:cubicBezTo>
                    <a:cubicBezTo>
                      <a:pt x="201447" y="92187"/>
                      <a:pt x="190406" y="96328"/>
                      <a:pt x="180117" y="100218"/>
                    </a:cubicBezTo>
                    <a:cubicBezTo>
                      <a:pt x="131935" y="118035"/>
                      <a:pt x="105460" y="127822"/>
                      <a:pt x="42849" y="190433"/>
                    </a:cubicBezTo>
                    <a:cubicBezTo>
                      <a:pt x="37956" y="195326"/>
                      <a:pt x="31556" y="197836"/>
                      <a:pt x="25158" y="197836"/>
                    </a:cubicBezTo>
                    <a:close/>
                  </a:path>
                </a:pathLst>
              </a:custGeom>
              <a:solidFill>
                <a:schemeClr val="bg2">
                  <a:lumMod val="40000"/>
                  <a:lumOff val="60000"/>
                </a:schemeClr>
              </a:solidFill>
              <a:ln w="125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55" name="Freeform 154">
                <a:extLst>
                  <a:ext uri="{FF2B5EF4-FFF2-40B4-BE49-F238E27FC236}">
                    <a16:creationId xmlns:a16="http://schemas.microsoft.com/office/drawing/2014/main" id="{6970D89E-078D-0A75-10D8-E441A1D0E180}"/>
                  </a:ext>
                </a:extLst>
              </p:cNvPr>
              <p:cNvSpPr/>
              <p:nvPr/>
            </p:nvSpPr>
            <p:spPr>
              <a:xfrm>
                <a:off x="9201714" y="4497106"/>
                <a:ext cx="533250" cy="366623"/>
              </a:xfrm>
              <a:custGeom>
                <a:avLst/>
                <a:gdLst>
                  <a:gd name="connsiteX0" fmla="*/ 25093 w 533250"/>
                  <a:gd name="connsiteY0" fmla="*/ 366623 h 366623"/>
                  <a:gd name="connsiteX1" fmla="*/ 877 w 533250"/>
                  <a:gd name="connsiteY1" fmla="*/ 348053 h 366623"/>
                  <a:gd name="connsiteX2" fmla="*/ 18569 w 533250"/>
                  <a:gd name="connsiteY2" fmla="*/ 317312 h 366623"/>
                  <a:gd name="connsiteX3" fmla="*/ 484325 w 533250"/>
                  <a:gd name="connsiteY3" fmla="*/ 13165 h 366623"/>
                  <a:gd name="connsiteX4" fmla="*/ 490725 w 533250"/>
                  <a:gd name="connsiteY4" fmla="*/ 7017 h 366623"/>
                  <a:gd name="connsiteX5" fmla="*/ 526233 w 533250"/>
                  <a:gd name="connsiteY5" fmla="*/ 7770 h 366623"/>
                  <a:gd name="connsiteX6" fmla="*/ 525481 w 533250"/>
                  <a:gd name="connsiteY6" fmla="*/ 43279 h 366623"/>
                  <a:gd name="connsiteX7" fmla="*/ 519081 w 533250"/>
                  <a:gd name="connsiteY7" fmla="*/ 49427 h 366623"/>
                  <a:gd name="connsiteX8" fmla="*/ 31618 w 533250"/>
                  <a:gd name="connsiteY8" fmla="*/ 365745 h 366623"/>
                  <a:gd name="connsiteX9" fmla="*/ 25093 w 533250"/>
                  <a:gd name="connsiteY9" fmla="*/ 366623 h 366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33250" h="366623">
                    <a:moveTo>
                      <a:pt x="25093" y="366623"/>
                    </a:moveTo>
                    <a:cubicBezTo>
                      <a:pt x="14052" y="366623"/>
                      <a:pt x="3888" y="359220"/>
                      <a:pt x="877" y="348053"/>
                    </a:cubicBezTo>
                    <a:cubicBezTo>
                      <a:pt x="-2762" y="334628"/>
                      <a:pt x="5269" y="320951"/>
                      <a:pt x="18569" y="317312"/>
                    </a:cubicBezTo>
                    <a:cubicBezTo>
                      <a:pt x="225725" y="261853"/>
                      <a:pt x="345552" y="146669"/>
                      <a:pt x="484325" y="13165"/>
                    </a:cubicBezTo>
                    <a:lnTo>
                      <a:pt x="490725" y="7017"/>
                    </a:lnTo>
                    <a:cubicBezTo>
                      <a:pt x="500637" y="-2645"/>
                      <a:pt x="516572" y="-2268"/>
                      <a:pt x="526233" y="7770"/>
                    </a:cubicBezTo>
                    <a:cubicBezTo>
                      <a:pt x="535895" y="17808"/>
                      <a:pt x="535518" y="33617"/>
                      <a:pt x="525481" y="43279"/>
                    </a:cubicBezTo>
                    <a:lnTo>
                      <a:pt x="519081" y="49427"/>
                    </a:lnTo>
                    <a:cubicBezTo>
                      <a:pt x="381312" y="181927"/>
                      <a:pt x="251196" y="307023"/>
                      <a:pt x="31618" y="365745"/>
                    </a:cubicBezTo>
                    <a:cubicBezTo>
                      <a:pt x="29485" y="366372"/>
                      <a:pt x="27226" y="366623"/>
                      <a:pt x="25093" y="366623"/>
                    </a:cubicBezTo>
                    <a:close/>
                  </a:path>
                </a:pathLst>
              </a:custGeom>
              <a:solidFill>
                <a:schemeClr val="bg2">
                  <a:lumMod val="40000"/>
                  <a:lumOff val="60000"/>
                </a:schemeClr>
              </a:solidFill>
              <a:ln w="125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id="{D3D6191D-801C-9766-63A4-A2088C476233}"/>
                </a:ext>
              </a:extLst>
            </p:cNvPr>
            <p:cNvCxnSpPr/>
            <p:nvPr/>
          </p:nvCxnSpPr>
          <p:spPr>
            <a:xfrm>
              <a:off x="10097980" y="3105000"/>
              <a:ext cx="0" cy="324000"/>
            </a:xfrm>
            <a:prstGeom prst="straightConnector1">
              <a:avLst/>
            </a:prstGeom>
            <a:solidFill>
              <a:schemeClr val="bg2">
                <a:lumMod val="40000"/>
                <a:lumOff val="60000"/>
              </a:schemeClr>
            </a:solidFill>
            <a:ln w="25400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7" name="Graphic 5">
              <a:extLst>
                <a:ext uri="{FF2B5EF4-FFF2-40B4-BE49-F238E27FC236}">
                  <a16:creationId xmlns:a16="http://schemas.microsoft.com/office/drawing/2014/main" id="{A5B59846-C32A-85BD-6567-191BE2BC29A1}"/>
                </a:ext>
              </a:extLst>
            </p:cNvPr>
            <p:cNvGrpSpPr/>
            <p:nvPr/>
          </p:nvGrpSpPr>
          <p:grpSpPr>
            <a:xfrm>
              <a:off x="9474759" y="1882478"/>
              <a:ext cx="1225477" cy="1144198"/>
              <a:chOff x="9474759" y="1882478"/>
              <a:chExt cx="1225477" cy="1144198"/>
            </a:xfrm>
          </p:grpSpPr>
          <p:sp>
            <p:nvSpPr>
              <p:cNvPr id="127" name="Freeform 126">
                <a:extLst>
                  <a:ext uri="{FF2B5EF4-FFF2-40B4-BE49-F238E27FC236}">
                    <a16:creationId xmlns:a16="http://schemas.microsoft.com/office/drawing/2014/main" id="{5203558A-1A70-53A4-8AD0-2D44DE27E37A}"/>
                  </a:ext>
                </a:extLst>
              </p:cNvPr>
              <p:cNvSpPr/>
              <p:nvPr/>
            </p:nvSpPr>
            <p:spPr>
              <a:xfrm>
                <a:off x="9474759" y="1882478"/>
                <a:ext cx="896191" cy="753222"/>
              </a:xfrm>
              <a:custGeom>
                <a:avLst/>
                <a:gdLst>
                  <a:gd name="connsiteX0" fmla="*/ 860353 w 896191"/>
                  <a:gd name="connsiteY0" fmla="*/ 177301 h 753222"/>
                  <a:gd name="connsiteX1" fmla="*/ 821582 w 896191"/>
                  <a:gd name="connsiteY1" fmla="*/ 36520 h 753222"/>
                  <a:gd name="connsiteX2" fmla="*/ 6006 w 896191"/>
                  <a:gd name="connsiteY2" fmla="*/ 479691 h 753222"/>
                  <a:gd name="connsiteX3" fmla="*/ 143776 w 896191"/>
                  <a:gd name="connsiteY3" fmla="*/ 753223 h 753222"/>
                  <a:gd name="connsiteX4" fmla="*/ 346917 w 896191"/>
                  <a:gd name="connsiteY4" fmla="*/ 290729 h 753222"/>
                  <a:gd name="connsiteX5" fmla="*/ 816061 w 896191"/>
                  <a:gd name="connsiteY5" fmla="*/ 188092 h 753222"/>
                  <a:gd name="connsiteX6" fmla="*/ 860353 w 896191"/>
                  <a:gd name="connsiteY6" fmla="*/ 177301 h 7532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96191" h="753222">
                    <a:moveTo>
                      <a:pt x="860353" y="177301"/>
                    </a:moveTo>
                    <a:cubicBezTo>
                      <a:pt x="930493" y="180563"/>
                      <a:pt x="886954" y="62116"/>
                      <a:pt x="821582" y="36520"/>
                    </a:cubicBezTo>
                    <a:cubicBezTo>
                      <a:pt x="493595" y="-92216"/>
                      <a:pt x="76396" y="134514"/>
                      <a:pt x="6006" y="479691"/>
                    </a:cubicBezTo>
                    <a:cubicBezTo>
                      <a:pt x="-17332" y="594123"/>
                      <a:pt x="27086" y="750337"/>
                      <a:pt x="143776" y="753223"/>
                    </a:cubicBezTo>
                    <a:cubicBezTo>
                      <a:pt x="126209" y="578062"/>
                      <a:pt x="206136" y="396377"/>
                      <a:pt x="346917" y="290729"/>
                    </a:cubicBezTo>
                    <a:cubicBezTo>
                      <a:pt x="487698" y="185206"/>
                      <a:pt x="652821" y="122218"/>
                      <a:pt x="816061" y="188092"/>
                    </a:cubicBezTo>
                    <a:lnTo>
                      <a:pt x="860353" y="177301"/>
                    </a:lnTo>
                    <a:close/>
                  </a:path>
                </a:pathLst>
              </a:custGeom>
              <a:solidFill>
                <a:srgbClr val="562480"/>
              </a:solidFill>
              <a:ln w="125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8" name="Freeform 127">
                <a:extLst>
                  <a:ext uri="{FF2B5EF4-FFF2-40B4-BE49-F238E27FC236}">
                    <a16:creationId xmlns:a16="http://schemas.microsoft.com/office/drawing/2014/main" id="{5800E4DD-3016-68D9-A8B0-5A9012D77279}"/>
                  </a:ext>
                </a:extLst>
              </p:cNvPr>
              <p:cNvSpPr/>
              <p:nvPr/>
            </p:nvSpPr>
            <p:spPr>
              <a:xfrm>
                <a:off x="10165775" y="2063218"/>
                <a:ext cx="534461" cy="926179"/>
              </a:xfrm>
              <a:custGeom>
                <a:avLst/>
                <a:gdLst>
                  <a:gd name="connsiteX0" fmla="*/ 16134 w 534461"/>
                  <a:gd name="connsiteY0" fmla="*/ 821546 h 926179"/>
                  <a:gd name="connsiteX1" fmla="*/ 116388 w 534461"/>
                  <a:gd name="connsiteY1" fmla="*/ 925815 h 926179"/>
                  <a:gd name="connsiteX2" fmla="*/ 497073 w 534461"/>
                  <a:gd name="connsiteY2" fmla="*/ 186652 h 926179"/>
                  <a:gd name="connsiteX3" fmla="*/ 255788 w 534461"/>
                  <a:gd name="connsiteY3" fmla="*/ 11491 h 926179"/>
                  <a:gd name="connsiteX4" fmla="*/ 339855 w 534461"/>
                  <a:gd name="connsiteY4" fmla="*/ 498829 h 926179"/>
                  <a:gd name="connsiteX5" fmla="*/ 43488 w 534461"/>
                  <a:gd name="connsiteY5" fmla="*/ 792813 h 926179"/>
                  <a:gd name="connsiteX6" fmla="*/ 16134 w 534461"/>
                  <a:gd name="connsiteY6" fmla="*/ 821546 h 926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34461" h="926179">
                    <a:moveTo>
                      <a:pt x="16134" y="821546"/>
                    </a:moveTo>
                    <a:cubicBezTo>
                      <a:pt x="-37568" y="849402"/>
                      <a:pt x="54906" y="932339"/>
                      <a:pt x="116388" y="925815"/>
                    </a:cubicBezTo>
                    <a:cubicBezTo>
                      <a:pt x="425428" y="892941"/>
                      <a:pt x="620163" y="514890"/>
                      <a:pt x="497073" y="186652"/>
                    </a:cubicBezTo>
                    <a:cubicBezTo>
                      <a:pt x="456295" y="77867"/>
                      <a:pt x="343871" y="-37192"/>
                      <a:pt x="255788" y="11491"/>
                    </a:cubicBezTo>
                    <a:cubicBezTo>
                      <a:pt x="357798" y="154656"/>
                      <a:pt x="390798" y="346254"/>
                      <a:pt x="339855" y="498829"/>
                    </a:cubicBezTo>
                    <a:cubicBezTo>
                      <a:pt x="288913" y="651530"/>
                      <a:pt x="198196" y="778007"/>
                      <a:pt x="43488" y="792813"/>
                    </a:cubicBezTo>
                    <a:lnTo>
                      <a:pt x="16134" y="821546"/>
                    </a:lnTo>
                    <a:close/>
                  </a:path>
                </a:pathLst>
              </a:custGeom>
              <a:solidFill>
                <a:srgbClr val="562480"/>
              </a:solidFill>
              <a:ln w="125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9" name="Freeform 128">
                <a:extLst>
                  <a:ext uri="{FF2B5EF4-FFF2-40B4-BE49-F238E27FC236}">
                    <a16:creationId xmlns:a16="http://schemas.microsoft.com/office/drawing/2014/main" id="{6C61A2B0-53E8-07E8-DAD4-50497182E7D9}"/>
                  </a:ext>
                </a:extLst>
              </p:cNvPr>
              <p:cNvSpPr/>
              <p:nvPr/>
            </p:nvSpPr>
            <p:spPr>
              <a:xfrm>
                <a:off x="9519223" y="2593004"/>
                <a:ext cx="735256" cy="433672"/>
              </a:xfrm>
              <a:custGeom>
                <a:avLst/>
                <a:gdLst>
                  <a:gd name="connsiteX0" fmla="*/ 4077 w 735256"/>
                  <a:gd name="connsiteY0" fmla="*/ 129524 h 433672"/>
                  <a:gd name="connsiteX1" fmla="*/ 492544 w 735256"/>
                  <a:gd name="connsiteY1" fmla="*/ 433671 h 433672"/>
                  <a:gd name="connsiteX2" fmla="*/ 733328 w 735256"/>
                  <a:gd name="connsiteY2" fmla="*/ 244458 h 433672"/>
                  <a:gd name="connsiteX3" fmla="*/ 239841 w 735256"/>
                  <a:gd name="connsiteY3" fmla="*/ 136802 h 433672"/>
                  <a:gd name="connsiteX4" fmla="*/ 139714 w 735256"/>
                  <a:gd name="connsiteY4" fmla="*/ 26636 h 433672"/>
                  <a:gd name="connsiteX5" fmla="*/ 53764 w 735256"/>
                  <a:gd name="connsiteY5" fmla="*/ 16222 h 433672"/>
                  <a:gd name="connsiteX6" fmla="*/ 3952 w 735256"/>
                  <a:gd name="connsiteY6" fmla="*/ 129524 h 433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35256" h="433672">
                    <a:moveTo>
                      <a:pt x="4077" y="129524"/>
                    </a:moveTo>
                    <a:cubicBezTo>
                      <a:pt x="110353" y="377459"/>
                      <a:pt x="140216" y="432919"/>
                      <a:pt x="492544" y="433671"/>
                    </a:cubicBezTo>
                    <a:cubicBezTo>
                      <a:pt x="609235" y="433922"/>
                      <a:pt x="753654" y="359517"/>
                      <a:pt x="733328" y="244458"/>
                    </a:cubicBezTo>
                    <a:cubicBezTo>
                      <a:pt x="565068" y="296278"/>
                      <a:pt x="371212" y="253994"/>
                      <a:pt x="239841" y="136802"/>
                    </a:cubicBezTo>
                    <a:cubicBezTo>
                      <a:pt x="137957" y="45834"/>
                      <a:pt x="163052" y="66035"/>
                      <a:pt x="139714" y="26636"/>
                    </a:cubicBezTo>
                    <a:cubicBezTo>
                      <a:pt x="121520" y="-4105"/>
                      <a:pt x="78985" y="-9124"/>
                      <a:pt x="53764" y="16222"/>
                    </a:cubicBezTo>
                    <a:cubicBezTo>
                      <a:pt x="21643" y="48469"/>
                      <a:pt x="-11607" y="93262"/>
                      <a:pt x="3952" y="129524"/>
                    </a:cubicBezTo>
                    <a:close/>
                  </a:path>
                </a:pathLst>
              </a:custGeom>
              <a:solidFill>
                <a:srgbClr val="562480"/>
              </a:solidFill>
              <a:ln w="125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0" name="Freeform 129">
                <a:extLst>
                  <a:ext uri="{FF2B5EF4-FFF2-40B4-BE49-F238E27FC236}">
                    <a16:creationId xmlns:a16="http://schemas.microsoft.com/office/drawing/2014/main" id="{7AF2F637-3457-3555-2C5C-D27538A1BBB1}"/>
                  </a:ext>
                </a:extLst>
              </p:cNvPr>
              <p:cNvSpPr/>
              <p:nvPr/>
            </p:nvSpPr>
            <p:spPr>
              <a:xfrm>
                <a:off x="9539737" y="1936062"/>
                <a:ext cx="1048705" cy="1048705"/>
              </a:xfrm>
              <a:custGeom>
                <a:avLst/>
                <a:gdLst>
                  <a:gd name="connsiteX0" fmla="*/ 1048706 w 1048705"/>
                  <a:gd name="connsiteY0" fmla="*/ 524353 h 1048705"/>
                  <a:gd name="connsiteX1" fmla="*/ 524353 w 1048705"/>
                  <a:gd name="connsiteY1" fmla="*/ 1048705 h 1048705"/>
                  <a:gd name="connsiteX2" fmla="*/ 0 w 1048705"/>
                  <a:gd name="connsiteY2" fmla="*/ 524353 h 1048705"/>
                  <a:gd name="connsiteX3" fmla="*/ 524353 w 1048705"/>
                  <a:gd name="connsiteY3" fmla="*/ 0 h 1048705"/>
                  <a:gd name="connsiteX4" fmla="*/ 1048706 w 1048705"/>
                  <a:gd name="connsiteY4" fmla="*/ 524353 h 1048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48705" h="1048705">
                    <a:moveTo>
                      <a:pt x="1048706" y="524353"/>
                    </a:moveTo>
                    <a:cubicBezTo>
                      <a:pt x="1048706" y="813945"/>
                      <a:pt x="813945" y="1048705"/>
                      <a:pt x="524353" y="1048705"/>
                    </a:cubicBezTo>
                    <a:cubicBezTo>
                      <a:pt x="234761" y="1048705"/>
                      <a:pt x="0" y="813945"/>
                      <a:pt x="0" y="524353"/>
                    </a:cubicBezTo>
                    <a:cubicBezTo>
                      <a:pt x="0" y="234761"/>
                      <a:pt x="234761" y="0"/>
                      <a:pt x="524353" y="0"/>
                    </a:cubicBezTo>
                    <a:cubicBezTo>
                      <a:pt x="813945" y="0"/>
                      <a:pt x="1048706" y="234761"/>
                      <a:pt x="1048706" y="524353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5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1" name="Freeform 130">
                <a:extLst>
                  <a:ext uri="{FF2B5EF4-FFF2-40B4-BE49-F238E27FC236}">
                    <a16:creationId xmlns:a16="http://schemas.microsoft.com/office/drawing/2014/main" id="{4E51F567-3814-4D27-0679-173479B37FC7}"/>
                  </a:ext>
                </a:extLst>
              </p:cNvPr>
              <p:cNvSpPr/>
              <p:nvPr/>
            </p:nvSpPr>
            <p:spPr>
              <a:xfrm>
                <a:off x="9637481" y="2033806"/>
                <a:ext cx="853217" cy="853217"/>
              </a:xfrm>
              <a:custGeom>
                <a:avLst/>
                <a:gdLst>
                  <a:gd name="connsiteX0" fmla="*/ 853218 w 853217"/>
                  <a:gd name="connsiteY0" fmla="*/ 426609 h 853217"/>
                  <a:gd name="connsiteX1" fmla="*/ 426609 w 853217"/>
                  <a:gd name="connsiteY1" fmla="*/ 853218 h 853217"/>
                  <a:gd name="connsiteX2" fmla="*/ 0 w 853217"/>
                  <a:gd name="connsiteY2" fmla="*/ 426609 h 853217"/>
                  <a:gd name="connsiteX3" fmla="*/ 426609 w 853217"/>
                  <a:gd name="connsiteY3" fmla="*/ 0 h 853217"/>
                  <a:gd name="connsiteX4" fmla="*/ 853218 w 853217"/>
                  <a:gd name="connsiteY4" fmla="*/ 426609 h 8532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3217" h="853217">
                    <a:moveTo>
                      <a:pt x="853218" y="426609"/>
                    </a:moveTo>
                    <a:cubicBezTo>
                      <a:pt x="853218" y="662219"/>
                      <a:pt x="662219" y="853218"/>
                      <a:pt x="426609" y="853218"/>
                    </a:cubicBezTo>
                    <a:cubicBezTo>
                      <a:pt x="190999" y="853218"/>
                      <a:pt x="0" y="662219"/>
                      <a:pt x="0" y="426609"/>
                    </a:cubicBezTo>
                    <a:cubicBezTo>
                      <a:pt x="0" y="190999"/>
                      <a:pt x="190999" y="0"/>
                      <a:pt x="426609" y="0"/>
                    </a:cubicBezTo>
                    <a:cubicBezTo>
                      <a:pt x="662219" y="0"/>
                      <a:pt x="853218" y="190999"/>
                      <a:pt x="853218" y="426609"/>
                    </a:cubicBezTo>
                    <a:close/>
                  </a:path>
                </a:pathLst>
              </a:custGeom>
              <a:solidFill>
                <a:srgbClr val="ED68A2"/>
              </a:solidFill>
              <a:ln w="125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2" name="Freeform 131">
                <a:extLst>
                  <a:ext uri="{FF2B5EF4-FFF2-40B4-BE49-F238E27FC236}">
                    <a16:creationId xmlns:a16="http://schemas.microsoft.com/office/drawing/2014/main" id="{64173B80-79A9-465F-01AA-45255663C760}"/>
                  </a:ext>
                </a:extLst>
              </p:cNvPr>
              <p:cNvSpPr/>
              <p:nvPr/>
            </p:nvSpPr>
            <p:spPr>
              <a:xfrm>
                <a:off x="9637481" y="2033806"/>
                <a:ext cx="853217" cy="853217"/>
              </a:xfrm>
              <a:custGeom>
                <a:avLst/>
                <a:gdLst>
                  <a:gd name="connsiteX0" fmla="*/ 853218 w 853217"/>
                  <a:gd name="connsiteY0" fmla="*/ 426609 h 853217"/>
                  <a:gd name="connsiteX1" fmla="*/ 426609 w 853217"/>
                  <a:gd name="connsiteY1" fmla="*/ 853218 h 853217"/>
                  <a:gd name="connsiteX2" fmla="*/ 0 w 853217"/>
                  <a:gd name="connsiteY2" fmla="*/ 426609 h 853217"/>
                  <a:gd name="connsiteX3" fmla="*/ 426609 w 853217"/>
                  <a:gd name="connsiteY3" fmla="*/ 0 h 853217"/>
                  <a:gd name="connsiteX4" fmla="*/ 853218 w 853217"/>
                  <a:gd name="connsiteY4" fmla="*/ 426609 h 8532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3217" h="853217">
                    <a:moveTo>
                      <a:pt x="853218" y="426609"/>
                    </a:moveTo>
                    <a:cubicBezTo>
                      <a:pt x="853218" y="662219"/>
                      <a:pt x="662219" y="853218"/>
                      <a:pt x="426609" y="853218"/>
                    </a:cubicBezTo>
                    <a:cubicBezTo>
                      <a:pt x="190999" y="853218"/>
                      <a:pt x="0" y="662219"/>
                      <a:pt x="0" y="426609"/>
                    </a:cubicBezTo>
                    <a:cubicBezTo>
                      <a:pt x="0" y="190999"/>
                      <a:pt x="190999" y="0"/>
                      <a:pt x="426609" y="0"/>
                    </a:cubicBezTo>
                    <a:cubicBezTo>
                      <a:pt x="662219" y="0"/>
                      <a:pt x="853218" y="190999"/>
                      <a:pt x="853218" y="426609"/>
                    </a:cubicBezTo>
                    <a:close/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 w="125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grpSp>
            <p:nvGrpSpPr>
              <p:cNvPr id="133" name="Graphic 5">
                <a:extLst>
                  <a:ext uri="{FF2B5EF4-FFF2-40B4-BE49-F238E27FC236}">
                    <a16:creationId xmlns:a16="http://schemas.microsoft.com/office/drawing/2014/main" id="{21E3A056-2116-657A-6932-D8919A9328D4}"/>
                  </a:ext>
                </a:extLst>
              </p:cNvPr>
              <p:cNvGrpSpPr/>
              <p:nvPr/>
            </p:nvGrpSpPr>
            <p:grpSpPr>
              <a:xfrm>
                <a:off x="9637857" y="2033806"/>
                <a:ext cx="852841" cy="853092"/>
                <a:chOff x="9637857" y="2033806"/>
                <a:chExt cx="852841" cy="853092"/>
              </a:xfrm>
              <a:solidFill>
                <a:srgbClr val="4DBEEE"/>
              </a:solidFill>
            </p:grpSpPr>
            <p:sp>
              <p:nvSpPr>
                <p:cNvPr id="134" name="Freeform 133">
                  <a:extLst>
                    <a:ext uri="{FF2B5EF4-FFF2-40B4-BE49-F238E27FC236}">
                      <a16:creationId xmlns:a16="http://schemas.microsoft.com/office/drawing/2014/main" id="{03F959FA-BAB7-4F8B-FB1B-A8A62FCB124D}"/>
                    </a:ext>
                  </a:extLst>
                </p:cNvPr>
                <p:cNvSpPr/>
                <p:nvPr/>
              </p:nvSpPr>
              <p:spPr>
                <a:xfrm>
                  <a:off x="9775000" y="2714874"/>
                  <a:ext cx="322215" cy="172023"/>
                </a:xfrm>
                <a:custGeom>
                  <a:avLst/>
                  <a:gdLst>
                    <a:gd name="connsiteX0" fmla="*/ 298627 w 322215"/>
                    <a:gd name="connsiteY0" fmla="*/ 138397 h 172023"/>
                    <a:gd name="connsiteX1" fmla="*/ 298627 w 322215"/>
                    <a:gd name="connsiteY1" fmla="*/ 138397 h 172023"/>
                    <a:gd name="connsiteX2" fmla="*/ 286456 w 322215"/>
                    <a:gd name="connsiteY2" fmla="*/ 109162 h 172023"/>
                    <a:gd name="connsiteX3" fmla="*/ 215814 w 322215"/>
                    <a:gd name="connsiteY3" fmla="*/ 38520 h 172023"/>
                    <a:gd name="connsiteX4" fmla="*/ 186579 w 322215"/>
                    <a:gd name="connsiteY4" fmla="*/ 26349 h 172023"/>
                    <a:gd name="connsiteX5" fmla="*/ 86702 w 322215"/>
                    <a:gd name="connsiteY5" fmla="*/ 26349 h 172023"/>
                    <a:gd name="connsiteX6" fmla="*/ 57467 w 322215"/>
                    <a:gd name="connsiteY6" fmla="*/ 38520 h 172023"/>
                    <a:gd name="connsiteX7" fmla="*/ 0 w 322215"/>
                    <a:gd name="connsiteY7" fmla="*/ 59098 h 172023"/>
                    <a:gd name="connsiteX8" fmla="*/ 288965 w 322215"/>
                    <a:gd name="connsiteY8" fmla="*/ 172024 h 172023"/>
                    <a:gd name="connsiteX9" fmla="*/ 322215 w 322215"/>
                    <a:gd name="connsiteY9" fmla="*/ 170644 h 172023"/>
                    <a:gd name="connsiteX10" fmla="*/ 298501 w 322215"/>
                    <a:gd name="connsiteY10" fmla="*/ 138397 h 1720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22215" h="172023">
                      <a:moveTo>
                        <a:pt x="298627" y="138397"/>
                      </a:moveTo>
                      <a:lnTo>
                        <a:pt x="298627" y="138397"/>
                      </a:lnTo>
                      <a:cubicBezTo>
                        <a:pt x="289090" y="131872"/>
                        <a:pt x="284322" y="120454"/>
                        <a:pt x="286456" y="109162"/>
                      </a:cubicBezTo>
                      <a:cubicBezTo>
                        <a:pt x="294360" y="67379"/>
                        <a:pt x="257722" y="30615"/>
                        <a:pt x="215814" y="38520"/>
                      </a:cubicBezTo>
                      <a:cubicBezTo>
                        <a:pt x="204522" y="40653"/>
                        <a:pt x="193103" y="35885"/>
                        <a:pt x="186579" y="26349"/>
                      </a:cubicBezTo>
                      <a:cubicBezTo>
                        <a:pt x="162613" y="-8783"/>
                        <a:pt x="110667" y="-8783"/>
                        <a:pt x="86702" y="26349"/>
                      </a:cubicBezTo>
                      <a:cubicBezTo>
                        <a:pt x="80178" y="35885"/>
                        <a:pt x="68759" y="40653"/>
                        <a:pt x="57467" y="38520"/>
                      </a:cubicBezTo>
                      <a:cubicBezTo>
                        <a:pt x="34631" y="34254"/>
                        <a:pt x="13300" y="43288"/>
                        <a:pt x="0" y="59098"/>
                      </a:cubicBezTo>
                      <a:cubicBezTo>
                        <a:pt x="76037" y="129112"/>
                        <a:pt x="177545" y="172024"/>
                        <a:pt x="288965" y="172024"/>
                      </a:cubicBezTo>
                      <a:cubicBezTo>
                        <a:pt x="300132" y="172024"/>
                        <a:pt x="311174" y="171396"/>
                        <a:pt x="322215" y="170644"/>
                      </a:cubicBezTo>
                      <a:cubicBezTo>
                        <a:pt x="318451" y="158096"/>
                        <a:pt x="310546" y="146553"/>
                        <a:pt x="298501" y="138397"/>
                      </a:cubicBezTo>
                      <a:close/>
                    </a:path>
                  </a:pathLst>
                </a:custGeom>
                <a:solidFill>
                  <a:srgbClr val="4DBEEE"/>
                </a:solidFill>
                <a:ln w="1253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sp>
              <p:nvSpPr>
                <p:cNvPr id="135" name="Freeform 134">
                  <a:extLst>
                    <a:ext uri="{FF2B5EF4-FFF2-40B4-BE49-F238E27FC236}">
                      <a16:creationId xmlns:a16="http://schemas.microsoft.com/office/drawing/2014/main" id="{A0AF75A4-D6E7-CFE7-746A-73B17030C5D7}"/>
                    </a:ext>
                  </a:extLst>
                </p:cNvPr>
                <p:cNvSpPr/>
                <p:nvPr/>
              </p:nvSpPr>
              <p:spPr>
                <a:xfrm>
                  <a:off x="9806619" y="2033806"/>
                  <a:ext cx="434011" cy="164871"/>
                </a:xfrm>
                <a:custGeom>
                  <a:avLst/>
                  <a:gdLst>
                    <a:gd name="connsiteX0" fmla="*/ 257471 w 434011"/>
                    <a:gd name="connsiteY0" fmla="*/ 0 h 164871"/>
                    <a:gd name="connsiteX1" fmla="*/ 0 w 434011"/>
                    <a:gd name="connsiteY1" fmla="*/ 86451 h 164871"/>
                    <a:gd name="connsiteX2" fmla="*/ 68508 w 434011"/>
                    <a:gd name="connsiteY2" fmla="*/ 126352 h 164871"/>
                    <a:gd name="connsiteX3" fmla="*/ 97743 w 434011"/>
                    <a:gd name="connsiteY3" fmla="*/ 138522 h 164871"/>
                    <a:gd name="connsiteX4" fmla="*/ 97743 w 434011"/>
                    <a:gd name="connsiteY4" fmla="*/ 138522 h 164871"/>
                    <a:gd name="connsiteX5" fmla="*/ 197620 w 434011"/>
                    <a:gd name="connsiteY5" fmla="*/ 138522 h 164871"/>
                    <a:gd name="connsiteX6" fmla="*/ 197620 w 434011"/>
                    <a:gd name="connsiteY6" fmla="*/ 138522 h 164871"/>
                    <a:gd name="connsiteX7" fmla="*/ 226855 w 434011"/>
                    <a:gd name="connsiteY7" fmla="*/ 126352 h 164871"/>
                    <a:gd name="connsiteX8" fmla="*/ 296869 w 434011"/>
                    <a:gd name="connsiteY8" fmla="*/ 80805 h 164871"/>
                    <a:gd name="connsiteX9" fmla="*/ 364123 w 434011"/>
                    <a:gd name="connsiteY9" fmla="*/ 57090 h 164871"/>
                    <a:gd name="connsiteX10" fmla="*/ 393358 w 434011"/>
                    <a:gd name="connsiteY10" fmla="*/ 44919 h 164871"/>
                    <a:gd name="connsiteX11" fmla="*/ 434012 w 434011"/>
                    <a:gd name="connsiteY11" fmla="*/ 38269 h 164871"/>
                    <a:gd name="connsiteX12" fmla="*/ 257471 w 434011"/>
                    <a:gd name="connsiteY12" fmla="*/ 0 h 1648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34011" h="164871">
                      <a:moveTo>
                        <a:pt x="257471" y="0"/>
                      </a:moveTo>
                      <a:cubicBezTo>
                        <a:pt x="160731" y="0"/>
                        <a:pt x="71520" y="32247"/>
                        <a:pt x="0" y="86451"/>
                      </a:cubicBezTo>
                      <a:cubicBezTo>
                        <a:pt x="9285" y="113553"/>
                        <a:pt x="37391" y="132249"/>
                        <a:pt x="68508" y="126352"/>
                      </a:cubicBezTo>
                      <a:cubicBezTo>
                        <a:pt x="79801" y="124218"/>
                        <a:pt x="91219" y="128986"/>
                        <a:pt x="97743" y="138522"/>
                      </a:cubicBezTo>
                      <a:lnTo>
                        <a:pt x="97743" y="138522"/>
                      </a:lnTo>
                      <a:cubicBezTo>
                        <a:pt x="121709" y="173655"/>
                        <a:pt x="173655" y="173655"/>
                        <a:pt x="197620" y="138522"/>
                      </a:cubicBezTo>
                      <a:lnTo>
                        <a:pt x="197620" y="138522"/>
                      </a:lnTo>
                      <a:cubicBezTo>
                        <a:pt x="204145" y="128986"/>
                        <a:pt x="215563" y="124218"/>
                        <a:pt x="226855" y="126352"/>
                      </a:cubicBezTo>
                      <a:cubicBezTo>
                        <a:pt x="259980" y="132625"/>
                        <a:pt x="289843" y="110918"/>
                        <a:pt x="296869" y="80805"/>
                      </a:cubicBezTo>
                      <a:cubicBezTo>
                        <a:pt x="320835" y="87957"/>
                        <a:pt x="348439" y="80052"/>
                        <a:pt x="364123" y="57090"/>
                      </a:cubicBezTo>
                      <a:cubicBezTo>
                        <a:pt x="370648" y="47554"/>
                        <a:pt x="382066" y="42786"/>
                        <a:pt x="393358" y="44919"/>
                      </a:cubicBezTo>
                      <a:cubicBezTo>
                        <a:pt x="408164" y="47680"/>
                        <a:pt x="422217" y="44919"/>
                        <a:pt x="434012" y="38269"/>
                      </a:cubicBezTo>
                      <a:cubicBezTo>
                        <a:pt x="380184" y="13802"/>
                        <a:pt x="320458" y="0"/>
                        <a:pt x="257471" y="0"/>
                      </a:cubicBezTo>
                      <a:close/>
                    </a:path>
                  </a:pathLst>
                </a:custGeom>
                <a:solidFill>
                  <a:srgbClr val="4DBEEE"/>
                </a:solidFill>
                <a:ln w="1253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sp>
              <p:nvSpPr>
                <p:cNvPr id="136" name="Freeform 135">
                  <a:extLst>
                    <a:ext uri="{FF2B5EF4-FFF2-40B4-BE49-F238E27FC236}">
                      <a16:creationId xmlns:a16="http://schemas.microsoft.com/office/drawing/2014/main" id="{037FDB3F-E02B-70BD-ECA7-DE2E7D92A2FE}"/>
                    </a:ext>
                  </a:extLst>
                </p:cNvPr>
                <p:cNvSpPr/>
                <p:nvPr/>
              </p:nvSpPr>
              <p:spPr>
                <a:xfrm>
                  <a:off x="9638234" y="2226909"/>
                  <a:ext cx="104017" cy="210624"/>
                </a:xfrm>
                <a:custGeom>
                  <a:avLst/>
                  <a:gdLst>
                    <a:gd name="connsiteX0" fmla="*/ 65497 w 104017"/>
                    <a:gd name="connsiteY0" fmla="*/ 139024 h 210624"/>
                    <a:gd name="connsiteX1" fmla="*/ 77668 w 104017"/>
                    <a:gd name="connsiteY1" fmla="*/ 109789 h 210624"/>
                    <a:gd name="connsiteX2" fmla="*/ 77668 w 104017"/>
                    <a:gd name="connsiteY2" fmla="*/ 9912 h 210624"/>
                    <a:gd name="connsiteX3" fmla="*/ 69010 w 104017"/>
                    <a:gd name="connsiteY3" fmla="*/ 0 h 210624"/>
                    <a:gd name="connsiteX4" fmla="*/ 0 w 104017"/>
                    <a:gd name="connsiteY4" fmla="*/ 210293 h 210624"/>
                    <a:gd name="connsiteX5" fmla="*/ 65497 w 104017"/>
                    <a:gd name="connsiteY5" fmla="*/ 139024 h 2106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04017" h="210624">
                      <a:moveTo>
                        <a:pt x="65497" y="139024"/>
                      </a:moveTo>
                      <a:cubicBezTo>
                        <a:pt x="63364" y="127732"/>
                        <a:pt x="68132" y="116314"/>
                        <a:pt x="77668" y="109789"/>
                      </a:cubicBezTo>
                      <a:cubicBezTo>
                        <a:pt x="112800" y="85824"/>
                        <a:pt x="112800" y="33878"/>
                        <a:pt x="77668" y="9912"/>
                      </a:cubicBezTo>
                      <a:cubicBezTo>
                        <a:pt x="73904" y="7277"/>
                        <a:pt x="71143" y="3890"/>
                        <a:pt x="69010" y="0"/>
                      </a:cubicBezTo>
                      <a:cubicBezTo>
                        <a:pt x="28984" y="60980"/>
                        <a:pt x="4266" y="132876"/>
                        <a:pt x="0" y="210293"/>
                      </a:cubicBezTo>
                      <a:cubicBezTo>
                        <a:pt x="39650" y="214434"/>
                        <a:pt x="73151" y="179176"/>
                        <a:pt x="65497" y="139024"/>
                      </a:cubicBezTo>
                      <a:close/>
                    </a:path>
                  </a:pathLst>
                </a:custGeom>
                <a:solidFill>
                  <a:srgbClr val="4DBEEE"/>
                </a:solidFill>
                <a:ln w="1253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sp>
              <p:nvSpPr>
                <p:cNvPr id="137" name="Freeform 136">
                  <a:extLst>
                    <a:ext uri="{FF2B5EF4-FFF2-40B4-BE49-F238E27FC236}">
                      <a16:creationId xmlns:a16="http://schemas.microsoft.com/office/drawing/2014/main" id="{3F7A7A09-CD8B-E2D1-C862-20943EE746D6}"/>
                    </a:ext>
                  </a:extLst>
                </p:cNvPr>
                <p:cNvSpPr/>
                <p:nvPr/>
              </p:nvSpPr>
              <p:spPr>
                <a:xfrm>
                  <a:off x="9637857" y="2477353"/>
                  <a:ext cx="139651" cy="259980"/>
                </a:xfrm>
                <a:custGeom>
                  <a:avLst/>
                  <a:gdLst>
                    <a:gd name="connsiteX0" fmla="*/ 113428 w 139651"/>
                    <a:gd name="connsiteY0" fmla="*/ 113804 h 259980"/>
                    <a:gd name="connsiteX1" fmla="*/ 101257 w 139651"/>
                    <a:gd name="connsiteY1" fmla="*/ 84569 h 259980"/>
                    <a:gd name="connsiteX2" fmla="*/ 30616 w 139651"/>
                    <a:gd name="connsiteY2" fmla="*/ 13927 h 259980"/>
                    <a:gd name="connsiteX3" fmla="*/ 1380 w 139651"/>
                    <a:gd name="connsiteY3" fmla="*/ 1757 h 259980"/>
                    <a:gd name="connsiteX4" fmla="*/ 0 w 139651"/>
                    <a:gd name="connsiteY4" fmla="*/ 0 h 259980"/>
                    <a:gd name="connsiteX5" fmla="*/ 101884 w 139651"/>
                    <a:gd name="connsiteY5" fmla="*/ 259981 h 259980"/>
                    <a:gd name="connsiteX6" fmla="*/ 101131 w 139651"/>
                    <a:gd name="connsiteY6" fmla="*/ 242791 h 259980"/>
                    <a:gd name="connsiteX7" fmla="*/ 113302 w 139651"/>
                    <a:gd name="connsiteY7" fmla="*/ 213555 h 259980"/>
                    <a:gd name="connsiteX8" fmla="*/ 113302 w 139651"/>
                    <a:gd name="connsiteY8" fmla="*/ 113679 h 259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39651" h="259980">
                      <a:moveTo>
                        <a:pt x="113428" y="113804"/>
                      </a:moveTo>
                      <a:cubicBezTo>
                        <a:pt x="103892" y="107280"/>
                        <a:pt x="99124" y="95862"/>
                        <a:pt x="101257" y="84569"/>
                      </a:cubicBezTo>
                      <a:cubicBezTo>
                        <a:pt x="109162" y="42786"/>
                        <a:pt x="72524" y="6023"/>
                        <a:pt x="30616" y="13927"/>
                      </a:cubicBezTo>
                      <a:cubicBezTo>
                        <a:pt x="19323" y="16061"/>
                        <a:pt x="7905" y="11293"/>
                        <a:pt x="1380" y="1757"/>
                      </a:cubicBezTo>
                      <a:cubicBezTo>
                        <a:pt x="1004" y="1129"/>
                        <a:pt x="502" y="627"/>
                        <a:pt x="0" y="0"/>
                      </a:cubicBezTo>
                      <a:cubicBezTo>
                        <a:pt x="3890" y="99124"/>
                        <a:pt x="41657" y="189465"/>
                        <a:pt x="101884" y="259981"/>
                      </a:cubicBezTo>
                      <a:cubicBezTo>
                        <a:pt x="102386" y="254460"/>
                        <a:pt x="102261" y="248688"/>
                        <a:pt x="101131" y="242791"/>
                      </a:cubicBezTo>
                      <a:cubicBezTo>
                        <a:pt x="98998" y="231498"/>
                        <a:pt x="103766" y="220080"/>
                        <a:pt x="113302" y="213555"/>
                      </a:cubicBezTo>
                      <a:cubicBezTo>
                        <a:pt x="148435" y="189590"/>
                        <a:pt x="148435" y="137644"/>
                        <a:pt x="113302" y="113679"/>
                      </a:cubicBezTo>
                      <a:close/>
                    </a:path>
                  </a:pathLst>
                </a:custGeom>
                <a:solidFill>
                  <a:srgbClr val="4DBEEE"/>
                </a:solidFill>
                <a:ln w="1253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sp>
              <p:nvSpPr>
                <p:cNvPr id="138" name="Freeform 137">
                  <a:extLst>
                    <a:ext uri="{FF2B5EF4-FFF2-40B4-BE49-F238E27FC236}">
                      <a16:creationId xmlns:a16="http://schemas.microsoft.com/office/drawing/2014/main" id="{A8BE9662-5DF2-14EC-091E-6494121A99A3}"/>
                    </a:ext>
                  </a:extLst>
                </p:cNvPr>
                <p:cNvSpPr/>
                <p:nvPr/>
              </p:nvSpPr>
              <p:spPr>
                <a:xfrm>
                  <a:off x="10162855" y="2608322"/>
                  <a:ext cx="295094" cy="266781"/>
                </a:xfrm>
                <a:custGeom>
                  <a:avLst/>
                  <a:gdLst>
                    <a:gd name="connsiteX0" fmla="*/ 295095 w 295094"/>
                    <a:gd name="connsiteY0" fmla="*/ 16211 h 266781"/>
                    <a:gd name="connsiteX1" fmla="*/ 204002 w 295094"/>
                    <a:gd name="connsiteY1" fmla="*/ 26375 h 266781"/>
                    <a:gd name="connsiteX2" fmla="*/ 187063 w 295094"/>
                    <a:gd name="connsiteY2" fmla="*/ 51218 h 266781"/>
                    <a:gd name="connsiteX3" fmla="*/ 157827 w 295094"/>
                    <a:gd name="connsiteY3" fmla="*/ 63389 h 266781"/>
                    <a:gd name="connsiteX4" fmla="*/ 128341 w 295094"/>
                    <a:gd name="connsiteY4" fmla="*/ 57743 h 266781"/>
                    <a:gd name="connsiteX5" fmla="*/ 57700 w 295094"/>
                    <a:gd name="connsiteY5" fmla="*/ 128384 h 266781"/>
                    <a:gd name="connsiteX6" fmla="*/ 63346 w 295094"/>
                    <a:gd name="connsiteY6" fmla="*/ 157871 h 266781"/>
                    <a:gd name="connsiteX7" fmla="*/ 51175 w 295094"/>
                    <a:gd name="connsiteY7" fmla="*/ 187106 h 266781"/>
                    <a:gd name="connsiteX8" fmla="*/ 26332 w 295094"/>
                    <a:gd name="connsiteY8" fmla="*/ 204045 h 266781"/>
                    <a:gd name="connsiteX9" fmla="*/ 1362 w 295094"/>
                    <a:gd name="connsiteY9" fmla="*/ 266781 h 266781"/>
                    <a:gd name="connsiteX10" fmla="*/ 295095 w 295094"/>
                    <a:gd name="connsiteY10" fmla="*/ 16211 h 2667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95094" h="266781">
                      <a:moveTo>
                        <a:pt x="295095" y="16211"/>
                      </a:moveTo>
                      <a:cubicBezTo>
                        <a:pt x="268871" y="-8381"/>
                        <a:pt x="225457" y="-4994"/>
                        <a:pt x="204002" y="26375"/>
                      </a:cubicBezTo>
                      <a:lnTo>
                        <a:pt x="187063" y="51218"/>
                      </a:lnTo>
                      <a:cubicBezTo>
                        <a:pt x="180538" y="60754"/>
                        <a:pt x="169120" y="65522"/>
                        <a:pt x="157827" y="63389"/>
                      </a:cubicBezTo>
                      <a:lnTo>
                        <a:pt x="128341" y="57743"/>
                      </a:lnTo>
                      <a:cubicBezTo>
                        <a:pt x="86559" y="49838"/>
                        <a:pt x="49795" y="86476"/>
                        <a:pt x="57700" y="128384"/>
                      </a:cubicBezTo>
                      <a:lnTo>
                        <a:pt x="63346" y="157871"/>
                      </a:lnTo>
                      <a:cubicBezTo>
                        <a:pt x="65479" y="169163"/>
                        <a:pt x="60711" y="180581"/>
                        <a:pt x="51175" y="187106"/>
                      </a:cubicBezTo>
                      <a:lnTo>
                        <a:pt x="26332" y="204045"/>
                      </a:lnTo>
                      <a:cubicBezTo>
                        <a:pt x="4750" y="218725"/>
                        <a:pt x="-3531" y="243945"/>
                        <a:pt x="1362" y="266781"/>
                      </a:cubicBezTo>
                      <a:cubicBezTo>
                        <a:pt x="134489" y="234786"/>
                        <a:pt x="243275" y="140430"/>
                        <a:pt x="295095" y="16211"/>
                      </a:cubicBezTo>
                      <a:close/>
                    </a:path>
                  </a:pathLst>
                </a:custGeom>
                <a:solidFill>
                  <a:srgbClr val="4DBEEE"/>
                </a:solidFill>
                <a:ln w="1253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sp>
              <p:nvSpPr>
                <p:cNvPr id="139" name="Freeform 138">
                  <a:extLst>
                    <a:ext uri="{FF2B5EF4-FFF2-40B4-BE49-F238E27FC236}">
                      <a16:creationId xmlns:a16="http://schemas.microsoft.com/office/drawing/2014/main" id="{A2246ED6-4FF8-AE38-64A5-27264C550233}"/>
                    </a:ext>
                  </a:extLst>
                </p:cNvPr>
                <p:cNvSpPr/>
                <p:nvPr/>
              </p:nvSpPr>
              <p:spPr>
                <a:xfrm>
                  <a:off x="10352835" y="2205955"/>
                  <a:ext cx="137863" cy="357724"/>
                </a:xfrm>
                <a:custGeom>
                  <a:avLst/>
                  <a:gdLst>
                    <a:gd name="connsiteX0" fmla="*/ 54173 w 137863"/>
                    <a:gd name="connsiteY0" fmla="*/ 31619 h 357724"/>
                    <a:gd name="connsiteX1" fmla="*/ 39618 w 137863"/>
                    <a:gd name="connsiteY1" fmla="*/ 66877 h 357724"/>
                    <a:gd name="connsiteX2" fmla="*/ 39618 w 137863"/>
                    <a:gd name="connsiteY2" fmla="*/ 66877 h 357724"/>
                    <a:gd name="connsiteX3" fmla="*/ 39618 w 137863"/>
                    <a:gd name="connsiteY3" fmla="*/ 216692 h 357724"/>
                    <a:gd name="connsiteX4" fmla="*/ 39618 w 137863"/>
                    <a:gd name="connsiteY4" fmla="*/ 216692 h 357724"/>
                    <a:gd name="connsiteX5" fmla="*/ 54173 w 137863"/>
                    <a:gd name="connsiteY5" fmla="*/ 251950 h 357724"/>
                    <a:gd name="connsiteX6" fmla="*/ 125191 w 137863"/>
                    <a:gd name="connsiteY6" fmla="*/ 357724 h 357724"/>
                    <a:gd name="connsiteX7" fmla="*/ 137864 w 137863"/>
                    <a:gd name="connsiteY7" fmla="*/ 254334 h 357724"/>
                    <a:gd name="connsiteX8" fmla="*/ 53797 w 137863"/>
                    <a:gd name="connsiteY8" fmla="*/ 0 h 357724"/>
                    <a:gd name="connsiteX9" fmla="*/ 54173 w 137863"/>
                    <a:gd name="connsiteY9" fmla="*/ 31619 h 3577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37863" h="357724">
                      <a:moveTo>
                        <a:pt x="54173" y="31619"/>
                      </a:moveTo>
                      <a:cubicBezTo>
                        <a:pt x="56808" y="45170"/>
                        <a:pt x="51036" y="59098"/>
                        <a:pt x="39618" y="66877"/>
                      </a:cubicBezTo>
                      <a:lnTo>
                        <a:pt x="39618" y="66877"/>
                      </a:lnTo>
                      <a:cubicBezTo>
                        <a:pt x="-13206" y="102888"/>
                        <a:pt x="-13206" y="180681"/>
                        <a:pt x="39618" y="216692"/>
                      </a:cubicBezTo>
                      <a:lnTo>
                        <a:pt x="39618" y="216692"/>
                      </a:lnTo>
                      <a:cubicBezTo>
                        <a:pt x="51036" y="224472"/>
                        <a:pt x="56808" y="238399"/>
                        <a:pt x="54173" y="251950"/>
                      </a:cubicBezTo>
                      <a:cubicBezTo>
                        <a:pt x="44637" y="302641"/>
                        <a:pt x="78640" y="348314"/>
                        <a:pt x="125191" y="357724"/>
                      </a:cubicBezTo>
                      <a:cubicBezTo>
                        <a:pt x="133472" y="324599"/>
                        <a:pt x="137864" y="289969"/>
                        <a:pt x="137864" y="254334"/>
                      </a:cubicBezTo>
                      <a:cubicBezTo>
                        <a:pt x="137864" y="158975"/>
                        <a:pt x="106621" y="71018"/>
                        <a:pt x="53797" y="0"/>
                      </a:cubicBezTo>
                      <a:cubicBezTo>
                        <a:pt x="52165" y="10038"/>
                        <a:pt x="52040" y="20703"/>
                        <a:pt x="54173" y="31619"/>
                      </a:cubicBezTo>
                      <a:close/>
                    </a:path>
                  </a:pathLst>
                </a:custGeom>
                <a:solidFill>
                  <a:srgbClr val="4DBEEE"/>
                </a:solidFill>
                <a:ln w="1253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sp>
              <p:nvSpPr>
                <p:cNvPr id="140" name="Freeform 139">
                  <a:extLst>
                    <a:ext uri="{FF2B5EF4-FFF2-40B4-BE49-F238E27FC236}">
                      <a16:creationId xmlns:a16="http://schemas.microsoft.com/office/drawing/2014/main" id="{BA2ABC54-068E-CF3A-B6E8-D0AC256C9CE1}"/>
                    </a:ext>
                  </a:extLst>
                </p:cNvPr>
                <p:cNvSpPr/>
                <p:nvPr/>
              </p:nvSpPr>
              <p:spPr>
                <a:xfrm>
                  <a:off x="10250732" y="2079980"/>
                  <a:ext cx="125535" cy="120706"/>
                </a:xfrm>
                <a:custGeom>
                  <a:avLst/>
                  <a:gdLst>
                    <a:gd name="connsiteX0" fmla="*/ 125535 w 125535"/>
                    <a:gd name="connsiteY0" fmla="*/ 89713 h 120706"/>
                    <a:gd name="connsiteX1" fmla="*/ 6336 w 125535"/>
                    <a:gd name="connsiteY1" fmla="*/ 0 h 120706"/>
                    <a:gd name="connsiteX2" fmla="*/ 15495 w 125535"/>
                    <a:gd name="connsiteY2" fmla="*/ 78923 h 120706"/>
                    <a:gd name="connsiteX3" fmla="*/ 107091 w 125535"/>
                    <a:gd name="connsiteY3" fmla="*/ 113553 h 120706"/>
                    <a:gd name="connsiteX4" fmla="*/ 125535 w 125535"/>
                    <a:gd name="connsiteY4" fmla="*/ 89713 h 1207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5535" h="120706">
                      <a:moveTo>
                        <a:pt x="125535" y="89713"/>
                      </a:moveTo>
                      <a:cubicBezTo>
                        <a:pt x="91532" y="53201"/>
                        <a:pt x="51255" y="22836"/>
                        <a:pt x="6336" y="0"/>
                      </a:cubicBezTo>
                      <a:cubicBezTo>
                        <a:pt x="-4330" y="21330"/>
                        <a:pt x="-1695" y="52071"/>
                        <a:pt x="15495" y="78923"/>
                      </a:cubicBezTo>
                      <a:cubicBezTo>
                        <a:pt x="38708" y="115435"/>
                        <a:pt x="79738" y="130994"/>
                        <a:pt x="107091" y="113553"/>
                      </a:cubicBezTo>
                      <a:cubicBezTo>
                        <a:pt x="115748" y="108032"/>
                        <a:pt x="121771" y="99626"/>
                        <a:pt x="125535" y="89713"/>
                      </a:cubicBezTo>
                      <a:close/>
                    </a:path>
                  </a:pathLst>
                </a:custGeom>
                <a:solidFill>
                  <a:srgbClr val="4DBEEE"/>
                </a:solidFill>
                <a:ln w="1253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</p:grpSp>
        </p:grp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33497D9D-5A49-CA69-DC51-3F3DA06B87EB}"/>
                </a:ext>
              </a:extLst>
            </p:cNvPr>
            <p:cNvSpPr/>
            <p:nvPr/>
          </p:nvSpPr>
          <p:spPr>
            <a:xfrm>
              <a:off x="10399103" y="4217165"/>
              <a:ext cx="22585" cy="51569"/>
            </a:xfrm>
            <a:custGeom>
              <a:avLst/>
              <a:gdLst>
                <a:gd name="connsiteX0" fmla="*/ 3137 w 22585"/>
                <a:gd name="connsiteY0" fmla="*/ 0 h 51569"/>
                <a:gd name="connsiteX1" fmla="*/ 0 w 22585"/>
                <a:gd name="connsiteY1" fmla="*/ 50064 h 51569"/>
                <a:gd name="connsiteX2" fmla="*/ 19449 w 22585"/>
                <a:gd name="connsiteY2" fmla="*/ 51569 h 51569"/>
                <a:gd name="connsiteX3" fmla="*/ 22585 w 22585"/>
                <a:gd name="connsiteY3" fmla="*/ 1506 h 51569"/>
                <a:gd name="connsiteX4" fmla="*/ 3137 w 22585"/>
                <a:gd name="connsiteY4" fmla="*/ 0 h 51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85" h="51569">
                  <a:moveTo>
                    <a:pt x="3137" y="0"/>
                  </a:moveTo>
                  <a:lnTo>
                    <a:pt x="0" y="50064"/>
                  </a:lnTo>
                  <a:cubicBezTo>
                    <a:pt x="6525" y="50566"/>
                    <a:pt x="12924" y="51068"/>
                    <a:pt x="19449" y="51569"/>
                  </a:cubicBezTo>
                  <a:lnTo>
                    <a:pt x="22585" y="1506"/>
                  </a:lnTo>
                  <a:cubicBezTo>
                    <a:pt x="16186" y="1004"/>
                    <a:pt x="9662" y="502"/>
                    <a:pt x="3137" y="0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0E85417E-597F-1F5B-F214-7946EEC3C290}"/>
                </a:ext>
              </a:extLst>
            </p:cNvPr>
            <p:cNvSpPr/>
            <p:nvPr/>
          </p:nvSpPr>
          <p:spPr>
            <a:xfrm>
              <a:off x="10191069" y="4212774"/>
              <a:ext cx="21832" cy="51569"/>
            </a:xfrm>
            <a:custGeom>
              <a:avLst/>
              <a:gdLst>
                <a:gd name="connsiteX0" fmla="*/ 2258 w 21832"/>
                <a:gd name="connsiteY0" fmla="*/ 1129 h 51569"/>
                <a:gd name="connsiteX1" fmla="*/ 0 w 21832"/>
                <a:gd name="connsiteY1" fmla="*/ 51570 h 51569"/>
                <a:gd name="connsiteX2" fmla="*/ 19574 w 21832"/>
                <a:gd name="connsiteY2" fmla="*/ 50440 h 51569"/>
                <a:gd name="connsiteX3" fmla="*/ 21832 w 21832"/>
                <a:gd name="connsiteY3" fmla="*/ 0 h 51569"/>
                <a:gd name="connsiteX4" fmla="*/ 2258 w 21832"/>
                <a:gd name="connsiteY4" fmla="*/ 1255 h 51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832" h="51569">
                  <a:moveTo>
                    <a:pt x="2258" y="1129"/>
                  </a:moveTo>
                  <a:lnTo>
                    <a:pt x="0" y="51570"/>
                  </a:lnTo>
                  <a:cubicBezTo>
                    <a:pt x="6524" y="51068"/>
                    <a:pt x="13049" y="50691"/>
                    <a:pt x="19574" y="50440"/>
                  </a:cubicBezTo>
                  <a:lnTo>
                    <a:pt x="21832" y="0"/>
                  </a:lnTo>
                  <a:cubicBezTo>
                    <a:pt x="15308" y="251"/>
                    <a:pt x="8783" y="753"/>
                    <a:pt x="2258" y="1255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A855BA2F-FCBB-D867-45F7-6948DE3DD262}"/>
                </a:ext>
              </a:extLst>
            </p:cNvPr>
            <p:cNvSpPr/>
            <p:nvPr/>
          </p:nvSpPr>
          <p:spPr>
            <a:xfrm>
              <a:off x="9993699" y="4250917"/>
              <a:ext cx="27227" cy="57341"/>
            </a:xfrm>
            <a:custGeom>
              <a:avLst/>
              <a:gdLst>
                <a:gd name="connsiteX0" fmla="*/ 15057 w 27227"/>
                <a:gd name="connsiteY0" fmla="*/ 1255 h 57341"/>
                <a:gd name="connsiteX1" fmla="*/ 0 w 27227"/>
                <a:gd name="connsiteY1" fmla="*/ 7027 h 57341"/>
                <a:gd name="connsiteX2" fmla="*/ 8658 w 27227"/>
                <a:gd name="connsiteY2" fmla="*/ 57341 h 57341"/>
                <a:gd name="connsiteX3" fmla="*/ 27228 w 27227"/>
                <a:gd name="connsiteY3" fmla="*/ 50315 h 57341"/>
                <a:gd name="connsiteX4" fmla="*/ 18570 w 27227"/>
                <a:gd name="connsiteY4" fmla="*/ 0 h 57341"/>
                <a:gd name="connsiteX5" fmla="*/ 15057 w 27227"/>
                <a:gd name="connsiteY5" fmla="*/ 1255 h 57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227" h="57341">
                  <a:moveTo>
                    <a:pt x="15057" y="1255"/>
                  </a:moveTo>
                  <a:cubicBezTo>
                    <a:pt x="9787" y="3388"/>
                    <a:pt x="4894" y="5270"/>
                    <a:pt x="0" y="7027"/>
                  </a:cubicBezTo>
                  <a:lnTo>
                    <a:pt x="8658" y="57341"/>
                  </a:lnTo>
                  <a:cubicBezTo>
                    <a:pt x="14555" y="55208"/>
                    <a:pt x="20703" y="52824"/>
                    <a:pt x="27228" y="50315"/>
                  </a:cubicBezTo>
                  <a:lnTo>
                    <a:pt x="18570" y="0"/>
                  </a:lnTo>
                  <a:cubicBezTo>
                    <a:pt x="17441" y="502"/>
                    <a:pt x="16186" y="878"/>
                    <a:pt x="15057" y="1255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7282615F-D134-DC06-1604-76D83E477351}"/>
                </a:ext>
              </a:extLst>
            </p:cNvPr>
            <p:cNvSpPr/>
            <p:nvPr/>
          </p:nvSpPr>
          <p:spPr>
            <a:xfrm>
              <a:off x="9937111" y="4941648"/>
              <a:ext cx="52071" cy="40778"/>
            </a:xfrm>
            <a:custGeom>
              <a:avLst/>
              <a:gdLst>
                <a:gd name="connsiteX0" fmla="*/ 45045 w 52071"/>
                <a:gd name="connsiteY0" fmla="*/ 0 h 40778"/>
                <a:gd name="connsiteX1" fmla="*/ 0 w 52071"/>
                <a:gd name="connsiteY1" fmla="*/ 22460 h 40778"/>
                <a:gd name="connsiteX2" fmla="*/ 6901 w 52071"/>
                <a:gd name="connsiteY2" fmla="*/ 40779 h 40778"/>
                <a:gd name="connsiteX3" fmla="*/ 52071 w 52071"/>
                <a:gd name="connsiteY3" fmla="*/ 18319 h 40778"/>
                <a:gd name="connsiteX4" fmla="*/ 45045 w 52071"/>
                <a:gd name="connsiteY4" fmla="*/ 0 h 40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071" h="40778">
                  <a:moveTo>
                    <a:pt x="45045" y="0"/>
                  </a:moveTo>
                  <a:lnTo>
                    <a:pt x="0" y="22460"/>
                  </a:lnTo>
                  <a:lnTo>
                    <a:pt x="6901" y="40779"/>
                  </a:lnTo>
                  <a:lnTo>
                    <a:pt x="52071" y="18319"/>
                  </a:lnTo>
                  <a:lnTo>
                    <a:pt x="45045" y="0"/>
                  </a:ln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452F0801-FEB0-CF9A-FE85-F7B2FAA10A5F}"/>
                </a:ext>
              </a:extLst>
            </p:cNvPr>
            <p:cNvSpPr/>
            <p:nvPr/>
          </p:nvSpPr>
          <p:spPr>
            <a:xfrm>
              <a:off x="9891564" y="4821444"/>
              <a:ext cx="51820" cy="41657"/>
            </a:xfrm>
            <a:custGeom>
              <a:avLst/>
              <a:gdLst>
                <a:gd name="connsiteX0" fmla="*/ 44919 w 51820"/>
                <a:gd name="connsiteY0" fmla="*/ 0 h 41657"/>
                <a:gd name="connsiteX1" fmla="*/ 0 w 51820"/>
                <a:gd name="connsiteY1" fmla="*/ 23213 h 41657"/>
                <a:gd name="connsiteX2" fmla="*/ 7026 w 51820"/>
                <a:gd name="connsiteY2" fmla="*/ 41657 h 41657"/>
                <a:gd name="connsiteX3" fmla="*/ 51821 w 51820"/>
                <a:gd name="connsiteY3" fmla="*/ 18319 h 41657"/>
                <a:gd name="connsiteX4" fmla="*/ 44919 w 51820"/>
                <a:gd name="connsiteY4" fmla="*/ 0 h 41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820" h="41657">
                  <a:moveTo>
                    <a:pt x="44919" y="0"/>
                  </a:moveTo>
                  <a:lnTo>
                    <a:pt x="0" y="23213"/>
                  </a:lnTo>
                  <a:lnTo>
                    <a:pt x="7026" y="41657"/>
                  </a:lnTo>
                  <a:lnTo>
                    <a:pt x="51821" y="18319"/>
                  </a:lnTo>
                  <a:lnTo>
                    <a:pt x="44919" y="0"/>
                  </a:ln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2AA32CA2-89E4-BBD2-238C-AF00265D4A9F}"/>
                </a:ext>
              </a:extLst>
            </p:cNvPr>
            <p:cNvSpPr/>
            <p:nvPr/>
          </p:nvSpPr>
          <p:spPr>
            <a:xfrm>
              <a:off x="9843884" y="4698731"/>
              <a:ext cx="52824" cy="38520"/>
            </a:xfrm>
            <a:custGeom>
              <a:avLst/>
              <a:gdLst>
                <a:gd name="connsiteX0" fmla="*/ 45923 w 52824"/>
                <a:gd name="connsiteY0" fmla="*/ 0 h 38520"/>
                <a:gd name="connsiteX1" fmla="*/ 0 w 52824"/>
                <a:gd name="connsiteY1" fmla="*/ 20327 h 38520"/>
                <a:gd name="connsiteX2" fmla="*/ 6901 w 52824"/>
                <a:gd name="connsiteY2" fmla="*/ 38520 h 38520"/>
                <a:gd name="connsiteX3" fmla="*/ 52825 w 52824"/>
                <a:gd name="connsiteY3" fmla="*/ 18194 h 38520"/>
                <a:gd name="connsiteX4" fmla="*/ 45923 w 52824"/>
                <a:gd name="connsiteY4" fmla="*/ 0 h 38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824" h="38520">
                  <a:moveTo>
                    <a:pt x="45923" y="0"/>
                  </a:moveTo>
                  <a:lnTo>
                    <a:pt x="0" y="20327"/>
                  </a:lnTo>
                  <a:lnTo>
                    <a:pt x="6901" y="38520"/>
                  </a:lnTo>
                  <a:lnTo>
                    <a:pt x="52825" y="18194"/>
                  </a:lnTo>
                  <a:lnTo>
                    <a:pt x="45923" y="0"/>
                  </a:ln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F17657A5-F206-5DE8-A83C-EF4F3FD91DC5}"/>
                </a:ext>
              </a:extLst>
            </p:cNvPr>
            <p:cNvSpPr/>
            <p:nvPr/>
          </p:nvSpPr>
          <p:spPr>
            <a:xfrm>
              <a:off x="11105518" y="3816529"/>
              <a:ext cx="50063" cy="48432"/>
            </a:xfrm>
            <a:custGeom>
              <a:avLst/>
              <a:gdLst>
                <a:gd name="connsiteX0" fmla="*/ 0 w 50063"/>
                <a:gd name="connsiteY0" fmla="*/ 15057 h 48432"/>
                <a:gd name="connsiteX1" fmla="*/ 37642 w 50063"/>
                <a:gd name="connsiteY1" fmla="*/ 48433 h 48432"/>
                <a:gd name="connsiteX2" fmla="*/ 50064 w 50063"/>
                <a:gd name="connsiteY2" fmla="*/ 33376 h 48432"/>
                <a:gd name="connsiteX3" fmla="*/ 12422 w 50063"/>
                <a:gd name="connsiteY3" fmla="*/ 0 h 48432"/>
                <a:gd name="connsiteX4" fmla="*/ 0 w 50063"/>
                <a:gd name="connsiteY4" fmla="*/ 15057 h 48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063" h="48432">
                  <a:moveTo>
                    <a:pt x="0" y="15057"/>
                  </a:moveTo>
                  <a:lnTo>
                    <a:pt x="37642" y="48433"/>
                  </a:lnTo>
                  <a:cubicBezTo>
                    <a:pt x="41782" y="43414"/>
                    <a:pt x="46048" y="38395"/>
                    <a:pt x="50064" y="33376"/>
                  </a:cubicBezTo>
                  <a:lnTo>
                    <a:pt x="12422" y="0"/>
                  </a:lnTo>
                  <a:cubicBezTo>
                    <a:pt x="8406" y="5019"/>
                    <a:pt x="4140" y="10038"/>
                    <a:pt x="0" y="15057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43B06F50-B211-EEF4-1A63-DC87A2A8AB97}"/>
                </a:ext>
              </a:extLst>
            </p:cNvPr>
            <p:cNvSpPr/>
            <p:nvPr/>
          </p:nvSpPr>
          <p:spPr>
            <a:xfrm>
              <a:off x="11174026" y="3727569"/>
              <a:ext cx="50691" cy="47303"/>
            </a:xfrm>
            <a:custGeom>
              <a:avLst/>
              <a:gdLst>
                <a:gd name="connsiteX0" fmla="*/ 0 w 50691"/>
                <a:gd name="connsiteY0" fmla="*/ 15935 h 47303"/>
                <a:gd name="connsiteX1" fmla="*/ 39273 w 50691"/>
                <a:gd name="connsiteY1" fmla="*/ 47303 h 47303"/>
                <a:gd name="connsiteX2" fmla="*/ 50691 w 50691"/>
                <a:gd name="connsiteY2" fmla="*/ 31494 h 47303"/>
                <a:gd name="connsiteX3" fmla="*/ 11293 w 50691"/>
                <a:gd name="connsiteY3" fmla="*/ 0 h 47303"/>
                <a:gd name="connsiteX4" fmla="*/ 0 w 50691"/>
                <a:gd name="connsiteY4" fmla="*/ 15935 h 47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691" h="47303">
                  <a:moveTo>
                    <a:pt x="0" y="15935"/>
                  </a:moveTo>
                  <a:lnTo>
                    <a:pt x="39273" y="47303"/>
                  </a:lnTo>
                  <a:cubicBezTo>
                    <a:pt x="43037" y="42033"/>
                    <a:pt x="46927" y="36764"/>
                    <a:pt x="50691" y="31494"/>
                  </a:cubicBezTo>
                  <a:lnTo>
                    <a:pt x="11293" y="0"/>
                  </a:lnTo>
                  <a:cubicBezTo>
                    <a:pt x="7528" y="5270"/>
                    <a:pt x="3764" y="10665"/>
                    <a:pt x="0" y="15935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0CFFC757-9210-5225-3CC6-0A9A513F599C}"/>
                </a:ext>
              </a:extLst>
            </p:cNvPr>
            <p:cNvSpPr/>
            <p:nvPr/>
          </p:nvSpPr>
          <p:spPr>
            <a:xfrm>
              <a:off x="11235508" y="3632585"/>
              <a:ext cx="51318" cy="45546"/>
            </a:xfrm>
            <a:custGeom>
              <a:avLst/>
              <a:gdLst>
                <a:gd name="connsiteX0" fmla="*/ 0 w 51318"/>
                <a:gd name="connsiteY0" fmla="*/ 16814 h 45546"/>
                <a:gd name="connsiteX1" fmla="*/ 41406 w 51318"/>
                <a:gd name="connsiteY1" fmla="*/ 45547 h 45546"/>
                <a:gd name="connsiteX2" fmla="*/ 51319 w 51318"/>
                <a:gd name="connsiteY2" fmla="*/ 28733 h 45546"/>
                <a:gd name="connsiteX3" fmla="*/ 9912 w 51318"/>
                <a:gd name="connsiteY3" fmla="*/ 0 h 45546"/>
                <a:gd name="connsiteX4" fmla="*/ 126 w 51318"/>
                <a:gd name="connsiteY4" fmla="*/ 16939 h 4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318" h="45546">
                  <a:moveTo>
                    <a:pt x="0" y="16814"/>
                  </a:moveTo>
                  <a:lnTo>
                    <a:pt x="41406" y="45547"/>
                  </a:lnTo>
                  <a:cubicBezTo>
                    <a:pt x="44668" y="40026"/>
                    <a:pt x="48056" y="34380"/>
                    <a:pt x="51319" y="28733"/>
                  </a:cubicBezTo>
                  <a:lnTo>
                    <a:pt x="9912" y="0"/>
                  </a:lnTo>
                  <a:cubicBezTo>
                    <a:pt x="6650" y="5646"/>
                    <a:pt x="3388" y="11293"/>
                    <a:pt x="126" y="16939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7FB8ED0F-F033-32EE-E31B-D4C093534771}"/>
                </a:ext>
              </a:extLst>
            </p:cNvPr>
            <p:cNvSpPr/>
            <p:nvPr/>
          </p:nvSpPr>
          <p:spPr>
            <a:xfrm>
              <a:off x="10421438" y="4028704"/>
              <a:ext cx="20703" cy="50942"/>
            </a:xfrm>
            <a:custGeom>
              <a:avLst/>
              <a:gdLst>
                <a:gd name="connsiteX0" fmla="*/ 0 w 20703"/>
                <a:gd name="connsiteY0" fmla="*/ 0 h 50942"/>
                <a:gd name="connsiteX1" fmla="*/ 1254 w 20703"/>
                <a:gd name="connsiteY1" fmla="*/ 50315 h 50942"/>
                <a:gd name="connsiteX2" fmla="*/ 20703 w 20703"/>
                <a:gd name="connsiteY2" fmla="*/ 50942 h 50942"/>
                <a:gd name="connsiteX3" fmla="*/ 19448 w 20703"/>
                <a:gd name="connsiteY3" fmla="*/ 753 h 50942"/>
                <a:gd name="connsiteX4" fmla="*/ 0 w 20703"/>
                <a:gd name="connsiteY4" fmla="*/ 125 h 50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703" h="50942">
                  <a:moveTo>
                    <a:pt x="0" y="0"/>
                  </a:moveTo>
                  <a:lnTo>
                    <a:pt x="1254" y="50315"/>
                  </a:lnTo>
                  <a:cubicBezTo>
                    <a:pt x="7779" y="50566"/>
                    <a:pt x="14304" y="50691"/>
                    <a:pt x="20703" y="50942"/>
                  </a:cubicBezTo>
                  <a:lnTo>
                    <a:pt x="19448" y="753"/>
                  </a:lnTo>
                  <a:cubicBezTo>
                    <a:pt x="12924" y="502"/>
                    <a:pt x="6399" y="376"/>
                    <a:pt x="0" y="125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9798DC51-1198-27AE-D992-C4D49577332F}"/>
                </a:ext>
              </a:extLst>
            </p:cNvPr>
            <p:cNvSpPr/>
            <p:nvPr/>
          </p:nvSpPr>
          <p:spPr>
            <a:xfrm>
              <a:off x="10577526" y="4030712"/>
              <a:ext cx="19448" cy="50565"/>
            </a:xfrm>
            <a:custGeom>
              <a:avLst/>
              <a:gdLst>
                <a:gd name="connsiteX0" fmla="*/ 0 w 19448"/>
                <a:gd name="connsiteY0" fmla="*/ 502 h 50565"/>
                <a:gd name="connsiteX1" fmla="*/ 0 w 19448"/>
                <a:gd name="connsiteY1" fmla="*/ 50566 h 50565"/>
                <a:gd name="connsiteX2" fmla="*/ 19449 w 19448"/>
                <a:gd name="connsiteY2" fmla="*/ 50315 h 50565"/>
                <a:gd name="connsiteX3" fmla="*/ 19449 w 19448"/>
                <a:gd name="connsiteY3" fmla="*/ 0 h 50565"/>
                <a:gd name="connsiteX4" fmla="*/ 0 w 19448"/>
                <a:gd name="connsiteY4" fmla="*/ 376 h 50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448" h="50565">
                  <a:moveTo>
                    <a:pt x="0" y="502"/>
                  </a:moveTo>
                  <a:lnTo>
                    <a:pt x="0" y="50566"/>
                  </a:lnTo>
                  <a:cubicBezTo>
                    <a:pt x="6525" y="50566"/>
                    <a:pt x="13049" y="50566"/>
                    <a:pt x="19449" y="50315"/>
                  </a:cubicBezTo>
                  <a:lnTo>
                    <a:pt x="19449" y="0"/>
                  </a:lnTo>
                  <a:cubicBezTo>
                    <a:pt x="12924" y="125"/>
                    <a:pt x="6525" y="251"/>
                    <a:pt x="0" y="376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CCC93F88-C08D-7CA7-72B3-3D29159802AF}"/>
                </a:ext>
              </a:extLst>
            </p:cNvPr>
            <p:cNvSpPr/>
            <p:nvPr/>
          </p:nvSpPr>
          <p:spPr>
            <a:xfrm>
              <a:off x="10723075" y="4020549"/>
              <a:ext cx="24216" cy="52196"/>
            </a:xfrm>
            <a:custGeom>
              <a:avLst/>
              <a:gdLst>
                <a:gd name="connsiteX0" fmla="*/ 0 w 24216"/>
                <a:gd name="connsiteY0" fmla="*/ 2259 h 52196"/>
                <a:gd name="connsiteX1" fmla="*/ 4894 w 24216"/>
                <a:gd name="connsiteY1" fmla="*/ 52197 h 52196"/>
                <a:gd name="connsiteX2" fmla="*/ 24216 w 24216"/>
                <a:gd name="connsiteY2" fmla="*/ 49813 h 52196"/>
                <a:gd name="connsiteX3" fmla="*/ 19449 w 24216"/>
                <a:gd name="connsiteY3" fmla="*/ 0 h 52196"/>
                <a:gd name="connsiteX4" fmla="*/ 126 w 24216"/>
                <a:gd name="connsiteY4" fmla="*/ 2384 h 52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16" h="52196">
                  <a:moveTo>
                    <a:pt x="0" y="2259"/>
                  </a:moveTo>
                  <a:lnTo>
                    <a:pt x="4894" y="52197"/>
                  </a:lnTo>
                  <a:cubicBezTo>
                    <a:pt x="11418" y="51444"/>
                    <a:pt x="17817" y="50566"/>
                    <a:pt x="24216" y="49813"/>
                  </a:cubicBezTo>
                  <a:lnTo>
                    <a:pt x="19449" y="0"/>
                  </a:lnTo>
                  <a:cubicBezTo>
                    <a:pt x="13049" y="878"/>
                    <a:pt x="6525" y="1631"/>
                    <a:pt x="126" y="2384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B5EAA703-1552-0276-3C5A-5A0F0D663E4E}"/>
                </a:ext>
              </a:extLst>
            </p:cNvPr>
            <p:cNvSpPr/>
            <p:nvPr/>
          </p:nvSpPr>
          <p:spPr>
            <a:xfrm>
              <a:off x="11388585" y="4310141"/>
              <a:ext cx="44542" cy="53577"/>
            </a:xfrm>
            <a:custGeom>
              <a:avLst/>
              <a:gdLst>
                <a:gd name="connsiteX0" fmla="*/ 30114 w 44542"/>
                <a:gd name="connsiteY0" fmla="*/ 0 h 53577"/>
                <a:gd name="connsiteX1" fmla="*/ 0 w 44542"/>
                <a:gd name="connsiteY1" fmla="*/ 40277 h 53577"/>
                <a:gd name="connsiteX2" fmla="*/ 14304 w 44542"/>
                <a:gd name="connsiteY2" fmla="*/ 53577 h 53577"/>
                <a:gd name="connsiteX3" fmla="*/ 44543 w 44542"/>
                <a:gd name="connsiteY3" fmla="*/ 13175 h 53577"/>
                <a:gd name="connsiteX4" fmla="*/ 30114 w 44542"/>
                <a:gd name="connsiteY4" fmla="*/ 0 h 53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542" h="53577">
                  <a:moveTo>
                    <a:pt x="30114" y="0"/>
                  </a:moveTo>
                  <a:lnTo>
                    <a:pt x="0" y="40277"/>
                  </a:lnTo>
                  <a:cubicBezTo>
                    <a:pt x="4893" y="44668"/>
                    <a:pt x="9536" y="49185"/>
                    <a:pt x="14304" y="53577"/>
                  </a:cubicBezTo>
                  <a:lnTo>
                    <a:pt x="44543" y="13175"/>
                  </a:lnTo>
                  <a:cubicBezTo>
                    <a:pt x="39775" y="8783"/>
                    <a:pt x="35007" y="4266"/>
                    <a:pt x="30114" y="0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0C310DD6-FA04-335E-D982-35F41290B3E6}"/>
                </a:ext>
              </a:extLst>
            </p:cNvPr>
            <p:cNvSpPr/>
            <p:nvPr/>
          </p:nvSpPr>
          <p:spPr>
            <a:xfrm>
              <a:off x="11275659" y="4216663"/>
              <a:ext cx="42660" cy="54204"/>
            </a:xfrm>
            <a:custGeom>
              <a:avLst/>
              <a:gdLst>
                <a:gd name="connsiteX0" fmla="*/ 26851 w 42660"/>
                <a:gd name="connsiteY0" fmla="*/ 0 h 54204"/>
                <a:gd name="connsiteX1" fmla="*/ 0 w 42660"/>
                <a:gd name="connsiteY1" fmla="*/ 42535 h 54204"/>
                <a:gd name="connsiteX2" fmla="*/ 15684 w 42660"/>
                <a:gd name="connsiteY2" fmla="*/ 54205 h 54204"/>
                <a:gd name="connsiteX3" fmla="*/ 42661 w 42660"/>
                <a:gd name="connsiteY3" fmla="*/ 11669 h 54204"/>
                <a:gd name="connsiteX4" fmla="*/ 26977 w 42660"/>
                <a:gd name="connsiteY4" fmla="*/ 0 h 54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660" h="54204">
                  <a:moveTo>
                    <a:pt x="26851" y="0"/>
                  </a:moveTo>
                  <a:lnTo>
                    <a:pt x="0" y="42535"/>
                  </a:lnTo>
                  <a:cubicBezTo>
                    <a:pt x="5270" y="46425"/>
                    <a:pt x="10414" y="50315"/>
                    <a:pt x="15684" y="54205"/>
                  </a:cubicBezTo>
                  <a:lnTo>
                    <a:pt x="42661" y="11669"/>
                  </a:lnTo>
                  <a:cubicBezTo>
                    <a:pt x="37391" y="7779"/>
                    <a:pt x="32247" y="3890"/>
                    <a:pt x="26977" y="0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EE1DA490-986C-52DF-05D7-2A7E9883F30A}"/>
                </a:ext>
              </a:extLst>
            </p:cNvPr>
            <p:cNvSpPr/>
            <p:nvPr/>
          </p:nvSpPr>
          <p:spPr>
            <a:xfrm>
              <a:off x="11165494" y="4138870"/>
              <a:ext cx="39147" cy="55710"/>
            </a:xfrm>
            <a:custGeom>
              <a:avLst/>
              <a:gdLst>
                <a:gd name="connsiteX0" fmla="*/ 22711 w 39147"/>
                <a:gd name="connsiteY0" fmla="*/ 0 h 55710"/>
                <a:gd name="connsiteX1" fmla="*/ 0 w 39147"/>
                <a:gd name="connsiteY1" fmla="*/ 45045 h 55710"/>
                <a:gd name="connsiteX2" fmla="*/ 16437 w 39147"/>
                <a:gd name="connsiteY2" fmla="*/ 55710 h 55710"/>
                <a:gd name="connsiteX3" fmla="*/ 39148 w 39147"/>
                <a:gd name="connsiteY3" fmla="*/ 10665 h 55710"/>
                <a:gd name="connsiteX4" fmla="*/ 22711 w 39147"/>
                <a:gd name="connsiteY4" fmla="*/ 0 h 55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147" h="55710">
                  <a:moveTo>
                    <a:pt x="22711" y="0"/>
                  </a:moveTo>
                  <a:lnTo>
                    <a:pt x="0" y="45045"/>
                  </a:lnTo>
                  <a:cubicBezTo>
                    <a:pt x="5521" y="48558"/>
                    <a:pt x="10916" y="52071"/>
                    <a:pt x="16437" y="55710"/>
                  </a:cubicBezTo>
                  <a:lnTo>
                    <a:pt x="39148" y="10665"/>
                  </a:lnTo>
                  <a:cubicBezTo>
                    <a:pt x="33627" y="7152"/>
                    <a:pt x="28231" y="3513"/>
                    <a:pt x="22711" y="0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id="{CE2ABE2D-1F39-A973-9490-4085B763B876}"/>
                </a:ext>
              </a:extLst>
            </p:cNvPr>
            <p:cNvSpPr/>
            <p:nvPr/>
          </p:nvSpPr>
          <p:spPr>
            <a:xfrm>
              <a:off x="11192847" y="4381284"/>
              <a:ext cx="43162" cy="53075"/>
            </a:xfrm>
            <a:custGeom>
              <a:avLst/>
              <a:gdLst>
                <a:gd name="connsiteX0" fmla="*/ 26600 w 43162"/>
                <a:gd name="connsiteY0" fmla="*/ 0 h 53075"/>
                <a:gd name="connsiteX1" fmla="*/ 0 w 43162"/>
                <a:gd name="connsiteY1" fmla="*/ 43037 h 53075"/>
                <a:gd name="connsiteX2" fmla="*/ 16688 w 43162"/>
                <a:gd name="connsiteY2" fmla="*/ 53075 h 53075"/>
                <a:gd name="connsiteX3" fmla="*/ 43163 w 43162"/>
                <a:gd name="connsiteY3" fmla="*/ 10163 h 53075"/>
                <a:gd name="connsiteX4" fmla="*/ 26475 w 43162"/>
                <a:gd name="connsiteY4" fmla="*/ 0 h 53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162" h="53075">
                  <a:moveTo>
                    <a:pt x="26600" y="0"/>
                  </a:moveTo>
                  <a:lnTo>
                    <a:pt x="0" y="43037"/>
                  </a:lnTo>
                  <a:cubicBezTo>
                    <a:pt x="5646" y="46300"/>
                    <a:pt x="11167" y="49562"/>
                    <a:pt x="16688" y="53075"/>
                  </a:cubicBezTo>
                  <a:lnTo>
                    <a:pt x="43163" y="10163"/>
                  </a:lnTo>
                  <a:cubicBezTo>
                    <a:pt x="37642" y="6650"/>
                    <a:pt x="32121" y="3262"/>
                    <a:pt x="26475" y="0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" name="Freeform 43">
              <a:extLst>
                <a:ext uri="{FF2B5EF4-FFF2-40B4-BE49-F238E27FC236}">
                  <a16:creationId xmlns:a16="http://schemas.microsoft.com/office/drawing/2014/main" id="{3E597D90-8723-F991-7F55-3BEA78DB58B5}"/>
                </a:ext>
              </a:extLst>
            </p:cNvPr>
            <p:cNvSpPr/>
            <p:nvPr/>
          </p:nvSpPr>
          <p:spPr>
            <a:xfrm>
              <a:off x="11065492" y="4317544"/>
              <a:ext cx="35257" cy="54329"/>
            </a:xfrm>
            <a:custGeom>
              <a:avLst/>
              <a:gdLst>
                <a:gd name="connsiteX0" fmla="*/ 16939 w 35257"/>
                <a:gd name="connsiteY0" fmla="*/ 0 h 54329"/>
                <a:gd name="connsiteX1" fmla="*/ 0 w 35257"/>
                <a:gd name="connsiteY1" fmla="*/ 47554 h 54329"/>
                <a:gd name="connsiteX2" fmla="*/ 18319 w 35257"/>
                <a:gd name="connsiteY2" fmla="*/ 54330 h 54329"/>
                <a:gd name="connsiteX3" fmla="*/ 35258 w 35257"/>
                <a:gd name="connsiteY3" fmla="*/ 6775 h 54329"/>
                <a:gd name="connsiteX4" fmla="*/ 16939 w 35257"/>
                <a:gd name="connsiteY4" fmla="*/ 0 h 54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257" h="54329">
                  <a:moveTo>
                    <a:pt x="16939" y="0"/>
                  </a:moveTo>
                  <a:lnTo>
                    <a:pt x="0" y="47554"/>
                  </a:lnTo>
                  <a:cubicBezTo>
                    <a:pt x="6148" y="49687"/>
                    <a:pt x="12171" y="52071"/>
                    <a:pt x="18319" y="54330"/>
                  </a:cubicBezTo>
                  <a:lnTo>
                    <a:pt x="35258" y="6775"/>
                  </a:lnTo>
                  <a:cubicBezTo>
                    <a:pt x="29235" y="4391"/>
                    <a:pt x="23087" y="2258"/>
                    <a:pt x="16939" y="0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" name="Freeform 44">
              <a:extLst>
                <a:ext uri="{FF2B5EF4-FFF2-40B4-BE49-F238E27FC236}">
                  <a16:creationId xmlns:a16="http://schemas.microsoft.com/office/drawing/2014/main" id="{F2DF4C85-6BAC-FCA0-EABA-16889A3B73DA}"/>
                </a:ext>
              </a:extLst>
            </p:cNvPr>
            <p:cNvSpPr/>
            <p:nvPr/>
          </p:nvSpPr>
          <p:spPr>
            <a:xfrm>
              <a:off x="10933871" y="4277894"/>
              <a:ext cx="23839" cy="54706"/>
            </a:xfrm>
            <a:custGeom>
              <a:avLst/>
              <a:gdLst>
                <a:gd name="connsiteX0" fmla="*/ 4642 w 23839"/>
                <a:gd name="connsiteY0" fmla="*/ 0 h 54706"/>
                <a:gd name="connsiteX1" fmla="*/ 0 w 23839"/>
                <a:gd name="connsiteY1" fmla="*/ 50315 h 54706"/>
                <a:gd name="connsiteX2" fmla="*/ 19197 w 23839"/>
                <a:gd name="connsiteY2" fmla="*/ 54706 h 54706"/>
                <a:gd name="connsiteX3" fmla="*/ 23840 w 23839"/>
                <a:gd name="connsiteY3" fmla="*/ 4141 h 54706"/>
                <a:gd name="connsiteX4" fmla="*/ 4642 w 23839"/>
                <a:gd name="connsiteY4" fmla="*/ 0 h 54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839" h="54706">
                  <a:moveTo>
                    <a:pt x="4642" y="0"/>
                  </a:moveTo>
                  <a:lnTo>
                    <a:pt x="0" y="50315"/>
                  </a:lnTo>
                  <a:cubicBezTo>
                    <a:pt x="6399" y="51695"/>
                    <a:pt x="12798" y="53201"/>
                    <a:pt x="19197" y="54706"/>
                  </a:cubicBezTo>
                  <a:lnTo>
                    <a:pt x="23840" y="4141"/>
                  </a:lnTo>
                  <a:cubicBezTo>
                    <a:pt x="17441" y="2760"/>
                    <a:pt x="11041" y="1380"/>
                    <a:pt x="4642" y="0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" name="Freeform 45">
              <a:extLst>
                <a:ext uri="{FF2B5EF4-FFF2-40B4-BE49-F238E27FC236}">
                  <a16:creationId xmlns:a16="http://schemas.microsoft.com/office/drawing/2014/main" id="{A95F32DF-7B67-ECC2-187E-CCE6C0ED4F1B}"/>
                </a:ext>
              </a:extLst>
            </p:cNvPr>
            <p:cNvSpPr/>
            <p:nvPr/>
          </p:nvSpPr>
          <p:spPr>
            <a:xfrm>
              <a:off x="9346634" y="4760464"/>
              <a:ext cx="42158" cy="52071"/>
            </a:xfrm>
            <a:custGeom>
              <a:avLst/>
              <a:gdLst>
                <a:gd name="connsiteX0" fmla="*/ 0 w 42158"/>
                <a:gd name="connsiteY0" fmla="*/ 8281 h 52071"/>
                <a:gd name="connsiteX1" fmla="*/ 24593 w 42158"/>
                <a:gd name="connsiteY1" fmla="*/ 52072 h 52071"/>
                <a:gd name="connsiteX2" fmla="*/ 42159 w 42158"/>
                <a:gd name="connsiteY2" fmla="*/ 43665 h 52071"/>
                <a:gd name="connsiteX3" fmla="*/ 17692 w 42158"/>
                <a:gd name="connsiteY3" fmla="*/ 0 h 52071"/>
                <a:gd name="connsiteX4" fmla="*/ 0 w 42158"/>
                <a:gd name="connsiteY4" fmla="*/ 8281 h 52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158" h="52071">
                  <a:moveTo>
                    <a:pt x="0" y="8281"/>
                  </a:moveTo>
                  <a:lnTo>
                    <a:pt x="24593" y="52072"/>
                  </a:lnTo>
                  <a:cubicBezTo>
                    <a:pt x="30490" y="49311"/>
                    <a:pt x="36387" y="46551"/>
                    <a:pt x="42159" y="43665"/>
                  </a:cubicBezTo>
                  <a:lnTo>
                    <a:pt x="17692" y="0"/>
                  </a:lnTo>
                  <a:cubicBezTo>
                    <a:pt x="11920" y="2886"/>
                    <a:pt x="5897" y="5521"/>
                    <a:pt x="0" y="8281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7943BA56-059D-9904-CFCD-EEA3556F23E1}"/>
                </a:ext>
              </a:extLst>
            </p:cNvPr>
            <p:cNvSpPr/>
            <p:nvPr/>
          </p:nvSpPr>
          <p:spPr>
            <a:xfrm>
              <a:off x="9461944" y="4692081"/>
              <a:ext cx="49310" cy="48934"/>
            </a:xfrm>
            <a:custGeom>
              <a:avLst/>
              <a:gdLst>
                <a:gd name="connsiteX0" fmla="*/ 0 w 49310"/>
                <a:gd name="connsiteY0" fmla="*/ 11167 h 48934"/>
                <a:gd name="connsiteX1" fmla="*/ 33250 w 49310"/>
                <a:gd name="connsiteY1" fmla="*/ 48935 h 48934"/>
                <a:gd name="connsiteX2" fmla="*/ 49311 w 49310"/>
                <a:gd name="connsiteY2" fmla="*/ 37642 h 48934"/>
                <a:gd name="connsiteX3" fmla="*/ 16186 w 49310"/>
                <a:gd name="connsiteY3" fmla="*/ 0 h 48934"/>
                <a:gd name="connsiteX4" fmla="*/ 0 w 49310"/>
                <a:gd name="connsiteY4" fmla="*/ 11167 h 48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310" h="48934">
                  <a:moveTo>
                    <a:pt x="0" y="11167"/>
                  </a:moveTo>
                  <a:lnTo>
                    <a:pt x="33250" y="48935"/>
                  </a:lnTo>
                  <a:cubicBezTo>
                    <a:pt x="38646" y="45170"/>
                    <a:pt x="44041" y="41532"/>
                    <a:pt x="49311" y="37642"/>
                  </a:cubicBezTo>
                  <a:lnTo>
                    <a:pt x="16186" y="0"/>
                  </a:lnTo>
                  <a:cubicBezTo>
                    <a:pt x="10916" y="3764"/>
                    <a:pt x="5395" y="7403"/>
                    <a:pt x="0" y="11167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" name="Freeform 47">
              <a:extLst>
                <a:ext uri="{FF2B5EF4-FFF2-40B4-BE49-F238E27FC236}">
                  <a16:creationId xmlns:a16="http://schemas.microsoft.com/office/drawing/2014/main" id="{8F5ABE82-D077-3C07-1A56-454BB7020080}"/>
                </a:ext>
              </a:extLst>
            </p:cNvPr>
            <p:cNvSpPr/>
            <p:nvPr/>
          </p:nvSpPr>
          <p:spPr>
            <a:xfrm>
              <a:off x="9572611" y="4603246"/>
              <a:ext cx="43288" cy="54706"/>
            </a:xfrm>
            <a:custGeom>
              <a:avLst/>
              <a:gdLst>
                <a:gd name="connsiteX0" fmla="*/ 0 w 43288"/>
                <a:gd name="connsiteY0" fmla="*/ 13049 h 54706"/>
                <a:gd name="connsiteX1" fmla="*/ 28483 w 43288"/>
                <a:gd name="connsiteY1" fmla="*/ 54706 h 54706"/>
                <a:gd name="connsiteX2" fmla="*/ 43288 w 43288"/>
                <a:gd name="connsiteY2" fmla="*/ 41783 h 54706"/>
                <a:gd name="connsiteX3" fmla="*/ 14806 w 43288"/>
                <a:gd name="connsiteY3" fmla="*/ 0 h 54706"/>
                <a:gd name="connsiteX4" fmla="*/ 126 w 43288"/>
                <a:gd name="connsiteY4" fmla="*/ 13049 h 54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288" h="54706">
                  <a:moveTo>
                    <a:pt x="0" y="13049"/>
                  </a:moveTo>
                  <a:lnTo>
                    <a:pt x="28483" y="54706"/>
                  </a:lnTo>
                  <a:cubicBezTo>
                    <a:pt x="33376" y="50440"/>
                    <a:pt x="38395" y="46174"/>
                    <a:pt x="43288" y="41783"/>
                  </a:cubicBezTo>
                  <a:lnTo>
                    <a:pt x="14806" y="0"/>
                  </a:lnTo>
                  <a:cubicBezTo>
                    <a:pt x="9912" y="4392"/>
                    <a:pt x="5019" y="8658"/>
                    <a:pt x="126" y="13049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" name="Freeform 48">
              <a:extLst>
                <a:ext uri="{FF2B5EF4-FFF2-40B4-BE49-F238E27FC236}">
                  <a16:creationId xmlns:a16="http://schemas.microsoft.com/office/drawing/2014/main" id="{646DC4EE-4098-4624-6D0F-2469C63EF681}"/>
                </a:ext>
              </a:extLst>
            </p:cNvPr>
            <p:cNvSpPr/>
            <p:nvPr/>
          </p:nvSpPr>
          <p:spPr>
            <a:xfrm>
              <a:off x="10585807" y="3780393"/>
              <a:ext cx="19448" cy="53577"/>
            </a:xfrm>
            <a:custGeom>
              <a:avLst/>
              <a:gdLst>
                <a:gd name="connsiteX0" fmla="*/ 0 w 19448"/>
                <a:gd name="connsiteY0" fmla="*/ 0 h 53577"/>
                <a:gd name="connsiteX1" fmla="*/ 0 w 19448"/>
                <a:gd name="connsiteY1" fmla="*/ 50691 h 53577"/>
                <a:gd name="connsiteX2" fmla="*/ 19449 w 19448"/>
                <a:gd name="connsiteY2" fmla="*/ 53577 h 53577"/>
                <a:gd name="connsiteX3" fmla="*/ 19449 w 19448"/>
                <a:gd name="connsiteY3" fmla="*/ 3137 h 53577"/>
                <a:gd name="connsiteX4" fmla="*/ 0 w 19448"/>
                <a:gd name="connsiteY4" fmla="*/ 0 h 53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448" h="53577">
                  <a:moveTo>
                    <a:pt x="0" y="0"/>
                  </a:moveTo>
                  <a:lnTo>
                    <a:pt x="0" y="50691"/>
                  </a:lnTo>
                  <a:cubicBezTo>
                    <a:pt x="6274" y="51695"/>
                    <a:pt x="12799" y="52699"/>
                    <a:pt x="19449" y="53577"/>
                  </a:cubicBezTo>
                  <a:lnTo>
                    <a:pt x="19449" y="3137"/>
                  </a:lnTo>
                  <a:cubicBezTo>
                    <a:pt x="12673" y="2133"/>
                    <a:pt x="6148" y="1129"/>
                    <a:pt x="0" y="0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" name="Freeform 49">
              <a:extLst>
                <a:ext uri="{FF2B5EF4-FFF2-40B4-BE49-F238E27FC236}">
                  <a16:creationId xmlns:a16="http://schemas.microsoft.com/office/drawing/2014/main" id="{48173FA3-E29B-AFBF-1444-CC998CEF9CA6}"/>
                </a:ext>
              </a:extLst>
            </p:cNvPr>
            <p:cNvSpPr/>
            <p:nvPr/>
          </p:nvSpPr>
          <p:spPr>
            <a:xfrm>
              <a:off x="10731984" y="3790933"/>
              <a:ext cx="22710" cy="50189"/>
            </a:xfrm>
            <a:custGeom>
              <a:avLst/>
              <a:gdLst>
                <a:gd name="connsiteX0" fmla="*/ 0 w 22710"/>
                <a:gd name="connsiteY0" fmla="*/ 251 h 50189"/>
                <a:gd name="connsiteX1" fmla="*/ 3262 w 22710"/>
                <a:gd name="connsiteY1" fmla="*/ 50189 h 50189"/>
                <a:gd name="connsiteX2" fmla="*/ 22711 w 22710"/>
                <a:gd name="connsiteY2" fmla="*/ 49938 h 50189"/>
                <a:gd name="connsiteX3" fmla="*/ 19448 w 22710"/>
                <a:gd name="connsiteY3" fmla="*/ 0 h 50189"/>
                <a:gd name="connsiteX4" fmla="*/ 0 w 22710"/>
                <a:gd name="connsiteY4" fmla="*/ 251 h 50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710" h="50189">
                  <a:moveTo>
                    <a:pt x="0" y="251"/>
                  </a:moveTo>
                  <a:lnTo>
                    <a:pt x="3262" y="50189"/>
                  </a:lnTo>
                  <a:cubicBezTo>
                    <a:pt x="9661" y="50189"/>
                    <a:pt x="16061" y="50064"/>
                    <a:pt x="22711" y="49938"/>
                  </a:cubicBezTo>
                  <a:lnTo>
                    <a:pt x="19448" y="0"/>
                  </a:lnTo>
                  <a:cubicBezTo>
                    <a:pt x="12798" y="125"/>
                    <a:pt x="6274" y="251"/>
                    <a:pt x="0" y="251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" name="Freeform 50">
              <a:extLst>
                <a:ext uri="{FF2B5EF4-FFF2-40B4-BE49-F238E27FC236}">
                  <a16:creationId xmlns:a16="http://schemas.microsoft.com/office/drawing/2014/main" id="{4A9474DB-A302-2542-E2B2-7CDA37F09B98}"/>
                </a:ext>
              </a:extLst>
            </p:cNvPr>
            <p:cNvSpPr/>
            <p:nvPr/>
          </p:nvSpPr>
          <p:spPr>
            <a:xfrm>
              <a:off x="10865237" y="3782777"/>
              <a:ext cx="22961" cy="51820"/>
            </a:xfrm>
            <a:custGeom>
              <a:avLst/>
              <a:gdLst>
                <a:gd name="connsiteX0" fmla="*/ 0 w 22961"/>
                <a:gd name="connsiteY0" fmla="*/ 1757 h 51820"/>
                <a:gd name="connsiteX1" fmla="*/ 3513 w 22961"/>
                <a:gd name="connsiteY1" fmla="*/ 51821 h 51820"/>
                <a:gd name="connsiteX2" fmla="*/ 22961 w 22961"/>
                <a:gd name="connsiteY2" fmla="*/ 50064 h 51820"/>
                <a:gd name="connsiteX3" fmla="*/ 19448 w 22961"/>
                <a:gd name="connsiteY3" fmla="*/ 0 h 51820"/>
                <a:gd name="connsiteX4" fmla="*/ 0 w 22961"/>
                <a:gd name="connsiteY4" fmla="*/ 1757 h 51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961" h="51820">
                  <a:moveTo>
                    <a:pt x="0" y="1757"/>
                  </a:moveTo>
                  <a:lnTo>
                    <a:pt x="3513" y="51821"/>
                  </a:lnTo>
                  <a:cubicBezTo>
                    <a:pt x="9912" y="51319"/>
                    <a:pt x="16311" y="50691"/>
                    <a:pt x="22961" y="50064"/>
                  </a:cubicBezTo>
                  <a:lnTo>
                    <a:pt x="19448" y="0"/>
                  </a:lnTo>
                  <a:cubicBezTo>
                    <a:pt x="12798" y="627"/>
                    <a:pt x="6399" y="1129"/>
                    <a:pt x="0" y="1757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" name="Freeform 51">
              <a:extLst>
                <a:ext uri="{FF2B5EF4-FFF2-40B4-BE49-F238E27FC236}">
                  <a16:creationId xmlns:a16="http://schemas.microsoft.com/office/drawing/2014/main" id="{E7BB6E2C-EB2D-28A7-42C1-C4EEB8A0A100}"/>
                </a:ext>
              </a:extLst>
            </p:cNvPr>
            <p:cNvSpPr/>
            <p:nvPr/>
          </p:nvSpPr>
          <p:spPr>
            <a:xfrm>
              <a:off x="9023289" y="4035229"/>
              <a:ext cx="52573" cy="30740"/>
            </a:xfrm>
            <a:custGeom>
              <a:avLst/>
              <a:gdLst>
                <a:gd name="connsiteX0" fmla="*/ 48809 w 52573"/>
                <a:gd name="connsiteY0" fmla="*/ 125 h 30740"/>
                <a:gd name="connsiteX1" fmla="*/ 0 w 52573"/>
                <a:gd name="connsiteY1" fmla="*/ 11669 h 30740"/>
                <a:gd name="connsiteX2" fmla="*/ 3764 w 52573"/>
                <a:gd name="connsiteY2" fmla="*/ 30741 h 30740"/>
                <a:gd name="connsiteX3" fmla="*/ 52573 w 52573"/>
                <a:gd name="connsiteY3" fmla="*/ 19197 h 30740"/>
                <a:gd name="connsiteX4" fmla="*/ 48809 w 52573"/>
                <a:gd name="connsiteY4" fmla="*/ 0 h 30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573" h="30740">
                  <a:moveTo>
                    <a:pt x="48809" y="125"/>
                  </a:moveTo>
                  <a:lnTo>
                    <a:pt x="0" y="11669"/>
                  </a:lnTo>
                  <a:cubicBezTo>
                    <a:pt x="1129" y="18068"/>
                    <a:pt x="2384" y="24467"/>
                    <a:pt x="3764" y="30741"/>
                  </a:cubicBezTo>
                  <a:lnTo>
                    <a:pt x="52573" y="19197"/>
                  </a:lnTo>
                  <a:cubicBezTo>
                    <a:pt x="51193" y="12924"/>
                    <a:pt x="49938" y="6524"/>
                    <a:pt x="48809" y="0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" name="Freeform 52">
              <a:extLst>
                <a:ext uri="{FF2B5EF4-FFF2-40B4-BE49-F238E27FC236}">
                  <a16:creationId xmlns:a16="http://schemas.microsoft.com/office/drawing/2014/main" id="{195F39B6-9C49-4FE6-3372-B0A1F34FE52E}"/>
                </a:ext>
              </a:extLst>
            </p:cNvPr>
            <p:cNvSpPr/>
            <p:nvPr/>
          </p:nvSpPr>
          <p:spPr>
            <a:xfrm>
              <a:off x="9077870" y="4165094"/>
              <a:ext cx="51444" cy="45421"/>
            </a:xfrm>
            <a:custGeom>
              <a:avLst/>
              <a:gdLst>
                <a:gd name="connsiteX0" fmla="*/ 41155 w 51444"/>
                <a:gd name="connsiteY0" fmla="*/ 0 h 45421"/>
                <a:gd name="connsiteX1" fmla="*/ 0 w 51444"/>
                <a:gd name="connsiteY1" fmla="*/ 28984 h 45421"/>
                <a:gd name="connsiteX2" fmla="*/ 10414 w 51444"/>
                <a:gd name="connsiteY2" fmla="*/ 45421 h 45421"/>
                <a:gd name="connsiteX3" fmla="*/ 51444 w 51444"/>
                <a:gd name="connsiteY3" fmla="*/ 16563 h 45421"/>
                <a:gd name="connsiteX4" fmla="*/ 41030 w 51444"/>
                <a:gd name="connsiteY4" fmla="*/ 0 h 45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444" h="45421">
                  <a:moveTo>
                    <a:pt x="41155" y="0"/>
                  </a:moveTo>
                  <a:lnTo>
                    <a:pt x="0" y="28984"/>
                  </a:lnTo>
                  <a:cubicBezTo>
                    <a:pt x="3388" y="34505"/>
                    <a:pt x="6901" y="40026"/>
                    <a:pt x="10414" y="45421"/>
                  </a:cubicBezTo>
                  <a:lnTo>
                    <a:pt x="51444" y="16563"/>
                  </a:lnTo>
                  <a:cubicBezTo>
                    <a:pt x="47805" y="11167"/>
                    <a:pt x="44418" y="5646"/>
                    <a:pt x="41030" y="0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" name="Freeform 53">
              <a:extLst>
                <a:ext uri="{FF2B5EF4-FFF2-40B4-BE49-F238E27FC236}">
                  <a16:creationId xmlns:a16="http://schemas.microsoft.com/office/drawing/2014/main" id="{6C429E76-9CC2-E5C6-EBD3-397169271067}"/>
                </a:ext>
              </a:extLst>
            </p:cNvPr>
            <p:cNvSpPr/>
            <p:nvPr/>
          </p:nvSpPr>
          <p:spPr>
            <a:xfrm>
              <a:off x="9178249" y="4269362"/>
              <a:ext cx="39273" cy="59223"/>
            </a:xfrm>
            <a:custGeom>
              <a:avLst/>
              <a:gdLst>
                <a:gd name="connsiteX0" fmla="*/ 24467 w 39273"/>
                <a:gd name="connsiteY0" fmla="*/ 0 h 59223"/>
                <a:gd name="connsiteX1" fmla="*/ 0 w 39273"/>
                <a:gd name="connsiteY1" fmla="*/ 46049 h 59223"/>
                <a:gd name="connsiteX2" fmla="*/ 15057 w 39273"/>
                <a:gd name="connsiteY2" fmla="*/ 59223 h 59223"/>
                <a:gd name="connsiteX3" fmla="*/ 39273 w 39273"/>
                <a:gd name="connsiteY3" fmla="*/ 13677 h 59223"/>
                <a:gd name="connsiteX4" fmla="*/ 24467 w 39273"/>
                <a:gd name="connsiteY4" fmla="*/ 0 h 59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273" h="59223">
                  <a:moveTo>
                    <a:pt x="24467" y="0"/>
                  </a:moveTo>
                  <a:lnTo>
                    <a:pt x="0" y="46049"/>
                  </a:lnTo>
                  <a:cubicBezTo>
                    <a:pt x="5019" y="50691"/>
                    <a:pt x="10038" y="55083"/>
                    <a:pt x="15057" y="59223"/>
                  </a:cubicBezTo>
                  <a:lnTo>
                    <a:pt x="39273" y="13677"/>
                  </a:lnTo>
                  <a:cubicBezTo>
                    <a:pt x="34380" y="9285"/>
                    <a:pt x="29361" y="4768"/>
                    <a:pt x="24467" y="0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" name="Freeform 54">
              <a:extLst>
                <a:ext uri="{FF2B5EF4-FFF2-40B4-BE49-F238E27FC236}">
                  <a16:creationId xmlns:a16="http://schemas.microsoft.com/office/drawing/2014/main" id="{E5F9A385-BAF4-EBD2-6367-6D2299C0FFAF}"/>
                </a:ext>
              </a:extLst>
            </p:cNvPr>
            <p:cNvSpPr/>
            <p:nvPr/>
          </p:nvSpPr>
          <p:spPr>
            <a:xfrm>
              <a:off x="9614143" y="4241131"/>
              <a:ext cx="42786" cy="53577"/>
            </a:xfrm>
            <a:custGeom>
              <a:avLst/>
              <a:gdLst>
                <a:gd name="connsiteX0" fmla="*/ 0 w 42786"/>
                <a:gd name="connsiteY0" fmla="*/ 11167 h 53577"/>
                <a:gd name="connsiteX1" fmla="*/ 26851 w 42786"/>
                <a:gd name="connsiteY1" fmla="*/ 53577 h 53577"/>
                <a:gd name="connsiteX2" fmla="*/ 42786 w 42786"/>
                <a:gd name="connsiteY2" fmla="*/ 42410 h 53577"/>
                <a:gd name="connsiteX3" fmla="*/ 15935 w 42786"/>
                <a:gd name="connsiteY3" fmla="*/ 0 h 53577"/>
                <a:gd name="connsiteX4" fmla="*/ 0 w 42786"/>
                <a:gd name="connsiteY4" fmla="*/ 11293 h 53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786" h="53577">
                  <a:moveTo>
                    <a:pt x="0" y="11167"/>
                  </a:moveTo>
                  <a:lnTo>
                    <a:pt x="26851" y="53577"/>
                  </a:lnTo>
                  <a:cubicBezTo>
                    <a:pt x="32247" y="49938"/>
                    <a:pt x="37517" y="46174"/>
                    <a:pt x="42786" y="42410"/>
                  </a:cubicBezTo>
                  <a:lnTo>
                    <a:pt x="15935" y="0"/>
                  </a:lnTo>
                  <a:cubicBezTo>
                    <a:pt x="10665" y="3890"/>
                    <a:pt x="5270" y="7528"/>
                    <a:pt x="0" y="11293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6" name="Freeform 55">
              <a:extLst>
                <a:ext uri="{FF2B5EF4-FFF2-40B4-BE49-F238E27FC236}">
                  <a16:creationId xmlns:a16="http://schemas.microsoft.com/office/drawing/2014/main" id="{CDC38D97-F26C-C3E8-6A99-AAB68EC438CE}"/>
                </a:ext>
              </a:extLst>
            </p:cNvPr>
            <p:cNvSpPr/>
            <p:nvPr/>
          </p:nvSpPr>
          <p:spPr>
            <a:xfrm>
              <a:off x="9761197" y="4133725"/>
              <a:ext cx="35885" cy="58345"/>
            </a:xfrm>
            <a:custGeom>
              <a:avLst/>
              <a:gdLst>
                <a:gd name="connsiteX0" fmla="*/ 126 w 35885"/>
                <a:gd name="connsiteY0" fmla="*/ 10791 h 58345"/>
                <a:gd name="connsiteX1" fmla="*/ 19449 w 35885"/>
                <a:gd name="connsiteY1" fmla="*/ 58345 h 58345"/>
                <a:gd name="connsiteX2" fmla="*/ 35886 w 35885"/>
                <a:gd name="connsiteY2" fmla="*/ 47178 h 58345"/>
                <a:gd name="connsiteX3" fmla="*/ 16688 w 35885"/>
                <a:gd name="connsiteY3" fmla="*/ 0 h 58345"/>
                <a:gd name="connsiteX4" fmla="*/ 0 w 35885"/>
                <a:gd name="connsiteY4" fmla="*/ 10791 h 58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885" h="58345">
                  <a:moveTo>
                    <a:pt x="126" y="10791"/>
                  </a:moveTo>
                  <a:lnTo>
                    <a:pt x="19449" y="58345"/>
                  </a:lnTo>
                  <a:cubicBezTo>
                    <a:pt x="24969" y="54581"/>
                    <a:pt x="30365" y="50817"/>
                    <a:pt x="35886" y="47178"/>
                  </a:cubicBezTo>
                  <a:lnTo>
                    <a:pt x="16688" y="0"/>
                  </a:lnTo>
                  <a:cubicBezTo>
                    <a:pt x="11167" y="3513"/>
                    <a:pt x="5521" y="7152"/>
                    <a:pt x="0" y="10791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7" name="Freeform 56">
              <a:extLst>
                <a:ext uri="{FF2B5EF4-FFF2-40B4-BE49-F238E27FC236}">
                  <a16:creationId xmlns:a16="http://schemas.microsoft.com/office/drawing/2014/main" id="{3D91FDEE-F8E2-0A5D-3129-69CEA3B87C36}"/>
                </a:ext>
              </a:extLst>
            </p:cNvPr>
            <p:cNvSpPr/>
            <p:nvPr/>
          </p:nvSpPr>
          <p:spPr>
            <a:xfrm>
              <a:off x="9922431" y="4045267"/>
              <a:ext cx="38645" cy="53828"/>
            </a:xfrm>
            <a:custGeom>
              <a:avLst/>
              <a:gdLst>
                <a:gd name="connsiteX0" fmla="*/ 0 w 38645"/>
                <a:gd name="connsiteY0" fmla="*/ 8281 h 53828"/>
                <a:gd name="connsiteX1" fmla="*/ 21079 w 38645"/>
                <a:gd name="connsiteY1" fmla="*/ 53828 h 53828"/>
                <a:gd name="connsiteX2" fmla="*/ 38646 w 38645"/>
                <a:gd name="connsiteY2" fmla="*/ 45547 h 53828"/>
                <a:gd name="connsiteX3" fmla="*/ 17566 w 38645"/>
                <a:gd name="connsiteY3" fmla="*/ 0 h 53828"/>
                <a:gd name="connsiteX4" fmla="*/ 0 w 38645"/>
                <a:gd name="connsiteY4" fmla="*/ 8281 h 53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645" h="53828">
                  <a:moveTo>
                    <a:pt x="0" y="8281"/>
                  </a:moveTo>
                  <a:lnTo>
                    <a:pt x="21079" y="53828"/>
                  </a:lnTo>
                  <a:cubicBezTo>
                    <a:pt x="26977" y="50942"/>
                    <a:pt x="32874" y="48182"/>
                    <a:pt x="38646" y="45547"/>
                  </a:cubicBezTo>
                  <a:lnTo>
                    <a:pt x="17566" y="0"/>
                  </a:lnTo>
                  <a:cubicBezTo>
                    <a:pt x="11669" y="2760"/>
                    <a:pt x="5772" y="5521"/>
                    <a:pt x="0" y="8281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8" name="Freeform 57">
              <a:extLst>
                <a:ext uri="{FF2B5EF4-FFF2-40B4-BE49-F238E27FC236}">
                  <a16:creationId xmlns:a16="http://schemas.microsoft.com/office/drawing/2014/main" id="{34F5236F-967B-55D4-6D02-2650169F0D8A}"/>
                </a:ext>
              </a:extLst>
            </p:cNvPr>
            <p:cNvSpPr/>
            <p:nvPr/>
          </p:nvSpPr>
          <p:spPr>
            <a:xfrm>
              <a:off x="9926446" y="3588042"/>
              <a:ext cx="19448" cy="51820"/>
            </a:xfrm>
            <a:custGeom>
              <a:avLst/>
              <a:gdLst>
                <a:gd name="connsiteX0" fmla="*/ 0 w 19448"/>
                <a:gd name="connsiteY0" fmla="*/ 1757 h 51820"/>
                <a:gd name="connsiteX1" fmla="*/ 0 w 19448"/>
                <a:gd name="connsiteY1" fmla="*/ 51821 h 51820"/>
                <a:gd name="connsiteX2" fmla="*/ 19448 w 19448"/>
                <a:gd name="connsiteY2" fmla="*/ 50189 h 51820"/>
                <a:gd name="connsiteX3" fmla="*/ 19448 w 19448"/>
                <a:gd name="connsiteY3" fmla="*/ 0 h 51820"/>
                <a:gd name="connsiteX4" fmla="*/ 0 w 19448"/>
                <a:gd name="connsiteY4" fmla="*/ 1757 h 51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448" h="51820">
                  <a:moveTo>
                    <a:pt x="0" y="1757"/>
                  </a:moveTo>
                  <a:lnTo>
                    <a:pt x="0" y="51821"/>
                  </a:lnTo>
                  <a:cubicBezTo>
                    <a:pt x="6524" y="51319"/>
                    <a:pt x="12924" y="50817"/>
                    <a:pt x="19448" y="50189"/>
                  </a:cubicBezTo>
                  <a:lnTo>
                    <a:pt x="19448" y="0"/>
                  </a:lnTo>
                  <a:cubicBezTo>
                    <a:pt x="12924" y="753"/>
                    <a:pt x="6524" y="1255"/>
                    <a:pt x="0" y="1757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9" name="Freeform 58">
              <a:extLst>
                <a:ext uri="{FF2B5EF4-FFF2-40B4-BE49-F238E27FC236}">
                  <a16:creationId xmlns:a16="http://schemas.microsoft.com/office/drawing/2014/main" id="{BE9E7951-1324-C99C-7A78-7E6CF5CC7AE8}"/>
                </a:ext>
              </a:extLst>
            </p:cNvPr>
            <p:cNvSpPr/>
            <p:nvPr/>
          </p:nvSpPr>
          <p:spPr>
            <a:xfrm>
              <a:off x="10058569" y="3560815"/>
              <a:ext cx="27729" cy="54957"/>
            </a:xfrm>
            <a:custGeom>
              <a:avLst/>
              <a:gdLst>
                <a:gd name="connsiteX0" fmla="*/ 0 w 27729"/>
                <a:gd name="connsiteY0" fmla="*/ 5395 h 54957"/>
                <a:gd name="connsiteX1" fmla="*/ 8908 w 27729"/>
                <a:gd name="connsiteY1" fmla="*/ 54957 h 54957"/>
                <a:gd name="connsiteX2" fmla="*/ 27729 w 27729"/>
                <a:gd name="connsiteY2" fmla="*/ 49687 h 54957"/>
                <a:gd name="connsiteX3" fmla="*/ 18821 w 27729"/>
                <a:gd name="connsiteY3" fmla="*/ 0 h 54957"/>
                <a:gd name="connsiteX4" fmla="*/ 0 w 27729"/>
                <a:gd name="connsiteY4" fmla="*/ 5521 h 54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29" h="54957">
                  <a:moveTo>
                    <a:pt x="0" y="5395"/>
                  </a:moveTo>
                  <a:lnTo>
                    <a:pt x="8908" y="54957"/>
                  </a:lnTo>
                  <a:cubicBezTo>
                    <a:pt x="15182" y="53326"/>
                    <a:pt x="21456" y="51570"/>
                    <a:pt x="27729" y="49687"/>
                  </a:cubicBezTo>
                  <a:lnTo>
                    <a:pt x="18821" y="0"/>
                  </a:lnTo>
                  <a:cubicBezTo>
                    <a:pt x="12547" y="1882"/>
                    <a:pt x="6274" y="3764"/>
                    <a:pt x="0" y="5521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0" name="Freeform 59">
              <a:extLst>
                <a:ext uri="{FF2B5EF4-FFF2-40B4-BE49-F238E27FC236}">
                  <a16:creationId xmlns:a16="http://schemas.microsoft.com/office/drawing/2014/main" id="{1F96D155-F636-70C3-10D2-099C1DB7C6A2}"/>
                </a:ext>
              </a:extLst>
            </p:cNvPr>
            <p:cNvSpPr/>
            <p:nvPr/>
          </p:nvSpPr>
          <p:spPr>
            <a:xfrm>
              <a:off x="10172750" y="3517903"/>
              <a:ext cx="39021" cy="53577"/>
            </a:xfrm>
            <a:custGeom>
              <a:avLst/>
              <a:gdLst>
                <a:gd name="connsiteX0" fmla="*/ 0 w 39021"/>
                <a:gd name="connsiteY0" fmla="*/ 7905 h 53577"/>
                <a:gd name="connsiteX1" fmla="*/ 21205 w 39021"/>
                <a:gd name="connsiteY1" fmla="*/ 53577 h 53577"/>
                <a:gd name="connsiteX2" fmla="*/ 39022 w 39021"/>
                <a:gd name="connsiteY2" fmla="*/ 45672 h 53577"/>
                <a:gd name="connsiteX3" fmla="*/ 17943 w 39021"/>
                <a:gd name="connsiteY3" fmla="*/ 0 h 53577"/>
                <a:gd name="connsiteX4" fmla="*/ 125 w 39021"/>
                <a:gd name="connsiteY4" fmla="*/ 7779 h 53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021" h="53577">
                  <a:moveTo>
                    <a:pt x="0" y="7905"/>
                  </a:moveTo>
                  <a:lnTo>
                    <a:pt x="21205" y="53577"/>
                  </a:lnTo>
                  <a:cubicBezTo>
                    <a:pt x="27102" y="51068"/>
                    <a:pt x="33125" y="48307"/>
                    <a:pt x="39022" y="45672"/>
                  </a:cubicBezTo>
                  <a:lnTo>
                    <a:pt x="17943" y="0"/>
                  </a:lnTo>
                  <a:cubicBezTo>
                    <a:pt x="12045" y="2635"/>
                    <a:pt x="6148" y="5270"/>
                    <a:pt x="125" y="7779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1" name="Freeform 60">
              <a:extLst>
                <a:ext uri="{FF2B5EF4-FFF2-40B4-BE49-F238E27FC236}">
                  <a16:creationId xmlns:a16="http://schemas.microsoft.com/office/drawing/2014/main" id="{FE56299B-25E2-D4D6-D587-C27E2367D6C9}"/>
                </a:ext>
              </a:extLst>
            </p:cNvPr>
            <p:cNvSpPr/>
            <p:nvPr/>
          </p:nvSpPr>
          <p:spPr>
            <a:xfrm>
              <a:off x="9853420" y="3862201"/>
              <a:ext cx="27478" cy="56211"/>
            </a:xfrm>
            <a:custGeom>
              <a:avLst/>
              <a:gdLst>
                <a:gd name="connsiteX0" fmla="*/ 126 w 27478"/>
                <a:gd name="connsiteY0" fmla="*/ 6399 h 56211"/>
                <a:gd name="connsiteX1" fmla="*/ 8783 w 27478"/>
                <a:gd name="connsiteY1" fmla="*/ 56212 h 56211"/>
                <a:gd name="connsiteX2" fmla="*/ 27479 w 27478"/>
                <a:gd name="connsiteY2" fmla="*/ 50064 h 56211"/>
                <a:gd name="connsiteX3" fmla="*/ 18695 w 27478"/>
                <a:gd name="connsiteY3" fmla="*/ 0 h 56211"/>
                <a:gd name="connsiteX4" fmla="*/ 0 w 27478"/>
                <a:gd name="connsiteY4" fmla="*/ 6525 h 56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478" h="56211">
                  <a:moveTo>
                    <a:pt x="126" y="6399"/>
                  </a:moveTo>
                  <a:lnTo>
                    <a:pt x="8783" y="56212"/>
                  </a:lnTo>
                  <a:cubicBezTo>
                    <a:pt x="14931" y="54330"/>
                    <a:pt x="21205" y="52197"/>
                    <a:pt x="27479" y="50064"/>
                  </a:cubicBezTo>
                  <a:lnTo>
                    <a:pt x="18695" y="0"/>
                  </a:lnTo>
                  <a:cubicBezTo>
                    <a:pt x="12422" y="2259"/>
                    <a:pt x="6148" y="4517"/>
                    <a:pt x="0" y="6525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2" name="Freeform 61">
              <a:extLst>
                <a:ext uri="{FF2B5EF4-FFF2-40B4-BE49-F238E27FC236}">
                  <a16:creationId xmlns:a16="http://schemas.microsoft.com/office/drawing/2014/main" id="{0056D386-5008-4D8D-F18C-05226727A35A}"/>
                </a:ext>
              </a:extLst>
            </p:cNvPr>
            <p:cNvSpPr/>
            <p:nvPr/>
          </p:nvSpPr>
          <p:spPr>
            <a:xfrm>
              <a:off x="9977262" y="3810381"/>
              <a:ext cx="28859" cy="57968"/>
            </a:xfrm>
            <a:custGeom>
              <a:avLst/>
              <a:gdLst>
                <a:gd name="connsiteX0" fmla="*/ 0 w 28859"/>
                <a:gd name="connsiteY0" fmla="*/ 7905 h 57968"/>
                <a:gd name="connsiteX1" fmla="*/ 10665 w 28859"/>
                <a:gd name="connsiteY1" fmla="*/ 57969 h 57968"/>
                <a:gd name="connsiteX2" fmla="*/ 28859 w 28859"/>
                <a:gd name="connsiteY2" fmla="*/ 50064 h 57968"/>
                <a:gd name="connsiteX3" fmla="*/ 18194 w 28859"/>
                <a:gd name="connsiteY3" fmla="*/ 0 h 57968"/>
                <a:gd name="connsiteX4" fmla="*/ 0 w 28859"/>
                <a:gd name="connsiteY4" fmla="*/ 7905 h 5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859" h="57968">
                  <a:moveTo>
                    <a:pt x="0" y="7905"/>
                  </a:moveTo>
                  <a:lnTo>
                    <a:pt x="10665" y="57969"/>
                  </a:lnTo>
                  <a:cubicBezTo>
                    <a:pt x="16688" y="55334"/>
                    <a:pt x="22711" y="52699"/>
                    <a:pt x="28859" y="50064"/>
                  </a:cubicBezTo>
                  <a:lnTo>
                    <a:pt x="18194" y="0"/>
                  </a:lnTo>
                  <a:cubicBezTo>
                    <a:pt x="12046" y="2635"/>
                    <a:pt x="6023" y="5270"/>
                    <a:pt x="0" y="7905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3" name="Freeform 62">
              <a:extLst>
                <a:ext uri="{FF2B5EF4-FFF2-40B4-BE49-F238E27FC236}">
                  <a16:creationId xmlns:a16="http://schemas.microsoft.com/office/drawing/2014/main" id="{F2287D5C-88D7-F869-3DED-7D8B771EECE1}"/>
                </a:ext>
              </a:extLst>
            </p:cNvPr>
            <p:cNvSpPr/>
            <p:nvPr/>
          </p:nvSpPr>
          <p:spPr>
            <a:xfrm>
              <a:off x="10109888" y="3757933"/>
              <a:ext cx="24592" cy="57968"/>
            </a:xfrm>
            <a:custGeom>
              <a:avLst/>
              <a:gdLst>
                <a:gd name="connsiteX0" fmla="*/ 0 w 24592"/>
                <a:gd name="connsiteY0" fmla="*/ 6650 h 57968"/>
                <a:gd name="connsiteX1" fmla="*/ 5772 w 24592"/>
                <a:gd name="connsiteY1" fmla="*/ 57969 h 57968"/>
                <a:gd name="connsiteX2" fmla="*/ 24593 w 24592"/>
                <a:gd name="connsiteY2" fmla="*/ 51068 h 57968"/>
                <a:gd name="connsiteX3" fmla="*/ 18947 w 24592"/>
                <a:gd name="connsiteY3" fmla="*/ 0 h 57968"/>
                <a:gd name="connsiteX4" fmla="*/ 126 w 24592"/>
                <a:gd name="connsiteY4" fmla="*/ 6650 h 5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92" h="57968">
                  <a:moveTo>
                    <a:pt x="0" y="6650"/>
                  </a:moveTo>
                  <a:lnTo>
                    <a:pt x="5772" y="57969"/>
                  </a:lnTo>
                  <a:cubicBezTo>
                    <a:pt x="12045" y="55710"/>
                    <a:pt x="18194" y="53326"/>
                    <a:pt x="24593" y="51068"/>
                  </a:cubicBezTo>
                  <a:lnTo>
                    <a:pt x="18947" y="0"/>
                  </a:lnTo>
                  <a:cubicBezTo>
                    <a:pt x="12547" y="2133"/>
                    <a:pt x="6274" y="4392"/>
                    <a:pt x="126" y="6650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4" name="Freeform 63">
              <a:extLst>
                <a:ext uri="{FF2B5EF4-FFF2-40B4-BE49-F238E27FC236}">
                  <a16:creationId xmlns:a16="http://schemas.microsoft.com/office/drawing/2014/main" id="{A9377ECD-A97B-671C-EA9E-0285A3CF241B}"/>
                </a:ext>
              </a:extLst>
            </p:cNvPr>
            <p:cNvSpPr/>
            <p:nvPr/>
          </p:nvSpPr>
          <p:spPr>
            <a:xfrm>
              <a:off x="9222039" y="3579761"/>
              <a:ext cx="37516" cy="55082"/>
            </a:xfrm>
            <a:custGeom>
              <a:avLst/>
              <a:gdLst>
                <a:gd name="connsiteX0" fmla="*/ 0 w 37516"/>
                <a:gd name="connsiteY0" fmla="*/ 9159 h 55082"/>
                <a:gd name="connsiteX1" fmla="*/ 20327 w 37516"/>
                <a:gd name="connsiteY1" fmla="*/ 55083 h 55082"/>
                <a:gd name="connsiteX2" fmla="*/ 37517 w 37516"/>
                <a:gd name="connsiteY2" fmla="*/ 45672 h 55082"/>
                <a:gd name="connsiteX3" fmla="*/ 17315 w 37516"/>
                <a:gd name="connsiteY3" fmla="*/ 0 h 55082"/>
                <a:gd name="connsiteX4" fmla="*/ 0 w 37516"/>
                <a:gd name="connsiteY4" fmla="*/ 9159 h 55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516" h="55082">
                  <a:moveTo>
                    <a:pt x="0" y="9159"/>
                  </a:moveTo>
                  <a:lnTo>
                    <a:pt x="20327" y="55083"/>
                  </a:lnTo>
                  <a:cubicBezTo>
                    <a:pt x="26099" y="51695"/>
                    <a:pt x="31870" y="48558"/>
                    <a:pt x="37517" y="45672"/>
                  </a:cubicBezTo>
                  <a:lnTo>
                    <a:pt x="17315" y="0"/>
                  </a:lnTo>
                  <a:cubicBezTo>
                    <a:pt x="11669" y="2760"/>
                    <a:pt x="5897" y="5772"/>
                    <a:pt x="0" y="9159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5" name="Freeform 64">
              <a:extLst>
                <a:ext uri="{FF2B5EF4-FFF2-40B4-BE49-F238E27FC236}">
                  <a16:creationId xmlns:a16="http://schemas.microsoft.com/office/drawing/2014/main" id="{D1A7DEA6-C3C7-F508-2477-56EAA0EA33F9}"/>
                </a:ext>
              </a:extLst>
            </p:cNvPr>
            <p:cNvSpPr/>
            <p:nvPr/>
          </p:nvSpPr>
          <p:spPr>
            <a:xfrm>
              <a:off x="9363447" y="3561944"/>
              <a:ext cx="32121" cy="55082"/>
            </a:xfrm>
            <a:custGeom>
              <a:avLst/>
              <a:gdLst>
                <a:gd name="connsiteX0" fmla="*/ 13677 w 32121"/>
                <a:gd name="connsiteY0" fmla="*/ 0 h 55082"/>
                <a:gd name="connsiteX1" fmla="*/ 0 w 32121"/>
                <a:gd name="connsiteY1" fmla="*/ 48433 h 55082"/>
                <a:gd name="connsiteX2" fmla="*/ 18319 w 32121"/>
                <a:gd name="connsiteY2" fmla="*/ 55083 h 55082"/>
                <a:gd name="connsiteX3" fmla="*/ 32121 w 32121"/>
                <a:gd name="connsiteY3" fmla="*/ 6274 h 55082"/>
                <a:gd name="connsiteX4" fmla="*/ 13677 w 32121"/>
                <a:gd name="connsiteY4" fmla="*/ 0 h 55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121" h="55082">
                  <a:moveTo>
                    <a:pt x="13677" y="0"/>
                  </a:moveTo>
                  <a:lnTo>
                    <a:pt x="0" y="48433"/>
                  </a:lnTo>
                  <a:cubicBezTo>
                    <a:pt x="6274" y="50189"/>
                    <a:pt x="12422" y="52448"/>
                    <a:pt x="18319" y="55083"/>
                  </a:cubicBezTo>
                  <a:lnTo>
                    <a:pt x="32121" y="6274"/>
                  </a:lnTo>
                  <a:cubicBezTo>
                    <a:pt x="26098" y="3764"/>
                    <a:pt x="19950" y="1757"/>
                    <a:pt x="13677" y="0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6" name="Freeform 65">
              <a:extLst>
                <a:ext uri="{FF2B5EF4-FFF2-40B4-BE49-F238E27FC236}">
                  <a16:creationId xmlns:a16="http://schemas.microsoft.com/office/drawing/2014/main" id="{15DDE7E9-B26D-46AA-72B1-4488FA7D44FF}"/>
                </a:ext>
              </a:extLst>
            </p:cNvPr>
            <p:cNvSpPr/>
            <p:nvPr/>
          </p:nvSpPr>
          <p:spPr>
            <a:xfrm>
              <a:off x="9462697" y="3648646"/>
              <a:ext cx="48181" cy="50565"/>
            </a:xfrm>
            <a:custGeom>
              <a:avLst/>
              <a:gdLst>
                <a:gd name="connsiteX0" fmla="*/ 35509 w 48181"/>
                <a:gd name="connsiteY0" fmla="*/ 0 h 50565"/>
                <a:gd name="connsiteX1" fmla="*/ 0 w 48181"/>
                <a:gd name="connsiteY1" fmla="*/ 35509 h 50565"/>
                <a:gd name="connsiteX2" fmla="*/ 12547 w 48181"/>
                <a:gd name="connsiteY2" fmla="*/ 50566 h 50565"/>
                <a:gd name="connsiteX3" fmla="*/ 48182 w 48181"/>
                <a:gd name="connsiteY3" fmla="*/ 14931 h 50565"/>
                <a:gd name="connsiteX4" fmla="*/ 35509 w 48181"/>
                <a:gd name="connsiteY4" fmla="*/ 0 h 50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181" h="50565">
                  <a:moveTo>
                    <a:pt x="35509" y="0"/>
                  </a:moveTo>
                  <a:lnTo>
                    <a:pt x="0" y="35509"/>
                  </a:lnTo>
                  <a:cubicBezTo>
                    <a:pt x="4140" y="40402"/>
                    <a:pt x="8406" y="45421"/>
                    <a:pt x="12547" y="50566"/>
                  </a:cubicBezTo>
                  <a:lnTo>
                    <a:pt x="48182" y="14931"/>
                  </a:lnTo>
                  <a:cubicBezTo>
                    <a:pt x="44041" y="9912"/>
                    <a:pt x="39775" y="4893"/>
                    <a:pt x="35509" y="0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7" name="Freeform 66">
              <a:extLst>
                <a:ext uri="{FF2B5EF4-FFF2-40B4-BE49-F238E27FC236}">
                  <a16:creationId xmlns:a16="http://schemas.microsoft.com/office/drawing/2014/main" id="{39955C8A-97F0-9F09-8ED6-97817EEFD73B}"/>
                </a:ext>
              </a:extLst>
            </p:cNvPr>
            <p:cNvSpPr/>
            <p:nvPr/>
          </p:nvSpPr>
          <p:spPr>
            <a:xfrm>
              <a:off x="10620187" y="3282264"/>
              <a:ext cx="31619" cy="54957"/>
            </a:xfrm>
            <a:custGeom>
              <a:avLst/>
              <a:gdLst>
                <a:gd name="connsiteX0" fmla="*/ 0 w 31619"/>
                <a:gd name="connsiteY0" fmla="*/ 6274 h 54957"/>
                <a:gd name="connsiteX1" fmla="*/ 13175 w 31619"/>
                <a:gd name="connsiteY1" fmla="*/ 54957 h 54957"/>
                <a:gd name="connsiteX2" fmla="*/ 31619 w 31619"/>
                <a:gd name="connsiteY2" fmla="*/ 48558 h 54957"/>
                <a:gd name="connsiteX3" fmla="*/ 18445 w 31619"/>
                <a:gd name="connsiteY3" fmla="*/ 0 h 54957"/>
                <a:gd name="connsiteX4" fmla="*/ 0 w 31619"/>
                <a:gd name="connsiteY4" fmla="*/ 6274 h 54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619" h="54957">
                  <a:moveTo>
                    <a:pt x="0" y="6274"/>
                  </a:moveTo>
                  <a:lnTo>
                    <a:pt x="13175" y="54957"/>
                  </a:lnTo>
                  <a:cubicBezTo>
                    <a:pt x="19323" y="52699"/>
                    <a:pt x="25471" y="50566"/>
                    <a:pt x="31619" y="48558"/>
                  </a:cubicBezTo>
                  <a:lnTo>
                    <a:pt x="18445" y="0"/>
                  </a:lnTo>
                  <a:cubicBezTo>
                    <a:pt x="12296" y="2008"/>
                    <a:pt x="6148" y="4015"/>
                    <a:pt x="0" y="6274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8" name="Freeform 67">
              <a:extLst>
                <a:ext uri="{FF2B5EF4-FFF2-40B4-BE49-F238E27FC236}">
                  <a16:creationId xmlns:a16="http://schemas.microsoft.com/office/drawing/2014/main" id="{064A3B4B-265D-5D63-BE6F-6836CB536DE7}"/>
                </a:ext>
              </a:extLst>
            </p:cNvPr>
            <p:cNvSpPr/>
            <p:nvPr/>
          </p:nvSpPr>
          <p:spPr>
            <a:xfrm>
              <a:off x="10783553" y="3260181"/>
              <a:ext cx="19448" cy="52573"/>
            </a:xfrm>
            <a:custGeom>
              <a:avLst/>
              <a:gdLst>
                <a:gd name="connsiteX0" fmla="*/ 0 w 19448"/>
                <a:gd name="connsiteY0" fmla="*/ 0 h 52573"/>
                <a:gd name="connsiteX1" fmla="*/ 0 w 19448"/>
                <a:gd name="connsiteY1" fmla="*/ 50691 h 52573"/>
                <a:gd name="connsiteX2" fmla="*/ 19448 w 19448"/>
                <a:gd name="connsiteY2" fmla="*/ 52573 h 52573"/>
                <a:gd name="connsiteX3" fmla="*/ 19448 w 19448"/>
                <a:gd name="connsiteY3" fmla="*/ 1631 h 52573"/>
                <a:gd name="connsiteX4" fmla="*/ 0 w 19448"/>
                <a:gd name="connsiteY4" fmla="*/ 125 h 52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448" h="52573">
                  <a:moveTo>
                    <a:pt x="0" y="0"/>
                  </a:moveTo>
                  <a:lnTo>
                    <a:pt x="0" y="50691"/>
                  </a:lnTo>
                  <a:cubicBezTo>
                    <a:pt x="6524" y="51068"/>
                    <a:pt x="13049" y="51695"/>
                    <a:pt x="19448" y="52573"/>
                  </a:cubicBezTo>
                  <a:lnTo>
                    <a:pt x="19448" y="1631"/>
                  </a:lnTo>
                  <a:cubicBezTo>
                    <a:pt x="12924" y="878"/>
                    <a:pt x="6524" y="376"/>
                    <a:pt x="0" y="125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9" name="Freeform 68">
              <a:extLst>
                <a:ext uri="{FF2B5EF4-FFF2-40B4-BE49-F238E27FC236}">
                  <a16:creationId xmlns:a16="http://schemas.microsoft.com/office/drawing/2014/main" id="{4D3306EA-FEF8-1EB0-10CF-D291A00420AE}"/>
                </a:ext>
              </a:extLst>
            </p:cNvPr>
            <p:cNvSpPr/>
            <p:nvPr/>
          </p:nvSpPr>
          <p:spPr>
            <a:xfrm>
              <a:off x="10901875" y="3331450"/>
              <a:ext cx="58344" cy="37892"/>
            </a:xfrm>
            <a:custGeom>
              <a:avLst/>
              <a:gdLst>
                <a:gd name="connsiteX0" fmla="*/ 46927 w 58344"/>
                <a:gd name="connsiteY0" fmla="*/ 0 h 37892"/>
                <a:gd name="connsiteX1" fmla="*/ 0 w 58344"/>
                <a:gd name="connsiteY1" fmla="*/ 22083 h 37892"/>
                <a:gd name="connsiteX2" fmla="*/ 12297 w 58344"/>
                <a:gd name="connsiteY2" fmla="*/ 37893 h 37892"/>
                <a:gd name="connsiteX3" fmla="*/ 58345 w 58344"/>
                <a:gd name="connsiteY3" fmla="*/ 16186 h 37892"/>
                <a:gd name="connsiteX4" fmla="*/ 46927 w 58344"/>
                <a:gd name="connsiteY4" fmla="*/ 0 h 37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344" h="37892">
                  <a:moveTo>
                    <a:pt x="46927" y="0"/>
                  </a:moveTo>
                  <a:lnTo>
                    <a:pt x="0" y="22083"/>
                  </a:lnTo>
                  <a:cubicBezTo>
                    <a:pt x="4266" y="27228"/>
                    <a:pt x="8281" y="32372"/>
                    <a:pt x="12297" y="37893"/>
                  </a:cubicBezTo>
                  <a:lnTo>
                    <a:pt x="58345" y="16186"/>
                  </a:lnTo>
                  <a:cubicBezTo>
                    <a:pt x="54581" y="10791"/>
                    <a:pt x="50942" y="5270"/>
                    <a:pt x="46927" y="0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0" name="Freeform 69">
              <a:extLst>
                <a:ext uri="{FF2B5EF4-FFF2-40B4-BE49-F238E27FC236}">
                  <a16:creationId xmlns:a16="http://schemas.microsoft.com/office/drawing/2014/main" id="{C3B7F067-D6C1-995D-72E8-19F8930DBBE6}"/>
                </a:ext>
              </a:extLst>
            </p:cNvPr>
            <p:cNvSpPr/>
            <p:nvPr/>
          </p:nvSpPr>
          <p:spPr>
            <a:xfrm>
              <a:off x="9143116" y="3260808"/>
              <a:ext cx="25471" cy="53451"/>
            </a:xfrm>
            <a:custGeom>
              <a:avLst/>
              <a:gdLst>
                <a:gd name="connsiteX0" fmla="*/ 0 w 25471"/>
                <a:gd name="connsiteY0" fmla="*/ 3137 h 53451"/>
                <a:gd name="connsiteX1" fmla="*/ 6274 w 25471"/>
                <a:gd name="connsiteY1" fmla="*/ 53452 h 53451"/>
                <a:gd name="connsiteX2" fmla="*/ 25471 w 25471"/>
                <a:gd name="connsiteY2" fmla="*/ 49813 h 53451"/>
                <a:gd name="connsiteX3" fmla="*/ 19323 w 25471"/>
                <a:gd name="connsiteY3" fmla="*/ 0 h 53451"/>
                <a:gd name="connsiteX4" fmla="*/ 125 w 25471"/>
                <a:gd name="connsiteY4" fmla="*/ 3262 h 53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71" h="53451">
                  <a:moveTo>
                    <a:pt x="0" y="3137"/>
                  </a:moveTo>
                  <a:lnTo>
                    <a:pt x="6274" y="53452"/>
                  </a:lnTo>
                  <a:cubicBezTo>
                    <a:pt x="12673" y="52071"/>
                    <a:pt x="19072" y="50691"/>
                    <a:pt x="25471" y="49813"/>
                  </a:cubicBezTo>
                  <a:lnTo>
                    <a:pt x="19323" y="0"/>
                  </a:lnTo>
                  <a:cubicBezTo>
                    <a:pt x="12924" y="878"/>
                    <a:pt x="6524" y="1882"/>
                    <a:pt x="125" y="3262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1" name="Freeform 70">
              <a:extLst>
                <a:ext uri="{FF2B5EF4-FFF2-40B4-BE49-F238E27FC236}">
                  <a16:creationId xmlns:a16="http://schemas.microsoft.com/office/drawing/2014/main" id="{74F584F8-4058-C68B-DA32-B9CF75FC426F}"/>
                </a:ext>
              </a:extLst>
            </p:cNvPr>
            <p:cNvSpPr/>
            <p:nvPr/>
          </p:nvSpPr>
          <p:spPr>
            <a:xfrm>
              <a:off x="9313383" y="3283519"/>
              <a:ext cx="31744" cy="58344"/>
            </a:xfrm>
            <a:custGeom>
              <a:avLst/>
              <a:gdLst>
                <a:gd name="connsiteX0" fmla="*/ 26475 w 31744"/>
                <a:gd name="connsiteY0" fmla="*/ 6023 h 58344"/>
                <a:gd name="connsiteX1" fmla="*/ 13928 w 31744"/>
                <a:gd name="connsiteY1" fmla="*/ 0 h 58344"/>
                <a:gd name="connsiteX2" fmla="*/ 0 w 31744"/>
                <a:gd name="connsiteY2" fmla="*/ 49060 h 58344"/>
                <a:gd name="connsiteX3" fmla="*/ 3513 w 31744"/>
                <a:gd name="connsiteY3" fmla="*/ 50566 h 58344"/>
                <a:gd name="connsiteX4" fmla="*/ 17692 w 31744"/>
                <a:gd name="connsiteY4" fmla="*/ 58345 h 58344"/>
                <a:gd name="connsiteX5" fmla="*/ 31745 w 31744"/>
                <a:gd name="connsiteY5" fmla="*/ 8783 h 58344"/>
                <a:gd name="connsiteX6" fmla="*/ 26475 w 31744"/>
                <a:gd name="connsiteY6" fmla="*/ 5897 h 5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744" h="58344">
                  <a:moveTo>
                    <a:pt x="26475" y="6023"/>
                  </a:moveTo>
                  <a:cubicBezTo>
                    <a:pt x="22334" y="3890"/>
                    <a:pt x="18194" y="1882"/>
                    <a:pt x="13928" y="0"/>
                  </a:cubicBezTo>
                  <a:lnTo>
                    <a:pt x="0" y="49060"/>
                  </a:lnTo>
                  <a:cubicBezTo>
                    <a:pt x="1130" y="49562"/>
                    <a:pt x="2384" y="50064"/>
                    <a:pt x="3513" y="50566"/>
                  </a:cubicBezTo>
                  <a:cubicBezTo>
                    <a:pt x="8156" y="52950"/>
                    <a:pt x="12924" y="55710"/>
                    <a:pt x="17692" y="58345"/>
                  </a:cubicBezTo>
                  <a:lnTo>
                    <a:pt x="31745" y="8783"/>
                  </a:lnTo>
                  <a:cubicBezTo>
                    <a:pt x="29988" y="7905"/>
                    <a:pt x="28231" y="6775"/>
                    <a:pt x="26475" y="5897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2" name="Freeform 71">
              <a:extLst>
                <a:ext uri="{FF2B5EF4-FFF2-40B4-BE49-F238E27FC236}">
                  <a16:creationId xmlns:a16="http://schemas.microsoft.com/office/drawing/2014/main" id="{C8E434CD-0014-F62E-0E3C-D8A17B36DBAB}"/>
                </a:ext>
              </a:extLst>
            </p:cNvPr>
            <p:cNvSpPr/>
            <p:nvPr/>
          </p:nvSpPr>
          <p:spPr>
            <a:xfrm>
              <a:off x="9454164" y="3396696"/>
              <a:ext cx="50189" cy="48558"/>
            </a:xfrm>
            <a:custGeom>
              <a:avLst/>
              <a:gdLst>
                <a:gd name="connsiteX0" fmla="*/ 35635 w 50189"/>
                <a:gd name="connsiteY0" fmla="*/ 0 h 48558"/>
                <a:gd name="connsiteX1" fmla="*/ 0 w 50189"/>
                <a:gd name="connsiteY1" fmla="*/ 35635 h 48558"/>
                <a:gd name="connsiteX2" fmla="*/ 14555 w 50189"/>
                <a:gd name="connsiteY2" fmla="*/ 48558 h 48558"/>
                <a:gd name="connsiteX3" fmla="*/ 50189 w 50189"/>
                <a:gd name="connsiteY3" fmla="*/ 12924 h 48558"/>
                <a:gd name="connsiteX4" fmla="*/ 35509 w 50189"/>
                <a:gd name="connsiteY4" fmla="*/ 0 h 48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89" h="48558">
                  <a:moveTo>
                    <a:pt x="35635" y="0"/>
                  </a:moveTo>
                  <a:lnTo>
                    <a:pt x="0" y="35635"/>
                  </a:lnTo>
                  <a:cubicBezTo>
                    <a:pt x="4894" y="39901"/>
                    <a:pt x="9787" y="44292"/>
                    <a:pt x="14555" y="48558"/>
                  </a:cubicBezTo>
                  <a:lnTo>
                    <a:pt x="50189" y="12924"/>
                  </a:lnTo>
                  <a:cubicBezTo>
                    <a:pt x="45296" y="8532"/>
                    <a:pt x="40402" y="4266"/>
                    <a:pt x="35509" y="0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3" name="Freeform 72">
              <a:extLst>
                <a:ext uri="{FF2B5EF4-FFF2-40B4-BE49-F238E27FC236}">
                  <a16:creationId xmlns:a16="http://schemas.microsoft.com/office/drawing/2014/main" id="{2BA059B9-B25F-6A60-628D-C6DBF30110F1}"/>
                </a:ext>
              </a:extLst>
            </p:cNvPr>
            <p:cNvSpPr/>
            <p:nvPr/>
          </p:nvSpPr>
          <p:spPr>
            <a:xfrm>
              <a:off x="9813457" y="4353931"/>
              <a:ext cx="48370" cy="55333"/>
            </a:xfrm>
            <a:custGeom>
              <a:avLst/>
              <a:gdLst>
                <a:gd name="connsiteX0" fmla="*/ 7340 w 48370"/>
                <a:gd name="connsiteY0" fmla="*/ 12422 h 55333"/>
                <a:gd name="connsiteX1" fmla="*/ 7340 w 48370"/>
                <a:gd name="connsiteY1" fmla="*/ 47931 h 55333"/>
                <a:gd name="connsiteX2" fmla="*/ 25032 w 48370"/>
                <a:gd name="connsiteY2" fmla="*/ 55334 h 55333"/>
                <a:gd name="connsiteX3" fmla="*/ 42724 w 48370"/>
                <a:gd name="connsiteY3" fmla="*/ 47931 h 55333"/>
                <a:gd name="connsiteX4" fmla="*/ 48370 w 48370"/>
                <a:gd name="connsiteY4" fmla="*/ 42410 h 55333"/>
                <a:gd name="connsiteX5" fmla="*/ 20013 w 48370"/>
                <a:gd name="connsiteY5" fmla="*/ 0 h 55333"/>
                <a:gd name="connsiteX6" fmla="*/ 7340 w 48370"/>
                <a:gd name="connsiteY6" fmla="*/ 12422 h 55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370" h="55333">
                  <a:moveTo>
                    <a:pt x="7340" y="12422"/>
                  </a:moveTo>
                  <a:cubicBezTo>
                    <a:pt x="-2447" y="22209"/>
                    <a:pt x="-2447" y="38144"/>
                    <a:pt x="7340" y="47931"/>
                  </a:cubicBezTo>
                  <a:cubicBezTo>
                    <a:pt x="12234" y="52824"/>
                    <a:pt x="18633" y="55334"/>
                    <a:pt x="25032" y="55334"/>
                  </a:cubicBezTo>
                  <a:cubicBezTo>
                    <a:pt x="31431" y="55334"/>
                    <a:pt x="37830" y="52824"/>
                    <a:pt x="42724" y="47931"/>
                  </a:cubicBezTo>
                  <a:cubicBezTo>
                    <a:pt x="44731" y="45923"/>
                    <a:pt x="46488" y="44167"/>
                    <a:pt x="48370" y="42410"/>
                  </a:cubicBezTo>
                  <a:lnTo>
                    <a:pt x="20013" y="0"/>
                  </a:lnTo>
                  <a:cubicBezTo>
                    <a:pt x="15873" y="3890"/>
                    <a:pt x="11732" y="8156"/>
                    <a:pt x="7340" y="12422"/>
                  </a:cubicBezTo>
                  <a:close/>
                </a:path>
              </a:pathLst>
            </a:custGeom>
            <a:solidFill>
              <a:schemeClr val="accent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4" name="Freeform 73">
              <a:extLst>
                <a:ext uri="{FF2B5EF4-FFF2-40B4-BE49-F238E27FC236}">
                  <a16:creationId xmlns:a16="http://schemas.microsoft.com/office/drawing/2014/main" id="{90025B66-5AAB-E9A7-CD13-815C185563E3}"/>
                </a:ext>
              </a:extLst>
            </p:cNvPr>
            <p:cNvSpPr/>
            <p:nvPr/>
          </p:nvSpPr>
          <p:spPr>
            <a:xfrm>
              <a:off x="10601994" y="4238119"/>
              <a:ext cx="50524" cy="53052"/>
            </a:xfrm>
            <a:custGeom>
              <a:avLst/>
              <a:gdLst>
                <a:gd name="connsiteX0" fmla="*/ 50440 w 50524"/>
                <a:gd name="connsiteY0" fmla="*/ 29988 h 53052"/>
                <a:gd name="connsiteX1" fmla="*/ 27479 w 50524"/>
                <a:gd name="connsiteY1" fmla="*/ 2886 h 53052"/>
                <a:gd name="connsiteX2" fmla="*/ 6901 w 50524"/>
                <a:gd name="connsiteY2" fmla="*/ 0 h 53052"/>
                <a:gd name="connsiteX3" fmla="*/ 0 w 50524"/>
                <a:gd name="connsiteY3" fmla="*/ 49687 h 53052"/>
                <a:gd name="connsiteX4" fmla="*/ 23338 w 50524"/>
                <a:gd name="connsiteY4" fmla="*/ 52950 h 53052"/>
                <a:gd name="connsiteX5" fmla="*/ 50440 w 50524"/>
                <a:gd name="connsiteY5" fmla="*/ 29988 h 53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524" h="53052">
                  <a:moveTo>
                    <a:pt x="50440" y="29988"/>
                  </a:moveTo>
                  <a:cubicBezTo>
                    <a:pt x="51570" y="16186"/>
                    <a:pt x="41281" y="4015"/>
                    <a:pt x="27479" y="2886"/>
                  </a:cubicBezTo>
                  <a:cubicBezTo>
                    <a:pt x="22836" y="2509"/>
                    <a:pt x="15308" y="1380"/>
                    <a:pt x="6901" y="0"/>
                  </a:cubicBezTo>
                  <a:lnTo>
                    <a:pt x="0" y="49687"/>
                  </a:lnTo>
                  <a:cubicBezTo>
                    <a:pt x="9034" y="51193"/>
                    <a:pt x="17315" y="52448"/>
                    <a:pt x="23338" y="52950"/>
                  </a:cubicBezTo>
                  <a:cubicBezTo>
                    <a:pt x="37516" y="54204"/>
                    <a:pt x="49311" y="43790"/>
                    <a:pt x="50440" y="29988"/>
                  </a:cubicBezTo>
                  <a:close/>
                </a:path>
              </a:pathLst>
            </a:custGeom>
            <a:solidFill>
              <a:schemeClr val="accent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5" name="Freeform 74">
              <a:extLst>
                <a:ext uri="{FF2B5EF4-FFF2-40B4-BE49-F238E27FC236}">
                  <a16:creationId xmlns:a16="http://schemas.microsoft.com/office/drawing/2014/main" id="{53DC75CE-7866-F383-4B2E-C7A42123DDFE}"/>
                </a:ext>
              </a:extLst>
            </p:cNvPr>
            <p:cNvSpPr/>
            <p:nvPr/>
          </p:nvSpPr>
          <p:spPr>
            <a:xfrm>
              <a:off x="9799597" y="4573263"/>
              <a:ext cx="52693" cy="46796"/>
            </a:xfrm>
            <a:custGeom>
              <a:avLst/>
              <a:gdLst>
                <a:gd name="connsiteX0" fmla="*/ 48553 w 52693"/>
                <a:gd name="connsiteY0" fmla="*/ 16181 h 46796"/>
                <a:gd name="connsiteX1" fmla="*/ 16181 w 52693"/>
                <a:gd name="connsiteY1" fmla="*/ 1626 h 46796"/>
                <a:gd name="connsiteX2" fmla="*/ 1626 w 52693"/>
                <a:gd name="connsiteY2" fmla="*/ 33998 h 46796"/>
                <a:gd name="connsiteX3" fmla="*/ 6520 w 52693"/>
                <a:gd name="connsiteY3" fmla="*/ 46796 h 46796"/>
                <a:gd name="connsiteX4" fmla="*/ 52694 w 52693"/>
                <a:gd name="connsiteY4" fmla="*/ 26972 h 46796"/>
                <a:gd name="connsiteX5" fmla="*/ 48553 w 52693"/>
                <a:gd name="connsiteY5" fmla="*/ 16181 h 46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693" h="46796">
                  <a:moveTo>
                    <a:pt x="48553" y="16181"/>
                  </a:moveTo>
                  <a:cubicBezTo>
                    <a:pt x="43660" y="3257"/>
                    <a:pt x="29105" y="-3267"/>
                    <a:pt x="16181" y="1626"/>
                  </a:cubicBezTo>
                  <a:cubicBezTo>
                    <a:pt x="3257" y="6520"/>
                    <a:pt x="-3267" y="21075"/>
                    <a:pt x="1626" y="33998"/>
                  </a:cubicBezTo>
                  <a:lnTo>
                    <a:pt x="6520" y="46796"/>
                  </a:lnTo>
                  <a:lnTo>
                    <a:pt x="52694" y="26972"/>
                  </a:lnTo>
                  <a:lnTo>
                    <a:pt x="48553" y="16181"/>
                  </a:lnTo>
                  <a:close/>
                </a:path>
              </a:pathLst>
            </a:custGeom>
            <a:solidFill>
              <a:schemeClr val="accent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6" name="Freeform 75">
              <a:extLst>
                <a:ext uri="{FF2B5EF4-FFF2-40B4-BE49-F238E27FC236}">
                  <a16:creationId xmlns:a16="http://schemas.microsoft.com/office/drawing/2014/main" id="{880905EE-1FD7-4BF7-CC5B-4F08DE82B604}"/>
                </a:ext>
              </a:extLst>
            </p:cNvPr>
            <p:cNvSpPr/>
            <p:nvPr/>
          </p:nvSpPr>
          <p:spPr>
            <a:xfrm>
              <a:off x="9983787" y="5068125"/>
              <a:ext cx="54199" cy="49812"/>
            </a:xfrm>
            <a:custGeom>
              <a:avLst/>
              <a:gdLst>
                <a:gd name="connsiteX0" fmla="*/ 29110 w 54199"/>
                <a:gd name="connsiteY0" fmla="*/ 49813 h 49812"/>
                <a:gd name="connsiteX1" fmla="*/ 38018 w 54199"/>
                <a:gd name="connsiteY1" fmla="*/ 48182 h 49812"/>
                <a:gd name="connsiteX2" fmla="*/ 52573 w 54199"/>
                <a:gd name="connsiteY2" fmla="*/ 15809 h 49812"/>
                <a:gd name="connsiteX3" fmla="*/ 46550 w 54199"/>
                <a:gd name="connsiteY3" fmla="*/ 0 h 49812"/>
                <a:gd name="connsiteX4" fmla="*/ 0 w 54199"/>
                <a:gd name="connsiteY4" fmla="*/ 18821 h 49812"/>
                <a:gd name="connsiteX5" fmla="*/ 5646 w 54199"/>
                <a:gd name="connsiteY5" fmla="*/ 33627 h 49812"/>
                <a:gd name="connsiteX6" fmla="*/ 29110 w 54199"/>
                <a:gd name="connsiteY6" fmla="*/ 49813 h 49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4199" h="49812">
                  <a:moveTo>
                    <a:pt x="29110" y="49813"/>
                  </a:moveTo>
                  <a:cubicBezTo>
                    <a:pt x="32121" y="49813"/>
                    <a:pt x="35132" y="49311"/>
                    <a:pt x="38018" y="48182"/>
                  </a:cubicBezTo>
                  <a:cubicBezTo>
                    <a:pt x="50942" y="43288"/>
                    <a:pt x="57467" y="28733"/>
                    <a:pt x="52573" y="15809"/>
                  </a:cubicBezTo>
                  <a:lnTo>
                    <a:pt x="46550" y="0"/>
                  </a:lnTo>
                  <a:lnTo>
                    <a:pt x="0" y="18821"/>
                  </a:lnTo>
                  <a:lnTo>
                    <a:pt x="5646" y="33627"/>
                  </a:lnTo>
                  <a:cubicBezTo>
                    <a:pt x="9410" y="43664"/>
                    <a:pt x="18946" y="49813"/>
                    <a:pt x="29110" y="49813"/>
                  </a:cubicBezTo>
                  <a:close/>
                </a:path>
              </a:pathLst>
            </a:custGeom>
            <a:solidFill>
              <a:schemeClr val="accent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7" name="Freeform 76">
              <a:extLst>
                <a:ext uri="{FF2B5EF4-FFF2-40B4-BE49-F238E27FC236}">
                  <a16:creationId xmlns:a16="http://schemas.microsoft.com/office/drawing/2014/main" id="{E05626EB-459D-67B2-F6FB-72ECA59B95F9}"/>
                </a:ext>
              </a:extLst>
            </p:cNvPr>
            <p:cNvSpPr/>
            <p:nvPr/>
          </p:nvSpPr>
          <p:spPr>
            <a:xfrm>
              <a:off x="11287705" y="3522916"/>
              <a:ext cx="54460" cy="51449"/>
            </a:xfrm>
            <a:custGeom>
              <a:avLst/>
              <a:gdLst>
                <a:gd name="connsiteX0" fmla="*/ 52071 w 54460"/>
                <a:gd name="connsiteY0" fmla="*/ 35765 h 51449"/>
                <a:gd name="connsiteX1" fmla="*/ 40026 w 54460"/>
                <a:gd name="connsiteY1" fmla="*/ 2389 h 51449"/>
                <a:gd name="connsiteX2" fmla="*/ 6650 w 54460"/>
                <a:gd name="connsiteY2" fmla="*/ 14435 h 51449"/>
                <a:gd name="connsiteX3" fmla="*/ 0 w 54460"/>
                <a:gd name="connsiteY3" fmla="*/ 28237 h 51449"/>
                <a:gd name="connsiteX4" fmla="*/ 44543 w 54460"/>
                <a:gd name="connsiteY4" fmla="*/ 51449 h 51449"/>
                <a:gd name="connsiteX5" fmla="*/ 52071 w 54460"/>
                <a:gd name="connsiteY5" fmla="*/ 35640 h 51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460" h="51449">
                  <a:moveTo>
                    <a:pt x="52071" y="35765"/>
                  </a:moveTo>
                  <a:cubicBezTo>
                    <a:pt x="57969" y="23218"/>
                    <a:pt x="52573" y="8286"/>
                    <a:pt x="40026" y="2389"/>
                  </a:cubicBezTo>
                  <a:cubicBezTo>
                    <a:pt x="27479" y="-3508"/>
                    <a:pt x="12547" y="1887"/>
                    <a:pt x="6650" y="14435"/>
                  </a:cubicBezTo>
                  <a:cubicBezTo>
                    <a:pt x="4392" y="19203"/>
                    <a:pt x="2258" y="23594"/>
                    <a:pt x="0" y="28237"/>
                  </a:cubicBezTo>
                  <a:lnTo>
                    <a:pt x="44543" y="51449"/>
                  </a:lnTo>
                  <a:cubicBezTo>
                    <a:pt x="47052" y="46179"/>
                    <a:pt x="49562" y="41035"/>
                    <a:pt x="52071" y="35640"/>
                  </a:cubicBezTo>
                  <a:close/>
                </a:path>
              </a:pathLst>
            </a:custGeom>
            <a:solidFill>
              <a:schemeClr val="accent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8" name="Freeform 77">
              <a:extLst>
                <a:ext uri="{FF2B5EF4-FFF2-40B4-BE49-F238E27FC236}">
                  <a16:creationId xmlns:a16="http://schemas.microsoft.com/office/drawing/2014/main" id="{BF27DA1D-2CF0-4ACB-BD6D-6366903325E3}"/>
                </a:ext>
              </a:extLst>
            </p:cNvPr>
            <p:cNvSpPr/>
            <p:nvPr/>
          </p:nvSpPr>
          <p:spPr>
            <a:xfrm>
              <a:off x="11032198" y="3897209"/>
              <a:ext cx="49605" cy="53702"/>
            </a:xfrm>
            <a:custGeom>
              <a:avLst/>
              <a:gdLst>
                <a:gd name="connsiteX0" fmla="*/ 6317 w 49605"/>
                <a:gd name="connsiteY0" fmla="*/ 12045 h 53702"/>
                <a:gd name="connsiteX1" fmla="*/ 8450 w 49605"/>
                <a:gd name="connsiteY1" fmla="*/ 47429 h 53702"/>
                <a:gd name="connsiteX2" fmla="*/ 25138 w 49605"/>
                <a:gd name="connsiteY2" fmla="*/ 53703 h 53702"/>
                <a:gd name="connsiteX3" fmla="*/ 43959 w 49605"/>
                <a:gd name="connsiteY3" fmla="*/ 45296 h 53702"/>
                <a:gd name="connsiteX4" fmla="*/ 49605 w 49605"/>
                <a:gd name="connsiteY4" fmla="*/ 38897 h 53702"/>
                <a:gd name="connsiteX5" fmla="*/ 16982 w 49605"/>
                <a:gd name="connsiteY5" fmla="*/ 0 h 53702"/>
                <a:gd name="connsiteX6" fmla="*/ 6568 w 49605"/>
                <a:gd name="connsiteY6" fmla="*/ 11920 h 53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9605" h="53702">
                  <a:moveTo>
                    <a:pt x="6317" y="12045"/>
                  </a:moveTo>
                  <a:cubicBezTo>
                    <a:pt x="-2843" y="22460"/>
                    <a:pt x="-1964" y="38269"/>
                    <a:pt x="8450" y="47429"/>
                  </a:cubicBezTo>
                  <a:cubicBezTo>
                    <a:pt x="13218" y="51695"/>
                    <a:pt x="19241" y="53703"/>
                    <a:pt x="25138" y="53703"/>
                  </a:cubicBezTo>
                  <a:cubicBezTo>
                    <a:pt x="32039" y="53703"/>
                    <a:pt x="38940" y="50817"/>
                    <a:pt x="43959" y="45296"/>
                  </a:cubicBezTo>
                  <a:cubicBezTo>
                    <a:pt x="45841" y="43163"/>
                    <a:pt x="47723" y="41030"/>
                    <a:pt x="49605" y="38897"/>
                  </a:cubicBezTo>
                  <a:lnTo>
                    <a:pt x="16982" y="0"/>
                  </a:lnTo>
                  <a:cubicBezTo>
                    <a:pt x="13469" y="4015"/>
                    <a:pt x="10081" y="7905"/>
                    <a:pt x="6568" y="11920"/>
                  </a:cubicBezTo>
                  <a:close/>
                </a:path>
              </a:pathLst>
            </a:custGeom>
            <a:solidFill>
              <a:schemeClr val="accent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9" name="Freeform 78">
              <a:extLst>
                <a:ext uri="{FF2B5EF4-FFF2-40B4-BE49-F238E27FC236}">
                  <a16:creationId xmlns:a16="http://schemas.microsoft.com/office/drawing/2014/main" id="{EBAA3A75-361C-D111-A40D-BA797C5C99C1}"/>
                </a:ext>
              </a:extLst>
            </p:cNvPr>
            <p:cNvSpPr/>
            <p:nvPr/>
          </p:nvSpPr>
          <p:spPr>
            <a:xfrm>
              <a:off x="10875149" y="3984360"/>
              <a:ext cx="47481" cy="54507"/>
            </a:xfrm>
            <a:custGeom>
              <a:avLst/>
              <a:gdLst>
                <a:gd name="connsiteX0" fmla="*/ 31118 w 47481"/>
                <a:gd name="connsiteY0" fmla="*/ 48611 h 54507"/>
                <a:gd name="connsiteX1" fmla="*/ 45923 w 47481"/>
                <a:gd name="connsiteY1" fmla="*/ 16364 h 54507"/>
                <a:gd name="connsiteX2" fmla="*/ 13677 w 47481"/>
                <a:gd name="connsiteY2" fmla="*/ 1558 h 54507"/>
                <a:gd name="connsiteX3" fmla="*/ 0 w 47481"/>
                <a:gd name="connsiteY3" fmla="*/ 6200 h 54507"/>
                <a:gd name="connsiteX4" fmla="*/ 13300 w 47481"/>
                <a:gd name="connsiteY4" fmla="*/ 54508 h 54507"/>
                <a:gd name="connsiteX5" fmla="*/ 31118 w 47481"/>
                <a:gd name="connsiteY5" fmla="*/ 48611 h 54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481" h="54507">
                  <a:moveTo>
                    <a:pt x="31118" y="48611"/>
                  </a:moveTo>
                  <a:cubicBezTo>
                    <a:pt x="44167" y="43842"/>
                    <a:pt x="50691" y="29288"/>
                    <a:pt x="45923" y="16364"/>
                  </a:cubicBezTo>
                  <a:cubicBezTo>
                    <a:pt x="41155" y="3315"/>
                    <a:pt x="26601" y="-3210"/>
                    <a:pt x="13677" y="1558"/>
                  </a:cubicBezTo>
                  <a:cubicBezTo>
                    <a:pt x="9160" y="3189"/>
                    <a:pt x="4517" y="4695"/>
                    <a:pt x="0" y="6200"/>
                  </a:cubicBezTo>
                  <a:lnTo>
                    <a:pt x="13300" y="54508"/>
                  </a:lnTo>
                  <a:cubicBezTo>
                    <a:pt x="19197" y="52500"/>
                    <a:pt x="25346" y="50744"/>
                    <a:pt x="31118" y="48611"/>
                  </a:cubicBezTo>
                  <a:close/>
                </a:path>
              </a:pathLst>
            </a:custGeom>
            <a:solidFill>
              <a:schemeClr val="accent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0" name="Freeform 79">
              <a:extLst>
                <a:ext uri="{FF2B5EF4-FFF2-40B4-BE49-F238E27FC236}">
                  <a16:creationId xmlns:a16="http://schemas.microsoft.com/office/drawing/2014/main" id="{637FCD8D-BD29-8944-AD5B-28AA568F3D9A}"/>
                </a:ext>
              </a:extLst>
            </p:cNvPr>
            <p:cNvSpPr/>
            <p:nvPr/>
          </p:nvSpPr>
          <p:spPr>
            <a:xfrm>
              <a:off x="10248024" y="4023685"/>
              <a:ext cx="44301" cy="50691"/>
            </a:xfrm>
            <a:custGeom>
              <a:avLst/>
              <a:gdLst>
                <a:gd name="connsiteX0" fmla="*/ 25731 w 44301"/>
                <a:gd name="connsiteY0" fmla="*/ 0 h 50691"/>
                <a:gd name="connsiteX1" fmla="*/ 25104 w 44301"/>
                <a:gd name="connsiteY1" fmla="*/ 0 h 50691"/>
                <a:gd name="connsiteX2" fmla="*/ 9 w 44301"/>
                <a:gd name="connsiteY2" fmla="*/ 24467 h 50691"/>
                <a:gd name="connsiteX3" fmla="*/ 24476 w 44301"/>
                <a:gd name="connsiteY3" fmla="*/ 50189 h 50691"/>
                <a:gd name="connsiteX4" fmla="*/ 41039 w 44301"/>
                <a:gd name="connsiteY4" fmla="*/ 50691 h 50691"/>
                <a:gd name="connsiteX5" fmla="*/ 44301 w 44301"/>
                <a:gd name="connsiteY5" fmla="*/ 627 h 50691"/>
                <a:gd name="connsiteX6" fmla="*/ 25731 w 44301"/>
                <a:gd name="connsiteY6" fmla="*/ 126 h 50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301" h="50691">
                  <a:moveTo>
                    <a:pt x="25731" y="0"/>
                  </a:moveTo>
                  <a:cubicBezTo>
                    <a:pt x="25731" y="0"/>
                    <a:pt x="25355" y="0"/>
                    <a:pt x="25104" y="0"/>
                  </a:cubicBezTo>
                  <a:cubicBezTo>
                    <a:pt x="11553" y="0"/>
                    <a:pt x="386" y="10916"/>
                    <a:pt x="9" y="24467"/>
                  </a:cubicBezTo>
                  <a:cubicBezTo>
                    <a:pt x="-367" y="38269"/>
                    <a:pt x="10675" y="49813"/>
                    <a:pt x="24476" y="50189"/>
                  </a:cubicBezTo>
                  <a:cubicBezTo>
                    <a:pt x="29872" y="50315"/>
                    <a:pt x="35518" y="50566"/>
                    <a:pt x="41039" y="50691"/>
                  </a:cubicBezTo>
                  <a:lnTo>
                    <a:pt x="44301" y="627"/>
                  </a:lnTo>
                  <a:cubicBezTo>
                    <a:pt x="38153" y="502"/>
                    <a:pt x="31754" y="251"/>
                    <a:pt x="25731" y="126"/>
                  </a:cubicBezTo>
                  <a:close/>
                </a:path>
              </a:pathLst>
            </a:custGeom>
            <a:solidFill>
              <a:schemeClr val="accent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1" name="Freeform 80">
              <a:extLst>
                <a:ext uri="{FF2B5EF4-FFF2-40B4-BE49-F238E27FC236}">
                  <a16:creationId xmlns:a16="http://schemas.microsoft.com/office/drawing/2014/main" id="{F08FA804-C436-96F7-E08D-FFB391F83F29}"/>
                </a:ext>
              </a:extLst>
            </p:cNvPr>
            <p:cNvSpPr/>
            <p:nvPr/>
          </p:nvSpPr>
          <p:spPr>
            <a:xfrm>
              <a:off x="11026331" y="4058498"/>
              <a:ext cx="50077" cy="54524"/>
            </a:xfrm>
            <a:custGeom>
              <a:avLst/>
              <a:gdLst>
                <a:gd name="connsiteX0" fmla="*/ 38158 w 50077"/>
                <a:gd name="connsiteY0" fmla="*/ 3708 h 54524"/>
                <a:gd name="connsiteX1" fmla="*/ 3652 w 50077"/>
                <a:gd name="connsiteY1" fmla="*/ 12115 h 54524"/>
                <a:gd name="connsiteX2" fmla="*/ 12059 w 50077"/>
                <a:gd name="connsiteY2" fmla="*/ 46620 h 54524"/>
                <a:gd name="connsiteX3" fmla="*/ 24983 w 50077"/>
                <a:gd name="connsiteY3" fmla="*/ 54525 h 54524"/>
                <a:gd name="connsiteX4" fmla="*/ 50077 w 50077"/>
                <a:gd name="connsiteY4" fmla="*/ 11111 h 54524"/>
                <a:gd name="connsiteX5" fmla="*/ 38158 w 50077"/>
                <a:gd name="connsiteY5" fmla="*/ 3833 h 54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077" h="54524">
                  <a:moveTo>
                    <a:pt x="38158" y="3708"/>
                  </a:moveTo>
                  <a:cubicBezTo>
                    <a:pt x="26363" y="-3569"/>
                    <a:pt x="10930" y="195"/>
                    <a:pt x="3652" y="12115"/>
                  </a:cubicBezTo>
                  <a:cubicBezTo>
                    <a:pt x="-3500" y="23909"/>
                    <a:pt x="139" y="39342"/>
                    <a:pt x="12059" y="46620"/>
                  </a:cubicBezTo>
                  <a:cubicBezTo>
                    <a:pt x="16325" y="49255"/>
                    <a:pt x="20591" y="51890"/>
                    <a:pt x="24983" y="54525"/>
                  </a:cubicBezTo>
                  <a:lnTo>
                    <a:pt x="50077" y="11111"/>
                  </a:lnTo>
                  <a:cubicBezTo>
                    <a:pt x="46062" y="8727"/>
                    <a:pt x="42172" y="6217"/>
                    <a:pt x="38158" y="3833"/>
                  </a:cubicBezTo>
                  <a:close/>
                </a:path>
              </a:pathLst>
            </a:custGeom>
            <a:solidFill>
              <a:schemeClr val="accent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2" name="Freeform 81">
              <a:extLst>
                <a:ext uri="{FF2B5EF4-FFF2-40B4-BE49-F238E27FC236}">
                  <a16:creationId xmlns:a16="http://schemas.microsoft.com/office/drawing/2014/main" id="{E10ABCF6-224D-D6D2-D02F-38C7DCC84133}"/>
                </a:ext>
              </a:extLst>
            </p:cNvPr>
            <p:cNvSpPr/>
            <p:nvPr/>
          </p:nvSpPr>
          <p:spPr>
            <a:xfrm>
              <a:off x="11487458" y="4413656"/>
              <a:ext cx="48478" cy="52196"/>
            </a:xfrm>
            <a:custGeom>
              <a:avLst/>
              <a:gdLst>
                <a:gd name="connsiteX0" fmla="*/ 23338 w 48478"/>
                <a:gd name="connsiteY0" fmla="*/ 52197 h 52196"/>
                <a:gd name="connsiteX1" fmla="*/ 39398 w 48478"/>
                <a:gd name="connsiteY1" fmla="*/ 46425 h 52196"/>
                <a:gd name="connsiteX2" fmla="*/ 42661 w 48478"/>
                <a:gd name="connsiteY2" fmla="*/ 11042 h 52196"/>
                <a:gd name="connsiteX3" fmla="*/ 33125 w 48478"/>
                <a:gd name="connsiteY3" fmla="*/ 0 h 52196"/>
                <a:gd name="connsiteX4" fmla="*/ 0 w 48478"/>
                <a:gd name="connsiteY4" fmla="*/ 38395 h 52196"/>
                <a:gd name="connsiteX5" fmla="*/ 4140 w 48478"/>
                <a:gd name="connsiteY5" fmla="*/ 43163 h 52196"/>
                <a:gd name="connsiteX6" fmla="*/ 23463 w 48478"/>
                <a:gd name="connsiteY6" fmla="*/ 52197 h 52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478" h="52196">
                  <a:moveTo>
                    <a:pt x="23338" y="52197"/>
                  </a:moveTo>
                  <a:cubicBezTo>
                    <a:pt x="28984" y="52197"/>
                    <a:pt x="34630" y="50315"/>
                    <a:pt x="39398" y="46425"/>
                  </a:cubicBezTo>
                  <a:cubicBezTo>
                    <a:pt x="50064" y="37517"/>
                    <a:pt x="51569" y="21707"/>
                    <a:pt x="42661" y="11042"/>
                  </a:cubicBezTo>
                  <a:cubicBezTo>
                    <a:pt x="39524" y="7277"/>
                    <a:pt x="36262" y="3639"/>
                    <a:pt x="33125" y="0"/>
                  </a:cubicBezTo>
                  <a:lnTo>
                    <a:pt x="0" y="38395"/>
                  </a:lnTo>
                  <a:cubicBezTo>
                    <a:pt x="1380" y="40026"/>
                    <a:pt x="2760" y="41532"/>
                    <a:pt x="4140" y="43163"/>
                  </a:cubicBezTo>
                  <a:cubicBezTo>
                    <a:pt x="9159" y="49185"/>
                    <a:pt x="16186" y="52197"/>
                    <a:pt x="23463" y="52197"/>
                  </a:cubicBezTo>
                  <a:close/>
                </a:path>
              </a:pathLst>
            </a:custGeom>
            <a:solidFill>
              <a:schemeClr val="accent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3" name="Freeform 82">
              <a:extLst>
                <a:ext uri="{FF2B5EF4-FFF2-40B4-BE49-F238E27FC236}">
                  <a16:creationId xmlns:a16="http://schemas.microsoft.com/office/drawing/2014/main" id="{C613FBEB-1413-F097-6110-D36967657E50}"/>
                </a:ext>
              </a:extLst>
            </p:cNvPr>
            <p:cNvSpPr/>
            <p:nvPr/>
          </p:nvSpPr>
          <p:spPr>
            <a:xfrm>
              <a:off x="10772431" y="4255077"/>
              <a:ext cx="40733" cy="51550"/>
            </a:xfrm>
            <a:custGeom>
              <a:avLst/>
              <a:gdLst>
                <a:gd name="connsiteX0" fmla="*/ 28312 w 40733"/>
                <a:gd name="connsiteY0" fmla="*/ 232 h 51550"/>
                <a:gd name="connsiteX1" fmla="*/ 206 w 40733"/>
                <a:gd name="connsiteY1" fmla="*/ 21939 h 51550"/>
                <a:gd name="connsiteX2" fmla="*/ 21913 w 40733"/>
                <a:gd name="connsiteY2" fmla="*/ 50045 h 51550"/>
                <a:gd name="connsiteX3" fmla="*/ 32578 w 40733"/>
                <a:gd name="connsiteY3" fmla="*/ 51550 h 51550"/>
                <a:gd name="connsiteX4" fmla="*/ 40734 w 40733"/>
                <a:gd name="connsiteY4" fmla="*/ 1988 h 51550"/>
                <a:gd name="connsiteX5" fmla="*/ 28312 w 40733"/>
                <a:gd name="connsiteY5" fmla="*/ 357 h 5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733" h="51550">
                  <a:moveTo>
                    <a:pt x="28312" y="232"/>
                  </a:moveTo>
                  <a:cubicBezTo>
                    <a:pt x="14510" y="-1650"/>
                    <a:pt x="1963" y="8137"/>
                    <a:pt x="206" y="21939"/>
                  </a:cubicBezTo>
                  <a:cubicBezTo>
                    <a:pt x="-1551" y="35741"/>
                    <a:pt x="8111" y="48288"/>
                    <a:pt x="21913" y="50045"/>
                  </a:cubicBezTo>
                  <a:cubicBezTo>
                    <a:pt x="25426" y="50547"/>
                    <a:pt x="29065" y="51049"/>
                    <a:pt x="32578" y="51550"/>
                  </a:cubicBezTo>
                  <a:lnTo>
                    <a:pt x="40734" y="1988"/>
                  </a:lnTo>
                  <a:cubicBezTo>
                    <a:pt x="36593" y="1487"/>
                    <a:pt x="32453" y="859"/>
                    <a:pt x="28312" y="357"/>
                  </a:cubicBezTo>
                  <a:close/>
                </a:path>
              </a:pathLst>
            </a:custGeom>
            <a:solidFill>
              <a:schemeClr val="accent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4" name="Freeform 83">
              <a:extLst>
                <a:ext uri="{FF2B5EF4-FFF2-40B4-BE49-F238E27FC236}">
                  <a16:creationId xmlns:a16="http://schemas.microsoft.com/office/drawing/2014/main" id="{68F6424E-29C2-7CC2-987B-9675AA6AF079}"/>
                </a:ext>
              </a:extLst>
            </p:cNvPr>
            <p:cNvSpPr/>
            <p:nvPr/>
          </p:nvSpPr>
          <p:spPr>
            <a:xfrm>
              <a:off x="11325598" y="4485678"/>
              <a:ext cx="47053" cy="52698"/>
            </a:xfrm>
            <a:custGeom>
              <a:avLst/>
              <a:gdLst>
                <a:gd name="connsiteX0" fmla="*/ 21958 w 47053"/>
                <a:gd name="connsiteY0" fmla="*/ 52699 h 52698"/>
                <a:gd name="connsiteX1" fmla="*/ 39524 w 47053"/>
                <a:gd name="connsiteY1" fmla="*/ 45547 h 52698"/>
                <a:gd name="connsiteX2" fmla="*/ 39900 w 47053"/>
                <a:gd name="connsiteY2" fmla="*/ 10038 h 52698"/>
                <a:gd name="connsiteX3" fmla="*/ 29737 w 47053"/>
                <a:gd name="connsiteY3" fmla="*/ 0 h 52698"/>
                <a:gd name="connsiteX4" fmla="*/ 0 w 47053"/>
                <a:gd name="connsiteY4" fmla="*/ 41281 h 52698"/>
                <a:gd name="connsiteX5" fmla="*/ 4015 w 47053"/>
                <a:gd name="connsiteY5" fmla="*/ 45170 h 52698"/>
                <a:gd name="connsiteX6" fmla="*/ 21958 w 47053"/>
                <a:gd name="connsiteY6" fmla="*/ 52699 h 52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053" h="52698">
                  <a:moveTo>
                    <a:pt x="21958" y="52699"/>
                  </a:moveTo>
                  <a:cubicBezTo>
                    <a:pt x="28357" y="52699"/>
                    <a:pt x="34630" y="50315"/>
                    <a:pt x="39524" y="45547"/>
                  </a:cubicBezTo>
                  <a:cubicBezTo>
                    <a:pt x="49436" y="35885"/>
                    <a:pt x="49562" y="19950"/>
                    <a:pt x="39900" y="10038"/>
                  </a:cubicBezTo>
                  <a:cubicBezTo>
                    <a:pt x="36512" y="6650"/>
                    <a:pt x="33125" y="3262"/>
                    <a:pt x="29737" y="0"/>
                  </a:cubicBezTo>
                  <a:lnTo>
                    <a:pt x="0" y="41281"/>
                  </a:lnTo>
                  <a:cubicBezTo>
                    <a:pt x="1380" y="42661"/>
                    <a:pt x="2760" y="43790"/>
                    <a:pt x="4015" y="45170"/>
                  </a:cubicBezTo>
                  <a:cubicBezTo>
                    <a:pt x="8908" y="50189"/>
                    <a:pt x="15433" y="52699"/>
                    <a:pt x="21958" y="52699"/>
                  </a:cubicBezTo>
                  <a:close/>
                </a:path>
              </a:pathLst>
            </a:custGeom>
            <a:solidFill>
              <a:schemeClr val="accent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5" name="Freeform 84">
              <a:extLst>
                <a:ext uri="{FF2B5EF4-FFF2-40B4-BE49-F238E27FC236}">
                  <a16:creationId xmlns:a16="http://schemas.microsoft.com/office/drawing/2014/main" id="{44C8A13D-1F09-9768-A2E2-3245BE9F0C2A}"/>
                </a:ext>
              </a:extLst>
            </p:cNvPr>
            <p:cNvSpPr/>
            <p:nvPr/>
          </p:nvSpPr>
          <p:spPr>
            <a:xfrm>
              <a:off x="9682024" y="4497154"/>
              <a:ext cx="53017" cy="53770"/>
            </a:xfrm>
            <a:custGeom>
              <a:avLst/>
              <a:gdLst>
                <a:gd name="connsiteX0" fmla="*/ 38897 w 53017"/>
                <a:gd name="connsiteY0" fmla="*/ 49379 h 53770"/>
                <a:gd name="connsiteX1" fmla="*/ 45296 w 53017"/>
                <a:gd name="connsiteY1" fmla="*/ 43230 h 53770"/>
                <a:gd name="connsiteX2" fmla="*/ 46049 w 53017"/>
                <a:gd name="connsiteY2" fmla="*/ 7721 h 53770"/>
                <a:gd name="connsiteX3" fmla="*/ 10540 w 53017"/>
                <a:gd name="connsiteY3" fmla="*/ 6969 h 53770"/>
                <a:gd name="connsiteX4" fmla="*/ 4141 w 53017"/>
                <a:gd name="connsiteY4" fmla="*/ 13117 h 53770"/>
                <a:gd name="connsiteX5" fmla="*/ 0 w 53017"/>
                <a:gd name="connsiteY5" fmla="*/ 17007 h 53770"/>
                <a:gd name="connsiteX6" fmla="*/ 34254 w 53017"/>
                <a:gd name="connsiteY6" fmla="*/ 53770 h 53770"/>
                <a:gd name="connsiteX7" fmla="*/ 38897 w 53017"/>
                <a:gd name="connsiteY7" fmla="*/ 49253 h 53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3017" h="53770">
                  <a:moveTo>
                    <a:pt x="38897" y="49379"/>
                  </a:moveTo>
                  <a:lnTo>
                    <a:pt x="45296" y="43230"/>
                  </a:lnTo>
                  <a:cubicBezTo>
                    <a:pt x="55334" y="33695"/>
                    <a:pt x="55585" y="17759"/>
                    <a:pt x="46049" y="7721"/>
                  </a:cubicBezTo>
                  <a:cubicBezTo>
                    <a:pt x="36387" y="-2316"/>
                    <a:pt x="20578" y="-2567"/>
                    <a:pt x="10540" y="6969"/>
                  </a:cubicBezTo>
                  <a:lnTo>
                    <a:pt x="4141" y="13117"/>
                  </a:lnTo>
                  <a:cubicBezTo>
                    <a:pt x="2760" y="14497"/>
                    <a:pt x="1380" y="15752"/>
                    <a:pt x="0" y="17007"/>
                  </a:cubicBezTo>
                  <a:lnTo>
                    <a:pt x="34254" y="53770"/>
                  </a:lnTo>
                  <a:cubicBezTo>
                    <a:pt x="35760" y="52265"/>
                    <a:pt x="37391" y="50759"/>
                    <a:pt x="38897" y="49253"/>
                  </a:cubicBezTo>
                  <a:close/>
                </a:path>
              </a:pathLst>
            </a:custGeom>
            <a:solidFill>
              <a:schemeClr val="accent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6" name="Freeform 85">
              <a:extLst>
                <a:ext uri="{FF2B5EF4-FFF2-40B4-BE49-F238E27FC236}">
                  <a16:creationId xmlns:a16="http://schemas.microsoft.com/office/drawing/2014/main" id="{CA7F7D08-27A9-1DA3-7E77-5D5741A644BC}"/>
                </a:ext>
              </a:extLst>
            </p:cNvPr>
            <p:cNvSpPr/>
            <p:nvPr/>
          </p:nvSpPr>
          <p:spPr>
            <a:xfrm>
              <a:off x="9201831" y="4812034"/>
              <a:ext cx="41036" cy="51695"/>
            </a:xfrm>
            <a:custGeom>
              <a:avLst/>
              <a:gdLst>
                <a:gd name="connsiteX0" fmla="*/ 18577 w 41036"/>
                <a:gd name="connsiteY0" fmla="*/ 2384 h 51695"/>
                <a:gd name="connsiteX1" fmla="*/ 885 w 41036"/>
                <a:gd name="connsiteY1" fmla="*/ 33125 h 51695"/>
                <a:gd name="connsiteX2" fmla="*/ 25102 w 41036"/>
                <a:gd name="connsiteY2" fmla="*/ 51695 h 51695"/>
                <a:gd name="connsiteX3" fmla="*/ 31626 w 41036"/>
                <a:gd name="connsiteY3" fmla="*/ 50817 h 51695"/>
                <a:gd name="connsiteX4" fmla="*/ 41037 w 41036"/>
                <a:gd name="connsiteY4" fmla="*/ 48056 h 51695"/>
                <a:gd name="connsiteX5" fmla="*/ 26733 w 41036"/>
                <a:gd name="connsiteY5" fmla="*/ 0 h 51695"/>
                <a:gd name="connsiteX6" fmla="*/ 18702 w 41036"/>
                <a:gd name="connsiteY6" fmla="*/ 2384 h 51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036" h="51695">
                  <a:moveTo>
                    <a:pt x="18577" y="2384"/>
                  </a:moveTo>
                  <a:cubicBezTo>
                    <a:pt x="5151" y="6023"/>
                    <a:pt x="-2753" y="19699"/>
                    <a:pt x="885" y="33125"/>
                  </a:cubicBezTo>
                  <a:cubicBezTo>
                    <a:pt x="3897" y="44292"/>
                    <a:pt x="14060" y="51695"/>
                    <a:pt x="25102" y="51695"/>
                  </a:cubicBezTo>
                  <a:cubicBezTo>
                    <a:pt x="27235" y="51695"/>
                    <a:pt x="29368" y="51444"/>
                    <a:pt x="31626" y="50817"/>
                  </a:cubicBezTo>
                  <a:cubicBezTo>
                    <a:pt x="34763" y="49938"/>
                    <a:pt x="37775" y="48935"/>
                    <a:pt x="41037" y="48056"/>
                  </a:cubicBezTo>
                  <a:lnTo>
                    <a:pt x="26733" y="0"/>
                  </a:lnTo>
                  <a:cubicBezTo>
                    <a:pt x="23972" y="753"/>
                    <a:pt x="21463" y="1631"/>
                    <a:pt x="18702" y="2384"/>
                  </a:cubicBezTo>
                  <a:close/>
                </a:path>
              </a:pathLst>
            </a:custGeom>
            <a:solidFill>
              <a:schemeClr val="accent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7" name="Freeform 86">
              <a:extLst>
                <a:ext uri="{FF2B5EF4-FFF2-40B4-BE49-F238E27FC236}">
                  <a16:creationId xmlns:a16="http://schemas.microsoft.com/office/drawing/2014/main" id="{CD40CFB5-1810-847A-8A79-2F4F5FA4AC28}"/>
                </a:ext>
              </a:extLst>
            </p:cNvPr>
            <p:cNvSpPr/>
            <p:nvPr/>
          </p:nvSpPr>
          <p:spPr>
            <a:xfrm>
              <a:off x="10963482" y="3689664"/>
              <a:ext cx="54717" cy="49447"/>
            </a:xfrm>
            <a:custGeom>
              <a:avLst/>
              <a:gdLst>
                <a:gd name="connsiteX0" fmla="*/ 38520 w 54717"/>
                <a:gd name="connsiteY0" fmla="*/ 1643 h 49447"/>
                <a:gd name="connsiteX1" fmla="*/ 6148 w 54717"/>
                <a:gd name="connsiteY1" fmla="*/ 16072 h 49447"/>
                <a:gd name="connsiteX2" fmla="*/ 0 w 54717"/>
                <a:gd name="connsiteY2" fmla="*/ 30501 h 49447"/>
                <a:gd name="connsiteX3" fmla="*/ 46550 w 54717"/>
                <a:gd name="connsiteY3" fmla="*/ 49448 h 49447"/>
                <a:gd name="connsiteX4" fmla="*/ 53075 w 54717"/>
                <a:gd name="connsiteY4" fmla="*/ 34140 h 49447"/>
                <a:gd name="connsiteX5" fmla="*/ 38646 w 54717"/>
                <a:gd name="connsiteY5" fmla="*/ 1768 h 49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717" h="49447">
                  <a:moveTo>
                    <a:pt x="38520" y="1643"/>
                  </a:moveTo>
                  <a:cubicBezTo>
                    <a:pt x="25597" y="-3251"/>
                    <a:pt x="11042" y="3148"/>
                    <a:pt x="6148" y="16072"/>
                  </a:cubicBezTo>
                  <a:cubicBezTo>
                    <a:pt x="4392" y="20714"/>
                    <a:pt x="2258" y="25608"/>
                    <a:pt x="0" y="30501"/>
                  </a:cubicBezTo>
                  <a:lnTo>
                    <a:pt x="46550" y="49448"/>
                  </a:lnTo>
                  <a:cubicBezTo>
                    <a:pt x="48809" y="44429"/>
                    <a:pt x="51068" y="39410"/>
                    <a:pt x="53075" y="34140"/>
                  </a:cubicBezTo>
                  <a:cubicBezTo>
                    <a:pt x="57969" y="21216"/>
                    <a:pt x="51570" y="6661"/>
                    <a:pt x="38646" y="1768"/>
                  </a:cubicBezTo>
                  <a:close/>
                </a:path>
              </a:pathLst>
            </a:custGeom>
            <a:solidFill>
              <a:schemeClr val="accent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8" name="Freeform 87">
              <a:extLst>
                <a:ext uri="{FF2B5EF4-FFF2-40B4-BE49-F238E27FC236}">
                  <a16:creationId xmlns:a16="http://schemas.microsoft.com/office/drawing/2014/main" id="{5ECC007D-92F7-F0E2-B435-113696136E33}"/>
                </a:ext>
              </a:extLst>
            </p:cNvPr>
            <p:cNvSpPr/>
            <p:nvPr/>
          </p:nvSpPr>
          <p:spPr>
            <a:xfrm>
              <a:off x="10419000" y="3733412"/>
              <a:ext cx="50368" cy="54885"/>
            </a:xfrm>
            <a:custGeom>
              <a:avLst/>
              <a:gdLst>
                <a:gd name="connsiteX0" fmla="*/ 48487 w 50368"/>
                <a:gd name="connsiteY0" fmla="*/ 8084 h 54885"/>
                <a:gd name="connsiteX1" fmla="*/ 35312 w 50368"/>
                <a:gd name="connsiteY1" fmla="*/ 2187 h 54885"/>
                <a:gd name="connsiteX2" fmla="*/ 2187 w 50368"/>
                <a:gd name="connsiteY2" fmla="*/ 14985 h 54885"/>
                <a:gd name="connsiteX3" fmla="*/ 14985 w 50368"/>
                <a:gd name="connsiteY3" fmla="*/ 48110 h 54885"/>
                <a:gd name="connsiteX4" fmla="*/ 27784 w 50368"/>
                <a:gd name="connsiteY4" fmla="*/ 53882 h 54885"/>
                <a:gd name="connsiteX5" fmla="*/ 30042 w 50368"/>
                <a:gd name="connsiteY5" fmla="*/ 54886 h 54885"/>
                <a:gd name="connsiteX6" fmla="*/ 50369 w 50368"/>
                <a:gd name="connsiteY6" fmla="*/ 8962 h 54885"/>
                <a:gd name="connsiteX7" fmla="*/ 48487 w 50368"/>
                <a:gd name="connsiteY7" fmla="*/ 8084 h 54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0368" h="54885">
                  <a:moveTo>
                    <a:pt x="48487" y="8084"/>
                  </a:moveTo>
                  <a:cubicBezTo>
                    <a:pt x="43970" y="6077"/>
                    <a:pt x="39578" y="4069"/>
                    <a:pt x="35312" y="2187"/>
                  </a:cubicBezTo>
                  <a:cubicBezTo>
                    <a:pt x="22639" y="-3459"/>
                    <a:pt x="7833" y="2187"/>
                    <a:pt x="2187" y="14985"/>
                  </a:cubicBezTo>
                  <a:cubicBezTo>
                    <a:pt x="-3459" y="27658"/>
                    <a:pt x="2187" y="42464"/>
                    <a:pt x="14985" y="48110"/>
                  </a:cubicBezTo>
                  <a:lnTo>
                    <a:pt x="27784" y="53882"/>
                  </a:lnTo>
                  <a:cubicBezTo>
                    <a:pt x="28536" y="54258"/>
                    <a:pt x="29289" y="54509"/>
                    <a:pt x="30042" y="54886"/>
                  </a:cubicBezTo>
                  <a:lnTo>
                    <a:pt x="50369" y="8962"/>
                  </a:lnTo>
                  <a:cubicBezTo>
                    <a:pt x="50369" y="8962"/>
                    <a:pt x="49114" y="8335"/>
                    <a:pt x="48487" y="8084"/>
                  </a:cubicBezTo>
                  <a:close/>
                </a:path>
              </a:pathLst>
            </a:custGeom>
            <a:solidFill>
              <a:schemeClr val="accent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9" name="Freeform 88">
              <a:extLst>
                <a:ext uri="{FF2B5EF4-FFF2-40B4-BE49-F238E27FC236}">
                  <a16:creationId xmlns:a16="http://schemas.microsoft.com/office/drawing/2014/main" id="{F39930BA-8F02-ECFB-B38F-D1AEBE23E4F4}"/>
                </a:ext>
              </a:extLst>
            </p:cNvPr>
            <p:cNvSpPr/>
            <p:nvPr/>
          </p:nvSpPr>
          <p:spPr>
            <a:xfrm>
              <a:off x="9285277" y="4336867"/>
              <a:ext cx="49327" cy="53451"/>
            </a:xfrm>
            <a:custGeom>
              <a:avLst/>
              <a:gdLst>
                <a:gd name="connsiteX0" fmla="*/ 24216 w 49327"/>
                <a:gd name="connsiteY0" fmla="*/ 53452 h 53451"/>
                <a:gd name="connsiteX1" fmla="*/ 48433 w 49327"/>
                <a:gd name="connsiteY1" fmla="*/ 35007 h 53451"/>
                <a:gd name="connsiteX2" fmla="*/ 30992 w 49327"/>
                <a:gd name="connsiteY2" fmla="*/ 4141 h 53451"/>
                <a:gd name="connsiteX3" fmla="*/ 18319 w 49327"/>
                <a:gd name="connsiteY3" fmla="*/ 0 h 53451"/>
                <a:gd name="connsiteX4" fmla="*/ 0 w 49327"/>
                <a:gd name="connsiteY4" fmla="*/ 46676 h 53451"/>
                <a:gd name="connsiteX5" fmla="*/ 17566 w 49327"/>
                <a:gd name="connsiteY5" fmla="*/ 52448 h 53451"/>
                <a:gd name="connsiteX6" fmla="*/ 24342 w 49327"/>
                <a:gd name="connsiteY6" fmla="*/ 53326 h 53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9327" h="53451">
                  <a:moveTo>
                    <a:pt x="24216" y="53452"/>
                  </a:moveTo>
                  <a:cubicBezTo>
                    <a:pt x="35258" y="53452"/>
                    <a:pt x="45296" y="46174"/>
                    <a:pt x="48433" y="35007"/>
                  </a:cubicBezTo>
                  <a:cubicBezTo>
                    <a:pt x="52071" y="21707"/>
                    <a:pt x="44292" y="7779"/>
                    <a:pt x="30992" y="4141"/>
                  </a:cubicBezTo>
                  <a:cubicBezTo>
                    <a:pt x="26851" y="3011"/>
                    <a:pt x="22585" y="1631"/>
                    <a:pt x="18319" y="0"/>
                  </a:cubicBezTo>
                  <a:lnTo>
                    <a:pt x="0" y="46676"/>
                  </a:lnTo>
                  <a:cubicBezTo>
                    <a:pt x="5897" y="48809"/>
                    <a:pt x="11669" y="50817"/>
                    <a:pt x="17566" y="52448"/>
                  </a:cubicBezTo>
                  <a:cubicBezTo>
                    <a:pt x="19825" y="53075"/>
                    <a:pt x="22083" y="53326"/>
                    <a:pt x="24342" y="53326"/>
                  </a:cubicBezTo>
                  <a:close/>
                </a:path>
              </a:pathLst>
            </a:custGeom>
            <a:solidFill>
              <a:schemeClr val="accent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0" name="Freeform 89">
              <a:extLst>
                <a:ext uri="{FF2B5EF4-FFF2-40B4-BE49-F238E27FC236}">
                  <a16:creationId xmlns:a16="http://schemas.microsoft.com/office/drawing/2014/main" id="{C7F24EC6-FBE3-042E-AEE5-92EFF43FC984}"/>
                </a:ext>
              </a:extLst>
            </p:cNvPr>
            <p:cNvSpPr/>
            <p:nvPr/>
          </p:nvSpPr>
          <p:spPr>
            <a:xfrm>
              <a:off x="9021031" y="3859687"/>
              <a:ext cx="52327" cy="43920"/>
            </a:xfrm>
            <a:custGeom>
              <a:avLst/>
              <a:gdLst>
                <a:gd name="connsiteX0" fmla="*/ 51946 w 52327"/>
                <a:gd name="connsiteY0" fmla="*/ 29491 h 43920"/>
                <a:gd name="connsiteX1" fmla="*/ 31619 w 52327"/>
                <a:gd name="connsiteY1" fmla="*/ 381 h 43920"/>
                <a:gd name="connsiteX2" fmla="*/ 2510 w 52327"/>
                <a:gd name="connsiteY2" fmla="*/ 20708 h 43920"/>
                <a:gd name="connsiteX3" fmla="*/ 0 w 52327"/>
                <a:gd name="connsiteY3" fmla="*/ 36894 h 43920"/>
                <a:gd name="connsiteX4" fmla="*/ 49687 w 52327"/>
                <a:gd name="connsiteY4" fmla="*/ 43921 h 43920"/>
                <a:gd name="connsiteX5" fmla="*/ 51946 w 52327"/>
                <a:gd name="connsiteY5" fmla="*/ 29491 h 43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27" h="43920">
                  <a:moveTo>
                    <a:pt x="51946" y="29491"/>
                  </a:moveTo>
                  <a:cubicBezTo>
                    <a:pt x="54330" y="15815"/>
                    <a:pt x="45296" y="2891"/>
                    <a:pt x="31619" y="381"/>
                  </a:cubicBezTo>
                  <a:cubicBezTo>
                    <a:pt x="17943" y="-2003"/>
                    <a:pt x="4894" y="7031"/>
                    <a:pt x="2510" y="20708"/>
                  </a:cubicBezTo>
                  <a:cubicBezTo>
                    <a:pt x="1506" y="26103"/>
                    <a:pt x="878" y="31499"/>
                    <a:pt x="0" y="36894"/>
                  </a:cubicBezTo>
                  <a:lnTo>
                    <a:pt x="49687" y="43921"/>
                  </a:lnTo>
                  <a:cubicBezTo>
                    <a:pt x="50315" y="39153"/>
                    <a:pt x="51068" y="34259"/>
                    <a:pt x="51946" y="29491"/>
                  </a:cubicBezTo>
                  <a:close/>
                </a:path>
              </a:pathLst>
            </a:custGeom>
            <a:solidFill>
              <a:schemeClr val="accent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1" name="Freeform 90">
              <a:extLst>
                <a:ext uri="{FF2B5EF4-FFF2-40B4-BE49-F238E27FC236}">
                  <a16:creationId xmlns:a16="http://schemas.microsoft.com/office/drawing/2014/main" id="{7B2701CB-5703-F988-6E9C-0D8D4B3ECAB9}"/>
                </a:ext>
              </a:extLst>
            </p:cNvPr>
            <p:cNvSpPr/>
            <p:nvPr/>
          </p:nvSpPr>
          <p:spPr>
            <a:xfrm>
              <a:off x="10086926" y="3995193"/>
              <a:ext cx="36621" cy="51705"/>
            </a:xfrm>
            <a:custGeom>
              <a:avLst/>
              <a:gdLst>
                <a:gd name="connsiteX0" fmla="*/ 14931 w 36621"/>
                <a:gd name="connsiteY0" fmla="*/ 50074 h 51705"/>
                <a:gd name="connsiteX1" fmla="*/ 36387 w 36621"/>
                <a:gd name="connsiteY1" fmla="*/ 21717 h 51705"/>
                <a:gd name="connsiteX2" fmla="*/ 8030 w 36621"/>
                <a:gd name="connsiteY2" fmla="*/ 261 h 51705"/>
                <a:gd name="connsiteX3" fmla="*/ 0 w 36621"/>
                <a:gd name="connsiteY3" fmla="*/ 1642 h 51705"/>
                <a:gd name="connsiteX4" fmla="*/ 4517 w 36621"/>
                <a:gd name="connsiteY4" fmla="*/ 51705 h 51705"/>
                <a:gd name="connsiteX5" fmla="*/ 14931 w 36621"/>
                <a:gd name="connsiteY5" fmla="*/ 49949 h 51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621" h="51705">
                  <a:moveTo>
                    <a:pt x="14931" y="50074"/>
                  </a:moveTo>
                  <a:cubicBezTo>
                    <a:pt x="28608" y="48192"/>
                    <a:pt x="38269" y="35519"/>
                    <a:pt x="36387" y="21717"/>
                  </a:cubicBezTo>
                  <a:cubicBezTo>
                    <a:pt x="34505" y="8041"/>
                    <a:pt x="21832" y="-1746"/>
                    <a:pt x="8030" y="261"/>
                  </a:cubicBezTo>
                  <a:cubicBezTo>
                    <a:pt x="5395" y="638"/>
                    <a:pt x="2635" y="1140"/>
                    <a:pt x="0" y="1642"/>
                  </a:cubicBezTo>
                  <a:lnTo>
                    <a:pt x="4517" y="51705"/>
                  </a:lnTo>
                  <a:cubicBezTo>
                    <a:pt x="8030" y="51078"/>
                    <a:pt x="11418" y="50451"/>
                    <a:pt x="14931" y="49949"/>
                  </a:cubicBezTo>
                  <a:close/>
                </a:path>
              </a:pathLst>
            </a:custGeom>
            <a:solidFill>
              <a:schemeClr val="accent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2" name="Freeform 91">
              <a:extLst>
                <a:ext uri="{FF2B5EF4-FFF2-40B4-BE49-F238E27FC236}">
                  <a16:creationId xmlns:a16="http://schemas.microsoft.com/office/drawing/2014/main" id="{7568BCB3-5849-2D07-7B89-D290524B6699}"/>
                </a:ext>
              </a:extLst>
            </p:cNvPr>
            <p:cNvSpPr/>
            <p:nvPr/>
          </p:nvSpPr>
          <p:spPr>
            <a:xfrm>
              <a:off x="9457303" y="4315787"/>
              <a:ext cx="52947" cy="54957"/>
            </a:xfrm>
            <a:custGeom>
              <a:avLst/>
              <a:gdLst>
                <a:gd name="connsiteX0" fmla="*/ 18694 w 52947"/>
                <a:gd name="connsiteY0" fmla="*/ 5646 h 54957"/>
                <a:gd name="connsiteX1" fmla="*/ 876 w 52947"/>
                <a:gd name="connsiteY1" fmla="*/ 36262 h 54957"/>
                <a:gd name="connsiteX2" fmla="*/ 25093 w 52947"/>
                <a:gd name="connsiteY2" fmla="*/ 54957 h 54957"/>
                <a:gd name="connsiteX3" fmla="*/ 31492 w 52947"/>
                <a:gd name="connsiteY3" fmla="*/ 54079 h 54957"/>
                <a:gd name="connsiteX4" fmla="*/ 52948 w 52947"/>
                <a:gd name="connsiteY4" fmla="*/ 47554 h 54957"/>
                <a:gd name="connsiteX5" fmla="*/ 36260 w 52947"/>
                <a:gd name="connsiteY5" fmla="*/ 0 h 54957"/>
                <a:gd name="connsiteX6" fmla="*/ 18694 w 52947"/>
                <a:gd name="connsiteY6" fmla="*/ 5521 h 54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947" h="54957">
                  <a:moveTo>
                    <a:pt x="18694" y="5646"/>
                  </a:moveTo>
                  <a:cubicBezTo>
                    <a:pt x="5268" y="9160"/>
                    <a:pt x="-2762" y="22962"/>
                    <a:pt x="876" y="36262"/>
                  </a:cubicBezTo>
                  <a:cubicBezTo>
                    <a:pt x="3888" y="47554"/>
                    <a:pt x="14051" y="54957"/>
                    <a:pt x="25093" y="54957"/>
                  </a:cubicBezTo>
                  <a:cubicBezTo>
                    <a:pt x="27226" y="54957"/>
                    <a:pt x="29359" y="54706"/>
                    <a:pt x="31492" y="54079"/>
                  </a:cubicBezTo>
                  <a:cubicBezTo>
                    <a:pt x="38770" y="52197"/>
                    <a:pt x="45921" y="49938"/>
                    <a:pt x="52948" y="47554"/>
                  </a:cubicBezTo>
                  <a:lnTo>
                    <a:pt x="36260" y="0"/>
                  </a:lnTo>
                  <a:cubicBezTo>
                    <a:pt x="30488" y="1882"/>
                    <a:pt x="24591" y="3890"/>
                    <a:pt x="18694" y="5521"/>
                  </a:cubicBezTo>
                  <a:close/>
                </a:path>
              </a:pathLst>
            </a:custGeom>
            <a:solidFill>
              <a:schemeClr val="accent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3" name="Freeform 92">
              <a:extLst>
                <a:ext uri="{FF2B5EF4-FFF2-40B4-BE49-F238E27FC236}">
                  <a16:creationId xmlns:a16="http://schemas.microsoft.com/office/drawing/2014/main" id="{D1117854-D99A-037A-1D0E-FD659B4E8B9A}"/>
                </a:ext>
              </a:extLst>
            </p:cNvPr>
            <p:cNvSpPr/>
            <p:nvPr/>
          </p:nvSpPr>
          <p:spPr>
            <a:xfrm>
              <a:off x="10310143" y="3446811"/>
              <a:ext cx="46123" cy="53526"/>
            </a:xfrm>
            <a:custGeom>
              <a:avLst/>
              <a:gdLst>
                <a:gd name="connsiteX0" fmla="*/ 34129 w 46123"/>
                <a:gd name="connsiteY0" fmla="*/ 46500 h 53526"/>
                <a:gd name="connsiteX1" fmla="*/ 42410 w 46123"/>
                <a:gd name="connsiteY1" fmla="*/ 11994 h 53526"/>
                <a:gd name="connsiteX2" fmla="*/ 7905 w 46123"/>
                <a:gd name="connsiteY2" fmla="*/ 3713 h 53526"/>
                <a:gd name="connsiteX3" fmla="*/ 0 w 46123"/>
                <a:gd name="connsiteY3" fmla="*/ 8481 h 53526"/>
                <a:gd name="connsiteX4" fmla="*/ 22334 w 46123"/>
                <a:gd name="connsiteY4" fmla="*/ 53526 h 53526"/>
                <a:gd name="connsiteX5" fmla="*/ 34004 w 46123"/>
                <a:gd name="connsiteY5" fmla="*/ 46500 h 53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6123" h="53526">
                  <a:moveTo>
                    <a:pt x="34129" y="46500"/>
                  </a:moveTo>
                  <a:cubicBezTo>
                    <a:pt x="45923" y="39222"/>
                    <a:pt x="49688" y="23789"/>
                    <a:pt x="42410" y="11994"/>
                  </a:cubicBezTo>
                  <a:cubicBezTo>
                    <a:pt x="35133" y="200"/>
                    <a:pt x="19699" y="-3564"/>
                    <a:pt x="7905" y="3713"/>
                  </a:cubicBezTo>
                  <a:cubicBezTo>
                    <a:pt x="5396" y="5219"/>
                    <a:pt x="2760" y="6850"/>
                    <a:pt x="0" y="8481"/>
                  </a:cubicBezTo>
                  <a:lnTo>
                    <a:pt x="22334" y="53526"/>
                  </a:lnTo>
                  <a:cubicBezTo>
                    <a:pt x="26224" y="51142"/>
                    <a:pt x="30114" y="49009"/>
                    <a:pt x="34004" y="46500"/>
                  </a:cubicBezTo>
                  <a:close/>
                </a:path>
              </a:pathLst>
            </a:custGeom>
            <a:solidFill>
              <a:schemeClr val="accent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4" name="Freeform 93">
              <a:extLst>
                <a:ext uri="{FF2B5EF4-FFF2-40B4-BE49-F238E27FC236}">
                  <a16:creationId xmlns:a16="http://schemas.microsoft.com/office/drawing/2014/main" id="{64B04765-4398-05D3-3CC6-F276098028EF}"/>
                </a:ext>
              </a:extLst>
            </p:cNvPr>
            <p:cNvSpPr/>
            <p:nvPr/>
          </p:nvSpPr>
          <p:spPr>
            <a:xfrm>
              <a:off x="9749426" y="3579533"/>
              <a:ext cx="43767" cy="52299"/>
            </a:xfrm>
            <a:custGeom>
              <a:avLst/>
              <a:gdLst>
                <a:gd name="connsiteX0" fmla="*/ 30592 w 43767"/>
                <a:gd name="connsiteY0" fmla="*/ 605 h 52299"/>
                <a:gd name="connsiteX1" fmla="*/ 604 w 43767"/>
                <a:gd name="connsiteY1" fmla="*/ 19677 h 52299"/>
                <a:gd name="connsiteX2" fmla="*/ 19676 w 43767"/>
                <a:gd name="connsiteY2" fmla="*/ 49665 h 52299"/>
                <a:gd name="connsiteX3" fmla="*/ 33604 w 43767"/>
                <a:gd name="connsiteY3" fmla="*/ 52299 h 52299"/>
                <a:gd name="connsiteX4" fmla="*/ 43767 w 43767"/>
                <a:gd name="connsiteY4" fmla="*/ 3239 h 52299"/>
                <a:gd name="connsiteX5" fmla="*/ 30718 w 43767"/>
                <a:gd name="connsiteY5" fmla="*/ 605 h 52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767" h="52299">
                  <a:moveTo>
                    <a:pt x="30592" y="605"/>
                  </a:moveTo>
                  <a:cubicBezTo>
                    <a:pt x="17041" y="-2407"/>
                    <a:pt x="3616" y="6125"/>
                    <a:pt x="604" y="19677"/>
                  </a:cubicBezTo>
                  <a:cubicBezTo>
                    <a:pt x="-2407" y="33227"/>
                    <a:pt x="6125" y="46653"/>
                    <a:pt x="19676" y="49665"/>
                  </a:cubicBezTo>
                  <a:cubicBezTo>
                    <a:pt x="24194" y="50668"/>
                    <a:pt x="28962" y="51421"/>
                    <a:pt x="33604" y="52299"/>
                  </a:cubicBezTo>
                  <a:lnTo>
                    <a:pt x="43767" y="3239"/>
                  </a:lnTo>
                  <a:cubicBezTo>
                    <a:pt x="39376" y="2361"/>
                    <a:pt x="34984" y="1608"/>
                    <a:pt x="30718" y="605"/>
                  </a:cubicBezTo>
                  <a:close/>
                </a:path>
              </a:pathLst>
            </a:custGeom>
            <a:solidFill>
              <a:schemeClr val="accent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5" name="Freeform 94">
              <a:extLst>
                <a:ext uri="{FF2B5EF4-FFF2-40B4-BE49-F238E27FC236}">
                  <a16:creationId xmlns:a16="http://schemas.microsoft.com/office/drawing/2014/main" id="{E8D54228-1AFE-EB0C-4F7E-084A88D30D9D}"/>
                </a:ext>
              </a:extLst>
            </p:cNvPr>
            <p:cNvSpPr/>
            <p:nvPr/>
          </p:nvSpPr>
          <p:spPr>
            <a:xfrm>
              <a:off x="10220931" y="3725980"/>
              <a:ext cx="44249" cy="53409"/>
            </a:xfrm>
            <a:custGeom>
              <a:avLst/>
              <a:gdLst>
                <a:gd name="connsiteX0" fmla="*/ 25095 w 44249"/>
                <a:gd name="connsiteY0" fmla="*/ 49520 h 53409"/>
                <a:gd name="connsiteX1" fmla="*/ 43539 w 44249"/>
                <a:gd name="connsiteY1" fmla="*/ 19155 h 53409"/>
                <a:gd name="connsiteX2" fmla="*/ 13175 w 44249"/>
                <a:gd name="connsiteY2" fmla="*/ 711 h 53409"/>
                <a:gd name="connsiteX3" fmla="*/ 0 w 44249"/>
                <a:gd name="connsiteY3" fmla="*/ 4224 h 53409"/>
                <a:gd name="connsiteX4" fmla="*/ 10289 w 44249"/>
                <a:gd name="connsiteY4" fmla="*/ 53409 h 53409"/>
                <a:gd name="connsiteX5" fmla="*/ 25095 w 44249"/>
                <a:gd name="connsiteY5" fmla="*/ 49520 h 53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249" h="53409">
                  <a:moveTo>
                    <a:pt x="25095" y="49520"/>
                  </a:moveTo>
                  <a:cubicBezTo>
                    <a:pt x="38520" y="46257"/>
                    <a:pt x="46802" y="32581"/>
                    <a:pt x="43539" y="19155"/>
                  </a:cubicBezTo>
                  <a:cubicBezTo>
                    <a:pt x="40277" y="5730"/>
                    <a:pt x="26600" y="-2552"/>
                    <a:pt x="13175" y="711"/>
                  </a:cubicBezTo>
                  <a:cubicBezTo>
                    <a:pt x="8658" y="1840"/>
                    <a:pt x="4517" y="3095"/>
                    <a:pt x="0" y="4224"/>
                  </a:cubicBezTo>
                  <a:lnTo>
                    <a:pt x="10289" y="53409"/>
                  </a:lnTo>
                  <a:cubicBezTo>
                    <a:pt x="15182" y="52155"/>
                    <a:pt x="19950" y="50775"/>
                    <a:pt x="25095" y="49520"/>
                  </a:cubicBezTo>
                  <a:close/>
                </a:path>
              </a:pathLst>
            </a:custGeom>
            <a:solidFill>
              <a:schemeClr val="accent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6" name="Freeform 95">
              <a:extLst>
                <a:ext uri="{FF2B5EF4-FFF2-40B4-BE49-F238E27FC236}">
                  <a16:creationId xmlns:a16="http://schemas.microsoft.com/office/drawing/2014/main" id="{52DEB48F-23DE-3319-3A99-401E1EFB4314}"/>
                </a:ext>
              </a:extLst>
            </p:cNvPr>
            <p:cNvSpPr/>
            <p:nvPr/>
          </p:nvSpPr>
          <p:spPr>
            <a:xfrm>
              <a:off x="9677797" y="3870146"/>
              <a:ext cx="42997" cy="54666"/>
            </a:xfrm>
            <a:custGeom>
              <a:avLst/>
              <a:gdLst>
                <a:gd name="connsiteX0" fmla="*/ 35093 w 42997"/>
                <a:gd name="connsiteY0" fmla="*/ 2094 h 54666"/>
                <a:gd name="connsiteX1" fmla="*/ 2094 w 42997"/>
                <a:gd name="connsiteY1" fmla="*/ 15017 h 54666"/>
                <a:gd name="connsiteX2" fmla="*/ 15017 w 42997"/>
                <a:gd name="connsiteY2" fmla="*/ 48017 h 54666"/>
                <a:gd name="connsiteX3" fmla="*/ 32709 w 42997"/>
                <a:gd name="connsiteY3" fmla="*/ 54667 h 54666"/>
                <a:gd name="connsiteX4" fmla="*/ 42998 w 42997"/>
                <a:gd name="connsiteY4" fmla="*/ 4979 h 54666"/>
                <a:gd name="connsiteX5" fmla="*/ 35093 w 42997"/>
                <a:gd name="connsiteY5" fmla="*/ 1968 h 54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997" h="54666">
                  <a:moveTo>
                    <a:pt x="35093" y="2094"/>
                  </a:moveTo>
                  <a:cubicBezTo>
                    <a:pt x="22295" y="-3427"/>
                    <a:pt x="7614" y="2345"/>
                    <a:pt x="2094" y="15017"/>
                  </a:cubicBezTo>
                  <a:cubicBezTo>
                    <a:pt x="-3427" y="27690"/>
                    <a:pt x="2344" y="42496"/>
                    <a:pt x="15017" y="48017"/>
                  </a:cubicBezTo>
                  <a:cubicBezTo>
                    <a:pt x="20915" y="50652"/>
                    <a:pt x="26812" y="52785"/>
                    <a:pt x="32709" y="54667"/>
                  </a:cubicBezTo>
                  <a:lnTo>
                    <a:pt x="42998" y="4979"/>
                  </a:lnTo>
                  <a:cubicBezTo>
                    <a:pt x="40363" y="3976"/>
                    <a:pt x="37728" y="3097"/>
                    <a:pt x="35093" y="1968"/>
                  </a:cubicBezTo>
                  <a:close/>
                </a:path>
              </a:pathLst>
            </a:custGeom>
            <a:solidFill>
              <a:schemeClr val="accent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7" name="Freeform 96">
              <a:extLst>
                <a:ext uri="{FF2B5EF4-FFF2-40B4-BE49-F238E27FC236}">
                  <a16:creationId xmlns:a16="http://schemas.microsoft.com/office/drawing/2014/main" id="{F8BBBA3F-F0D3-CA1D-B40E-2F385E2AAC6B}"/>
                </a:ext>
              </a:extLst>
            </p:cNvPr>
            <p:cNvSpPr/>
            <p:nvPr/>
          </p:nvSpPr>
          <p:spPr>
            <a:xfrm>
              <a:off x="9541243" y="3755675"/>
              <a:ext cx="55499" cy="54831"/>
            </a:xfrm>
            <a:custGeom>
              <a:avLst/>
              <a:gdLst>
                <a:gd name="connsiteX0" fmla="*/ 30490 w 55499"/>
                <a:gd name="connsiteY0" fmla="*/ 54832 h 54831"/>
                <a:gd name="connsiteX1" fmla="*/ 45672 w 55499"/>
                <a:gd name="connsiteY1" fmla="*/ 49687 h 54831"/>
                <a:gd name="connsiteX2" fmla="*/ 50315 w 55499"/>
                <a:gd name="connsiteY2" fmla="*/ 14555 h 54831"/>
                <a:gd name="connsiteX3" fmla="*/ 39399 w 55499"/>
                <a:gd name="connsiteY3" fmla="*/ 0 h 54831"/>
                <a:gd name="connsiteX4" fmla="*/ 0 w 55499"/>
                <a:gd name="connsiteY4" fmla="*/ 31243 h 54831"/>
                <a:gd name="connsiteX5" fmla="*/ 10289 w 55499"/>
                <a:gd name="connsiteY5" fmla="*/ 45045 h 54831"/>
                <a:gd name="connsiteX6" fmla="*/ 30239 w 55499"/>
                <a:gd name="connsiteY6" fmla="*/ 54832 h 54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499" h="54831">
                  <a:moveTo>
                    <a:pt x="30490" y="54832"/>
                  </a:moveTo>
                  <a:cubicBezTo>
                    <a:pt x="35760" y="54832"/>
                    <a:pt x="41155" y="53201"/>
                    <a:pt x="45672" y="49687"/>
                  </a:cubicBezTo>
                  <a:cubicBezTo>
                    <a:pt x="56714" y="41281"/>
                    <a:pt x="58722" y="25471"/>
                    <a:pt x="50315" y="14555"/>
                  </a:cubicBezTo>
                  <a:cubicBezTo>
                    <a:pt x="46676" y="9787"/>
                    <a:pt x="43038" y="4893"/>
                    <a:pt x="39399" y="0"/>
                  </a:cubicBezTo>
                  <a:lnTo>
                    <a:pt x="0" y="31243"/>
                  </a:lnTo>
                  <a:cubicBezTo>
                    <a:pt x="3513" y="35885"/>
                    <a:pt x="6901" y="40528"/>
                    <a:pt x="10289" y="45045"/>
                  </a:cubicBezTo>
                  <a:cubicBezTo>
                    <a:pt x="15183" y="51444"/>
                    <a:pt x="22711" y="54832"/>
                    <a:pt x="30239" y="54832"/>
                  </a:cubicBezTo>
                  <a:close/>
                </a:path>
              </a:pathLst>
            </a:custGeom>
            <a:solidFill>
              <a:schemeClr val="accent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8" name="Freeform 97">
              <a:extLst>
                <a:ext uri="{FF2B5EF4-FFF2-40B4-BE49-F238E27FC236}">
                  <a16:creationId xmlns:a16="http://schemas.microsoft.com/office/drawing/2014/main" id="{91654DCB-63F4-7D55-DED4-4FE948F1D585}"/>
                </a:ext>
              </a:extLst>
            </p:cNvPr>
            <p:cNvSpPr/>
            <p:nvPr/>
          </p:nvSpPr>
          <p:spPr>
            <a:xfrm>
              <a:off x="9088096" y="3674744"/>
              <a:ext cx="58407" cy="58031"/>
            </a:xfrm>
            <a:custGeom>
              <a:avLst/>
              <a:gdLst>
                <a:gd name="connsiteX0" fmla="*/ 7340 w 58407"/>
                <a:gd name="connsiteY0" fmla="*/ 15182 h 58031"/>
                <a:gd name="connsiteX1" fmla="*/ 7340 w 58407"/>
                <a:gd name="connsiteY1" fmla="*/ 50691 h 58031"/>
                <a:gd name="connsiteX2" fmla="*/ 42849 w 58407"/>
                <a:gd name="connsiteY2" fmla="*/ 50691 h 58031"/>
                <a:gd name="connsiteX3" fmla="*/ 58408 w 58407"/>
                <a:gd name="connsiteY3" fmla="*/ 35509 h 58031"/>
                <a:gd name="connsiteX4" fmla="*/ 22899 w 58407"/>
                <a:gd name="connsiteY4" fmla="*/ 0 h 58031"/>
                <a:gd name="connsiteX5" fmla="*/ 7340 w 58407"/>
                <a:gd name="connsiteY5" fmla="*/ 15308 h 58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407" h="58031">
                  <a:moveTo>
                    <a:pt x="7340" y="15182"/>
                  </a:moveTo>
                  <a:cubicBezTo>
                    <a:pt x="-2447" y="24969"/>
                    <a:pt x="-2447" y="40904"/>
                    <a:pt x="7340" y="50691"/>
                  </a:cubicBezTo>
                  <a:cubicBezTo>
                    <a:pt x="17127" y="60478"/>
                    <a:pt x="33062" y="60478"/>
                    <a:pt x="42849" y="50691"/>
                  </a:cubicBezTo>
                  <a:cubicBezTo>
                    <a:pt x="48119" y="45421"/>
                    <a:pt x="53263" y="40402"/>
                    <a:pt x="58408" y="35509"/>
                  </a:cubicBezTo>
                  <a:lnTo>
                    <a:pt x="22899" y="0"/>
                  </a:lnTo>
                  <a:cubicBezTo>
                    <a:pt x="17755" y="5019"/>
                    <a:pt x="12485" y="10038"/>
                    <a:pt x="7340" y="15308"/>
                  </a:cubicBezTo>
                  <a:close/>
                </a:path>
              </a:pathLst>
            </a:custGeom>
            <a:solidFill>
              <a:schemeClr val="accent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9" name="Freeform 98">
              <a:extLst>
                <a:ext uri="{FF2B5EF4-FFF2-40B4-BE49-F238E27FC236}">
                  <a16:creationId xmlns:a16="http://schemas.microsoft.com/office/drawing/2014/main" id="{042D2D5E-5CAB-794D-E000-92C5A187F00A}"/>
                </a:ext>
              </a:extLst>
            </p:cNvPr>
            <p:cNvSpPr/>
            <p:nvPr/>
          </p:nvSpPr>
          <p:spPr>
            <a:xfrm>
              <a:off x="10979166" y="3507865"/>
              <a:ext cx="52624" cy="51569"/>
            </a:xfrm>
            <a:custGeom>
              <a:avLst/>
              <a:gdLst>
                <a:gd name="connsiteX0" fmla="*/ 27479 w 52624"/>
                <a:gd name="connsiteY0" fmla="*/ 51570 h 51569"/>
                <a:gd name="connsiteX1" fmla="*/ 31368 w 52624"/>
                <a:gd name="connsiteY1" fmla="*/ 51319 h 51569"/>
                <a:gd name="connsiteX2" fmla="*/ 52323 w 52624"/>
                <a:gd name="connsiteY2" fmla="*/ 22585 h 51569"/>
                <a:gd name="connsiteX3" fmla="*/ 47931 w 52624"/>
                <a:gd name="connsiteY3" fmla="*/ 0 h 51569"/>
                <a:gd name="connsiteX4" fmla="*/ 0 w 52624"/>
                <a:gd name="connsiteY4" fmla="*/ 16186 h 51569"/>
                <a:gd name="connsiteX5" fmla="*/ 2760 w 52624"/>
                <a:gd name="connsiteY5" fmla="*/ 30365 h 51569"/>
                <a:gd name="connsiteX6" fmla="*/ 27479 w 52624"/>
                <a:gd name="connsiteY6" fmla="*/ 51570 h 51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624" h="51569">
                  <a:moveTo>
                    <a:pt x="27479" y="51570"/>
                  </a:moveTo>
                  <a:cubicBezTo>
                    <a:pt x="28733" y="51570"/>
                    <a:pt x="30114" y="51570"/>
                    <a:pt x="31368" y="51319"/>
                  </a:cubicBezTo>
                  <a:cubicBezTo>
                    <a:pt x="45045" y="49186"/>
                    <a:pt x="54455" y="36387"/>
                    <a:pt x="52323" y="22585"/>
                  </a:cubicBezTo>
                  <a:cubicBezTo>
                    <a:pt x="51068" y="14931"/>
                    <a:pt x="49562" y="7528"/>
                    <a:pt x="47931" y="0"/>
                  </a:cubicBezTo>
                  <a:lnTo>
                    <a:pt x="0" y="16186"/>
                  </a:lnTo>
                  <a:cubicBezTo>
                    <a:pt x="878" y="20954"/>
                    <a:pt x="2008" y="25597"/>
                    <a:pt x="2760" y="30365"/>
                  </a:cubicBezTo>
                  <a:cubicBezTo>
                    <a:pt x="4768" y="42786"/>
                    <a:pt x="15433" y="51570"/>
                    <a:pt x="27479" y="51570"/>
                  </a:cubicBezTo>
                  <a:close/>
                </a:path>
              </a:pathLst>
            </a:custGeom>
            <a:solidFill>
              <a:schemeClr val="accent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9EEBBD92-0D77-F64B-903B-87E294810EDA}"/>
                </a:ext>
              </a:extLst>
            </p:cNvPr>
            <p:cNvSpPr/>
            <p:nvPr/>
          </p:nvSpPr>
          <p:spPr>
            <a:xfrm>
              <a:off x="10447367" y="3356544"/>
              <a:ext cx="49229" cy="55377"/>
            </a:xfrm>
            <a:custGeom>
              <a:avLst/>
              <a:gdLst>
                <a:gd name="connsiteX0" fmla="*/ 12717 w 49229"/>
                <a:gd name="connsiteY0" fmla="*/ 8407 h 55377"/>
                <a:gd name="connsiteX1" fmla="*/ 3306 w 49229"/>
                <a:gd name="connsiteY1" fmla="*/ 42661 h 55377"/>
                <a:gd name="connsiteX2" fmla="*/ 37560 w 49229"/>
                <a:gd name="connsiteY2" fmla="*/ 52072 h 55377"/>
                <a:gd name="connsiteX3" fmla="*/ 49229 w 49229"/>
                <a:gd name="connsiteY3" fmla="*/ 45547 h 55377"/>
                <a:gd name="connsiteX4" fmla="*/ 27774 w 49229"/>
                <a:gd name="connsiteY4" fmla="*/ 0 h 55377"/>
                <a:gd name="connsiteX5" fmla="*/ 12717 w 49229"/>
                <a:gd name="connsiteY5" fmla="*/ 8407 h 55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229" h="55377">
                  <a:moveTo>
                    <a:pt x="12717" y="8407"/>
                  </a:moveTo>
                  <a:cubicBezTo>
                    <a:pt x="671" y="15182"/>
                    <a:pt x="-3595" y="30615"/>
                    <a:pt x="3306" y="42661"/>
                  </a:cubicBezTo>
                  <a:cubicBezTo>
                    <a:pt x="10082" y="54706"/>
                    <a:pt x="25515" y="58972"/>
                    <a:pt x="37560" y="52072"/>
                  </a:cubicBezTo>
                  <a:cubicBezTo>
                    <a:pt x="41450" y="49813"/>
                    <a:pt x="45340" y="47680"/>
                    <a:pt x="49229" y="45547"/>
                  </a:cubicBezTo>
                  <a:lnTo>
                    <a:pt x="27774" y="0"/>
                  </a:lnTo>
                  <a:cubicBezTo>
                    <a:pt x="22754" y="2760"/>
                    <a:pt x="17735" y="5646"/>
                    <a:pt x="12717" y="8407"/>
                  </a:cubicBezTo>
                  <a:close/>
                </a:path>
              </a:pathLst>
            </a:custGeom>
            <a:solidFill>
              <a:schemeClr val="accent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1" name="Freeform 100">
              <a:extLst>
                <a:ext uri="{FF2B5EF4-FFF2-40B4-BE49-F238E27FC236}">
                  <a16:creationId xmlns:a16="http://schemas.microsoft.com/office/drawing/2014/main" id="{1AB9DE2B-BED4-8403-6A52-5DB030CB5B05}"/>
                </a:ext>
              </a:extLst>
            </p:cNvPr>
            <p:cNvSpPr/>
            <p:nvPr/>
          </p:nvSpPr>
          <p:spPr>
            <a:xfrm>
              <a:off x="9596577" y="3544378"/>
              <a:ext cx="54523" cy="52322"/>
            </a:xfrm>
            <a:custGeom>
              <a:avLst/>
              <a:gdLst>
                <a:gd name="connsiteX0" fmla="*/ 29486 w 54523"/>
                <a:gd name="connsiteY0" fmla="*/ 52322 h 52322"/>
                <a:gd name="connsiteX1" fmla="*/ 45421 w 54523"/>
                <a:gd name="connsiteY1" fmla="*/ 46551 h 52322"/>
                <a:gd name="connsiteX2" fmla="*/ 48809 w 54523"/>
                <a:gd name="connsiteY2" fmla="*/ 11167 h 52322"/>
                <a:gd name="connsiteX3" fmla="*/ 39399 w 54523"/>
                <a:gd name="connsiteY3" fmla="*/ 0 h 52322"/>
                <a:gd name="connsiteX4" fmla="*/ 0 w 54523"/>
                <a:gd name="connsiteY4" fmla="*/ 31243 h 52322"/>
                <a:gd name="connsiteX5" fmla="*/ 10038 w 54523"/>
                <a:gd name="connsiteY5" fmla="*/ 43163 h 52322"/>
                <a:gd name="connsiteX6" fmla="*/ 29361 w 54523"/>
                <a:gd name="connsiteY6" fmla="*/ 52322 h 52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4523" h="52322">
                  <a:moveTo>
                    <a:pt x="29486" y="52322"/>
                  </a:moveTo>
                  <a:cubicBezTo>
                    <a:pt x="35133" y="52322"/>
                    <a:pt x="40779" y="50440"/>
                    <a:pt x="45421" y="46551"/>
                  </a:cubicBezTo>
                  <a:cubicBezTo>
                    <a:pt x="56087" y="37768"/>
                    <a:pt x="57592" y="21958"/>
                    <a:pt x="48809" y="11167"/>
                  </a:cubicBezTo>
                  <a:cubicBezTo>
                    <a:pt x="45798" y="7528"/>
                    <a:pt x="42536" y="3764"/>
                    <a:pt x="39399" y="0"/>
                  </a:cubicBezTo>
                  <a:lnTo>
                    <a:pt x="0" y="31243"/>
                  </a:lnTo>
                  <a:cubicBezTo>
                    <a:pt x="3513" y="35258"/>
                    <a:pt x="6901" y="39273"/>
                    <a:pt x="10038" y="43163"/>
                  </a:cubicBezTo>
                  <a:cubicBezTo>
                    <a:pt x="15057" y="49185"/>
                    <a:pt x="22209" y="52322"/>
                    <a:pt x="29361" y="52322"/>
                  </a:cubicBezTo>
                  <a:close/>
                </a:path>
              </a:pathLst>
            </a:custGeom>
            <a:solidFill>
              <a:schemeClr val="accent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FC77DE09-C0F7-8B01-B8FE-A75AACAFF61D}"/>
                </a:ext>
              </a:extLst>
            </p:cNvPr>
            <p:cNvSpPr/>
            <p:nvPr/>
          </p:nvSpPr>
          <p:spPr>
            <a:xfrm>
              <a:off x="8949596" y="3397950"/>
              <a:ext cx="53240" cy="51484"/>
            </a:xfrm>
            <a:custGeom>
              <a:avLst/>
              <a:gdLst>
                <a:gd name="connsiteX0" fmla="*/ 1797 w 53240"/>
                <a:gd name="connsiteY0" fmla="*/ 17064 h 51484"/>
                <a:gd name="connsiteX1" fmla="*/ 15850 w 53240"/>
                <a:gd name="connsiteY1" fmla="*/ 49687 h 51484"/>
                <a:gd name="connsiteX2" fmla="*/ 48473 w 53240"/>
                <a:gd name="connsiteY2" fmla="*/ 35634 h 51484"/>
                <a:gd name="connsiteX3" fmla="*/ 53241 w 53240"/>
                <a:gd name="connsiteY3" fmla="*/ 25220 h 51484"/>
                <a:gd name="connsiteX4" fmla="*/ 9702 w 53240"/>
                <a:gd name="connsiteY4" fmla="*/ 0 h 51484"/>
                <a:gd name="connsiteX5" fmla="*/ 1797 w 53240"/>
                <a:gd name="connsiteY5" fmla="*/ 16939 h 51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3240" h="51484">
                  <a:moveTo>
                    <a:pt x="1797" y="17064"/>
                  </a:moveTo>
                  <a:cubicBezTo>
                    <a:pt x="-3347" y="29988"/>
                    <a:pt x="2926" y="44543"/>
                    <a:pt x="15850" y="49687"/>
                  </a:cubicBezTo>
                  <a:cubicBezTo>
                    <a:pt x="28774" y="54832"/>
                    <a:pt x="43329" y="48558"/>
                    <a:pt x="48473" y="35634"/>
                  </a:cubicBezTo>
                  <a:cubicBezTo>
                    <a:pt x="49853" y="32121"/>
                    <a:pt x="51610" y="28733"/>
                    <a:pt x="53241" y="25220"/>
                  </a:cubicBezTo>
                  <a:lnTo>
                    <a:pt x="9702" y="0"/>
                  </a:lnTo>
                  <a:cubicBezTo>
                    <a:pt x="6942" y="5521"/>
                    <a:pt x="4181" y="11167"/>
                    <a:pt x="1797" y="16939"/>
                  </a:cubicBezTo>
                  <a:close/>
                </a:path>
              </a:pathLst>
            </a:custGeom>
            <a:solidFill>
              <a:schemeClr val="accent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F6353589-09B9-2CD3-073C-4F28A29081EE}"/>
                </a:ext>
              </a:extLst>
            </p:cNvPr>
            <p:cNvSpPr txBox="1"/>
            <p:nvPr/>
          </p:nvSpPr>
          <p:spPr>
            <a:xfrm>
              <a:off x="9188282" y="4873657"/>
              <a:ext cx="736027" cy="10432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1000" b="1"/>
                <a:t>Branching</a:t>
              </a: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74CCFCC0-B67C-B4B0-2097-310145826C0C}"/>
                </a:ext>
              </a:extLst>
            </p:cNvPr>
            <p:cNvSpPr txBox="1"/>
            <p:nvPr/>
          </p:nvSpPr>
          <p:spPr>
            <a:xfrm>
              <a:off x="10324255" y="4364610"/>
              <a:ext cx="736027" cy="10432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1000" b="1"/>
                <a:t>End-to-end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7A5EE090-73FD-E11E-8FD4-882E104CBEE8}"/>
                </a:ext>
              </a:extLst>
            </p:cNvPr>
            <p:cNvSpPr txBox="1"/>
            <p:nvPr/>
          </p:nvSpPr>
          <p:spPr>
            <a:xfrm>
              <a:off x="9149895" y="3912755"/>
              <a:ext cx="736027" cy="10432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1000" b="1" err="1"/>
                <a:t>Sidelinks</a:t>
              </a:r>
              <a:endParaRPr lang="en-GB" sz="1000" b="1"/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87223C24-DA1C-1220-DE7D-3DBC6DE4BCE6}"/>
                </a:ext>
              </a:extLst>
            </p:cNvPr>
            <p:cNvSpPr txBox="1"/>
            <p:nvPr/>
          </p:nvSpPr>
          <p:spPr>
            <a:xfrm>
              <a:off x="9336263" y="1605227"/>
              <a:ext cx="1474451" cy="19247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400" b="1"/>
                <a:t>Pathologic mucus</a:t>
              </a: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B5B44C7B-9B8B-B5A3-FB0D-3FE8A0432469}"/>
                </a:ext>
              </a:extLst>
            </p:cNvPr>
            <p:cNvSpPr txBox="1"/>
            <p:nvPr/>
          </p:nvSpPr>
          <p:spPr>
            <a:xfrm rot="19749513">
              <a:off x="10265379" y="3380532"/>
              <a:ext cx="307089" cy="1633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600" b="1"/>
                <a:t>-S-S-</a:t>
              </a: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ADDBD227-490E-A883-4397-7A821861EBD5}"/>
                </a:ext>
              </a:extLst>
            </p:cNvPr>
            <p:cNvSpPr txBox="1"/>
            <p:nvPr/>
          </p:nvSpPr>
          <p:spPr>
            <a:xfrm rot="896654">
              <a:off x="9529734" y="3552412"/>
              <a:ext cx="307089" cy="1633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600" b="1"/>
                <a:t>-S-S-</a:t>
              </a: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119F598A-9FD1-55AA-A3E8-75F2DC123F38}"/>
                </a:ext>
              </a:extLst>
            </p:cNvPr>
            <p:cNvSpPr txBox="1"/>
            <p:nvPr/>
          </p:nvSpPr>
          <p:spPr>
            <a:xfrm rot="2245801">
              <a:off x="9454107" y="3799919"/>
              <a:ext cx="307089" cy="1633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600" b="1"/>
                <a:t>-S-S-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F33A3399-EDEA-1231-5E69-BD3B437BCA27}"/>
                </a:ext>
              </a:extLst>
            </p:cNvPr>
            <p:cNvSpPr txBox="1"/>
            <p:nvPr/>
          </p:nvSpPr>
          <p:spPr>
            <a:xfrm rot="17374512">
              <a:off x="8951652" y="3726187"/>
              <a:ext cx="307089" cy="1633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600" b="1">
                  <a:effectLst>
                    <a:glow rad="63500">
                      <a:srgbClr val="FFFB85"/>
                    </a:glow>
                  </a:effectLst>
                </a:rPr>
                <a:t>-S-S-</a:t>
              </a: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C732FBAB-1F67-C658-10A0-6F60C1B450B3}"/>
                </a:ext>
              </a:extLst>
            </p:cNvPr>
            <p:cNvSpPr txBox="1"/>
            <p:nvPr/>
          </p:nvSpPr>
          <p:spPr>
            <a:xfrm rot="21265535">
              <a:off x="9247286" y="4317452"/>
              <a:ext cx="307089" cy="1633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600" b="1"/>
                <a:t>-S-S-</a:t>
              </a: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C00FF0E4-4BB7-6683-DA68-8B90CBB9F7C4}"/>
                </a:ext>
              </a:extLst>
            </p:cNvPr>
            <p:cNvSpPr txBox="1"/>
            <p:nvPr/>
          </p:nvSpPr>
          <p:spPr>
            <a:xfrm rot="19117694">
              <a:off x="9634502" y="4411189"/>
              <a:ext cx="307089" cy="128399"/>
            </a:xfrm>
            <a:prstGeom prst="rect">
              <a:avLst/>
            </a:prstGeom>
            <a:noFill/>
            <a:effectLst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600" b="1">
                  <a:effectLst>
                    <a:glow rad="63500">
                      <a:srgbClr val="FFFB85"/>
                    </a:glow>
                  </a:effectLst>
                </a:rPr>
                <a:t>-S-S-</a:t>
              </a: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7DAB3BF1-1720-4280-DEF3-81B434706F24}"/>
                </a:ext>
              </a:extLst>
            </p:cNvPr>
            <p:cNvSpPr txBox="1"/>
            <p:nvPr/>
          </p:nvSpPr>
          <p:spPr>
            <a:xfrm rot="15354707">
              <a:off x="9755837" y="3926639"/>
              <a:ext cx="307089" cy="128399"/>
            </a:xfrm>
            <a:prstGeom prst="rect">
              <a:avLst/>
            </a:prstGeom>
            <a:noFill/>
            <a:effectLst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600" b="1">
                  <a:effectLst>
                    <a:glow rad="63500">
                      <a:srgbClr val="FFFB85"/>
                    </a:glow>
                  </a:effectLst>
                </a:rPr>
                <a:t>-S-S-</a:t>
              </a:r>
            </a:p>
          </p:txBody>
        </p: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818A1C4F-1D87-5479-4B66-7E5054B22158}"/>
                </a:ext>
              </a:extLst>
            </p:cNvPr>
            <p:cNvSpPr txBox="1"/>
            <p:nvPr/>
          </p:nvSpPr>
          <p:spPr>
            <a:xfrm rot="17817771">
              <a:off x="11127438" y="4273150"/>
              <a:ext cx="307089" cy="128399"/>
            </a:xfrm>
            <a:prstGeom prst="rect">
              <a:avLst/>
            </a:prstGeom>
            <a:noFill/>
            <a:effectLst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600" b="1">
                  <a:effectLst>
                    <a:glow rad="63500">
                      <a:srgbClr val="FFFB85"/>
                    </a:glow>
                  </a:effectLst>
                </a:rPr>
                <a:t>-S-S-</a:t>
              </a: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99EC7B1F-4018-C9AE-4A54-72C3194DFF6F}"/>
                </a:ext>
              </a:extLst>
            </p:cNvPr>
            <p:cNvSpPr txBox="1"/>
            <p:nvPr/>
          </p:nvSpPr>
          <p:spPr>
            <a:xfrm rot="16200000">
              <a:off x="10463294" y="3868889"/>
              <a:ext cx="307089" cy="128399"/>
            </a:xfrm>
            <a:prstGeom prst="rect">
              <a:avLst/>
            </a:prstGeom>
            <a:noFill/>
            <a:effectLst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600" b="1">
                  <a:effectLst>
                    <a:glow rad="63500">
                      <a:srgbClr val="FFFB85"/>
                    </a:glow>
                  </a:effectLst>
                </a:rPr>
                <a:t>-S-S-</a:t>
              </a: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44446508-EA67-A4B2-B4AE-34224E199F3F}"/>
                </a:ext>
              </a:extLst>
            </p:cNvPr>
            <p:cNvSpPr txBox="1"/>
            <p:nvPr/>
          </p:nvSpPr>
          <p:spPr>
            <a:xfrm rot="16200000">
              <a:off x="10881993" y="3565693"/>
              <a:ext cx="307089" cy="128399"/>
            </a:xfrm>
            <a:prstGeom prst="rect">
              <a:avLst/>
            </a:prstGeom>
            <a:noFill/>
            <a:effectLst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600" b="1">
                  <a:effectLst>
                    <a:glow rad="63500">
                      <a:srgbClr val="FFFB85"/>
                    </a:glow>
                  </a:effectLst>
                </a:rPr>
                <a:t>-S-S-</a:t>
              </a: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7101F7E8-BE73-F4B2-4113-E349D40E60D3}"/>
                </a:ext>
              </a:extLst>
            </p:cNvPr>
            <p:cNvSpPr txBox="1"/>
            <p:nvPr/>
          </p:nvSpPr>
          <p:spPr>
            <a:xfrm rot="16627100">
              <a:off x="10294852" y="4085458"/>
              <a:ext cx="307089" cy="128399"/>
            </a:xfrm>
            <a:prstGeom prst="rect">
              <a:avLst/>
            </a:prstGeom>
            <a:noFill/>
            <a:effectLst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600" b="1">
                  <a:effectLst>
                    <a:glow rad="63500">
                      <a:srgbClr val="FFFB85"/>
                    </a:glow>
                  </a:effectLst>
                </a:rPr>
                <a:t>-S-S-</a:t>
              </a: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098C8EB1-7234-3D94-C45B-199C6905D810}"/>
                </a:ext>
              </a:extLst>
            </p:cNvPr>
            <p:cNvSpPr txBox="1"/>
            <p:nvPr/>
          </p:nvSpPr>
          <p:spPr>
            <a:xfrm rot="832617">
              <a:off x="10026931" y="3980718"/>
              <a:ext cx="307089" cy="1633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600" b="1"/>
                <a:t>-S-S-</a:t>
              </a: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861DA7A3-1567-2E9C-2787-FED74971F853}"/>
                </a:ext>
              </a:extLst>
            </p:cNvPr>
            <p:cNvSpPr txBox="1"/>
            <p:nvPr/>
          </p:nvSpPr>
          <p:spPr>
            <a:xfrm rot="489707">
              <a:off x="10556321" y="4230824"/>
              <a:ext cx="307089" cy="1633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600" b="1"/>
                <a:t>-S-S-</a:t>
              </a: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5DB70DF9-7C55-F348-C2CB-DD1389DD5ED8}"/>
                </a:ext>
              </a:extLst>
            </p:cNvPr>
            <p:cNvSpPr txBox="1"/>
            <p:nvPr/>
          </p:nvSpPr>
          <p:spPr>
            <a:xfrm rot="15354707">
              <a:off x="9847278" y="4104439"/>
              <a:ext cx="307089" cy="128399"/>
            </a:xfrm>
            <a:prstGeom prst="rect">
              <a:avLst/>
            </a:prstGeom>
            <a:noFill/>
            <a:effectLst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600" b="1">
                  <a:effectLst>
                    <a:glow rad="63500">
                      <a:srgbClr val="FFFB85">
                        <a:alpha val="40000"/>
                      </a:srgbClr>
                    </a:glow>
                  </a:effectLst>
                </a:rPr>
                <a:t>-S-S-</a:t>
              </a:r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D85A7A32-AC2C-1B66-1B16-552672DF6BE8}"/>
                </a:ext>
              </a:extLst>
            </p:cNvPr>
            <p:cNvSpPr txBox="1"/>
            <p:nvPr/>
          </p:nvSpPr>
          <p:spPr>
            <a:xfrm rot="18080767">
              <a:off x="9288479" y="3444040"/>
              <a:ext cx="307089" cy="128399"/>
            </a:xfrm>
            <a:prstGeom prst="rect">
              <a:avLst/>
            </a:prstGeom>
            <a:noFill/>
            <a:effectLst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600" b="1">
                  <a:effectLst>
                    <a:glow rad="63500">
                      <a:srgbClr val="FFFB85"/>
                    </a:glow>
                  </a:effectLst>
                </a:rPr>
                <a:t>-S-S-</a:t>
              </a: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2013D548-6836-04D7-5BCC-2F6B9EA4FF40}"/>
                </a:ext>
              </a:extLst>
            </p:cNvPr>
            <p:cNvSpPr txBox="1"/>
            <p:nvPr/>
          </p:nvSpPr>
          <p:spPr>
            <a:xfrm rot="15354707">
              <a:off x="9966853" y="3612821"/>
              <a:ext cx="307089" cy="128399"/>
            </a:xfrm>
            <a:prstGeom prst="rect">
              <a:avLst/>
            </a:prstGeom>
            <a:noFill/>
            <a:effectLst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600" b="1">
                  <a:effectLst>
                    <a:glow rad="63500">
                      <a:srgbClr val="FFFB85"/>
                    </a:glow>
                  </a:effectLst>
                </a:rPr>
                <a:t>-S-S-</a:t>
              </a: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568F4B99-E238-6966-DEBD-8CCBCE9B0879}"/>
                </a:ext>
              </a:extLst>
            </p:cNvPr>
            <p:cNvSpPr txBox="1"/>
            <p:nvPr/>
          </p:nvSpPr>
          <p:spPr>
            <a:xfrm rot="20007861">
              <a:off x="10827209" y="3926786"/>
              <a:ext cx="307089" cy="927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600" b="1"/>
                <a:t>-S-S-</a:t>
              </a:r>
            </a:p>
          </p:txBody>
        </p: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EFB810C0-470E-5C96-9ADE-61D3069032CA}"/>
                </a:ext>
              </a:extLst>
            </p:cNvPr>
            <p:cNvSpPr txBox="1"/>
            <p:nvPr/>
          </p:nvSpPr>
          <p:spPr>
            <a:xfrm rot="1656292">
              <a:off x="10817793" y="4004267"/>
              <a:ext cx="307089" cy="927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600" b="1"/>
                <a:t>-S-S-</a:t>
              </a:r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062EE6FA-7FDF-BA27-24AE-F42FD40F3263}"/>
                </a:ext>
              </a:extLst>
            </p:cNvPr>
            <p:cNvSpPr txBox="1"/>
            <p:nvPr/>
          </p:nvSpPr>
          <p:spPr>
            <a:xfrm rot="219032">
              <a:off x="10173992" y="3706816"/>
              <a:ext cx="307089" cy="1633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600" b="1"/>
                <a:t>-S-S-</a:t>
              </a:r>
            </a:p>
          </p:txBody>
        </p: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EE753AB7-2387-7A2B-F9D8-30AFB2E13971}"/>
                </a:ext>
              </a:extLst>
            </p:cNvPr>
            <p:cNvSpPr txBox="1"/>
            <p:nvPr/>
          </p:nvSpPr>
          <p:spPr>
            <a:xfrm rot="16654758">
              <a:off x="9701760" y="4439326"/>
              <a:ext cx="307089" cy="128399"/>
            </a:xfrm>
            <a:prstGeom prst="rect">
              <a:avLst/>
            </a:prstGeom>
            <a:noFill/>
            <a:effectLst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600" b="1">
                  <a:effectLst>
                    <a:glow rad="63500">
                      <a:srgbClr val="FFFB85"/>
                    </a:glow>
                  </a:effectLst>
                </a:rPr>
                <a:t>-S-S-</a:t>
              </a:r>
            </a:p>
          </p:txBody>
        </p:sp>
      </p:grpSp>
      <p:grpSp>
        <p:nvGrpSpPr>
          <p:cNvPr id="156" name="Group 155">
            <a:extLst>
              <a:ext uri="{FF2B5EF4-FFF2-40B4-BE49-F238E27FC236}">
                <a16:creationId xmlns:a16="http://schemas.microsoft.com/office/drawing/2014/main" id="{B7318B60-350A-BD9D-11A0-5509F17E89B1}"/>
              </a:ext>
            </a:extLst>
          </p:cNvPr>
          <p:cNvGrpSpPr/>
          <p:nvPr/>
        </p:nvGrpSpPr>
        <p:grpSpPr>
          <a:xfrm>
            <a:off x="5620160" y="1605227"/>
            <a:ext cx="2442902" cy="3100405"/>
            <a:chOff x="5591584" y="1605227"/>
            <a:chExt cx="2442902" cy="3100405"/>
          </a:xfrm>
        </p:grpSpPr>
        <p:cxnSp>
          <p:nvCxnSpPr>
            <p:cNvPr id="157" name="Straight Arrow Connector 156">
              <a:extLst>
                <a:ext uri="{FF2B5EF4-FFF2-40B4-BE49-F238E27FC236}">
                  <a16:creationId xmlns:a16="http://schemas.microsoft.com/office/drawing/2014/main" id="{FCA8CECF-23E7-7493-2A83-DB84B09B72FA}"/>
                </a:ext>
              </a:extLst>
            </p:cNvPr>
            <p:cNvCxnSpPr/>
            <p:nvPr/>
          </p:nvCxnSpPr>
          <p:spPr>
            <a:xfrm>
              <a:off x="6742038" y="3105000"/>
              <a:ext cx="0" cy="324000"/>
            </a:xfrm>
            <a:prstGeom prst="straightConnector1">
              <a:avLst/>
            </a:prstGeom>
            <a:ln w="25400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8" name="Freeform 157">
              <a:extLst>
                <a:ext uri="{FF2B5EF4-FFF2-40B4-BE49-F238E27FC236}">
                  <a16:creationId xmlns:a16="http://schemas.microsoft.com/office/drawing/2014/main" id="{32C3CA3C-1B92-C901-2844-D83907AE1694}"/>
                </a:ext>
              </a:extLst>
            </p:cNvPr>
            <p:cNvSpPr/>
            <p:nvPr/>
          </p:nvSpPr>
          <p:spPr>
            <a:xfrm>
              <a:off x="5743994" y="3515383"/>
              <a:ext cx="632468" cy="349579"/>
            </a:xfrm>
            <a:custGeom>
              <a:avLst/>
              <a:gdLst>
                <a:gd name="connsiteX0" fmla="*/ 620768 w 632468"/>
                <a:gd name="connsiteY0" fmla="*/ 303530 h 349579"/>
                <a:gd name="connsiteX1" fmla="*/ 599187 w 632468"/>
                <a:gd name="connsiteY1" fmla="*/ 298637 h 349579"/>
                <a:gd name="connsiteX2" fmla="*/ 595297 w 632468"/>
                <a:gd name="connsiteY2" fmla="*/ 298386 h 349579"/>
                <a:gd name="connsiteX3" fmla="*/ 525659 w 632468"/>
                <a:gd name="connsiteY3" fmla="*/ 287219 h 349579"/>
                <a:gd name="connsiteX4" fmla="*/ 469949 w 632468"/>
                <a:gd name="connsiteY4" fmla="*/ 263881 h 349579"/>
                <a:gd name="connsiteX5" fmla="*/ 453136 w 632468"/>
                <a:gd name="connsiteY5" fmla="*/ 253592 h 349579"/>
                <a:gd name="connsiteX6" fmla="*/ 421517 w 632468"/>
                <a:gd name="connsiteY6" fmla="*/ 229250 h 349579"/>
                <a:gd name="connsiteX7" fmla="*/ 339332 w 632468"/>
                <a:gd name="connsiteY7" fmla="*/ 146061 h 349579"/>
                <a:gd name="connsiteX8" fmla="*/ 337826 w 632468"/>
                <a:gd name="connsiteY8" fmla="*/ 144430 h 349579"/>
                <a:gd name="connsiteX9" fmla="*/ 325279 w 632468"/>
                <a:gd name="connsiteY9" fmla="*/ 132385 h 349579"/>
                <a:gd name="connsiteX10" fmla="*/ 217748 w 632468"/>
                <a:gd name="connsiteY10" fmla="*/ 35269 h 349579"/>
                <a:gd name="connsiteX11" fmla="*/ 212227 w 632468"/>
                <a:gd name="connsiteY11" fmla="*/ 31128 h 349579"/>
                <a:gd name="connsiteX12" fmla="*/ 201437 w 632468"/>
                <a:gd name="connsiteY12" fmla="*/ 24352 h 349579"/>
                <a:gd name="connsiteX13" fmla="*/ 33804 w 632468"/>
                <a:gd name="connsiteY13" fmla="*/ 1767 h 349579"/>
                <a:gd name="connsiteX14" fmla="*/ 22135 w 632468"/>
                <a:gd name="connsiteY14" fmla="*/ 2896 h 349579"/>
                <a:gd name="connsiteX15" fmla="*/ 178 w 632468"/>
                <a:gd name="connsiteY15" fmla="*/ 30752 h 349579"/>
                <a:gd name="connsiteX16" fmla="*/ 28033 w 632468"/>
                <a:gd name="connsiteY16" fmla="*/ 52709 h 349579"/>
                <a:gd name="connsiteX17" fmla="*/ 33930 w 632468"/>
                <a:gd name="connsiteY17" fmla="*/ 52082 h 349579"/>
                <a:gd name="connsiteX18" fmla="*/ 179102 w 632468"/>
                <a:gd name="connsiteY18" fmla="*/ 69397 h 349579"/>
                <a:gd name="connsiteX19" fmla="*/ 182867 w 632468"/>
                <a:gd name="connsiteY19" fmla="*/ 71781 h 349579"/>
                <a:gd name="connsiteX20" fmla="*/ 195038 w 632468"/>
                <a:gd name="connsiteY20" fmla="*/ 81317 h 349579"/>
                <a:gd name="connsiteX21" fmla="*/ 293283 w 632468"/>
                <a:gd name="connsiteY21" fmla="*/ 171031 h 349579"/>
                <a:gd name="connsiteX22" fmla="*/ 302694 w 632468"/>
                <a:gd name="connsiteY22" fmla="*/ 180065 h 349579"/>
                <a:gd name="connsiteX23" fmla="*/ 307211 w 632468"/>
                <a:gd name="connsiteY23" fmla="*/ 184707 h 349579"/>
                <a:gd name="connsiteX24" fmla="*/ 386510 w 632468"/>
                <a:gd name="connsiteY24" fmla="*/ 265010 h 349579"/>
                <a:gd name="connsiteX25" fmla="*/ 387513 w 632468"/>
                <a:gd name="connsiteY25" fmla="*/ 266014 h 349579"/>
                <a:gd name="connsiteX26" fmla="*/ 421015 w 632468"/>
                <a:gd name="connsiteY26" fmla="*/ 292238 h 349579"/>
                <a:gd name="connsiteX27" fmla="*/ 437577 w 632468"/>
                <a:gd name="connsiteY27" fmla="*/ 302778 h 349579"/>
                <a:gd name="connsiteX28" fmla="*/ 511983 w 632468"/>
                <a:gd name="connsiteY28" fmla="*/ 335275 h 349579"/>
                <a:gd name="connsiteX29" fmla="*/ 592286 w 632468"/>
                <a:gd name="connsiteY29" fmla="*/ 348324 h 349579"/>
                <a:gd name="connsiteX30" fmla="*/ 596301 w 632468"/>
                <a:gd name="connsiteY30" fmla="*/ 348575 h 349579"/>
                <a:gd name="connsiteX31" fmla="*/ 601696 w 632468"/>
                <a:gd name="connsiteY31" fmla="*/ 348952 h 349579"/>
                <a:gd name="connsiteX32" fmla="*/ 607343 w 632468"/>
                <a:gd name="connsiteY32" fmla="*/ 349579 h 349579"/>
                <a:gd name="connsiteX33" fmla="*/ 628422 w 632468"/>
                <a:gd name="connsiteY33" fmla="*/ 338161 h 349579"/>
                <a:gd name="connsiteX34" fmla="*/ 621019 w 632468"/>
                <a:gd name="connsiteY34" fmla="*/ 303405 h 349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632468" h="349579">
                  <a:moveTo>
                    <a:pt x="620768" y="303530"/>
                  </a:moveTo>
                  <a:cubicBezTo>
                    <a:pt x="614620" y="299515"/>
                    <a:pt x="609476" y="299264"/>
                    <a:pt x="599187" y="298637"/>
                  </a:cubicBezTo>
                  <a:cubicBezTo>
                    <a:pt x="598058" y="298637"/>
                    <a:pt x="596677" y="298511"/>
                    <a:pt x="595297" y="298386"/>
                  </a:cubicBezTo>
                  <a:cubicBezTo>
                    <a:pt x="580115" y="297382"/>
                    <a:pt x="553264" y="295124"/>
                    <a:pt x="525659" y="287219"/>
                  </a:cubicBezTo>
                  <a:cubicBezTo>
                    <a:pt x="506337" y="281573"/>
                    <a:pt x="487516" y="273793"/>
                    <a:pt x="469949" y="263881"/>
                  </a:cubicBezTo>
                  <a:cubicBezTo>
                    <a:pt x="464178" y="260619"/>
                    <a:pt x="458657" y="257231"/>
                    <a:pt x="453136" y="253592"/>
                  </a:cubicBezTo>
                  <a:cubicBezTo>
                    <a:pt x="441969" y="246315"/>
                    <a:pt x="431429" y="238159"/>
                    <a:pt x="421517" y="229250"/>
                  </a:cubicBezTo>
                  <a:lnTo>
                    <a:pt x="339332" y="146061"/>
                  </a:lnTo>
                  <a:lnTo>
                    <a:pt x="337826" y="144430"/>
                  </a:lnTo>
                  <a:cubicBezTo>
                    <a:pt x="337073" y="143677"/>
                    <a:pt x="332305" y="139160"/>
                    <a:pt x="325279" y="132385"/>
                  </a:cubicBezTo>
                  <a:cubicBezTo>
                    <a:pt x="300811" y="109047"/>
                    <a:pt x="246732" y="57854"/>
                    <a:pt x="217748" y="35269"/>
                  </a:cubicBezTo>
                  <a:cubicBezTo>
                    <a:pt x="215866" y="33763"/>
                    <a:pt x="213984" y="32257"/>
                    <a:pt x="212227" y="31128"/>
                  </a:cubicBezTo>
                  <a:cubicBezTo>
                    <a:pt x="208840" y="28619"/>
                    <a:pt x="205201" y="26360"/>
                    <a:pt x="201437" y="24352"/>
                  </a:cubicBezTo>
                  <a:cubicBezTo>
                    <a:pt x="149742" y="-4632"/>
                    <a:pt x="65675" y="-868"/>
                    <a:pt x="33804" y="1767"/>
                  </a:cubicBezTo>
                  <a:cubicBezTo>
                    <a:pt x="28158" y="2269"/>
                    <a:pt x="24017" y="2646"/>
                    <a:pt x="22135" y="2896"/>
                  </a:cubicBezTo>
                  <a:cubicBezTo>
                    <a:pt x="8333" y="4528"/>
                    <a:pt x="-1454" y="16950"/>
                    <a:pt x="178" y="30752"/>
                  </a:cubicBezTo>
                  <a:cubicBezTo>
                    <a:pt x="1809" y="44554"/>
                    <a:pt x="14231" y="54341"/>
                    <a:pt x="28033" y="52709"/>
                  </a:cubicBezTo>
                  <a:cubicBezTo>
                    <a:pt x="29789" y="52459"/>
                    <a:pt x="31671" y="52333"/>
                    <a:pt x="33930" y="52082"/>
                  </a:cubicBezTo>
                  <a:cubicBezTo>
                    <a:pt x="66302" y="49071"/>
                    <a:pt x="143343" y="47314"/>
                    <a:pt x="179102" y="69397"/>
                  </a:cubicBezTo>
                  <a:cubicBezTo>
                    <a:pt x="180357" y="70150"/>
                    <a:pt x="181737" y="70903"/>
                    <a:pt x="182867" y="71781"/>
                  </a:cubicBezTo>
                  <a:cubicBezTo>
                    <a:pt x="186254" y="74291"/>
                    <a:pt x="190395" y="77553"/>
                    <a:pt x="195038" y="81317"/>
                  </a:cubicBezTo>
                  <a:cubicBezTo>
                    <a:pt x="224273" y="105408"/>
                    <a:pt x="272831" y="151582"/>
                    <a:pt x="293283" y="171031"/>
                  </a:cubicBezTo>
                  <a:cubicBezTo>
                    <a:pt x="299055" y="176552"/>
                    <a:pt x="302568" y="179939"/>
                    <a:pt x="302694" y="180065"/>
                  </a:cubicBezTo>
                  <a:lnTo>
                    <a:pt x="307211" y="184707"/>
                  </a:lnTo>
                  <a:lnTo>
                    <a:pt x="386510" y="265010"/>
                  </a:lnTo>
                  <a:lnTo>
                    <a:pt x="387513" y="266014"/>
                  </a:lnTo>
                  <a:cubicBezTo>
                    <a:pt x="398053" y="275550"/>
                    <a:pt x="409346" y="284207"/>
                    <a:pt x="421015" y="292238"/>
                  </a:cubicBezTo>
                  <a:cubicBezTo>
                    <a:pt x="426410" y="295877"/>
                    <a:pt x="431931" y="299515"/>
                    <a:pt x="437577" y="302778"/>
                  </a:cubicBezTo>
                  <a:cubicBezTo>
                    <a:pt x="460915" y="316705"/>
                    <a:pt x="485884" y="327747"/>
                    <a:pt x="511983" y="335275"/>
                  </a:cubicBezTo>
                  <a:cubicBezTo>
                    <a:pt x="544731" y="344686"/>
                    <a:pt x="575347" y="347195"/>
                    <a:pt x="592286" y="348324"/>
                  </a:cubicBezTo>
                  <a:cubicBezTo>
                    <a:pt x="593666" y="348324"/>
                    <a:pt x="595046" y="348450"/>
                    <a:pt x="596301" y="348575"/>
                  </a:cubicBezTo>
                  <a:cubicBezTo>
                    <a:pt x="598559" y="348701"/>
                    <a:pt x="600316" y="348826"/>
                    <a:pt x="601696" y="348952"/>
                  </a:cubicBezTo>
                  <a:cubicBezTo>
                    <a:pt x="603578" y="349454"/>
                    <a:pt x="605460" y="349579"/>
                    <a:pt x="607343" y="349579"/>
                  </a:cubicBezTo>
                  <a:cubicBezTo>
                    <a:pt x="615498" y="349579"/>
                    <a:pt x="623654" y="345564"/>
                    <a:pt x="628422" y="338161"/>
                  </a:cubicBezTo>
                  <a:cubicBezTo>
                    <a:pt x="635950" y="326492"/>
                    <a:pt x="632688" y="311059"/>
                    <a:pt x="621019" y="303405"/>
                  </a:cubicBezTo>
                  <a:close/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9" name="Freeform 158">
              <a:extLst>
                <a:ext uri="{FF2B5EF4-FFF2-40B4-BE49-F238E27FC236}">
                  <a16:creationId xmlns:a16="http://schemas.microsoft.com/office/drawing/2014/main" id="{607460C8-6F9E-ACE7-D0CD-6C797A042E94}"/>
                </a:ext>
              </a:extLst>
            </p:cNvPr>
            <p:cNvSpPr/>
            <p:nvPr/>
          </p:nvSpPr>
          <p:spPr>
            <a:xfrm>
              <a:off x="6535155" y="3514920"/>
              <a:ext cx="700674" cy="329966"/>
            </a:xfrm>
            <a:custGeom>
              <a:avLst/>
              <a:gdLst>
                <a:gd name="connsiteX0" fmla="*/ 27855 w 700674"/>
                <a:gd name="connsiteY0" fmla="*/ 329841 h 329966"/>
                <a:gd name="connsiteX1" fmla="*/ 24969 w 700674"/>
                <a:gd name="connsiteY1" fmla="*/ 329841 h 329966"/>
                <a:gd name="connsiteX2" fmla="*/ 0 w 700674"/>
                <a:gd name="connsiteY2" fmla="*/ 304621 h 329966"/>
                <a:gd name="connsiteX3" fmla="*/ 25095 w 700674"/>
                <a:gd name="connsiteY3" fmla="*/ 279652 h 329966"/>
                <a:gd name="connsiteX4" fmla="*/ 26726 w 700674"/>
                <a:gd name="connsiteY4" fmla="*/ 279652 h 329966"/>
                <a:gd name="connsiteX5" fmla="*/ 204772 w 700674"/>
                <a:gd name="connsiteY5" fmla="*/ 261709 h 329966"/>
                <a:gd name="connsiteX6" fmla="*/ 379682 w 700674"/>
                <a:gd name="connsiteY6" fmla="*/ 179900 h 329966"/>
                <a:gd name="connsiteX7" fmla="*/ 520212 w 700674"/>
                <a:gd name="connsiteY7" fmla="*/ 90187 h 329966"/>
                <a:gd name="connsiteX8" fmla="*/ 617203 w 700674"/>
                <a:gd name="connsiteY8" fmla="*/ 28830 h 329966"/>
                <a:gd name="connsiteX9" fmla="*/ 689224 w 700674"/>
                <a:gd name="connsiteY9" fmla="*/ 1854 h 329966"/>
                <a:gd name="connsiteX10" fmla="*/ 696627 w 700674"/>
                <a:gd name="connsiteY10" fmla="*/ 36610 h 329966"/>
                <a:gd name="connsiteX11" fmla="*/ 684958 w 700674"/>
                <a:gd name="connsiteY11" fmla="*/ 46271 h 329966"/>
                <a:gd name="connsiteX12" fmla="*/ 407035 w 700674"/>
                <a:gd name="connsiteY12" fmla="*/ 222059 h 329966"/>
                <a:gd name="connsiteX13" fmla="*/ 218449 w 700674"/>
                <a:gd name="connsiteY13" fmla="*/ 310142 h 329966"/>
                <a:gd name="connsiteX14" fmla="*/ 27730 w 700674"/>
                <a:gd name="connsiteY14" fmla="*/ 329966 h 329966"/>
                <a:gd name="connsiteX15" fmla="*/ 662122 w 700674"/>
                <a:gd name="connsiteY15" fmla="*/ 43887 h 329966"/>
                <a:gd name="connsiteX16" fmla="*/ 675171 w 700674"/>
                <a:gd name="connsiteY16" fmla="*/ 47902 h 329966"/>
                <a:gd name="connsiteX17" fmla="*/ 662122 w 700674"/>
                <a:gd name="connsiteY17" fmla="*/ 43887 h 329966"/>
                <a:gd name="connsiteX18" fmla="*/ 661997 w 700674"/>
                <a:gd name="connsiteY18" fmla="*/ 43887 h 329966"/>
                <a:gd name="connsiteX19" fmla="*/ 661997 w 700674"/>
                <a:gd name="connsiteY19" fmla="*/ 43887 h 329966"/>
                <a:gd name="connsiteX20" fmla="*/ 661997 w 700674"/>
                <a:gd name="connsiteY20" fmla="*/ 43887 h 329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700674" h="329966">
                  <a:moveTo>
                    <a:pt x="27855" y="329841"/>
                  </a:moveTo>
                  <a:cubicBezTo>
                    <a:pt x="26349" y="329841"/>
                    <a:pt x="25346" y="329841"/>
                    <a:pt x="24969" y="329841"/>
                  </a:cubicBezTo>
                  <a:cubicBezTo>
                    <a:pt x="11167" y="329841"/>
                    <a:pt x="0" y="318423"/>
                    <a:pt x="0" y="304621"/>
                  </a:cubicBezTo>
                  <a:cubicBezTo>
                    <a:pt x="0" y="290819"/>
                    <a:pt x="11293" y="279652"/>
                    <a:pt x="25095" y="279652"/>
                  </a:cubicBezTo>
                  <a:cubicBezTo>
                    <a:pt x="25220" y="279652"/>
                    <a:pt x="25095" y="279652"/>
                    <a:pt x="26726" y="279652"/>
                  </a:cubicBezTo>
                  <a:cubicBezTo>
                    <a:pt x="40402" y="279652"/>
                    <a:pt x="143290" y="279024"/>
                    <a:pt x="204772" y="261709"/>
                  </a:cubicBezTo>
                  <a:cubicBezTo>
                    <a:pt x="292102" y="237116"/>
                    <a:pt x="378804" y="180402"/>
                    <a:pt x="379682" y="179900"/>
                  </a:cubicBezTo>
                  <a:cubicBezTo>
                    <a:pt x="379933" y="179775"/>
                    <a:pt x="449947" y="134856"/>
                    <a:pt x="520212" y="90187"/>
                  </a:cubicBezTo>
                  <a:cubicBezTo>
                    <a:pt x="555344" y="67853"/>
                    <a:pt x="590602" y="45518"/>
                    <a:pt x="617203" y="28830"/>
                  </a:cubicBezTo>
                  <a:cubicBezTo>
                    <a:pt x="655761" y="4740"/>
                    <a:pt x="679776" y="-4257"/>
                    <a:pt x="689224" y="1854"/>
                  </a:cubicBezTo>
                  <a:cubicBezTo>
                    <a:pt x="700894" y="9382"/>
                    <a:pt x="704156" y="24941"/>
                    <a:pt x="696627" y="36610"/>
                  </a:cubicBezTo>
                  <a:cubicBezTo>
                    <a:pt x="693741" y="41127"/>
                    <a:pt x="689601" y="44389"/>
                    <a:pt x="684958" y="46271"/>
                  </a:cubicBezTo>
                  <a:cubicBezTo>
                    <a:pt x="666263" y="56560"/>
                    <a:pt x="505783" y="158821"/>
                    <a:pt x="407035" y="222059"/>
                  </a:cubicBezTo>
                  <a:cubicBezTo>
                    <a:pt x="403522" y="224443"/>
                    <a:pt x="313181" y="283416"/>
                    <a:pt x="218449" y="310142"/>
                  </a:cubicBezTo>
                  <a:cubicBezTo>
                    <a:pt x="151195" y="329088"/>
                    <a:pt x="46801" y="329966"/>
                    <a:pt x="27730" y="329966"/>
                  </a:cubicBezTo>
                  <a:close/>
                  <a:moveTo>
                    <a:pt x="662122" y="43887"/>
                  </a:moveTo>
                  <a:cubicBezTo>
                    <a:pt x="666639" y="46773"/>
                    <a:pt x="671156" y="47777"/>
                    <a:pt x="675171" y="47902"/>
                  </a:cubicBezTo>
                  <a:cubicBezTo>
                    <a:pt x="670654" y="47902"/>
                    <a:pt x="666137" y="46522"/>
                    <a:pt x="662122" y="43887"/>
                  </a:cubicBezTo>
                  <a:close/>
                  <a:moveTo>
                    <a:pt x="661997" y="43887"/>
                  </a:moveTo>
                  <a:cubicBezTo>
                    <a:pt x="661997" y="43887"/>
                    <a:pt x="661997" y="43887"/>
                    <a:pt x="661997" y="43887"/>
                  </a:cubicBezTo>
                  <a:cubicBezTo>
                    <a:pt x="661997" y="43887"/>
                    <a:pt x="661997" y="43887"/>
                    <a:pt x="661997" y="43887"/>
                  </a:cubicBezTo>
                  <a:close/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0" name="Freeform 159">
              <a:extLst>
                <a:ext uri="{FF2B5EF4-FFF2-40B4-BE49-F238E27FC236}">
                  <a16:creationId xmlns:a16="http://schemas.microsoft.com/office/drawing/2014/main" id="{6D5564C9-9530-1646-7F1D-5E5FA6BEBBF9}"/>
                </a:ext>
              </a:extLst>
            </p:cNvPr>
            <p:cNvSpPr/>
            <p:nvPr/>
          </p:nvSpPr>
          <p:spPr>
            <a:xfrm>
              <a:off x="7378487" y="3431452"/>
              <a:ext cx="655999" cy="67253"/>
            </a:xfrm>
            <a:custGeom>
              <a:avLst/>
              <a:gdLst>
                <a:gd name="connsiteX0" fmla="*/ 630853 w 655999"/>
                <a:gd name="connsiteY0" fmla="*/ 67254 h 67253"/>
                <a:gd name="connsiteX1" fmla="*/ 627842 w 655999"/>
                <a:gd name="connsiteY1" fmla="*/ 67128 h 67253"/>
                <a:gd name="connsiteX2" fmla="*/ 238247 w 655999"/>
                <a:gd name="connsiteY2" fmla="*/ 50189 h 67253"/>
                <a:gd name="connsiteX3" fmla="*/ 183290 w 655999"/>
                <a:gd name="connsiteY3" fmla="*/ 53703 h 67253"/>
                <a:gd name="connsiteX4" fmla="*/ 4365 w 655999"/>
                <a:gd name="connsiteY4" fmla="*/ 56338 h 67253"/>
                <a:gd name="connsiteX5" fmla="*/ 10890 w 655999"/>
                <a:gd name="connsiteY5" fmla="*/ 21456 h 67253"/>
                <a:gd name="connsiteX6" fmla="*/ 27452 w 655999"/>
                <a:gd name="connsiteY6" fmla="*/ 17190 h 67253"/>
                <a:gd name="connsiteX7" fmla="*/ 179275 w 655999"/>
                <a:gd name="connsiteY7" fmla="*/ 3764 h 67253"/>
                <a:gd name="connsiteX8" fmla="*/ 237244 w 655999"/>
                <a:gd name="connsiteY8" fmla="*/ 0 h 67253"/>
                <a:gd name="connsiteX9" fmla="*/ 238373 w 655999"/>
                <a:gd name="connsiteY9" fmla="*/ 0 h 67253"/>
                <a:gd name="connsiteX10" fmla="*/ 633865 w 655999"/>
                <a:gd name="connsiteY10" fmla="*/ 17315 h 67253"/>
                <a:gd name="connsiteX11" fmla="*/ 655822 w 655999"/>
                <a:gd name="connsiteY11" fmla="*/ 45170 h 67253"/>
                <a:gd name="connsiteX12" fmla="*/ 630979 w 655999"/>
                <a:gd name="connsiteY12" fmla="*/ 67254 h 67253"/>
                <a:gd name="connsiteX13" fmla="*/ 45646 w 655999"/>
                <a:gd name="connsiteY13" fmla="*/ 27980 h 67253"/>
                <a:gd name="connsiteX14" fmla="*/ 45646 w 655999"/>
                <a:gd name="connsiteY14" fmla="*/ 27980 h 67253"/>
                <a:gd name="connsiteX15" fmla="*/ 45646 w 655999"/>
                <a:gd name="connsiteY15" fmla="*/ 27980 h 67253"/>
                <a:gd name="connsiteX16" fmla="*/ 45646 w 655999"/>
                <a:gd name="connsiteY16" fmla="*/ 27855 h 67253"/>
                <a:gd name="connsiteX17" fmla="*/ 45646 w 655999"/>
                <a:gd name="connsiteY17" fmla="*/ 27855 h 67253"/>
                <a:gd name="connsiteX18" fmla="*/ 45646 w 655999"/>
                <a:gd name="connsiteY18" fmla="*/ 27855 h 67253"/>
                <a:gd name="connsiteX19" fmla="*/ 45646 w 655999"/>
                <a:gd name="connsiteY19" fmla="*/ 27855 h 67253"/>
                <a:gd name="connsiteX20" fmla="*/ 45646 w 655999"/>
                <a:gd name="connsiteY20" fmla="*/ 27855 h 67253"/>
                <a:gd name="connsiteX21" fmla="*/ 45646 w 655999"/>
                <a:gd name="connsiteY21" fmla="*/ 27855 h 67253"/>
                <a:gd name="connsiteX22" fmla="*/ 45646 w 655999"/>
                <a:gd name="connsiteY22" fmla="*/ 27855 h 67253"/>
                <a:gd name="connsiteX23" fmla="*/ 45646 w 655999"/>
                <a:gd name="connsiteY23" fmla="*/ 27855 h 67253"/>
                <a:gd name="connsiteX24" fmla="*/ 45646 w 655999"/>
                <a:gd name="connsiteY24" fmla="*/ 27855 h 67253"/>
                <a:gd name="connsiteX25" fmla="*/ 45521 w 655999"/>
                <a:gd name="connsiteY25" fmla="*/ 27730 h 67253"/>
                <a:gd name="connsiteX26" fmla="*/ 45521 w 655999"/>
                <a:gd name="connsiteY26" fmla="*/ 27730 h 67253"/>
                <a:gd name="connsiteX27" fmla="*/ 45521 w 655999"/>
                <a:gd name="connsiteY27" fmla="*/ 27730 h 67253"/>
                <a:gd name="connsiteX28" fmla="*/ 45521 w 655999"/>
                <a:gd name="connsiteY28" fmla="*/ 27730 h 67253"/>
                <a:gd name="connsiteX29" fmla="*/ 45521 w 655999"/>
                <a:gd name="connsiteY29" fmla="*/ 27730 h 67253"/>
                <a:gd name="connsiteX30" fmla="*/ 45521 w 655999"/>
                <a:gd name="connsiteY30" fmla="*/ 27730 h 67253"/>
                <a:gd name="connsiteX31" fmla="*/ 45521 w 655999"/>
                <a:gd name="connsiteY31" fmla="*/ 27730 h 67253"/>
                <a:gd name="connsiteX32" fmla="*/ 45521 w 655999"/>
                <a:gd name="connsiteY32" fmla="*/ 27730 h 67253"/>
                <a:gd name="connsiteX33" fmla="*/ 45521 w 655999"/>
                <a:gd name="connsiteY33" fmla="*/ 27730 h 67253"/>
                <a:gd name="connsiteX34" fmla="*/ 45521 w 655999"/>
                <a:gd name="connsiteY34" fmla="*/ 27604 h 67253"/>
                <a:gd name="connsiteX35" fmla="*/ 45521 w 655999"/>
                <a:gd name="connsiteY35" fmla="*/ 27604 h 67253"/>
                <a:gd name="connsiteX36" fmla="*/ 45521 w 655999"/>
                <a:gd name="connsiteY36" fmla="*/ 27604 h 67253"/>
                <a:gd name="connsiteX37" fmla="*/ 45395 w 655999"/>
                <a:gd name="connsiteY37" fmla="*/ 27604 h 67253"/>
                <a:gd name="connsiteX38" fmla="*/ 45395 w 655999"/>
                <a:gd name="connsiteY38" fmla="*/ 27604 h 67253"/>
                <a:gd name="connsiteX39" fmla="*/ 45395 w 655999"/>
                <a:gd name="connsiteY39" fmla="*/ 27604 h 67253"/>
                <a:gd name="connsiteX40" fmla="*/ 45395 w 655999"/>
                <a:gd name="connsiteY40" fmla="*/ 27604 h 67253"/>
                <a:gd name="connsiteX41" fmla="*/ 45395 w 655999"/>
                <a:gd name="connsiteY41" fmla="*/ 27604 h 67253"/>
                <a:gd name="connsiteX42" fmla="*/ 45395 w 655999"/>
                <a:gd name="connsiteY42" fmla="*/ 27604 h 67253"/>
                <a:gd name="connsiteX43" fmla="*/ 45395 w 655999"/>
                <a:gd name="connsiteY43" fmla="*/ 27479 h 67253"/>
                <a:gd name="connsiteX44" fmla="*/ 45395 w 655999"/>
                <a:gd name="connsiteY44" fmla="*/ 27479 h 67253"/>
                <a:gd name="connsiteX45" fmla="*/ 45395 w 655999"/>
                <a:gd name="connsiteY45" fmla="*/ 27479 h 67253"/>
                <a:gd name="connsiteX46" fmla="*/ 45395 w 655999"/>
                <a:gd name="connsiteY46" fmla="*/ 27479 h 67253"/>
                <a:gd name="connsiteX47" fmla="*/ 45395 w 655999"/>
                <a:gd name="connsiteY47" fmla="*/ 27479 h 67253"/>
                <a:gd name="connsiteX48" fmla="*/ 45395 w 655999"/>
                <a:gd name="connsiteY48" fmla="*/ 27479 h 67253"/>
                <a:gd name="connsiteX49" fmla="*/ 45395 w 655999"/>
                <a:gd name="connsiteY49" fmla="*/ 27479 h 67253"/>
                <a:gd name="connsiteX50" fmla="*/ 45395 w 655999"/>
                <a:gd name="connsiteY50" fmla="*/ 27479 h 67253"/>
                <a:gd name="connsiteX51" fmla="*/ 45395 w 655999"/>
                <a:gd name="connsiteY51" fmla="*/ 27479 h 67253"/>
                <a:gd name="connsiteX52" fmla="*/ 45270 w 655999"/>
                <a:gd name="connsiteY52" fmla="*/ 27353 h 67253"/>
                <a:gd name="connsiteX53" fmla="*/ 45270 w 655999"/>
                <a:gd name="connsiteY53" fmla="*/ 27353 h 67253"/>
                <a:gd name="connsiteX54" fmla="*/ 45270 w 655999"/>
                <a:gd name="connsiteY54" fmla="*/ 27353 h 67253"/>
                <a:gd name="connsiteX55" fmla="*/ 45270 w 655999"/>
                <a:gd name="connsiteY55" fmla="*/ 27353 h 67253"/>
                <a:gd name="connsiteX56" fmla="*/ 45270 w 655999"/>
                <a:gd name="connsiteY56" fmla="*/ 27353 h 67253"/>
                <a:gd name="connsiteX57" fmla="*/ 45270 w 655999"/>
                <a:gd name="connsiteY57" fmla="*/ 27353 h 67253"/>
                <a:gd name="connsiteX58" fmla="*/ 45270 w 655999"/>
                <a:gd name="connsiteY58" fmla="*/ 27353 h 67253"/>
                <a:gd name="connsiteX59" fmla="*/ 45270 w 655999"/>
                <a:gd name="connsiteY59" fmla="*/ 27353 h 67253"/>
                <a:gd name="connsiteX60" fmla="*/ 45270 w 655999"/>
                <a:gd name="connsiteY60" fmla="*/ 27353 h 67253"/>
                <a:gd name="connsiteX61" fmla="*/ 45270 w 655999"/>
                <a:gd name="connsiteY61" fmla="*/ 27228 h 67253"/>
                <a:gd name="connsiteX62" fmla="*/ 45270 w 655999"/>
                <a:gd name="connsiteY62" fmla="*/ 27228 h 67253"/>
                <a:gd name="connsiteX63" fmla="*/ 45270 w 655999"/>
                <a:gd name="connsiteY63" fmla="*/ 27228 h 67253"/>
                <a:gd name="connsiteX64" fmla="*/ 45144 w 655999"/>
                <a:gd name="connsiteY64" fmla="*/ 27228 h 67253"/>
                <a:gd name="connsiteX65" fmla="*/ 45144 w 655999"/>
                <a:gd name="connsiteY65" fmla="*/ 27228 h 67253"/>
                <a:gd name="connsiteX66" fmla="*/ 45144 w 655999"/>
                <a:gd name="connsiteY66" fmla="*/ 27228 h 67253"/>
                <a:gd name="connsiteX67" fmla="*/ 45144 w 655999"/>
                <a:gd name="connsiteY67" fmla="*/ 27228 h 67253"/>
                <a:gd name="connsiteX68" fmla="*/ 45144 w 655999"/>
                <a:gd name="connsiteY68" fmla="*/ 27228 h 67253"/>
                <a:gd name="connsiteX69" fmla="*/ 45144 w 655999"/>
                <a:gd name="connsiteY69" fmla="*/ 27228 h 67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655999" h="67253">
                  <a:moveTo>
                    <a:pt x="630853" y="67254"/>
                  </a:moveTo>
                  <a:cubicBezTo>
                    <a:pt x="629849" y="67254"/>
                    <a:pt x="628846" y="67254"/>
                    <a:pt x="627842" y="67128"/>
                  </a:cubicBezTo>
                  <a:cubicBezTo>
                    <a:pt x="550550" y="57843"/>
                    <a:pt x="311649" y="51821"/>
                    <a:pt x="238247" y="50189"/>
                  </a:cubicBezTo>
                  <a:lnTo>
                    <a:pt x="183290" y="53703"/>
                  </a:lnTo>
                  <a:cubicBezTo>
                    <a:pt x="70276" y="64656"/>
                    <a:pt x="10639" y="65535"/>
                    <a:pt x="4365" y="56338"/>
                  </a:cubicBezTo>
                  <a:cubicBezTo>
                    <a:pt x="-3414" y="44919"/>
                    <a:pt x="-528" y="29235"/>
                    <a:pt x="10890" y="21456"/>
                  </a:cubicBezTo>
                  <a:cubicBezTo>
                    <a:pt x="15909" y="17943"/>
                    <a:pt x="21806" y="16688"/>
                    <a:pt x="27452" y="17190"/>
                  </a:cubicBezTo>
                  <a:cubicBezTo>
                    <a:pt x="40000" y="16813"/>
                    <a:pt x="114029" y="10038"/>
                    <a:pt x="179275" y="3764"/>
                  </a:cubicBezTo>
                  <a:lnTo>
                    <a:pt x="237244" y="0"/>
                  </a:lnTo>
                  <a:lnTo>
                    <a:pt x="238373" y="0"/>
                  </a:lnTo>
                  <a:cubicBezTo>
                    <a:pt x="331349" y="2133"/>
                    <a:pt x="556071" y="8030"/>
                    <a:pt x="633865" y="17315"/>
                  </a:cubicBezTo>
                  <a:cubicBezTo>
                    <a:pt x="647667" y="18947"/>
                    <a:pt x="657454" y="31494"/>
                    <a:pt x="655822" y="45170"/>
                  </a:cubicBezTo>
                  <a:cubicBezTo>
                    <a:pt x="654317" y="57969"/>
                    <a:pt x="643526" y="67254"/>
                    <a:pt x="630979" y="67254"/>
                  </a:cubicBezTo>
                  <a:close/>
                  <a:moveTo>
                    <a:pt x="45646" y="27980"/>
                  </a:moveTo>
                  <a:cubicBezTo>
                    <a:pt x="45646" y="27980"/>
                    <a:pt x="45646" y="27980"/>
                    <a:pt x="45646" y="27980"/>
                  </a:cubicBezTo>
                  <a:cubicBezTo>
                    <a:pt x="45646" y="27980"/>
                    <a:pt x="45646" y="27980"/>
                    <a:pt x="45646" y="27980"/>
                  </a:cubicBezTo>
                  <a:close/>
                  <a:moveTo>
                    <a:pt x="45646" y="27855"/>
                  </a:moveTo>
                  <a:cubicBezTo>
                    <a:pt x="45646" y="27855"/>
                    <a:pt x="45646" y="27855"/>
                    <a:pt x="45646" y="27855"/>
                  </a:cubicBezTo>
                  <a:cubicBezTo>
                    <a:pt x="45646" y="27855"/>
                    <a:pt x="45646" y="27855"/>
                    <a:pt x="45646" y="27855"/>
                  </a:cubicBezTo>
                  <a:close/>
                  <a:moveTo>
                    <a:pt x="45646" y="27855"/>
                  </a:moveTo>
                  <a:cubicBezTo>
                    <a:pt x="45646" y="27855"/>
                    <a:pt x="45646" y="27855"/>
                    <a:pt x="45646" y="27855"/>
                  </a:cubicBezTo>
                  <a:cubicBezTo>
                    <a:pt x="45646" y="27855"/>
                    <a:pt x="45646" y="27855"/>
                    <a:pt x="45646" y="27855"/>
                  </a:cubicBezTo>
                  <a:close/>
                  <a:moveTo>
                    <a:pt x="45646" y="27855"/>
                  </a:moveTo>
                  <a:cubicBezTo>
                    <a:pt x="45646" y="27855"/>
                    <a:pt x="45646" y="27855"/>
                    <a:pt x="45646" y="27855"/>
                  </a:cubicBezTo>
                  <a:cubicBezTo>
                    <a:pt x="45646" y="27855"/>
                    <a:pt x="45646" y="27855"/>
                    <a:pt x="45646" y="27855"/>
                  </a:cubicBezTo>
                  <a:close/>
                  <a:moveTo>
                    <a:pt x="45521" y="27730"/>
                  </a:moveTo>
                  <a:cubicBezTo>
                    <a:pt x="45521" y="27730"/>
                    <a:pt x="45521" y="27730"/>
                    <a:pt x="45521" y="27730"/>
                  </a:cubicBezTo>
                  <a:cubicBezTo>
                    <a:pt x="45521" y="27730"/>
                    <a:pt x="45521" y="27730"/>
                    <a:pt x="45521" y="27730"/>
                  </a:cubicBezTo>
                  <a:close/>
                  <a:moveTo>
                    <a:pt x="45521" y="27730"/>
                  </a:moveTo>
                  <a:cubicBezTo>
                    <a:pt x="45521" y="27730"/>
                    <a:pt x="45521" y="27730"/>
                    <a:pt x="45521" y="27730"/>
                  </a:cubicBezTo>
                  <a:cubicBezTo>
                    <a:pt x="45521" y="27730"/>
                    <a:pt x="45521" y="27730"/>
                    <a:pt x="45521" y="27730"/>
                  </a:cubicBezTo>
                  <a:close/>
                  <a:moveTo>
                    <a:pt x="45521" y="27730"/>
                  </a:moveTo>
                  <a:cubicBezTo>
                    <a:pt x="45521" y="27730"/>
                    <a:pt x="45521" y="27730"/>
                    <a:pt x="45521" y="27730"/>
                  </a:cubicBezTo>
                  <a:cubicBezTo>
                    <a:pt x="45521" y="27730"/>
                    <a:pt x="45521" y="27730"/>
                    <a:pt x="45521" y="27730"/>
                  </a:cubicBezTo>
                  <a:close/>
                  <a:moveTo>
                    <a:pt x="45521" y="27604"/>
                  </a:moveTo>
                  <a:cubicBezTo>
                    <a:pt x="45521" y="27604"/>
                    <a:pt x="45521" y="27604"/>
                    <a:pt x="45521" y="27604"/>
                  </a:cubicBezTo>
                  <a:cubicBezTo>
                    <a:pt x="45521" y="27604"/>
                    <a:pt x="45521" y="27604"/>
                    <a:pt x="45521" y="27604"/>
                  </a:cubicBezTo>
                  <a:close/>
                  <a:moveTo>
                    <a:pt x="45395" y="27604"/>
                  </a:moveTo>
                  <a:cubicBezTo>
                    <a:pt x="45395" y="27604"/>
                    <a:pt x="45395" y="27604"/>
                    <a:pt x="45395" y="27604"/>
                  </a:cubicBezTo>
                  <a:cubicBezTo>
                    <a:pt x="45395" y="27604"/>
                    <a:pt x="45395" y="27604"/>
                    <a:pt x="45395" y="27604"/>
                  </a:cubicBezTo>
                  <a:close/>
                  <a:moveTo>
                    <a:pt x="45395" y="27604"/>
                  </a:moveTo>
                  <a:cubicBezTo>
                    <a:pt x="45395" y="27604"/>
                    <a:pt x="45395" y="27604"/>
                    <a:pt x="45395" y="27604"/>
                  </a:cubicBezTo>
                  <a:cubicBezTo>
                    <a:pt x="45395" y="27604"/>
                    <a:pt x="45395" y="27604"/>
                    <a:pt x="45395" y="27604"/>
                  </a:cubicBezTo>
                  <a:close/>
                  <a:moveTo>
                    <a:pt x="45395" y="27479"/>
                  </a:moveTo>
                  <a:cubicBezTo>
                    <a:pt x="45395" y="27479"/>
                    <a:pt x="45395" y="27479"/>
                    <a:pt x="45395" y="27479"/>
                  </a:cubicBezTo>
                  <a:cubicBezTo>
                    <a:pt x="45395" y="27479"/>
                    <a:pt x="45395" y="27479"/>
                    <a:pt x="45395" y="27479"/>
                  </a:cubicBezTo>
                  <a:close/>
                  <a:moveTo>
                    <a:pt x="45395" y="27479"/>
                  </a:moveTo>
                  <a:cubicBezTo>
                    <a:pt x="45395" y="27479"/>
                    <a:pt x="45395" y="27479"/>
                    <a:pt x="45395" y="27479"/>
                  </a:cubicBezTo>
                  <a:cubicBezTo>
                    <a:pt x="45395" y="27479"/>
                    <a:pt x="45395" y="27479"/>
                    <a:pt x="45395" y="27479"/>
                  </a:cubicBezTo>
                  <a:close/>
                  <a:moveTo>
                    <a:pt x="45395" y="27479"/>
                  </a:moveTo>
                  <a:cubicBezTo>
                    <a:pt x="45395" y="27479"/>
                    <a:pt x="45395" y="27479"/>
                    <a:pt x="45395" y="27479"/>
                  </a:cubicBezTo>
                  <a:cubicBezTo>
                    <a:pt x="45395" y="27479"/>
                    <a:pt x="45395" y="27479"/>
                    <a:pt x="45395" y="27479"/>
                  </a:cubicBezTo>
                  <a:close/>
                  <a:moveTo>
                    <a:pt x="45270" y="27353"/>
                  </a:moveTo>
                  <a:cubicBezTo>
                    <a:pt x="45270" y="27353"/>
                    <a:pt x="45270" y="27353"/>
                    <a:pt x="45270" y="27353"/>
                  </a:cubicBezTo>
                  <a:cubicBezTo>
                    <a:pt x="45270" y="27353"/>
                    <a:pt x="45270" y="27353"/>
                    <a:pt x="45270" y="27353"/>
                  </a:cubicBezTo>
                  <a:close/>
                  <a:moveTo>
                    <a:pt x="45270" y="27353"/>
                  </a:moveTo>
                  <a:cubicBezTo>
                    <a:pt x="45270" y="27353"/>
                    <a:pt x="45270" y="27353"/>
                    <a:pt x="45270" y="27353"/>
                  </a:cubicBezTo>
                  <a:cubicBezTo>
                    <a:pt x="45270" y="27353"/>
                    <a:pt x="45270" y="27353"/>
                    <a:pt x="45270" y="27353"/>
                  </a:cubicBezTo>
                  <a:close/>
                  <a:moveTo>
                    <a:pt x="45270" y="27353"/>
                  </a:moveTo>
                  <a:cubicBezTo>
                    <a:pt x="45270" y="27353"/>
                    <a:pt x="45270" y="27353"/>
                    <a:pt x="45270" y="27353"/>
                  </a:cubicBezTo>
                  <a:cubicBezTo>
                    <a:pt x="45270" y="27353"/>
                    <a:pt x="45270" y="27353"/>
                    <a:pt x="45270" y="27353"/>
                  </a:cubicBezTo>
                  <a:close/>
                  <a:moveTo>
                    <a:pt x="45270" y="27228"/>
                  </a:moveTo>
                  <a:cubicBezTo>
                    <a:pt x="45270" y="27228"/>
                    <a:pt x="45270" y="27228"/>
                    <a:pt x="45270" y="27228"/>
                  </a:cubicBezTo>
                  <a:cubicBezTo>
                    <a:pt x="45270" y="27228"/>
                    <a:pt x="45270" y="27228"/>
                    <a:pt x="45270" y="27228"/>
                  </a:cubicBezTo>
                  <a:close/>
                  <a:moveTo>
                    <a:pt x="45144" y="27228"/>
                  </a:moveTo>
                  <a:lnTo>
                    <a:pt x="45144" y="27228"/>
                  </a:lnTo>
                  <a:cubicBezTo>
                    <a:pt x="45144" y="27228"/>
                    <a:pt x="45144" y="27228"/>
                    <a:pt x="45144" y="27228"/>
                  </a:cubicBezTo>
                  <a:close/>
                  <a:moveTo>
                    <a:pt x="45144" y="27228"/>
                  </a:moveTo>
                  <a:cubicBezTo>
                    <a:pt x="45144" y="27228"/>
                    <a:pt x="45144" y="27228"/>
                    <a:pt x="45144" y="27228"/>
                  </a:cubicBezTo>
                  <a:cubicBezTo>
                    <a:pt x="45144" y="27228"/>
                    <a:pt x="45144" y="27228"/>
                    <a:pt x="45144" y="27228"/>
                  </a:cubicBezTo>
                  <a:close/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1" name="Freeform 160">
              <a:extLst>
                <a:ext uri="{FF2B5EF4-FFF2-40B4-BE49-F238E27FC236}">
                  <a16:creationId xmlns:a16="http://schemas.microsoft.com/office/drawing/2014/main" id="{34E90E67-C36D-6550-EB09-C451D4DA44AE}"/>
                </a:ext>
              </a:extLst>
            </p:cNvPr>
            <p:cNvSpPr/>
            <p:nvPr/>
          </p:nvSpPr>
          <p:spPr>
            <a:xfrm>
              <a:off x="7183531" y="3738987"/>
              <a:ext cx="645382" cy="231121"/>
            </a:xfrm>
            <a:custGeom>
              <a:avLst/>
              <a:gdLst>
                <a:gd name="connsiteX0" fmla="*/ 22655 w 645382"/>
                <a:gd name="connsiteY0" fmla="*/ 231122 h 231121"/>
                <a:gd name="connsiteX1" fmla="*/ 4461 w 645382"/>
                <a:gd name="connsiteY1" fmla="*/ 220080 h 231121"/>
                <a:gd name="connsiteX2" fmla="*/ 10860 w 645382"/>
                <a:gd name="connsiteY2" fmla="*/ 185198 h 231121"/>
                <a:gd name="connsiteX3" fmla="*/ 15628 w 645382"/>
                <a:gd name="connsiteY3" fmla="*/ 182563 h 231121"/>
                <a:gd name="connsiteX4" fmla="*/ 189032 w 645382"/>
                <a:gd name="connsiteY4" fmla="*/ 72649 h 231121"/>
                <a:gd name="connsiteX5" fmla="*/ 280126 w 645382"/>
                <a:gd name="connsiteY5" fmla="*/ 34882 h 231121"/>
                <a:gd name="connsiteX6" fmla="*/ 619907 w 645382"/>
                <a:gd name="connsiteY6" fmla="*/ 0 h 231121"/>
                <a:gd name="connsiteX7" fmla="*/ 645378 w 645382"/>
                <a:gd name="connsiteY7" fmla="*/ 24718 h 231121"/>
                <a:gd name="connsiteX8" fmla="*/ 620660 w 645382"/>
                <a:gd name="connsiteY8" fmla="*/ 50189 h 231121"/>
                <a:gd name="connsiteX9" fmla="*/ 290665 w 645382"/>
                <a:gd name="connsiteY9" fmla="*/ 83941 h 231121"/>
                <a:gd name="connsiteX10" fmla="*/ 216134 w 645382"/>
                <a:gd name="connsiteY10" fmla="*/ 114808 h 231121"/>
                <a:gd name="connsiteX11" fmla="*/ 105091 w 645382"/>
                <a:gd name="connsiteY11" fmla="*/ 185826 h 231121"/>
                <a:gd name="connsiteX12" fmla="*/ 58038 w 645382"/>
                <a:gd name="connsiteY12" fmla="*/ 215438 h 231121"/>
                <a:gd name="connsiteX13" fmla="*/ 22780 w 645382"/>
                <a:gd name="connsiteY13" fmla="*/ 230996 h 231121"/>
                <a:gd name="connsiteX14" fmla="*/ 45742 w 645382"/>
                <a:gd name="connsiteY14" fmla="*/ 191472 h 231121"/>
                <a:gd name="connsiteX15" fmla="*/ 45742 w 645382"/>
                <a:gd name="connsiteY15" fmla="*/ 191472 h 231121"/>
                <a:gd name="connsiteX16" fmla="*/ 45742 w 645382"/>
                <a:gd name="connsiteY16" fmla="*/ 191472 h 231121"/>
                <a:gd name="connsiteX17" fmla="*/ 45742 w 645382"/>
                <a:gd name="connsiteY17" fmla="*/ 191472 h 231121"/>
                <a:gd name="connsiteX18" fmla="*/ 45742 w 645382"/>
                <a:gd name="connsiteY18" fmla="*/ 191472 h 231121"/>
                <a:gd name="connsiteX19" fmla="*/ 45742 w 645382"/>
                <a:gd name="connsiteY19" fmla="*/ 191472 h 231121"/>
                <a:gd name="connsiteX20" fmla="*/ 45742 w 645382"/>
                <a:gd name="connsiteY20" fmla="*/ 191472 h 231121"/>
                <a:gd name="connsiteX21" fmla="*/ 45742 w 645382"/>
                <a:gd name="connsiteY21" fmla="*/ 191472 h 231121"/>
                <a:gd name="connsiteX22" fmla="*/ 45742 w 645382"/>
                <a:gd name="connsiteY22" fmla="*/ 191472 h 231121"/>
                <a:gd name="connsiteX23" fmla="*/ 45616 w 645382"/>
                <a:gd name="connsiteY23" fmla="*/ 191347 h 231121"/>
                <a:gd name="connsiteX24" fmla="*/ 45616 w 645382"/>
                <a:gd name="connsiteY24" fmla="*/ 191347 h 231121"/>
                <a:gd name="connsiteX25" fmla="*/ 45616 w 645382"/>
                <a:gd name="connsiteY25" fmla="*/ 191347 h 231121"/>
                <a:gd name="connsiteX26" fmla="*/ 45616 w 645382"/>
                <a:gd name="connsiteY26" fmla="*/ 191347 h 231121"/>
                <a:gd name="connsiteX27" fmla="*/ 45616 w 645382"/>
                <a:gd name="connsiteY27" fmla="*/ 191347 h 231121"/>
                <a:gd name="connsiteX28" fmla="*/ 45616 w 645382"/>
                <a:gd name="connsiteY28" fmla="*/ 191347 h 231121"/>
                <a:gd name="connsiteX29" fmla="*/ 45616 w 645382"/>
                <a:gd name="connsiteY29" fmla="*/ 191347 h 231121"/>
                <a:gd name="connsiteX30" fmla="*/ 45616 w 645382"/>
                <a:gd name="connsiteY30" fmla="*/ 191347 h 231121"/>
                <a:gd name="connsiteX31" fmla="*/ 45616 w 645382"/>
                <a:gd name="connsiteY31" fmla="*/ 191347 h 231121"/>
                <a:gd name="connsiteX32" fmla="*/ 43985 w 645382"/>
                <a:gd name="connsiteY32" fmla="*/ 189339 h 231121"/>
                <a:gd name="connsiteX33" fmla="*/ 45491 w 645382"/>
                <a:gd name="connsiteY33" fmla="*/ 191347 h 231121"/>
                <a:gd name="connsiteX34" fmla="*/ 43985 w 645382"/>
                <a:gd name="connsiteY34" fmla="*/ 189339 h 231121"/>
                <a:gd name="connsiteX35" fmla="*/ 23407 w 645382"/>
                <a:gd name="connsiteY35" fmla="*/ 180807 h 231121"/>
                <a:gd name="connsiteX36" fmla="*/ 17761 w 645382"/>
                <a:gd name="connsiteY36" fmla="*/ 181811 h 231121"/>
                <a:gd name="connsiteX37" fmla="*/ 23407 w 645382"/>
                <a:gd name="connsiteY37" fmla="*/ 180807 h 231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45382" h="231121">
                  <a:moveTo>
                    <a:pt x="22655" y="231122"/>
                  </a:moveTo>
                  <a:cubicBezTo>
                    <a:pt x="16005" y="231122"/>
                    <a:pt x="9856" y="227985"/>
                    <a:pt x="4461" y="220080"/>
                  </a:cubicBezTo>
                  <a:cubicBezTo>
                    <a:pt x="-3444" y="208662"/>
                    <a:pt x="-558" y="192978"/>
                    <a:pt x="10860" y="185198"/>
                  </a:cubicBezTo>
                  <a:cubicBezTo>
                    <a:pt x="12366" y="184195"/>
                    <a:pt x="13997" y="183316"/>
                    <a:pt x="15628" y="182563"/>
                  </a:cubicBezTo>
                  <a:cubicBezTo>
                    <a:pt x="21274" y="179427"/>
                    <a:pt x="49506" y="162362"/>
                    <a:pt x="189032" y="72649"/>
                  </a:cubicBezTo>
                  <a:cubicBezTo>
                    <a:pt x="217264" y="54455"/>
                    <a:pt x="247879" y="41782"/>
                    <a:pt x="280126" y="34882"/>
                  </a:cubicBezTo>
                  <a:cubicBezTo>
                    <a:pt x="335836" y="22836"/>
                    <a:pt x="454157" y="2384"/>
                    <a:pt x="619907" y="0"/>
                  </a:cubicBezTo>
                  <a:cubicBezTo>
                    <a:pt x="633835" y="0"/>
                    <a:pt x="645127" y="10916"/>
                    <a:pt x="645378" y="24718"/>
                  </a:cubicBezTo>
                  <a:cubicBezTo>
                    <a:pt x="645629" y="38520"/>
                    <a:pt x="634462" y="49938"/>
                    <a:pt x="620660" y="50189"/>
                  </a:cubicBezTo>
                  <a:cubicBezTo>
                    <a:pt x="459176" y="52573"/>
                    <a:pt x="344619" y="72273"/>
                    <a:pt x="290665" y="83941"/>
                  </a:cubicBezTo>
                  <a:cubicBezTo>
                    <a:pt x="264442" y="89588"/>
                    <a:pt x="239347" y="100002"/>
                    <a:pt x="216134" y="114808"/>
                  </a:cubicBezTo>
                  <a:cubicBezTo>
                    <a:pt x="186021" y="134131"/>
                    <a:pt x="141854" y="162488"/>
                    <a:pt x="105091" y="185826"/>
                  </a:cubicBezTo>
                  <a:cubicBezTo>
                    <a:pt x="86646" y="197495"/>
                    <a:pt x="70083" y="208034"/>
                    <a:pt x="58038" y="215438"/>
                  </a:cubicBezTo>
                  <a:cubicBezTo>
                    <a:pt x="44612" y="223719"/>
                    <a:pt x="32943" y="230996"/>
                    <a:pt x="22780" y="230996"/>
                  </a:cubicBezTo>
                  <a:close/>
                  <a:moveTo>
                    <a:pt x="45742" y="191472"/>
                  </a:moveTo>
                  <a:cubicBezTo>
                    <a:pt x="45742" y="191472"/>
                    <a:pt x="45742" y="191472"/>
                    <a:pt x="45742" y="191472"/>
                  </a:cubicBezTo>
                  <a:cubicBezTo>
                    <a:pt x="45742" y="191472"/>
                    <a:pt x="45742" y="191472"/>
                    <a:pt x="45742" y="191472"/>
                  </a:cubicBezTo>
                  <a:close/>
                  <a:moveTo>
                    <a:pt x="45742" y="191472"/>
                  </a:moveTo>
                  <a:cubicBezTo>
                    <a:pt x="45742" y="191472"/>
                    <a:pt x="45742" y="191472"/>
                    <a:pt x="45742" y="191472"/>
                  </a:cubicBezTo>
                  <a:cubicBezTo>
                    <a:pt x="45742" y="191472"/>
                    <a:pt x="45742" y="191472"/>
                    <a:pt x="45742" y="191472"/>
                  </a:cubicBezTo>
                  <a:close/>
                  <a:moveTo>
                    <a:pt x="45742" y="191472"/>
                  </a:moveTo>
                  <a:lnTo>
                    <a:pt x="45742" y="191472"/>
                  </a:lnTo>
                  <a:cubicBezTo>
                    <a:pt x="45742" y="191472"/>
                    <a:pt x="45742" y="191472"/>
                    <a:pt x="45742" y="191472"/>
                  </a:cubicBezTo>
                  <a:close/>
                  <a:moveTo>
                    <a:pt x="45616" y="191347"/>
                  </a:moveTo>
                  <a:cubicBezTo>
                    <a:pt x="45616" y="191347"/>
                    <a:pt x="45616" y="191347"/>
                    <a:pt x="45616" y="191347"/>
                  </a:cubicBezTo>
                  <a:cubicBezTo>
                    <a:pt x="45616" y="191347"/>
                    <a:pt x="45616" y="191347"/>
                    <a:pt x="45616" y="191347"/>
                  </a:cubicBezTo>
                  <a:close/>
                  <a:moveTo>
                    <a:pt x="45616" y="191347"/>
                  </a:moveTo>
                  <a:cubicBezTo>
                    <a:pt x="45616" y="191347"/>
                    <a:pt x="45616" y="191347"/>
                    <a:pt x="45616" y="191347"/>
                  </a:cubicBezTo>
                  <a:cubicBezTo>
                    <a:pt x="45616" y="191347"/>
                    <a:pt x="45616" y="191347"/>
                    <a:pt x="45616" y="191347"/>
                  </a:cubicBezTo>
                  <a:close/>
                  <a:moveTo>
                    <a:pt x="45616" y="191347"/>
                  </a:moveTo>
                  <a:cubicBezTo>
                    <a:pt x="45616" y="191347"/>
                    <a:pt x="45616" y="191347"/>
                    <a:pt x="45616" y="191347"/>
                  </a:cubicBezTo>
                  <a:cubicBezTo>
                    <a:pt x="45616" y="191347"/>
                    <a:pt x="45616" y="191347"/>
                    <a:pt x="45616" y="191347"/>
                  </a:cubicBezTo>
                  <a:close/>
                  <a:moveTo>
                    <a:pt x="43985" y="189339"/>
                  </a:moveTo>
                  <a:cubicBezTo>
                    <a:pt x="44487" y="189966"/>
                    <a:pt x="45114" y="190594"/>
                    <a:pt x="45491" y="191347"/>
                  </a:cubicBezTo>
                  <a:cubicBezTo>
                    <a:pt x="44989" y="190594"/>
                    <a:pt x="44487" y="189966"/>
                    <a:pt x="43985" y="189339"/>
                  </a:cubicBezTo>
                  <a:close/>
                  <a:moveTo>
                    <a:pt x="23407" y="180807"/>
                  </a:moveTo>
                  <a:cubicBezTo>
                    <a:pt x="21400" y="180807"/>
                    <a:pt x="19518" y="181309"/>
                    <a:pt x="17761" y="181811"/>
                  </a:cubicBezTo>
                  <a:cubicBezTo>
                    <a:pt x="19643" y="181183"/>
                    <a:pt x="21525" y="180932"/>
                    <a:pt x="23407" y="180807"/>
                  </a:cubicBezTo>
                  <a:close/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2" name="Freeform 161">
              <a:extLst>
                <a:ext uri="{FF2B5EF4-FFF2-40B4-BE49-F238E27FC236}">
                  <a16:creationId xmlns:a16="http://schemas.microsoft.com/office/drawing/2014/main" id="{9EECFE39-8597-5E4B-C3FB-49C48DEEB5AF}"/>
                </a:ext>
              </a:extLst>
            </p:cNvPr>
            <p:cNvSpPr/>
            <p:nvPr/>
          </p:nvSpPr>
          <p:spPr>
            <a:xfrm>
              <a:off x="7261514" y="4093117"/>
              <a:ext cx="592550" cy="432963"/>
            </a:xfrm>
            <a:custGeom>
              <a:avLst/>
              <a:gdLst>
                <a:gd name="connsiteX0" fmla="*/ 567145 w 592550"/>
                <a:gd name="connsiteY0" fmla="*/ 432963 h 432963"/>
                <a:gd name="connsiteX1" fmla="*/ 557734 w 592550"/>
                <a:gd name="connsiteY1" fmla="*/ 431081 h 432963"/>
                <a:gd name="connsiteX2" fmla="*/ 238154 w 592550"/>
                <a:gd name="connsiteY2" fmla="*/ 220286 h 432963"/>
                <a:gd name="connsiteX3" fmla="*/ 227363 w 592550"/>
                <a:gd name="connsiteY3" fmla="*/ 209621 h 432963"/>
                <a:gd name="connsiteX4" fmla="*/ 19328 w 592550"/>
                <a:gd name="connsiteY4" fmla="*/ 50772 h 432963"/>
                <a:gd name="connsiteX5" fmla="*/ 1009 w 592550"/>
                <a:gd name="connsiteY5" fmla="*/ 18651 h 432963"/>
                <a:gd name="connsiteX6" fmla="*/ 31750 w 592550"/>
                <a:gd name="connsiteY6" fmla="*/ 834 h 432963"/>
                <a:gd name="connsiteX7" fmla="*/ 40408 w 592550"/>
                <a:gd name="connsiteY7" fmla="*/ 4974 h 432963"/>
                <a:gd name="connsiteX8" fmla="*/ 43921 w 592550"/>
                <a:gd name="connsiteY8" fmla="*/ 6982 h 432963"/>
                <a:gd name="connsiteX9" fmla="*/ 262496 w 592550"/>
                <a:gd name="connsiteY9" fmla="*/ 173610 h 432963"/>
                <a:gd name="connsiteX10" fmla="*/ 273663 w 592550"/>
                <a:gd name="connsiteY10" fmla="*/ 184526 h 432963"/>
                <a:gd name="connsiteX11" fmla="*/ 576932 w 592550"/>
                <a:gd name="connsiteY11" fmla="*/ 384405 h 432963"/>
                <a:gd name="connsiteX12" fmla="*/ 590734 w 592550"/>
                <a:gd name="connsiteY12" fmla="*/ 417154 h 432963"/>
                <a:gd name="connsiteX13" fmla="*/ 567521 w 592550"/>
                <a:gd name="connsiteY13" fmla="*/ 432838 h 432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2550" h="432963">
                  <a:moveTo>
                    <a:pt x="567145" y="432963"/>
                  </a:moveTo>
                  <a:cubicBezTo>
                    <a:pt x="564008" y="432963"/>
                    <a:pt x="560746" y="432336"/>
                    <a:pt x="557734" y="431081"/>
                  </a:cubicBezTo>
                  <a:cubicBezTo>
                    <a:pt x="376551" y="357303"/>
                    <a:pt x="286461" y="268217"/>
                    <a:pt x="238154" y="220286"/>
                  </a:cubicBezTo>
                  <a:cubicBezTo>
                    <a:pt x="234264" y="216522"/>
                    <a:pt x="230751" y="212883"/>
                    <a:pt x="227363" y="209621"/>
                  </a:cubicBezTo>
                  <a:cubicBezTo>
                    <a:pt x="159231" y="143371"/>
                    <a:pt x="89217" y="90045"/>
                    <a:pt x="19328" y="50772"/>
                  </a:cubicBezTo>
                  <a:cubicBezTo>
                    <a:pt x="11675" y="46506"/>
                    <a:pt x="-4135" y="37597"/>
                    <a:pt x="1009" y="18651"/>
                  </a:cubicBezTo>
                  <a:cubicBezTo>
                    <a:pt x="4523" y="5225"/>
                    <a:pt x="18325" y="-2680"/>
                    <a:pt x="31750" y="834"/>
                  </a:cubicBezTo>
                  <a:cubicBezTo>
                    <a:pt x="35013" y="1712"/>
                    <a:pt x="37899" y="3092"/>
                    <a:pt x="40408" y="4974"/>
                  </a:cubicBezTo>
                  <a:cubicBezTo>
                    <a:pt x="41286" y="5476"/>
                    <a:pt x="42415" y="6103"/>
                    <a:pt x="43921" y="6982"/>
                  </a:cubicBezTo>
                  <a:cubicBezTo>
                    <a:pt x="117699" y="48262"/>
                    <a:pt x="191227" y="104349"/>
                    <a:pt x="262496" y="173610"/>
                  </a:cubicBezTo>
                  <a:cubicBezTo>
                    <a:pt x="265883" y="176998"/>
                    <a:pt x="269648" y="180637"/>
                    <a:pt x="273663" y="184526"/>
                  </a:cubicBezTo>
                  <a:cubicBezTo>
                    <a:pt x="319586" y="229948"/>
                    <a:pt x="405033" y="314391"/>
                    <a:pt x="576932" y="384405"/>
                  </a:cubicBezTo>
                  <a:cubicBezTo>
                    <a:pt x="589730" y="389675"/>
                    <a:pt x="595878" y="404230"/>
                    <a:pt x="590734" y="417154"/>
                  </a:cubicBezTo>
                  <a:cubicBezTo>
                    <a:pt x="586718" y="426941"/>
                    <a:pt x="577434" y="432838"/>
                    <a:pt x="567521" y="432838"/>
                  </a:cubicBezTo>
                  <a:close/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3" name="Freeform 162">
              <a:extLst>
                <a:ext uri="{FF2B5EF4-FFF2-40B4-BE49-F238E27FC236}">
                  <a16:creationId xmlns:a16="http://schemas.microsoft.com/office/drawing/2014/main" id="{367CA9C9-D017-2FD2-189A-70A56692A7A5}"/>
                </a:ext>
              </a:extLst>
            </p:cNvPr>
            <p:cNvSpPr/>
            <p:nvPr/>
          </p:nvSpPr>
          <p:spPr>
            <a:xfrm>
              <a:off x="6478582" y="4291711"/>
              <a:ext cx="600382" cy="413921"/>
            </a:xfrm>
            <a:custGeom>
              <a:avLst/>
              <a:gdLst>
                <a:gd name="connsiteX0" fmla="*/ 575405 w 600382"/>
                <a:gd name="connsiteY0" fmla="*/ 413921 h 413921"/>
                <a:gd name="connsiteX1" fmla="*/ 558090 w 600382"/>
                <a:gd name="connsiteY1" fmla="*/ 407020 h 413921"/>
                <a:gd name="connsiteX2" fmla="*/ 523459 w 600382"/>
                <a:gd name="connsiteY2" fmla="*/ 369253 h 413921"/>
                <a:gd name="connsiteX3" fmla="*/ 269753 w 600382"/>
                <a:gd name="connsiteY3" fmla="*/ 197982 h 413921"/>
                <a:gd name="connsiteX4" fmla="*/ 28467 w 600382"/>
                <a:gd name="connsiteY4" fmla="*/ 61341 h 413921"/>
                <a:gd name="connsiteX5" fmla="*/ 10776 w 600382"/>
                <a:gd name="connsiteY5" fmla="*/ 45657 h 413921"/>
                <a:gd name="connsiteX6" fmla="*/ 4502 w 600382"/>
                <a:gd name="connsiteY6" fmla="*/ 10776 h 413921"/>
                <a:gd name="connsiteX7" fmla="*/ 39384 w 600382"/>
                <a:gd name="connsiteY7" fmla="*/ 4502 h 413921"/>
                <a:gd name="connsiteX8" fmla="*/ 62847 w 600382"/>
                <a:gd name="connsiteY8" fmla="*/ 24829 h 413921"/>
                <a:gd name="connsiteX9" fmla="*/ 283555 w 600382"/>
                <a:gd name="connsiteY9" fmla="*/ 149800 h 413921"/>
                <a:gd name="connsiteX10" fmla="*/ 561227 w 600382"/>
                <a:gd name="connsiteY10" fmla="*/ 336379 h 413921"/>
                <a:gd name="connsiteX11" fmla="*/ 592595 w 600382"/>
                <a:gd name="connsiteY11" fmla="*/ 370633 h 413921"/>
                <a:gd name="connsiteX12" fmla="*/ 593473 w 600382"/>
                <a:gd name="connsiteY12" fmla="*/ 406142 h 413921"/>
                <a:gd name="connsiteX13" fmla="*/ 575280 w 600382"/>
                <a:gd name="connsiteY13" fmla="*/ 413921 h 413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00382" h="413921">
                  <a:moveTo>
                    <a:pt x="575405" y="413921"/>
                  </a:moveTo>
                  <a:cubicBezTo>
                    <a:pt x="569132" y="413921"/>
                    <a:pt x="562984" y="411663"/>
                    <a:pt x="558090" y="407020"/>
                  </a:cubicBezTo>
                  <a:cubicBezTo>
                    <a:pt x="547048" y="396480"/>
                    <a:pt x="536132" y="383933"/>
                    <a:pt x="523459" y="369253"/>
                  </a:cubicBezTo>
                  <a:cubicBezTo>
                    <a:pt x="475529" y="314044"/>
                    <a:pt x="409781" y="238384"/>
                    <a:pt x="269753" y="197982"/>
                  </a:cubicBezTo>
                  <a:cubicBezTo>
                    <a:pt x="130854" y="157956"/>
                    <a:pt x="64227" y="95094"/>
                    <a:pt x="28467" y="61341"/>
                  </a:cubicBezTo>
                  <a:cubicBezTo>
                    <a:pt x="21065" y="54440"/>
                    <a:pt x="14665" y="48292"/>
                    <a:pt x="10776" y="45657"/>
                  </a:cubicBezTo>
                  <a:cubicBezTo>
                    <a:pt x="-642" y="37752"/>
                    <a:pt x="-3403" y="22068"/>
                    <a:pt x="4502" y="10776"/>
                  </a:cubicBezTo>
                  <a:cubicBezTo>
                    <a:pt x="12407" y="-642"/>
                    <a:pt x="28091" y="-3403"/>
                    <a:pt x="39384" y="4502"/>
                  </a:cubicBezTo>
                  <a:cubicBezTo>
                    <a:pt x="46285" y="9270"/>
                    <a:pt x="53562" y="16171"/>
                    <a:pt x="62847" y="24829"/>
                  </a:cubicBezTo>
                  <a:cubicBezTo>
                    <a:pt x="95596" y="55695"/>
                    <a:pt x="156450" y="113036"/>
                    <a:pt x="283555" y="149800"/>
                  </a:cubicBezTo>
                  <a:cubicBezTo>
                    <a:pt x="437887" y="194343"/>
                    <a:pt x="512167" y="279790"/>
                    <a:pt x="561227" y="336379"/>
                  </a:cubicBezTo>
                  <a:cubicBezTo>
                    <a:pt x="573021" y="350055"/>
                    <a:pt x="583310" y="361724"/>
                    <a:pt x="592595" y="370633"/>
                  </a:cubicBezTo>
                  <a:cubicBezTo>
                    <a:pt x="602633" y="380169"/>
                    <a:pt x="603010" y="396104"/>
                    <a:pt x="593473" y="406142"/>
                  </a:cubicBezTo>
                  <a:cubicBezTo>
                    <a:pt x="588580" y="411286"/>
                    <a:pt x="581930" y="413921"/>
                    <a:pt x="575280" y="413921"/>
                  </a:cubicBezTo>
                  <a:close/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4" name="Freeform 163">
              <a:extLst>
                <a:ext uri="{FF2B5EF4-FFF2-40B4-BE49-F238E27FC236}">
                  <a16:creationId xmlns:a16="http://schemas.microsoft.com/office/drawing/2014/main" id="{A7D42A03-7FB2-1A23-C3D2-3BAB18EFB48B}"/>
                </a:ext>
              </a:extLst>
            </p:cNvPr>
            <p:cNvSpPr/>
            <p:nvPr/>
          </p:nvSpPr>
          <p:spPr>
            <a:xfrm>
              <a:off x="5591586" y="4087358"/>
              <a:ext cx="778883" cy="194319"/>
            </a:xfrm>
            <a:custGeom>
              <a:avLst/>
              <a:gdLst>
                <a:gd name="connsiteX0" fmla="*/ 46562 w 778883"/>
                <a:gd name="connsiteY0" fmla="*/ 154400 h 194319"/>
                <a:gd name="connsiteX1" fmla="*/ 46562 w 778883"/>
                <a:gd name="connsiteY1" fmla="*/ 154400 h 194319"/>
                <a:gd name="connsiteX2" fmla="*/ 46562 w 778883"/>
                <a:gd name="connsiteY2" fmla="*/ 154400 h 194319"/>
                <a:gd name="connsiteX3" fmla="*/ 35394 w 778883"/>
                <a:gd name="connsiteY3" fmla="*/ 194175 h 194319"/>
                <a:gd name="connsiteX4" fmla="*/ 262 w 778883"/>
                <a:gd name="connsiteY4" fmla="*/ 175479 h 194319"/>
                <a:gd name="connsiteX5" fmla="*/ 21718 w 778883"/>
                <a:gd name="connsiteY5" fmla="*/ 144613 h 194319"/>
                <a:gd name="connsiteX6" fmla="*/ 29623 w 778883"/>
                <a:gd name="connsiteY6" fmla="*/ 144362 h 194319"/>
                <a:gd name="connsiteX7" fmla="*/ 378062 w 778883"/>
                <a:gd name="connsiteY7" fmla="*/ 16756 h 194319"/>
                <a:gd name="connsiteX8" fmla="*/ 763265 w 778883"/>
                <a:gd name="connsiteY8" fmla="*/ 80998 h 194319"/>
                <a:gd name="connsiteX9" fmla="*/ 777067 w 778883"/>
                <a:gd name="connsiteY9" fmla="*/ 113746 h 194319"/>
                <a:gd name="connsiteX10" fmla="*/ 744318 w 778883"/>
                <a:gd name="connsiteY10" fmla="*/ 127549 h 194319"/>
                <a:gd name="connsiteX11" fmla="*/ 404411 w 778883"/>
                <a:gd name="connsiteY11" fmla="*/ 59542 h 194319"/>
                <a:gd name="connsiteX12" fmla="*/ 136024 w 778883"/>
                <a:gd name="connsiteY12" fmla="*/ 177612 h 194319"/>
                <a:gd name="connsiteX13" fmla="*/ 35394 w 778883"/>
                <a:gd name="connsiteY13" fmla="*/ 194175 h 19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78883" h="194319">
                  <a:moveTo>
                    <a:pt x="46562" y="154400"/>
                  </a:moveTo>
                  <a:cubicBezTo>
                    <a:pt x="46562" y="154400"/>
                    <a:pt x="46562" y="154400"/>
                    <a:pt x="46562" y="154400"/>
                  </a:cubicBezTo>
                  <a:cubicBezTo>
                    <a:pt x="46562" y="154400"/>
                    <a:pt x="46562" y="154400"/>
                    <a:pt x="46562" y="154400"/>
                  </a:cubicBezTo>
                  <a:close/>
                  <a:moveTo>
                    <a:pt x="35394" y="194175"/>
                  </a:moveTo>
                  <a:cubicBezTo>
                    <a:pt x="26360" y="194928"/>
                    <a:pt x="2771" y="193297"/>
                    <a:pt x="262" y="175479"/>
                  </a:cubicBezTo>
                  <a:cubicBezTo>
                    <a:pt x="-2122" y="152141"/>
                    <a:pt x="12307" y="146370"/>
                    <a:pt x="21718" y="144613"/>
                  </a:cubicBezTo>
                  <a:cubicBezTo>
                    <a:pt x="24353" y="144111"/>
                    <a:pt x="26988" y="144111"/>
                    <a:pt x="29623" y="144362"/>
                  </a:cubicBezTo>
                  <a:cubicBezTo>
                    <a:pt x="40664" y="144111"/>
                    <a:pt x="180692" y="138214"/>
                    <a:pt x="378062" y="16756"/>
                  </a:cubicBezTo>
                  <a:cubicBezTo>
                    <a:pt x="456859" y="-31802"/>
                    <a:pt x="653225" y="36204"/>
                    <a:pt x="763265" y="80998"/>
                  </a:cubicBezTo>
                  <a:cubicBezTo>
                    <a:pt x="776063" y="86268"/>
                    <a:pt x="782211" y="100823"/>
                    <a:pt x="777067" y="113746"/>
                  </a:cubicBezTo>
                  <a:cubicBezTo>
                    <a:pt x="771797" y="126545"/>
                    <a:pt x="757242" y="132693"/>
                    <a:pt x="744318" y="127549"/>
                  </a:cubicBezTo>
                  <a:cubicBezTo>
                    <a:pt x="544314" y="45991"/>
                    <a:pt x="436156" y="39968"/>
                    <a:pt x="404411" y="59542"/>
                  </a:cubicBezTo>
                  <a:cubicBezTo>
                    <a:pt x="291360" y="129180"/>
                    <a:pt x="196000" y="162179"/>
                    <a:pt x="136024" y="177612"/>
                  </a:cubicBezTo>
                  <a:cubicBezTo>
                    <a:pt x="127868" y="179745"/>
                    <a:pt x="70527" y="194175"/>
                    <a:pt x="35394" y="194175"/>
                  </a:cubicBezTo>
                  <a:close/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5" name="Freeform 164">
              <a:extLst>
                <a:ext uri="{FF2B5EF4-FFF2-40B4-BE49-F238E27FC236}">
                  <a16:creationId xmlns:a16="http://schemas.microsoft.com/office/drawing/2014/main" id="{A55B3C36-999F-40A2-0ECD-056C47E5E87F}"/>
                </a:ext>
              </a:extLst>
            </p:cNvPr>
            <p:cNvSpPr/>
            <p:nvPr/>
          </p:nvSpPr>
          <p:spPr>
            <a:xfrm>
              <a:off x="6514195" y="4040107"/>
              <a:ext cx="560275" cy="117809"/>
            </a:xfrm>
            <a:custGeom>
              <a:avLst/>
              <a:gdLst>
                <a:gd name="connsiteX0" fmla="*/ 2767 w 560275"/>
                <a:gd name="connsiteY0" fmla="*/ 101649 h 117809"/>
                <a:gd name="connsiteX1" fmla="*/ 12303 w 560275"/>
                <a:gd name="connsiteY1" fmla="*/ 69151 h 117809"/>
                <a:gd name="connsiteX2" fmla="*/ 13557 w 560275"/>
                <a:gd name="connsiteY2" fmla="*/ 68649 h 117809"/>
                <a:gd name="connsiteX3" fmla="*/ 535401 w 560275"/>
                <a:gd name="connsiteY3" fmla="*/ 141 h 117809"/>
                <a:gd name="connsiteX4" fmla="*/ 557233 w 560275"/>
                <a:gd name="connsiteY4" fmla="*/ 37657 h 117809"/>
                <a:gd name="connsiteX5" fmla="*/ 535150 w 560275"/>
                <a:gd name="connsiteY5" fmla="*/ 50330 h 117809"/>
                <a:gd name="connsiteX6" fmla="*/ 534899 w 560275"/>
                <a:gd name="connsiteY6" fmla="*/ 50330 h 117809"/>
                <a:gd name="connsiteX7" fmla="*/ 34009 w 560275"/>
                <a:gd name="connsiteY7" fmla="*/ 114447 h 117809"/>
                <a:gd name="connsiteX8" fmla="*/ 2767 w 560275"/>
                <a:gd name="connsiteY8" fmla="*/ 101649 h 117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0275" h="117809">
                  <a:moveTo>
                    <a:pt x="2767" y="101649"/>
                  </a:moveTo>
                  <a:cubicBezTo>
                    <a:pt x="-7020" y="78060"/>
                    <a:pt x="12303" y="69151"/>
                    <a:pt x="12303" y="69151"/>
                  </a:cubicBezTo>
                  <a:lnTo>
                    <a:pt x="13557" y="68649"/>
                  </a:lnTo>
                  <a:cubicBezTo>
                    <a:pt x="61739" y="47068"/>
                    <a:pt x="209170" y="-2996"/>
                    <a:pt x="535401" y="141"/>
                  </a:cubicBezTo>
                  <a:cubicBezTo>
                    <a:pt x="553218" y="266"/>
                    <a:pt x="566518" y="18962"/>
                    <a:pt x="557233" y="37657"/>
                  </a:cubicBezTo>
                  <a:cubicBezTo>
                    <a:pt x="553218" y="45813"/>
                    <a:pt x="544309" y="50330"/>
                    <a:pt x="535150" y="50330"/>
                  </a:cubicBezTo>
                  <a:lnTo>
                    <a:pt x="534899" y="50330"/>
                  </a:lnTo>
                  <a:cubicBezTo>
                    <a:pt x="209923" y="47319"/>
                    <a:pt x="69268" y="98637"/>
                    <a:pt x="34009" y="114447"/>
                  </a:cubicBezTo>
                  <a:cubicBezTo>
                    <a:pt x="29116" y="116705"/>
                    <a:pt x="12554" y="125238"/>
                    <a:pt x="2767" y="101649"/>
                  </a:cubicBezTo>
                  <a:close/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grpSp>
          <p:nvGrpSpPr>
            <p:cNvPr id="166" name="Graphic 5">
              <a:extLst>
                <a:ext uri="{FF2B5EF4-FFF2-40B4-BE49-F238E27FC236}">
                  <a16:creationId xmlns:a16="http://schemas.microsoft.com/office/drawing/2014/main" id="{D0E82D45-2A60-F03D-69C0-C44182F4088E}"/>
                </a:ext>
              </a:extLst>
            </p:cNvPr>
            <p:cNvGrpSpPr/>
            <p:nvPr/>
          </p:nvGrpSpPr>
          <p:grpSpPr>
            <a:xfrm>
              <a:off x="6179957" y="1882478"/>
              <a:ext cx="1225477" cy="1144198"/>
              <a:chOff x="6179957" y="1882478"/>
              <a:chExt cx="1225477" cy="1144198"/>
            </a:xfrm>
          </p:grpSpPr>
          <p:sp>
            <p:nvSpPr>
              <p:cNvPr id="218" name="Freeform 217">
                <a:extLst>
                  <a:ext uri="{FF2B5EF4-FFF2-40B4-BE49-F238E27FC236}">
                    <a16:creationId xmlns:a16="http://schemas.microsoft.com/office/drawing/2014/main" id="{D5A3BCD0-6799-A44A-F205-B6C88A392460}"/>
                  </a:ext>
                </a:extLst>
              </p:cNvPr>
              <p:cNvSpPr/>
              <p:nvPr/>
            </p:nvSpPr>
            <p:spPr>
              <a:xfrm>
                <a:off x="6179957" y="1882478"/>
                <a:ext cx="896191" cy="753222"/>
              </a:xfrm>
              <a:custGeom>
                <a:avLst/>
                <a:gdLst>
                  <a:gd name="connsiteX0" fmla="*/ 860353 w 896191"/>
                  <a:gd name="connsiteY0" fmla="*/ 177301 h 753222"/>
                  <a:gd name="connsiteX1" fmla="*/ 821582 w 896191"/>
                  <a:gd name="connsiteY1" fmla="*/ 36520 h 753222"/>
                  <a:gd name="connsiteX2" fmla="*/ 6006 w 896191"/>
                  <a:gd name="connsiteY2" fmla="*/ 479691 h 753222"/>
                  <a:gd name="connsiteX3" fmla="*/ 143776 w 896191"/>
                  <a:gd name="connsiteY3" fmla="*/ 753223 h 753222"/>
                  <a:gd name="connsiteX4" fmla="*/ 346917 w 896191"/>
                  <a:gd name="connsiteY4" fmla="*/ 290729 h 753222"/>
                  <a:gd name="connsiteX5" fmla="*/ 816061 w 896191"/>
                  <a:gd name="connsiteY5" fmla="*/ 188092 h 753222"/>
                  <a:gd name="connsiteX6" fmla="*/ 860353 w 896191"/>
                  <a:gd name="connsiteY6" fmla="*/ 177301 h 7532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96191" h="753222">
                    <a:moveTo>
                      <a:pt x="860353" y="177301"/>
                    </a:moveTo>
                    <a:cubicBezTo>
                      <a:pt x="930493" y="180563"/>
                      <a:pt x="886954" y="62116"/>
                      <a:pt x="821582" y="36520"/>
                    </a:cubicBezTo>
                    <a:cubicBezTo>
                      <a:pt x="493595" y="-92216"/>
                      <a:pt x="76397" y="134514"/>
                      <a:pt x="6006" y="479691"/>
                    </a:cubicBezTo>
                    <a:cubicBezTo>
                      <a:pt x="-17332" y="594123"/>
                      <a:pt x="27086" y="750337"/>
                      <a:pt x="143776" y="753223"/>
                    </a:cubicBezTo>
                    <a:cubicBezTo>
                      <a:pt x="126210" y="578062"/>
                      <a:pt x="206136" y="396377"/>
                      <a:pt x="346917" y="290729"/>
                    </a:cubicBezTo>
                    <a:cubicBezTo>
                      <a:pt x="487698" y="185206"/>
                      <a:pt x="652821" y="122218"/>
                      <a:pt x="816061" y="188092"/>
                    </a:cubicBezTo>
                    <a:lnTo>
                      <a:pt x="860353" y="177301"/>
                    </a:lnTo>
                    <a:close/>
                  </a:path>
                </a:pathLst>
              </a:custGeom>
              <a:solidFill>
                <a:srgbClr val="562480"/>
              </a:solidFill>
              <a:ln w="125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19" name="Freeform 218">
                <a:extLst>
                  <a:ext uri="{FF2B5EF4-FFF2-40B4-BE49-F238E27FC236}">
                    <a16:creationId xmlns:a16="http://schemas.microsoft.com/office/drawing/2014/main" id="{40E182A6-BFE0-70B1-486F-3288E299F544}"/>
                  </a:ext>
                </a:extLst>
              </p:cNvPr>
              <p:cNvSpPr/>
              <p:nvPr/>
            </p:nvSpPr>
            <p:spPr>
              <a:xfrm>
                <a:off x="6870973" y="2063218"/>
                <a:ext cx="534461" cy="926179"/>
              </a:xfrm>
              <a:custGeom>
                <a:avLst/>
                <a:gdLst>
                  <a:gd name="connsiteX0" fmla="*/ 16134 w 534461"/>
                  <a:gd name="connsiteY0" fmla="*/ 821546 h 926179"/>
                  <a:gd name="connsiteX1" fmla="*/ 116387 w 534461"/>
                  <a:gd name="connsiteY1" fmla="*/ 925815 h 926179"/>
                  <a:gd name="connsiteX2" fmla="*/ 497073 w 534461"/>
                  <a:gd name="connsiteY2" fmla="*/ 186652 h 926179"/>
                  <a:gd name="connsiteX3" fmla="*/ 255788 w 534461"/>
                  <a:gd name="connsiteY3" fmla="*/ 11491 h 926179"/>
                  <a:gd name="connsiteX4" fmla="*/ 339855 w 534461"/>
                  <a:gd name="connsiteY4" fmla="*/ 498829 h 926179"/>
                  <a:gd name="connsiteX5" fmla="*/ 43487 w 534461"/>
                  <a:gd name="connsiteY5" fmla="*/ 792813 h 926179"/>
                  <a:gd name="connsiteX6" fmla="*/ 16134 w 534461"/>
                  <a:gd name="connsiteY6" fmla="*/ 821546 h 926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34461" h="926179">
                    <a:moveTo>
                      <a:pt x="16134" y="821546"/>
                    </a:moveTo>
                    <a:cubicBezTo>
                      <a:pt x="-37568" y="849402"/>
                      <a:pt x="54906" y="932339"/>
                      <a:pt x="116387" y="925815"/>
                    </a:cubicBezTo>
                    <a:cubicBezTo>
                      <a:pt x="425428" y="892941"/>
                      <a:pt x="620163" y="514890"/>
                      <a:pt x="497073" y="186652"/>
                    </a:cubicBezTo>
                    <a:cubicBezTo>
                      <a:pt x="456294" y="77867"/>
                      <a:pt x="343870" y="-37192"/>
                      <a:pt x="255788" y="11491"/>
                    </a:cubicBezTo>
                    <a:cubicBezTo>
                      <a:pt x="357798" y="154656"/>
                      <a:pt x="390798" y="346254"/>
                      <a:pt x="339855" y="498829"/>
                    </a:cubicBezTo>
                    <a:cubicBezTo>
                      <a:pt x="288913" y="651530"/>
                      <a:pt x="198196" y="778007"/>
                      <a:pt x="43487" y="792813"/>
                    </a:cubicBezTo>
                    <a:lnTo>
                      <a:pt x="16134" y="821546"/>
                    </a:lnTo>
                    <a:close/>
                  </a:path>
                </a:pathLst>
              </a:custGeom>
              <a:solidFill>
                <a:srgbClr val="562480"/>
              </a:solidFill>
              <a:ln w="125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20" name="Freeform 219">
                <a:extLst>
                  <a:ext uri="{FF2B5EF4-FFF2-40B4-BE49-F238E27FC236}">
                    <a16:creationId xmlns:a16="http://schemas.microsoft.com/office/drawing/2014/main" id="{2979B59B-9511-54FD-53D6-592D7E1F487F}"/>
                  </a:ext>
                </a:extLst>
              </p:cNvPr>
              <p:cNvSpPr/>
              <p:nvPr/>
            </p:nvSpPr>
            <p:spPr>
              <a:xfrm>
                <a:off x="6224422" y="2593004"/>
                <a:ext cx="735256" cy="433672"/>
              </a:xfrm>
              <a:custGeom>
                <a:avLst/>
                <a:gdLst>
                  <a:gd name="connsiteX0" fmla="*/ 4077 w 735256"/>
                  <a:gd name="connsiteY0" fmla="*/ 129524 h 433672"/>
                  <a:gd name="connsiteX1" fmla="*/ 492544 w 735256"/>
                  <a:gd name="connsiteY1" fmla="*/ 433671 h 433672"/>
                  <a:gd name="connsiteX2" fmla="*/ 733328 w 735256"/>
                  <a:gd name="connsiteY2" fmla="*/ 244458 h 433672"/>
                  <a:gd name="connsiteX3" fmla="*/ 239841 w 735256"/>
                  <a:gd name="connsiteY3" fmla="*/ 136802 h 433672"/>
                  <a:gd name="connsiteX4" fmla="*/ 139714 w 735256"/>
                  <a:gd name="connsiteY4" fmla="*/ 26636 h 433672"/>
                  <a:gd name="connsiteX5" fmla="*/ 53764 w 735256"/>
                  <a:gd name="connsiteY5" fmla="*/ 16222 h 433672"/>
                  <a:gd name="connsiteX6" fmla="*/ 3952 w 735256"/>
                  <a:gd name="connsiteY6" fmla="*/ 129524 h 433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35256" h="433672">
                    <a:moveTo>
                      <a:pt x="4077" y="129524"/>
                    </a:moveTo>
                    <a:cubicBezTo>
                      <a:pt x="110353" y="377459"/>
                      <a:pt x="140216" y="432919"/>
                      <a:pt x="492544" y="433671"/>
                    </a:cubicBezTo>
                    <a:cubicBezTo>
                      <a:pt x="609234" y="433922"/>
                      <a:pt x="753654" y="359517"/>
                      <a:pt x="733328" y="244458"/>
                    </a:cubicBezTo>
                    <a:cubicBezTo>
                      <a:pt x="565068" y="296278"/>
                      <a:pt x="371212" y="253994"/>
                      <a:pt x="239841" y="136802"/>
                    </a:cubicBezTo>
                    <a:cubicBezTo>
                      <a:pt x="137957" y="45834"/>
                      <a:pt x="163052" y="66035"/>
                      <a:pt x="139714" y="26636"/>
                    </a:cubicBezTo>
                    <a:cubicBezTo>
                      <a:pt x="121520" y="-4105"/>
                      <a:pt x="78985" y="-9124"/>
                      <a:pt x="53764" y="16222"/>
                    </a:cubicBezTo>
                    <a:cubicBezTo>
                      <a:pt x="21643" y="48469"/>
                      <a:pt x="-11607" y="93262"/>
                      <a:pt x="3952" y="129524"/>
                    </a:cubicBezTo>
                    <a:close/>
                  </a:path>
                </a:pathLst>
              </a:custGeom>
              <a:solidFill>
                <a:srgbClr val="562480"/>
              </a:solidFill>
              <a:ln w="125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21" name="Freeform 220">
                <a:extLst>
                  <a:ext uri="{FF2B5EF4-FFF2-40B4-BE49-F238E27FC236}">
                    <a16:creationId xmlns:a16="http://schemas.microsoft.com/office/drawing/2014/main" id="{A5B96708-E439-7107-6ACC-205B7F74B26F}"/>
                  </a:ext>
                </a:extLst>
              </p:cNvPr>
              <p:cNvSpPr/>
              <p:nvPr/>
            </p:nvSpPr>
            <p:spPr>
              <a:xfrm>
                <a:off x="6245061" y="1936062"/>
                <a:ext cx="1048705" cy="1048705"/>
              </a:xfrm>
              <a:custGeom>
                <a:avLst/>
                <a:gdLst>
                  <a:gd name="connsiteX0" fmla="*/ 1048705 w 1048705"/>
                  <a:gd name="connsiteY0" fmla="*/ 524353 h 1048705"/>
                  <a:gd name="connsiteX1" fmla="*/ 524353 w 1048705"/>
                  <a:gd name="connsiteY1" fmla="*/ 1048705 h 1048705"/>
                  <a:gd name="connsiteX2" fmla="*/ 0 w 1048705"/>
                  <a:gd name="connsiteY2" fmla="*/ 524353 h 1048705"/>
                  <a:gd name="connsiteX3" fmla="*/ 524353 w 1048705"/>
                  <a:gd name="connsiteY3" fmla="*/ 0 h 1048705"/>
                  <a:gd name="connsiteX4" fmla="*/ 1048705 w 1048705"/>
                  <a:gd name="connsiteY4" fmla="*/ 524353 h 1048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48705" h="1048705">
                    <a:moveTo>
                      <a:pt x="1048705" y="524353"/>
                    </a:moveTo>
                    <a:cubicBezTo>
                      <a:pt x="1048705" y="813945"/>
                      <a:pt x="813945" y="1048705"/>
                      <a:pt x="524353" y="1048705"/>
                    </a:cubicBezTo>
                    <a:cubicBezTo>
                      <a:pt x="234761" y="1048705"/>
                      <a:pt x="0" y="813945"/>
                      <a:pt x="0" y="524353"/>
                    </a:cubicBezTo>
                    <a:cubicBezTo>
                      <a:pt x="0" y="234761"/>
                      <a:pt x="234761" y="0"/>
                      <a:pt x="524353" y="0"/>
                    </a:cubicBezTo>
                    <a:cubicBezTo>
                      <a:pt x="813945" y="0"/>
                      <a:pt x="1048705" y="234761"/>
                      <a:pt x="1048705" y="524353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5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22" name="Freeform 221">
                <a:extLst>
                  <a:ext uri="{FF2B5EF4-FFF2-40B4-BE49-F238E27FC236}">
                    <a16:creationId xmlns:a16="http://schemas.microsoft.com/office/drawing/2014/main" id="{DAE0C92D-44C7-5C2E-404B-534D0ECA9280}"/>
                  </a:ext>
                </a:extLst>
              </p:cNvPr>
              <p:cNvSpPr/>
              <p:nvPr/>
            </p:nvSpPr>
            <p:spPr>
              <a:xfrm>
                <a:off x="6342805" y="2033806"/>
                <a:ext cx="853217" cy="853217"/>
              </a:xfrm>
              <a:custGeom>
                <a:avLst/>
                <a:gdLst>
                  <a:gd name="connsiteX0" fmla="*/ 853218 w 853217"/>
                  <a:gd name="connsiteY0" fmla="*/ 426609 h 853217"/>
                  <a:gd name="connsiteX1" fmla="*/ 426609 w 853217"/>
                  <a:gd name="connsiteY1" fmla="*/ 853218 h 853217"/>
                  <a:gd name="connsiteX2" fmla="*/ 0 w 853217"/>
                  <a:gd name="connsiteY2" fmla="*/ 426609 h 853217"/>
                  <a:gd name="connsiteX3" fmla="*/ 426609 w 853217"/>
                  <a:gd name="connsiteY3" fmla="*/ 0 h 853217"/>
                  <a:gd name="connsiteX4" fmla="*/ 853218 w 853217"/>
                  <a:gd name="connsiteY4" fmla="*/ 426609 h 8532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3217" h="853217">
                    <a:moveTo>
                      <a:pt x="853218" y="426609"/>
                    </a:moveTo>
                    <a:cubicBezTo>
                      <a:pt x="853218" y="662219"/>
                      <a:pt x="662219" y="853218"/>
                      <a:pt x="426609" y="853218"/>
                    </a:cubicBezTo>
                    <a:cubicBezTo>
                      <a:pt x="190999" y="853218"/>
                      <a:pt x="0" y="662219"/>
                      <a:pt x="0" y="426609"/>
                    </a:cubicBezTo>
                    <a:cubicBezTo>
                      <a:pt x="0" y="190999"/>
                      <a:pt x="190999" y="0"/>
                      <a:pt x="426609" y="0"/>
                    </a:cubicBezTo>
                    <a:cubicBezTo>
                      <a:pt x="662219" y="0"/>
                      <a:pt x="853218" y="190999"/>
                      <a:pt x="853218" y="426609"/>
                    </a:cubicBezTo>
                    <a:close/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 w="125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23" name="Freeform 222">
                <a:extLst>
                  <a:ext uri="{FF2B5EF4-FFF2-40B4-BE49-F238E27FC236}">
                    <a16:creationId xmlns:a16="http://schemas.microsoft.com/office/drawing/2014/main" id="{9A3ABD3A-AE8A-26EC-1FE3-D8AFE09B5B14}"/>
                  </a:ext>
                </a:extLst>
              </p:cNvPr>
              <p:cNvSpPr/>
              <p:nvPr/>
            </p:nvSpPr>
            <p:spPr>
              <a:xfrm>
                <a:off x="6342679" y="2033806"/>
                <a:ext cx="853218" cy="853217"/>
              </a:xfrm>
              <a:custGeom>
                <a:avLst/>
                <a:gdLst>
                  <a:gd name="connsiteX0" fmla="*/ 853218 w 853218"/>
                  <a:gd name="connsiteY0" fmla="*/ 426609 h 853217"/>
                  <a:gd name="connsiteX1" fmla="*/ 426609 w 853218"/>
                  <a:gd name="connsiteY1" fmla="*/ 853218 h 853217"/>
                  <a:gd name="connsiteX2" fmla="*/ 0 w 853218"/>
                  <a:gd name="connsiteY2" fmla="*/ 426609 h 853217"/>
                  <a:gd name="connsiteX3" fmla="*/ 426609 w 853218"/>
                  <a:gd name="connsiteY3" fmla="*/ 0 h 853217"/>
                  <a:gd name="connsiteX4" fmla="*/ 853218 w 853218"/>
                  <a:gd name="connsiteY4" fmla="*/ 426609 h 853217"/>
                  <a:gd name="connsiteX5" fmla="*/ 323344 w 853218"/>
                  <a:gd name="connsiteY5" fmla="*/ 91470 h 853217"/>
                  <a:gd name="connsiteX6" fmla="*/ 323344 w 853218"/>
                  <a:gd name="connsiteY6" fmla="*/ 91470 h 853217"/>
                  <a:gd name="connsiteX7" fmla="*/ 262866 w 853218"/>
                  <a:gd name="connsiteY7" fmla="*/ 116565 h 853217"/>
                  <a:gd name="connsiteX8" fmla="*/ 262866 w 853218"/>
                  <a:gd name="connsiteY8" fmla="*/ 116565 h 853217"/>
                  <a:gd name="connsiteX9" fmla="*/ 116690 w 853218"/>
                  <a:gd name="connsiteY9" fmla="*/ 262741 h 853217"/>
                  <a:gd name="connsiteX10" fmla="*/ 116690 w 853218"/>
                  <a:gd name="connsiteY10" fmla="*/ 262741 h 853217"/>
                  <a:gd name="connsiteX11" fmla="*/ 91596 w 853218"/>
                  <a:gd name="connsiteY11" fmla="*/ 323219 h 853217"/>
                  <a:gd name="connsiteX12" fmla="*/ 91596 w 853218"/>
                  <a:gd name="connsiteY12" fmla="*/ 323219 h 853217"/>
                  <a:gd name="connsiteX13" fmla="*/ 91596 w 853218"/>
                  <a:gd name="connsiteY13" fmla="*/ 529873 h 853217"/>
                  <a:gd name="connsiteX14" fmla="*/ 91596 w 853218"/>
                  <a:gd name="connsiteY14" fmla="*/ 529873 h 853217"/>
                  <a:gd name="connsiteX15" fmla="*/ 116690 w 853218"/>
                  <a:gd name="connsiteY15" fmla="*/ 590352 h 853217"/>
                  <a:gd name="connsiteX16" fmla="*/ 116690 w 853218"/>
                  <a:gd name="connsiteY16" fmla="*/ 590352 h 853217"/>
                  <a:gd name="connsiteX17" fmla="*/ 262866 w 853218"/>
                  <a:gd name="connsiteY17" fmla="*/ 736528 h 853217"/>
                  <a:gd name="connsiteX18" fmla="*/ 262866 w 853218"/>
                  <a:gd name="connsiteY18" fmla="*/ 736528 h 853217"/>
                  <a:gd name="connsiteX19" fmla="*/ 323344 w 853218"/>
                  <a:gd name="connsiteY19" fmla="*/ 761623 h 853217"/>
                  <a:gd name="connsiteX20" fmla="*/ 323344 w 853218"/>
                  <a:gd name="connsiteY20" fmla="*/ 761623 h 853217"/>
                  <a:gd name="connsiteX21" fmla="*/ 529999 w 853218"/>
                  <a:gd name="connsiteY21" fmla="*/ 761623 h 853217"/>
                  <a:gd name="connsiteX22" fmla="*/ 529999 w 853218"/>
                  <a:gd name="connsiteY22" fmla="*/ 761623 h 853217"/>
                  <a:gd name="connsiteX23" fmla="*/ 590477 w 853218"/>
                  <a:gd name="connsiteY23" fmla="*/ 736528 h 853217"/>
                  <a:gd name="connsiteX24" fmla="*/ 590477 w 853218"/>
                  <a:gd name="connsiteY24" fmla="*/ 736528 h 853217"/>
                  <a:gd name="connsiteX25" fmla="*/ 736653 w 853218"/>
                  <a:gd name="connsiteY25" fmla="*/ 590352 h 853217"/>
                  <a:gd name="connsiteX26" fmla="*/ 736653 w 853218"/>
                  <a:gd name="connsiteY26" fmla="*/ 590352 h 853217"/>
                  <a:gd name="connsiteX27" fmla="*/ 761748 w 853218"/>
                  <a:gd name="connsiteY27" fmla="*/ 529873 h 853217"/>
                  <a:gd name="connsiteX28" fmla="*/ 761748 w 853218"/>
                  <a:gd name="connsiteY28" fmla="*/ 529873 h 853217"/>
                  <a:gd name="connsiteX29" fmla="*/ 761748 w 853218"/>
                  <a:gd name="connsiteY29" fmla="*/ 323219 h 853217"/>
                  <a:gd name="connsiteX30" fmla="*/ 761748 w 853218"/>
                  <a:gd name="connsiteY30" fmla="*/ 323219 h 853217"/>
                  <a:gd name="connsiteX31" fmla="*/ 736653 w 853218"/>
                  <a:gd name="connsiteY31" fmla="*/ 262741 h 853217"/>
                  <a:gd name="connsiteX32" fmla="*/ 736653 w 853218"/>
                  <a:gd name="connsiteY32" fmla="*/ 262741 h 853217"/>
                  <a:gd name="connsiteX33" fmla="*/ 590477 w 853218"/>
                  <a:gd name="connsiteY33" fmla="*/ 116565 h 853217"/>
                  <a:gd name="connsiteX34" fmla="*/ 590477 w 853218"/>
                  <a:gd name="connsiteY34" fmla="*/ 116565 h 853217"/>
                  <a:gd name="connsiteX35" fmla="*/ 529999 w 853218"/>
                  <a:gd name="connsiteY35" fmla="*/ 91470 h 853217"/>
                  <a:gd name="connsiteX36" fmla="*/ 529999 w 853218"/>
                  <a:gd name="connsiteY36" fmla="*/ 91470 h 853217"/>
                  <a:gd name="connsiteX37" fmla="*/ 323344 w 853218"/>
                  <a:gd name="connsiteY37" fmla="*/ 91470 h 8532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853218" h="853217">
                    <a:moveTo>
                      <a:pt x="853218" y="426609"/>
                    </a:moveTo>
                    <a:cubicBezTo>
                      <a:pt x="853218" y="662248"/>
                      <a:pt x="662248" y="853218"/>
                      <a:pt x="426609" y="853218"/>
                    </a:cubicBezTo>
                    <a:cubicBezTo>
                      <a:pt x="190970" y="853218"/>
                      <a:pt x="0" y="662248"/>
                      <a:pt x="0" y="426609"/>
                    </a:cubicBezTo>
                    <a:cubicBezTo>
                      <a:pt x="0" y="190970"/>
                      <a:pt x="190970" y="0"/>
                      <a:pt x="426609" y="0"/>
                    </a:cubicBezTo>
                    <a:cubicBezTo>
                      <a:pt x="662248" y="0"/>
                      <a:pt x="853218" y="190970"/>
                      <a:pt x="853218" y="426609"/>
                    </a:cubicBezTo>
                    <a:close/>
                    <a:moveTo>
                      <a:pt x="323344" y="91470"/>
                    </a:moveTo>
                    <a:lnTo>
                      <a:pt x="323344" y="91470"/>
                    </a:lnTo>
                    <a:cubicBezTo>
                      <a:pt x="309919" y="111169"/>
                      <a:pt x="286204" y="120956"/>
                      <a:pt x="262866" y="116565"/>
                    </a:cubicBezTo>
                    <a:lnTo>
                      <a:pt x="262866" y="116565"/>
                    </a:lnTo>
                    <a:cubicBezTo>
                      <a:pt x="176290" y="100128"/>
                      <a:pt x="100379" y="176164"/>
                      <a:pt x="116690" y="262741"/>
                    </a:cubicBezTo>
                    <a:lnTo>
                      <a:pt x="116690" y="262741"/>
                    </a:lnTo>
                    <a:cubicBezTo>
                      <a:pt x="121082" y="286079"/>
                      <a:pt x="111295" y="309919"/>
                      <a:pt x="91596" y="323219"/>
                    </a:cubicBezTo>
                    <a:lnTo>
                      <a:pt x="91596" y="323219"/>
                    </a:lnTo>
                    <a:cubicBezTo>
                      <a:pt x="18821" y="372906"/>
                      <a:pt x="18821" y="480186"/>
                      <a:pt x="91596" y="529873"/>
                    </a:cubicBezTo>
                    <a:lnTo>
                      <a:pt x="91596" y="529873"/>
                    </a:lnTo>
                    <a:cubicBezTo>
                      <a:pt x="111295" y="543299"/>
                      <a:pt x="121082" y="567014"/>
                      <a:pt x="116690" y="590352"/>
                    </a:cubicBezTo>
                    <a:lnTo>
                      <a:pt x="116690" y="590352"/>
                    </a:lnTo>
                    <a:cubicBezTo>
                      <a:pt x="100253" y="676928"/>
                      <a:pt x="176290" y="752839"/>
                      <a:pt x="262866" y="736528"/>
                    </a:cubicBezTo>
                    <a:lnTo>
                      <a:pt x="262866" y="736528"/>
                    </a:lnTo>
                    <a:cubicBezTo>
                      <a:pt x="286204" y="732136"/>
                      <a:pt x="310044" y="741923"/>
                      <a:pt x="323344" y="761623"/>
                    </a:cubicBezTo>
                    <a:lnTo>
                      <a:pt x="323344" y="761623"/>
                    </a:lnTo>
                    <a:cubicBezTo>
                      <a:pt x="373032" y="834397"/>
                      <a:pt x="480312" y="834397"/>
                      <a:pt x="529999" y="761623"/>
                    </a:cubicBezTo>
                    <a:lnTo>
                      <a:pt x="529999" y="761623"/>
                    </a:lnTo>
                    <a:cubicBezTo>
                      <a:pt x="543425" y="741923"/>
                      <a:pt x="567139" y="732136"/>
                      <a:pt x="590477" y="736528"/>
                    </a:cubicBezTo>
                    <a:lnTo>
                      <a:pt x="590477" y="736528"/>
                    </a:lnTo>
                    <a:cubicBezTo>
                      <a:pt x="677054" y="752965"/>
                      <a:pt x="752965" y="676928"/>
                      <a:pt x="736653" y="590352"/>
                    </a:cubicBezTo>
                    <a:lnTo>
                      <a:pt x="736653" y="590352"/>
                    </a:lnTo>
                    <a:cubicBezTo>
                      <a:pt x="732262" y="567014"/>
                      <a:pt x="742049" y="543174"/>
                      <a:pt x="761748" y="529873"/>
                    </a:cubicBezTo>
                    <a:lnTo>
                      <a:pt x="761748" y="529873"/>
                    </a:lnTo>
                    <a:cubicBezTo>
                      <a:pt x="834523" y="480186"/>
                      <a:pt x="834523" y="372906"/>
                      <a:pt x="761748" y="323219"/>
                    </a:cubicBezTo>
                    <a:lnTo>
                      <a:pt x="761748" y="323219"/>
                    </a:lnTo>
                    <a:cubicBezTo>
                      <a:pt x="742049" y="309793"/>
                      <a:pt x="732262" y="286079"/>
                      <a:pt x="736653" y="262741"/>
                    </a:cubicBezTo>
                    <a:lnTo>
                      <a:pt x="736653" y="262741"/>
                    </a:lnTo>
                    <a:cubicBezTo>
                      <a:pt x="753090" y="176164"/>
                      <a:pt x="677054" y="100253"/>
                      <a:pt x="590477" y="116565"/>
                    </a:cubicBezTo>
                    <a:lnTo>
                      <a:pt x="590477" y="116565"/>
                    </a:lnTo>
                    <a:cubicBezTo>
                      <a:pt x="567139" y="120956"/>
                      <a:pt x="543299" y="111169"/>
                      <a:pt x="529999" y="91470"/>
                    </a:cubicBezTo>
                    <a:lnTo>
                      <a:pt x="529999" y="91470"/>
                    </a:lnTo>
                    <a:cubicBezTo>
                      <a:pt x="480312" y="18696"/>
                      <a:pt x="373032" y="18696"/>
                      <a:pt x="323344" y="91470"/>
                    </a:cubicBezTo>
                    <a:close/>
                  </a:path>
                </a:pathLst>
              </a:custGeom>
              <a:solidFill>
                <a:srgbClr val="4DBEEE"/>
              </a:solidFill>
              <a:ln w="125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sp>
          <p:nvSpPr>
            <p:cNvPr id="167" name="Freeform 166">
              <a:extLst>
                <a:ext uri="{FF2B5EF4-FFF2-40B4-BE49-F238E27FC236}">
                  <a16:creationId xmlns:a16="http://schemas.microsoft.com/office/drawing/2014/main" id="{37D3745F-3846-214F-55D4-087EAC1ED592}"/>
                </a:ext>
              </a:extLst>
            </p:cNvPr>
            <p:cNvSpPr/>
            <p:nvPr/>
          </p:nvSpPr>
          <p:spPr>
            <a:xfrm>
              <a:off x="7203802" y="3561693"/>
              <a:ext cx="6524" cy="1003"/>
            </a:xfrm>
            <a:custGeom>
              <a:avLst/>
              <a:gdLst>
                <a:gd name="connsiteX0" fmla="*/ 0 w 6524"/>
                <a:gd name="connsiteY0" fmla="*/ 0 h 1003"/>
                <a:gd name="connsiteX1" fmla="*/ 6525 w 6524"/>
                <a:gd name="connsiteY1" fmla="*/ 1004 h 1003"/>
                <a:gd name="connsiteX2" fmla="*/ 0 w 6524"/>
                <a:gd name="connsiteY2" fmla="*/ 0 h 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524" h="1003">
                  <a:moveTo>
                    <a:pt x="0" y="0"/>
                  </a:moveTo>
                  <a:cubicBezTo>
                    <a:pt x="2259" y="627"/>
                    <a:pt x="4517" y="1004"/>
                    <a:pt x="6525" y="1004"/>
                  </a:cubicBezTo>
                  <a:cubicBezTo>
                    <a:pt x="4266" y="1004"/>
                    <a:pt x="2133" y="627"/>
                    <a:pt x="0" y="0"/>
                  </a:cubicBezTo>
                  <a:close/>
                </a:path>
              </a:pathLst>
            </a:custGeom>
            <a:noFill/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8" name="Freeform 167">
              <a:extLst>
                <a:ext uri="{FF2B5EF4-FFF2-40B4-BE49-F238E27FC236}">
                  <a16:creationId xmlns:a16="http://schemas.microsoft.com/office/drawing/2014/main" id="{E5DAA1A7-F0F9-DD86-1F60-2583E1BD2A63}"/>
                </a:ext>
              </a:extLst>
            </p:cNvPr>
            <p:cNvSpPr/>
            <p:nvPr/>
          </p:nvSpPr>
          <p:spPr>
            <a:xfrm>
              <a:off x="7197277" y="3558807"/>
              <a:ext cx="6524" cy="3011"/>
            </a:xfrm>
            <a:custGeom>
              <a:avLst/>
              <a:gdLst>
                <a:gd name="connsiteX0" fmla="*/ 0 w 6524"/>
                <a:gd name="connsiteY0" fmla="*/ 0 h 3011"/>
                <a:gd name="connsiteX1" fmla="*/ 6525 w 6524"/>
                <a:gd name="connsiteY1" fmla="*/ 3011 h 3011"/>
                <a:gd name="connsiteX2" fmla="*/ 0 w 6524"/>
                <a:gd name="connsiteY2" fmla="*/ 0 h 3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524" h="3011">
                  <a:moveTo>
                    <a:pt x="0" y="0"/>
                  </a:moveTo>
                  <a:cubicBezTo>
                    <a:pt x="2133" y="1380"/>
                    <a:pt x="4266" y="2258"/>
                    <a:pt x="6525" y="3011"/>
                  </a:cubicBezTo>
                  <a:cubicBezTo>
                    <a:pt x="4392" y="2384"/>
                    <a:pt x="2133" y="1506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9" name="Freeform 168">
              <a:extLst>
                <a:ext uri="{FF2B5EF4-FFF2-40B4-BE49-F238E27FC236}">
                  <a16:creationId xmlns:a16="http://schemas.microsoft.com/office/drawing/2014/main" id="{F327D4F0-9395-9086-B32B-905BABE55AE8}"/>
                </a:ext>
              </a:extLst>
            </p:cNvPr>
            <p:cNvSpPr/>
            <p:nvPr/>
          </p:nvSpPr>
          <p:spPr>
            <a:xfrm>
              <a:off x="5923097" y="3539861"/>
              <a:ext cx="38771" cy="56964"/>
            </a:xfrm>
            <a:custGeom>
              <a:avLst/>
              <a:gdLst>
                <a:gd name="connsiteX0" fmla="*/ 33250 w 38771"/>
                <a:gd name="connsiteY0" fmla="*/ 6776 h 56964"/>
                <a:gd name="connsiteX1" fmla="*/ 22460 w 38771"/>
                <a:gd name="connsiteY1" fmla="*/ 0 h 56964"/>
                <a:gd name="connsiteX2" fmla="*/ 0 w 38771"/>
                <a:gd name="connsiteY2" fmla="*/ 45045 h 56964"/>
                <a:gd name="connsiteX3" fmla="*/ 3764 w 38771"/>
                <a:gd name="connsiteY3" fmla="*/ 47429 h 56964"/>
                <a:gd name="connsiteX4" fmla="*/ 15935 w 38771"/>
                <a:gd name="connsiteY4" fmla="*/ 56965 h 56964"/>
                <a:gd name="connsiteX5" fmla="*/ 38771 w 38771"/>
                <a:gd name="connsiteY5" fmla="*/ 11042 h 56964"/>
                <a:gd name="connsiteX6" fmla="*/ 33250 w 38771"/>
                <a:gd name="connsiteY6" fmla="*/ 6901 h 56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771" h="56964">
                  <a:moveTo>
                    <a:pt x="33250" y="6776"/>
                  </a:moveTo>
                  <a:cubicBezTo>
                    <a:pt x="29863" y="4266"/>
                    <a:pt x="26224" y="2008"/>
                    <a:pt x="22460" y="0"/>
                  </a:cubicBezTo>
                  <a:lnTo>
                    <a:pt x="0" y="45045"/>
                  </a:lnTo>
                  <a:cubicBezTo>
                    <a:pt x="1255" y="45798"/>
                    <a:pt x="2635" y="46551"/>
                    <a:pt x="3764" y="47429"/>
                  </a:cubicBezTo>
                  <a:cubicBezTo>
                    <a:pt x="7152" y="49938"/>
                    <a:pt x="11293" y="53201"/>
                    <a:pt x="15935" y="56965"/>
                  </a:cubicBezTo>
                  <a:lnTo>
                    <a:pt x="38771" y="11042"/>
                  </a:lnTo>
                  <a:cubicBezTo>
                    <a:pt x="36889" y="9536"/>
                    <a:pt x="35007" y="8030"/>
                    <a:pt x="33250" y="6901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0" name="Freeform 169">
              <a:extLst>
                <a:ext uri="{FF2B5EF4-FFF2-40B4-BE49-F238E27FC236}">
                  <a16:creationId xmlns:a16="http://schemas.microsoft.com/office/drawing/2014/main" id="{CB1E53AA-46E3-26B1-A894-36FBE90DB861}"/>
                </a:ext>
              </a:extLst>
            </p:cNvPr>
            <p:cNvSpPr/>
            <p:nvPr/>
          </p:nvSpPr>
          <p:spPr>
            <a:xfrm>
              <a:off x="6037026" y="3647893"/>
              <a:ext cx="46299" cy="52322"/>
            </a:xfrm>
            <a:custGeom>
              <a:avLst/>
              <a:gdLst>
                <a:gd name="connsiteX0" fmla="*/ 44794 w 46299"/>
                <a:gd name="connsiteY0" fmla="*/ 12046 h 52322"/>
                <a:gd name="connsiteX1" fmla="*/ 32247 w 46299"/>
                <a:gd name="connsiteY1" fmla="*/ 0 h 52322"/>
                <a:gd name="connsiteX2" fmla="*/ 0 w 46299"/>
                <a:gd name="connsiteY2" fmla="*/ 38646 h 52322"/>
                <a:gd name="connsiteX3" fmla="*/ 9410 w 46299"/>
                <a:gd name="connsiteY3" fmla="*/ 47680 h 52322"/>
                <a:gd name="connsiteX4" fmla="*/ 13928 w 46299"/>
                <a:gd name="connsiteY4" fmla="*/ 52322 h 52322"/>
                <a:gd name="connsiteX5" fmla="*/ 46300 w 46299"/>
                <a:gd name="connsiteY5" fmla="*/ 13677 h 52322"/>
                <a:gd name="connsiteX6" fmla="*/ 44794 w 46299"/>
                <a:gd name="connsiteY6" fmla="*/ 12046 h 52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299" h="52322">
                  <a:moveTo>
                    <a:pt x="44794" y="12046"/>
                  </a:moveTo>
                  <a:cubicBezTo>
                    <a:pt x="44041" y="11293"/>
                    <a:pt x="39273" y="6776"/>
                    <a:pt x="32247" y="0"/>
                  </a:cubicBezTo>
                  <a:lnTo>
                    <a:pt x="0" y="38646"/>
                  </a:lnTo>
                  <a:cubicBezTo>
                    <a:pt x="5772" y="44167"/>
                    <a:pt x="9285" y="47554"/>
                    <a:pt x="9410" y="47680"/>
                  </a:cubicBezTo>
                  <a:lnTo>
                    <a:pt x="13928" y="52322"/>
                  </a:lnTo>
                  <a:lnTo>
                    <a:pt x="46300" y="13677"/>
                  </a:lnTo>
                  <a:lnTo>
                    <a:pt x="44794" y="12046"/>
                  </a:ln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1" name="Freeform 170">
              <a:extLst>
                <a:ext uri="{FF2B5EF4-FFF2-40B4-BE49-F238E27FC236}">
                  <a16:creationId xmlns:a16="http://schemas.microsoft.com/office/drawing/2014/main" id="{DE453633-4A01-A3FB-7E9A-FE0C53DA7D62}"/>
                </a:ext>
              </a:extLst>
            </p:cNvPr>
            <p:cNvSpPr/>
            <p:nvPr/>
          </p:nvSpPr>
          <p:spPr>
            <a:xfrm>
              <a:off x="6164758" y="3768849"/>
              <a:ext cx="49185" cy="49311"/>
            </a:xfrm>
            <a:custGeom>
              <a:avLst/>
              <a:gdLst>
                <a:gd name="connsiteX0" fmla="*/ 32372 w 49185"/>
                <a:gd name="connsiteY0" fmla="*/ 126 h 49311"/>
                <a:gd name="connsiteX1" fmla="*/ 0 w 49185"/>
                <a:gd name="connsiteY1" fmla="*/ 38771 h 49311"/>
                <a:gd name="connsiteX2" fmla="*/ 16562 w 49185"/>
                <a:gd name="connsiteY2" fmla="*/ 49311 h 49311"/>
                <a:gd name="connsiteX3" fmla="*/ 49186 w 49185"/>
                <a:gd name="connsiteY3" fmla="*/ 10289 h 49311"/>
                <a:gd name="connsiteX4" fmla="*/ 32372 w 49185"/>
                <a:gd name="connsiteY4" fmla="*/ 0 h 49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185" h="49311">
                  <a:moveTo>
                    <a:pt x="32372" y="126"/>
                  </a:moveTo>
                  <a:lnTo>
                    <a:pt x="0" y="38771"/>
                  </a:lnTo>
                  <a:cubicBezTo>
                    <a:pt x="5395" y="42410"/>
                    <a:pt x="10916" y="46049"/>
                    <a:pt x="16562" y="49311"/>
                  </a:cubicBezTo>
                  <a:lnTo>
                    <a:pt x="49186" y="10289"/>
                  </a:lnTo>
                  <a:cubicBezTo>
                    <a:pt x="43414" y="7026"/>
                    <a:pt x="37893" y="3639"/>
                    <a:pt x="32372" y="0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2" name="Freeform 171">
              <a:extLst>
                <a:ext uri="{FF2B5EF4-FFF2-40B4-BE49-F238E27FC236}">
                  <a16:creationId xmlns:a16="http://schemas.microsoft.com/office/drawing/2014/main" id="{FE382F5E-F6E3-BA70-C971-C275EA7B0D5E}"/>
                </a:ext>
              </a:extLst>
            </p:cNvPr>
            <p:cNvSpPr/>
            <p:nvPr/>
          </p:nvSpPr>
          <p:spPr>
            <a:xfrm>
              <a:off x="6721107" y="3776629"/>
              <a:ext cx="30991" cy="53200"/>
            </a:xfrm>
            <a:custGeom>
              <a:avLst/>
              <a:gdLst>
                <a:gd name="connsiteX0" fmla="*/ 0 w 30991"/>
                <a:gd name="connsiteY0" fmla="*/ 4517 h 53200"/>
                <a:gd name="connsiteX1" fmla="*/ 12045 w 30991"/>
                <a:gd name="connsiteY1" fmla="*/ 53201 h 53200"/>
                <a:gd name="connsiteX2" fmla="*/ 30992 w 30991"/>
                <a:gd name="connsiteY2" fmla="*/ 48683 h 53200"/>
                <a:gd name="connsiteX3" fmla="*/ 18946 w 30991"/>
                <a:gd name="connsiteY3" fmla="*/ 0 h 53200"/>
                <a:gd name="connsiteX4" fmla="*/ 0 w 30991"/>
                <a:gd name="connsiteY4" fmla="*/ 4517 h 5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991" h="53200">
                  <a:moveTo>
                    <a:pt x="0" y="4517"/>
                  </a:moveTo>
                  <a:lnTo>
                    <a:pt x="12045" y="53201"/>
                  </a:lnTo>
                  <a:cubicBezTo>
                    <a:pt x="18570" y="51820"/>
                    <a:pt x="24969" y="50315"/>
                    <a:pt x="30992" y="48683"/>
                  </a:cubicBezTo>
                  <a:lnTo>
                    <a:pt x="18946" y="0"/>
                  </a:lnTo>
                  <a:cubicBezTo>
                    <a:pt x="13049" y="1631"/>
                    <a:pt x="6650" y="3137"/>
                    <a:pt x="0" y="4517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3" name="Freeform 172">
              <a:extLst>
                <a:ext uri="{FF2B5EF4-FFF2-40B4-BE49-F238E27FC236}">
                  <a16:creationId xmlns:a16="http://schemas.microsoft.com/office/drawing/2014/main" id="{F6678383-EA5C-3DF9-BE05-2AF3242958EE}"/>
                </a:ext>
              </a:extLst>
            </p:cNvPr>
            <p:cNvSpPr/>
            <p:nvPr/>
          </p:nvSpPr>
          <p:spPr>
            <a:xfrm>
              <a:off x="6883720" y="3703729"/>
              <a:ext cx="36136" cy="56839"/>
            </a:xfrm>
            <a:custGeom>
              <a:avLst/>
              <a:gdLst>
                <a:gd name="connsiteX0" fmla="*/ 0 w 36136"/>
                <a:gd name="connsiteY0" fmla="*/ 9912 h 56839"/>
                <a:gd name="connsiteX1" fmla="*/ 19072 w 36136"/>
                <a:gd name="connsiteY1" fmla="*/ 56839 h 56839"/>
                <a:gd name="connsiteX2" fmla="*/ 36136 w 36136"/>
                <a:gd name="connsiteY2" fmla="*/ 47052 h 56839"/>
                <a:gd name="connsiteX3" fmla="*/ 16939 w 36136"/>
                <a:gd name="connsiteY3" fmla="*/ 0 h 56839"/>
                <a:gd name="connsiteX4" fmla="*/ 0 w 36136"/>
                <a:gd name="connsiteY4" fmla="*/ 9912 h 56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136" h="56839">
                  <a:moveTo>
                    <a:pt x="0" y="9912"/>
                  </a:moveTo>
                  <a:lnTo>
                    <a:pt x="19072" y="56839"/>
                  </a:lnTo>
                  <a:cubicBezTo>
                    <a:pt x="25471" y="53326"/>
                    <a:pt x="31117" y="49938"/>
                    <a:pt x="36136" y="47052"/>
                  </a:cubicBezTo>
                  <a:lnTo>
                    <a:pt x="16939" y="0"/>
                  </a:lnTo>
                  <a:cubicBezTo>
                    <a:pt x="12296" y="2886"/>
                    <a:pt x="6525" y="6148"/>
                    <a:pt x="0" y="9912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4" name="Freeform 173">
              <a:extLst>
                <a:ext uri="{FF2B5EF4-FFF2-40B4-BE49-F238E27FC236}">
                  <a16:creationId xmlns:a16="http://schemas.microsoft.com/office/drawing/2014/main" id="{DFF7623A-9376-7074-145C-437352AD99AD}"/>
                </a:ext>
              </a:extLst>
            </p:cNvPr>
            <p:cNvSpPr/>
            <p:nvPr/>
          </p:nvSpPr>
          <p:spPr>
            <a:xfrm>
              <a:off x="7037926" y="3605609"/>
              <a:ext cx="37892" cy="56462"/>
            </a:xfrm>
            <a:custGeom>
              <a:avLst/>
              <a:gdLst>
                <a:gd name="connsiteX0" fmla="*/ 0 w 37892"/>
                <a:gd name="connsiteY0" fmla="*/ 10540 h 56462"/>
                <a:gd name="connsiteX1" fmla="*/ 21330 w 37892"/>
                <a:gd name="connsiteY1" fmla="*/ 56463 h 56462"/>
                <a:gd name="connsiteX2" fmla="*/ 37893 w 37892"/>
                <a:gd name="connsiteY2" fmla="*/ 45923 h 56462"/>
                <a:gd name="connsiteX3" fmla="*/ 16563 w 37892"/>
                <a:gd name="connsiteY3" fmla="*/ 0 h 56462"/>
                <a:gd name="connsiteX4" fmla="*/ 0 w 37892"/>
                <a:gd name="connsiteY4" fmla="*/ 10540 h 56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892" h="56462">
                  <a:moveTo>
                    <a:pt x="0" y="10540"/>
                  </a:moveTo>
                  <a:lnTo>
                    <a:pt x="21330" y="56463"/>
                  </a:lnTo>
                  <a:cubicBezTo>
                    <a:pt x="26851" y="52950"/>
                    <a:pt x="32372" y="49436"/>
                    <a:pt x="37893" y="45923"/>
                  </a:cubicBezTo>
                  <a:lnTo>
                    <a:pt x="16563" y="0"/>
                  </a:lnTo>
                  <a:cubicBezTo>
                    <a:pt x="11042" y="3513"/>
                    <a:pt x="5521" y="7026"/>
                    <a:pt x="0" y="10540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5" name="Freeform 174">
              <a:extLst>
                <a:ext uri="{FF2B5EF4-FFF2-40B4-BE49-F238E27FC236}">
                  <a16:creationId xmlns:a16="http://schemas.microsoft.com/office/drawing/2014/main" id="{FE5C0503-CD84-15C5-B6DB-131D930A44F3}"/>
                </a:ext>
              </a:extLst>
            </p:cNvPr>
            <p:cNvSpPr/>
            <p:nvPr/>
          </p:nvSpPr>
          <p:spPr>
            <a:xfrm>
              <a:off x="7546846" y="3434589"/>
              <a:ext cx="22585" cy="51695"/>
            </a:xfrm>
            <a:custGeom>
              <a:avLst/>
              <a:gdLst>
                <a:gd name="connsiteX0" fmla="*/ 10916 w 22585"/>
                <a:gd name="connsiteY0" fmla="*/ 627 h 51695"/>
                <a:gd name="connsiteX1" fmla="*/ 0 w 22585"/>
                <a:gd name="connsiteY1" fmla="*/ 1631 h 51695"/>
                <a:gd name="connsiteX2" fmla="*/ 3262 w 22585"/>
                <a:gd name="connsiteY2" fmla="*/ 51695 h 51695"/>
                <a:gd name="connsiteX3" fmla="*/ 14931 w 22585"/>
                <a:gd name="connsiteY3" fmla="*/ 50566 h 51695"/>
                <a:gd name="connsiteX4" fmla="*/ 22585 w 22585"/>
                <a:gd name="connsiteY4" fmla="*/ 50064 h 51695"/>
                <a:gd name="connsiteX5" fmla="*/ 19323 w 22585"/>
                <a:gd name="connsiteY5" fmla="*/ 0 h 51695"/>
                <a:gd name="connsiteX6" fmla="*/ 10916 w 22585"/>
                <a:gd name="connsiteY6" fmla="*/ 502 h 51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585" h="51695">
                  <a:moveTo>
                    <a:pt x="10916" y="627"/>
                  </a:moveTo>
                  <a:cubicBezTo>
                    <a:pt x="7277" y="1004"/>
                    <a:pt x="3639" y="1380"/>
                    <a:pt x="0" y="1631"/>
                  </a:cubicBezTo>
                  <a:lnTo>
                    <a:pt x="3262" y="51695"/>
                  </a:lnTo>
                  <a:cubicBezTo>
                    <a:pt x="7152" y="51319"/>
                    <a:pt x="10916" y="50942"/>
                    <a:pt x="14931" y="50566"/>
                  </a:cubicBezTo>
                  <a:lnTo>
                    <a:pt x="22585" y="50064"/>
                  </a:lnTo>
                  <a:lnTo>
                    <a:pt x="19323" y="0"/>
                  </a:lnTo>
                  <a:lnTo>
                    <a:pt x="10916" y="502"/>
                  </a:ln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6" name="Freeform 175">
              <a:extLst>
                <a:ext uri="{FF2B5EF4-FFF2-40B4-BE49-F238E27FC236}">
                  <a16:creationId xmlns:a16="http://schemas.microsoft.com/office/drawing/2014/main" id="{9CB7C8C5-0358-80AE-81C2-4856E5D7C19A}"/>
                </a:ext>
              </a:extLst>
            </p:cNvPr>
            <p:cNvSpPr/>
            <p:nvPr/>
          </p:nvSpPr>
          <p:spPr>
            <a:xfrm>
              <a:off x="7694402" y="3433334"/>
              <a:ext cx="22083" cy="50816"/>
            </a:xfrm>
            <a:custGeom>
              <a:avLst/>
              <a:gdLst>
                <a:gd name="connsiteX0" fmla="*/ 0 w 22083"/>
                <a:gd name="connsiteY0" fmla="*/ 0 h 50816"/>
                <a:gd name="connsiteX1" fmla="*/ 2509 w 22083"/>
                <a:gd name="connsiteY1" fmla="*/ 50315 h 50816"/>
                <a:gd name="connsiteX2" fmla="*/ 22083 w 22083"/>
                <a:gd name="connsiteY2" fmla="*/ 50817 h 50816"/>
                <a:gd name="connsiteX3" fmla="*/ 19574 w 22083"/>
                <a:gd name="connsiteY3" fmla="*/ 502 h 50816"/>
                <a:gd name="connsiteX4" fmla="*/ 0 w 22083"/>
                <a:gd name="connsiteY4" fmla="*/ 0 h 50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083" h="50816">
                  <a:moveTo>
                    <a:pt x="0" y="0"/>
                  </a:moveTo>
                  <a:lnTo>
                    <a:pt x="2509" y="50315"/>
                  </a:lnTo>
                  <a:cubicBezTo>
                    <a:pt x="8783" y="50440"/>
                    <a:pt x="15433" y="50691"/>
                    <a:pt x="22083" y="50817"/>
                  </a:cubicBezTo>
                  <a:lnTo>
                    <a:pt x="19574" y="502"/>
                  </a:lnTo>
                  <a:cubicBezTo>
                    <a:pt x="12924" y="251"/>
                    <a:pt x="6399" y="125"/>
                    <a:pt x="0" y="0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7" name="Freeform 176">
              <a:extLst>
                <a:ext uri="{FF2B5EF4-FFF2-40B4-BE49-F238E27FC236}">
                  <a16:creationId xmlns:a16="http://schemas.microsoft.com/office/drawing/2014/main" id="{24C82DD3-5EDB-7DD4-B8D9-A17CE567D662}"/>
                </a:ext>
              </a:extLst>
            </p:cNvPr>
            <p:cNvSpPr/>
            <p:nvPr/>
          </p:nvSpPr>
          <p:spPr>
            <a:xfrm>
              <a:off x="7846852" y="3438353"/>
              <a:ext cx="21581" cy="51067"/>
            </a:xfrm>
            <a:custGeom>
              <a:avLst/>
              <a:gdLst>
                <a:gd name="connsiteX0" fmla="*/ 2133 w 21581"/>
                <a:gd name="connsiteY0" fmla="*/ 125 h 51067"/>
                <a:gd name="connsiteX1" fmla="*/ 0 w 21581"/>
                <a:gd name="connsiteY1" fmla="*/ 50315 h 51067"/>
                <a:gd name="connsiteX2" fmla="*/ 19448 w 21581"/>
                <a:gd name="connsiteY2" fmla="*/ 51068 h 51067"/>
                <a:gd name="connsiteX3" fmla="*/ 21581 w 21581"/>
                <a:gd name="connsiteY3" fmla="*/ 878 h 51067"/>
                <a:gd name="connsiteX4" fmla="*/ 2133 w 21581"/>
                <a:gd name="connsiteY4" fmla="*/ 0 h 51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581" h="51067">
                  <a:moveTo>
                    <a:pt x="2133" y="125"/>
                  </a:moveTo>
                  <a:lnTo>
                    <a:pt x="0" y="50315"/>
                  </a:lnTo>
                  <a:cubicBezTo>
                    <a:pt x="6525" y="50566"/>
                    <a:pt x="13049" y="50817"/>
                    <a:pt x="19448" y="51068"/>
                  </a:cubicBezTo>
                  <a:lnTo>
                    <a:pt x="21581" y="878"/>
                  </a:lnTo>
                  <a:cubicBezTo>
                    <a:pt x="15182" y="627"/>
                    <a:pt x="8658" y="376"/>
                    <a:pt x="2133" y="0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8" name="Freeform 177">
              <a:extLst>
                <a:ext uri="{FF2B5EF4-FFF2-40B4-BE49-F238E27FC236}">
                  <a16:creationId xmlns:a16="http://schemas.microsoft.com/office/drawing/2014/main" id="{17716A52-F9D2-3B9D-0579-83A34E67BD0E}"/>
                </a:ext>
              </a:extLst>
            </p:cNvPr>
            <p:cNvSpPr/>
            <p:nvPr/>
          </p:nvSpPr>
          <p:spPr>
            <a:xfrm>
              <a:off x="7328397" y="3829328"/>
              <a:ext cx="36763" cy="57341"/>
            </a:xfrm>
            <a:custGeom>
              <a:avLst/>
              <a:gdLst>
                <a:gd name="connsiteX0" fmla="*/ 0 w 36763"/>
                <a:gd name="connsiteY0" fmla="*/ 10665 h 57341"/>
                <a:gd name="connsiteX1" fmla="*/ 20076 w 36763"/>
                <a:gd name="connsiteY1" fmla="*/ 57341 h 57341"/>
                <a:gd name="connsiteX2" fmla="*/ 36764 w 36763"/>
                <a:gd name="connsiteY2" fmla="*/ 46676 h 57341"/>
                <a:gd name="connsiteX3" fmla="*/ 16688 w 36763"/>
                <a:gd name="connsiteY3" fmla="*/ 0 h 57341"/>
                <a:gd name="connsiteX4" fmla="*/ 0 w 36763"/>
                <a:gd name="connsiteY4" fmla="*/ 10665 h 57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763" h="57341">
                  <a:moveTo>
                    <a:pt x="0" y="10665"/>
                  </a:moveTo>
                  <a:lnTo>
                    <a:pt x="20076" y="57341"/>
                  </a:lnTo>
                  <a:cubicBezTo>
                    <a:pt x="25722" y="53703"/>
                    <a:pt x="31243" y="50189"/>
                    <a:pt x="36764" y="46676"/>
                  </a:cubicBezTo>
                  <a:lnTo>
                    <a:pt x="16688" y="0"/>
                  </a:lnTo>
                  <a:cubicBezTo>
                    <a:pt x="10916" y="3764"/>
                    <a:pt x="5395" y="7277"/>
                    <a:pt x="0" y="10665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9" name="Freeform 178">
              <a:extLst>
                <a:ext uri="{FF2B5EF4-FFF2-40B4-BE49-F238E27FC236}">
                  <a16:creationId xmlns:a16="http://schemas.microsoft.com/office/drawing/2014/main" id="{4413195B-23E2-2925-14B5-51827B85BF10}"/>
                </a:ext>
              </a:extLst>
            </p:cNvPr>
            <p:cNvSpPr/>
            <p:nvPr/>
          </p:nvSpPr>
          <p:spPr>
            <a:xfrm>
              <a:off x="7480471" y="3766842"/>
              <a:ext cx="25973" cy="53451"/>
            </a:xfrm>
            <a:custGeom>
              <a:avLst/>
              <a:gdLst>
                <a:gd name="connsiteX0" fmla="*/ 0 w 25973"/>
                <a:gd name="connsiteY0" fmla="*/ 3639 h 53451"/>
                <a:gd name="connsiteX1" fmla="*/ 6775 w 25973"/>
                <a:gd name="connsiteY1" fmla="*/ 53452 h 53451"/>
                <a:gd name="connsiteX2" fmla="*/ 25973 w 25973"/>
                <a:gd name="connsiteY2" fmla="*/ 49813 h 53451"/>
                <a:gd name="connsiteX3" fmla="*/ 19197 w 25973"/>
                <a:gd name="connsiteY3" fmla="*/ 0 h 53451"/>
                <a:gd name="connsiteX4" fmla="*/ 0 w 25973"/>
                <a:gd name="connsiteY4" fmla="*/ 3639 h 53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973" h="53451">
                  <a:moveTo>
                    <a:pt x="0" y="3639"/>
                  </a:moveTo>
                  <a:lnTo>
                    <a:pt x="6775" y="53452"/>
                  </a:lnTo>
                  <a:cubicBezTo>
                    <a:pt x="12673" y="52323"/>
                    <a:pt x="19072" y="51068"/>
                    <a:pt x="25973" y="49813"/>
                  </a:cubicBezTo>
                  <a:lnTo>
                    <a:pt x="19197" y="0"/>
                  </a:lnTo>
                  <a:cubicBezTo>
                    <a:pt x="12296" y="1255"/>
                    <a:pt x="6023" y="2510"/>
                    <a:pt x="0" y="3639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0" name="Freeform 179">
              <a:extLst>
                <a:ext uri="{FF2B5EF4-FFF2-40B4-BE49-F238E27FC236}">
                  <a16:creationId xmlns:a16="http://schemas.microsoft.com/office/drawing/2014/main" id="{D54A68C4-E9AA-F078-397E-023CEEE1B75C}"/>
                </a:ext>
              </a:extLst>
            </p:cNvPr>
            <p:cNvSpPr/>
            <p:nvPr/>
          </p:nvSpPr>
          <p:spPr>
            <a:xfrm>
              <a:off x="7631666" y="3746766"/>
              <a:ext cx="24969" cy="51694"/>
            </a:xfrm>
            <a:custGeom>
              <a:avLst/>
              <a:gdLst>
                <a:gd name="connsiteX0" fmla="*/ 0 w 24969"/>
                <a:gd name="connsiteY0" fmla="*/ 1882 h 51694"/>
                <a:gd name="connsiteX1" fmla="*/ 5521 w 24969"/>
                <a:gd name="connsiteY1" fmla="*/ 51695 h 51694"/>
                <a:gd name="connsiteX2" fmla="*/ 24969 w 24969"/>
                <a:gd name="connsiteY2" fmla="*/ 49938 h 51694"/>
                <a:gd name="connsiteX3" fmla="*/ 19448 w 24969"/>
                <a:gd name="connsiteY3" fmla="*/ 0 h 51694"/>
                <a:gd name="connsiteX4" fmla="*/ 0 w 24969"/>
                <a:gd name="connsiteY4" fmla="*/ 1757 h 51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969" h="51694">
                  <a:moveTo>
                    <a:pt x="0" y="1882"/>
                  </a:moveTo>
                  <a:lnTo>
                    <a:pt x="5521" y="51695"/>
                  </a:lnTo>
                  <a:cubicBezTo>
                    <a:pt x="11795" y="51068"/>
                    <a:pt x="18319" y="50440"/>
                    <a:pt x="24969" y="49938"/>
                  </a:cubicBezTo>
                  <a:lnTo>
                    <a:pt x="19448" y="0"/>
                  </a:lnTo>
                  <a:cubicBezTo>
                    <a:pt x="12798" y="627"/>
                    <a:pt x="6399" y="1129"/>
                    <a:pt x="0" y="1757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1" name="Freeform 180">
              <a:extLst>
                <a:ext uri="{FF2B5EF4-FFF2-40B4-BE49-F238E27FC236}">
                  <a16:creationId xmlns:a16="http://schemas.microsoft.com/office/drawing/2014/main" id="{297AEFDC-597E-0C4B-E979-678BA1C0FAAA}"/>
                </a:ext>
              </a:extLst>
            </p:cNvPr>
            <p:cNvSpPr/>
            <p:nvPr/>
          </p:nvSpPr>
          <p:spPr>
            <a:xfrm>
              <a:off x="7386366" y="4170364"/>
              <a:ext cx="40778" cy="55961"/>
            </a:xfrm>
            <a:custGeom>
              <a:avLst/>
              <a:gdLst>
                <a:gd name="connsiteX0" fmla="*/ 25220 w 40778"/>
                <a:gd name="connsiteY0" fmla="*/ 0 h 55961"/>
                <a:gd name="connsiteX1" fmla="*/ 0 w 40778"/>
                <a:gd name="connsiteY1" fmla="*/ 43790 h 55961"/>
                <a:gd name="connsiteX2" fmla="*/ 15433 w 40778"/>
                <a:gd name="connsiteY2" fmla="*/ 55961 h 55961"/>
                <a:gd name="connsiteX3" fmla="*/ 40779 w 40778"/>
                <a:gd name="connsiteY3" fmla="*/ 12046 h 55961"/>
                <a:gd name="connsiteX4" fmla="*/ 25220 w 40778"/>
                <a:gd name="connsiteY4" fmla="*/ 0 h 55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778" h="55961">
                  <a:moveTo>
                    <a:pt x="25220" y="0"/>
                  </a:moveTo>
                  <a:lnTo>
                    <a:pt x="0" y="43790"/>
                  </a:lnTo>
                  <a:cubicBezTo>
                    <a:pt x="5144" y="47680"/>
                    <a:pt x="10289" y="51946"/>
                    <a:pt x="15433" y="55961"/>
                  </a:cubicBezTo>
                  <a:lnTo>
                    <a:pt x="40779" y="12046"/>
                  </a:lnTo>
                  <a:cubicBezTo>
                    <a:pt x="35634" y="8030"/>
                    <a:pt x="30365" y="3890"/>
                    <a:pt x="25220" y="0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2" name="Freeform 181">
              <a:extLst>
                <a:ext uri="{FF2B5EF4-FFF2-40B4-BE49-F238E27FC236}">
                  <a16:creationId xmlns:a16="http://schemas.microsoft.com/office/drawing/2014/main" id="{F25E6E0E-C695-37AA-E743-D5C16386C7FC}"/>
                </a:ext>
              </a:extLst>
            </p:cNvPr>
            <p:cNvSpPr/>
            <p:nvPr/>
          </p:nvSpPr>
          <p:spPr>
            <a:xfrm>
              <a:off x="7507322" y="4279275"/>
              <a:ext cx="43037" cy="55710"/>
            </a:xfrm>
            <a:custGeom>
              <a:avLst/>
              <a:gdLst>
                <a:gd name="connsiteX0" fmla="*/ 28984 w 43037"/>
                <a:gd name="connsiteY0" fmla="*/ 0 h 55710"/>
                <a:gd name="connsiteX1" fmla="*/ 0 w 43037"/>
                <a:gd name="connsiteY1" fmla="*/ 41908 h 55710"/>
                <a:gd name="connsiteX2" fmla="*/ 14179 w 43037"/>
                <a:gd name="connsiteY2" fmla="*/ 55710 h 55710"/>
                <a:gd name="connsiteX3" fmla="*/ 43037 w 43037"/>
                <a:gd name="connsiteY3" fmla="*/ 13802 h 55710"/>
                <a:gd name="connsiteX4" fmla="*/ 28859 w 43037"/>
                <a:gd name="connsiteY4" fmla="*/ 0 h 55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037" h="55710">
                  <a:moveTo>
                    <a:pt x="28984" y="0"/>
                  </a:moveTo>
                  <a:lnTo>
                    <a:pt x="0" y="41908"/>
                  </a:lnTo>
                  <a:cubicBezTo>
                    <a:pt x="4392" y="46300"/>
                    <a:pt x="9159" y="50817"/>
                    <a:pt x="14179" y="55710"/>
                  </a:cubicBezTo>
                  <a:lnTo>
                    <a:pt x="43037" y="13802"/>
                  </a:lnTo>
                  <a:cubicBezTo>
                    <a:pt x="38018" y="8908"/>
                    <a:pt x="33250" y="4266"/>
                    <a:pt x="28859" y="0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3" name="Freeform 182">
              <a:extLst>
                <a:ext uri="{FF2B5EF4-FFF2-40B4-BE49-F238E27FC236}">
                  <a16:creationId xmlns:a16="http://schemas.microsoft.com/office/drawing/2014/main" id="{C6047F47-5193-9B39-2C5C-2F671D6F4E71}"/>
                </a:ext>
              </a:extLst>
            </p:cNvPr>
            <p:cNvSpPr/>
            <p:nvPr/>
          </p:nvSpPr>
          <p:spPr>
            <a:xfrm>
              <a:off x="7646848" y="4390820"/>
              <a:ext cx="40904" cy="54455"/>
            </a:xfrm>
            <a:custGeom>
              <a:avLst/>
              <a:gdLst>
                <a:gd name="connsiteX0" fmla="*/ 24593 w 40904"/>
                <a:gd name="connsiteY0" fmla="*/ 0 h 54455"/>
                <a:gd name="connsiteX1" fmla="*/ 0 w 40904"/>
                <a:gd name="connsiteY1" fmla="*/ 44041 h 54455"/>
                <a:gd name="connsiteX2" fmla="*/ 16437 w 40904"/>
                <a:gd name="connsiteY2" fmla="*/ 54455 h 54455"/>
                <a:gd name="connsiteX3" fmla="*/ 40904 w 40904"/>
                <a:gd name="connsiteY3" fmla="*/ 10540 h 54455"/>
                <a:gd name="connsiteX4" fmla="*/ 24467 w 40904"/>
                <a:gd name="connsiteY4" fmla="*/ 0 h 54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904" h="54455">
                  <a:moveTo>
                    <a:pt x="24593" y="0"/>
                  </a:moveTo>
                  <a:lnTo>
                    <a:pt x="0" y="44041"/>
                  </a:lnTo>
                  <a:cubicBezTo>
                    <a:pt x="5270" y="47554"/>
                    <a:pt x="10916" y="51068"/>
                    <a:pt x="16437" y="54455"/>
                  </a:cubicBezTo>
                  <a:lnTo>
                    <a:pt x="40904" y="10540"/>
                  </a:lnTo>
                  <a:cubicBezTo>
                    <a:pt x="35258" y="7026"/>
                    <a:pt x="29737" y="3513"/>
                    <a:pt x="24467" y="0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4" name="Freeform 183">
              <a:extLst>
                <a:ext uri="{FF2B5EF4-FFF2-40B4-BE49-F238E27FC236}">
                  <a16:creationId xmlns:a16="http://schemas.microsoft.com/office/drawing/2014/main" id="{45967C36-1EEB-7380-850C-0F6348051D8C}"/>
                </a:ext>
              </a:extLst>
            </p:cNvPr>
            <p:cNvSpPr/>
            <p:nvPr/>
          </p:nvSpPr>
          <p:spPr>
            <a:xfrm>
              <a:off x="6624618" y="4395463"/>
              <a:ext cx="40527" cy="53577"/>
            </a:xfrm>
            <a:custGeom>
              <a:avLst/>
              <a:gdLst>
                <a:gd name="connsiteX0" fmla="*/ 23213 w 40527"/>
                <a:gd name="connsiteY0" fmla="*/ 0 h 53577"/>
                <a:gd name="connsiteX1" fmla="*/ 0 w 40527"/>
                <a:gd name="connsiteY1" fmla="*/ 44668 h 53577"/>
                <a:gd name="connsiteX2" fmla="*/ 17315 w 40527"/>
                <a:gd name="connsiteY2" fmla="*/ 53577 h 53577"/>
                <a:gd name="connsiteX3" fmla="*/ 40528 w 40527"/>
                <a:gd name="connsiteY3" fmla="*/ 8909 h 53577"/>
                <a:gd name="connsiteX4" fmla="*/ 23213 w 40527"/>
                <a:gd name="connsiteY4" fmla="*/ 0 h 53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527" h="53577">
                  <a:moveTo>
                    <a:pt x="23213" y="0"/>
                  </a:moveTo>
                  <a:lnTo>
                    <a:pt x="0" y="44668"/>
                  </a:lnTo>
                  <a:cubicBezTo>
                    <a:pt x="5521" y="47680"/>
                    <a:pt x="11293" y="50691"/>
                    <a:pt x="17315" y="53577"/>
                  </a:cubicBezTo>
                  <a:lnTo>
                    <a:pt x="40528" y="8909"/>
                  </a:lnTo>
                  <a:cubicBezTo>
                    <a:pt x="34505" y="5897"/>
                    <a:pt x="28733" y="3011"/>
                    <a:pt x="23213" y="0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5" name="Freeform 184">
              <a:extLst>
                <a:ext uri="{FF2B5EF4-FFF2-40B4-BE49-F238E27FC236}">
                  <a16:creationId xmlns:a16="http://schemas.microsoft.com/office/drawing/2014/main" id="{F2B3BC69-D66A-659E-BF72-6DC01574DA5F}"/>
                </a:ext>
              </a:extLst>
            </p:cNvPr>
            <p:cNvSpPr/>
            <p:nvPr/>
          </p:nvSpPr>
          <p:spPr>
            <a:xfrm>
              <a:off x="6771547" y="4447283"/>
              <a:ext cx="28231" cy="56337"/>
            </a:xfrm>
            <a:custGeom>
              <a:avLst/>
              <a:gdLst>
                <a:gd name="connsiteX0" fmla="*/ 9536 w 28231"/>
                <a:gd name="connsiteY0" fmla="*/ 125 h 56337"/>
                <a:gd name="connsiteX1" fmla="*/ 0 w 28231"/>
                <a:gd name="connsiteY1" fmla="*/ 49687 h 56337"/>
                <a:gd name="connsiteX2" fmla="*/ 18570 w 28231"/>
                <a:gd name="connsiteY2" fmla="*/ 56337 h 56337"/>
                <a:gd name="connsiteX3" fmla="*/ 28231 w 28231"/>
                <a:gd name="connsiteY3" fmla="*/ 6399 h 56337"/>
                <a:gd name="connsiteX4" fmla="*/ 9661 w 28231"/>
                <a:gd name="connsiteY4" fmla="*/ 0 h 56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231" h="56337">
                  <a:moveTo>
                    <a:pt x="9536" y="125"/>
                  </a:moveTo>
                  <a:lnTo>
                    <a:pt x="0" y="49687"/>
                  </a:lnTo>
                  <a:cubicBezTo>
                    <a:pt x="6399" y="51820"/>
                    <a:pt x="12547" y="54079"/>
                    <a:pt x="18570" y="56337"/>
                  </a:cubicBezTo>
                  <a:lnTo>
                    <a:pt x="28231" y="6399"/>
                  </a:lnTo>
                  <a:cubicBezTo>
                    <a:pt x="22209" y="4266"/>
                    <a:pt x="15935" y="2133"/>
                    <a:pt x="9661" y="0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6" name="Freeform 185">
              <a:extLst>
                <a:ext uri="{FF2B5EF4-FFF2-40B4-BE49-F238E27FC236}">
                  <a16:creationId xmlns:a16="http://schemas.microsoft.com/office/drawing/2014/main" id="{9321A406-00A4-F7B3-82E5-6A65E7B3BCE6}"/>
                </a:ext>
              </a:extLst>
            </p:cNvPr>
            <p:cNvSpPr/>
            <p:nvPr/>
          </p:nvSpPr>
          <p:spPr>
            <a:xfrm>
              <a:off x="6908564" y="4525328"/>
              <a:ext cx="40778" cy="55960"/>
            </a:xfrm>
            <a:custGeom>
              <a:avLst/>
              <a:gdLst>
                <a:gd name="connsiteX0" fmla="*/ 25220 w 40778"/>
                <a:gd name="connsiteY0" fmla="*/ 0 h 55960"/>
                <a:gd name="connsiteX1" fmla="*/ 0 w 40778"/>
                <a:gd name="connsiteY1" fmla="*/ 43665 h 55960"/>
                <a:gd name="connsiteX2" fmla="*/ 15433 w 40778"/>
                <a:gd name="connsiteY2" fmla="*/ 55961 h 55960"/>
                <a:gd name="connsiteX3" fmla="*/ 40779 w 40778"/>
                <a:gd name="connsiteY3" fmla="*/ 12045 h 55960"/>
                <a:gd name="connsiteX4" fmla="*/ 25220 w 40778"/>
                <a:gd name="connsiteY4" fmla="*/ 0 h 55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778" h="55960">
                  <a:moveTo>
                    <a:pt x="25220" y="0"/>
                  </a:moveTo>
                  <a:lnTo>
                    <a:pt x="0" y="43665"/>
                  </a:lnTo>
                  <a:cubicBezTo>
                    <a:pt x="5270" y="47805"/>
                    <a:pt x="10414" y="51820"/>
                    <a:pt x="15433" y="55961"/>
                  </a:cubicBezTo>
                  <a:lnTo>
                    <a:pt x="40779" y="12045"/>
                  </a:lnTo>
                  <a:cubicBezTo>
                    <a:pt x="35760" y="8030"/>
                    <a:pt x="30616" y="4015"/>
                    <a:pt x="25220" y="0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7" name="Freeform 186">
              <a:extLst>
                <a:ext uri="{FF2B5EF4-FFF2-40B4-BE49-F238E27FC236}">
                  <a16:creationId xmlns:a16="http://schemas.microsoft.com/office/drawing/2014/main" id="{EBE9CAE2-E291-5C58-5E4A-D62F1C0D772C}"/>
                </a:ext>
              </a:extLst>
            </p:cNvPr>
            <p:cNvSpPr/>
            <p:nvPr/>
          </p:nvSpPr>
          <p:spPr>
            <a:xfrm>
              <a:off x="6651594" y="4067601"/>
              <a:ext cx="22961" cy="54580"/>
            </a:xfrm>
            <a:custGeom>
              <a:avLst/>
              <a:gdLst>
                <a:gd name="connsiteX0" fmla="*/ 0 w 22961"/>
                <a:gd name="connsiteY0" fmla="*/ 3890 h 54580"/>
                <a:gd name="connsiteX1" fmla="*/ 3764 w 22961"/>
                <a:gd name="connsiteY1" fmla="*/ 54581 h 54580"/>
                <a:gd name="connsiteX2" fmla="*/ 22962 w 22961"/>
                <a:gd name="connsiteY2" fmla="*/ 50566 h 54580"/>
                <a:gd name="connsiteX3" fmla="*/ 19197 w 22961"/>
                <a:gd name="connsiteY3" fmla="*/ 0 h 54580"/>
                <a:gd name="connsiteX4" fmla="*/ 0 w 22961"/>
                <a:gd name="connsiteY4" fmla="*/ 3890 h 54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961" h="54580">
                  <a:moveTo>
                    <a:pt x="0" y="3890"/>
                  </a:moveTo>
                  <a:lnTo>
                    <a:pt x="3764" y="54581"/>
                  </a:lnTo>
                  <a:cubicBezTo>
                    <a:pt x="9912" y="53201"/>
                    <a:pt x="16311" y="51946"/>
                    <a:pt x="22962" y="50566"/>
                  </a:cubicBezTo>
                  <a:lnTo>
                    <a:pt x="19197" y="0"/>
                  </a:lnTo>
                  <a:cubicBezTo>
                    <a:pt x="12547" y="1255"/>
                    <a:pt x="6148" y="2510"/>
                    <a:pt x="0" y="3890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8" name="Freeform 187">
              <a:extLst>
                <a:ext uri="{FF2B5EF4-FFF2-40B4-BE49-F238E27FC236}">
                  <a16:creationId xmlns:a16="http://schemas.microsoft.com/office/drawing/2014/main" id="{84877AC8-B497-0A3C-8A91-7406F3ACD2EF}"/>
                </a:ext>
              </a:extLst>
            </p:cNvPr>
            <p:cNvSpPr/>
            <p:nvPr/>
          </p:nvSpPr>
          <p:spPr>
            <a:xfrm>
              <a:off x="6790117" y="4048906"/>
              <a:ext cx="25972" cy="51820"/>
            </a:xfrm>
            <a:custGeom>
              <a:avLst/>
              <a:gdLst>
                <a:gd name="connsiteX0" fmla="*/ 0 w 25972"/>
                <a:gd name="connsiteY0" fmla="*/ 1882 h 51820"/>
                <a:gd name="connsiteX1" fmla="*/ 6525 w 25972"/>
                <a:gd name="connsiteY1" fmla="*/ 51820 h 51820"/>
                <a:gd name="connsiteX2" fmla="*/ 25973 w 25972"/>
                <a:gd name="connsiteY2" fmla="*/ 49938 h 51820"/>
                <a:gd name="connsiteX3" fmla="*/ 19448 w 25972"/>
                <a:gd name="connsiteY3" fmla="*/ 0 h 51820"/>
                <a:gd name="connsiteX4" fmla="*/ 0 w 25972"/>
                <a:gd name="connsiteY4" fmla="*/ 1882 h 51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972" h="51820">
                  <a:moveTo>
                    <a:pt x="0" y="1882"/>
                  </a:moveTo>
                  <a:lnTo>
                    <a:pt x="6525" y="51820"/>
                  </a:lnTo>
                  <a:cubicBezTo>
                    <a:pt x="12798" y="51193"/>
                    <a:pt x="19323" y="50566"/>
                    <a:pt x="25973" y="49938"/>
                  </a:cubicBezTo>
                  <a:lnTo>
                    <a:pt x="19448" y="0"/>
                  </a:lnTo>
                  <a:cubicBezTo>
                    <a:pt x="12798" y="627"/>
                    <a:pt x="6399" y="1255"/>
                    <a:pt x="0" y="1882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9" name="Freeform 188">
              <a:extLst>
                <a:ext uri="{FF2B5EF4-FFF2-40B4-BE49-F238E27FC236}">
                  <a16:creationId xmlns:a16="http://schemas.microsoft.com/office/drawing/2014/main" id="{7289168F-3B16-6931-C733-57837AB7503D}"/>
                </a:ext>
              </a:extLst>
            </p:cNvPr>
            <p:cNvSpPr/>
            <p:nvPr/>
          </p:nvSpPr>
          <p:spPr>
            <a:xfrm>
              <a:off x="6918350" y="4041252"/>
              <a:ext cx="19448" cy="51067"/>
            </a:xfrm>
            <a:custGeom>
              <a:avLst/>
              <a:gdLst>
                <a:gd name="connsiteX0" fmla="*/ 0 w 19448"/>
                <a:gd name="connsiteY0" fmla="*/ 753 h 51067"/>
                <a:gd name="connsiteX1" fmla="*/ 0 w 19448"/>
                <a:gd name="connsiteY1" fmla="*/ 51068 h 51067"/>
                <a:gd name="connsiteX2" fmla="*/ 19448 w 19448"/>
                <a:gd name="connsiteY2" fmla="*/ 50315 h 51067"/>
                <a:gd name="connsiteX3" fmla="*/ 19448 w 19448"/>
                <a:gd name="connsiteY3" fmla="*/ 0 h 51067"/>
                <a:gd name="connsiteX4" fmla="*/ 0 w 19448"/>
                <a:gd name="connsiteY4" fmla="*/ 753 h 51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448" h="51067">
                  <a:moveTo>
                    <a:pt x="0" y="753"/>
                  </a:moveTo>
                  <a:lnTo>
                    <a:pt x="0" y="51068"/>
                  </a:lnTo>
                  <a:cubicBezTo>
                    <a:pt x="6399" y="50817"/>
                    <a:pt x="12924" y="50566"/>
                    <a:pt x="19448" y="50315"/>
                  </a:cubicBezTo>
                  <a:lnTo>
                    <a:pt x="19448" y="0"/>
                  </a:lnTo>
                  <a:cubicBezTo>
                    <a:pt x="12798" y="251"/>
                    <a:pt x="6399" y="502"/>
                    <a:pt x="0" y="753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0" name="Freeform 189">
              <a:extLst>
                <a:ext uri="{FF2B5EF4-FFF2-40B4-BE49-F238E27FC236}">
                  <a16:creationId xmlns:a16="http://schemas.microsoft.com/office/drawing/2014/main" id="{04CDDE1A-987C-7319-754E-CF08432ECC0F}"/>
                </a:ext>
              </a:extLst>
            </p:cNvPr>
            <p:cNvSpPr/>
            <p:nvPr/>
          </p:nvSpPr>
          <p:spPr>
            <a:xfrm>
              <a:off x="5791852" y="4184793"/>
              <a:ext cx="28356" cy="56964"/>
            </a:xfrm>
            <a:custGeom>
              <a:avLst/>
              <a:gdLst>
                <a:gd name="connsiteX0" fmla="*/ 0 w 28356"/>
                <a:gd name="connsiteY0" fmla="*/ 7152 h 56964"/>
                <a:gd name="connsiteX1" fmla="*/ 9912 w 28356"/>
                <a:gd name="connsiteY1" fmla="*/ 56965 h 56964"/>
                <a:gd name="connsiteX2" fmla="*/ 28357 w 28356"/>
                <a:gd name="connsiteY2" fmla="*/ 50064 h 56964"/>
                <a:gd name="connsiteX3" fmla="*/ 18445 w 28356"/>
                <a:gd name="connsiteY3" fmla="*/ 0 h 56964"/>
                <a:gd name="connsiteX4" fmla="*/ 0 w 28356"/>
                <a:gd name="connsiteY4" fmla="*/ 7152 h 56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356" h="56964">
                  <a:moveTo>
                    <a:pt x="0" y="7152"/>
                  </a:moveTo>
                  <a:lnTo>
                    <a:pt x="9912" y="56965"/>
                  </a:lnTo>
                  <a:cubicBezTo>
                    <a:pt x="15935" y="54832"/>
                    <a:pt x="22083" y="52448"/>
                    <a:pt x="28357" y="50064"/>
                  </a:cubicBezTo>
                  <a:lnTo>
                    <a:pt x="18445" y="0"/>
                  </a:lnTo>
                  <a:cubicBezTo>
                    <a:pt x="12171" y="2509"/>
                    <a:pt x="6023" y="4893"/>
                    <a:pt x="0" y="7152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1" name="Freeform 190">
              <a:extLst>
                <a:ext uri="{FF2B5EF4-FFF2-40B4-BE49-F238E27FC236}">
                  <a16:creationId xmlns:a16="http://schemas.microsoft.com/office/drawing/2014/main" id="{BA026F6A-C56E-A183-C4BC-29090C2F3E8C}"/>
                </a:ext>
              </a:extLst>
            </p:cNvPr>
            <p:cNvSpPr/>
            <p:nvPr/>
          </p:nvSpPr>
          <p:spPr>
            <a:xfrm>
              <a:off x="5964628" y="4097715"/>
              <a:ext cx="27102" cy="62485"/>
            </a:xfrm>
            <a:custGeom>
              <a:avLst/>
              <a:gdLst>
                <a:gd name="connsiteX0" fmla="*/ 5019 w 27102"/>
                <a:gd name="connsiteY0" fmla="*/ 6399 h 62485"/>
                <a:gd name="connsiteX1" fmla="*/ 0 w 27102"/>
                <a:gd name="connsiteY1" fmla="*/ 9410 h 62485"/>
                <a:gd name="connsiteX2" fmla="*/ 9160 w 27102"/>
                <a:gd name="connsiteY2" fmla="*/ 62486 h 62485"/>
                <a:gd name="connsiteX3" fmla="*/ 27102 w 27102"/>
                <a:gd name="connsiteY3" fmla="*/ 51695 h 62485"/>
                <a:gd name="connsiteX4" fmla="*/ 18194 w 27102"/>
                <a:gd name="connsiteY4" fmla="*/ 0 h 62485"/>
                <a:gd name="connsiteX5" fmla="*/ 5019 w 27102"/>
                <a:gd name="connsiteY5" fmla="*/ 6399 h 62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02" h="62485">
                  <a:moveTo>
                    <a:pt x="5019" y="6399"/>
                  </a:moveTo>
                  <a:cubicBezTo>
                    <a:pt x="3388" y="7403"/>
                    <a:pt x="1757" y="8407"/>
                    <a:pt x="0" y="9410"/>
                  </a:cubicBezTo>
                  <a:lnTo>
                    <a:pt x="9160" y="62486"/>
                  </a:lnTo>
                  <a:cubicBezTo>
                    <a:pt x="15057" y="58972"/>
                    <a:pt x="21080" y="55459"/>
                    <a:pt x="27102" y="51695"/>
                  </a:cubicBezTo>
                  <a:lnTo>
                    <a:pt x="18194" y="0"/>
                  </a:lnTo>
                  <a:cubicBezTo>
                    <a:pt x="13551" y="1882"/>
                    <a:pt x="9034" y="3890"/>
                    <a:pt x="5019" y="6399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2" name="Freeform 191">
              <a:extLst>
                <a:ext uri="{FF2B5EF4-FFF2-40B4-BE49-F238E27FC236}">
                  <a16:creationId xmlns:a16="http://schemas.microsoft.com/office/drawing/2014/main" id="{B6E23A50-8509-3176-7BAF-CF7FBF057660}"/>
                </a:ext>
              </a:extLst>
            </p:cNvPr>
            <p:cNvSpPr/>
            <p:nvPr/>
          </p:nvSpPr>
          <p:spPr>
            <a:xfrm>
              <a:off x="6154469" y="4102859"/>
              <a:ext cx="22836" cy="55709"/>
            </a:xfrm>
            <a:custGeom>
              <a:avLst/>
              <a:gdLst>
                <a:gd name="connsiteX0" fmla="*/ 3513 w 22836"/>
                <a:gd name="connsiteY0" fmla="*/ 125 h 55709"/>
                <a:gd name="connsiteX1" fmla="*/ 0 w 22836"/>
                <a:gd name="connsiteY1" fmla="*/ 50817 h 55709"/>
                <a:gd name="connsiteX2" fmla="*/ 19197 w 22836"/>
                <a:gd name="connsiteY2" fmla="*/ 55710 h 55709"/>
                <a:gd name="connsiteX3" fmla="*/ 22836 w 22836"/>
                <a:gd name="connsiteY3" fmla="*/ 4768 h 55709"/>
                <a:gd name="connsiteX4" fmla="*/ 3639 w 22836"/>
                <a:gd name="connsiteY4" fmla="*/ 0 h 55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836" h="55709">
                  <a:moveTo>
                    <a:pt x="3513" y="125"/>
                  </a:moveTo>
                  <a:lnTo>
                    <a:pt x="0" y="50817"/>
                  </a:lnTo>
                  <a:cubicBezTo>
                    <a:pt x="6274" y="52322"/>
                    <a:pt x="12547" y="53953"/>
                    <a:pt x="19197" y="55710"/>
                  </a:cubicBezTo>
                  <a:lnTo>
                    <a:pt x="22836" y="4768"/>
                  </a:lnTo>
                  <a:cubicBezTo>
                    <a:pt x="16437" y="3137"/>
                    <a:pt x="10038" y="1631"/>
                    <a:pt x="3639" y="0"/>
                  </a:cubicBezTo>
                  <a:close/>
                </a:path>
              </a:pathLst>
            </a:custGeom>
            <a:solidFill>
              <a:schemeClr val="bg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3" name="Freeform 192">
              <a:extLst>
                <a:ext uri="{FF2B5EF4-FFF2-40B4-BE49-F238E27FC236}">
                  <a16:creationId xmlns:a16="http://schemas.microsoft.com/office/drawing/2014/main" id="{814A17C5-7A05-22CF-194C-BC5A12D1F0CC}"/>
                </a:ext>
              </a:extLst>
            </p:cNvPr>
            <p:cNvSpPr/>
            <p:nvPr/>
          </p:nvSpPr>
          <p:spPr>
            <a:xfrm>
              <a:off x="6336029" y="3813769"/>
              <a:ext cx="40183" cy="51318"/>
            </a:xfrm>
            <a:custGeom>
              <a:avLst/>
              <a:gdLst>
                <a:gd name="connsiteX0" fmla="*/ 9410 w 40183"/>
                <a:gd name="connsiteY0" fmla="*/ 50691 h 51318"/>
                <a:gd name="connsiteX1" fmla="*/ 15057 w 40183"/>
                <a:gd name="connsiteY1" fmla="*/ 51319 h 51318"/>
                <a:gd name="connsiteX2" fmla="*/ 36136 w 40183"/>
                <a:gd name="connsiteY2" fmla="*/ 39901 h 51318"/>
                <a:gd name="connsiteX3" fmla="*/ 28733 w 40183"/>
                <a:gd name="connsiteY3" fmla="*/ 5144 h 51318"/>
                <a:gd name="connsiteX4" fmla="*/ 7152 w 40183"/>
                <a:gd name="connsiteY4" fmla="*/ 251 h 51318"/>
                <a:gd name="connsiteX5" fmla="*/ 3262 w 40183"/>
                <a:gd name="connsiteY5" fmla="*/ 0 h 51318"/>
                <a:gd name="connsiteX6" fmla="*/ 0 w 40183"/>
                <a:gd name="connsiteY6" fmla="*/ 50064 h 51318"/>
                <a:gd name="connsiteX7" fmla="*/ 4015 w 40183"/>
                <a:gd name="connsiteY7" fmla="*/ 50315 h 51318"/>
                <a:gd name="connsiteX8" fmla="*/ 9410 w 40183"/>
                <a:gd name="connsiteY8" fmla="*/ 50691 h 51318"/>
                <a:gd name="connsiteX9" fmla="*/ 1506 w 40183"/>
                <a:gd name="connsiteY9" fmla="*/ 47303 h 51318"/>
                <a:gd name="connsiteX10" fmla="*/ 1506 w 40183"/>
                <a:gd name="connsiteY10" fmla="*/ 47303 h 51318"/>
                <a:gd name="connsiteX11" fmla="*/ 1506 w 40183"/>
                <a:gd name="connsiteY11" fmla="*/ 47303 h 51318"/>
                <a:gd name="connsiteX12" fmla="*/ 1506 w 40183"/>
                <a:gd name="connsiteY12" fmla="*/ 47303 h 51318"/>
                <a:gd name="connsiteX13" fmla="*/ 1506 w 40183"/>
                <a:gd name="connsiteY13" fmla="*/ 47303 h 51318"/>
                <a:gd name="connsiteX14" fmla="*/ 1506 w 40183"/>
                <a:gd name="connsiteY14" fmla="*/ 47303 h 51318"/>
                <a:gd name="connsiteX15" fmla="*/ 1506 w 40183"/>
                <a:gd name="connsiteY15" fmla="*/ 47303 h 51318"/>
                <a:gd name="connsiteX16" fmla="*/ 1506 w 40183"/>
                <a:gd name="connsiteY16" fmla="*/ 47303 h 51318"/>
                <a:gd name="connsiteX17" fmla="*/ 1506 w 40183"/>
                <a:gd name="connsiteY17" fmla="*/ 47303 h 51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0183" h="51318">
                  <a:moveTo>
                    <a:pt x="9410" y="50691"/>
                  </a:moveTo>
                  <a:cubicBezTo>
                    <a:pt x="11293" y="51193"/>
                    <a:pt x="13175" y="51319"/>
                    <a:pt x="15057" y="51319"/>
                  </a:cubicBezTo>
                  <a:cubicBezTo>
                    <a:pt x="23213" y="51319"/>
                    <a:pt x="31368" y="47303"/>
                    <a:pt x="36136" y="39901"/>
                  </a:cubicBezTo>
                  <a:cubicBezTo>
                    <a:pt x="43665" y="28231"/>
                    <a:pt x="40402" y="12798"/>
                    <a:pt x="28733" y="5144"/>
                  </a:cubicBezTo>
                  <a:cubicBezTo>
                    <a:pt x="22585" y="1129"/>
                    <a:pt x="17441" y="878"/>
                    <a:pt x="7152" y="251"/>
                  </a:cubicBezTo>
                  <a:cubicBezTo>
                    <a:pt x="6023" y="251"/>
                    <a:pt x="4643" y="125"/>
                    <a:pt x="3262" y="0"/>
                  </a:cubicBezTo>
                  <a:lnTo>
                    <a:pt x="0" y="50064"/>
                  </a:lnTo>
                  <a:cubicBezTo>
                    <a:pt x="1380" y="50064"/>
                    <a:pt x="2760" y="50189"/>
                    <a:pt x="4015" y="50315"/>
                  </a:cubicBezTo>
                  <a:cubicBezTo>
                    <a:pt x="6274" y="50440"/>
                    <a:pt x="8030" y="50566"/>
                    <a:pt x="9410" y="50691"/>
                  </a:cubicBezTo>
                  <a:close/>
                  <a:moveTo>
                    <a:pt x="1506" y="47303"/>
                  </a:moveTo>
                  <a:cubicBezTo>
                    <a:pt x="1506" y="47303"/>
                    <a:pt x="1506" y="47303"/>
                    <a:pt x="1506" y="47303"/>
                  </a:cubicBezTo>
                  <a:cubicBezTo>
                    <a:pt x="1506" y="47303"/>
                    <a:pt x="1506" y="47303"/>
                    <a:pt x="1506" y="47303"/>
                  </a:cubicBezTo>
                  <a:close/>
                  <a:moveTo>
                    <a:pt x="1506" y="47303"/>
                  </a:moveTo>
                  <a:cubicBezTo>
                    <a:pt x="1506" y="47303"/>
                    <a:pt x="1506" y="47303"/>
                    <a:pt x="1506" y="47303"/>
                  </a:cubicBezTo>
                  <a:cubicBezTo>
                    <a:pt x="1506" y="47303"/>
                    <a:pt x="1506" y="47303"/>
                    <a:pt x="1506" y="47303"/>
                  </a:cubicBezTo>
                  <a:close/>
                  <a:moveTo>
                    <a:pt x="1506" y="47303"/>
                  </a:moveTo>
                  <a:cubicBezTo>
                    <a:pt x="1506" y="47303"/>
                    <a:pt x="1506" y="47303"/>
                    <a:pt x="1506" y="47303"/>
                  </a:cubicBezTo>
                  <a:cubicBezTo>
                    <a:pt x="1506" y="47303"/>
                    <a:pt x="1506" y="47303"/>
                    <a:pt x="1506" y="47303"/>
                  </a:cubicBezTo>
                  <a:close/>
                </a:path>
              </a:pathLst>
            </a:custGeom>
            <a:solidFill>
              <a:schemeClr val="accent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4" name="Freeform 193">
              <a:extLst>
                <a:ext uri="{FF2B5EF4-FFF2-40B4-BE49-F238E27FC236}">
                  <a16:creationId xmlns:a16="http://schemas.microsoft.com/office/drawing/2014/main" id="{702EC66D-EB75-FE41-59E2-745686B9F68A}"/>
                </a:ext>
              </a:extLst>
            </p:cNvPr>
            <p:cNvSpPr/>
            <p:nvPr/>
          </p:nvSpPr>
          <p:spPr>
            <a:xfrm>
              <a:off x="5744120" y="3517150"/>
              <a:ext cx="33929" cy="51245"/>
            </a:xfrm>
            <a:custGeom>
              <a:avLst/>
              <a:gdLst>
                <a:gd name="connsiteX0" fmla="*/ 22135 w 33929"/>
                <a:gd name="connsiteY0" fmla="*/ 1255 h 51245"/>
                <a:gd name="connsiteX1" fmla="*/ 178 w 33929"/>
                <a:gd name="connsiteY1" fmla="*/ 29110 h 51245"/>
                <a:gd name="connsiteX2" fmla="*/ 28033 w 33929"/>
                <a:gd name="connsiteY2" fmla="*/ 51068 h 51245"/>
                <a:gd name="connsiteX3" fmla="*/ 33930 w 33929"/>
                <a:gd name="connsiteY3" fmla="*/ 50440 h 51245"/>
                <a:gd name="connsiteX4" fmla="*/ 33930 w 33929"/>
                <a:gd name="connsiteY4" fmla="*/ 0 h 51245"/>
                <a:gd name="connsiteX5" fmla="*/ 22261 w 33929"/>
                <a:gd name="connsiteY5" fmla="*/ 1129 h 51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929" h="51245">
                  <a:moveTo>
                    <a:pt x="22135" y="1255"/>
                  </a:moveTo>
                  <a:cubicBezTo>
                    <a:pt x="8333" y="2886"/>
                    <a:pt x="-1454" y="15308"/>
                    <a:pt x="178" y="29110"/>
                  </a:cubicBezTo>
                  <a:cubicBezTo>
                    <a:pt x="1809" y="42912"/>
                    <a:pt x="14231" y="52699"/>
                    <a:pt x="28033" y="51068"/>
                  </a:cubicBezTo>
                  <a:cubicBezTo>
                    <a:pt x="29789" y="50817"/>
                    <a:pt x="31671" y="50691"/>
                    <a:pt x="33930" y="50440"/>
                  </a:cubicBezTo>
                  <a:lnTo>
                    <a:pt x="33930" y="0"/>
                  </a:lnTo>
                  <a:cubicBezTo>
                    <a:pt x="28284" y="502"/>
                    <a:pt x="24143" y="878"/>
                    <a:pt x="22261" y="1129"/>
                  </a:cubicBezTo>
                  <a:close/>
                </a:path>
              </a:pathLst>
            </a:custGeom>
            <a:solidFill>
              <a:schemeClr val="accent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5" name="Freeform 194">
              <a:extLst>
                <a:ext uri="{FF2B5EF4-FFF2-40B4-BE49-F238E27FC236}">
                  <a16:creationId xmlns:a16="http://schemas.microsoft.com/office/drawing/2014/main" id="{126B40BC-07AE-29DC-947F-C26A4FE84B01}"/>
                </a:ext>
              </a:extLst>
            </p:cNvPr>
            <p:cNvSpPr/>
            <p:nvPr/>
          </p:nvSpPr>
          <p:spPr>
            <a:xfrm>
              <a:off x="7198281" y="3511469"/>
              <a:ext cx="37673" cy="51855"/>
            </a:xfrm>
            <a:custGeom>
              <a:avLst/>
              <a:gdLst>
                <a:gd name="connsiteX0" fmla="*/ 21958 w 37673"/>
                <a:gd name="connsiteY0" fmla="*/ 49471 h 51855"/>
                <a:gd name="connsiteX1" fmla="*/ 33627 w 37673"/>
                <a:gd name="connsiteY1" fmla="*/ 39810 h 51855"/>
                <a:gd name="connsiteX2" fmla="*/ 26224 w 37673"/>
                <a:gd name="connsiteY2" fmla="*/ 5054 h 51855"/>
                <a:gd name="connsiteX3" fmla="*/ 0 w 37673"/>
                <a:gd name="connsiteY3" fmla="*/ 4552 h 51855"/>
                <a:gd name="connsiteX4" fmla="*/ 17692 w 37673"/>
                <a:gd name="connsiteY4" fmla="*/ 51855 h 51855"/>
                <a:gd name="connsiteX5" fmla="*/ 21958 w 37673"/>
                <a:gd name="connsiteY5" fmla="*/ 49346 h 51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673" h="51855">
                  <a:moveTo>
                    <a:pt x="21958" y="49471"/>
                  </a:moveTo>
                  <a:cubicBezTo>
                    <a:pt x="26600" y="47589"/>
                    <a:pt x="30741" y="44327"/>
                    <a:pt x="33627" y="39810"/>
                  </a:cubicBezTo>
                  <a:cubicBezTo>
                    <a:pt x="41155" y="28141"/>
                    <a:pt x="37893" y="12582"/>
                    <a:pt x="26224" y="5054"/>
                  </a:cubicBezTo>
                  <a:cubicBezTo>
                    <a:pt x="17692" y="-467"/>
                    <a:pt x="14179" y="-2600"/>
                    <a:pt x="0" y="4552"/>
                  </a:cubicBezTo>
                  <a:lnTo>
                    <a:pt x="17692" y="51855"/>
                  </a:lnTo>
                  <a:cubicBezTo>
                    <a:pt x="19448" y="50852"/>
                    <a:pt x="20954" y="49973"/>
                    <a:pt x="21958" y="49346"/>
                  </a:cubicBezTo>
                  <a:close/>
                </a:path>
              </a:pathLst>
            </a:custGeom>
            <a:solidFill>
              <a:schemeClr val="accent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6" name="Freeform 195">
              <a:extLst>
                <a:ext uri="{FF2B5EF4-FFF2-40B4-BE49-F238E27FC236}">
                  <a16:creationId xmlns:a16="http://schemas.microsoft.com/office/drawing/2014/main" id="{03346366-0786-6DEF-E857-82FBEBC80421}"/>
                </a:ext>
              </a:extLst>
            </p:cNvPr>
            <p:cNvSpPr/>
            <p:nvPr/>
          </p:nvSpPr>
          <p:spPr>
            <a:xfrm>
              <a:off x="6535281" y="3794571"/>
              <a:ext cx="36387" cy="50189"/>
            </a:xfrm>
            <a:custGeom>
              <a:avLst/>
              <a:gdLst>
                <a:gd name="connsiteX0" fmla="*/ 26726 w 36387"/>
                <a:gd name="connsiteY0" fmla="*/ 0 h 50189"/>
                <a:gd name="connsiteX1" fmla="*/ 25095 w 36387"/>
                <a:gd name="connsiteY1" fmla="*/ 0 h 50189"/>
                <a:gd name="connsiteX2" fmla="*/ 0 w 36387"/>
                <a:gd name="connsiteY2" fmla="*/ 24969 h 50189"/>
                <a:gd name="connsiteX3" fmla="*/ 24969 w 36387"/>
                <a:gd name="connsiteY3" fmla="*/ 50189 h 50189"/>
                <a:gd name="connsiteX4" fmla="*/ 27855 w 36387"/>
                <a:gd name="connsiteY4" fmla="*/ 50189 h 50189"/>
                <a:gd name="connsiteX5" fmla="*/ 33627 w 36387"/>
                <a:gd name="connsiteY5" fmla="*/ 50189 h 50189"/>
                <a:gd name="connsiteX6" fmla="*/ 36387 w 36387"/>
                <a:gd name="connsiteY6" fmla="*/ 0 h 50189"/>
                <a:gd name="connsiteX7" fmla="*/ 26851 w 36387"/>
                <a:gd name="connsiteY7" fmla="*/ 0 h 50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387" h="50189">
                  <a:moveTo>
                    <a:pt x="26726" y="0"/>
                  </a:moveTo>
                  <a:cubicBezTo>
                    <a:pt x="24969" y="0"/>
                    <a:pt x="25220" y="0"/>
                    <a:pt x="25095" y="0"/>
                  </a:cubicBezTo>
                  <a:cubicBezTo>
                    <a:pt x="11293" y="0"/>
                    <a:pt x="126" y="11167"/>
                    <a:pt x="0" y="24969"/>
                  </a:cubicBezTo>
                  <a:cubicBezTo>
                    <a:pt x="0" y="38771"/>
                    <a:pt x="11042" y="50189"/>
                    <a:pt x="24969" y="50189"/>
                  </a:cubicBezTo>
                  <a:cubicBezTo>
                    <a:pt x="25346" y="50189"/>
                    <a:pt x="26349" y="50189"/>
                    <a:pt x="27855" y="50189"/>
                  </a:cubicBezTo>
                  <a:cubicBezTo>
                    <a:pt x="29235" y="50189"/>
                    <a:pt x="31368" y="50189"/>
                    <a:pt x="33627" y="50189"/>
                  </a:cubicBezTo>
                  <a:lnTo>
                    <a:pt x="36387" y="0"/>
                  </a:lnTo>
                  <a:cubicBezTo>
                    <a:pt x="31996" y="0"/>
                    <a:pt x="28608" y="0"/>
                    <a:pt x="26851" y="0"/>
                  </a:cubicBezTo>
                  <a:close/>
                </a:path>
              </a:pathLst>
            </a:custGeom>
            <a:solidFill>
              <a:schemeClr val="accent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7" name="Freeform 196">
              <a:extLst>
                <a:ext uri="{FF2B5EF4-FFF2-40B4-BE49-F238E27FC236}">
                  <a16:creationId xmlns:a16="http://schemas.microsoft.com/office/drawing/2014/main" id="{9BC779C0-E568-3409-3A61-CB6C4D223481}"/>
                </a:ext>
              </a:extLst>
            </p:cNvPr>
            <p:cNvSpPr/>
            <p:nvPr/>
          </p:nvSpPr>
          <p:spPr>
            <a:xfrm>
              <a:off x="8008211" y="3448516"/>
              <a:ext cx="26150" cy="50189"/>
            </a:xfrm>
            <a:custGeom>
              <a:avLst/>
              <a:gdLst>
                <a:gd name="connsiteX0" fmla="*/ 25973 w 26150"/>
                <a:gd name="connsiteY0" fmla="*/ 28106 h 50189"/>
                <a:gd name="connsiteX1" fmla="*/ 4015 w 26150"/>
                <a:gd name="connsiteY1" fmla="*/ 251 h 50189"/>
                <a:gd name="connsiteX2" fmla="*/ 2133 w 26150"/>
                <a:gd name="connsiteY2" fmla="*/ 0 h 50189"/>
                <a:gd name="connsiteX3" fmla="*/ 0 w 26150"/>
                <a:gd name="connsiteY3" fmla="*/ 50189 h 50189"/>
                <a:gd name="connsiteX4" fmla="*/ 1004 w 26150"/>
                <a:gd name="connsiteY4" fmla="*/ 50189 h 50189"/>
                <a:gd name="connsiteX5" fmla="*/ 25847 w 26150"/>
                <a:gd name="connsiteY5" fmla="*/ 28106 h 50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150" h="50189">
                  <a:moveTo>
                    <a:pt x="25973" y="28106"/>
                  </a:moveTo>
                  <a:cubicBezTo>
                    <a:pt x="27604" y="14304"/>
                    <a:pt x="17817" y="1882"/>
                    <a:pt x="4015" y="251"/>
                  </a:cubicBezTo>
                  <a:cubicBezTo>
                    <a:pt x="3388" y="251"/>
                    <a:pt x="2760" y="126"/>
                    <a:pt x="2133" y="0"/>
                  </a:cubicBezTo>
                  <a:lnTo>
                    <a:pt x="0" y="50189"/>
                  </a:lnTo>
                  <a:cubicBezTo>
                    <a:pt x="0" y="50189"/>
                    <a:pt x="753" y="50189"/>
                    <a:pt x="1004" y="50189"/>
                  </a:cubicBezTo>
                  <a:cubicBezTo>
                    <a:pt x="13551" y="50189"/>
                    <a:pt x="24342" y="40779"/>
                    <a:pt x="25847" y="28106"/>
                  </a:cubicBezTo>
                  <a:close/>
                </a:path>
              </a:pathLst>
            </a:custGeom>
            <a:solidFill>
              <a:schemeClr val="accent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8" name="Freeform 197">
              <a:extLst>
                <a:ext uri="{FF2B5EF4-FFF2-40B4-BE49-F238E27FC236}">
                  <a16:creationId xmlns:a16="http://schemas.microsoft.com/office/drawing/2014/main" id="{2315BD15-D449-D006-039D-98CCE2B62B7C}"/>
                </a:ext>
              </a:extLst>
            </p:cNvPr>
            <p:cNvSpPr/>
            <p:nvPr/>
          </p:nvSpPr>
          <p:spPr>
            <a:xfrm>
              <a:off x="7378362" y="3447889"/>
              <a:ext cx="38870" cy="49981"/>
            </a:xfrm>
            <a:custGeom>
              <a:avLst/>
              <a:gdLst>
                <a:gd name="connsiteX0" fmla="*/ 27452 w 38870"/>
                <a:gd name="connsiteY0" fmla="*/ 753 h 49981"/>
                <a:gd name="connsiteX1" fmla="*/ 10890 w 38870"/>
                <a:gd name="connsiteY1" fmla="*/ 5019 h 49981"/>
                <a:gd name="connsiteX2" fmla="*/ 4365 w 38870"/>
                <a:gd name="connsiteY2" fmla="*/ 39901 h 49981"/>
                <a:gd name="connsiteX3" fmla="*/ 38871 w 38870"/>
                <a:gd name="connsiteY3" fmla="*/ 49813 h 49981"/>
                <a:gd name="connsiteX4" fmla="*/ 38871 w 38870"/>
                <a:gd name="connsiteY4" fmla="*/ 0 h 49981"/>
                <a:gd name="connsiteX5" fmla="*/ 27452 w 38870"/>
                <a:gd name="connsiteY5" fmla="*/ 753 h 49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870" h="49981">
                  <a:moveTo>
                    <a:pt x="27452" y="753"/>
                  </a:moveTo>
                  <a:cubicBezTo>
                    <a:pt x="21806" y="251"/>
                    <a:pt x="15909" y="1631"/>
                    <a:pt x="10890" y="5019"/>
                  </a:cubicBezTo>
                  <a:cubicBezTo>
                    <a:pt x="-528" y="12798"/>
                    <a:pt x="-3414" y="28482"/>
                    <a:pt x="4365" y="39901"/>
                  </a:cubicBezTo>
                  <a:cubicBezTo>
                    <a:pt x="9510" y="47303"/>
                    <a:pt x="11894" y="50817"/>
                    <a:pt x="38871" y="49813"/>
                  </a:cubicBezTo>
                  <a:lnTo>
                    <a:pt x="38871" y="0"/>
                  </a:lnTo>
                  <a:cubicBezTo>
                    <a:pt x="33601" y="376"/>
                    <a:pt x="29585" y="627"/>
                    <a:pt x="27452" y="753"/>
                  </a:cubicBezTo>
                  <a:close/>
                </a:path>
              </a:pathLst>
            </a:custGeom>
            <a:solidFill>
              <a:schemeClr val="accent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9" name="Freeform 198">
              <a:extLst>
                <a:ext uri="{FF2B5EF4-FFF2-40B4-BE49-F238E27FC236}">
                  <a16:creationId xmlns:a16="http://schemas.microsoft.com/office/drawing/2014/main" id="{914D7411-AB82-DD4B-9A75-90C24A2D0A36}"/>
                </a:ext>
              </a:extLst>
            </p:cNvPr>
            <p:cNvSpPr/>
            <p:nvPr/>
          </p:nvSpPr>
          <p:spPr>
            <a:xfrm>
              <a:off x="7795659" y="3738987"/>
              <a:ext cx="33254" cy="50314"/>
            </a:xfrm>
            <a:custGeom>
              <a:avLst/>
              <a:gdLst>
                <a:gd name="connsiteX0" fmla="*/ 8532 w 33254"/>
                <a:gd name="connsiteY0" fmla="*/ 50189 h 50314"/>
                <a:gd name="connsiteX1" fmla="*/ 33251 w 33254"/>
                <a:gd name="connsiteY1" fmla="*/ 24718 h 50314"/>
                <a:gd name="connsiteX2" fmla="*/ 7779 w 33254"/>
                <a:gd name="connsiteY2" fmla="*/ 0 h 50314"/>
                <a:gd name="connsiteX3" fmla="*/ 0 w 33254"/>
                <a:gd name="connsiteY3" fmla="*/ 125 h 50314"/>
                <a:gd name="connsiteX4" fmla="*/ 2384 w 33254"/>
                <a:gd name="connsiteY4" fmla="*/ 50315 h 50314"/>
                <a:gd name="connsiteX5" fmla="*/ 8407 w 33254"/>
                <a:gd name="connsiteY5" fmla="*/ 50189 h 50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254" h="50314">
                  <a:moveTo>
                    <a:pt x="8532" y="50189"/>
                  </a:moveTo>
                  <a:cubicBezTo>
                    <a:pt x="22334" y="49938"/>
                    <a:pt x="33501" y="38646"/>
                    <a:pt x="33251" y="24718"/>
                  </a:cubicBezTo>
                  <a:cubicBezTo>
                    <a:pt x="33000" y="10916"/>
                    <a:pt x="21707" y="0"/>
                    <a:pt x="7779" y="0"/>
                  </a:cubicBezTo>
                  <a:cubicBezTo>
                    <a:pt x="5144" y="0"/>
                    <a:pt x="2635" y="0"/>
                    <a:pt x="0" y="125"/>
                  </a:cubicBezTo>
                  <a:lnTo>
                    <a:pt x="2384" y="50315"/>
                  </a:lnTo>
                  <a:cubicBezTo>
                    <a:pt x="4392" y="50315"/>
                    <a:pt x="6399" y="50315"/>
                    <a:pt x="8407" y="50189"/>
                  </a:cubicBezTo>
                  <a:close/>
                </a:path>
              </a:pathLst>
            </a:custGeom>
            <a:solidFill>
              <a:schemeClr val="accent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0" name="Freeform 199">
              <a:extLst>
                <a:ext uri="{FF2B5EF4-FFF2-40B4-BE49-F238E27FC236}">
                  <a16:creationId xmlns:a16="http://schemas.microsoft.com/office/drawing/2014/main" id="{49A7AA1F-9E31-3EC1-52D7-1EAD48958655}"/>
                </a:ext>
              </a:extLst>
            </p:cNvPr>
            <p:cNvSpPr/>
            <p:nvPr/>
          </p:nvSpPr>
          <p:spPr>
            <a:xfrm>
              <a:off x="7183531" y="3915151"/>
              <a:ext cx="57661" cy="54957"/>
            </a:xfrm>
            <a:custGeom>
              <a:avLst/>
              <a:gdLst>
                <a:gd name="connsiteX0" fmla="*/ 15628 w 57661"/>
                <a:gd name="connsiteY0" fmla="*/ 6399 h 54957"/>
                <a:gd name="connsiteX1" fmla="*/ 10860 w 57661"/>
                <a:gd name="connsiteY1" fmla="*/ 9034 h 54957"/>
                <a:gd name="connsiteX2" fmla="*/ 4461 w 57661"/>
                <a:gd name="connsiteY2" fmla="*/ 43916 h 54957"/>
                <a:gd name="connsiteX3" fmla="*/ 22655 w 57661"/>
                <a:gd name="connsiteY3" fmla="*/ 54957 h 54957"/>
                <a:gd name="connsiteX4" fmla="*/ 57662 w 57661"/>
                <a:gd name="connsiteY4" fmla="*/ 39524 h 54957"/>
                <a:gd name="connsiteX5" fmla="*/ 26168 w 57661"/>
                <a:gd name="connsiteY5" fmla="*/ 0 h 54957"/>
                <a:gd name="connsiteX6" fmla="*/ 15628 w 57661"/>
                <a:gd name="connsiteY6" fmla="*/ 6399 h 54957"/>
                <a:gd name="connsiteX7" fmla="*/ 17761 w 57661"/>
                <a:gd name="connsiteY7" fmla="*/ 5646 h 54957"/>
                <a:gd name="connsiteX8" fmla="*/ 23407 w 57661"/>
                <a:gd name="connsiteY8" fmla="*/ 4642 h 54957"/>
                <a:gd name="connsiteX9" fmla="*/ 17761 w 57661"/>
                <a:gd name="connsiteY9" fmla="*/ 5646 h 54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661" h="54957">
                  <a:moveTo>
                    <a:pt x="15628" y="6399"/>
                  </a:moveTo>
                  <a:cubicBezTo>
                    <a:pt x="13997" y="7026"/>
                    <a:pt x="12366" y="7905"/>
                    <a:pt x="10860" y="9034"/>
                  </a:cubicBezTo>
                  <a:cubicBezTo>
                    <a:pt x="-558" y="16939"/>
                    <a:pt x="-3444" y="32498"/>
                    <a:pt x="4461" y="43916"/>
                  </a:cubicBezTo>
                  <a:cubicBezTo>
                    <a:pt x="9982" y="51946"/>
                    <a:pt x="16005" y="54957"/>
                    <a:pt x="22655" y="54957"/>
                  </a:cubicBezTo>
                  <a:cubicBezTo>
                    <a:pt x="32818" y="54957"/>
                    <a:pt x="44361" y="47805"/>
                    <a:pt x="57662" y="39524"/>
                  </a:cubicBezTo>
                  <a:lnTo>
                    <a:pt x="26168" y="0"/>
                  </a:lnTo>
                  <a:cubicBezTo>
                    <a:pt x="20145" y="3764"/>
                    <a:pt x="17134" y="5521"/>
                    <a:pt x="15628" y="6399"/>
                  </a:cubicBezTo>
                  <a:close/>
                  <a:moveTo>
                    <a:pt x="17761" y="5646"/>
                  </a:moveTo>
                  <a:cubicBezTo>
                    <a:pt x="19518" y="5019"/>
                    <a:pt x="21525" y="4768"/>
                    <a:pt x="23407" y="4642"/>
                  </a:cubicBezTo>
                  <a:cubicBezTo>
                    <a:pt x="21400" y="4642"/>
                    <a:pt x="19518" y="5144"/>
                    <a:pt x="17761" y="5646"/>
                  </a:cubicBezTo>
                  <a:close/>
                </a:path>
              </a:pathLst>
            </a:custGeom>
            <a:solidFill>
              <a:schemeClr val="accent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1" name="Freeform 200">
              <a:extLst>
                <a:ext uri="{FF2B5EF4-FFF2-40B4-BE49-F238E27FC236}">
                  <a16:creationId xmlns:a16="http://schemas.microsoft.com/office/drawing/2014/main" id="{B402C0F5-9925-39FB-95EC-99AB3DCC7838}"/>
                </a:ext>
              </a:extLst>
            </p:cNvPr>
            <p:cNvSpPr/>
            <p:nvPr/>
          </p:nvSpPr>
          <p:spPr>
            <a:xfrm>
              <a:off x="7805321" y="4472629"/>
              <a:ext cx="48436" cy="53451"/>
            </a:xfrm>
            <a:custGeom>
              <a:avLst/>
              <a:gdLst>
                <a:gd name="connsiteX0" fmla="*/ 23338 w 48436"/>
                <a:gd name="connsiteY0" fmla="*/ 53452 h 53451"/>
                <a:gd name="connsiteX1" fmla="*/ 46551 w 48436"/>
                <a:gd name="connsiteY1" fmla="*/ 37768 h 53451"/>
                <a:gd name="connsiteX2" fmla="*/ 32749 w 48436"/>
                <a:gd name="connsiteY2" fmla="*/ 5019 h 53451"/>
                <a:gd name="connsiteX3" fmla="*/ 21080 w 48436"/>
                <a:gd name="connsiteY3" fmla="*/ 0 h 53451"/>
                <a:gd name="connsiteX4" fmla="*/ 0 w 48436"/>
                <a:gd name="connsiteY4" fmla="*/ 45547 h 53451"/>
                <a:gd name="connsiteX5" fmla="*/ 13802 w 48436"/>
                <a:gd name="connsiteY5" fmla="*/ 51444 h 53451"/>
                <a:gd name="connsiteX6" fmla="*/ 23213 w 48436"/>
                <a:gd name="connsiteY6" fmla="*/ 53326 h 53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436" h="53451">
                  <a:moveTo>
                    <a:pt x="23338" y="53452"/>
                  </a:moveTo>
                  <a:cubicBezTo>
                    <a:pt x="33250" y="53452"/>
                    <a:pt x="42661" y="47554"/>
                    <a:pt x="46551" y="37768"/>
                  </a:cubicBezTo>
                  <a:cubicBezTo>
                    <a:pt x="51821" y="24969"/>
                    <a:pt x="45672" y="10289"/>
                    <a:pt x="32749" y="5019"/>
                  </a:cubicBezTo>
                  <a:cubicBezTo>
                    <a:pt x="28733" y="3388"/>
                    <a:pt x="24969" y="1757"/>
                    <a:pt x="21080" y="0"/>
                  </a:cubicBezTo>
                  <a:lnTo>
                    <a:pt x="0" y="45547"/>
                  </a:lnTo>
                  <a:cubicBezTo>
                    <a:pt x="4642" y="47554"/>
                    <a:pt x="9034" y="49436"/>
                    <a:pt x="13802" y="51444"/>
                  </a:cubicBezTo>
                  <a:cubicBezTo>
                    <a:pt x="16939" y="52699"/>
                    <a:pt x="20076" y="53326"/>
                    <a:pt x="23213" y="53326"/>
                  </a:cubicBezTo>
                  <a:close/>
                </a:path>
              </a:pathLst>
            </a:custGeom>
            <a:solidFill>
              <a:schemeClr val="accent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2" name="Freeform 201">
              <a:extLst>
                <a:ext uri="{FF2B5EF4-FFF2-40B4-BE49-F238E27FC236}">
                  <a16:creationId xmlns:a16="http://schemas.microsoft.com/office/drawing/2014/main" id="{DFCB7CDF-DBFE-6202-6024-6AC46AD0739E}"/>
                </a:ext>
              </a:extLst>
            </p:cNvPr>
            <p:cNvSpPr/>
            <p:nvPr/>
          </p:nvSpPr>
          <p:spPr>
            <a:xfrm>
              <a:off x="7261263" y="4093325"/>
              <a:ext cx="48061" cy="52947"/>
            </a:xfrm>
            <a:custGeom>
              <a:avLst/>
              <a:gdLst>
                <a:gd name="connsiteX0" fmla="*/ 43921 w 48061"/>
                <a:gd name="connsiteY0" fmla="*/ 7025 h 52947"/>
                <a:gd name="connsiteX1" fmla="*/ 40408 w 48061"/>
                <a:gd name="connsiteY1" fmla="*/ 5017 h 52947"/>
                <a:gd name="connsiteX2" fmla="*/ 31750 w 48061"/>
                <a:gd name="connsiteY2" fmla="*/ 876 h 52947"/>
                <a:gd name="connsiteX3" fmla="*/ 1009 w 48061"/>
                <a:gd name="connsiteY3" fmla="*/ 18694 h 52947"/>
                <a:gd name="connsiteX4" fmla="*/ 19329 w 48061"/>
                <a:gd name="connsiteY4" fmla="*/ 50815 h 52947"/>
                <a:gd name="connsiteX5" fmla="*/ 22967 w 48061"/>
                <a:gd name="connsiteY5" fmla="*/ 52948 h 52947"/>
                <a:gd name="connsiteX6" fmla="*/ 48062 w 48061"/>
                <a:gd name="connsiteY6" fmla="*/ 9534 h 52947"/>
                <a:gd name="connsiteX7" fmla="*/ 43796 w 48061"/>
                <a:gd name="connsiteY7" fmla="*/ 7025 h 52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061" h="52947">
                  <a:moveTo>
                    <a:pt x="43921" y="7025"/>
                  </a:moveTo>
                  <a:cubicBezTo>
                    <a:pt x="42416" y="6146"/>
                    <a:pt x="41286" y="5519"/>
                    <a:pt x="40408" y="5017"/>
                  </a:cubicBezTo>
                  <a:cubicBezTo>
                    <a:pt x="37899" y="3135"/>
                    <a:pt x="35013" y="1629"/>
                    <a:pt x="31750" y="876"/>
                  </a:cubicBezTo>
                  <a:cubicBezTo>
                    <a:pt x="18450" y="-2762"/>
                    <a:pt x="4648" y="5268"/>
                    <a:pt x="1009" y="18694"/>
                  </a:cubicBezTo>
                  <a:cubicBezTo>
                    <a:pt x="-4135" y="37766"/>
                    <a:pt x="11675" y="46549"/>
                    <a:pt x="19329" y="50815"/>
                  </a:cubicBezTo>
                  <a:cubicBezTo>
                    <a:pt x="20583" y="51442"/>
                    <a:pt x="21712" y="52320"/>
                    <a:pt x="22967" y="52948"/>
                  </a:cubicBezTo>
                  <a:lnTo>
                    <a:pt x="48062" y="9534"/>
                  </a:lnTo>
                  <a:cubicBezTo>
                    <a:pt x="46682" y="8781"/>
                    <a:pt x="45302" y="7903"/>
                    <a:pt x="43796" y="7025"/>
                  </a:cubicBezTo>
                  <a:close/>
                </a:path>
              </a:pathLst>
            </a:custGeom>
            <a:solidFill>
              <a:schemeClr val="accent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3" name="Freeform 202">
              <a:extLst>
                <a:ext uri="{FF2B5EF4-FFF2-40B4-BE49-F238E27FC236}">
                  <a16:creationId xmlns:a16="http://schemas.microsoft.com/office/drawing/2014/main" id="{09977CCB-77C1-AA1B-DE69-3B1C7D755197}"/>
                </a:ext>
              </a:extLst>
            </p:cNvPr>
            <p:cNvSpPr/>
            <p:nvPr/>
          </p:nvSpPr>
          <p:spPr>
            <a:xfrm>
              <a:off x="7022619" y="4645280"/>
              <a:ext cx="56470" cy="60352"/>
            </a:xfrm>
            <a:custGeom>
              <a:avLst/>
              <a:gdLst>
                <a:gd name="connsiteX0" fmla="*/ 14053 w 56470"/>
                <a:gd name="connsiteY0" fmla="*/ 53452 h 60352"/>
                <a:gd name="connsiteX1" fmla="*/ 31368 w 56470"/>
                <a:gd name="connsiteY1" fmla="*/ 60353 h 60352"/>
                <a:gd name="connsiteX2" fmla="*/ 49562 w 56470"/>
                <a:gd name="connsiteY2" fmla="*/ 52573 h 60352"/>
                <a:gd name="connsiteX3" fmla="*/ 48684 w 56470"/>
                <a:gd name="connsiteY3" fmla="*/ 17064 h 60352"/>
                <a:gd name="connsiteX4" fmla="*/ 32372 w 56470"/>
                <a:gd name="connsiteY4" fmla="*/ 0 h 60352"/>
                <a:gd name="connsiteX5" fmla="*/ 0 w 56470"/>
                <a:gd name="connsiteY5" fmla="*/ 38897 h 60352"/>
                <a:gd name="connsiteX6" fmla="*/ 14053 w 56470"/>
                <a:gd name="connsiteY6" fmla="*/ 53326 h 60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470" h="60352">
                  <a:moveTo>
                    <a:pt x="14053" y="53452"/>
                  </a:moveTo>
                  <a:cubicBezTo>
                    <a:pt x="18946" y="58094"/>
                    <a:pt x="25095" y="60353"/>
                    <a:pt x="31368" y="60353"/>
                  </a:cubicBezTo>
                  <a:cubicBezTo>
                    <a:pt x="38018" y="60353"/>
                    <a:pt x="44543" y="57718"/>
                    <a:pt x="49562" y="52573"/>
                  </a:cubicBezTo>
                  <a:cubicBezTo>
                    <a:pt x="59098" y="42535"/>
                    <a:pt x="58721" y="26726"/>
                    <a:pt x="48684" y="17064"/>
                  </a:cubicBezTo>
                  <a:cubicBezTo>
                    <a:pt x="43539" y="12171"/>
                    <a:pt x="38144" y="6399"/>
                    <a:pt x="32372" y="0"/>
                  </a:cubicBezTo>
                  <a:lnTo>
                    <a:pt x="0" y="38897"/>
                  </a:lnTo>
                  <a:cubicBezTo>
                    <a:pt x="4768" y="44041"/>
                    <a:pt x="9410" y="48934"/>
                    <a:pt x="14053" y="53326"/>
                  </a:cubicBezTo>
                  <a:close/>
                </a:path>
              </a:pathLst>
            </a:custGeom>
            <a:solidFill>
              <a:schemeClr val="accent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4" name="Freeform 203">
              <a:extLst>
                <a:ext uri="{FF2B5EF4-FFF2-40B4-BE49-F238E27FC236}">
                  <a16:creationId xmlns:a16="http://schemas.microsoft.com/office/drawing/2014/main" id="{EDF4913B-021E-9BED-F987-3789331D8467}"/>
                </a:ext>
              </a:extLst>
            </p:cNvPr>
            <p:cNvSpPr/>
            <p:nvPr/>
          </p:nvSpPr>
          <p:spPr>
            <a:xfrm>
              <a:off x="6478582" y="4291711"/>
              <a:ext cx="59710" cy="60588"/>
            </a:xfrm>
            <a:custGeom>
              <a:avLst/>
              <a:gdLst>
                <a:gd name="connsiteX0" fmla="*/ 39384 w 59710"/>
                <a:gd name="connsiteY0" fmla="*/ 4502 h 60588"/>
                <a:gd name="connsiteX1" fmla="*/ 4502 w 59710"/>
                <a:gd name="connsiteY1" fmla="*/ 10776 h 60588"/>
                <a:gd name="connsiteX2" fmla="*/ 10776 w 59710"/>
                <a:gd name="connsiteY2" fmla="*/ 45657 h 60588"/>
                <a:gd name="connsiteX3" fmla="*/ 27589 w 59710"/>
                <a:gd name="connsiteY3" fmla="*/ 60589 h 60588"/>
                <a:gd name="connsiteX4" fmla="*/ 59710 w 59710"/>
                <a:gd name="connsiteY4" fmla="*/ 21943 h 60588"/>
                <a:gd name="connsiteX5" fmla="*/ 39384 w 59710"/>
                <a:gd name="connsiteY5" fmla="*/ 4502 h 60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710" h="60588">
                  <a:moveTo>
                    <a:pt x="39384" y="4502"/>
                  </a:moveTo>
                  <a:cubicBezTo>
                    <a:pt x="27966" y="-3403"/>
                    <a:pt x="12407" y="-642"/>
                    <a:pt x="4502" y="10776"/>
                  </a:cubicBezTo>
                  <a:cubicBezTo>
                    <a:pt x="-3403" y="22194"/>
                    <a:pt x="-642" y="37752"/>
                    <a:pt x="10776" y="45657"/>
                  </a:cubicBezTo>
                  <a:cubicBezTo>
                    <a:pt x="14540" y="48292"/>
                    <a:pt x="20563" y="53938"/>
                    <a:pt x="27589" y="60589"/>
                  </a:cubicBezTo>
                  <a:lnTo>
                    <a:pt x="59710" y="21943"/>
                  </a:lnTo>
                  <a:cubicBezTo>
                    <a:pt x="51931" y="14665"/>
                    <a:pt x="45532" y="8768"/>
                    <a:pt x="39384" y="4502"/>
                  </a:cubicBezTo>
                  <a:close/>
                </a:path>
              </a:pathLst>
            </a:custGeom>
            <a:solidFill>
              <a:schemeClr val="accent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5" name="Freeform 204">
              <a:extLst>
                <a:ext uri="{FF2B5EF4-FFF2-40B4-BE49-F238E27FC236}">
                  <a16:creationId xmlns:a16="http://schemas.microsoft.com/office/drawing/2014/main" id="{9768A52E-F6EB-2951-EA43-DC5B080CC8C9}"/>
                </a:ext>
              </a:extLst>
            </p:cNvPr>
            <p:cNvSpPr/>
            <p:nvPr/>
          </p:nvSpPr>
          <p:spPr>
            <a:xfrm>
              <a:off x="6330132" y="4162082"/>
              <a:ext cx="40405" cy="54567"/>
            </a:xfrm>
            <a:custGeom>
              <a:avLst/>
              <a:gdLst>
                <a:gd name="connsiteX0" fmla="*/ 38520 w 40405"/>
                <a:gd name="connsiteY0" fmla="*/ 39022 h 54567"/>
                <a:gd name="connsiteX1" fmla="*/ 24718 w 40405"/>
                <a:gd name="connsiteY1" fmla="*/ 6274 h 54567"/>
                <a:gd name="connsiteX2" fmla="*/ 9034 w 40405"/>
                <a:gd name="connsiteY2" fmla="*/ 0 h 54567"/>
                <a:gd name="connsiteX3" fmla="*/ 0 w 40405"/>
                <a:gd name="connsiteY3" fmla="*/ 50440 h 54567"/>
                <a:gd name="connsiteX4" fmla="*/ 5772 w 40405"/>
                <a:gd name="connsiteY4" fmla="*/ 52699 h 54567"/>
                <a:gd name="connsiteX5" fmla="*/ 38520 w 40405"/>
                <a:gd name="connsiteY5" fmla="*/ 38897 h 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405" h="54567">
                  <a:moveTo>
                    <a:pt x="38520" y="39022"/>
                  </a:moveTo>
                  <a:cubicBezTo>
                    <a:pt x="43790" y="26224"/>
                    <a:pt x="37642" y="11544"/>
                    <a:pt x="24718" y="6274"/>
                  </a:cubicBezTo>
                  <a:cubicBezTo>
                    <a:pt x="19699" y="4266"/>
                    <a:pt x="14304" y="2133"/>
                    <a:pt x="9034" y="0"/>
                  </a:cubicBezTo>
                  <a:lnTo>
                    <a:pt x="0" y="50440"/>
                  </a:lnTo>
                  <a:cubicBezTo>
                    <a:pt x="2008" y="51193"/>
                    <a:pt x="3764" y="51946"/>
                    <a:pt x="5772" y="52699"/>
                  </a:cubicBezTo>
                  <a:cubicBezTo>
                    <a:pt x="18570" y="57969"/>
                    <a:pt x="33250" y="51695"/>
                    <a:pt x="38520" y="38897"/>
                  </a:cubicBezTo>
                  <a:close/>
                </a:path>
              </a:pathLst>
            </a:custGeom>
            <a:solidFill>
              <a:schemeClr val="accent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6" name="Freeform 205">
              <a:extLst>
                <a:ext uri="{FF2B5EF4-FFF2-40B4-BE49-F238E27FC236}">
                  <a16:creationId xmlns:a16="http://schemas.microsoft.com/office/drawing/2014/main" id="{05325E8D-0BA9-8F9B-7169-6494F96A5094}"/>
                </a:ext>
              </a:extLst>
            </p:cNvPr>
            <p:cNvSpPr/>
            <p:nvPr/>
          </p:nvSpPr>
          <p:spPr>
            <a:xfrm>
              <a:off x="5591584" y="4230089"/>
              <a:ext cx="49951" cy="51592"/>
            </a:xfrm>
            <a:custGeom>
              <a:avLst/>
              <a:gdLst>
                <a:gd name="connsiteX0" fmla="*/ 29625 w 49951"/>
                <a:gd name="connsiteY0" fmla="*/ 1631 h 51592"/>
                <a:gd name="connsiteX1" fmla="*/ 21720 w 49951"/>
                <a:gd name="connsiteY1" fmla="*/ 1882 h 51592"/>
                <a:gd name="connsiteX2" fmla="*/ 264 w 49951"/>
                <a:gd name="connsiteY2" fmla="*/ 32749 h 51592"/>
                <a:gd name="connsiteX3" fmla="*/ 35396 w 49951"/>
                <a:gd name="connsiteY3" fmla="*/ 51444 h 51592"/>
                <a:gd name="connsiteX4" fmla="*/ 49073 w 49951"/>
                <a:gd name="connsiteY4" fmla="*/ 50817 h 51592"/>
                <a:gd name="connsiteX5" fmla="*/ 49951 w 49951"/>
                <a:gd name="connsiteY5" fmla="*/ 0 h 51592"/>
                <a:gd name="connsiteX6" fmla="*/ 29625 w 49951"/>
                <a:gd name="connsiteY6" fmla="*/ 1506 h 51592"/>
                <a:gd name="connsiteX7" fmla="*/ 46689 w 49951"/>
                <a:gd name="connsiteY7" fmla="*/ 11669 h 51592"/>
                <a:gd name="connsiteX8" fmla="*/ 46689 w 49951"/>
                <a:gd name="connsiteY8" fmla="*/ 11669 h 51592"/>
                <a:gd name="connsiteX9" fmla="*/ 46689 w 49951"/>
                <a:gd name="connsiteY9" fmla="*/ 11669 h 51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9951" h="51592">
                  <a:moveTo>
                    <a:pt x="29625" y="1631"/>
                  </a:moveTo>
                  <a:cubicBezTo>
                    <a:pt x="26990" y="1380"/>
                    <a:pt x="24355" y="1380"/>
                    <a:pt x="21720" y="1882"/>
                  </a:cubicBezTo>
                  <a:cubicBezTo>
                    <a:pt x="12184" y="3639"/>
                    <a:pt x="-2120" y="9410"/>
                    <a:pt x="264" y="32749"/>
                  </a:cubicBezTo>
                  <a:cubicBezTo>
                    <a:pt x="2773" y="50691"/>
                    <a:pt x="26362" y="52197"/>
                    <a:pt x="35396" y="51444"/>
                  </a:cubicBezTo>
                  <a:cubicBezTo>
                    <a:pt x="39662" y="51444"/>
                    <a:pt x="44305" y="51193"/>
                    <a:pt x="49073" y="50817"/>
                  </a:cubicBezTo>
                  <a:lnTo>
                    <a:pt x="49951" y="0"/>
                  </a:lnTo>
                  <a:cubicBezTo>
                    <a:pt x="38784" y="1255"/>
                    <a:pt x="31758" y="1506"/>
                    <a:pt x="29625" y="1506"/>
                  </a:cubicBezTo>
                  <a:close/>
                  <a:moveTo>
                    <a:pt x="46689" y="11669"/>
                  </a:moveTo>
                  <a:cubicBezTo>
                    <a:pt x="46689" y="11669"/>
                    <a:pt x="46689" y="11669"/>
                    <a:pt x="46689" y="11669"/>
                  </a:cubicBezTo>
                  <a:cubicBezTo>
                    <a:pt x="46689" y="11669"/>
                    <a:pt x="46689" y="11669"/>
                    <a:pt x="46689" y="11669"/>
                  </a:cubicBezTo>
                  <a:close/>
                </a:path>
              </a:pathLst>
            </a:custGeom>
            <a:solidFill>
              <a:schemeClr val="accent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7" name="Freeform 206">
              <a:extLst>
                <a:ext uri="{FF2B5EF4-FFF2-40B4-BE49-F238E27FC236}">
                  <a16:creationId xmlns:a16="http://schemas.microsoft.com/office/drawing/2014/main" id="{5BA58EDD-1276-AA22-8A4C-E4825F08AC1C}"/>
                </a:ext>
              </a:extLst>
            </p:cNvPr>
            <p:cNvSpPr/>
            <p:nvPr/>
          </p:nvSpPr>
          <p:spPr>
            <a:xfrm>
              <a:off x="7045204" y="4040123"/>
              <a:ext cx="29141" cy="50189"/>
            </a:xfrm>
            <a:custGeom>
              <a:avLst/>
              <a:gdLst>
                <a:gd name="connsiteX0" fmla="*/ 4015 w 29141"/>
                <a:gd name="connsiteY0" fmla="*/ 50189 h 50189"/>
                <a:gd name="connsiteX1" fmla="*/ 26098 w 29141"/>
                <a:gd name="connsiteY1" fmla="*/ 37516 h 50189"/>
                <a:gd name="connsiteX2" fmla="*/ 4266 w 29141"/>
                <a:gd name="connsiteY2" fmla="*/ 0 h 50189"/>
                <a:gd name="connsiteX3" fmla="*/ 0 w 29141"/>
                <a:gd name="connsiteY3" fmla="*/ 0 h 50189"/>
                <a:gd name="connsiteX4" fmla="*/ 2384 w 29141"/>
                <a:gd name="connsiteY4" fmla="*/ 50189 h 50189"/>
                <a:gd name="connsiteX5" fmla="*/ 3764 w 29141"/>
                <a:gd name="connsiteY5" fmla="*/ 50189 h 50189"/>
                <a:gd name="connsiteX6" fmla="*/ 4015 w 29141"/>
                <a:gd name="connsiteY6" fmla="*/ 50189 h 50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141" h="50189">
                  <a:moveTo>
                    <a:pt x="4015" y="50189"/>
                  </a:moveTo>
                  <a:cubicBezTo>
                    <a:pt x="13049" y="50189"/>
                    <a:pt x="22083" y="45672"/>
                    <a:pt x="26098" y="37516"/>
                  </a:cubicBezTo>
                  <a:cubicBezTo>
                    <a:pt x="35384" y="18821"/>
                    <a:pt x="22083" y="125"/>
                    <a:pt x="4266" y="0"/>
                  </a:cubicBezTo>
                  <a:cubicBezTo>
                    <a:pt x="2886" y="0"/>
                    <a:pt x="1506" y="0"/>
                    <a:pt x="0" y="0"/>
                  </a:cubicBezTo>
                  <a:lnTo>
                    <a:pt x="2384" y="50189"/>
                  </a:lnTo>
                  <a:cubicBezTo>
                    <a:pt x="2384" y="50189"/>
                    <a:pt x="3262" y="50189"/>
                    <a:pt x="3764" y="50189"/>
                  </a:cubicBezTo>
                  <a:lnTo>
                    <a:pt x="4015" y="50189"/>
                  </a:lnTo>
                  <a:close/>
                </a:path>
              </a:pathLst>
            </a:custGeom>
            <a:solidFill>
              <a:schemeClr val="accent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8" name="Freeform 207">
              <a:extLst>
                <a:ext uri="{FF2B5EF4-FFF2-40B4-BE49-F238E27FC236}">
                  <a16:creationId xmlns:a16="http://schemas.microsoft.com/office/drawing/2014/main" id="{A5549024-796E-70BC-5B57-90A8BC0B4E11}"/>
                </a:ext>
              </a:extLst>
            </p:cNvPr>
            <p:cNvSpPr/>
            <p:nvPr/>
          </p:nvSpPr>
          <p:spPr>
            <a:xfrm>
              <a:off x="6514118" y="4106121"/>
              <a:ext cx="36470" cy="51795"/>
            </a:xfrm>
            <a:custGeom>
              <a:avLst/>
              <a:gdLst>
                <a:gd name="connsiteX0" fmla="*/ 13509 w 36470"/>
                <a:gd name="connsiteY0" fmla="*/ 2635 h 51795"/>
                <a:gd name="connsiteX1" fmla="*/ 12254 w 36470"/>
                <a:gd name="connsiteY1" fmla="*/ 3137 h 51795"/>
                <a:gd name="connsiteX2" fmla="*/ 2718 w 36470"/>
                <a:gd name="connsiteY2" fmla="*/ 35634 h 51795"/>
                <a:gd name="connsiteX3" fmla="*/ 33961 w 36470"/>
                <a:gd name="connsiteY3" fmla="*/ 48433 h 51795"/>
                <a:gd name="connsiteX4" fmla="*/ 36471 w 36470"/>
                <a:gd name="connsiteY4" fmla="*/ 47303 h 51795"/>
                <a:gd name="connsiteX5" fmla="*/ 19532 w 36470"/>
                <a:gd name="connsiteY5" fmla="*/ 0 h 51795"/>
                <a:gd name="connsiteX6" fmla="*/ 13384 w 36470"/>
                <a:gd name="connsiteY6" fmla="*/ 2635 h 51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470" h="51795">
                  <a:moveTo>
                    <a:pt x="13509" y="2635"/>
                  </a:moveTo>
                  <a:lnTo>
                    <a:pt x="12254" y="3137"/>
                  </a:lnTo>
                  <a:cubicBezTo>
                    <a:pt x="12254" y="3137"/>
                    <a:pt x="-6943" y="11920"/>
                    <a:pt x="2718" y="35634"/>
                  </a:cubicBezTo>
                  <a:cubicBezTo>
                    <a:pt x="12505" y="59223"/>
                    <a:pt x="28942" y="50691"/>
                    <a:pt x="33961" y="48433"/>
                  </a:cubicBezTo>
                  <a:cubicBezTo>
                    <a:pt x="34714" y="48056"/>
                    <a:pt x="35592" y="47680"/>
                    <a:pt x="36471" y="47303"/>
                  </a:cubicBezTo>
                  <a:lnTo>
                    <a:pt x="19532" y="0"/>
                  </a:lnTo>
                  <a:cubicBezTo>
                    <a:pt x="17273" y="878"/>
                    <a:pt x="15266" y="1882"/>
                    <a:pt x="13384" y="2635"/>
                  </a:cubicBezTo>
                  <a:close/>
                </a:path>
              </a:pathLst>
            </a:custGeom>
            <a:solidFill>
              <a:schemeClr val="accent2"/>
            </a:solidFill>
            <a:ln w="12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9" name="TextBox 208">
              <a:extLst>
                <a:ext uri="{FF2B5EF4-FFF2-40B4-BE49-F238E27FC236}">
                  <a16:creationId xmlns:a16="http://schemas.microsoft.com/office/drawing/2014/main" id="{CAEE4434-DC5C-EF90-C18D-5FA75569D12E}"/>
                </a:ext>
              </a:extLst>
            </p:cNvPr>
            <p:cNvSpPr txBox="1"/>
            <p:nvPr/>
          </p:nvSpPr>
          <p:spPr>
            <a:xfrm>
              <a:off x="5953628" y="3376837"/>
              <a:ext cx="736027" cy="10432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000" b="1"/>
                <a:t>End-to-end links</a:t>
              </a:r>
            </a:p>
          </p:txBody>
        </p:sp>
        <p:sp>
          <p:nvSpPr>
            <p:cNvPr id="210" name="TextBox 209">
              <a:extLst>
                <a:ext uri="{FF2B5EF4-FFF2-40B4-BE49-F238E27FC236}">
                  <a16:creationId xmlns:a16="http://schemas.microsoft.com/office/drawing/2014/main" id="{7AD765BE-13A4-6217-0F8D-E28776C61F21}"/>
                </a:ext>
              </a:extLst>
            </p:cNvPr>
            <p:cNvSpPr txBox="1"/>
            <p:nvPr/>
          </p:nvSpPr>
          <p:spPr>
            <a:xfrm>
              <a:off x="7295610" y="3886514"/>
              <a:ext cx="736027" cy="10432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000" b="1"/>
                <a:t>Branching links</a:t>
              </a:r>
            </a:p>
          </p:txBody>
        </p:sp>
        <p:sp>
          <p:nvSpPr>
            <p:cNvPr id="211" name="TextBox 210">
              <a:extLst>
                <a:ext uri="{FF2B5EF4-FFF2-40B4-BE49-F238E27FC236}">
                  <a16:creationId xmlns:a16="http://schemas.microsoft.com/office/drawing/2014/main" id="{550345BA-9389-E5BA-74D0-22DB256962AA}"/>
                </a:ext>
              </a:extLst>
            </p:cNvPr>
            <p:cNvSpPr txBox="1"/>
            <p:nvPr/>
          </p:nvSpPr>
          <p:spPr>
            <a:xfrm>
              <a:off x="6155704" y="1605227"/>
              <a:ext cx="1172668" cy="10432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400" b="1"/>
                <a:t>Healthy mucus</a:t>
              </a:r>
            </a:p>
          </p:txBody>
        </p:sp>
        <p:sp>
          <p:nvSpPr>
            <p:cNvPr id="212" name="TextBox 211">
              <a:extLst>
                <a:ext uri="{FF2B5EF4-FFF2-40B4-BE49-F238E27FC236}">
                  <a16:creationId xmlns:a16="http://schemas.microsoft.com/office/drawing/2014/main" id="{DD9EE7CC-5A26-AA26-86B6-5AF7F50D69E9}"/>
                </a:ext>
              </a:extLst>
            </p:cNvPr>
            <p:cNvSpPr txBox="1"/>
            <p:nvPr/>
          </p:nvSpPr>
          <p:spPr>
            <a:xfrm rot="21265535">
              <a:off x="6296696" y="3789550"/>
              <a:ext cx="307089" cy="1633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600" b="1"/>
                <a:t>-S-S-</a:t>
              </a:r>
            </a:p>
          </p:txBody>
        </p:sp>
        <p:sp>
          <p:nvSpPr>
            <p:cNvPr id="213" name="TextBox 212">
              <a:extLst>
                <a:ext uri="{FF2B5EF4-FFF2-40B4-BE49-F238E27FC236}">
                  <a16:creationId xmlns:a16="http://schemas.microsoft.com/office/drawing/2014/main" id="{B47515B3-0C2C-217C-4E61-8D456CD152B0}"/>
                </a:ext>
              </a:extLst>
            </p:cNvPr>
            <p:cNvSpPr txBox="1"/>
            <p:nvPr/>
          </p:nvSpPr>
          <p:spPr>
            <a:xfrm rot="21265535">
              <a:off x="6287269" y="4128915"/>
              <a:ext cx="307089" cy="1633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600" b="1"/>
                <a:t>-S-S-</a:t>
              </a:r>
            </a:p>
          </p:txBody>
        </p:sp>
        <p:sp>
          <p:nvSpPr>
            <p:cNvPr id="214" name="TextBox 213">
              <a:extLst>
                <a:ext uri="{FF2B5EF4-FFF2-40B4-BE49-F238E27FC236}">
                  <a16:creationId xmlns:a16="http://schemas.microsoft.com/office/drawing/2014/main" id="{201515C3-061C-2DF6-9529-A39E841DE834}"/>
                </a:ext>
              </a:extLst>
            </p:cNvPr>
            <p:cNvSpPr txBox="1"/>
            <p:nvPr/>
          </p:nvSpPr>
          <p:spPr>
            <a:xfrm rot="20530527">
              <a:off x="7154323" y="3462868"/>
              <a:ext cx="307089" cy="1633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600" b="1"/>
                <a:t>-S-S-</a:t>
              </a:r>
            </a:p>
          </p:txBody>
        </p:sp>
        <p:sp>
          <p:nvSpPr>
            <p:cNvPr id="215" name="TextBox 214">
              <a:extLst>
                <a:ext uri="{FF2B5EF4-FFF2-40B4-BE49-F238E27FC236}">
                  <a16:creationId xmlns:a16="http://schemas.microsoft.com/office/drawing/2014/main" id="{3D30152B-20BA-2711-BAE4-7AADFBDF0238}"/>
                </a:ext>
              </a:extLst>
            </p:cNvPr>
            <p:cNvSpPr txBox="1"/>
            <p:nvPr/>
          </p:nvSpPr>
          <p:spPr>
            <a:xfrm rot="19506020">
              <a:off x="6998970" y="3956287"/>
              <a:ext cx="307089" cy="1633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600" b="1"/>
                <a:t>-S-S-</a:t>
              </a:r>
            </a:p>
          </p:txBody>
        </p:sp>
        <p:sp>
          <p:nvSpPr>
            <p:cNvPr id="216" name="TextBox 215">
              <a:extLst>
                <a:ext uri="{FF2B5EF4-FFF2-40B4-BE49-F238E27FC236}">
                  <a16:creationId xmlns:a16="http://schemas.microsoft.com/office/drawing/2014/main" id="{2BC6EFD1-EF06-F6CF-19E3-FA5B55C29923}"/>
                </a:ext>
              </a:extLst>
            </p:cNvPr>
            <p:cNvSpPr txBox="1"/>
            <p:nvPr/>
          </p:nvSpPr>
          <p:spPr>
            <a:xfrm rot="922616">
              <a:off x="7001617" y="4042864"/>
              <a:ext cx="307089" cy="1633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600" b="1"/>
                <a:t>-S-S-</a:t>
              </a:r>
            </a:p>
          </p:txBody>
        </p:sp>
        <p:sp>
          <p:nvSpPr>
            <p:cNvPr id="217" name="TextBox 216">
              <a:extLst>
                <a:ext uri="{FF2B5EF4-FFF2-40B4-BE49-F238E27FC236}">
                  <a16:creationId xmlns:a16="http://schemas.microsoft.com/office/drawing/2014/main" id="{31E373D4-DC39-5891-60E7-6AE84951EA22}"/>
                </a:ext>
              </a:extLst>
            </p:cNvPr>
            <p:cNvSpPr txBox="1"/>
            <p:nvPr/>
          </p:nvSpPr>
          <p:spPr>
            <a:xfrm rot="1848929">
              <a:off x="6240959" y="4203030"/>
              <a:ext cx="307089" cy="1633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600" b="1"/>
                <a:t>-S-S-</a:t>
              </a:r>
            </a:p>
          </p:txBody>
        </p:sp>
      </p:grpSp>
      <p:sp>
        <p:nvSpPr>
          <p:cNvPr id="224" name="Rectangle 223">
            <a:extLst>
              <a:ext uri="{FF2B5EF4-FFF2-40B4-BE49-F238E27FC236}">
                <a16:creationId xmlns:a16="http://schemas.microsoft.com/office/drawing/2014/main" id="{CC304FF0-087A-F36D-6D95-80AAF898C553}"/>
              </a:ext>
            </a:extLst>
          </p:cNvPr>
          <p:cNvSpPr/>
          <p:nvPr/>
        </p:nvSpPr>
        <p:spPr>
          <a:xfrm>
            <a:off x="5417820" y="1419142"/>
            <a:ext cx="6278580" cy="4565151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741415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830894-7A0A-3036-0E54-457F921541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EF05A5D-5E2E-AD61-C2D0-BE4CE0E872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282" y="180000"/>
            <a:ext cx="8892000" cy="720000"/>
          </a:xfrm>
        </p:spPr>
        <p:txBody>
          <a:bodyPr rIns="0"/>
          <a:lstStyle/>
          <a:p>
            <a:r>
              <a:rPr lang="en-GB" noProof="0"/>
              <a:t>Crosslinking of mucins by peroxidases: Eosinophil peroxidase</a:t>
            </a:r>
            <a:endParaRPr lang="en-GB" baseline="30000" noProof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34126774-2C46-DEC5-5D40-936ED85EEF2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3482" y="2256552"/>
            <a:ext cx="5400000" cy="3755447"/>
          </a:xfrm>
        </p:spPr>
        <p:txBody>
          <a:bodyPr/>
          <a:lstStyle/>
          <a:p>
            <a:r>
              <a:rPr lang="en-GB" b="1"/>
              <a:t>IL-13</a:t>
            </a:r>
            <a:r>
              <a:rPr lang="en-GB"/>
              <a:t> drives thiocyanate transfer from blood vessels into the airway lumen, where </a:t>
            </a:r>
            <a:r>
              <a:rPr lang="en-GB" b="1"/>
              <a:t>EPO catalyses </a:t>
            </a:r>
            <a:r>
              <a:rPr lang="en-GB"/>
              <a:t>the oxidation of thiocyanate to </a:t>
            </a:r>
            <a:r>
              <a:rPr lang="en-GB" err="1"/>
              <a:t>hypothiocyanous</a:t>
            </a:r>
            <a:r>
              <a:rPr lang="en-GB"/>
              <a:t> acid</a:t>
            </a:r>
            <a:r>
              <a:rPr lang="en-GB" sz="2000" baseline="30000" noProof="0"/>
              <a:t>1</a:t>
            </a:r>
            <a:endParaRPr lang="en-GB"/>
          </a:p>
          <a:p>
            <a:pPr lvl="1"/>
            <a:r>
              <a:rPr lang="en-GB"/>
              <a:t>IL-13 is produced by multiple immune cells upon activation of the epithelium by </a:t>
            </a:r>
            <a:r>
              <a:rPr lang="en-GB" b="1"/>
              <a:t>epithelial cytokines</a:t>
            </a:r>
            <a:r>
              <a:rPr lang="en-GB" b="1" baseline="30000"/>
              <a:t>2</a:t>
            </a:r>
          </a:p>
          <a:p>
            <a:r>
              <a:rPr lang="en-GB" err="1"/>
              <a:t>Hypothiocyanous</a:t>
            </a:r>
            <a:r>
              <a:rPr lang="en-GB"/>
              <a:t> acid </a:t>
            </a:r>
            <a:r>
              <a:rPr lang="en-GB" b="1"/>
              <a:t>increases mucin crosslinking</a:t>
            </a:r>
            <a:r>
              <a:rPr lang="en-GB"/>
              <a:t>, which increases mucin </a:t>
            </a:r>
            <a:r>
              <a:rPr lang="en-GB" b="1"/>
              <a:t>elasticity</a:t>
            </a:r>
            <a:r>
              <a:rPr lang="en-GB"/>
              <a:t>, leading to</a:t>
            </a:r>
            <a:r>
              <a:rPr lang="en-GB" sz="2000" baseline="30000" noProof="0"/>
              <a:t>1</a:t>
            </a:r>
            <a:r>
              <a:rPr lang="en-GB"/>
              <a:t> </a:t>
            </a:r>
          </a:p>
          <a:p>
            <a:pPr lvl="1"/>
            <a:r>
              <a:rPr lang="en-GB"/>
              <a:t>Decreased </a:t>
            </a:r>
            <a:r>
              <a:rPr lang="en-GB" b="1"/>
              <a:t>mucociliary clearance</a:t>
            </a:r>
          </a:p>
          <a:p>
            <a:pPr lvl="1"/>
            <a:r>
              <a:rPr lang="en-GB"/>
              <a:t>Formation of</a:t>
            </a:r>
            <a:r>
              <a:rPr lang="en-GB" b="1"/>
              <a:t> mucus plugs</a:t>
            </a:r>
          </a:p>
        </p:txBody>
      </p:sp>
      <p:sp>
        <p:nvSpPr>
          <p:cNvPr id="8" name="Footer Placeholder 8">
            <a:extLst>
              <a:ext uri="{FF2B5EF4-FFF2-40B4-BE49-F238E27FC236}">
                <a16:creationId xmlns:a16="http://schemas.microsoft.com/office/drawing/2014/main" id="{FEFC3521-C7B3-CFD8-E165-41E2D73ABB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Figure is adapted from Dunican et al. 2018 </a:t>
            </a:r>
          </a:p>
          <a:p>
            <a:endParaRPr lang="en-GB" sz="800" noProof="0" dirty="0"/>
          </a:p>
          <a:p>
            <a:r>
              <a:rPr lang="en-GB" sz="800" noProof="0" dirty="0"/>
              <a:t>EPO, eosinophil peroxidase; T2, type 2.</a:t>
            </a:r>
            <a:br>
              <a:rPr lang="en-GB" sz="800" noProof="0" dirty="0"/>
            </a:br>
            <a:r>
              <a:rPr lang="en-GB" sz="800" noProof="0" dirty="0"/>
              <a:t>1. Dunican EM, et al. J Clin Invest. 2018;128(3):997-1009</a:t>
            </a:r>
            <a:r>
              <a:rPr lang="en-GB" sz="800" dirty="0"/>
              <a:t>; 2. Pelaia C, et al. Front </a:t>
            </a:r>
            <a:r>
              <a:rPr lang="en-GB" sz="800" dirty="0" err="1"/>
              <a:t>Pharmacol</a:t>
            </a:r>
            <a:r>
              <a:rPr lang="en-GB" sz="800" dirty="0"/>
              <a:t>. 2022;13:851940.</a:t>
            </a:r>
            <a:br>
              <a:rPr lang="en-GB" sz="800" noProof="0" dirty="0"/>
            </a:b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656665"/>
                </a:solidFill>
                <a:effectLst/>
                <a:uLnTx/>
                <a:uFillTx/>
              </a:rPr>
              <a:t>GB-73345 | Date of preparation: </a:t>
            </a:r>
            <a:r>
              <a:rPr lang="en-GB" sz="800" spc="0" dirty="0">
                <a:solidFill>
                  <a:srgbClr val="656665"/>
                </a:solidFill>
              </a:rPr>
              <a:t>March 2026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656665"/>
              </a:solidFill>
              <a:effectLst/>
              <a:uLnTx/>
              <a:uFillTx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D2520F1-FD82-B862-9A07-A250F55431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8BAEAC-A895-4A01-AB9B-F6141799970D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sz="9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070F807-32B9-D551-C3A3-D574F9D8C51C}"/>
              </a:ext>
            </a:extLst>
          </p:cNvPr>
          <p:cNvSpPr txBox="1"/>
          <p:nvPr/>
        </p:nvSpPr>
        <p:spPr>
          <a:xfrm>
            <a:off x="1150441" y="1378221"/>
            <a:ext cx="989111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GB" sz="2000" noProof="0"/>
              <a:t>Conceptual model for </a:t>
            </a:r>
            <a:r>
              <a:rPr lang="en-GB" sz="2000" b="1" noProof="0"/>
              <a:t>T2 inflammation promotes airway mucus plug formation</a:t>
            </a:r>
            <a:r>
              <a:rPr lang="en-GB" sz="2000" noProof="0"/>
              <a:t> in asthma</a:t>
            </a:r>
            <a:r>
              <a:rPr lang="en-GB" sz="2000" baseline="30000" noProof="0"/>
              <a:t>1</a:t>
            </a:r>
            <a:endParaRPr kumimoji="0" lang="en-GB" sz="2000" i="0" u="none" strike="noStrike" kern="1200" cap="none" spc="0" normalizeH="0" baseline="30000" noProof="0">
              <a:ln>
                <a:noFill/>
              </a:ln>
              <a:effectLst/>
              <a:uLnTx/>
              <a:uFillTx/>
              <a:latin typeface="Calibri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4883619-72C2-1A8B-5289-B963D5D64421}"/>
              </a:ext>
            </a:extLst>
          </p:cNvPr>
          <p:cNvGrpSpPr/>
          <p:nvPr/>
        </p:nvGrpSpPr>
        <p:grpSpPr>
          <a:xfrm>
            <a:off x="898782" y="1958951"/>
            <a:ext cx="5049737" cy="3983198"/>
            <a:chOff x="3571131" y="2049366"/>
            <a:chExt cx="5049737" cy="3983198"/>
          </a:xfrm>
        </p:grpSpPr>
        <p:pic>
          <p:nvPicPr>
            <p:cNvPr id="21" name="Picture 20" descr="A diagram of a cell membrane&#10;&#10;AI-generated content may be incorrect.">
              <a:extLst>
                <a:ext uri="{FF2B5EF4-FFF2-40B4-BE49-F238E27FC236}">
                  <a16:creationId xmlns:a16="http://schemas.microsoft.com/office/drawing/2014/main" id="{C611D915-8DDF-A9C1-BBE2-E7B800A21F6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571131" y="2049366"/>
              <a:ext cx="5049737" cy="3983198"/>
            </a:xfrm>
            <a:prstGeom prst="rect">
              <a:avLst/>
            </a:prstGeom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2B325B29-21C3-085B-5331-4069639A25D9}"/>
                </a:ext>
              </a:extLst>
            </p:cNvPr>
            <p:cNvSpPr/>
            <p:nvPr/>
          </p:nvSpPr>
          <p:spPr>
            <a:xfrm>
              <a:off x="3571131" y="2071137"/>
              <a:ext cx="410344" cy="49847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/>
            </a:p>
          </p:txBody>
        </p:sp>
      </p:grpSp>
    </p:spTree>
    <p:extLst>
      <p:ext uri="{BB962C8B-B14F-4D97-AF65-F5344CB8AC3E}">
        <p14:creationId xmlns:p14="http://schemas.microsoft.com/office/powerpoint/2010/main" val="41106362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F437CE-31F5-D2AD-2C8A-3F35049B06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52D2929-51A0-EC83-DBF9-279A997473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281" y="180000"/>
            <a:ext cx="8891351" cy="720000"/>
          </a:xfrm>
        </p:spPr>
        <p:txBody>
          <a:bodyPr rIns="0"/>
          <a:lstStyle/>
          <a:p>
            <a:r>
              <a:rPr lang="en-GB" noProof="0"/>
              <a:t>Crosslinking of mucins by peroxidases: Eosinophil peroxidase</a:t>
            </a:r>
            <a:endParaRPr lang="en-GB" baseline="30000" noProof="0"/>
          </a:p>
        </p:txBody>
      </p:sp>
      <p:sp>
        <p:nvSpPr>
          <p:cNvPr id="8" name="Footer Placeholder 8">
            <a:extLst>
              <a:ext uri="{FF2B5EF4-FFF2-40B4-BE49-F238E27FC236}">
                <a16:creationId xmlns:a16="http://schemas.microsoft.com/office/drawing/2014/main" id="{3492C44D-96F9-041A-4D43-F429A46F2D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sz="800" baseline="30000" dirty="0"/>
          </a:p>
          <a:p>
            <a:r>
              <a:rPr lang="en-GB" dirty="0"/>
              <a:t>Figure on the left is adapted from Dunican EM, et al and figure on the right is adapted from Tang M, et al.</a:t>
            </a:r>
          </a:p>
          <a:p>
            <a:r>
              <a:rPr lang="en-GB" sz="800" baseline="30000" dirty="0"/>
              <a:t>†</a:t>
            </a:r>
            <a:r>
              <a:rPr lang="en-GB" sz="800" dirty="0"/>
              <a:t>P&lt;0.01; </a:t>
            </a:r>
            <a:r>
              <a:rPr lang="en-GB" sz="800" baseline="30000" dirty="0"/>
              <a:t>‡</a:t>
            </a:r>
            <a:r>
              <a:rPr lang="en-GB" sz="800" dirty="0"/>
              <a:t>P&lt;0.001; </a:t>
            </a:r>
            <a:r>
              <a:rPr lang="en-GB" sz="800" noProof="0" dirty="0"/>
              <a:t>*P &lt;.05; **P &lt;0.005; ***P &lt;0.0005.</a:t>
            </a:r>
            <a:br>
              <a:rPr lang="en-GB" sz="800" noProof="0" dirty="0"/>
            </a:br>
            <a:r>
              <a:rPr lang="en-GB" sz="800" noProof="0" dirty="0"/>
              <a:t>EPO, eosinophil peroxidase; FEV</a:t>
            </a:r>
            <a:r>
              <a:rPr lang="en-GB" sz="800" baseline="-25000" noProof="0" dirty="0"/>
              <a:t>1</a:t>
            </a:r>
            <a:r>
              <a:rPr lang="en-GB" sz="800" noProof="0" dirty="0"/>
              <a:t>, forced expiratory volume in 1 second; T2, type 2.</a:t>
            </a:r>
            <a:br>
              <a:rPr lang="en-GB" sz="800" noProof="0" dirty="0"/>
            </a:br>
            <a:r>
              <a:rPr lang="en-GB" sz="800" noProof="0" dirty="0"/>
              <a:t>1. Dunican EM, et al. J Clin Invest. 2018;128(3):997-1009; 2. Tang M, et al. J Allergy Clin Immunol. 2024;154(3):580-591.e6. </a:t>
            </a:r>
            <a:br>
              <a:rPr lang="en-GB" sz="800" noProof="0" dirty="0"/>
            </a:b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GB-73345 | Date of preparation: </a:t>
            </a:r>
            <a:r>
              <a:rPr lang="en-GB" sz="800" spc="0" dirty="0">
                <a:solidFill>
                  <a:srgbClr val="656665"/>
                </a:solidFill>
              </a:rPr>
              <a:t>March 2026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23507FD-6CBF-5314-C1AB-ED0E25FF18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8BAEAC-A895-4A01-AB9B-F6141799970D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GB" sz="9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E97D435-D38C-B158-8EAE-1A8A48A20884}"/>
              </a:ext>
            </a:extLst>
          </p:cNvPr>
          <p:cNvSpPr txBox="1"/>
          <p:nvPr/>
        </p:nvSpPr>
        <p:spPr>
          <a:xfrm>
            <a:off x="5186678" y="1561935"/>
            <a:ext cx="678465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GB" sz="2000" noProof="0"/>
              <a:t>Increased EPO is associated with </a:t>
            </a:r>
            <a:r>
              <a:rPr lang="en-GB" sz="2000" b="1" noProof="0"/>
              <a:t>more severe disease</a:t>
            </a:r>
            <a:r>
              <a:rPr lang="en-GB" sz="2000" baseline="30000" noProof="0"/>
              <a:t>2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35ED955-0144-8755-7EE3-928AF56142C5}"/>
              </a:ext>
            </a:extLst>
          </p:cNvPr>
          <p:cNvGrpSpPr>
            <a:grpSpLocks noChangeAspect="1"/>
          </p:cNvGrpSpPr>
          <p:nvPr/>
        </p:nvGrpSpPr>
        <p:grpSpPr>
          <a:xfrm>
            <a:off x="4867724" y="2253598"/>
            <a:ext cx="6480003" cy="3254307"/>
            <a:chOff x="4867724" y="2408360"/>
            <a:chExt cx="7103614" cy="3567481"/>
          </a:xfrm>
        </p:grpSpPr>
        <p:pic>
          <p:nvPicPr>
            <p:cNvPr id="3" name="Main graphic">
              <a:extLst>
                <a:ext uri="{FF2B5EF4-FFF2-40B4-BE49-F238E27FC236}">
                  <a16:creationId xmlns:a16="http://schemas.microsoft.com/office/drawing/2014/main" id="{9812183E-D382-25BD-6017-0849E1FC7EDC}"/>
                </a:ext>
              </a:extLst>
            </p:cNvPr>
            <p:cNvPicPr preferRelativeResize="0">
              <a:picLocks noChangeAspect="1"/>
            </p:cNvPicPr>
            <p:nvPr/>
          </p:nvPicPr>
          <p:blipFill>
            <a:blip r:embed="rId3"/>
            <a:srcRect t="43266"/>
            <a:stretch/>
          </p:blipFill>
          <p:spPr>
            <a:xfrm>
              <a:off x="5018314" y="2445462"/>
              <a:ext cx="5878815" cy="3530379"/>
            </a:xfrm>
            <a:prstGeom prst="rect">
              <a:avLst/>
            </a:prstGeom>
            <a:ln>
              <a:noFill/>
            </a:ln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A05F496F-E18D-78D3-39B0-0921C2B5BB62}"/>
                </a:ext>
              </a:extLst>
            </p:cNvPr>
            <p:cNvSpPr/>
            <p:nvPr/>
          </p:nvSpPr>
          <p:spPr>
            <a:xfrm>
              <a:off x="8203100" y="2408360"/>
              <a:ext cx="410344" cy="49847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CE047CC4-DF76-E0ED-CE0D-76A2EF5C23E7}"/>
                </a:ext>
              </a:extLst>
            </p:cNvPr>
            <p:cNvSpPr/>
            <p:nvPr/>
          </p:nvSpPr>
          <p:spPr>
            <a:xfrm>
              <a:off x="4867724" y="2445462"/>
              <a:ext cx="410344" cy="49847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0237E2A-891A-E740-0D39-BC507F009ED6}"/>
                </a:ext>
              </a:extLst>
            </p:cNvPr>
            <p:cNvSpPr/>
            <p:nvPr/>
          </p:nvSpPr>
          <p:spPr>
            <a:xfrm>
              <a:off x="4867724" y="4147697"/>
              <a:ext cx="410344" cy="49847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362649B-97E0-247C-C739-A15C59A834BC}"/>
                </a:ext>
              </a:extLst>
            </p:cNvPr>
            <p:cNvSpPr/>
            <p:nvPr/>
          </p:nvSpPr>
          <p:spPr>
            <a:xfrm>
              <a:off x="8289123" y="4315024"/>
              <a:ext cx="410344" cy="49847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/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835A8424-DDAC-8FD1-9AC5-C6E69DAFB1B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999338" y="3334985"/>
              <a:ext cx="972000" cy="1622139"/>
              <a:chOff x="10171290" y="2688116"/>
              <a:chExt cx="1224628" cy="2043740"/>
            </a:xfrm>
          </p:grpSpPr>
          <p:pic>
            <p:nvPicPr>
              <p:cNvPr id="5" name="Main graphic">
                <a:extLst>
                  <a:ext uri="{FF2B5EF4-FFF2-40B4-BE49-F238E27FC236}">
                    <a16:creationId xmlns:a16="http://schemas.microsoft.com/office/drawing/2014/main" id="{B236E637-5740-70E6-0626-102344D60B25}"/>
                  </a:ext>
                </a:extLst>
              </p:cNvPr>
              <p:cNvPicPr preferRelativeResize="0">
                <a:picLocks noChangeAspect="1"/>
              </p:cNvPicPr>
              <p:nvPr/>
            </p:nvPicPr>
            <p:blipFill>
              <a:blip r:embed="rId3"/>
              <a:srcRect l="76250" t="-1185" b="63739"/>
              <a:stretch/>
            </p:blipFill>
            <p:spPr>
              <a:xfrm>
                <a:off x="10171290" y="2688116"/>
                <a:ext cx="1224628" cy="2043740"/>
              </a:xfrm>
              <a:prstGeom prst="rect">
                <a:avLst/>
              </a:prstGeom>
              <a:ln>
                <a:noFill/>
              </a:ln>
            </p:spPr>
          </p:pic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A7594357-9571-7A05-FFC4-7B0311EE3F7F}"/>
                  </a:ext>
                </a:extLst>
              </p:cNvPr>
              <p:cNvSpPr txBox="1"/>
              <p:nvPr/>
            </p:nvSpPr>
            <p:spPr>
              <a:xfrm>
                <a:off x="10178296" y="2844400"/>
                <a:ext cx="914380" cy="14878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en-GB" sz="700" noProof="0">
                    <a:solidFill>
                      <a:srgbClr val="060707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putum EPO-high</a:t>
                </a: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CFD961D6-AB59-51A7-6640-A5190AF85E9D}"/>
                  </a:ext>
                </a:extLst>
              </p:cNvPr>
              <p:cNvSpPr txBox="1"/>
              <p:nvPr/>
            </p:nvSpPr>
            <p:spPr>
              <a:xfrm>
                <a:off x="10298063" y="3437730"/>
                <a:ext cx="713064" cy="29756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GB" sz="700" noProof="0">
                    <a:solidFill>
                      <a:srgbClr val="060707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putum EPO-intermittent</a:t>
                </a: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4E1BAA59-B993-7978-68BD-4193514B27AB}"/>
                  </a:ext>
                </a:extLst>
              </p:cNvPr>
              <p:cNvSpPr txBox="1"/>
              <p:nvPr/>
            </p:nvSpPr>
            <p:spPr>
              <a:xfrm>
                <a:off x="10196009" y="4326045"/>
                <a:ext cx="878957" cy="14878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en-GB" sz="700" noProof="0">
                    <a:solidFill>
                      <a:srgbClr val="060707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putum EPO-low</a:t>
                </a:r>
              </a:p>
            </p:txBody>
          </p:sp>
        </p:grp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96F3FE7F-F004-0C47-EA36-BA309A88D5CE}"/>
                </a:ext>
              </a:extLst>
            </p:cNvPr>
            <p:cNvSpPr txBox="1"/>
            <p:nvPr/>
          </p:nvSpPr>
          <p:spPr>
            <a:xfrm>
              <a:off x="4942239" y="3181097"/>
              <a:ext cx="671658" cy="153888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GB" sz="900" noProof="0">
                  <a:solidFill>
                    <a:srgbClr val="06070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putum EPO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5558013-A00D-EAA4-E325-A277E1D28C74}"/>
              </a:ext>
            </a:extLst>
          </p:cNvPr>
          <p:cNvGrpSpPr/>
          <p:nvPr/>
        </p:nvGrpSpPr>
        <p:grpSpPr>
          <a:xfrm>
            <a:off x="1342169" y="2273215"/>
            <a:ext cx="2296925" cy="3354812"/>
            <a:chOff x="1347042" y="2386840"/>
            <a:chExt cx="2296925" cy="3354812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1BB8764B-0FCF-27DB-648C-CFE35A79AE3B}"/>
                </a:ext>
              </a:extLst>
            </p:cNvPr>
            <p:cNvGrpSpPr/>
            <p:nvPr/>
          </p:nvGrpSpPr>
          <p:grpSpPr>
            <a:xfrm>
              <a:off x="1347042" y="2386840"/>
              <a:ext cx="2296925" cy="3354812"/>
              <a:chOff x="1321879" y="2304599"/>
              <a:chExt cx="2296925" cy="3354812"/>
            </a:xfrm>
          </p:grpSpPr>
          <p:pic>
            <p:nvPicPr>
              <p:cNvPr id="9" name="Picture 8" descr="A diagram of a graph&#10;&#10;AI-generated content may be incorrect.">
                <a:extLst>
                  <a:ext uri="{FF2B5EF4-FFF2-40B4-BE49-F238E27FC236}">
                    <a16:creationId xmlns:a16="http://schemas.microsoft.com/office/drawing/2014/main" id="{7A8CC450-3739-4B1D-6CD9-9CE94307A70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414214" y="2304599"/>
                <a:ext cx="2204590" cy="3354812"/>
              </a:xfrm>
              <a:prstGeom prst="rect">
                <a:avLst/>
              </a:prstGeom>
            </p:spPr>
          </p:pic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36290265-187B-F100-D359-76D34ECD6F59}"/>
                  </a:ext>
                </a:extLst>
              </p:cNvPr>
              <p:cNvSpPr/>
              <p:nvPr/>
            </p:nvSpPr>
            <p:spPr>
              <a:xfrm>
                <a:off x="1321879" y="2405330"/>
                <a:ext cx="410344" cy="49847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noProof="0"/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9CC9A43-27BD-7E95-459C-1404E7D6A806}"/>
                </a:ext>
              </a:extLst>
            </p:cNvPr>
            <p:cNvGrpSpPr/>
            <p:nvPr/>
          </p:nvGrpSpPr>
          <p:grpSpPr>
            <a:xfrm>
              <a:off x="2522883" y="2799393"/>
              <a:ext cx="233569" cy="163544"/>
              <a:chOff x="2522883" y="2799393"/>
              <a:chExt cx="233569" cy="163544"/>
            </a:xfrm>
          </p:grpSpPr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4A1E0591-3D63-B028-B17C-F38D9C6ADFF1}"/>
                  </a:ext>
                </a:extLst>
              </p:cNvPr>
              <p:cNvSpPr/>
              <p:nvPr/>
            </p:nvSpPr>
            <p:spPr>
              <a:xfrm>
                <a:off x="2522883" y="2811726"/>
                <a:ext cx="233569" cy="1087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8C57A661-F933-5926-44E6-CDBBC1BC699A}"/>
                  </a:ext>
                </a:extLst>
              </p:cNvPr>
              <p:cNvSpPr txBox="1"/>
              <p:nvPr/>
            </p:nvSpPr>
            <p:spPr>
              <a:xfrm>
                <a:off x="2541672" y="2799393"/>
                <a:ext cx="163554" cy="163544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/>
                <a:r>
                  <a:rPr lang="en-GB" sz="1400" b="1">
                    <a:solidFill>
                      <a:srgbClr val="060707"/>
                    </a:solidFill>
                  </a:rPr>
                  <a:t>†</a:t>
                </a:r>
                <a:endParaRPr lang="en-GB" sz="1600" b="1">
                  <a:solidFill>
                    <a:srgbClr val="060707"/>
                  </a:solidFill>
                </a:endParaRPr>
              </a:p>
            </p:txBody>
          </p:sp>
        </p:grp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CD56B773-4CF3-1E62-2F18-B45ADB255E49}"/>
              </a:ext>
            </a:extLst>
          </p:cNvPr>
          <p:cNvSpPr txBox="1"/>
          <p:nvPr/>
        </p:nvSpPr>
        <p:spPr>
          <a:xfrm>
            <a:off x="548281" y="1447400"/>
            <a:ext cx="4014031" cy="646331"/>
          </a:xfrm>
          <a:prstGeom prst="rect">
            <a:avLst/>
          </a:prstGeom>
          <a:solidFill>
            <a:schemeClr val="accent4"/>
          </a:solidFill>
          <a:ln w="28575">
            <a:solidFill>
              <a:schemeClr val="accent4"/>
            </a:solidFill>
          </a:ln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creased EPO </a:t>
            </a:r>
            <a:r>
              <a:rPr kumimoji="0" lang="en-GB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 patients with </a:t>
            </a:r>
            <a:r>
              <a:rPr kumimoji="0" lang="en-GB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re mucus plugs</a:t>
            </a:r>
            <a:r>
              <a:rPr kumimoji="0" lang="en-GB" i="0" u="none" strike="noStrike" kern="1200" cap="none" spc="0" normalizeH="0" baseline="3000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195A2D6-08CE-3487-263F-B88D38D10C32}"/>
              </a:ext>
            </a:extLst>
          </p:cNvPr>
          <p:cNvSpPr/>
          <p:nvPr/>
        </p:nvSpPr>
        <p:spPr>
          <a:xfrm>
            <a:off x="548281" y="1447400"/>
            <a:ext cx="4014031" cy="4308800"/>
          </a:xfrm>
          <a:prstGeom prst="rect">
            <a:avLst/>
          </a:prstGeom>
          <a:noFill/>
          <a:ln w="28575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B650474-DDB7-489C-B656-6095DAA359CB}"/>
              </a:ext>
            </a:extLst>
          </p:cNvPr>
          <p:cNvSpPr txBox="1"/>
          <p:nvPr/>
        </p:nvSpPr>
        <p:spPr>
          <a:xfrm>
            <a:off x="4793060" y="1447400"/>
            <a:ext cx="6850659" cy="646330"/>
          </a:xfrm>
          <a:prstGeom prst="rect">
            <a:avLst/>
          </a:prstGeom>
          <a:solidFill>
            <a:schemeClr val="accent4"/>
          </a:solidFill>
          <a:ln w="28575">
            <a:solidFill>
              <a:schemeClr val="accent4"/>
            </a:solidFill>
          </a:ln>
        </p:spPr>
        <p:txBody>
          <a:bodyPr wrap="square" lIns="91440" tIns="45720" rIns="91440" bIns="45720" anchor="ctr">
            <a:noAutofit/>
          </a:bodyPr>
          <a:lstStyle/>
          <a:p>
            <a:pPr algn="ctr">
              <a:defRPr/>
            </a:pPr>
            <a:r>
              <a:rPr kumimoji="0" lang="en-GB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creased </a:t>
            </a:r>
            <a:r>
              <a:rPr lang="en-GB" b="1">
                <a:solidFill>
                  <a:schemeClr val="bg1"/>
                </a:solidFill>
                <a:latin typeface="Calibri"/>
              </a:rPr>
              <a:t>sputum EPO</a:t>
            </a:r>
            <a:r>
              <a:rPr kumimoji="0" lang="en-GB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is associated with more severe disease</a:t>
            </a:r>
            <a:r>
              <a:rPr kumimoji="0" lang="en-GB" b="1" i="0" u="none" strike="noStrike" kern="1200" cap="none" spc="0" normalizeH="0" baseline="3000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3B1F322-8625-F84B-19FF-01A19EBA0712}"/>
              </a:ext>
            </a:extLst>
          </p:cNvPr>
          <p:cNvSpPr/>
          <p:nvPr/>
        </p:nvSpPr>
        <p:spPr>
          <a:xfrm>
            <a:off x="4793060" y="1447400"/>
            <a:ext cx="6850659" cy="4308800"/>
          </a:xfrm>
          <a:prstGeom prst="rect">
            <a:avLst/>
          </a:prstGeom>
          <a:noFill/>
          <a:ln w="28575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711338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235727-523B-BC9E-7969-BDCD4C4AFC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16B1C2BD-5493-7B57-1C76-6B7ED92514A2}"/>
              </a:ext>
            </a:extLst>
          </p:cNvPr>
          <p:cNvGrpSpPr/>
          <p:nvPr/>
        </p:nvGrpSpPr>
        <p:grpSpPr>
          <a:xfrm>
            <a:off x="9041673" y="2758661"/>
            <a:ext cx="2626711" cy="3204242"/>
            <a:chOff x="8709695" y="2719291"/>
            <a:chExt cx="2626711" cy="3204242"/>
          </a:xfrm>
        </p:grpSpPr>
        <p:pic>
          <p:nvPicPr>
            <p:cNvPr id="7" name="Picture 6" descr="A screenshot of a graph&#10;&#10;AI-generated content may be incorrect.">
              <a:extLst>
                <a:ext uri="{FF2B5EF4-FFF2-40B4-BE49-F238E27FC236}">
                  <a16:creationId xmlns:a16="http://schemas.microsoft.com/office/drawing/2014/main" id="{698B9E3A-706E-6948-B95E-72006938A7F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r="10749"/>
            <a:stretch/>
          </p:blipFill>
          <p:spPr>
            <a:xfrm>
              <a:off x="8972462" y="2748614"/>
              <a:ext cx="2363944" cy="3174919"/>
            </a:xfrm>
            <a:prstGeom prst="rect">
              <a:avLst/>
            </a:prstGeom>
          </p:spPr>
        </p:pic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DE166F3-D568-4505-53DF-7134DFA7BA04}"/>
                </a:ext>
              </a:extLst>
            </p:cNvPr>
            <p:cNvSpPr/>
            <p:nvPr/>
          </p:nvSpPr>
          <p:spPr>
            <a:xfrm>
              <a:off x="8709695" y="2719291"/>
              <a:ext cx="410344" cy="49847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/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978E731-9561-DF28-0644-BFA31643500A}"/>
              </a:ext>
            </a:extLst>
          </p:cNvPr>
          <p:cNvGrpSpPr/>
          <p:nvPr/>
        </p:nvGrpSpPr>
        <p:grpSpPr>
          <a:xfrm>
            <a:off x="5923110" y="2719291"/>
            <a:ext cx="2616063" cy="3178473"/>
            <a:chOff x="5923110" y="2780749"/>
            <a:chExt cx="2616063" cy="3178473"/>
          </a:xfrm>
        </p:grpSpPr>
        <p:pic>
          <p:nvPicPr>
            <p:cNvPr id="9" name="Picture 8" descr="A diagram of a gene expression&#10;&#10;AI-generated content may be incorrect.">
              <a:extLst>
                <a:ext uri="{FF2B5EF4-FFF2-40B4-BE49-F238E27FC236}">
                  <a16:creationId xmlns:a16="http://schemas.microsoft.com/office/drawing/2014/main" id="{74E7F969-7682-770D-493B-E001207C9D0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970057" y="2885258"/>
              <a:ext cx="2569116" cy="3073964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4C35A75A-2EDF-CF16-30F2-B3CA0646BA62}"/>
                </a:ext>
              </a:extLst>
            </p:cNvPr>
            <p:cNvSpPr/>
            <p:nvPr/>
          </p:nvSpPr>
          <p:spPr>
            <a:xfrm>
              <a:off x="5923110" y="2780749"/>
              <a:ext cx="410344" cy="49847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/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5134E56B-8347-5F48-4393-E525E3571B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Ins="0"/>
          <a:lstStyle/>
          <a:p>
            <a:r>
              <a:rPr lang="en-GB" noProof="0"/>
              <a:t>Crosslinking of mucins by peroxidases: Thyroid peroxidase</a:t>
            </a:r>
            <a:endParaRPr lang="en-GB" baseline="30000" noProof="0"/>
          </a:p>
        </p:txBody>
      </p:sp>
      <p:sp>
        <p:nvSpPr>
          <p:cNvPr id="8" name="Footer Placeholder 8">
            <a:extLst>
              <a:ext uri="{FF2B5EF4-FFF2-40B4-BE49-F238E27FC236}">
                <a16:creationId xmlns:a16="http://schemas.microsoft.com/office/drawing/2014/main" id="{7C840CCA-0244-7C0C-0638-06F26971DE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z="800" noProof="0" dirty="0"/>
              <a:t>*P &lt;0.05;**P &lt;0.01,***P &lt;0.001,****P&lt;0.0001</a:t>
            </a:r>
            <a:br>
              <a:rPr lang="en-GB" sz="800" noProof="0" dirty="0"/>
            </a:br>
            <a:r>
              <a:rPr lang="en-GB" sz="800" noProof="0" dirty="0"/>
              <a:t>HAEC, human airway epithelial cell; IL, interleukin; TPO, thyroid peroxidase.</a:t>
            </a:r>
            <a:br>
              <a:rPr lang="en-GB" sz="800" noProof="0" dirty="0"/>
            </a:br>
            <a:r>
              <a:rPr lang="en-GB" sz="800" noProof="0" dirty="0" err="1"/>
              <a:t>Liegeois</a:t>
            </a:r>
            <a:r>
              <a:rPr lang="en-GB" sz="800" noProof="0" dirty="0"/>
              <a:t> MA, et al. JCI Insight. 2024;9(15):e181024.</a:t>
            </a:r>
            <a:br>
              <a:rPr lang="en-GB" sz="800" noProof="0" dirty="0"/>
            </a:b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656665"/>
                </a:solidFill>
                <a:effectLst/>
                <a:uLnTx/>
                <a:uFillTx/>
              </a:rPr>
              <a:t>GB-73345 | Date of preparation: </a:t>
            </a:r>
            <a:r>
              <a:rPr lang="en-GB" sz="800" spc="0" dirty="0">
                <a:solidFill>
                  <a:srgbClr val="656665"/>
                </a:solidFill>
              </a:rPr>
              <a:t>March 2026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656665"/>
              </a:solidFill>
              <a:effectLst/>
              <a:uLnTx/>
              <a:uFillTx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6C9631C-3D05-9865-36CB-B040A9DC9D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8BAEAC-A895-4A01-AB9B-F6141799970D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GB" sz="9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EB4E749-4174-D30E-AAA5-03B05CB0193C}"/>
              </a:ext>
            </a:extLst>
          </p:cNvPr>
          <p:cNvSpPr/>
          <p:nvPr/>
        </p:nvSpPr>
        <p:spPr>
          <a:xfrm>
            <a:off x="5740810" y="1863445"/>
            <a:ext cx="3059999" cy="4207746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BCB30F8-C1E8-1744-A432-DE5542058072}"/>
              </a:ext>
            </a:extLst>
          </p:cNvPr>
          <p:cNvSpPr/>
          <p:nvPr/>
        </p:nvSpPr>
        <p:spPr>
          <a:xfrm>
            <a:off x="8914868" y="1863445"/>
            <a:ext cx="3059999" cy="4207746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AC349D5-48EE-AF68-93E9-276BA57378C3}"/>
              </a:ext>
            </a:extLst>
          </p:cNvPr>
          <p:cNvSpPr txBox="1"/>
          <p:nvPr/>
        </p:nvSpPr>
        <p:spPr>
          <a:xfrm>
            <a:off x="5740809" y="1631036"/>
            <a:ext cx="3060000" cy="1149713"/>
          </a:xfrm>
          <a:prstGeom prst="rect">
            <a:avLst/>
          </a:prstGeom>
          <a:solidFill>
            <a:schemeClr val="bg2"/>
          </a:solidFill>
          <a:ln w="28575">
            <a:solidFill>
              <a:schemeClr val="bg2"/>
            </a:solidFill>
          </a:ln>
        </p:spPr>
        <p:txBody>
          <a:bodyPr wrap="square" rtlCol="0" anchor="ctr">
            <a:noAutofit/>
          </a:bodyPr>
          <a:lstStyle/>
          <a:p>
            <a:pPr lvl="0" algn="ctr">
              <a:defRPr/>
            </a:pPr>
            <a:r>
              <a:rPr lang="en-GB" b="1" noProof="0">
                <a:solidFill>
                  <a:schemeClr val="bg1"/>
                </a:solidFill>
              </a:rPr>
              <a:t>IL-13 activation </a:t>
            </a:r>
            <a:r>
              <a:rPr lang="en-GB" noProof="0">
                <a:solidFill>
                  <a:schemeClr val="bg1"/>
                </a:solidFill>
              </a:rPr>
              <a:t>of HAECs significantly </a:t>
            </a:r>
            <a:r>
              <a:rPr lang="en-GB" b="1" noProof="0">
                <a:solidFill>
                  <a:schemeClr val="bg1"/>
                </a:solidFill>
              </a:rPr>
              <a:t>increases gene expression </a:t>
            </a:r>
            <a:r>
              <a:rPr lang="en-GB" noProof="0">
                <a:solidFill>
                  <a:schemeClr val="bg1"/>
                </a:solidFill>
              </a:rPr>
              <a:t>for TPO</a:t>
            </a:r>
            <a:endParaRPr lang="en-GB" b="1" noProof="0">
              <a:solidFill>
                <a:schemeClr val="bg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E5E4DE7-41CF-DD3A-5673-1E5EDA8893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422" y="3336381"/>
            <a:ext cx="4817135" cy="2530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0A430A38-69AB-B96A-D1C9-DC3C4FDA50C8}"/>
              </a:ext>
            </a:extLst>
          </p:cNvPr>
          <p:cNvSpPr txBox="1"/>
          <p:nvPr/>
        </p:nvSpPr>
        <p:spPr>
          <a:xfrm>
            <a:off x="8914867" y="1631036"/>
            <a:ext cx="3060000" cy="1149713"/>
          </a:xfrm>
          <a:prstGeom prst="rect">
            <a:avLst/>
          </a:prstGeom>
          <a:solidFill>
            <a:schemeClr val="bg2"/>
          </a:solidFill>
          <a:ln w="28575">
            <a:solidFill>
              <a:schemeClr val="bg2"/>
            </a:solidFill>
          </a:ln>
        </p:spPr>
        <p:txBody>
          <a:bodyPr wrap="square" rtlCol="0" anchor="ctr">
            <a:noAutofit/>
          </a:bodyPr>
          <a:lstStyle/>
          <a:p>
            <a:pPr lvl="0" algn="ctr">
              <a:defRPr/>
            </a:pPr>
            <a:r>
              <a:rPr lang="en-GB" noProof="0">
                <a:solidFill>
                  <a:schemeClr val="bg1"/>
                </a:solidFill>
              </a:rPr>
              <a:t>TPO gene expression is </a:t>
            </a:r>
            <a:r>
              <a:rPr lang="en-GB" b="1" noProof="0">
                <a:solidFill>
                  <a:schemeClr val="bg1"/>
                </a:solidFill>
              </a:rPr>
              <a:t>highest in patients with asthma </a:t>
            </a:r>
            <a:r>
              <a:rPr lang="en-GB" noProof="0">
                <a:solidFill>
                  <a:schemeClr val="bg1"/>
                </a:solidFill>
              </a:rPr>
              <a:t>with high airway mucus plug scores</a:t>
            </a:r>
            <a:endParaRPr lang="en-GB" b="1" noProof="0">
              <a:solidFill>
                <a:schemeClr val="bg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3FCFC93-4B8B-47B5-6F71-A0A4F5AD32A3}"/>
              </a:ext>
            </a:extLst>
          </p:cNvPr>
          <p:cNvSpPr txBox="1"/>
          <p:nvPr/>
        </p:nvSpPr>
        <p:spPr>
          <a:xfrm>
            <a:off x="548282" y="2469857"/>
            <a:ext cx="453408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GB" sz="2000" noProof="0"/>
              <a:t>TPO also </a:t>
            </a:r>
            <a:r>
              <a:rPr lang="en-GB" sz="2000" b="1" noProof="0"/>
              <a:t>catalyses</a:t>
            </a:r>
            <a:r>
              <a:rPr lang="en-GB" sz="2000" noProof="0"/>
              <a:t> formation of oxidant acids that </a:t>
            </a:r>
            <a:r>
              <a:rPr lang="en-GB" sz="2000" b="1" noProof="0"/>
              <a:t>cross-link mucins</a:t>
            </a:r>
          </a:p>
        </p:txBody>
      </p:sp>
    </p:spTree>
    <p:extLst>
      <p:ext uri="{BB962C8B-B14F-4D97-AF65-F5344CB8AC3E}">
        <p14:creationId xmlns:p14="http://schemas.microsoft.com/office/powerpoint/2010/main" val="6635116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6426D2-5CDD-7158-E9F5-A7E2850909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7F7662-FCEF-9231-2A2D-668A1839E0F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>
                <a:latin typeface="Cambria"/>
                <a:ea typeface="Cambria"/>
              </a:rPr>
              <a:t>The role of mucus hypersecretion and mucus plugs in airway diseases</a:t>
            </a:r>
            <a:endParaRPr lang="en-GB" noProof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4750278-9CDA-6785-D0F5-4C6B93C607F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Footer Placeholder 8">
            <a:extLst>
              <a:ext uri="{FF2B5EF4-FFF2-40B4-BE49-F238E27FC236}">
                <a16:creationId xmlns:a16="http://schemas.microsoft.com/office/drawing/2014/main" id="{5F4F3E88-F9EF-DB15-409A-7DB0C1DAAC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48000" y="6303601"/>
            <a:ext cx="10520282" cy="288000"/>
          </a:xfrm>
        </p:spPr>
        <p:txBody>
          <a:bodyPr/>
          <a:lstStyle/>
          <a:p>
            <a:pPr lvl="0"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2026 AstraZeneca. All Rights Reserved. This information is intended for healthcare professionals only.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piCentral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is sponsored and developed by AstraZeneca.</a:t>
            </a:r>
            <a:b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B-73345 | Date of preparation: </a:t>
            </a:r>
            <a:r>
              <a:rPr lang="en-GB" spc="0" dirty="0">
                <a:solidFill>
                  <a:srgbClr val="FFFFFF"/>
                </a:solidFill>
              </a:rPr>
              <a:t>March 2026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268371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7A61ED-713D-2FD7-A379-A4AF041670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7E7E622-7985-72E9-F54E-7124200FC5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Ins="0"/>
          <a:lstStyle/>
          <a:p>
            <a:r>
              <a:rPr lang="en-GB" noProof="0"/>
              <a:t>Summary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D1AA01D-5EF1-7760-7B43-E15E115C0F6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287655" indent="-287655">
              <a:spcBef>
                <a:spcPts val="600"/>
              </a:spcBef>
            </a:pPr>
            <a:r>
              <a:rPr lang="en-GB">
                <a:latin typeface="+mn-lt"/>
                <a:ea typeface="Calibri"/>
                <a:cs typeface="Calibri"/>
              </a:rPr>
              <a:t>In people with asthma, </a:t>
            </a:r>
            <a:r>
              <a:rPr lang="en-GB" b="1">
                <a:latin typeface="+mn-lt"/>
                <a:ea typeface="Calibri"/>
                <a:cs typeface="Calibri"/>
              </a:rPr>
              <a:t>mucus hypersecretion </a:t>
            </a:r>
            <a:r>
              <a:rPr lang="en-GB">
                <a:latin typeface="+mn-lt"/>
                <a:ea typeface="Calibri"/>
                <a:cs typeface="Calibri"/>
              </a:rPr>
              <a:t>leads to the formation of </a:t>
            </a:r>
            <a:r>
              <a:rPr lang="en-GB" b="1">
                <a:latin typeface="+mn-lt"/>
                <a:ea typeface="Calibri"/>
                <a:cs typeface="Calibri"/>
              </a:rPr>
              <a:t>mucus plugs </a:t>
            </a:r>
            <a:r>
              <a:rPr lang="en-GB">
                <a:latin typeface="+mn-lt"/>
                <a:ea typeface="Calibri"/>
                <a:cs typeface="Calibri"/>
              </a:rPr>
              <a:t>that create </a:t>
            </a:r>
            <a:r>
              <a:rPr lang="en-GB" b="1">
                <a:latin typeface="+mn-lt"/>
                <a:ea typeface="Calibri"/>
                <a:cs typeface="Calibri"/>
              </a:rPr>
              <a:t>airflow obstruction </a:t>
            </a:r>
            <a:r>
              <a:rPr lang="en-GB">
                <a:latin typeface="+mn-lt"/>
                <a:ea typeface="Calibri"/>
                <a:cs typeface="Calibri"/>
              </a:rPr>
              <a:t>and </a:t>
            </a:r>
            <a:r>
              <a:rPr lang="en-GB" b="1">
                <a:latin typeface="+mn-lt"/>
                <a:ea typeface="Calibri"/>
                <a:cs typeface="Calibri"/>
              </a:rPr>
              <a:t>decrease lung function</a:t>
            </a:r>
            <a:r>
              <a:rPr lang="en-GB" baseline="30000">
                <a:latin typeface="+mn-lt"/>
                <a:ea typeface="Calibri"/>
                <a:cs typeface="Calibri"/>
              </a:rPr>
              <a:t>1,2</a:t>
            </a:r>
            <a:endParaRPr lang="en-GB" baseline="30000">
              <a:latin typeface="+mn-lt"/>
              <a:ea typeface="Roboto"/>
              <a:cs typeface="Calibri"/>
            </a:endParaRPr>
          </a:p>
          <a:p>
            <a:pPr marL="287655" indent="-287655">
              <a:spcBef>
                <a:spcPts val="600"/>
              </a:spcBef>
            </a:pPr>
            <a:r>
              <a:rPr lang="en-GB">
                <a:latin typeface="+mn-lt"/>
                <a:ea typeface="Roboto"/>
                <a:cs typeface="Calibri"/>
              </a:rPr>
              <a:t>Mucus plugs are “</a:t>
            </a:r>
            <a:r>
              <a:rPr lang="en-GB" b="1">
                <a:latin typeface="+mn-lt"/>
                <a:ea typeface="Roboto"/>
                <a:cs typeface="Calibri"/>
              </a:rPr>
              <a:t>hot spots</a:t>
            </a:r>
            <a:r>
              <a:rPr lang="en-GB">
                <a:latin typeface="+mn-lt"/>
                <a:ea typeface="Roboto"/>
                <a:cs typeface="Calibri"/>
              </a:rPr>
              <a:t>” of inflammation characterised by a </a:t>
            </a:r>
            <a:r>
              <a:rPr lang="en-GB" b="1">
                <a:latin typeface="+mn-lt"/>
                <a:ea typeface="Roboto"/>
                <a:cs typeface="Calibri"/>
              </a:rPr>
              <a:t>localised increase </a:t>
            </a:r>
            <a:r>
              <a:rPr lang="en-GB">
                <a:latin typeface="+mn-lt"/>
                <a:ea typeface="Roboto"/>
                <a:cs typeface="Calibri"/>
              </a:rPr>
              <a:t>in eosinophils and neutrophils</a:t>
            </a:r>
            <a:r>
              <a:rPr lang="en-GB" baseline="30000">
                <a:latin typeface="+mn-lt"/>
                <a:ea typeface="Roboto"/>
                <a:cs typeface="Calibri"/>
              </a:rPr>
              <a:t>3</a:t>
            </a:r>
            <a:endParaRPr lang="en-GB">
              <a:latin typeface="+mn-lt"/>
              <a:ea typeface="Roboto"/>
              <a:cs typeface="Calibri"/>
            </a:endParaRPr>
          </a:p>
          <a:p>
            <a:pPr marL="287655" indent="-287655">
              <a:spcBef>
                <a:spcPts val="600"/>
              </a:spcBef>
            </a:pPr>
            <a:r>
              <a:rPr lang="en-GB">
                <a:latin typeface="+mn-lt"/>
              </a:rPr>
              <a:t>In people with </a:t>
            </a:r>
            <a:r>
              <a:rPr lang="en-GB" err="1">
                <a:latin typeface="+mn-lt"/>
              </a:rPr>
              <a:t>CRSwNP</a:t>
            </a:r>
            <a:r>
              <a:rPr lang="en-GB">
                <a:latin typeface="+mn-lt"/>
              </a:rPr>
              <a:t>, </a:t>
            </a:r>
            <a:r>
              <a:rPr lang="en-GB" b="1">
                <a:latin typeface="+mn-lt"/>
              </a:rPr>
              <a:t>mucus hypersecretion</a:t>
            </a:r>
            <a:r>
              <a:rPr lang="en-GB">
                <a:latin typeface="+mn-lt"/>
              </a:rPr>
              <a:t> can contribute to </a:t>
            </a:r>
            <a:r>
              <a:rPr lang="en-GB" b="1">
                <a:latin typeface="+mn-lt"/>
              </a:rPr>
              <a:t>nasal polyp formation</a:t>
            </a:r>
            <a:r>
              <a:rPr lang="en-GB" baseline="30000">
                <a:latin typeface="+mn-lt"/>
              </a:rPr>
              <a:t>4,5</a:t>
            </a:r>
          </a:p>
          <a:p>
            <a:pPr marL="287655" indent="-287655">
              <a:spcBef>
                <a:spcPts val="600"/>
              </a:spcBef>
            </a:pPr>
            <a:r>
              <a:rPr lang="en-GB" b="1" noProof="0">
                <a:latin typeface="+mn-lt"/>
                <a:ea typeface="Roboto"/>
                <a:cs typeface="Calibri"/>
              </a:rPr>
              <a:t>MUC5AC</a:t>
            </a:r>
            <a:r>
              <a:rPr lang="en-GB" noProof="0">
                <a:latin typeface="+mn-lt"/>
                <a:ea typeface="Roboto"/>
                <a:cs typeface="Calibri"/>
              </a:rPr>
              <a:t> is a key component of mucus </a:t>
            </a:r>
            <a:r>
              <a:rPr lang="en-GB">
                <a:latin typeface="+mn-lt"/>
                <a:ea typeface="Roboto"/>
                <a:cs typeface="Calibri"/>
              </a:rPr>
              <a:t>plugs that</a:t>
            </a:r>
            <a:r>
              <a:rPr lang="en-GB" noProof="0">
                <a:latin typeface="+mn-lt"/>
                <a:ea typeface="Roboto"/>
                <a:cs typeface="Calibri"/>
              </a:rPr>
              <a:t> is produced by multiple cells found in the </a:t>
            </a:r>
            <a:r>
              <a:rPr lang="en-GB" b="1" noProof="0">
                <a:latin typeface="+mn-lt"/>
                <a:ea typeface="Roboto"/>
                <a:cs typeface="Calibri"/>
              </a:rPr>
              <a:t>airway epithelium</a:t>
            </a:r>
            <a:r>
              <a:rPr lang="en-GB" baseline="30000" noProof="0">
                <a:latin typeface="+mn-lt"/>
                <a:ea typeface="Roboto"/>
                <a:cs typeface="Calibri"/>
              </a:rPr>
              <a:t>6</a:t>
            </a:r>
          </a:p>
          <a:p>
            <a:pPr lvl="1"/>
            <a:r>
              <a:rPr lang="en-GB"/>
              <a:t>These cells are increased in patients with asthma, with a different epithelium composition and increase in mucus producing cells</a:t>
            </a:r>
            <a:r>
              <a:rPr lang="en-GB" baseline="30000"/>
              <a:t>7</a:t>
            </a:r>
            <a:r>
              <a:rPr lang="en-GB"/>
              <a:t> </a:t>
            </a:r>
            <a:endParaRPr lang="en-GB" noProof="0"/>
          </a:p>
          <a:p>
            <a:pPr marL="287655" indent="-287655">
              <a:spcBef>
                <a:spcPts val="600"/>
              </a:spcBef>
            </a:pPr>
            <a:r>
              <a:rPr lang="en-GB" b="1">
                <a:latin typeface="+mn-lt"/>
                <a:ea typeface="Roboto"/>
                <a:cs typeface="Calibri"/>
              </a:rPr>
              <a:t>Epithelial activation </a:t>
            </a:r>
            <a:r>
              <a:rPr lang="en-GB">
                <a:latin typeface="+mn-lt"/>
                <a:ea typeface="Roboto"/>
                <a:cs typeface="Calibri"/>
              </a:rPr>
              <a:t>triggers IL-13 release, driving MUC5AC production, and can promote mucus crosslinking which </a:t>
            </a:r>
            <a:r>
              <a:rPr lang="en-GB" b="1">
                <a:latin typeface="+mn-lt"/>
                <a:ea typeface="Roboto"/>
                <a:cs typeface="Calibri"/>
              </a:rPr>
              <a:t>reduces mucociliary clearance</a:t>
            </a:r>
            <a:r>
              <a:rPr lang="en-GB" baseline="30000">
                <a:latin typeface="+mn-lt"/>
                <a:ea typeface="Roboto"/>
                <a:cs typeface="Calibri"/>
              </a:rPr>
              <a:t>8,9</a:t>
            </a:r>
            <a:endParaRPr lang="en-GB" baseline="30000" noProof="0">
              <a:latin typeface="+mn-lt"/>
              <a:ea typeface="Roboto"/>
              <a:cs typeface="Calibri"/>
            </a:endParaRPr>
          </a:p>
          <a:p>
            <a:pPr lvl="1"/>
            <a:r>
              <a:rPr lang="en-GB" sz="2000" b="1"/>
              <a:t>Oxidation</a:t>
            </a:r>
            <a:r>
              <a:rPr lang="en-GB" sz="2000"/>
              <a:t> via </a:t>
            </a:r>
            <a:r>
              <a:rPr lang="en-GB" sz="2000" dirty="0" err="1"/>
              <a:t>eo</a:t>
            </a:r>
            <a:r>
              <a:rPr lang="en-GB" sz="2000" noProof="0" dirty="0" err="1"/>
              <a:t>sinophil</a:t>
            </a:r>
            <a:r>
              <a:rPr lang="en-GB" sz="2000" noProof="0"/>
              <a:t> and thyroid peroxidase contribute to </a:t>
            </a:r>
            <a:r>
              <a:rPr lang="en-GB" sz="2000" b="1" noProof="0"/>
              <a:t>mucin cross-linking</a:t>
            </a:r>
            <a:r>
              <a:rPr lang="en-GB" sz="2000" baseline="30000"/>
              <a:t>10</a:t>
            </a:r>
            <a:endParaRPr lang="en-GB" sz="2000" baseline="30000">
              <a:ea typeface="Calibri"/>
              <a:cs typeface="Calibri"/>
            </a:endParaRPr>
          </a:p>
          <a:p>
            <a:pPr lvl="1"/>
            <a:r>
              <a:rPr lang="en-GB" sz="2000">
                <a:ea typeface="Calibri"/>
                <a:cs typeface="Calibri"/>
              </a:rPr>
              <a:t>Eosinophil and thyroid peroxidases are </a:t>
            </a:r>
            <a:r>
              <a:rPr lang="en-GB" sz="2000" b="1">
                <a:ea typeface="Calibri"/>
                <a:cs typeface="Calibri"/>
              </a:rPr>
              <a:t>upregulated</a:t>
            </a:r>
            <a:r>
              <a:rPr lang="en-GB" sz="2000">
                <a:ea typeface="Calibri"/>
                <a:cs typeface="Calibri"/>
              </a:rPr>
              <a:t> in patients with </a:t>
            </a:r>
            <a:r>
              <a:rPr lang="en-GB" sz="2000" b="1">
                <a:ea typeface="Calibri"/>
                <a:cs typeface="Calibri"/>
              </a:rPr>
              <a:t>mucus plugs</a:t>
            </a:r>
            <a:r>
              <a:rPr lang="en-GB" sz="2000" baseline="30000">
                <a:ea typeface="Calibri"/>
                <a:cs typeface="Calibri"/>
              </a:rPr>
              <a:t>8,11</a:t>
            </a:r>
            <a:endParaRPr lang="en-GB" baseline="30000">
              <a:ea typeface="Calibri"/>
              <a:cs typeface="Calibri"/>
            </a:endParaRPr>
          </a:p>
        </p:txBody>
      </p:sp>
      <p:sp>
        <p:nvSpPr>
          <p:cNvPr id="8" name="Footer Placeholder 8">
            <a:extLst>
              <a:ext uri="{FF2B5EF4-FFF2-40B4-BE49-F238E27FC236}">
                <a16:creationId xmlns:a16="http://schemas.microsoft.com/office/drawing/2014/main" id="{74A97512-5423-8DDF-14F0-4430203F17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br>
              <a:rPr lang="en-GB" sz="800" noProof="0" dirty="0"/>
            </a:br>
            <a:r>
              <a:rPr lang="en-GB" sz="800" dirty="0" err="1"/>
              <a:t>CRSwNP</a:t>
            </a:r>
            <a:r>
              <a:rPr lang="en-GB" sz="800" dirty="0"/>
              <a:t>, chronic rhinosinusitis with nasal polyps; IL, interleukin; MUC, mucin.</a:t>
            </a:r>
          </a:p>
          <a:p>
            <a:r>
              <a:rPr lang="en-GB" sz="800" dirty="0"/>
              <a:t>1. </a:t>
            </a:r>
            <a:r>
              <a:rPr lang="en-GB" sz="800" noProof="0" dirty="0"/>
              <a:t>Fahy JV, Dickey BF. N Engl J Med. 2010;363(23):2233-47; 2. Dunican EM, et al. J Clin Invest. 2018;128(3):997-1009; 3. </a:t>
            </a:r>
            <a:r>
              <a:rPr lang="en-GB" sz="800" dirty="0"/>
              <a:t>Aegerter H, Lambrecht BN. Annu Rev </a:t>
            </a:r>
            <a:r>
              <a:rPr lang="en-GB" sz="800" dirty="0" err="1"/>
              <a:t>Pathol</a:t>
            </a:r>
            <a:r>
              <a:rPr lang="en-GB" sz="800" dirty="0"/>
              <a:t>. 2023;18:387-409</a:t>
            </a:r>
            <a:r>
              <a:rPr lang="en-GB" sz="800" noProof="0" dirty="0"/>
              <a:t>; 4. Tu Y, et al. Inflammation 2021;44:1937–1948; 5. Hulse KE, et al. Clin Exp Allergy 2015;45:328–346; 6. Bonser LR, et al. J Clin Invest. 2016;126(6):2367-71; 7. </a:t>
            </a:r>
            <a:r>
              <a:rPr lang="en-GB" sz="800" noProof="0" dirty="0" err="1"/>
              <a:t>Heijink</a:t>
            </a:r>
            <a:r>
              <a:rPr lang="en-GB" sz="800" noProof="0" dirty="0"/>
              <a:t> IH, et al. Allergy. 2020 Aug;75(8):1902-1917;</a:t>
            </a:r>
            <a:r>
              <a:rPr lang="en-GB" sz="800" dirty="0"/>
              <a:t> 8. Dunican EM, et al. J Clin Invest. 2018;128(3):997-1009; 9. Pelaia C, et al. Front </a:t>
            </a:r>
            <a:r>
              <a:rPr lang="en-GB" sz="800" dirty="0" err="1"/>
              <a:t>Pharmacol</a:t>
            </a:r>
            <a:r>
              <a:rPr lang="en-GB" sz="800" dirty="0"/>
              <a:t>. 2022;13:851940.</a:t>
            </a:r>
            <a:r>
              <a:rPr lang="en-GB" sz="800" noProof="0" dirty="0"/>
              <a:t> 10. Yuan S, et al. Sci </a:t>
            </a:r>
            <a:r>
              <a:rPr lang="en-GB" sz="800" noProof="0" dirty="0" err="1"/>
              <a:t>Transl</a:t>
            </a:r>
            <a:r>
              <a:rPr lang="en-GB" sz="800" noProof="0" dirty="0"/>
              <a:t> Med. 2015 Feb 25;7(276):276ra27; 11</a:t>
            </a:r>
            <a:r>
              <a:rPr lang="en-GB" sz="800" dirty="0"/>
              <a:t>. </a:t>
            </a:r>
            <a:r>
              <a:rPr lang="en-GB" sz="800" dirty="0" err="1"/>
              <a:t>Liegeois</a:t>
            </a:r>
            <a:r>
              <a:rPr lang="en-GB" sz="800" dirty="0"/>
              <a:t> MA, et al. JCI Insight. 2024;9(15):e181024.</a:t>
            </a:r>
            <a:endParaRPr lang="en-GB" sz="800" noProof="0" dirty="0"/>
          </a:p>
          <a:p>
            <a:pPr lvl="0">
              <a:spcAft>
                <a:spcPts val="300"/>
              </a:spcAft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65666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B-73345 | Date of preparation: </a:t>
            </a:r>
            <a:r>
              <a:rPr lang="en-GB" sz="800" spc="0" dirty="0">
                <a:solidFill>
                  <a:srgbClr val="656665"/>
                </a:solidFill>
              </a:rPr>
              <a:t>March 2026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656665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0BA9D99-0F21-B571-8877-DB36A25A8B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8BAEAC-A895-4A01-AB9B-F6141799970D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GB" sz="9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66237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FA4F1E-9E9B-0B3A-047D-59F883D2FA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F1141A1-F300-945C-BAAE-4522A16513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Ins="0"/>
          <a:lstStyle/>
          <a:p>
            <a:r>
              <a:rPr lang="en-GB" noProof="0"/>
              <a:t>What are mucus plugs? 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2A52B04-767D-D24F-CD0B-7C595A9FDED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8281" y="1633356"/>
            <a:ext cx="6709278" cy="4378644"/>
          </a:xfrm>
        </p:spPr>
        <p:txBody>
          <a:bodyPr vert="horz" lIns="0" tIns="0" rIns="0" bIns="0" rtlCol="0" anchor="t">
            <a:noAutofit/>
          </a:bodyPr>
          <a:lstStyle/>
          <a:p>
            <a:pPr marL="287655" indent="-287655">
              <a:spcBef>
                <a:spcPts val="1000"/>
              </a:spcBef>
            </a:pPr>
            <a:r>
              <a:rPr lang="en-GB" noProof="0" dirty="0">
                <a:latin typeface="Calibri"/>
                <a:ea typeface="Roboto"/>
                <a:cs typeface="Calibri"/>
              </a:rPr>
              <a:t>Mucus plugs are an </a:t>
            </a:r>
            <a:r>
              <a:rPr lang="en-GB" b="1" noProof="0" dirty="0">
                <a:latin typeface="Calibri"/>
                <a:ea typeface="Roboto"/>
                <a:cs typeface="Calibri"/>
              </a:rPr>
              <a:t>accumulation of mucus </a:t>
            </a:r>
            <a:r>
              <a:rPr lang="en-GB" noProof="0" dirty="0">
                <a:latin typeface="Calibri"/>
                <a:ea typeface="Roboto"/>
                <a:cs typeface="Calibri"/>
              </a:rPr>
              <a:t>potentially</a:t>
            </a:r>
            <a:r>
              <a:rPr lang="en-GB" b="1" noProof="0" dirty="0">
                <a:latin typeface="Calibri"/>
                <a:ea typeface="Roboto"/>
                <a:cs typeface="Calibri"/>
              </a:rPr>
              <a:t> </a:t>
            </a:r>
            <a:r>
              <a:rPr lang="en-GB" noProof="0" dirty="0">
                <a:latin typeface="Calibri"/>
                <a:ea typeface="Roboto"/>
                <a:cs typeface="Calibri"/>
              </a:rPr>
              <a:t>leading to airway impaction</a:t>
            </a:r>
            <a:r>
              <a:rPr lang="en-GB" baseline="30000" dirty="0">
                <a:latin typeface="Calibri"/>
                <a:ea typeface="Roboto"/>
                <a:cs typeface="Calibri"/>
              </a:rPr>
              <a:t>1,2</a:t>
            </a:r>
            <a:endParaRPr lang="en-US" dirty="0">
              <a:latin typeface="Calibri"/>
              <a:ea typeface="Roboto"/>
              <a:cs typeface="Calibri"/>
            </a:endParaRPr>
          </a:p>
          <a:p>
            <a:pPr lvl="1">
              <a:spcBef>
                <a:spcPts val="400"/>
              </a:spcBef>
            </a:pPr>
            <a:r>
              <a:rPr lang="en-GB" dirty="0"/>
              <a:t>Typically localised in airways 2–4 mm in diameter</a:t>
            </a:r>
            <a:r>
              <a:rPr lang="en-GB" baseline="30000" dirty="0"/>
              <a:t>3</a:t>
            </a:r>
            <a:endParaRPr lang="en-GB" baseline="30000" dirty="0">
              <a:ea typeface="Calibri"/>
              <a:cs typeface="Calibri"/>
            </a:endParaRPr>
          </a:p>
          <a:p>
            <a:pPr marL="287655" indent="-287655">
              <a:spcBef>
                <a:spcPts val="1000"/>
              </a:spcBef>
            </a:pPr>
            <a:endParaRPr lang="en-GB" noProof="0" dirty="0">
              <a:latin typeface="Calibri"/>
              <a:ea typeface="Roboto"/>
              <a:cs typeface="Calibri"/>
            </a:endParaRPr>
          </a:p>
          <a:p>
            <a:pPr marL="287655" indent="-287655">
              <a:spcBef>
                <a:spcPts val="1000"/>
              </a:spcBef>
            </a:pPr>
            <a:r>
              <a:rPr lang="en-GB" noProof="0" dirty="0">
                <a:latin typeface="Calibri"/>
                <a:ea typeface="Roboto"/>
                <a:cs typeface="Calibri"/>
              </a:rPr>
              <a:t>Mucus plugs can contribute to </a:t>
            </a:r>
            <a:r>
              <a:rPr lang="en-GB" b="1" noProof="0" dirty="0">
                <a:latin typeface="Calibri"/>
                <a:ea typeface="Roboto"/>
                <a:cs typeface="Calibri"/>
              </a:rPr>
              <a:t>persistent airway obstruction </a:t>
            </a:r>
            <a:r>
              <a:rPr lang="en-GB" noProof="0" dirty="0">
                <a:latin typeface="Calibri"/>
                <a:ea typeface="Roboto"/>
                <a:cs typeface="Calibri"/>
              </a:rPr>
              <a:t>and can lead to </a:t>
            </a:r>
            <a:r>
              <a:rPr lang="en-GB" b="1" noProof="0" dirty="0">
                <a:latin typeface="Calibri"/>
                <a:ea typeface="Roboto"/>
                <a:cs typeface="Calibri"/>
              </a:rPr>
              <a:t>mortality</a:t>
            </a:r>
            <a:r>
              <a:rPr lang="en-GB" noProof="0" dirty="0">
                <a:latin typeface="Calibri"/>
                <a:ea typeface="Roboto"/>
                <a:cs typeface="Calibri"/>
              </a:rPr>
              <a:t> in acute asthma attacks</a:t>
            </a:r>
            <a:r>
              <a:rPr lang="en-GB" baseline="30000" noProof="0" dirty="0">
                <a:latin typeface="Calibri"/>
                <a:ea typeface="Roboto"/>
                <a:cs typeface="Calibri"/>
              </a:rPr>
              <a:t>1,2</a:t>
            </a:r>
            <a:endParaRPr lang="en-GB" noProof="0" dirty="0">
              <a:latin typeface="Calibri"/>
              <a:ea typeface="Roboto"/>
              <a:cs typeface="Calibri"/>
            </a:endParaRPr>
          </a:p>
          <a:p>
            <a:pPr lvl="1">
              <a:spcBef>
                <a:spcPts val="400"/>
              </a:spcBef>
            </a:pPr>
            <a:r>
              <a:rPr lang="en-GB" dirty="0"/>
              <a:t>Mucus plugging is associated with </a:t>
            </a:r>
            <a:r>
              <a:rPr lang="en-GB" b="1" dirty="0"/>
              <a:t>T2 inflammation</a:t>
            </a:r>
            <a:r>
              <a:rPr lang="en-GB" baseline="30000" dirty="0"/>
              <a:t>1,2</a:t>
            </a:r>
            <a:endParaRPr lang="en-GB" baseline="30000" dirty="0">
              <a:ea typeface="Calibri"/>
              <a:cs typeface="Calibri"/>
            </a:endParaRPr>
          </a:p>
          <a:p>
            <a:pPr lvl="1">
              <a:spcBef>
                <a:spcPts val="400"/>
              </a:spcBef>
            </a:pPr>
            <a:r>
              <a:rPr lang="en-GB" dirty="0"/>
              <a:t>Mucus plugs can persist in the same airway for years, </a:t>
            </a:r>
            <a:r>
              <a:rPr lang="en-GB" b="1" dirty="0"/>
              <a:t>progressively worsening</a:t>
            </a:r>
            <a:r>
              <a:rPr lang="en-GB" dirty="0"/>
              <a:t> and becoming unresponsive to bronchodilators and steroids</a:t>
            </a:r>
            <a:r>
              <a:rPr lang="en-GB" baseline="30000" dirty="0"/>
              <a:t>4</a:t>
            </a:r>
            <a:endParaRPr lang="en-GB" baseline="30000" dirty="0">
              <a:ea typeface="Calibri"/>
              <a:cs typeface="Calibri"/>
            </a:endParaRPr>
          </a:p>
        </p:txBody>
      </p:sp>
      <p:sp>
        <p:nvSpPr>
          <p:cNvPr id="8" name="Footer Placeholder 8">
            <a:extLst>
              <a:ext uri="{FF2B5EF4-FFF2-40B4-BE49-F238E27FC236}">
                <a16:creationId xmlns:a16="http://schemas.microsoft.com/office/drawing/2014/main" id="{AB34104D-9490-DBFE-D568-B92CBDD551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z="800" noProof="0" dirty="0"/>
              <a:t>Figure adapted from Aegerter H, Lambrecht BN. Annu Rev </a:t>
            </a:r>
            <a:r>
              <a:rPr lang="en-GB" sz="800" noProof="0" dirty="0" err="1"/>
              <a:t>Pathol</a:t>
            </a:r>
            <a:r>
              <a:rPr lang="en-GB" sz="800" noProof="0" dirty="0"/>
              <a:t>. 2023;18:387-409. </a:t>
            </a:r>
          </a:p>
          <a:p>
            <a:r>
              <a:rPr lang="en-GB" sz="800" noProof="0" dirty="0"/>
              <a:t>T2, type 2.</a:t>
            </a:r>
            <a:br>
              <a:rPr lang="en-GB" sz="800" noProof="0" dirty="0"/>
            </a:br>
            <a:r>
              <a:rPr lang="en-GB" sz="800" noProof="0" dirty="0"/>
              <a:t>1. </a:t>
            </a:r>
            <a:r>
              <a:rPr lang="en-GB" sz="800" noProof="0" dirty="0" err="1"/>
              <a:t>Götschke</a:t>
            </a:r>
            <a:r>
              <a:rPr lang="en-GB" sz="800" noProof="0" dirty="0"/>
              <a:t> J, et al. J Allergy Clin Immunol </a:t>
            </a:r>
            <a:r>
              <a:rPr lang="en-GB" sz="800" noProof="0" dirty="0" err="1"/>
              <a:t>Pract</a:t>
            </a:r>
            <a:r>
              <a:rPr lang="en-GB" sz="800" noProof="0" dirty="0"/>
              <a:t>. 2025:S2213-2198(25)00053-4; 2. Dunican EM, et al. Ann Am </a:t>
            </a:r>
            <a:r>
              <a:rPr lang="en-GB" sz="800" noProof="0" dirty="0" err="1"/>
              <a:t>Thorac</a:t>
            </a:r>
            <a:r>
              <a:rPr lang="en-GB" sz="800" noProof="0" dirty="0"/>
              <a:t> Soc. 2018;15(</a:t>
            </a:r>
            <a:r>
              <a:rPr lang="en-GB" sz="800" noProof="0" dirty="0" err="1"/>
              <a:t>Suppl</a:t>
            </a:r>
            <a:r>
              <a:rPr lang="en-GB" sz="800" noProof="0" dirty="0"/>
              <a:t> 3):S184-S191; 3. Huang BK, et al. JCI Insight. 2024;9(3):e174124; 4. Aegerter H, Lambrecht BN. Annu Rev </a:t>
            </a:r>
            <a:r>
              <a:rPr lang="en-GB" sz="800" noProof="0" dirty="0" err="1"/>
              <a:t>Pathol</a:t>
            </a:r>
            <a:r>
              <a:rPr lang="en-GB" sz="800" noProof="0" dirty="0"/>
              <a:t>. 2023;18:387-409. </a:t>
            </a:r>
            <a:br>
              <a:rPr lang="en-GB" sz="800" noProof="0" dirty="0"/>
            </a:b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65666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B-73345 | Date of preparation: March 2026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28441AF-9D9D-577B-5DC5-CEAAB7D2FB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8BAEAC-A895-4A01-AB9B-F6141799970D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9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2CA5E1C-833E-5D3C-F83F-C430C19491CF}"/>
              </a:ext>
            </a:extLst>
          </p:cNvPr>
          <p:cNvGrpSpPr>
            <a:grpSpLocks noChangeAspect="1"/>
          </p:cNvGrpSpPr>
          <p:nvPr/>
        </p:nvGrpSpPr>
        <p:grpSpPr>
          <a:xfrm>
            <a:off x="6191098" y="1539000"/>
            <a:ext cx="6156350" cy="3780000"/>
            <a:chOff x="2092988" y="1297015"/>
            <a:chExt cx="8006025" cy="4915699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5E7CE574-D8EA-6650-E768-C9C3009D4D3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6723" b="92732" l="5132" r="91707">
                          <a14:foregroundMark x1="24098" y1="89824" x2="17479" y2="85463"/>
                          <a14:foregroundMark x1="17479" y1="85463" x2="5727" y2="60812"/>
                          <a14:foregroundMark x1="5727" y1="60812" x2="10673" y2="52453"/>
                          <a14:foregroundMark x1="10673" y1="52453" x2="16549" y2="48577"/>
                          <a14:foregroundMark x1="16549" y1="48577" x2="46709" y2="15506"/>
                          <a14:foregroundMark x1="46709" y1="15506" x2="53440" y2="11932"/>
                          <a14:foregroundMark x1="53440" y1="11932" x2="66121" y2="24773"/>
                          <a14:foregroundMark x1="66121" y1="24773" x2="71588" y2="28407"/>
                          <a14:foregroundMark x1="71588" y1="28407" x2="76422" y2="39612"/>
                          <a14:foregroundMark x1="76422" y1="39612" x2="83116" y2="43065"/>
                          <a14:foregroundMark x1="83116" y1="43065" x2="87988" y2="49122"/>
                          <a14:foregroundMark x1="87988" y1="49122" x2="91707" y2="57420"/>
                          <a14:foregroundMark x1="91707" y1="57420" x2="87579" y2="66929"/>
                          <a14:foregroundMark x1="87579" y1="66929" x2="74451" y2="86130"/>
                          <a14:foregroundMark x1="74451" y1="86130" x2="65563" y2="85584"/>
                          <a14:foregroundMark x1="65563" y1="85584" x2="51543" y2="93398"/>
                          <a14:foregroundMark x1="51543" y1="93398" x2="36854" y2="90672"/>
                          <a14:foregroundMark x1="36854" y1="90672" x2="30978" y2="92732"/>
                          <a14:foregroundMark x1="30978" y1="92732" x2="25958" y2="90854"/>
                          <a14:foregroundMark x1="91447" y1="50757" x2="94682" y2="59782"/>
                          <a14:foregroundMark x1="94682" y1="59782" x2="91707" y2="67777"/>
                          <a14:foregroundMark x1="91707" y1="67777" x2="91447" y2="68080"/>
                          <a14:foregroundMark x1="5169" y1="57359" x2="5169" y2="66929"/>
                          <a14:foregroundMark x1="5169" y1="66929" x2="6062" y2="68565"/>
                          <a14:foregroundMark x1="30606" y1="28528" x2="36184" y2="20594"/>
                          <a14:foregroundMark x1="36184" y1="20594" x2="48643" y2="12296"/>
                          <a14:foregroundMark x1="48643" y1="12296" x2="53291" y2="6723"/>
                          <a14:foregroundMark x1="53291" y1="6723" x2="58795" y2="10236"/>
                          <a14:foregroundMark x1="58795" y1="10236" x2="61324" y2="14537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2411613" flipH="1">
              <a:off x="2092988" y="1297015"/>
              <a:ext cx="8006025" cy="4915699"/>
            </a:xfrm>
            <a:prstGeom prst="rect">
              <a:avLst/>
            </a:prstGeom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0C6EDD5-8F87-AE56-A533-2B98606A158F}"/>
                </a:ext>
              </a:extLst>
            </p:cNvPr>
            <p:cNvSpPr/>
            <p:nvPr/>
          </p:nvSpPr>
          <p:spPr>
            <a:xfrm>
              <a:off x="4766457" y="4014590"/>
              <a:ext cx="1686117" cy="1686117"/>
            </a:xfrm>
            <a:prstGeom prst="rect">
              <a:avLst/>
            </a:prstGeom>
            <a:noFill/>
            <a:ln w="38100" cap="flat" cmpd="sng" algn="ctr">
              <a:solidFill>
                <a:srgbClr val="F0AB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A8193EE-5DF0-64D0-26D2-4FCC033642C2}"/>
                </a:ext>
              </a:extLst>
            </p:cNvPr>
            <p:cNvSpPr/>
            <p:nvPr/>
          </p:nvSpPr>
          <p:spPr>
            <a:xfrm>
              <a:off x="5609516" y="2101139"/>
              <a:ext cx="843058" cy="843058"/>
            </a:xfrm>
            <a:prstGeom prst="rect">
              <a:avLst/>
            </a:prstGeom>
            <a:noFill/>
            <a:ln w="38100" cap="flat" cmpd="sng" algn="ctr">
              <a:solidFill>
                <a:srgbClr val="F0AB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936DB671-CCE4-510B-8DAB-FF16B72397D3}"/>
                </a:ext>
              </a:extLst>
            </p:cNvPr>
            <p:cNvSpPr/>
            <p:nvPr/>
          </p:nvSpPr>
          <p:spPr>
            <a:xfrm>
              <a:off x="6370321" y="3070746"/>
              <a:ext cx="843058" cy="843058"/>
            </a:xfrm>
            <a:prstGeom prst="rect">
              <a:avLst/>
            </a:prstGeom>
            <a:noFill/>
            <a:ln w="38100" cap="flat" cmpd="sng" algn="ctr">
              <a:solidFill>
                <a:srgbClr val="F0AB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4BC3E4FA-DA47-8FAF-7E85-1E83D4371440}"/>
              </a:ext>
            </a:extLst>
          </p:cNvPr>
          <p:cNvSpPr txBox="1"/>
          <p:nvPr/>
        </p:nvSpPr>
        <p:spPr>
          <a:xfrm>
            <a:off x="9543465" y="5002786"/>
            <a:ext cx="233647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noProof="0"/>
              <a:t>Periodic acid Schiff Staining</a:t>
            </a:r>
          </a:p>
        </p:txBody>
      </p:sp>
    </p:spTree>
    <p:extLst>
      <p:ext uri="{BB962C8B-B14F-4D97-AF65-F5344CB8AC3E}">
        <p14:creationId xmlns:p14="http://schemas.microsoft.com/office/powerpoint/2010/main" val="31011512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A0F9BC-885C-9066-229B-E8E8B42373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EDEAB32-3B9F-1AAC-CDAD-073E0B8614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Ins="0"/>
          <a:lstStyle/>
          <a:p>
            <a:r>
              <a:rPr lang="en-GB" noProof="0"/>
              <a:t>Characteristics of mucus plugs in the airways of people with asthma</a:t>
            </a:r>
            <a:endParaRPr lang="en-GB" baseline="30000" noProof="0"/>
          </a:p>
        </p:txBody>
      </p:sp>
      <p:sp>
        <p:nvSpPr>
          <p:cNvPr id="8" name="Footer Placeholder 8">
            <a:extLst>
              <a:ext uri="{FF2B5EF4-FFF2-40B4-BE49-F238E27FC236}">
                <a16:creationId xmlns:a16="http://schemas.microsoft.com/office/drawing/2014/main" id="{0E890004-1416-C178-3546-315DC3405D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z="800" noProof="0" dirty="0"/>
              <a:t>Figure adapted from Dunican EM, et al. J Clin Invest. 2018;128(3):997-1009.</a:t>
            </a:r>
            <a:br>
              <a:rPr lang="en-GB" sz="800" noProof="0" dirty="0"/>
            </a:br>
            <a:r>
              <a:rPr lang="en-GB" sz="800" baseline="30000" noProof="0" dirty="0" err="1"/>
              <a:t>a</a:t>
            </a:r>
            <a:r>
              <a:rPr lang="en-GB" sz="800" noProof="0" dirty="0" err="1"/>
              <a:t>Zero</a:t>
            </a:r>
            <a:r>
              <a:rPr lang="en-GB" sz="800" dirty="0"/>
              <a:t>: mucus score = 0; Low: Mucus score = 0.5–3.5; High: Mucus score = 4 or more. </a:t>
            </a:r>
            <a:r>
              <a:rPr lang="en-GB" dirty="0"/>
              <a:t>***P &lt; 0.001</a:t>
            </a:r>
            <a:endParaRPr lang="en-GB" sz="800" noProof="0" dirty="0"/>
          </a:p>
          <a:p>
            <a:r>
              <a:rPr lang="en-GB" sz="800" noProof="0" dirty="0"/>
              <a:t>FEV1, forced expiratory volume in 1 second; SARP, Severe Asthma Research Program.</a:t>
            </a:r>
            <a:br>
              <a:rPr lang="en-GB" sz="800" noProof="0" dirty="0"/>
            </a:br>
            <a:r>
              <a:rPr lang="en-GB" sz="800" dirty="0"/>
              <a:t>D</a:t>
            </a:r>
            <a:r>
              <a:rPr lang="en-GB" sz="800" noProof="0" dirty="0" err="1"/>
              <a:t>unican</a:t>
            </a:r>
            <a:r>
              <a:rPr lang="en-GB" sz="800" noProof="0" dirty="0"/>
              <a:t> EM, et al. J Clin Invest. 2018;128(3):997-1009.</a:t>
            </a:r>
            <a:br>
              <a:rPr lang="en-GB" sz="800" noProof="0" dirty="0"/>
            </a:b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656665"/>
                </a:solidFill>
                <a:effectLst/>
                <a:uLnTx/>
                <a:uFillTx/>
                <a:ea typeface="+mn-ea"/>
                <a:cs typeface="+mn-cs"/>
              </a:rPr>
              <a:t>GB-73345 | Date of preparation: </a:t>
            </a:r>
            <a:r>
              <a:rPr lang="en-GB" sz="800" spc="0" dirty="0">
                <a:solidFill>
                  <a:srgbClr val="656665"/>
                </a:solidFill>
              </a:rPr>
              <a:t>March 2026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656665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851A1FE-21BE-65D1-241A-B705B29488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8BAEAC-A895-4A01-AB9B-F6141799970D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9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6A98834-D35E-7624-12A7-CB70E49DDE70}"/>
              </a:ext>
            </a:extLst>
          </p:cNvPr>
          <p:cNvGrpSpPr/>
          <p:nvPr/>
        </p:nvGrpSpPr>
        <p:grpSpPr>
          <a:xfrm>
            <a:off x="548282" y="1596677"/>
            <a:ext cx="3340925" cy="3904468"/>
            <a:chOff x="548282" y="1520476"/>
            <a:chExt cx="3340925" cy="3904468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CFCACDC1-44C5-900A-0A6E-2E2E80CFF61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44709" y="2017832"/>
              <a:ext cx="1967805" cy="3407112"/>
            </a:xfrm>
            <a:prstGeom prst="rect">
              <a:avLst/>
            </a:prstGeom>
          </p:spPr>
        </p:pic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8EB01F15-0F6C-A100-0A29-E2A7CCE14A7B}"/>
                </a:ext>
              </a:extLst>
            </p:cNvPr>
            <p:cNvGrpSpPr/>
            <p:nvPr/>
          </p:nvGrpSpPr>
          <p:grpSpPr>
            <a:xfrm>
              <a:off x="548282" y="1520476"/>
              <a:ext cx="3340925" cy="3817048"/>
              <a:chOff x="316675" y="1520476"/>
              <a:chExt cx="3340925" cy="3817048"/>
            </a:xfrm>
          </p:grpSpPr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CF117F79-5896-4B7E-E8E3-EF9DF6FDD03B}"/>
                  </a:ext>
                </a:extLst>
              </p:cNvPr>
              <p:cNvSpPr txBox="1"/>
              <p:nvPr/>
            </p:nvSpPr>
            <p:spPr>
              <a:xfrm>
                <a:off x="316675" y="1520476"/>
                <a:ext cx="3340925" cy="584775"/>
              </a:xfrm>
              <a:prstGeom prst="rect">
                <a:avLst/>
              </a:prstGeom>
              <a:solidFill>
                <a:schemeClr val="accent4"/>
              </a:solidFill>
              <a:ln w="28575">
                <a:solidFill>
                  <a:schemeClr val="accent4"/>
                </a:solidFill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GB" sz="1600" noProof="0">
                    <a:solidFill>
                      <a:schemeClr val="bg1"/>
                    </a:solidFill>
                  </a:rPr>
                  <a:t>Lung function correlates with mucus plug score….</a:t>
                </a:r>
                <a:r>
                  <a:rPr lang="en-GB" sz="1600" baseline="30000" noProof="0">
                    <a:solidFill>
                      <a:schemeClr val="bg1"/>
                    </a:solidFill>
                  </a:rPr>
                  <a:t>a</a:t>
                </a:r>
              </a:p>
            </p:txBody>
          </p:sp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A5E71D3E-8FE6-4C85-3BE4-DC5E31155929}"/>
                  </a:ext>
                </a:extLst>
              </p:cNvPr>
              <p:cNvSpPr/>
              <p:nvPr/>
            </p:nvSpPr>
            <p:spPr>
              <a:xfrm>
                <a:off x="316675" y="1520476"/>
                <a:ext cx="3340925" cy="3817048"/>
              </a:xfrm>
              <a:prstGeom prst="rect">
                <a:avLst/>
              </a:prstGeom>
              <a:noFill/>
              <a:ln w="2857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D6D14C64-564B-2147-EE0F-26BAD60E0131}"/>
                </a:ext>
              </a:extLst>
            </p:cNvPr>
            <p:cNvSpPr/>
            <p:nvPr/>
          </p:nvSpPr>
          <p:spPr>
            <a:xfrm>
              <a:off x="1025418" y="2251912"/>
              <a:ext cx="224287" cy="36230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A1DC905-B6B8-E8F7-04BA-CC230EBF98D1}"/>
              </a:ext>
            </a:extLst>
          </p:cNvPr>
          <p:cNvGrpSpPr/>
          <p:nvPr/>
        </p:nvGrpSpPr>
        <p:grpSpPr>
          <a:xfrm>
            <a:off x="4237375" y="1596677"/>
            <a:ext cx="3529088" cy="3817048"/>
            <a:chOff x="4237375" y="1520476"/>
            <a:chExt cx="3529088" cy="3817048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67C27CA8-DE43-76B3-BE65-CA4FC1754877}"/>
                </a:ext>
              </a:extLst>
            </p:cNvPr>
            <p:cNvGrpSpPr/>
            <p:nvPr/>
          </p:nvGrpSpPr>
          <p:grpSpPr>
            <a:xfrm>
              <a:off x="4237375" y="2331262"/>
              <a:ext cx="2820852" cy="2973566"/>
              <a:chOff x="3957672" y="2539698"/>
              <a:chExt cx="2820852" cy="2973566"/>
            </a:xfrm>
          </p:grpSpPr>
          <p:pic>
            <p:nvPicPr>
              <p:cNvPr id="18" name="Picture 17">
                <a:extLst>
                  <a:ext uri="{FF2B5EF4-FFF2-40B4-BE49-F238E27FC236}">
                    <a16:creationId xmlns:a16="http://schemas.microsoft.com/office/drawing/2014/main" id="{05DC5BF9-28D3-3336-492C-9B5D6E21BA1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rcRect r="59475"/>
              <a:stretch/>
            </p:blipFill>
            <p:spPr>
              <a:xfrm>
                <a:off x="3957672" y="2539698"/>
                <a:ext cx="2820852" cy="2973566"/>
              </a:xfrm>
              <a:prstGeom prst="rect">
                <a:avLst/>
              </a:prstGeom>
            </p:spPr>
          </p:pic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3C2FC7BD-5E63-01E2-E2B1-88E7959EDD29}"/>
                  </a:ext>
                </a:extLst>
              </p:cNvPr>
              <p:cNvSpPr/>
              <p:nvPr/>
            </p:nvSpPr>
            <p:spPr>
              <a:xfrm>
                <a:off x="4348068" y="2571062"/>
                <a:ext cx="389510" cy="38918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4AD9B0AA-13EB-F022-9325-F6FFDA686D84}"/>
                </a:ext>
              </a:extLst>
            </p:cNvPr>
            <p:cNvGrpSpPr/>
            <p:nvPr/>
          </p:nvGrpSpPr>
          <p:grpSpPr>
            <a:xfrm>
              <a:off x="4425538" y="1520476"/>
              <a:ext cx="3340925" cy="3817048"/>
              <a:chOff x="4296064" y="1520476"/>
              <a:chExt cx="3340925" cy="3817048"/>
            </a:xfrm>
          </p:grpSpPr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3DE8A267-84DA-1D30-9137-38FD2B635DBD}"/>
                  </a:ext>
                </a:extLst>
              </p:cNvPr>
              <p:cNvSpPr txBox="1"/>
              <p:nvPr/>
            </p:nvSpPr>
            <p:spPr>
              <a:xfrm>
                <a:off x="4296064" y="1520476"/>
                <a:ext cx="3340925" cy="584775"/>
              </a:xfrm>
              <a:prstGeom prst="rect">
                <a:avLst/>
              </a:prstGeom>
              <a:solidFill>
                <a:schemeClr val="accent4"/>
              </a:solidFill>
              <a:ln w="28575">
                <a:solidFill>
                  <a:schemeClr val="accent4"/>
                </a:solidFill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GB" sz="1600" noProof="0">
                    <a:solidFill>
                      <a:schemeClr val="bg1"/>
                    </a:solidFill>
                  </a:rPr>
                  <a:t>Mucus plug score can change </a:t>
                </a:r>
                <a:br>
                  <a:rPr lang="en-GB" sz="1600" noProof="0">
                    <a:solidFill>
                      <a:schemeClr val="bg1"/>
                    </a:solidFill>
                  </a:rPr>
                </a:br>
                <a:r>
                  <a:rPr lang="en-GB" sz="1600" noProof="0">
                    <a:solidFill>
                      <a:schemeClr val="bg1"/>
                    </a:solidFill>
                  </a:rPr>
                  <a:t>over time…</a:t>
                </a:r>
                <a:r>
                  <a:rPr lang="en-GB" sz="1600" baseline="30000" noProof="0">
                    <a:solidFill>
                      <a:schemeClr val="bg1"/>
                    </a:solidFill>
                  </a:rPr>
                  <a:t>a</a:t>
                </a:r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F367571B-C521-39AF-85A9-D5B967131D97}"/>
                  </a:ext>
                </a:extLst>
              </p:cNvPr>
              <p:cNvSpPr/>
              <p:nvPr/>
            </p:nvSpPr>
            <p:spPr>
              <a:xfrm>
                <a:off x="4296064" y="1520476"/>
                <a:ext cx="3340925" cy="3817048"/>
              </a:xfrm>
              <a:prstGeom prst="rect">
                <a:avLst/>
              </a:prstGeom>
              <a:noFill/>
              <a:ln w="2857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E60FD98-F708-4D0D-892D-F30C3A9CB35F}"/>
              </a:ext>
            </a:extLst>
          </p:cNvPr>
          <p:cNvGrpSpPr/>
          <p:nvPr/>
        </p:nvGrpSpPr>
        <p:grpSpPr>
          <a:xfrm>
            <a:off x="8297030" y="1596677"/>
            <a:ext cx="3340925" cy="3817048"/>
            <a:chOff x="8297030" y="1520476"/>
            <a:chExt cx="3340925" cy="3817048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8D450C2D-2CB6-BB40-D336-33DE18F2317F}"/>
                </a:ext>
              </a:extLst>
            </p:cNvPr>
            <p:cNvGrpSpPr/>
            <p:nvPr/>
          </p:nvGrpSpPr>
          <p:grpSpPr>
            <a:xfrm>
              <a:off x="9188282" y="2486376"/>
              <a:ext cx="2261510" cy="2730579"/>
              <a:chOff x="8798772" y="2587065"/>
              <a:chExt cx="2261510" cy="2730579"/>
            </a:xfrm>
          </p:grpSpPr>
          <p:pic>
            <p:nvPicPr>
              <p:cNvPr id="35" name="Picture 34">
                <a:extLst>
                  <a:ext uri="{FF2B5EF4-FFF2-40B4-BE49-F238E27FC236}">
                    <a16:creationId xmlns:a16="http://schemas.microsoft.com/office/drawing/2014/main" id="{DDF47243-DBF6-EE81-6880-EF58D59A53C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rcRect l="41914" r="23003"/>
              <a:stretch/>
            </p:blipFill>
            <p:spPr>
              <a:xfrm>
                <a:off x="8874704" y="2656439"/>
                <a:ext cx="2185578" cy="2661205"/>
              </a:xfrm>
              <a:prstGeom prst="rect">
                <a:avLst/>
              </a:prstGeom>
            </p:spPr>
          </p:pic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50C505B6-85BA-DDC1-F591-328391E328B9}"/>
                  </a:ext>
                </a:extLst>
              </p:cNvPr>
              <p:cNvSpPr/>
              <p:nvPr/>
            </p:nvSpPr>
            <p:spPr>
              <a:xfrm>
                <a:off x="8798772" y="2587065"/>
                <a:ext cx="389510" cy="38918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633D0089-B276-C77F-E0C3-2D35FA326CF8}"/>
                </a:ext>
              </a:extLst>
            </p:cNvPr>
            <p:cNvGrpSpPr/>
            <p:nvPr/>
          </p:nvGrpSpPr>
          <p:grpSpPr>
            <a:xfrm>
              <a:off x="8297030" y="1520476"/>
              <a:ext cx="3340925" cy="3817048"/>
              <a:chOff x="4296064" y="1520476"/>
              <a:chExt cx="3340925" cy="3817048"/>
            </a:xfrm>
          </p:grpSpPr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66B11C76-87E0-2099-D521-A5A10C474B98}"/>
                  </a:ext>
                </a:extLst>
              </p:cNvPr>
              <p:cNvSpPr txBox="1"/>
              <p:nvPr/>
            </p:nvSpPr>
            <p:spPr>
              <a:xfrm>
                <a:off x="4296064" y="1520476"/>
                <a:ext cx="3340925" cy="584775"/>
              </a:xfrm>
              <a:prstGeom prst="rect">
                <a:avLst/>
              </a:prstGeom>
              <a:solidFill>
                <a:schemeClr val="accent4"/>
              </a:solidFill>
              <a:ln w="28575">
                <a:solidFill>
                  <a:schemeClr val="accent4"/>
                </a:solidFill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GB" sz="1600" noProof="0">
                    <a:solidFill>
                      <a:schemeClr val="bg1"/>
                    </a:solidFill>
                  </a:rPr>
                  <a:t>…but they often persist in the same segment of the airway</a:t>
                </a:r>
                <a:endParaRPr lang="en-GB" sz="1600" baseline="30000" noProof="0">
                  <a:solidFill>
                    <a:schemeClr val="bg1"/>
                  </a:solidFill>
                </a:endParaRPr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B71A5D81-B386-9E9E-A38D-0C4CBEDEFD72}"/>
                  </a:ext>
                </a:extLst>
              </p:cNvPr>
              <p:cNvSpPr/>
              <p:nvPr/>
            </p:nvSpPr>
            <p:spPr>
              <a:xfrm>
                <a:off x="4296064" y="1520476"/>
                <a:ext cx="3340925" cy="3817048"/>
              </a:xfrm>
              <a:prstGeom prst="rect">
                <a:avLst/>
              </a:prstGeom>
              <a:noFill/>
              <a:ln w="2857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7F094739-497C-D23E-45E4-0DA2DB1D64AC}"/>
              </a:ext>
            </a:extLst>
          </p:cNvPr>
          <p:cNvSpPr/>
          <p:nvPr/>
        </p:nvSpPr>
        <p:spPr>
          <a:xfrm>
            <a:off x="6481635" y="2555559"/>
            <a:ext cx="693085" cy="6675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E696CE69-BE85-1648-9B37-63590F8B7A42}"/>
              </a:ext>
            </a:extLst>
          </p:cNvPr>
          <p:cNvGrpSpPr/>
          <p:nvPr/>
        </p:nvGrpSpPr>
        <p:grpSpPr>
          <a:xfrm>
            <a:off x="6752028" y="2407463"/>
            <a:ext cx="988724" cy="1021537"/>
            <a:chOff x="6752028" y="2407463"/>
            <a:chExt cx="988724" cy="1021537"/>
          </a:xfrm>
        </p:grpSpPr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A3DF012C-C42B-B972-FF61-5F8BF2D5C98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l="32239" r="59475" b="75216"/>
            <a:stretch>
              <a:fillRect/>
            </a:stretch>
          </p:blipFill>
          <p:spPr>
            <a:xfrm>
              <a:off x="6931623" y="2615424"/>
              <a:ext cx="636672" cy="813576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B1E94042-B42F-BB61-7412-2294C8E35135}"/>
                </a:ext>
              </a:extLst>
            </p:cNvPr>
            <p:cNvSpPr txBox="1"/>
            <p:nvPr/>
          </p:nvSpPr>
          <p:spPr>
            <a:xfrm>
              <a:off x="6752028" y="2407463"/>
              <a:ext cx="98872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200" b="1">
                  <a:solidFill>
                    <a:srgbClr val="060707"/>
                  </a:solidFill>
                </a:rPr>
                <a:t>Number of mucus plugs</a:t>
              </a: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16A8DCEE-CB44-5035-4AE4-4B5700D7BBFF}"/>
              </a:ext>
            </a:extLst>
          </p:cNvPr>
          <p:cNvSpPr txBox="1"/>
          <p:nvPr/>
        </p:nvSpPr>
        <p:spPr>
          <a:xfrm>
            <a:off x="4897324" y="4857809"/>
            <a:ext cx="900000" cy="52200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400" b="1">
                <a:solidFill>
                  <a:srgbClr val="060707"/>
                </a:solidFill>
              </a:rPr>
              <a:t>SARP 1/2</a:t>
            </a:r>
            <a:br>
              <a:rPr lang="en-GB" sz="1400" b="1">
                <a:solidFill>
                  <a:srgbClr val="060707"/>
                </a:solidFill>
              </a:rPr>
            </a:br>
            <a:r>
              <a:rPr lang="en-GB" sz="1400">
                <a:solidFill>
                  <a:srgbClr val="060707"/>
                </a:solidFill>
              </a:rPr>
              <a:t>Year 1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6A5982B9-C905-EDF3-FDA0-847F0D71E7B7}"/>
              </a:ext>
            </a:extLst>
          </p:cNvPr>
          <p:cNvSpPr txBox="1"/>
          <p:nvPr/>
        </p:nvSpPr>
        <p:spPr>
          <a:xfrm>
            <a:off x="5891405" y="4857809"/>
            <a:ext cx="864000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400" b="1">
                <a:solidFill>
                  <a:srgbClr val="060707"/>
                </a:solidFill>
              </a:rPr>
              <a:t>SARP 3</a:t>
            </a:r>
            <a:br>
              <a:rPr lang="en-GB" sz="1400">
                <a:solidFill>
                  <a:srgbClr val="060707"/>
                </a:solidFill>
              </a:rPr>
            </a:br>
            <a:r>
              <a:rPr lang="en-GB" sz="1400">
                <a:solidFill>
                  <a:srgbClr val="060707"/>
                </a:solidFill>
              </a:rPr>
              <a:t>Year 3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C1423C0-2701-2D74-AE5A-7FCE96ADCD54}"/>
              </a:ext>
            </a:extLst>
          </p:cNvPr>
          <p:cNvSpPr txBox="1"/>
          <p:nvPr/>
        </p:nvSpPr>
        <p:spPr>
          <a:xfrm>
            <a:off x="8475141" y="2330577"/>
            <a:ext cx="316281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b="1">
                <a:solidFill>
                  <a:srgbClr val="060707"/>
                </a:solidFill>
              </a:rPr>
              <a:t>Quantification of plugs at 3 year rescan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B1FCAD28-8582-A9EB-4300-2FD5391BBAE2}"/>
              </a:ext>
            </a:extLst>
          </p:cNvPr>
          <p:cNvGrpSpPr/>
          <p:nvPr/>
        </p:nvGrpSpPr>
        <p:grpSpPr>
          <a:xfrm>
            <a:off x="2788115" y="2407463"/>
            <a:ext cx="988724" cy="1021537"/>
            <a:chOff x="6752028" y="2407463"/>
            <a:chExt cx="988724" cy="1021537"/>
          </a:xfrm>
        </p:grpSpPr>
        <p:pic>
          <p:nvPicPr>
            <p:cNvPr id="45" name="Picture 44">
              <a:extLst>
                <a:ext uri="{FF2B5EF4-FFF2-40B4-BE49-F238E27FC236}">
                  <a16:creationId xmlns:a16="http://schemas.microsoft.com/office/drawing/2014/main" id="{29B9FCC2-AC11-BB38-31CA-A199C4642F0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l="32239" r="59475" b="75216"/>
            <a:stretch>
              <a:fillRect/>
            </a:stretch>
          </p:blipFill>
          <p:spPr>
            <a:xfrm>
              <a:off x="6931623" y="2615424"/>
              <a:ext cx="636672" cy="813576"/>
            </a:xfrm>
            <a:prstGeom prst="rect">
              <a:avLst/>
            </a:prstGeom>
          </p:spPr>
        </p:pic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4AF210F2-CF23-4A46-8E58-6A38E6AC2D7E}"/>
                </a:ext>
              </a:extLst>
            </p:cNvPr>
            <p:cNvSpPr txBox="1"/>
            <p:nvPr/>
          </p:nvSpPr>
          <p:spPr>
            <a:xfrm>
              <a:off x="6752028" y="2407463"/>
              <a:ext cx="98872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200" b="1">
                  <a:solidFill>
                    <a:srgbClr val="060707"/>
                  </a:solidFill>
                </a:rPr>
                <a:t>Number of mucus plug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669241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8C5349-8ADE-1697-E11C-43FB73C49E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In asthma, sputum eosinophils positively correlate with mucus plug score</a:t>
            </a:r>
          </a:p>
        </p:txBody>
      </p:sp>
      <p:sp>
        <p:nvSpPr>
          <p:cNvPr id="5" name="Content Placeholder 10">
            <a:extLst>
              <a:ext uri="{FF2B5EF4-FFF2-40B4-BE49-F238E27FC236}">
                <a16:creationId xmlns:a16="http://schemas.microsoft.com/office/drawing/2014/main" id="{5C948BCA-4DE9-1F83-F5EA-A692CEE8E9E1}"/>
              </a:ext>
            </a:extLst>
          </p:cNvPr>
          <p:cNvSpPr txBox="1">
            <a:spLocks/>
          </p:cNvSpPr>
          <p:nvPr/>
        </p:nvSpPr>
        <p:spPr>
          <a:xfrm>
            <a:off x="7028806" y="2319220"/>
            <a:ext cx="4769470" cy="31396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288000" indent="-288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Tx/>
              <a:buBlip>
                <a:blip r:embed="rId2"/>
              </a:buBlip>
              <a:defRPr lang="en-US" sz="2000" b="0" i="0" kern="1200">
                <a:solidFill>
                  <a:schemeClr val="tx1"/>
                </a:solidFill>
                <a:latin typeface="Calibri" panose="020F0502020204030204" pitchFamily="34" charset="0"/>
                <a:ea typeface="Roboto" panose="02000000000000000000" pitchFamily="2" charset="0"/>
                <a:cs typeface="Calibri" panose="020F05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7655" indent="-287655"/>
            <a:r>
              <a:rPr lang="en-GB">
                <a:latin typeface="Calibri"/>
                <a:ea typeface="Roboto"/>
                <a:cs typeface="Calibri"/>
              </a:rPr>
              <a:t>In a study of patients with moderate to severe </a:t>
            </a:r>
            <a:r>
              <a:rPr lang="en-GB" b="1">
                <a:latin typeface="Calibri"/>
                <a:ea typeface="Roboto"/>
                <a:cs typeface="Calibri"/>
              </a:rPr>
              <a:t>asthma</a:t>
            </a:r>
            <a:r>
              <a:rPr lang="en-GB">
                <a:latin typeface="Calibri"/>
                <a:ea typeface="Roboto"/>
                <a:cs typeface="Calibri"/>
              </a:rPr>
              <a:t>:</a:t>
            </a:r>
          </a:p>
          <a:p>
            <a:pPr marL="687600" indent="-23040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altLang="en-US" sz="1800" b="1">
                <a:latin typeface="+mn-lt"/>
              </a:rPr>
              <a:t>Higher mucus scores</a:t>
            </a:r>
            <a:r>
              <a:rPr lang="en-US" altLang="en-US" sz="1800">
                <a:latin typeface="+mn-lt"/>
              </a:rPr>
              <a:t> were associated with </a:t>
            </a:r>
            <a:r>
              <a:rPr lang="en-US" altLang="en-US" sz="1800" b="1">
                <a:latin typeface="+mn-lt"/>
              </a:rPr>
              <a:t>reduced lung function</a:t>
            </a:r>
            <a:r>
              <a:rPr lang="en-US" altLang="en-US" sz="1800">
                <a:latin typeface="+mn-lt"/>
              </a:rPr>
              <a:t> (lower FEV₁, FEV₁/FVC, FVC)</a:t>
            </a:r>
          </a:p>
          <a:p>
            <a:pPr marL="687600" indent="-23040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GB" altLang="en-US" sz="1800">
                <a:latin typeface="+mn-lt"/>
              </a:rPr>
              <a:t>No association between mucus score and </a:t>
            </a:r>
            <a:r>
              <a:rPr lang="en-GB" altLang="en-US" sz="1800" b="1">
                <a:latin typeface="+mn-lt"/>
              </a:rPr>
              <a:t>blood eosinophilia </a:t>
            </a:r>
            <a:r>
              <a:rPr lang="en-GB" altLang="en-US" sz="1800">
                <a:latin typeface="+mn-lt"/>
              </a:rPr>
              <a:t>or </a:t>
            </a:r>
            <a:r>
              <a:rPr lang="en-GB" altLang="en-US" sz="1800" b="1">
                <a:latin typeface="+mn-lt"/>
              </a:rPr>
              <a:t>serum </a:t>
            </a:r>
            <a:r>
              <a:rPr lang="en-GB" altLang="en-US" sz="1800" b="1" err="1">
                <a:latin typeface="+mn-lt"/>
              </a:rPr>
              <a:t>IgE</a:t>
            </a:r>
            <a:r>
              <a:rPr lang="en-GB" altLang="en-US" sz="1800" b="1">
                <a:latin typeface="+mn-lt"/>
              </a:rPr>
              <a:t> level </a:t>
            </a:r>
            <a:r>
              <a:rPr lang="en-GB" altLang="en-US" sz="1800">
                <a:latin typeface="+mn-lt"/>
              </a:rPr>
              <a:t>was demonstrated</a:t>
            </a:r>
            <a:endParaRPr lang="en-GB">
              <a:latin typeface="Calibri"/>
              <a:ea typeface="Roboto"/>
              <a:cs typeface="Calibri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28BEEE3-C8A1-8D6C-AD85-DC67CC40F9B2}"/>
              </a:ext>
            </a:extLst>
          </p:cNvPr>
          <p:cNvSpPr/>
          <p:nvPr/>
        </p:nvSpPr>
        <p:spPr>
          <a:xfrm>
            <a:off x="457522" y="4506423"/>
            <a:ext cx="410344" cy="4984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2E314B9-00BF-27E6-6A60-07EEC2FCCA28}"/>
              </a:ext>
            </a:extLst>
          </p:cNvPr>
          <p:cNvSpPr/>
          <p:nvPr/>
        </p:nvSpPr>
        <p:spPr>
          <a:xfrm>
            <a:off x="3390852" y="4417572"/>
            <a:ext cx="410344" cy="4984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2FD596D-1C07-CDA6-5D61-160A6CCF225A}"/>
              </a:ext>
            </a:extLst>
          </p:cNvPr>
          <p:cNvSpPr txBox="1"/>
          <p:nvPr/>
        </p:nvSpPr>
        <p:spPr>
          <a:xfrm>
            <a:off x="393724" y="1464225"/>
            <a:ext cx="6323456" cy="646331"/>
          </a:xfrm>
          <a:prstGeom prst="rect">
            <a:avLst/>
          </a:prstGeom>
          <a:solidFill>
            <a:schemeClr val="accent4"/>
          </a:solidFill>
          <a:ln w="28575">
            <a:solidFill>
              <a:schemeClr val="accent4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GB">
                <a:solidFill>
                  <a:schemeClr val="bg1"/>
                </a:solidFill>
              </a:rPr>
              <a:t>Correlation between the airways inflammation and mucus score according to smoking status.</a:t>
            </a:r>
            <a:endParaRPr lang="en-GB" baseline="30000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89F8D3F-C3F3-2F0E-C615-51D83B609664}"/>
              </a:ext>
            </a:extLst>
          </p:cNvPr>
          <p:cNvSpPr/>
          <p:nvPr/>
        </p:nvSpPr>
        <p:spPr>
          <a:xfrm>
            <a:off x="393724" y="1496954"/>
            <a:ext cx="6323457" cy="4492961"/>
          </a:xfrm>
          <a:prstGeom prst="rect">
            <a:avLst/>
          </a:prstGeom>
          <a:noFill/>
          <a:ln w="28575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CE4C28F-614E-E80A-0C3C-60D9171AF01C}"/>
              </a:ext>
            </a:extLst>
          </p:cNvPr>
          <p:cNvSpPr/>
          <p:nvPr/>
        </p:nvSpPr>
        <p:spPr>
          <a:xfrm>
            <a:off x="522771" y="4153800"/>
            <a:ext cx="224287" cy="362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68C1DB-BDCC-E4D3-9B13-912D95BADC03}"/>
              </a:ext>
            </a:extLst>
          </p:cNvPr>
          <p:cNvSpPr/>
          <p:nvPr/>
        </p:nvSpPr>
        <p:spPr>
          <a:xfrm>
            <a:off x="2625269" y="4153800"/>
            <a:ext cx="224287" cy="362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906D079-1305-D30A-A671-D5D1DB66E09A}"/>
              </a:ext>
            </a:extLst>
          </p:cNvPr>
          <p:cNvSpPr/>
          <p:nvPr/>
        </p:nvSpPr>
        <p:spPr>
          <a:xfrm>
            <a:off x="4485121" y="4153800"/>
            <a:ext cx="224287" cy="362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Footer Placeholder 8">
            <a:extLst>
              <a:ext uri="{FF2B5EF4-FFF2-40B4-BE49-F238E27FC236}">
                <a16:creationId xmlns:a16="http://schemas.microsoft.com/office/drawing/2014/main" id="{2668B422-5E57-2C8F-BD53-72FB0E1EC4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8282" y="6303600"/>
            <a:ext cx="10512000" cy="288000"/>
          </a:xfrm>
        </p:spPr>
        <p:txBody>
          <a:bodyPr/>
          <a:lstStyle/>
          <a:p>
            <a:r>
              <a:rPr lang="en-GB" sz="800" dirty="0"/>
              <a:t>FEV</a:t>
            </a:r>
            <a:r>
              <a:rPr lang="en-GB" sz="800" baseline="-25000" dirty="0"/>
              <a:t>1</a:t>
            </a:r>
            <a:r>
              <a:rPr lang="en-GB" sz="800" dirty="0"/>
              <a:t>, forced expiratory volume in 1 second; FVC, forced vital capacity; </a:t>
            </a:r>
            <a:r>
              <a:rPr lang="en-GB" sz="800" dirty="0" err="1"/>
              <a:t>IgE</a:t>
            </a:r>
            <a:r>
              <a:rPr lang="en-GB" sz="800" dirty="0"/>
              <a:t>, immunoglobulin E.   </a:t>
            </a:r>
            <a:br>
              <a:rPr lang="en-GB" sz="800" dirty="0"/>
            </a:br>
            <a:r>
              <a:rPr lang="en-GB" sz="800" dirty="0" err="1"/>
              <a:t>Audousset</a:t>
            </a:r>
            <a:r>
              <a:rPr lang="en-GB" sz="800" dirty="0"/>
              <a:t> C, et al. Respir Res. 2024;25:52</a:t>
            </a:r>
            <a:br>
              <a:rPr lang="en-GB" sz="800" noProof="0" dirty="0"/>
            </a:b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656665"/>
                </a:solidFill>
                <a:effectLst/>
                <a:uLnTx/>
                <a:uFillTx/>
              </a:rPr>
              <a:t>GB-73345 | Date of preparation: </a:t>
            </a:r>
            <a:r>
              <a:rPr lang="en-GB" sz="800" spc="0" dirty="0">
                <a:solidFill>
                  <a:srgbClr val="656665"/>
                </a:solidFill>
              </a:rPr>
              <a:t>March 2026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656665"/>
              </a:solidFill>
              <a:effectLst/>
              <a:uLnTx/>
              <a:uFillTx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F8031575-6124-D795-EF0A-9B0E6785D9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2307" y="2123653"/>
            <a:ext cx="5344036" cy="3853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64257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6BAB6E-5293-D136-D5D9-B1B7893224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50E9C10-DCA4-19F6-8EDA-7B7BEB3823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Ins="0"/>
          <a:lstStyle/>
          <a:p>
            <a:r>
              <a:rPr lang="en-GB" noProof="0"/>
              <a:t>Mucus plugs are local “hot spots” of inflammation</a:t>
            </a:r>
            <a:endParaRPr lang="en-GB" baseline="30000" noProof="0"/>
          </a:p>
        </p:txBody>
      </p:sp>
      <p:sp>
        <p:nvSpPr>
          <p:cNvPr id="8" name="Footer Placeholder 8">
            <a:extLst>
              <a:ext uri="{FF2B5EF4-FFF2-40B4-BE49-F238E27FC236}">
                <a16:creationId xmlns:a16="http://schemas.microsoft.com/office/drawing/2014/main" id="{EE30F45C-42B3-D100-780A-6994755261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z="800" dirty="0"/>
              <a:t>Figure adapted from Aegerter H, Lambrecht BN. Annu Rev </a:t>
            </a:r>
            <a:r>
              <a:rPr lang="en-GB" sz="800" dirty="0" err="1"/>
              <a:t>Pathol</a:t>
            </a:r>
            <a:r>
              <a:rPr lang="en-GB" sz="800" dirty="0"/>
              <a:t>. 2023;18:387-409. </a:t>
            </a:r>
            <a:br>
              <a:rPr lang="en-GB" sz="800" noProof="0" dirty="0"/>
            </a:br>
            <a:r>
              <a:rPr lang="en-GB" sz="800" noProof="0" dirty="0"/>
              <a:t>PAS, periodic acid–Schiff.</a:t>
            </a:r>
          </a:p>
          <a:p>
            <a:r>
              <a:rPr lang="en-GB" sz="800" noProof="0" dirty="0"/>
              <a:t>1. Aegerter H, Lambrecht BN. Annu Rev </a:t>
            </a:r>
            <a:r>
              <a:rPr lang="en-GB" sz="800" noProof="0" dirty="0" err="1"/>
              <a:t>Pathol</a:t>
            </a:r>
            <a:r>
              <a:rPr lang="en-GB" sz="800" noProof="0" dirty="0"/>
              <a:t>. 2023;18:387-409; 2. Persson EK, et al. Science. 2019;364(6442):eaaw4295. </a:t>
            </a:r>
            <a:br>
              <a:rPr lang="en-GB" sz="800" noProof="0" dirty="0"/>
            </a:br>
            <a:r>
              <a:rPr lang="en-GB" sz="800" spc="0" dirty="0">
                <a:solidFill>
                  <a:srgbClr val="656665"/>
                </a:solidFill>
              </a:rPr>
              <a:t>GB-73345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656665"/>
                </a:solidFill>
                <a:effectLst/>
                <a:uLnTx/>
                <a:uFillTx/>
              </a:rPr>
              <a:t> | Date of preparation: </a:t>
            </a:r>
            <a:r>
              <a:rPr lang="en-GB" sz="800" spc="0" dirty="0">
                <a:solidFill>
                  <a:srgbClr val="656665"/>
                </a:solidFill>
              </a:rPr>
              <a:t>March 2026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656665"/>
              </a:solidFill>
              <a:effectLst/>
              <a:uLnTx/>
              <a:uFillTx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FDFD3EA-5CF5-6E33-5940-0FF3086022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8BAEAC-A895-4A01-AB9B-F6141799970D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9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E422FE8-74B6-7B7C-8328-02F5EB6A4AAC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8425" y="2890037"/>
            <a:ext cx="6545947" cy="3036876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C4DD5E85-F909-45A7-83ED-F3F985F4BE99}"/>
              </a:ext>
            </a:extLst>
          </p:cNvPr>
          <p:cNvSpPr txBox="1"/>
          <p:nvPr/>
        </p:nvSpPr>
        <p:spPr>
          <a:xfrm>
            <a:off x="495600" y="1406602"/>
            <a:ext cx="11200800" cy="132343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lvl="0">
              <a:defRPr/>
            </a:pPr>
            <a:r>
              <a:rPr lang="en-GB" sz="2000" noProof="0"/>
              <a:t>Mucus plugs are a </a:t>
            </a:r>
            <a:r>
              <a:rPr lang="en-GB" sz="2000" b="1" noProof="0"/>
              <a:t>characteristic</a:t>
            </a:r>
            <a:r>
              <a:rPr lang="en-GB" sz="2000" noProof="0"/>
              <a:t> of severe and fatal asthma and contain </a:t>
            </a:r>
            <a:r>
              <a:rPr lang="en-GB" sz="2000" b="1" noProof="0"/>
              <a:t>eosinophils</a:t>
            </a:r>
            <a:r>
              <a:rPr lang="en-GB" sz="2000" noProof="0"/>
              <a:t> and </a:t>
            </a:r>
            <a:r>
              <a:rPr lang="en-GB" sz="2000" b="1" noProof="0"/>
              <a:t>Charcot–Leyden crystals </a:t>
            </a:r>
            <a:r>
              <a:rPr lang="en-GB" sz="2000" noProof="0"/>
              <a:t>(CLCs)</a:t>
            </a:r>
            <a:r>
              <a:rPr lang="en-GB" sz="2000" baseline="30000" noProof="0"/>
              <a:t>1</a:t>
            </a:r>
          </a:p>
          <a:p>
            <a: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/>
            </a:pPr>
            <a:r>
              <a:rPr lang="en-GB" sz="2000" noProof="0"/>
              <a:t>CLCs in mucus </a:t>
            </a:r>
            <a:r>
              <a:rPr lang="en-GB" sz="2000"/>
              <a:t>plugs </a:t>
            </a:r>
            <a:r>
              <a:rPr lang="en-GB" sz="2000" noProof="0"/>
              <a:t>can cause</a:t>
            </a:r>
            <a:r>
              <a:rPr lang="en-GB" sz="2000"/>
              <a:t> localised inflammation, induction</a:t>
            </a:r>
            <a:r>
              <a:rPr lang="en-GB" sz="2000" noProof="0"/>
              <a:t> </a:t>
            </a:r>
            <a:r>
              <a:rPr lang="en-GB" sz="2000"/>
              <a:t>of mucus and entanglement of</a:t>
            </a:r>
            <a:r>
              <a:rPr lang="en-GB" sz="2000" noProof="0"/>
              <a:t> mucin polymers, which tether the plug to the airway</a:t>
            </a:r>
            <a:r>
              <a:rPr lang="en-GB" sz="2000" baseline="30000" noProof="0"/>
              <a:t>1,2</a:t>
            </a:r>
            <a:endParaRPr lang="en-GB" sz="2000" baseline="30000" noProof="0"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708173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AC4A06-C90A-AF0E-67F6-6BF0C9C571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D8E0D61-B264-1DBC-5EAA-185DF5E1DB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281" y="180000"/>
            <a:ext cx="8817391" cy="720000"/>
          </a:xfrm>
        </p:spPr>
        <p:txBody>
          <a:bodyPr rIns="0"/>
          <a:lstStyle/>
          <a:p>
            <a:r>
              <a:rPr lang="en-GB" noProof="0"/>
              <a:t>Mucus plugs are local “hot spots” of granulocyte inflammation</a:t>
            </a:r>
            <a:endParaRPr lang="en-GB" baseline="30000" noProof="0"/>
          </a:p>
        </p:txBody>
      </p:sp>
      <p:sp>
        <p:nvSpPr>
          <p:cNvPr id="8" name="Footer Placeholder 8">
            <a:extLst>
              <a:ext uri="{FF2B5EF4-FFF2-40B4-BE49-F238E27FC236}">
                <a16:creationId xmlns:a16="http://schemas.microsoft.com/office/drawing/2014/main" id="{7354BF7F-96A3-B747-0E70-6B71729C62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z="800" dirty="0"/>
              <a:t>Eos, eosinophils; </a:t>
            </a:r>
            <a:r>
              <a:rPr lang="en-GB" sz="800" dirty="0" err="1"/>
              <a:t>Neut</a:t>
            </a:r>
            <a:r>
              <a:rPr lang="en-GB" sz="800" dirty="0"/>
              <a:t>, neutrophils; </a:t>
            </a:r>
            <a:r>
              <a:rPr lang="en-GB" sz="800" noProof="0" dirty="0"/>
              <a:t>PAS, periodic acid–Schiff</a:t>
            </a:r>
            <a:r>
              <a:rPr lang="en-GB" sz="800" dirty="0"/>
              <a:t>.</a:t>
            </a:r>
            <a:endParaRPr lang="en-GB" sz="800" noProof="0" dirty="0"/>
          </a:p>
          <a:p>
            <a:r>
              <a:rPr lang="en-GB" sz="800" noProof="0" dirty="0"/>
              <a:t>Mummy DG, et al. </a:t>
            </a:r>
            <a:r>
              <a:rPr lang="en-GB" sz="800" noProof="0" dirty="0" err="1"/>
              <a:t>Physiol</a:t>
            </a:r>
            <a:r>
              <a:rPr lang="en-GB" sz="800" noProof="0" dirty="0"/>
              <a:t> Rep. 2025;13(4):e70119.</a:t>
            </a:r>
            <a:br>
              <a:rPr lang="en-GB" sz="800" noProof="0" dirty="0"/>
            </a:br>
            <a:r>
              <a:rPr lang="en-GB" sz="800" spc="0" dirty="0">
                <a:solidFill>
                  <a:srgbClr val="656665"/>
                </a:solidFill>
              </a:rPr>
              <a:t>GB-73345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656665"/>
                </a:solidFill>
                <a:effectLst/>
                <a:uLnTx/>
                <a:uFillTx/>
              </a:rPr>
              <a:t> | Date of preparation: </a:t>
            </a:r>
            <a:r>
              <a:rPr lang="en-GB" sz="800" spc="0" dirty="0">
                <a:solidFill>
                  <a:srgbClr val="656665"/>
                </a:solidFill>
              </a:rPr>
              <a:t>March 2026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656665"/>
              </a:solidFill>
              <a:effectLst/>
              <a:uLnTx/>
              <a:uFillTx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BC5B4B9-CD45-92F8-8629-700E818B84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8BAEAC-A895-4A01-AB9B-F6141799970D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9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1548179-12E9-6B09-4CD5-77BA9FD67F24}"/>
              </a:ext>
            </a:extLst>
          </p:cNvPr>
          <p:cNvSpPr txBox="1"/>
          <p:nvPr/>
        </p:nvSpPr>
        <p:spPr>
          <a:xfrm>
            <a:off x="-552646" y="1933588"/>
            <a:ext cx="65655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GB" sz="1350" b="1" noProof="0"/>
              <a:t>Comparison of defect and control sites in the same patients</a:t>
            </a:r>
          </a:p>
        </p:txBody>
      </p:sp>
      <p:pic>
        <p:nvPicPr>
          <p:cNvPr id="6" name="Picture 5" descr="A collage of images of different colors&#10;&#10;AI-generated content may be incorrect.">
            <a:extLst>
              <a:ext uri="{FF2B5EF4-FFF2-40B4-BE49-F238E27FC236}">
                <a16:creationId xmlns:a16="http://schemas.microsoft.com/office/drawing/2014/main" id="{2D57B6F2-F36D-EEDA-8516-110BBECC0C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0878" y="2230322"/>
            <a:ext cx="3042421" cy="389499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D8699B9-9A87-C91D-882E-F0B6C6D63751}"/>
              </a:ext>
            </a:extLst>
          </p:cNvPr>
          <p:cNvSpPr txBox="1"/>
          <p:nvPr/>
        </p:nvSpPr>
        <p:spPr>
          <a:xfrm>
            <a:off x="3638010" y="2666377"/>
            <a:ext cx="229663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GB" sz="1600" noProof="0"/>
              <a:t>Increased CD4 cells at the defect site</a:t>
            </a:r>
            <a:endParaRPr lang="en-GB" sz="1600" b="1" noProof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66A1B76-DA23-B54E-A65F-E99113F6B73A}"/>
              </a:ext>
            </a:extLst>
          </p:cNvPr>
          <p:cNvSpPr txBox="1"/>
          <p:nvPr/>
        </p:nvSpPr>
        <p:spPr>
          <a:xfrm>
            <a:off x="3638010" y="3733005"/>
            <a:ext cx="229663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GB" sz="1600" noProof="0"/>
              <a:t>Increased mucin and goblet cell hyperplasia at defect site</a:t>
            </a:r>
            <a:endParaRPr lang="en-GB" sz="1600" b="1" noProof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410850-48F9-C848-F65C-CC3D8FD03546}"/>
              </a:ext>
            </a:extLst>
          </p:cNvPr>
          <p:cNvSpPr txBox="1"/>
          <p:nvPr/>
        </p:nvSpPr>
        <p:spPr>
          <a:xfrm>
            <a:off x="3638010" y="4881188"/>
            <a:ext cx="229663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GB" sz="1600" noProof="0"/>
              <a:t>Stratified epithelium with </a:t>
            </a:r>
          </a:p>
          <a:p>
            <a:pPr lvl="0">
              <a:defRPr/>
            </a:pPr>
            <a:r>
              <a:rPr lang="en-GB" sz="1600" noProof="0"/>
              <a:t>squamous metaplasia and increased collagen at defect site</a:t>
            </a:r>
            <a:endParaRPr lang="en-GB" sz="1600" b="1" noProof="0"/>
          </a:p>
        </p:txBody>
      </p:sp>
      <p:pic>
        <p:nvPicPr>
          <p:cNvPr id="12" name="Picture 11" descr="A diagram of a cell&#10;&#10;AI-generated content may be incorrect.">
            <a:extLst>
              <a:ext uri="{FF2B5EF4-FFF2-40B4-BE49-F238E27FC236}">
                <a16:creationId xmlns:a16="http://schemas.microsoft.com/office/drawing/2014/main" id="{37AF84D9-3099-673D-879C-7755BB2DB7C3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27304" t="3785" r="49519"/>
          <a:stretch/>
        </p:blipFill>
        <p:spPr>
          <a:xfrm>
            <a:off x="9079097" y="3733005"/>
            <a:ext cx="2179309" cy="2079895"/>
          </a:xfrm>
          <a:prstGeom prst="rect">
            <a:avLst/>
          </a:prstGeom>
        </p:spPr>
      </p:pic>
      <p:pic>
        <p:nvPicPr>
          <p:cNvPr id="13" name="Picture 12" descr="A diagram of a cell&#10;&#10;AI-generated content may be incorrect.">
            <a:extLst>
              <a:ext uri="{FF2B5EF4-FFF2-40B4-BE49-F238E27FC236}">
                <a16:creationId xmlns:a16="http://schemas.microsoft.com/office/drawing/2014/main" id="{6D6732DD-959D-7245-53AE-DD184D66CDD7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49519" t="3785" r="27304"/>
          <a:stretch/>
        </p:blipFill>
        <p:spPr>
          <a:xfrm>
            <a:off x="6671516" y="3747984"/>
            <a:ext cx="2179309" cy="207989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75CE2D4-F89F-F52E-169A-D2F38F8A02A9}"/>
              </a:ext>
            </a:extLst>
          </p:cNvPr>
          <p:cNvSpPr txBox="1"/>
          <p:nvPr/>
        </p:nvSpPr>
        <p:spPr>
          <a:xfrm>
            <a:off x="6335486" y="2172396"/>
            <a:ext cx="5323763" cy="923330"/>
          </a:xfrm>
          <a:prstGeom prst="rect">
            <a:avLst/>
          </a:prstGeom>
          <a:solidFill>
            <a:schemeClr val="accent4"/>
          </a:solidFill>
          <a:ln w="28575">
            <a:solidFill>
              <a:schemeClr val="accent4"/>
            </a:solidFill>
          </a:ln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GB">
                <a:solidFill>
                  <a:schemeClr val="bg1"/>
                </a:solidFill>
              </a:rPr>
              <a:t>Eosinophils and neutrophils were </a:t>
            </a:r>
            <a:r>
              <a:rPr lang="en-GB" b="1">
                <a:solidFill>
                  <a:schemeClr val="bg1"/>
                </a:solidFill>
              </a:rPr>
              <a:t>increased</a:t>
            </a:r>
            <a:r>
              <a:rPr lang="en-GB">
                <a:solidFill>
                  <a:schemeClr val="bg1"/>
                </a:solidFill>
              </a:rPr>
              <a:t> in the defective areas compared to control areas in the same patien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071C83C-C651-CD31-C6FB-0320B5029960}"/>
              </a:ext>
            </a:extLst>
          </p:cNvPr>
          <p:cNvSpPr/>
          <p:nvPr/>
        </p:nvSpPr>
        <p:spPr>
          <a:xfrm>
            <a:off x="6335486" y="2172396"/>
            <a:ext cx="5323764" cy="3786010"/>
          </a:xfrm>
          <a:prstGeom prst="rect">
            <a:avLst/>
          </a:prstGeom>
          <a:noFill/>
          <a:ln w="28575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044095D-6F4C-6F00-B91A-26276473AC71}"/>
              </a:ext>
            </a:extLst>
          </p:cNvPr>
          <p:cNvSpPr txBox="1"/>
          <p:nvPr/>
        </p:nvSpPr>
        <p:spPr>
          <a:xfrm>
            <a:off x="7610742" y="3305923"/>
            <a:ext cx="11462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b="1"/>
              <a:t>Eosinophil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F24E9D9-DDE5-BB57-CD44-D80F5851CBAB}"/>
              </a:ext>
            </a:extLst>
          </p:cNvPr>
          <p:cNvSpPr txBox="1"/>
          <p:nvPr/>
        </p:nvSpPr>
        <p:spPr>
          <a:xfrm>
            <a:off x="9789166" y="3305923"/>
            <a:ext cx="118724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b="1"/>
              <a:t>Neutrophil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80F1E04-A0C3-AAD3-10A8-7B18A11102AC}"/>
              </a:ext>
            </a:extLst>
          </p:cNvPr>
          <p:cNvSpPr txBox="1"/>
          <p:nvPr/>
        </p:nvSpPr>
        <p:spPr>
          <a:xfrm>
            <a:off x="429325" y="1345849"/>
            <a:ext cx="1116708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/>
              <a:t>In a study of patients following a viral-induced asthma exacerbation, airway samples were collected from poorly and well-ventilated regions of the lungs and compared</a:t>
            </a:r>
          </a:p>
        </p:txBody>
      </p:sp>
    </p:spTree>
    <p:extLst>
      <p:ext uri="{BB962C8B-B14F-4D97-AF65-F5344CB8AC3E}">
        <p14:creationId xmlns:p14="http://schemas.microsoft.com/office/powerpoint/2010/main" val="35685011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" name="Group 56">
            <a:extLst>
              <a:ext uri="{FF2B5EF4-FFF2-40B4-BE49-F238E27FC236}">
                <a16:creationId xmlns:a16="http://schemas.microsoft.com/office/drawing/2014/main" id="{DE19EC54-55FA-9942-2AFD-94D2405377CF}"/>
              </a:ext>
            </a:extLst>
          </p:cNvPr>
          <p:cNvGrpSpPr/>
          <p:nvPr/>
        </p:nvGrpSpPr>
        <p:grpSpPr>
          <a:xfrm>
            <a:off x="1053049" y="4169933"/>
            <a:ext cx="3605570" cy="1386000"/>
            <a:chOff x="1046699" y="4301111"/>
            <a:chExt cx="3605570" cy="1386000"/>
          </a:xfrm>
        </p:grpSpPr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D650E063-1774-E134-0627-3B8985DFA637}"/>
                </a:ext>
              </a:extLst>
            </p:cNvPr>
            <p:cNvGrpSpPr/>
            <p:nvPr/>
          </p:nvGrpSpPr>
          <p:grpSpPr>
            <a:xfrm>
              <a:off x="4155881" y="4301111"/>
              <a:ext cx="496388" cy="1385999"/>
              <a:chOff x="4042954" y="4319262"/>
              <a:chExt cx="496388" cy="1471798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62B34EC3-8571-F7B5-8677-111B7B880A7E}"/>
                  </a:ext>
                </a:extLst>
              </p:cNvPr>
              <p:cNvSpPr/>
              <p:nvPr/>
            </p:nvSpPr>
            <p:spPr>
              <a:xfrm>
                <a:off x="4042954" y="4963886"/>
                <a:ext cx="496388" cy="827174"/>
              </a:xfrm>
              <a:prstGeom prst="rect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63676663-B5E8-F670-5AC0-A60574713331}"/>
                  </a:ext>
                </a:extLst>
              </p:cNvPr>
              <p:cNvGrpSpPr/>
              <p:nvPr/>
            </p:nvGrpSpPr>
            <p:grpSpPr>
              <a:xfrm>
                <a:off x="4145289" y="4319262"/>
                <a:ext cx="291718" cy="1101816"/>
                <a:chOff x="5804282" y="4047807"/>
                <a:chExt cx="291718" cy="291600"/>
              </a:xfrm>
            </p:grpSpPr>
            <p:cxnSp>
              <p:nvCxnSpPr>
                <p:cNvPr id="20" name="Straight Connector 19">
                  <a:extLst>
                    <a:ext uri="{FF2B5EF4-FFF2-40B4-BE49-F238E27FC236}">
                      <a16:creationId xmlns:a16="http://schemas.microsoft.com/office/drawing/2014/main" id="{C6027D1E-E79C-6A7D-D96A-9CC68875AE6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804282" y="4047807"/>
                  <a:ext cx="291718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Straight Connector 20">
                  <a:extLst>
                    <a:ext uri="{FF2B5EF4-FFF2-40B4-BE49-F238E27FC236}">
                      <a16:creationId xmlns:a16="http://schemas.microsoft.com/office/drawing/2014/main" id="{8FC47EFB-1F7A-AFAB-0386-4C58FA9FFF2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5804341" y="4193607"/>
                  <a:ext cx="291600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Straight Connector 21">
                  <a:extLst>
                    <a:ext uri="{FF2B5EF4-FFF2-40B4-BE49-F238E27FC236}">
                      <a16:creationId xmlns:a16="http://schemas.microsoft.com/office/drawing/2014/main" id="{2B19513F-6079-82B2-BD41-A4745ED06F3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804282" y="4339407"/>
                  <a:ext cx="291718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D948B3F9-B733-A60E-3A82-42D3F84331F8}"/>
                </a:ext>
              </a:extLst>
            </p:cNvPr>
            <p:cNvGrpSpPr/>
            <p:nvPr/>
          </p:nvGrpSpPr>
          <p:grpSpPr>
            <a:xfrm>
              <a:off x="3378587" y="4404965"/>
              <a:ext cx="496388" cy="1282146"/>
              <a:chOff x="3378587" y="4404965"/>
              <a:chExt cx="496388" cy="1282146"/>
            </a:xfrm>
          </p:grpSpPr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8807AA8B-F75D-98B7-EFEB-4C02E6D99730}"/>
                  </a:ext>
                </a:extLst>
              </p:cNvPr>
              <p:cNvSpPr/>
              <p:nvPr/>
            </p:nvSpPr>
            <p:spPr>
              <a:xfrm>
                <a:off x="3378587" y="5202321"/>
                <a:ext cx="496388" cy="48479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grpSp>
            <p:nvGrpSpPr>
              <p:cNvPr id="24" name="Group 23">
                <a:extLst>
                  <a:ext uri="{FF2B5EF4-FFF2-40B4-BE49-F238E27FC236}">
                    <a16:creationId xmlns:a16="http://schemas.microsoft.com/office/drawing/2014/main" id="{2D2E3625-D057-6871-A2FC-E26225C5C853}"/>
                  </a:ext>
                </a:extLst>
              </p:cNvPr>
              <p:cNvGrpSpPr/>
              <p:nvPr/>
            </p:nvGrpSpPr>
            <p:grpSpPr>
              <a:xfrm>
                <a:off x="3480922" y="4404965"/>
                <a:ext cx="291718" cy="1037585"/>
                <a:chOff x="5804282" y="4047807"/>
                <a:chExt cx="291718" cy="291600"/>
              </a:xfrm>
            </p:grpSpPr>
            <p:cxnSp>
              <p:nvCxnSpPr>
                <p:cNvPr id="25" name="Straight Connector 24">
                  <a:extLst>
                    <a:ext uri="{FF2B5EF4-FFF2-40B4-BE49-F238E27FC236}">
                      <a16:creationId xmlns:a16="http://schemas.microsoft.com/office/drawing/2014/main" id="{338D99A5-C192-2BB4-06E9-88A3701846A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804282" y="4047807"/>
                  <a:ext cx="291718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Straight Connector 25">
                  <a:extLst>
                    <a:ext uri="{FF2B5EF4-FFF2-40B4-BE49-F238E27FC236}">
                      <a16:creationId xmlns:a16="http://schemas.microsoft.com/office/drawing/2014/main" id="{C4CEFCDF-CDF5-4575-486D-F0731183606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5804341" y="4193607"/>
                  <a:ext cx="291600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Straight Connector 26">
                  <a:extLst>
                    <a:ext uri="{FF2B5EF4-FFF2-40B4-BE49-F238E27FC236}">
                      <a16:creationId xmlns:a16="http://schemas.microsoft.com/office/drawing/2014/main" id="{818B1C2B-3C3F-CDCC-F9C2-E6FBC070A29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804282" y="4339407"/>
                  <a:ext cx="291718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924EFDF2-FFC3-391E-2731-129A3DD0AF95}"/>
                </a:ext>
              </a:extLst>
            </p:cNvPr>
            <p:cNvGrpSpPr/>
            <p:nvPr/>
          </p:nvGrpSpPr>
          <p:grpSpPr>
            <a:xfrm>
              <a:off x="2601291" y="4578336"/>
              <a:ext cx="496388" cy="1108775"/>
              <a:chOff x="2527663" y="4613648"/>
              <a:chExt cx="496388" cy="1177412"/>
            </a:xfrm>
          </p:grpSpPr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6941B537-FC95-5E4C-BEB4-C41D454F275A}"/>
                  </a:ext>
                </a:extLst>
              </p:cNvPr>
              <p:cNvSpPr/>
              <p:nvPr/>
            </p:nvSpPr>
            <p:spPr>
              <a:xfrm>
                <a:off x="2527663" y="5395060"/>
                <a:ext cx="496388" cy="39600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C3146FC1-E827-A5F4-0B0B-25D9087EE68D}"/>
                  </a:ext>
                </a:extLst>
              </p:cNvPr>
              <p:cNvGrpSpPr/>
              <p:nvPr/>
            </p:nvGrpSpPr>
            <p:grpSpPr>
              <a:xfrm>
                <a:off x="2629998" y="4613648"/>
                <a:ext cx="291718" cy="964192"/>
                <a:chOff x="5804282" y="4047807"/>
                <a:chExt cx="291718" cy="291600"/>
              </a:xfrm>
            </p:grpSpPr>
            <p:cxnSp>
              <p:nvCxnSpPr>
                <p:cNvPr id="29" name="Straight Connector 28">
                  <a:extLst>
                    <a:ext uri="{FF2B5EF4-FFF2-40B4-BE49-F238E27FC236}">
                      <a16:creationId xmlns:a16="http://schemas.microsoft.com/office/drawing/2014/main" id="{3BE4E8A9-8656-B51E-64DD-D764FD79162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804282" y="4047807"/>
                  <a:ext cx="291718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Straight Connector 29">
                  <a:extLst>
                    <a:ext uri="{FF2B5EF4-FFF2-40B4-BE49-F238E27FC236}">
                      <a16:creationId xmlns:a16="http://schemas.microsoft.com/office/drawing/2014/main" id="{70244E59-CB22-0C4E-28B2-B44D1850DB5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5804341" y="4193607"/>
                  <a:ext cx="291600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Straight Connector 30">
                  <a:extLst>
                    <a:ext uri="{FF2B5EF4-FFF2-40B4-BE49-F238E27FC236}">
                      <a16:creationId xmlns:a16="http://schemas.microsoft.com/office/drawing/2014/main" id="{97DE1F6B-88B7-332C-EBC1-1ECE32F9E89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804282" y="4339407"/>
                  <a:ext cx="291718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606523E7-B599-F2FF-0F9E-5934D59DF24E}"/>
                </a:ext>
              </a:extLst>
            </p:cNvPr>
            <p:cNvGrpSpPr/>
            <p:nvPr/>
          </p:nvGrpSpPr>
          <p:grpSpPr>
            <a:xfrm>
              <a:off x="1823995" y="5229019"/>
              <a:ext cx="496388" cy="458091"/>
              <a:chOff x="1776549" y="5304611"/>
              <a:chExt cx="496388" cy="486449"/>
            </a:xfrm>
          </p:grpSpPr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572138E8-A5D4-835C-D23B-BCA52E19034E}"/>
                  </a:ext>
                </a:extLst>
              </p:cNvPr>
              <p:cNvSpPr/>
              <p:nvPr/>
            </p:nvSpPr>
            <p:spPr>
              <a:xfrm>
                <a:off x="1776549" y="5577839"/>
                <a:ext cx="496388" cy="213221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8289A1F4-60A2-AA99-24F9-98005A9BBCAB}"/>
                  </a:ext>
                </a:extLst>
              </p:cNvPr>
              <p:cNvGrpSpPr/>
              <p:nvPr/>
            </p:nvGrpSpPr>
            <p:grpSpPr>
              <a:xfrm>
                <a:off x="1878884" y="5304611"/>
                <a:ext cx="291718" cy="370800"/>
                <a:chOff x="5804282" y="4047807"/>
                <a:chExt cx="291718" cy="291600"/>
              </a:xfrm>
            </p:grpSpPr>
            <p:cxnSp>
              <p:nvCxnSpPr>
                <p:cNvPr id="34" name="Straight Connector 33">
                  <a:extLst>
                    <a:ext uri="{FF2B5EF4-FFF2-40B4-BE49-F238E27FC236}">
                      <a16:creationId xmlns:a16="http://schemas.microsoft.com/office/drawing/2014/main" id="{3BC23065-3AA7-B6F1-E8FB-13198D78705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804282" y="4047807"/>
                  <a:ext cx="291718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Straight Connector 34">
                  <a:extLst>
                    <a:ext uri="{FF2B5EF4-FFF2-40B4-BE49-F238E27FC236}">
                      <a16:creationId xmlns:a16="http://schemas.microsoft.com/office/drawing/2014/main" id="{907670F6-F550-D82E-E8AB-CC0EF0A4316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5804341" y="4193607"/>
                  <a:ext cx="291600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Straight Connector 35">
                  <a:extLst>
                    <a:ext uri="{FF2B5EF4-FFF2-40B4-BE49-F238E27FC236}">
                      <a16:creationId xmlns:a16="http://schemas.microsoft.com/office/drawing/2014/main" id="{58366257-056D-AB44-C34F-FF661130861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804282" y="4339407"/>
                  <a:ext cx="291718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794D2E50-83DC-F51D-56B3-56F76B68C860}"/>
                </a:ext>
              </a:extLst>
            </p:cNvPr>
            <p:cNvGrpSpPr/>
            <p:nvPr/>
          </p:nvGrpSpPr>
          <p:grpSpPr>
            <a:xfrm>
              <a:off x="1046699" y="5564095"/>
              <a:ext cx="496388" cy="123016"/>
              <a:chOff x="1025435" y="5660429"/>
              <a:chExt cx="496388" cy="130631"/>
            </a:xfrm>
          </p:grpSpPr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19E5A0AE-B163-9F48-D0AA-09307204DF4F}"/>
                  </a:ext>
                </a:extLst>
              </p:cNvPr>
              <p:cNvSpPr/>
              <p:nvPr/>
            </p:nvSpPr>
            <p:spPr>
              <a:xfrm>
                <a:off x="1025435" y="5696556"/>
                <a:ext cx="496388" cy="94504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3193898C-A96B-4E49-F015-9B43FD3A5B7F}"/>
                  </a:ext>
                </a:extLst>
              </p:cNvPr>
              <p:cNvGrpSpPr/>
              <p:nvPr/>
            </p:nvGrpSpPr>
            <p:grpSpPr>
              <a:xfrm>
                <a:off x="1127770" y="5660429"/>
                <a:ext cx="291718" cy="62237"/>
                <a:chOff x="5804282" y="4047807"/>
                <a:chExt cx="291718" cy="291600"/>
              </a:xfrm>
            </p:grpSpPr>
            <p:cxnSp>
              <p:nvCxnSpPr>
                <p:cNvPr id="38" name="Straight Connector 37">
                  <a:extLst>
                    <a:ext uri="{FF2B5EF4-FFF2-40B4-BE49-F238E27FC236}">
                      <a16:creationId xmlns:a16="http://schemas.microsoft.com/office/drawing/2014/main" id="{BE3F2008-4DCD-E33F-B742-5792D27309F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804282" y="4047807"/>
                  <a:ext cx="291718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Straight Connector 38">
                  <a:extLst>
                    <a:ext uri="{FF2B5EF4-FFF2-40B4-BE49-F238E27FC236}">
                      <a16:creationId xmlns:a16="http://schemas.microsoft.com/office/drawing/2014/main" id="{013042AE-D01F-75F1-8CA0-DF08308569E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5804341" y="4193607"/>
                  <a:ext cx="291600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Straight Connector 39">
                  <a:extLst>
                    <a:ext uri="{FF2B5EF4-FFF2-40B4-BE49-F238E27FC236}">
                      <a16:creationId xmlns:a16="http://schemas.microsoft.com/office/drawing/2014/main" id="{68B2FEDA-120B-E314-BA24-D670DE0624C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804282" y="4339407"/>
                  <a:ext cx="291718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E179A44A-6BDF-0B63-9EBC-21AD80D6793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78933508"/>
              </p:ext>
            </p:extLst>
          </p:nvPr>
        </p:nvGraphicFramePr>
        <p:xfrm>
          <a:off x="303524" y="3995330"/>
          <a:ext cx="4659802" cy="18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itle 3">
            <a:extLst>
              <a:ext uri="{FF2B5EF4-FFF2-40B4-BE49-F238E27FC236}">
                <a16:creationId xmlns:a16="http://schemas.microsoft.com/office/drawing/2014/main" id="{0C958755-E5C6-EC7D-1090-B5D21E2DAD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281" y="180000"/>
            <a:ext cx="8817391" cy="720000"/>
          </a:xfrm>
        </p:spPr>
        <p:txBody>
          <a:bodyPr rIns="0"/>
          <a:lstStyle/>
          <a:p>
            <a:r>
              <a:rPr lang="en-GB" noProof="0"/>
              <a:t>Mucus plugs are local “hot spots” of granulocyte inflammation</a:t>
            </a:r>
            <a:endParaRPr lang="en-GB" baseline="30000" noProof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48F8263-55AF-D561-E665-A79CCF8DB3A9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2157" t="69587" r="4294" b="-1"/>
          <a:stretch>
            <a:fillRect/>
          </a:stretch>
        </p:blipFill>
        <p:spPr>
          <a:xfrm>
            <a:off x="408820" y="1474605"/>
            <a:ext cx="4841586" cy="2117981"/>
          </a:xfrm>
          <a:prstGeom prst="rect">
            <a:avLst/>
          </a:prstGeom>
        </p:spPr>
      </p:pic>
      <p:sp>
        <p:nvSpPr>
          <p:cNvPr id="3" name="Content Placeholder 9">
            <a:extLst>
              <a:ext uri="{FF2B5EF4-FFF2-40B4-BE49-F238E27FC236}">
                <a16:creationId xmlns:a16="http://schemas.microsoft.com/office/drawing/2014/main" id="{6842BA9A-3778-5D94-4DE2-203ABB7FE3E1}"/>
              </a:ext>
            </a:extLst>
          </p:cNvPr>
          <p:cNvSpPr txBox="1">
            <a:spLocks/>
          </p:cNvSpPr>
          <p:nvPr/>
        </p:nvSpPr>
        <p:spPr>
          <a:xfrm>
            <a:off x="6273800" y="1810512"/>
            <a:ext cx="5369682" cy="42014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288000" indent="-288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Tx/>
              <a:buBlip>
                <a:blip r:embed="rId5"/>
              </a:buBlip>
              <a:defRPr lang="en-US" sz="2000" b="0" i="0" kern="1200">
                <a:solidFill>
                  <a:schemeClr val="tx1"/>
                </a:solidFill>
                <a:latin typeface="Calibri" panose="020F0502020204030204" pitchFamily="34" charset="0"/>
                <a:ea typeface="Roboto" panose="02000000000000000000" pitchFamily="2" charset="0"/>
                <a:cs typeface="Calibri" panose="020F05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7655" indent="-287655">
              <a:spcBef>
                <a:spcPts val="800"/>
              </a:spcBef>
            </a:pPr>
            <a:r>
              <a:rPr lang="en-GB" b="1">
                <a:latin typeface="Calibri"/>
                <a:ea typeface="Roboto"/>
                <a:cs typeface="Calibri"/>
              </a:rPr>
              <a:t>Dense immune cell infiltration </a:t>
            </a:r>
            <a:r>
              <a:rPr lang="en-GB">
                <a:latin typeface="Calibri"/>
                <a:ea typeface="Roboto"/>
                <a:cs typeface="Calibri"/>
              </a:rPr>
              <a:t>can be observed around </a:t>
            </a:r>
            <a:r>
              <a:rPr lang="en-GB" b="1">
                <a:latin typeface="Calibri"/>
                <a:ea typeface="Roboto"/>
                <a:cs typeface="Calibri"/>
              </a:rPr>
              <a:t>plugged airways </a:t>
            </a:r>
            <a:r>
              <a:rPr lang="en-GB">
                <a:latin typeface="Calibri"/>
                <a:ea typeface="Roboto"/>
                <a:cs typeface="Calibri"/>
              </a:rPr>
              <a:t>in </a:t>
            </a:r>
            <a:r>
              <a:rPr lang="en-GB" b="1">
                <a:latin typeface="Calibri"/>
                <a:ea typeface="Roboto"/>
                <a:cs typeface="Calibri"/>
              </a:rPr>
              <a:t>asthma </a:t>
            </a:r>
            <a:r>
              <a:rPr lang="en-GB">
                <a:latin typeface="Calibri"/>
                <a:ea typeface="Roboto"/>
                <a:cs typeface="Calibri"/>
              </a:rPr>
              <a:t>and </a:t>
            </a:r>
            <a:r>
              <a:rPr lang="en-GB" b="1">
                <a:latin typeface="Calibri"/>
                <a:ea typeface="Roboto"/>
                <a:cs typeface="Calibri"/>
              </a:rPr>
              <a:t>COPD</a:t>
            </a:r>
            <a:r>
              <a:rPr lang="en-GB">
                <a:latin typeface="Calibri"/>
                <a:ea typeface="Roboto"/>
                <a:cs typeface="Calibri"/>
              </a:rPr>
              <a:t>, but not in unplugged airways or healthy controls</a:t>
            </a:r>
            <a:r>
              <a:rPr lang="en-GB" baseline="30000">
                <a:latin typeface="Calibri"/>
                <a:ea typeface="Roboto"/>
                <a:cs typeface="Calibri"/>
              </a:rPr>
              <a:t>1</a:t>
            </a:r>
          </a:p>
          <a:p>
            <a:pPr marL="685455" lvl="1" indent="-287655">
              <a:spcBef>
                <a:spcPts val="400"/>
              </a:spcBef>
            </a:pPr>
            <a:r>
              <a:rPr lang="en-GB">
                <a:latin typeface="Calibri"/>
                <a:ea typeface="Roboto"/>
                <a:cs typeface="Calibri"/>
              </a:rPr>
              <a:t>This is frequently "</a:t>
            </a:r>
            <a:r>
              <a:rPr lang="en-GB" b="1">
                <a:latin typeface="Calibri"/>
                <a:ea typeface="Roboto"/>
                <a:cs typeface="Calibri"/>
              </a:rPr>
              <a:t>granulocytic</a:t>
            </a:r>
            <a:r>
              <a:rPr lang="en-GB">
                <a:latin typeface="Calibri"/>
                <a:ea typeface="Roboto"/>
                <a:cs typeface="Calibri"/>
              </a:rPr>
              <a:t>“, composed of neutrophils and eosinophils</a:t>
            </a:r>
            <a:r>
              <a:rPr lang="en-GB" baseline="30000">
                <a:latin typeface="Calibri"/>
                <a:ea typeface="Roboto"/>
                <a:cs typeface="Calibri"/>
              </a:rPr>
              <a:t>1</a:t>
            </a:r>
          </a:p>
          <a:p>
            <a:pPr marL="287655" indent="-287655">
              <a:spcBef>
                <a:spcPts val="800"/>
              </a:spcBef>
            </a:pPr>
            <a:r>
              <a:rPr lang="en-GB" b="1">
                <a:latin typeface="Calibri"/>
                <a:ea typeface="Roboto"/>
                <a:cs typeface="Calibri"/>
              </a:rPr>
              <a:t>Abnormal ventilation due to mucus plugging </a:t>
            </a:r>
            <a:r>
              <a:rPr lang="en-GB">
                <a:latin typeface="Calibri"/>
                <a:ea typeface="Roboto"/>
                <a:cs typeface="Calibri"/>
              </a:rPr>
              <a:t>is </a:t>
            </a:r>
            <a:r>
              <a:rPr lang="en-GB" b="1">
                <a:latin typeface="Calibri"/>
                <a:ea typeface="Roboto"/>
                <a:cs typeface="Calibri"/>
              </a:rPr>
              <a:t>significantly increased </a:t>
            </a:r>
            <a:r>
              <a:rPr lang="en-GB">
                <a:latin typeface="Calibri"/>
                <a:ea typeface="Roboto"/>
                <a:cs typeface="Calibri"/>
              </a:rPr>
              <a:t>in patients with </a:t>
            </a:r>
            <a:r>
              <a:rPr lang="en-GB" b="1">
                <a:latin typeface="Calibri"/>
                <a:ea typeface="Roboto"/>
                <a:cs typeface="Calibri"/>
              </a:rPr>
              <a:t>severe asthma </a:t>
            </a:r>
            <a:r>
              <a:rPr lang="en-GB">
                <a:latin typeface="Calibri"/>
                <a:ea typeface="Roboto"/>
                <a:cs typeface="Calibri"/>
              </a:rPr>
              <a:t>versus healthy controls</a:t>
            </a:r>
            <a:r>
              <a:rPr lang="en-GB" baseline="30000">
                <a:latin typeface="Calibri"/>
                <a:ea typeface="Roboto"/>
                <a:cs typeface="Calibri"/>
              </a:rPr>
              <a:t>2</a:t>
            </a:r>
          </a:p>
          <a:p>
            <a:pPr marL="685455" lvl="1" indent="-287655">
              <a:spcBef>
                <a:spcPts val="400"/>
              </a:spcBef>
            </a:pPr>
            <a:r>
              <a:rPr lang="en-GB">
                <a:latin typeface="Calibri"/>
                <a:ea typeface="Roboto"/>
                <a:cs typeface="Calibri"/>
              </a:rPr>
              <a:t>Severe mucus plugs are often associated with "</a:t>
            </a:r>
            <a:r>
              <a:rPr lang="en-GB" b="1">
                <a:latin typeface="Calibri"/>
                <a:ea typeface="Roboto"/>
                <a:cs typeface="Calibri"/>
              </a:rPr>
              <a:t>mixed</a:t>
            </a:r>
            <a:r>
              <a:rPr lang="en-GB">
                <a:latin typeface="Calibri"/>
                <a:ea typeface="Roboto"/>
                <a:cs typeface="Calibri"/>
              </a:rPr>
              <a:t>" granulocytic, i.e. neutrophilic and eosinophilic inflammation</a:t>
            </a:r>
            <a:r>
              <a:rPr lang="en-GB" baseline="30000">
                <a:latin typeface="Calibri"/>
                <a:ea typeface="Roboto"/>
                <a:cs typeface="Calibri"/>
              </a:rPr>
              <a:t>2</a:t>
            </a:r>
            <a:endParaRPr lang="en-GB">
              <a:latin typeface="Calibri"/>
              <a:ea typeface="Roboto"/>
              <a:cs typeface="Calibri"/>
            </a:endParaRPr>
          </a:p>
        </p:txBody>
      </p:sp>
      <p:sp>
        <p:nvSpPr>
          <p:cNvPr id="4" name="Footer Placeholder 8">
            <a:extLst>
              <a:ext uri="{FF2B5EF4-FFF2-40B4-BE49-F238E27FC236}">
                <a16:creationId xmlns:a16="http://schemas.microsoft.com/office/drawing/2014/main" id="{8A5DD454-D788-EC2F-2C91-4FEA0BD410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600" y="6413326"/>
            <a:ext cx="10512000" cy="288000"/>
          </a:xfrm>
        </p:spPr>
        <p:txBody>
          <a:bodyPr/>
          <a:lstStyle/>
          <a:p>
            <a:endParaRPr lang="en-GB" sz="800" noProof="0" dirty="0"/>
          </a:p>
          <a:p>
            <a:r>
              <a:rPr lang="en-GB" sz="800" dirty="0"/>
              <a:t>*Adjusted significance of difference (P &lt; .05) from the healthy control group determined by Kruskal-Wallis with Dunn’s multiple comparisons test. † Adjusted significance of difference (P &lt; .05) from the pauci-granulocytic group determined by Kruskal-Wallis with Dunn’s multiple comparisons test. Figure adapted from </a:t>
            </a:r>
            <a:r>
              <a:rPr lang="en-GB" sz="800" dirty="0" err="1"/>
              <a:t>Serajeddini</a:t>
            </a:r>
            <a:r>
              <a:rPr lang="en-GB" sz="800" dirty="0"/>
              <a:t> H, et al.</a:t>
            </a:r>
            <a:br>
              <a:rPr lang="en-GB" sz="800" dirty="0"/>
            </a:br>
            <a:r>
              <a:rPr lang="en-GB" sz="800" noProof="0" dirty="0"/>
              <a:t>BD, </a:t>
            </a:r>
            <a:r>
              <a:rPr lang="en-GB" sz="800" dirty="0"/>
              <a:t>bronchodilator; </a:t>
            </a:r>
            <a:r>
              <a:rPr lang="en-GB" sz="800" noProof="0" dirty="0"/>
              <a:t>COPD, chronic obstructive pulmonary disease; IMC, </a:t>
            </a:r>
            <a:r>
              <a:rPr lang="en-GB" sz="800" dirty="0"/>
              <a:t>infiltrate mucus plugs; </a:t>
            </a:r>
            <a:r>
              <a:rPr lang="en-GB" sz="800" noProof="0" dirty="0"/>
              <a:t>MRI, magnetic resonance imaging; VDP, ventilation defect percent; ULN, upper limit of normal.</a:t>
            </a:r>
            <a:br>
              <a:rPr lang="en-GB" sz="800" noProof="0" dirty="0"/>
            </a:br>
            <a:r>
              <a:rPr lang="en-GB" sz="800" noProof="0" dirty="0"/>
              <a:t>1. </a:t>
            </a:r>
            <a:r>
              <a:rPr lang="en-GB" sz="800" noProof="0" dirty="0" err="1"/>
              <a:t>Liegeois</a:t>
            </a:r>
            <a:r>
              <a:rPr lang="en-GB" sz="800" noProof="0" dirty="0"/>
              <a:t> MA, et al. J Clin Invest. 2025;135(6):e186889; 2. </a:t>
            </a:r>
            <a:r>
              <a:rPr lang="en-GB" sz="800" noProof="0" dirty="0" err="1"/>
              <a:t>Serajeddini</a:t>
            </a:r>
            <a:r>
              <a:rPr lang="en-GB" sz="800" noProof="0" dirty="0"/>
              <a:t> H, et al. Chest. 2025:S0012-3692(25)00648-8.</a:t>
            </a:r>
            <a:br>
              <a:rPr lang="en-GB" sz="800" noProof="0" dirty="0"/>
            </a:br>
            <a:r>
              <a:rPr lang="en-GB" sz="800" spc="0" dirty="0">
                <a:solidFill>
                  <a:srgbClr val="656665"/>
                </a:solidFill>
              </a:rPr>
              <a:t>GB-73345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656665"/>
                </a:solidFill>
                <a:effectLst/>
                <a:uLnTx/>
                <a:uFillTx/>
              </a:rPr>
              <a:t> | Date of preparation: </a:t>
            </a:r>
            <a:r>
              <a:rPr lang="en-GB" sz="800" spc="0" dirty="0">
                <a:solidFill>
                  <a:srgbClr val="656665"/>
                </a:solidFill>
              </a:rPr>
              <a:t>March 2026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656665"/>
              </a:solidFill>
              <a:effectLst/>
              <a:uLnTx/>
              <a:uFillTx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9DE5F2B-2C32-FF6F-9A58-BB436C2657D7}"/>
              </a:ext>
            </a:extLst>
          </p:cNvPr>
          <p:cNvSpPr txBox="1"/>
          <p:nvPr/>
        </p:nvSpPr>
        <p:spPr>
          <a:xfrm>
            <a:off x="623086" y="1193945"/>
            <a:ext cx="441319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b="1"/>
              <a:t>Mucin immunostaining and cell class distribution</a:t>
            </a:r>
            <a:r>
              <a:rPr lang="en-GB" sz="1600" b="1" baseline="30000"/>
              <a:t>1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1A5A533-14F0-8A8B-E34D-4C58C69C7038}"/>
              </a:ext>
            </a:extLst>
          </p:cNvPr>
          <p:cNvSpPr txBox="1"/>
          <p:nvPr/>
        </p:nvSpPr>
        <p:spPr>
          <a:xfrm>
            <a:off x="499783" y="3664864"/>
            <a:ext cx="465980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b="1"/>
              <a:t>Abnormal ventilation by sputum cellular phenotype</a:t>
            </a:r>
            <a:r>
              <a:rPr lang="en-GB" sz="1600" b="1" baseline="30000"/>
              <a:t>2</a:t>
            </a:r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D0810D72-29EB-5BAF-5F5A-025F9E1DFB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64400" y="6331998"/>
            <a:ext cx="432000" cy="222086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8BAEAC-A895-4A01-AB9B-F6141799970D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9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A2257FC-D743-F4F0-4641-39A8C4D3966E}"/>
              </a:ext>
            </a:extLst>
          </p:cNvPr>
          <p:cNvCxnSpPr>
            <a:cxnSpLocks/>
          </p:cNvCxnSpPr>
          <p:nvPr/>
        </p:nvCxnSpPr>
        <p:spPr>
          <a:xfrm>
            <a:off x="899485" y="5277899"/>
            <a:ext cx="3922531" cy="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2" name="Group 51">
            <a:extLst>
              <a:ext uri="{FF2B5EF4-FFF2-40B4-BE49-F238E27FC236}">
                <a16:creationId xmlns:a16="http://schemas.microsoft.com/office/drawing/2014/main" id="{F7EFF257-8565-BECD-069A-304A36D87AB1}"/>
              </a:ext>
            </a:extLst>
          </p:cNvPr>
          <p:cNvGrpSpPr/>
          <p:nvPr/>
        </p:nvGrpSpPr>
        <p:grpSpPr>
          <a:xfrm>
            <a:off x="899485" y="3984484"/>
            <a:ext cx="3922531" cy="2027516"/>
            <a:chOff x="893135" y="4192836"/>
            <a:chExt cx="3922531" cy="2027516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49F5B2F2-4A2B-6A45-5E07-533B1BF2E26D}"/>
                </a:ext>
              </a:extLst>
            </p:cNvPr>
            <p:cNvSpPr/>
            <p:nvPr/>
          </p:nvSpPr>
          <p:spPr>
            <a:xfrm>
              <a:off x="893135" y="6040352"/>
              <a:ext cx="3922531" cy="180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AE4581FA-93F9-16B7-0882-1DCC1E67AA99}"/>
                </a:ext>
              </a:extLst>
            </p:cNvPr>
            <p:cNvSpPr txBox="1"/>
            <p:nvPr/>
          </p:nvSpPr>
          <p:spPr>
            <a:xfrm>
              <a:off x="893135" y="6075884"/>
              <a:ext cx="779722" cy="108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800" b="1"/>
                <a:t>≥ULN: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4DDD224D-B2A3-514C-CDD2-8771C262EAF4}"/>
                </a:ext>
              </a:extLst>
            </p:cNvPr>
            <p:cNvSpPr txBox="1"/>
            <p:nvPr/>
          </p:nvSpPr>
          <p:spPr>
            <a:xfrm>
              <a:off x="1679945" y="6075884"/>
              <a:ext cx="779722" cy="108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800"/>
                <a:t>14/32 = </a:t>
              </a:r>
              <a:r>
                <a:rPr lang="en-GB" sz="800" b="1"/>
                <a:t>44%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A120DF04-40C8-8080-0315-73FF74B1C0F6}"/>
                </a:ext>
              </a:extLst>
            </p:cNvPr>
            <p:cNvSpPr txBox="1"/>
            <p:nvPr/>
          </p:nvSpPr>
          <p:spPr>
            <a:xfrm>
              <a:off x="2452577" y="6075884"/>
              <a:ext cx="779722" cy="108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800"/>
                <a:t>14/22 = </a:t>
              </a:r>
              <a:r>
                <a:rPr lang="en-GB" sz="800" b="1"/>
                <a:t>64%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22E2E9B3-CB48-7F17-6578-3D7F0B83A64E}"/>
                </a:ext>
              </a:extLst>
            </p:cNvPr>
            <p:cNvSpPr txBox="1"/>
            <p:nvPr/>
          </p:nvSpPr>
          <p:spPr>
            <a:xfrm>
              <a:off x="3239387" y="6075884"/>
              <a:ext cx="779722" cy="108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800"/>
                <a:t>9/12 = </a:t>
              </a:r>
              <a:r>
                <a:rPr lang="en-GB" sz="800" b="1"/>
                <a:t>75%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0821D9FA-43FD-79C3-8CDA-6A0D0580FC70}"/>
                </a:ext>
              </a:extLst>
            </p:cNvPr>
            <p:cNvSpPr txBox="1"/>
            <p:nvPr/>
          </p:nvSpPr>
          <p:spPr>
            <a:xfrm>
              <a:off x="4026196" y="6075884"/>
              <a:ext cx="779722" cy="108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800"/>
                <a:t>17/19 = </a:t>
              </a:r>
              <a:r>
                <a:rPr lang="en-GB" sz="800" b="1"/>
                <a:t>89%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738AC75D-A2A3-3DD0-31F9-74C5017A71A4}"/>
                </a:ext>
              </a:extLst>
            </p:cNvPr>
            <p:cNvSpPr txBox="1"/>
            <p:nvPr/>
          </p:nvSpPr>
          <p:spPr>
            <a:xfrm>
              <a:off x="2461044" y="4491350"/>
              <a:ext cx="779722" cy="108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1000"/>
                <a:t>*</a:t>
              </a:r>
              <a:endParaRPr lang="en-GB" sz="1000" baseline="-25000"/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616C9E9D-E5E9-EF5D-7FEE-3C0781F28E65}"/>
                </a:ext>
              </a:extLst>
            </p:cNvPr>
            <p:cNvSpPr txBox="1"/>
            <p:nvPr/>
          </p:nvSpPr>
          <p:spPr>
            <a:xfrm>
              <a:off x="3239387" y="4314101"/>
              <a:ext cx="779722" cy="108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1000"/>
                <a:t>*†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ABE84C67-DE91-5F51-622A-FF5F03729124}"/>
                </a:ext>
              </a:extLst>
            </p:cNvPr>
            <p:cNvSpPr txBox="1"/>
            <p:nvPr/>
          </p:nvSpPr>
          <p:spPr>
            <a:xfrm>
              <a:off x="4004622" y="4192836"/>
              <a:ext cx="779722" cy="108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1000"/>
                <a:t>*†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364117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52B8F4-4E3E-FF21-C15F-98F2387B99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CA5ACF4-F0F2-E17D-41F9-3103AEDCB7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Ins="0"/>
          <a:lstStyle/>
          <a:p>
            <a:r>
              <a:rPr lang="en-GB" noProof="0"/>
              <a:t>Mucus hypersecretion contributes to polyp formation in CRSwNP</a:t>
            </a:r>
            <a:r>
              <a:rPr lang="en-GB" baseline="30000" noProof="0"/>
              <a:t>1–4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3FB1C09A-FC96-AEEA-D426-442703B82D3E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287655" indent="-287655"/>
            <a:r>
              <a:rPr lang="en-GB">
                <a:latin typeface="Calibri"/>
                <a:ea typeface="Roboto"/>
                <a:cs typeface="Calibri"/>
              </a:rPr>
              <a:t>In response to environmental insults the epithelium releases </a:t>
            </a:r>
            <a:r>
              <a:rPr lang="en-GB" b="1">
                <a:latin typeface="Calibri"/>
                <a:ea typeface="Roboto"/>
                <a:cs typeface="Calibri"/>
              </a:rPr>
              <a:t>epithelial cytokines </a:t>
            </a:r>
            <a:r>
              <a:rPr lang="en-GB">
                <a:latin typeface="Calibri"/>
                <a:ea typeface="Roboto"/>
                <a:cs typeface="Calibri"/>
              </a:rPr>
              <a:t>(TSLP, </a:t>
            </a:r>
            <a:br>
              <a:rPr lang="en-GB"/>
            </a:br>
            <a:r>
              <a:rPr lang="en-GB">
                <a:latin typeface="Calibri"/>
                <a:ea typeface="Roboto"/>
                <a:cs typeface="Calibri"/>
              </a:rPr>
              <a:t>IL-33, IL-25), which induce ILC2s to produce IL-4 and IL-13 and </a:t>
            </a:r>
            <a:r>
              <a:rPr lang="en-GB" b="1">
                <a:latin typeface="Calibri"/>
                <a:ea typeface="Roboto"/>
                <a:cs typeface="Calibri"/>
              </a:rPr>
              <a:t>increase mucus production</a:t>
            </a:r>
            <a:r>
              <a:rPr lang="en-GB" baseline="30000">
                <a:latin typeface="Calibri"/>
                <a:ea typeface="Roboto"/>
                <a:cs typeface="Calibri"/>
              </a:rPr>
              <a:t>1</a:t>
            </a:r>
            <a:endParaRPr lang="en-US">
              <a:latin typeface="Calibri"/>
              <a:ea typeface="Roboto"/>
              <a:cs typeface="Calibri"/>
            </a:endParaRPr>
          </a:p>
          <a:p>
            <a:pPr marL="287655" indent="-287655"/>
            <a:r>
              <a:rPr lang="en-GB">
                <a:latin typeface="Calibri"/>
                <a:ea typeface="Roboto"/>
                <a:cs typeface="Calibri"/>
              </a:rPr>
              <a:t>Excess secretion and altered composition of mucus associated with </a:t>
            </a:r>
            <a:r>
              <a:rPr lang="en-GB" b="1">
                <a:latin typeface="Calibri"/>
                <a:ea typeface="Roboto"/>
                <a:cs typeface="Calibri"/>
              </a:rPr>
              <a:t>goblet cell </a:t>
            </a:r>
            <a:br>
              <a:rPr lang="en-GB" b="1"/>
            </a:br>
            <a:r>
              <a:rPr lang="en-GB" b="1">
                <a:latin typeface="Calibri"/>
                <a:ea typeface="Roboto"/>
                <a:cs typeface="Calibri"/>
              </a:rPr>
              <a:t>hyperplasia </a:t>
            </a:r>
            <a:r>
              <a:rPr lang="en-GB">
                <a:latin typeface="Calibri"/>
                <a:ea typeface="Roboto"/>
                <a:cs typeface="Calibri"/>
              </a:rPr>
              <a:t>occurs</a:t>
            </a:r>
            <a:r>
              <a:rPr lang="en-GB" baseline="30000">
                <a:latin typeface="Calibri"/>
                <a:ea typeface="Roboto"/>
                <a:cs typeface="Calibri"/>
              </a:rPr>
              <a:t>2</a:t>
            </a:r>
            <a:r>
              <a:rPr lang="en-GB">
                <a:latin typeface="Calibri"/>
                <a:ea typeface="Roboto"/>
                <a:cs typeface="Calibri"/>
              </a:rPr>
              <a:t> </a:t>
            </a:r>
          </a:p>
          <a:p>
            <a:pPr marL="287655" indent="-287655"/>
            <a:r>
              <a:rPr lang="en-GB">
                <a:latin typeface="Calibri"/>
                <a:ea typeface="Roboto"/>
                <a:cs typeface="Calibri"/>
              </a:rPr>
              <a:t>Reduced ciliary beating and </a:t>
            </a:r>
            <a:r>
              <a:rPr lang="en-GB" b="1">
                <a:latin typeface="Calibri"/>
                <a:ea typeface="Roboto"/>
                <a:cs typeface="Calibri"/>
              </a:rPr>
              <a:t>impaired mucociliary clearance contribute </a:t>
            </a:r>
            <a:r>
              <a:rPr lang="en-GB">
                <a:latin typeface="Calibri"/>
                <a:ea typeface="Roboto"/>
                <a:cs typeface="Calibri"/>
              </a:rPr>
              <a:t>to static mucus, leading to inflammation and infection</a:t>
            </a:r>
            <a:r>
              <a:rPr lang="en-GB" baseline="30000">
                <a:latin typeface="Calibri"/>
                <a:ea typeface="Roboto"/>
                <a:cs typeface="Calibri"/>
              </a:rPr>
              <a:t>1,3</a:t>
            </a:r>
          </a:p>
          <a:p>
            <a:pPr marL="287655" indent="-287655"/>
            <a:r>
              <a:rPr lang="en-GB">
                <a:latin typeface="Calibri"/>
                <a:ea typeface="Roboto"/>
                <a:cs typeface="Calibri"/>
              </a:rPr>
              <a:t>Mucus hypersecretion and impaired mucociliary clearance contribute to the progression of </a:t>
            </a:r>
            <a:r>
              <a:rPr lang="en-GB" b="1">
                <a:latin typeface="Calibri"/>
                <a:ea typeface="Roboto"/>
                <a:cs typeface="Calibri"/>
              </a:rPr>
              <a:t>nasal polyp formation</a:t>
            </a:r>
            <a:r>
              <a:rPr lang="en-GB" baseline="30000">
                <a:latin typeface="Calibri"/>
                <a:ea typeface="Roboto"/>
                <a:cs typeface="Calibri"/>
              </a:rPr>
              <a:t>1–4</a:t>
            </a:r>
          </a:p>
        </p:txBody>
      </p:sp>
      <p:sp>
        <p:nvSpPr>
          <p:cNvPr id="8" name="Footer Placeholder 8">
            <a:extLst>
              <a:ext uri="{FF2B5EF4-FFF2-40B4-BE49-F238E27FC236}">
                <a16:creationId xmlns:a16="http://schemas.microsoft.com/office/drawing/2014/main" id="{270BA174-1007-57A2-1200-D2B7014B81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z="800" noProof="0" dirty="0"/>
              <a:t>IL, interleukin; ILC2, type 2 innate lymphoid cell; TSLP, thymic stromal lymphopoietin.</a:t>
            </a:r>
            <a:br>
              <a:rPr lang="en-GB" sz="800" noProof="0" dirty="0"/>
            </a:br>
            <a:r>
              <a:rPr lang="en-GB" sz="800" noProof="0" dirty="0"/>
              <a:t>1. Kato A, et al. J Allergy Clin Immunol 2022;149:1491–1503; 2. Tu Y, et al. Inflammation 2021;44:1937–1948; 3. Gudis D, et al. Am J </a:t>
            </a:r>
            <a:r>
              <a:rPr lang="en-GB" sz="800" noProof="0" dirty="0" err="1"/>
              <a:t>Rhinol</a:t>
            </a:r>
            <a:r>
              <a:rPr lang="en-GB" sz="800" noProof="0" dirty="0"/>
              <a:t> Allergy 2012;26:1–6; 4.</a:t>
            </a:r>
            <a:r>
              <a:rPr lang="en-GB" sz="800" dirty="0"/>
              <a:t> Hulse KE, et al. </a:t>
            </a:r>
            <a:r>
              <a:rPr lang="en-GB" sz="800" i="1" dirty="0"/>
              <a:t>Clin Exp Allergy </a:t>
            </a:r>
            <a:r>
              <a:rPr lang="en-GB" sz="800" dirty="0"/>
              <a:t>2015;45:328–346.</a:t>
            </a:r>
            <a:br>
              <a:rPr lang="en-GB" sz="800" noProof="0" dirty="0"/>
            </a:br>
            <a:r>
              <a:rPr lang="en-GB" sz="800" spc="0" dirty="0">
                <a:solidFill>
                  <a:srgbClr val="656665"/>
                </a:solidFill>
              </a:rPr>
              <a:t>GB-73345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656665"/>
                </a:solidFill>
                <a:effectLst/>
                <a:uLnTx/>
                <a:uFillTx/>
              </a:rPr>
              <a:t> | Date of preparation: </a:t>
            </a:r>
            <a:r>
              <a:rPr lang="en-GB" sz="800" spc="0" dirty="0">
                <a:solidFill>
                  <a:srgbClr val="656665"/>
                </a:solidFill>
              </a:rPr>
              <a:t>March 2026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656665"/>
              </a:solidFill>
              <a:effectLst/>
              <a:uLnTx/>
              <a:uFillTx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16A5657-C567-1887-7D68-FEB238C27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8BAEAC-A895-4A01-AB9B-F6141799970D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9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373" name="Group 3372">
            <a:extLst>
              <a:ext uri="{FF2B5EF4-FFF2-40B4-BE49-F238E27FC236}">
                <a16:creationId xmlns:a16="http://schemas.microsoft.com/office/drawing/2014/main" id="{62A78288-B711-6716-ABCF-F492DB1EFEE6}"/>
              </a:ext>
            </a:extLst>
          </p:cNvPr>
          <p:cNvGrpSpPr/>
          <p:nvPr/>
        </p:nvGrpSpPr>
        <p:grpSpPr>
          <a:xfrm>
            <a:off x="1067380" y="1866654"/>
            <a:ext cx="3974194" cy="3546214"/>
            <a:chOff x="1067380" y="1866654"/>
            <a:chExt cx="3974194" cy="3546214"/>
          </a:xfrm>
        </p:grpSpPr>
        <p:sp>
          <p:nvSpPr>
            <p:cNvPr id="3372" name="!!mucus">
              <a:extLst>
                <a:ext uri="{FF2B5EF4-FFF2-40B4-BE49-F238E27FC236}">
                  <a16:creationId xmlns:a16="http://schemas.microsoft.com/office/drawing/2014/main" id="{90F7D735-FC3F-7555-FEC2-09B8E54C0DEE}"/>
                </a:ext>
              </a:extLst>
            </p:cNvPr>
            <p:cNvSpPr/>
            <p:nvPr/>
          </p:nvSpPr>
          <p:spPr>
            <a:xfrm rot="8566631">
              <a:off x="2393643" y="4487467"/>
              <a:ext cx="570389" cy="204719"/>
            </a:xfrm>
            <a:custGeom>
              <a:avLst/>
              <a:gdLst>
                <a:gd name="connsiteX0" fmla="*/ 0 w 11280654"/>
                <a:gd name="connsiteY0" fmla="*/ 91352 h 1986246"/>
                <a:gd name="connsiteX1" fmla="*/ 10868 w 11280654"/>
                <a:gd name="connsiteY1" fmla="*/ 745642 h 1986246"/>
                <a:gd name="connsiteX2" fmla="*/ 260587 w 11280654"/>
                <a:gd name="connsiteY2" fmla="*/ 915580 h 1986246"/>
                <a:gd name="connsiteX3" fmla="*/ 282300 w 11280654"/>
                <a:gd name="connsiteY3" fmla="*/ 1077031 h 1986246"/>
                <a:gd name="connsiteX4" fmla="*/ 510305 w 11280654"/>
                <a:gd name="connsiteY4" fmla="*/ 1416926 h 1986246"/>
                <a:gd name="connsiteX5" fmla="*/ 640587 w 11280654"/>
                <a:gd name="connsiteY5" fmla="*/ 1595370 h 1986246"/>
                <a:gd name="connsiteX6" fmla="*/ 694882 w 11280654"/>
                <a:gd name="connsiteY6" fmla="*/ 1790808 h 1986246"/>
                <a:gd name="connsiteX7" fmla="*/ 857746 w 11280654"/>
                <a:gd name="connsiteY7" fmla="*/ 1986246 h 1986246"/>
                <a:gd name="connsiteX8" fmla="*/ 1020610 w 11280654"/>
                <a:gd name="connsiteY8" fmla="*/ 1858784 h 1986246"/>
                <a:gd name="connsiteX9" fmla="*/ 1042324 w 11280654"/>
                <a:gd name="connsiteY9" fmla="*/ 1595370 h 1986246"/>
                <a:gd name="connsiteX10" fmla="*/ 1194319 w 11280654"/>
                <a:gd name="connsiteY10" fmla="*/ 1510401 h 1986246"/>
                <a:gd name="connsiteX11" fmla="*/ 1302887 w 11280654"/>
                <a:gd name="connsiteY11" fmla="*/ 1229994 h 1986246"/>
                <a:gd name="connsiteX12" fmla="*/ 1411455 w 11280654"/>
                <a:gd name="connsiteY12" fmla="*/ 873105 h 1986246"/>
                <a:gd name="connsiteX13" fmla="*/ 1563450 w 11280654"/>
                <a:gd name="connsiteY13" fmla="*/ 737154 h 1986246"/>
                <a:gd name="connsiteX14" fmla="*/ 1867441 w 11280654"/>
                <a:gd name="connsiteY14" fmla="*/ 737154 h 1986246"/>
                <a:gd name="connsiteX15" fmla="*/ 2442864 w 11280654"/>
                <a:gd name="connsiteY15" fmla="*/ 754148 h 1986246"/>
                <a:gd name="connsiteX16" fmla="*/ 3582863 w 11280654"/>
                <a:gd name="connsiteY16" fmla="*/ 754148 h 1986246"/>
                <a:gd name="connsiteX17" fmla="*/ 4277722 w 11280654"/>
                <a:gd name="connsiteY17" fmla="*/ 788136 h 1986246"/>
                <a:gd name="connsiteX18" fmla="*/ 4733732 w 11280654"/>
                <a:gd name="connsiteY18" fmla="*/ 728648 h 1986246"/>
                <a:gd name="connsiteX19" fmla="*/ 5211454 w 11280654"/>
                <a:gd name="connsiteY19" fmla="*/ 728648 h 1986246"/>
                <a:gd name="connsiteX20" fmla="*/ 5982323 w 11280654"/>
                <a:gd name="connsiteY20" fmla="*/ 771142 h 1986246"/>
                <a:gd name="connsiteX21" fmla="*/ 6861759 w 11280654"/>
                <a:gd name="connsiteY21" fmla="*/ 754148 h 1986246"/>
                <a:gd name="connsiteX22" fmla="*/ 7491477 w 11280654"/>
                <a:gd name="connsiteY22" fmla="*/ 762654 h 1986246"/>
                <a:gd name="connsiteX23" fmla="*/ 8327487 w 11280654"/>
                <a:gd name="connsiteY23" fmla="*/ 762654 h 1986246"/>
                <a:gd name="connsiteX24" fmla="*/ 9391500 w 11280654"/>
                <a:gd name="connsiteY24" fmla="*/ 788154 h 1986246"/>
                <a:gd name="connsiteX25" fmla="*/ 10140655 w 11280654"/>
                <a:gd name="connsiteY25" fmla="*/ 779648 h 1986246"/>
                <a:gd name="connsiteX26" fmla="*/ 10672650 w 11280654"/>
                <a:gd name="connsiteY26" fmla="*/ 771142 h 1986246"/>
                <a:gd name="connsiteX27" fmla="*/ 11150373 w 11280654"/>
                <a:gd name="connsiteY27" fmla="*/ 737154 h 1986246"/>
                <a:gd name="connsiteX28" fmla="*/ 11280654 w 11280654"/>
                <a:gd name="connsiteY28" fmla="*/ 754148 h 1986246"/>
                <a:gd name="connsiteX29" fmla="*/ 11280654 w 11280654"/>
                <a:gd name="connsiteY29" fmla="*/ 133791 h 1986246"/>
                <a:gd name="connsiteX30" fmla="*/ 11096078 w 11280654"/>
                <a:gd name="connsiteY30" fmla="*/ 65870 h 1986246"/>
                <a:gd name="connsiteX31" fmla="*/ 10281782 w 11280654"/>
                <a:gd name="connsiteY31" fmla="*/ 14889 h 1986246"/>
                <a:gd name="connsiteX32" fmla="*/ 9695491 w 11280654"/>
                <a:gd name="connsiteY32" fmla="*/ 108364 h 1986246"/>
                <a:gd name="connsiteX33" fmla="*/ 8794341 w 11280654"/>
                <a:gd name="connsiteY33" fmla="*/ 201839 h 1986246"/>
                <a:gd name="connsiteX34" fmla="*/ 7828050 w 11280654"/>
                <a:gd name="connsiteY34" fmla="*/ 201839 h 1986246"/>
                <a:gd name="connsiteX35" fmla="*/ 6101760 w 11280654"/>
                <a:gd name="connsiteY35" fmla="*/ 193333 h 1986246"/>
                <a:gd name="connsiteX36" fmla="*/ 5016032 w 11280654"/>
                <a:gd name="connsiteY36" fmla="*/ 65870 h 1986246"/>
                <a:gd name="connsiteX37" fmla="*/ 3224600 w 11280654"/>
                <a:gd name="connsiteY37" fmla="*/ 57364 h 1986246"/>
                <a:gd name="connsiteX38" fmla="*/ 2171455 w 11280654"/>
                <a:gd name="connsiteY38" fmla="*/ 82864 h 1986246"/>
                <a:gd name="connsiteX39" fmla="*/ 760023 w 11280654"/>
                <a:gd name="connsiteY39" fmla="*/ 116852 h 1986246"/>
                <a:gd name="connsiteX40" fmla="*/ 0 w 11280654"/>
                <a:gd name="connsiteY40" fmla="*/ 91352 h 1986246"/>
                <a:gd name="connsiteX0" fmla="*/ 0 w 11280654"/>
                <a:gd name="connsiteY0" fmla="*/ 91352 h 1994638"/>
                <a:gd name="connsiteX1" fmla="*/ 10868 w 11280654"/>
                <a:gd name="connsiteY1" fmla="*/ 745642 h 1994638"/>
                <a:gd name="connsiteX2" fmla="*/ 260587 w 11280654"/>
                <a:gd name="connsiteY2" fmla="*/ 915580 h 1994638"/>
                <a:gd name="connsiteX3" fmla="*/ 282300 w 11280654"/>
                <a:gd name="connsiteY3" fmla="*/ 1077031 h 1994638"/>
                <a:gd name="connsiteX4" fmla="*/ 510305 w 11280654"/>
                <a:gd name="connsiteY4" fmla="*/ 1416926 h 1994638"/>
                <a:gd name="connsiteX5" fmla="*/ 640587 w 11280654"/>
                <a:gd name="connsiteY5" fmla="*/ 1595370 h 1994638"/>
                <a:gd name="connsiteX6" fmla="*/ 694882 w 11280654"/>
                <a:gd name="connsiteY6" fmla="*/ 1790808 h 1994638"/>
                <a:gd name="connsiteX7" fmla="*/ 857746 w 11280654"/>
                <a:gd name="connsiteY7" fmla="*/ 1986246 h 1994638"/>
                <a:gd name="connsiteX8" fmla="*/ 1020610 w 11280654"/>
                <a:gd name="connsiteY8" fmla="*/ 1858784 h 1994638"/>
                <a:gd name="connsiteX9" fmla="*/ 1042324 w 11280654"/>
                <a:gd name="connsiteY9" fmla="*/ 1595370 h 1994638"/>
                <a:gd name="connsiteX10" fmla="*/ 1194319 w 11280654"/>
                <a:gd name="connsiteY10" fmla="*/ 1510401 h 1994638"/>
                <a:gd name="connsiteX11" fmla="*/ 1302887 w 11280654"/>
                <a:gd name="connsiteY11" fmla="*/ 1229994 h 1994638"/>
                <a:gd name="connsiteX12" fmla="*/ 1411455 w 11280654"/>
                <a:gd name="connsiteY12" fmla="*/ 873105 h 1994638"/>
                <a:gd name="connsiteX13" fmla="*/ 1563450 w 11280654"/>
                <a:gd name="connsiteY13" fmla="*/ 737154 h 1994638"/>
                <a:gd name="connsiteX14" fmla="*/ 1867441 w 11280654"/>
                <a:gd name="connsiteY14" fmla="*/ 737154 h 1994638"/>
                <a:gd name="connsiteX15" fmla="*/ 2442864 w 11280654"/>
                <a:gd name="connsiteY15" fmla="*/ 754148 h 1994638"/>
                <a:gd name="connsiteX16" fmla="*/ 3582863 w 11280654"/>
                <a:gd name="connsiteY16" fmla="*/ 754148 h 1994638"/>
                <a:gd name="connsiteX17" fmla="*/ 4277722 w 11280654"/>
                <a:gd name="connsiteY17" fmla="*/ 788136 h 1994638"/>
                <a:gd name="connsiteX18" fmla="*/ 4733732 w 11280654"/>
                <a:gd name="connsiteY18" fmla="*/ 728648 h 1994638"/>
                <a:gd name="connsiteX19" fmla="*/ 5211454 w 11280654"/>
                <a:gd name="connsiteY19" fmla="*/ 728648 h 1994638"/>
                <a:gd name="connsiteX20" fmla="*/ 5982323 w 11280654"/>
                <a:gd name="connsiteY20" fmla="*/ 771142 h 1994638"/>
                <a:gd name="connsiteX21" fmla="*/ 6861759 w 11280654"/>
                <a:gd name="connsiteY21" fmla="*/ 754148 h 1994638"/>
                <a:gd name="connsiteX22" fmla="*/ 7491477 w 11280654"/>
                <a:gd name="connsiteY22" fmla="*/ 762654 h 1994638"/>
                <a:gd name="connsiteX23" fmla="*/ 8327487 w 11280654"/>
                <a:gd name="connsiteY23" fmla="*/ 762654 h 1994638"/>
                <a:gd name="connsiteX24" fmla="*/ 9391500 w 11280654"/>
                <a:gd name="connsiteY24" fmla="*/ 788154 h 1994638"/>
                <a:gd name="connsiteX25" fmla="*/ 10140655 w 11280654"/>
                <a:gd name="connsiteY25" fmla="*/ 779648 h 1994638"/>
                <a:gd name="connsiteX26" fmla="*/ 10672650 w 11280654"/>
                <a:gd name="connsiteY26" fmla="*/ 771142 h 1994638"/>
                <a:gd name="connsiteX27" fmla="*/ 11150373 w 11280654"/>
                <a:gd name="connsiteY27" fmla="*/ 737154 h 1994638"/>
                <a:gd name="connsiteX28" fmla="*/ 11280654 w 11280654"/>
                <a:gd name="connsiteY28" fmla="*/ 754148 h 1994638"/>
                <a:gd name="connsiteX29" fmla="*/ 11280654 w 11280654"/>
                <a:gd name="connsiteY29" fmla="*/ 133791 h 1994638"/>
                <a:gd name="connsiteX30" fmla="*/ 11096078 w 11280654"/>
                <a:gd name="connsiteY30" fmla="*/ 65870 h 1994638"/>
                <a:gd name="connsiteX31" fmla="*/ 10281782 w 11280654"/>
                <a:gd name="connsiteY31" fmla="*/ 14889 h 1994638"/>
                <a:gd name="connsiteX32" fmla="*/ 9695491 w 11280654"/>
                <a:gd name="connsiteY32" fmla="*/ 108364 h 1994638"/>
                <a:gd name="connsiteX33" fmla="*/ 8794341 w 11280654"/>
                <a:gd name="connsiteY33" fmla="*/ 201839 h 1994638"/>
                <a:gd name="connsiteX34" fmla="*/ 7828050 w 11280654"/>
                <a:gd name="connsiteY34" fmla="*/ 201839 h 1994638"/>
                <a:gd name="connsiteX35" fmla="*/ 6101760 w 11280654"/>
                <a:gd name="connsiteY35" fmla="*/ 193333 h 1994638"/>
                <a:gd name="connsiteX36" fmla="*/ 5016032 w 11280654"/>
                <a:gd name="connsiteY36" fmla="*/ 65870 h 1994638"/>
                <a:gd name="connsiteX37" fmla="*/ 3224600 w 11280654"/>
                <a:gd name="connsiteY37" fmla="*/ 57364 h 1994638"/>
                <a:gd name="connsiteX38" fmla="*/ 2171455 w 11280654"/>
                <a:gd name="connsiteY38" fmla="*/ 82864 h 1994638"/>
                <a:gd name="connsiteX39" fmla="*/ 760023 w 11280654"/>
                <a:gd name="connsiteY39" fmla="*/ 116852 h 1994638"/>
                <a:gd name="connsiteX40" fmla="*/ 0 w 11280654"/>
                <a:gd name="connsiteY40" fmla="*/ 91352 h 1994638"/>
                <a:gd name="connsiteX0" fmla="*/ 2673914 w 11269790"/>
                <a:gd name="connsiteY0" fmla="*/ 66415 h 1994638"/>
                <a:gd name="connsiteX1" fmla="*/ 4 w 11269790"/>
                <a:gd name="connsiteY1" fmla="*/ 745642 h 1994638"/>
                <a:gd name="connsiteX2" fmla="*/ 249723 w 11269790"/>
                <a:gd name="connsiteY2" fmla="*/ 915580 h 1994638"/>
                <a:gd name="connsiteX3" fmla="*/ 271436 w 11269790"/>
                <a:gd name="connsiteY3" fmla="*/ 1077031 h 1994638"/>
                <a:gd name="connsiteX4" fmla="*/ 499441 w 11269790"/>
                <a:gd name="connsiteY4" fmla="*/ 1416926 h 1994638"/>
                <a:gd name="connsiteX5" fmla="*/ 629723 w 11269790"/>
                <a:gd name="connsiteY5" fmla="*/ 1595370 h 1994638"/>
                <a:gd name="connsiteX6" fmla="*/ 684018 w 11269790"/>
                <a:gd name="connsiteY6" fmla="*/ 1790808 h 1994638"/>
                <a:gd name="connsiteX7" fmla="*/ 846882 w 11269790"/>
                <a:gd name="connsiteY7" fmla="*/ 1986246 h 1994638"/>
                <a:gd name="connsiteX8" fmla="*/ 1009746 w 11269790"/>
                <a:gd name="connsiteY8" fmla="*/ 1858784 h 1994638"/>
                <a:gd name="connsiteX9" fmla="*/ 1031460 w 11269790"/>
                <a:gd name="connsiteY9" fmla="*/ 1595370 h 1994638"/>
                <a:gd name="connsiteX10" fmla="*/ 1183455 w 11269790"/>
                <a:gd name="connsiteY10" fmla="*/ 1510401 h 1994638"/>
                <a:gd name="connsiteX11" fmla="*/ 1292023 w 11269790"/>
                <a:gd name="connsiteY11" fmla="*/ 1229994 h 1994638"/>
                <a:gd name="connsiteX12" fmla="*/ 1400591 w 11269790"/>
                <a:gd name="connsiteY12" fmla="*/ 873105 h 1994638"/>
                <a:gd name="connsiteX13" fmla="*/ 1552586 w 11269790"/>
                <a:gd name="connsiteY13" fmla="*/ 737154 h 1994638"/>
                <a:gd name="connsiteX14" fmla="*/ 1856577 w 11269790"/>
                <a:gd name="connsiteY14" fmla="*/ 737154 h 1994638"/>
                <a:gd name="connsiteX15" fmla="*/ 2432000 w 11269790"/>
                <a:gd name="connsiteY15" fmla="*/ 754148 h 1994638"/>
                <a:gd name="connsiteX16" fmla="*/ 3571999 w 11269790"/>
                <a:gd name="connsiteY16" fmla="*/ 754148 h 1994638"/>
                <a:gd name="connsiteX17" fmla="*/ 4266858 w 11269790"/>
                <a:gd name="connsiteY17" fmla="*/ 788136 h 1994638"/>
                <a:gd name="connsiteX18" fmla="*/ 4722868 w 11269790"/>
                <a:gd name="connsiteY18" fmla="*/ 728648 h 1994638"/>
                <a:gd name="connsiteX19" fmla="*/ 5200590 w 11269790"/>
                <a:gd name="connsiteY19" fmla="*/ 728648 h 1994638"/>
                <a:gd name="connsiteX20" fmla="*/ 5971459 w 11269790"/>
                <a:gd name="connsiteY20" fmla="*/ 771142 h 1994638"/>
                <a:gd name="connsiteX21" fmla="*/ 6850895 w 11269790"/>
                <a:gd name="connsiteY21" fmla="*/ 754148 h 1994638"/>
                <a:gd name="connsiteX22" fmla="*/ 7480613 w 11269790"/>
                <a:gd name="connsiteY22" fmla="*/ 762654 h 1994638"/>
                <a:gd name="connsiteX23" fmla="*/ 8316623 w 11269790"/>
                <a:gd name="connsiteY23" fmla="*/ 762654 h 1994638"/>
                <a:gd name="connsiteX24" fmla="*/ 9380636 w 11269790"/>
                <a:gd name="connsiteY24" fmla="*/ 788154 h 1994638"/>
                <a:gd name="connsiteX25" fmla="*/ 10129791 w 11269790"/>
                <a:gd name="connsiteY25" fmla="*/ 779648 h 1994638"/>
                <a:gd name="connsiteX26" fmla="*/ 10661786 w 11269790"/>
                <a:gd name="connsiteY26" fmla="*/ 771142 h 1994638"/>
                <a:gd name="connsiteX27" fmla="*/ 11139509 w 11269790"/>
                <a:gd name="connsiteY27" fmla="*/ 737154 h 1994638"/>
                <a:gd name="connsiteX28" fmla="*/ 11269790 w 11269790"/>
                <a:gd name="connsiteY28" fmla="*/ 754148 h 1994638"/>
                <a:gd name="connsiteX29" fmla="*/ 11269790 w 11269790"/>
                <a:gd name="connsiteY29" fmla="*/ 133791 h 1994638"/>
                <a:gd name="connsiteX30" fmla="*/ 11085214 w 11269790"/>
                <a:gd name="connsiteY30" fmla="*/ 65870 h 1994638"/>
                <a:gd name="connsiteX31" fmla="*/ 10270918 w 11269790"/>
                <a:gd name="connsiteY31" fmla="*/ 14889 h 1994638"/>
                <a:gd name="connsiteX32" fmla="*/ 9684627 w 11269790"/>
                <a:gd name="connsiteY32" fmla="*/ 108364 h 1994638"/>
                <a:gd name="connsiteX33" fmla="*/ 8783477 w 11269790"/>
                <a:gd name="connsiteY33" fmla="*/ 201839 h 1994638"/>
                <a:gd name="connsiteX34" fmla="*/ 7817186 w 11269790"/>
                <a:gd name="connsiteY34" fmla="*/ 201839 h 1994638"/>
                <a:gd name="connsiteX35" fmla="*/ 6090896 w 11269790"/>
                <a:gd name="connsiteY35" fmla="*/ 193333 h 1994638"/>
                <a:gd name="connsiteX36" fmla="*/ 5005168 w 11269790"/>
                <a:gd name="connsiteY36" fmla="*/ 65870 h 1994638"/>
                <a:gd name="connsiteX37" fmla="*/ 3213736 w 11269790"/>
                <a:gd name="connsiteY37" fmla="*/ 57364 h 1994638"/>
                <a:gd name="connsiteX38" fmla="*/ 2160591 w 11269790"/>
                <a:gd name="connsiteY38" fmla="*/ 82864 h 1994638"/>
                <a:gd name="connsiteX39" fmla="*/ 749159 w 11269790"/>
                <a:gd name="connsiteY39" fmla="*/ 116852 h 1994638"/>
                <a:gd name="connsiteX40" fmla="*/ 2673914 w 11269790"/>
                <a:gd name="connsiteY40" fmla="*/ 66415 h 1994638"/>
                <a:gd name="connsiteX0" fmla="*/ 2673914 w 11269790"/>
                <a:gd name="connsiteY0" fmla="*/ 66415 h 1994638"/>
                <a:gd name="connsiteX1" fmla="*/ 4 w 11269790"/>
                <a:gd name="connsiteY1" fmla="*/ 745642 h 1994638"/>
                <a:gd name="connsiteX2" fmla="*/ 249723 w 11269790"/>
                <a:gd name="connsiteY2" fmla="*/ 915580 h 1994638"/>
                <a:gd name="connsiteX3" fmla="*/ 271436 w 11269790"/>
                <a:gd name="connsiteY3" fmla="*/ 1077031 h 1994638"/>
                <a:gd name="connsiteX4" fmla="*/ 499441 w 11269790"/>
                <a:gd name="connsiteY4" fmla="*/ 1416926 h 1994638"/>
                <a:gd name="connsiteX5" fmla="*/ 629723 w 11269790"/>
                <a:gd name="connsiteY5" fmla="*/ 1595370 h 1994638"/>
                <a:gd name="connsiteX6" fmla="*/ 684018 w 11269790"/>
                <a:gd name="connsiteY6" fmla="*/ 1790808 h 1994638"/>
                <a:gd name="connsiteX7" fmla="*/ 846882 w 11269790"/>
                <a:gd name="connsiteY7" fmla="*/ 1986246 h 1994638"/>
                <a:gd name="connsiteX8" fmla="*/ 1009746 w 11269790"/>
                <a:gd name="connsiteY8" fmla="*/ 1858784 h 1994638"/>
                <a:gd name="connsiteX9" fmla="*/ 1031460 w 11269790"/>
                <a:gd name="connsiteY9" fmla="*/ 1595370 h 1994638"/>
                <a:gd name="connsiteX10" fmla="*/ 1183455 w 11269790"/>
                <a:gd name="connsiteY10" fmla="*/ 1510401 h 1994638"/>
                <a:gd name="connsiteX11" fmla="*/ 1292023 w 11269790"/>
                <a:gd name="connsiteY11" fmla="*/ 1229994 h 1994638"/>
                <a:gd name="connsiteX12" fmla="*/ 1400591 w 11269790"/>
                <a:gd name="connsiteY12" fmla="*/ 873105 h 1994638"/>
                <a:gd name="connsiteX13" fmla="*/ 1552586 w 11269790"/>
                <a:gd name="connsiteY13" fmla="*/ 737154 h 1994638"/>
                <a:gd name="connsiteX14" fmla="*/ 1856577 w 11269790"/>
                <a:gd name="connsiteY14" fmla="*/ 737154 h 1994638"/>
                <a:gd name="connsiteX15" fmla="*/ 2432000 w 11269790"/>
                <a:gd name="connsiteY15" fmla="*/ 754148 h 1994638"/>
                <a:gd name="connsiteX16" fmla="*/ 3571999 w 11269790"/>
                <a:gd name="connsiteY16" fmla="*/ 754148 h 1994638"/>
                <a:gd name="connsiteX17" fmla="*/ 4266858 w 11269790"/>
                <a:gd name="connsiteY17" fmla="*/ 788136 h 1994638"/>
                <a:gd name="connsiteX18" fmla="*/ 4722868 w 11269790"/>
                <a:gd name="connsiteY18" fmla="*/ 728648 h 1994638"/>
                <a:gd name="connsiteX19" fmla="*/ 5200590 w 11269790"/>
                <a:gd name="connsiteY19" fmla="*/ 728648 h 1994638"/>
                <a:gd name="connsiteX20" fmla="*/ 5971459 w 11269790"/>
                <a:gd name="connsiteY20" fmla="*/ 771142 h 1994638"/>
                <a:gd name="connsiteX21" fmla="*/ 6850895 w 11269790"/>
                <a:gd name="connsiteY21" fmla="*/ 754148 h 1994638"/>
                <a:gd name="connsiteX22" fmla="*/ 7480613 w 11269790"/>
                <a:gd name="connsiteY22" fmla="*/ 762654 h 1994638"/>
                <a:gd name="connsiteX23" fmla="*/ 8316623 w 11269790"/>
                <a:gd name="connsiteY23" fmla="*/ 762654 h 1994638"/>
                <a:gd name="connsiteX24" fmla="*/ 9380636 w 11269790"/>
                <a:gd name="connsiteY24" fmla="*/ 788154 h 1994638"/>
                <a:gd name="connsiteX25" fmla="*/ 10129791 w 11269790"/>
                <a:gd name="connsiteY25" fmla="*/ 779648 h 1994638"/>
                <a:gd name="connsiteX26" fmla="*/ 10661786 w 11269790"/>
                <a:gd name="connsiteY26" fmla="*/ 771142 h 1994638"/>
                <a:gd name="connsiteX27" fmla="*/ 11139509 w 11269790"/>
                <a:gd name="connsiteY27" fmla="*/ 737154 h 1994638"/>
                <a:gd name="connsiteX28" fmla="*/ 11269790 w 11269790"/>
                <a:gd name="connsiteY28" fmla="*/ 754148 h 1994638"/>
                <a:gd name="connsiteX29" fmla="*/ 11269790 w 11269790"/>
                <a:gd name="connsiteY29" fmla="*/ 133791 h 1994638"/>
                <a:gd name="connsiteX30" fmla="*/ 11085214 w 11269790"/>
                <a:gd name="connsiteY30" fmla="*/ 65870 h 1994638"/>
                <a:gd name="connsiteX31" fmla="*/ 10270918 w 11269790"/>
                <a:gd name="connsiteY31" fmla="*/ 14889 h 1994638"/>
                <a:gd name="connsiteX32" fmla="*/ 9684627 w 11269790"/>
                <a:gd name="connsiteY32" fmla="*/ 108364 h 1994638"/>
                <a:gd name="connsiteX33" fmla="*/ 8783477 w 11269790"/>
                <a:gd name="connsiteY33" fmla="*/ 201839 h 1994638"/>
                <a:gd name="connsiteX34" fmla="*/ 7817186 w 11269790"/>
                <a:gd name="connsiteY34" fmla="*/ 201839 h 1994638"/>
                <a:gd name="connsiteX35" fmla="*/ 6090896 w 11269790"/>
                <a:gd name="connsiteY35" fmla="*/ 193333 h 1994638"/>
                <a:gd name="connsiteX36" fmla="*/ 5005168 w 11269790"/>
                <a:gd name="connsiteY36" fmla="*/ 65870 h 1994638"/>
                <a:gd name="connsiteX37" fmla="*/ 3213736 w 11269790"/>
                <a:gd name="connsiteY37" fmla="*/ 57364 h 1994638"/>
                <a:gd name="connsiteX38" fmla="*/ 2160591 w 11269790"/>
                <a:gd name="connsiteY38" fmla="*/ 82864 h 1994638"/>
                <a:gd name="connsiteX39" fmla="*/ 2673914 w 11269790"/>
                <a:gd name="connsiteY39" fmla="*/ 66415 h 1994638"/>
                <a:gd name="connsiteX0" fmla="*/ 2673914 w 11269790"/>
                <a:gd name="connsiteY0" fmla="*/ 66415 h 1994638"/>
                <a:gd name="connsiteX1" fmla="*/ 4 w 11269790"/>
                <a:gd name="connsiteY1" fmla="*/ 745642 h 1994638"/>
                <a:gd name="connsiteX2" fmla="*/ 249723 w 11269790"/>
                <a:gd name="connsiteY2" fmla="*/ 915580 h 1994638"/>
                <a:gd name="connsiteX3" fmla="*/ 271436 w 11269790"/>
                <a:gd name="connsiteY3" fmla="*/ 1077031 h 1994638"/>
                <a:gd name="connsiteX4" fmla="*/ 499441 w 11269790"/>
                <a:gd name="connsiteY4" fmla="*/ 1416926 h 1994638"/>
                <a:gd name="connsiteX5" fmla="*/ 629723 w 11269790"/>
                <a:gd name="connsiteY5" fmla="*/ 1595370 h 1994638"/>
                <a:gd name="connsiteX6" fmla="*/ 684018 w 11269790"/>
                <a:gd name="connsiteY6" fmla="*/ 1790808 h 1994638"/>
                <a:gd name="connsiteX7" fmla="*/ 846882 w 11269790"/>
                <a:gd name="connsiteY7" fmla="*/ 1986246 h 1994638"/>
                <a:gd name="connsiteX8" fmla="*/ 1009746 w 11269790"/>
                <a:gd name="connsiteY8" fmla="*/ 1858784 h 1994638"/>
                <a:gd name="connsiteX9" fmla="*/ 1031460 w 11269790"/>
                <a:gd name="connsiteY9" fmla="*/ 1595370 h 1994638"/>
                <a:gd name="connsiteX10" fmla="*/ 1183455 w 11269790"/>
                <a:gd name="connsiteY10" fmla="*/ 1510401 h 1994638"/>
                <a:gd name="connsiteX11" fmla="*/ 1292023 w 11269790"/>
                <a:gd name="connsiteY11" fmla="*/ 1229994 h 1994638"/>
                <a:gd name="connsiteX12" fmla="*/ 1400591 w 11269790"/>
                <a:gd name="connsiteY12" fmla="*/ 873105 h 1994638"/>
                <a:gd name="connsiteX13" fmla="*/ 1552586 w 11269790"/>
                <a:gd name="connsiteY13" fmla="*/ 737154 h 1994638"/>
                <a:gd name="connsiteX14" fmla="*/ 1856577 w 11269790"/>
                <a:gd name="connsiteY14" fmla="*/ 737154 h 1994638"/>
                <a:gd name="connsiteX15" fmla="*/ 2432000 w 11269790"/>
                <a:gd name="connsiteY15" fmla="*/ 754148 h 1994638"/>
                <a:gd name="connsiteX16" fmla="*/ 3571999 w 11269790"/>
                <a:gd name="connsiteY16" fmla="*/ 754148 h 1994638"/>
                <a:gd name="connsiteX17" fmla="*/ 4266858 w 11269790"/>
                <a:gd name="connsiteY17" fmla="*/ 788136 h 1994638"/>
                <a:gd name="connsiteX18" fmla="*/ 4722868 w 11269790"/>
                <a:gd name="connsiteY18" fmla="*/ 728648 h 1994638"/>
                <a:gd name="connsiteX19" fmla="*/ 5200590 w 11269790"/>
                <a:gd name="connsiteY19" fmla="*/ 728648 h 1994638"/>
                <a:gd name="connsiteX20" fmla="*/ 5971459 w 11269790"/>
                <a:gd name="connsiteY20" fmla="*/ 771142 h 1994638"/>
                <a:gd name="connsiteX21" fmla="*/ 6850895 w 11269790"/>
                <a:gd name="connsiteY21" fmla="*/ 754148 h 1994638"/>
                <a:gd name="connsiteX22" fmla="*/ 7480613 w 11269790"/>
                <a:gd name="connsiteY22" fmla="*/ 762654 h 1994638"/>
                <a:gd name="connsiteX23" fmla="*/ 8316623 w 11269790"/>
                <a:gd name="connsiteY23" fmla="*/ 762654 h 1994638"/>
                <a:gd name="connsiteX24" fmla="*/ 9380636 w 11269790"/>
                <a:gd name="connsiteY24" fmla="*/ 788154 h 1994638"/>
                <a:gd name="connsiteX25" fmla="*/ 10129791 w 11269790"/>
                <a:gd name="connsiteY25" fmla="*/ 779648 h 1994638"/>
                <a:gd name="connsiteX26" fmla="*/ 10661786 w 11269790"/>
                <a:gd name="connsiteY26" fmla="*/ 771142 h 1994638"/>
                <a:gd name="connsiteX27" fmla="*/ 11139509 w 11269790"/>
                <a:gd name="connsiteY27" fmla="*/ 737154 h 1994638"/>
                <a:gd name="connsiteX28" fmla="*/ 11269790 w 11269790"/>
                <a:gd name="connsiteY28" fmla="*/ 754148 h 1994638"/>
                <a:gd name="connsiteX29" fmla="*/ 11269790 w 11269790"/>
                <a:gd name="connsiteY29" fmla="*/ 133791 h 1994638"/>
                <a:gd name="connsiteX30" fmla="*/ 11085214 w 11269790"/>
                <a:gd name="connsiteY30" fmla="*/ 65870 h 1994638"/>
                <a:gd name="connsiteX31" fmla="*/ 10270918 w 11269790"/>
                <a:gd name="connsiteY31" fmla="*/ 14889 h 1994638"/>
                <a:gd name="connsiteX32" fmla="*/ 9684627 w 11269790"/>
                <a:gd name="connsiteY32" fmla="*/ 108364 h 1994638"/>
                <a:gd name="connsiteX33" fmla="*/ 8783477 w 11269790"/>
                <a:gd name="connsiteY33" fmla="*/ 201839 h 1994638"/>
                <a:gd name="connsiteX34" fmla="*/ 7817186 w 11269790"/>
                <a:gd name="connsiteY34" fmla="*/ 201839 h 1994638"/>
                <a:gd name="connsiteX35" fmla="*/ 6090896 w 11269790"/>
                <a:gd name="connsiteY35" fmla="*/ 193333 h 1994638"/>
                <a:gd name="connsiteX36" fmla="*/ 5005168 w 11269790"/>
                <a:gd name="connsiteY36" fmla="*/ 65870 h 1994638"/>
                <a:gd name="connsiteX37" fmla="*/ 3213736 w 11269790"/>
                <a:gd name="connsiteY37" fmla="*/ 57364 h 1994638"/>
                <a:gd name="connsiteX38" fmla="*/ 2673914 w 11269790"/>
                <a:gd name="connsiteY38" fmla="*/ 66415 h 1994638"/>
                <a:gd name="connsiteX0" fmla="*/ 2598674 w 11194550"/>
                <a:gd name="connsiteY0" fmla="*/ 66415 h 1994638"/>
                <a:gd name="connsiteX1" fmla="*/ 174483 w 11194550"/>
                <a:gd name="connsiteY1" fmla="*/ 915580 h 1994638"/>
                <a:gd name="connsiteX2" fmla="*/ 196196 w 11194550"/>
                <a:gd name="connsiteY2" fmla="*/ 1077031 h 1994638"/>
                <a:gd name="connsiteX3" fmla="*/ 424201 w 11194550"/>
                <a:gd name="connsiteY3" fmla="*/ 1416926 h 1994638"/>
                <a:gd name="connsiteX4" fmla="*/ 554483 w 11194550"/>
                <a:gd name="connsiteY4" fmla="*/ 1595370 h 1994638"/>
                <a:gd name="connsiteX5" fmla="*/ 608778 w 11194550"/>
                <a:gd name="connsiteY5" fmla="*/ 1790808 h 1994638"/>
                <a:gd name="connsiteX6" fmla="*/ 771642 w 11194550"/>
                <a:gd name="connsiteY6" fmla="*/ 1986246 h 1994638"/>
                <a:gd name="connsiteX7" fmla="*/ 934506 w 11194550"/>
                <a:gd name="connsiteY7" fmla="*/ 1858784 h 1994638"/>
                <a:gd name="connsiteX8" fmla="*/ 956220 w 11194550"/>
                <a:gd name="connsiteY8" fmla="*/ 1595370 h 1994638"/>
                <a:gd name="connsiteX9" fmla="*/ 1108215 w 11194550"/>
                <a:gd name="connsiteY9" fmla="*/ 1510401 h 1994638"/>
                <a:gd name="connsiteX10" fmla="*/ 1216783 w 11194550"/>
                <a:gd name="connsiteY10" fmla="*/ 1229994 h 1994638"/>
                <a:gd name="connsiteX11" fmla="*/ 1325351 w 11194550"/>
                <a:gd name="connsiteY11" fmla="*/ 873105 h 1994638"/>
                <a:gd name="connsiteX12" fmla="*/ 1477346 w 11194550"/>
                <a:gd name="connsiteY12" fmla="*/ 737154 h 1994638"/>
                <a:gd name="connsiteX13" fmla="*/ 1781337 w 11194550"/>
                <a:gd name="connsiteY13" fmla="*/ 737154 h 1994638"/>
                <a:gd name="connsiteX14" fmla="*/ 2356760 w 11194550"/>
                <a:gd name="connsiteY14" fmla="*/ 754148 h 1994638"/>
                <a:gd name="connsiteX15" fmla="*/ 3496759 w 11194550"/>
                <a:gd name="connsiteY15" fmla="*/ 754148 h 1994638"/>
                <a:gd name="connsiteX16" fmla="*/ 4191618 w 11194550"/>
                <a:gd name="connsiteY16" fmla="*/ 788136 h 1994638"/>
                <a:gd name="connsiteX17" fmla="*/ 4647628 w 11194550"/>
                <a:gd name="connsiteY17" fmla="*/ 728648 h 1994638"/>
                <a:gd name="connsiteX18" fmla="*/ 5125350 w 11194550"/>
                <a:gd name="connsiteY18" fmla="*/ 728648 h 1994638"/>
                <a:gd name="connsiteX19" fmla="*/ 5896219 w 11194550"/>
                <a:gd name="connsiteY19" fmla="*/ 771142 h 1994638"/>
                <a:gd name="connsiteX20" fmla="*/ 6775655 w 11194550"/>
                <a:gd name="connsiteY20" fmla="*/ 754148 h 1994638"/>
                <a:gd name="connsiteX21" fmla="*/ 7405373 w 11194550"/>
                <a:gd name="connsiteY21" fmla="*/ 762654 h 1994638"/>
                <a:gd name="connsiteX22" fmla="*/ 8241383 w 11194550"/>
                <a:gd name="connsiteY22" fmla="*/ 762654 h 1994638"/>
                <a:gd name="connsiteX23" fmla="*/ 9305396 w 11194550"/>
                <a:gd name="connsiteY23" fmla="*/ 788154 h 1994638"/>
                <a:gd name="connsiteX24" fmla="*/ 10054551 w 11194550"/>
                <a:gd name="connsiteY24" fmla="*/ 779648 h 1994638"/>
                <a:gd name="connsiteX25" fmla="*/ 10586546 w 11194550"/>
                <a:gd name="connsiteY25" fmla="*/ 771142 h 1994638"/>
                <a:gd name="connsiteX26" fmla="*/ 11064269 w 11194550"/>
                <a:gd name="connsiteY26" fmla="*/ 737154 h 1994638"/>
                <a:gd name="connsiteX27" fmla="*/ 11194550 w 11194550"/>
                <a:gd name="connsiteY27" fmla="*/ 754148 h 1994638"/>
                <a:gd name="connsiteX28" fmla="*/ 11194550 w 11194550"/>
                <a:gd name="connsiteY28" fmla="*/ 133791 h 1994638"/>
                <a:gd name="connsiteX29" fmla="*/ 11009974 w 11194550"/>
                <a:gd name="connsiteY29" fmla="*/ 65870 h 1994638"/>
                <a:gd name="connsiteX30" fmla="*/ 10195678 w 11194550"/>
                <a:gd name="connsiteY30" fmla="*/ 14889 h 1994638"/>
                <a:gd name="connsiteX31" fmla="*/ 9609387 w 11194550"/>
                <a:gd name="connsiteY31" fmla="*/ 108364 h 1994638"/>
                <a:gd name="connsiteX32" fmla="*/ 8708237 w 11194550"/>
                <a:gd name="connsiteY32" fmla="*/ 201839 h 1994638"/>
                <a:gd name="connsiteX33" fmla="*/ 7741946 w 11194550"/>
                <a:gd name="connsiteY33" fmla="*/ 201839 h 1994638"/>
                <a:gd name="connsiteX34" fmla="*/ 6015656 w 11194550"/>
                <a:gd name="connsiteY34" fmla="*/ 193333 h 1994638"/>
                <a:gd name="connsiteX35" fmla="*/ 4929928 w 11194550"/>
                <a:gd name="connsiteY35" fmla="*/ 65870 h 1994638"/>
                <a:gd name="connsiteX36" fmla="*/ 3138496 w 11194550"/>
                <a:gd name="connsiteY36" fmla="*/ 57364 h 1994638"/>
                <a:gd name="connsiteX37" fmla="*/ 2598674 w 11194550"/>
                <a:gd name="connsiteY37" fmla="*/ 66415 h 1994638"/>
                <a:gd name="connsiteX0" fmla="*/ 2523012 w 11118888"/>
                <a:gd name="connsiteY0" fmla="*/ 66415 h 1994638"/>
                <a:gd name="connsiteX1" fmla="*/ 2391070 w 11118888"/>
                <a:gd name="connsiteY1" fmla="*/ 622730 h 1994638"/>
                <a:gd name="connsiteX2" fmla="*/ 120534 w 11118888"/>
                <a:gd name="connsiteY2" fmla="*/ 1077031 h 1994638"/>
                <a:gd name="connsiteX3" fmla="*/ 348539 w 11118888"/>
                <a:gd name="connsiteY3" fmla="*/ 1416926 h 1994638"/>
                <a:gd name="connsiteX4" fmla="*/ 478821 w 11118888"/>
                <a:gd name="connsiteY4" fmla="*/ 1595370 h 1994638"/>
                <a:gd name="connsiteX5" fmla="*/ 533116 w 11118888"/>
                <a:gd name="connsiteY5" fmla="*/ 1790808 h 1994638"/>
                <a:gd name="connsiteX6" fmla="*/ 695980 w 11118888"/>
                <a:gd name="connsiteY6" fmla="*/ 1986246 h 1994638"/>
                <a:gd name="connsiteX7" fmla="*/ 858844 w 11118888"/>
                <a:gd name="connsiteY7" fmla="*/ 1858784 h 1994638"/>
                <a:gd name="connsiteX8" fmla="*/ 880558 w 11118888"/>
                <a:gd name="connsiteY8" fmla="*/ 1595370 h 1994638"/>
                <a:gd name="connsiteX9" fmla="*/ 1032553 w 11118888"/>
                <a:gd name="connsiteY9" fmla="*/ 1510401 h 1994638"/>
                <a:gd name="connsiteX10" fmla="*/ 1141121 w 11118888"/>
                <a:gd name="connsiteY10" fmla="*/ 1229994 h 1994638"/>
                <a:gd name="connsiteX11" fmla="*/ 1249689 w 11118888"/>
                <a:gd name="connsiteY11" fmla="*/ 873105 h 1994638"/>
                <a:gd name="connsiteX12" fmla="*/ 1401684 w 11118888"/>
                <a:gd name="connsiteY12" fmla="*/ 737154 h 1994638"/>
                <a:gd name="connsiteX13" fmla="*/ 1705675 w 11118888"/>
                <a:gd name="connsiteY13" fmla="*/ 737154 h 1994638"/>
                <a:gd name="connsiteX14" fmla="*/ 2281098 w 11118888"/>
                <a:gd name="connsiteY14" fmla="*/ 754148 h 1994638"/>
                <a:gd name="connsiteX15" fmla="*/ 3421097 w 11118888"/>
                <a:gd name="connsiteY15" fmla="*/ 754148 h 1994638"/>
                <a:gd name="connsiteX16" fmla="*/ 4115956 w 11118888"/>
                <a:gd name="connsiteY16" fmla="*/ 788136 h 1994638"/>
                <a:gd name="connsiteX17" fmla="*/ 4571966 w 11118888"/>
                <a:gd name="connsiteY17" fmla="*/ 728648 h 1994638"/>
                <a:gd name="connsiteX18" fmla="*/ 5049688 w 11118888"/>
                <a:gd name="connsiteY18" fmla="*/ 728648 h 1994638"/>
                <a:gd name="connsiteX19" fmla="*/ 5820557 w 11118888"/>
                <a:gd name="connsiteY19" fmla="*/ 771142 h 1994638"/>
                <a:gd name="connsiteX20" fmla="*/ 6699993 w 11118888"/>
                <a:gd name="connsiteY20" fmla="*/ 754148 h 1994638"/>
                <a:gd name="connsiteX21" fmla="*/ 7329711 w 11118888"/>
                <a:gd name="connsiteY21" fmla="*/ 762654 h 1994638"/>
                <a:gd name="connsiteX22" fmla="*/ 8165721 w 11118888"/>
                <a:gd name="connsiteY22" fmla="*/ 762654 h 1994638"/>
                <a:gd name="connsiteX23" fmla="*/ 9229734 w 11118888"/>
                <a:gd name="connsiteY23" fmla="*/ 788154 h 1994638"/>
                <a:gd name="connsiteX24" fmla="*/ 9978889 w 11118888"/>
                <a:gd name="connsiteY24" fmla="*/ 779648 h 1994638"/>
                <a:gd name="connsiteX25" fmla="*/ 10510884 w 11118888"/>
                <a:gd name="connsiteY25" fmla="*/ 771142 h 1994638"/>
                <a:gd name="connsiteX26" fmla="*/ 10988607 w 11118888"/>
                <a:gd name="connsiteY26" fmla="*/ 737154 h 1994638"/>
                <a:gd name="connsiteX27" fmla="*/ 11118888 w 11118888"/>
                <a:gd name="connsiteY27" fmla="*/ 754148 h 1994638"/>
                <a:gd name="connsiteX28" fmla="*/ 11118888 w 11118888"/>
                <a:gd name="connsiteY28" fmla="*/ 133791 h 1994638"/>
                <a:gd name="connsiteX29" fmla="*/ 10934312 w 11118888"/>
                <a:gd name="connsiteY29" fmla="*/ 65870 h 1994638"/>
                <a:gd name="connsiteX30" fmla="*/ 10120016 w 11118888"/>
                <a:gd name="connsiteY30" fmla="*/ 14889 h 1994638"/>
                <a:gd name="connsiteX31" fmla="*/ 9533725 w 11118888"/>
                <a:gd name="connsiteY31" fmla="*/ 108364 h 1994638"/>
                <a:gd name="connsiteX32" fmla="*/ 8632575 w 11118888"/>
                <a:gd name="connsiteY32" fmla="*/ 201839 h 1994638"/>
                <a:gd name="connsiteX33" fmla="*/ 7666284 w 11118888"/>
                <a:gd name="connsiteY33" fmla="*/ 201839 h 1994638"/>
                <a:gd name="connsiteX34" fmla="*/ 5939994 w 11118888"/>
                <a:gd name="connsiteY34" fmla="*/ 193333 h 1994638"/>
                <a:gd name="connsiteX35" fmla="*/ 4854266 w 11118888"/>
                <a:gd name="connsiteY35" fmla="*/ 65870 h 1994638"/>
                <a:gd name="connsiteX36" fmla="*/ 3062834 w 11118888"/>
                <a:gd name="connsiteY36" fmla="*/ 57364 h 1994638"/>
                <a:gd name="connsiteX37" fmla="*/ 2523012 w 11118888"/>
                <a:gd name="connsiteY37" fmla="*/ 66415 h 1994638"/>
                <a:gd name="connsiteX0" fmla="*/ 2523012 w 11118888"/>
                <a:gd name="connsiteY0" fmla="*/ 66415 h 1994638"/>
                <a:gd name="connsiteX1" fmla="*/ 2391070 w 11118888"/>
                <a:gd name="connsiteY1" fmla="*/ 622730 h 1994638"/>
                <a:gd name="connsiteX2" fmla="*/ 120534 w 11118888"/>
                <a:gd name="connsiteY2" fmla="*/ 1077031 h 1994638"/>
                <a:gd name="connsiteX3" fmla="*/ 348539 w 11118888"/>
                <a:gd name="connsiteY3" fmla="*/ 1416926 h 1994638"/>
                <a:gd name="connsiteX4" fmla="*/ 478821 w 11118888"/>
                <a:gd name="connsiteY4" fmla="*/ 1595370 h 1994638"/>
                <a:gd name="connsiteX5" fmla="*/ 533116 w 11118888"/>
                <a:gd name="connsiteY5" fmla="*/ 1790808 h 1994638"/>
                <a:gd name="connsiteX6" fmla="*/ 695980 w 11118888"/>
                <a:gd name="connsiteY6" fmla="*/ 1986246 h 1994638"/>
                <a:gd name="connsiteX7" fmla="*/ 858844 w 11118888"/>
                <a:gd name="connsiteY7" fmla="*/ 1858784 h 1994638"/>
                <a:gd name="connsiteX8" fmla="*/ 880558 w 11118888"/>
                <a:gd name="connsiteY8" fmla="*/ 1595370 h 1994638"/>
                <a:gd name="connsiteX9" fmla="*/ 1032553 w 11118888"/>
                <a:gd name="connsiteY9" fmla="*/ 1510401 h 1994638"/>
                <a:gd name="connsiteX10" fmla="*/ 1141121 w 11118888"/>
                <a:gd name="connsiteY10" fmla="*/ 1229994 h 1994638"/>
                <a:gd name="connsiteX11" fmla="*/ 1249689 w 11118888"/>
                <a:gd name="connsiteY11" fmla="*/ 873105 h 1994638"/>
                <a:gd name="connsiteX12" fmla="*/ 1401684 w 11118888"/>
                <a:gd name="connsiteY12" fmla="*/ 737154 h 1994638"/>
                <a:gd name="connsiteX13" fmla="*/ 1705675 w 11118888"/>
                <a:gd name="connsiteY13" fmla="*/ 737154 h 1994638"/>
                <a:gd name="connsiteX14" fmla="*/ 2281098 w 11118888"/>
                <a:gd name="connsiteY14" fmla="*/ 754148 h 1994638"/>
                <a:gd name="connsiteX15" fmla="*/ 3421097 w 11118888"/>
                <a:gd name="connsiteY15" fmla="*/ 754148 h 1994638"/>
                <a:gd name="connsiteX16" fmla="*/ 4115956 w 11118888"/>
                <a:gd name="connsiteY16" fmla="*/ 788136 h 1994638"/>
                <a:gd name="connsiteX17" fmla="*/ 4571966 w 11118888"/>
                <a:gd name="connsiteY17" fmla="*/ 728648 h 1994638"/>
                <a:gd name="connsiteX18" fmla="*/ 5049688 w 11118888"/>
                <a:gd name="connsiteY18" fmla="*/ 728648 h 1994638"/>
                <a:gd name="connsiteX19" fmla="*/ 5820557 w 11118888"/>
                <a:gd name="connsiteY19" fmla="*/ 771142 h 1994638"/>
                <a:gd name="connsiteX20" fmla="*/ 6699993 w 11118888"/>
                <a:gd name="connsiteY20" fmla="*/ 754148 h 1994638"/>
                <a:gd name="connsiteX21" fmla="*/ 7329711 w 11118888"/>
                <a:gd name="connsiteY21" fmla="*/ 762654 h 1994638"/>
                <a:gd name="connsiteX22" fmla="*/ 8165721 w 11118888"/>
                <a:gd name="connsiteY22" fmla="*/ 762654 h 1994638"/>
                <a:gd name="connsiteX23" fmla="*/ 9229734 w 11118888"/>
                <a:gd name="connsiteY23" fmla="*/ 788154 h 1994638"/>
                <a:gd name="connsiteX24" fmla="*/ 9978889 w 11118888"/>
                <a:gd name="connsiteY24" fmla="*/ 779648 h 1994638"/>
                <a:gd name="connsiteX25" fmla="*/ 10510884 w 11118888"/>
                <a:gd name="connsiteY25" fmla="*/ 771142 h 1994638"/>
                <a:gd name="connsiteX26" fmla="*/ 10988607 w 11118888"/>
                <a:gd name="connsiteY26" fmla="*/ 737154 h 1994638"/>
                <a:gd name="connsiteX27" fmla="*/ 11118888 w 11118888"/>
                <a:gd name="connsiteY27" fmla="*/ 754148 h 1994638"/>
                <a:gd name="connsiteX28" fmla="*/ 11118888 w 11118888"/>
                <a:gd name="connsiteY28" fmla="*/ 133791 h 1994638"/>
                <a:gd name="connsiteX29" fmla="*/ 10934312 w 11118888"/>
                <a:gd name="connsiteY29" fmla="*/ 65870 h 1994638"/>
                <a:gd name="connsiteX30" fmla="*/ 10120016 w 11118888"/>
                <a:gd name="connsiteY30" fmla="*/ 14889 h 1994638"/>
                <a:gd name="connsiteX31" fmla="*/ 9533725 w 11118888"/>
                <a:gd name="connsiteY31" fmla="*/ 108364 h 1994638"/>
                <a:gd name="connsiteX32" fmla="*/ 8632575 w 11118888"/>
                <a:gd name="connsiteY32" fmla="*/ 201839 h 1994638"/>
                <a:gd name="connsiteX33" fmla="*/ 7666284 w 11118888"/>
                <a:gd name="connsiteY33" fmla="*/ 201839 h 1994638"/>
                <a:gd name="connsiteX34" fmla="*/ 5939994 w 11118888"/>
                <a:gd name="connsiteY34" fmla="*/ 193333 h 1994638"/>
                <a:gd name="connsiteX35" fmla="*/ 4854266 w 11118888"/>
                <a:gd name="connsiteY35" fmla="*/ 65870 h 1994638"/>
                <a:gd name="connsiteX36" fmla="*/ 3062834 w 11118888"/>
                <a:gd name="connsiteY36" fmla="*/ 57364 h 1994638"/>
                <a:gd name="connsiteX37" fmla="*/ 2523012 w 11118888"/>
                <a:gd name="connsiteY37" fmla="*/ 66415 h 1994638"/>
                <a:gd name="connsiteX0" fmla="*/ 2532379 w 11128255"/>
                <a:gd name="connsiteY0" fmla="*/ 66415 h 1994638"/>
                <a:gd name="connsiteX1" fmla="*/ 129901 w 11128255"/>
                <a:gd name="connsiteY1" fmla="*/ 1077031 h 1994638"/>
                <a:gd name="connsiteX2" fmla="*/ 357906 w 11128255"/>
                <a:gd name="connsiteY2" fmla="*/ 1416926 h 1994638"/>
                <a:gd name="connsiteX3" fmla="*/ 488188 w 11128255"/>
                <a:gd name="connsiteY3" fmla="*/ 1595370 h 1994638"/>
                <a:gd name="connsiteX4" fmla="*/ 542483 w 11128255"/>
                <a:gd name="connsiteY4" fmla="*/ 1790808 h 1994638"/>
                <a:gd name="connsiteX5" fmla="*/ 705347 w 11128255"/>
                <a:gd name="connsiteY5" fmla="*/ 1986246 h 1994638"/>
                <a:gd name="connsiteX6" fmla="*/ 868211 w 11128255"/>
                <a:gd name="connsiteY6" fmla="*/ 1858784 h 1994638"/>
                <a:gd name="connsiteX7" fmla="*/ 889925 w 11128255"/>
                <a:gd name="connsiteY7" fmla="*/ 1595370 h 1994638"/>
                <a:gd name="connsiteX8" fmla="*/ 1041920 w 11128255"/>
                <a:gd name="connsiteY8" fmla="*/ 1510401 h 1994638"/>
                <a:gd name="connsiteX9" fmla="*/ 1150488 w 11128255"/>
                <a:gd name="connsiteY9" fmla="*/ 1229994 h 1994638"/>
                <a:gd name="connsiteX10" fmla="*/ 1259056 w 11128255"/>
                <a:gd name="connsiteY10" fmla="*/ 873105 h 1994638"/>
                <a:gd name="connsiteX11" fmla="*/ 1411051 w 11128255"/>
                <a:gd name="connsiteY11" fmla="*/ 737154 h 1994638"/>
                <a:gd name="connsiteX12" fmla="*/ 1715042 w 11128255"/>
                <a:gd name="connsiteY12" fmla="*/ 737154 h 1994638"/>
                <a:gd name="connsiteX13" fmla="*/ 2290465 w 11128255"/>
                <a:gd name="connsiteY13" fmla="*/ 754148 h 1994638"/>
                <a:gd name="connsiteX14" fmla="*/ 3430464 w 11128255"/>
                <a:gd name="connsiteY14" fmla="*/ 754148 h 1994638"/>
                <a:gd name="connsiteX15" fmla="*/ 4125323 w 11128255"/>
                <a:gd name="connsiteY15" fmla="*/ 788136 h 1994638"/>
                <a:gd name="connsiteX16" fmla="*/ 4581333 w 11128255"/>
                <a:gd name="connsiteY16" fmla="*/ 728648 h 1994638"/>
                <a:gd name="connsiteX17" fmla="*/ 5059055 w 11128255"/>
                <a:gd name="connsiteY17" fmla="*/ 728648 h 1994638"/>
                <a:gd name="connsiteX18" fmla="*/ 5829924 w 11128255"/>
                <a:gd name="connsiteY18" fmla="*/ 771142 h 1994638"/>
                <a:gd name="connsiteX19" fmla="*/ 6709360 w 11128255"/>
                <a:gd name="connsiteY19" fmla="*/ 754148 h 1994638"/>
                <a:gd name="connsiteX20" fmla="*/ 7339078 w 11128255"/>
                <a:gd name="connsiteY20" fmla="*/ 762654 h 1994638"/>
                <a:gd name="connsiteX21" fmla="*/ 8175088 w 11128255"/>
                <a:gd name="connsiteY21" fmla="*/ 762654 h 1994638"/>
                <a:gd name="connsiteX22" fmla="*/ 9239101 w 11128255"/>
                <a:gd name="connsiteY22" fmla="*/ 788154 h 1994638"/>
                <a:gd name="connsiteX23" fmla="*/ 9988256 w 11128255"/>
                <a:gd name="connsiteY23" fmla="*/ 779648 h 1994638"/>
                <a:gd name="connsiteX24" fmla="*/ 10520251 w 11128255"/>
                <a:gd name="connsiteY24" fmla="*/ 771142 h 1994638"/>
                <a:gd name="connsiteX25" fmla="*/ 10997974 w 11128255"/>
                <a:gd name="connsiteY25" fmla="*/ 737154 h 1994638"/>
                <a:gd name="connsiteX26" fmla="*/ 11128255 w 11128255"/>
                <a:gd name="connsiteY26" fmla="*/ 754148 h 1994638"/>
                <a:gd name="connsiteX27" fmla="*/ 11128255 w 11128255"/>
                <a:gd name="connsiteY27" fmla="*/ 133791 h 1994638"/>
                <a:gd name="connsiteX28" fmla="*/ 10943679 w 11128255"/>
                <a:gd name="connsiteY28" fmla="*/ 65870 h 1994638"/>
                <a:gd name="connsiteX29" fmla="*/ 10129383 w 11128255"/>
                <a:gd name="connsiteY29" fmla="*/ 14889 h 1994638"/>
                <a:gd name="connsiteX30" fmla="*/ 9543092 w 11128255"/>
                <a:gd name="connsiteY30" fmla="*/ 108364 h 1994638"/>
                <a:gd name="connsiteX31" fmla="*/ 8641942 w 11128255"/>
                <a:gd name="connsiteY31" fmla="*/ 201839 h 1994638"/>
                <a:gd name="connsiteX32" fmla="*/ 7675651 w 11128255"/>
                <a:gd name="connsiteY32" fmla="*/ 201839 h 1994638"/>
                <a:gd name="connsiteX33" fmla="*/ 5949361 w 11128255"/>
                <a:gd name="connsiteY33" fmla="*/ 193333 h 1994638"/>
                <a:gd name="connsiteX34" fmla="*/ 4863633 w 11128255"/>
                <a:gd name="connsiteY34" fmla="*/ 65870 h 1994638"/>
                <a:gd name="connsiteX35" fmla="*/ 3072201 w 11128255"/>
                <a:gd name="connsiteY35" fmla="*/ 57364 h 1994638"/>
                <a:gd name="connsiteX36" fmla="*/ 2532379 w 11128255"/>
                <a:gd name="connsiteY36" fmla="*/ 66415 h 1994638"/>
                <a:gd name="connsiteX0" fmla="*/ 2290884 w 10886760"/>
                <a:gd name="connsiteY0" fmla="*/ 66415 h 1994638"/>
                <a:gd name="connsiteX1" fmla="*/ 2173324 w 10886760"/>
                <a:gd name="connsiteY1" fmla="*/ 625754 h 1994638"/>
                <a:gd name="connsiteX2" fmla="*/ 116411 w 10886760"/>
                <a:gd name="connsiteY2" fmla="*/ 1416926 h 1994638"/>
                <a:gd name="connsiteX3" fmla="*/ 246693 w 10886760"/>
                <a:gd name="connsiteY3" fmla="*/ 1595370 h 1994638"/>
                <a:gd name="connsiteX4" fmla="*/ 300988 w 10886760"/>
                <a:gd name="connsiteY4" fmla="*/ 1790808 h 1994638"/>
                <a:gd name="connsiteX5" fmla="*/ 463852 w 10886760"/>
                <a:gd name="connsiteY5" fmla="*/ 1986246 h 1994638"/>
                <a:gd name="connsiteX6" fmla="*/ 626716 w 10886760"/>
                <a:gd name="connsiteY6" fmla="*/ 1858784 h 1994638"/>
                <a:gd name="connsiteX7" fmla="*/ 648430 w 10886760"/>
                <a:gd name="connsiteY7" fmla="*/ 1595370 h 1994638"/>
                <a:gd name="connsiteX8" fmla="*/ 800425 w 10886760"/>
                <a:gd name="connsiteY8" fmla="*/ 1510401 h 1994638"/>
                <a:gd name="connsiteX9" fmla="*/ 908993 w 10886760"/>
                <a:gd name="connsiteY9" fmla="*/ 1229994 h 1994638"/>
                <a:gd name="connsiteX10" fmla="*/ 1017561 w 10886760"/>
                <a:gd name="connsiteY10" fmla="*/ 873105 h 1994638"/>
                <a:gd name="connsiteX11" fmla="*/ 1169556 w 10886760"/>
                <a:gd name="connsiteY11" fmla="*/ 737154 h 1994638"/>
                <a:gd name="connsiteX12" fmla="*/ 1473547 w 10886760"/>
                <a:gd name="connsiteY12" fmla="*/ 737154 h 1994638"/>
                <a:gd name="connsiteX13" fmla="*/ 2048970 w 10886760"/>
                <a:gd name="connsiteY13" fmla="*/ 754148 h 1994638"/>
                <a:gd name="connsiteX14" fmla="*/ 3188969 w 10886760"/>
                <a:gd name="connsiteY14" fmla="*/ 754148 h 1994638"/>
                <a:gd name="connsiteX15" fmla="*/ 3883828 w 10886760"/>
                <a:gd name="connsiteY15" fmla="*/ 788136 h 1994638"/>
                <a:gd name="connsiteX16" fmla="*/ 4339838 w 10886760"/>
                <a:gd name="connsiteY16" fmla="*/ 728648 h 1994638"/>
                <a:gd name="connsiteX17" fmla="*/ 4817560 w 10886760"/>
                <a:gd name="connsiteY17" fmla="*/ 728648 h 1994638"/>
                <a:gd name="connsiteX18" fmla="*/ 5588429 w 10886760"/>
                <a:gd name="connsiteY18" fmla="*/ 771142 h 1994638"/>
                <a:gd name="connsiteX19" fmla="*/ 6467865 w 10886760"/>
                <a:gd name="connsiteY19" fmla="*/ 754148 h 1994638"/>
                <a:gd name="connsiteX20" fmla="*/ 7097583 w 10886760"/>
                <a:gd name="connsiteY20" fmla="*/ 762654 h 1994638"/>
                <a:gd name="connsiteX21" fmla="*/ 7933593 w 10886760"/>
                <a:gd name="connsiteY21" fmla="*/ 762654 h 1994638"/>
                <a:gd name="connsiteX22" fmla="*/ 8997606 w 10886760"/>
                <a:gd name="connsiteY22" fmla="*/ 788154 h 1994638"/>
                <a:gd name="connsiteX23" fmla="*/ 9746761 w 10886760"/>
                <a:gd name="connsiteY23" fmla="*/ 779648 h 1994638"/>
                <a:gd name="connsiteX24" fmla="*/ 10278756 w 10886760"/>
                <a:gd name="connsiteY24" fmla="*/ 771142 h 1994638"/>
                <a:gd name="connsiteX25" fmla="*/ 10756479 w 10886760"/>
                <a:gd name="connsiteY25" fmla="*/ 737154 h 1994638"/>
                <a:gd name="connsiteX26" fmla="*/ 10886760 w 10886760"/>
                <a:gd name="connsiteY26" fmla="*/ 754148 h 1994638"/>
                <a:gd name="connsiteX27" fmla="*/ 10886760 w 10886760"/>
                <a:gd name="connsiteY27" fmla="*/ 133791 h 1994638"/>
                <a:gd name="connsiteX28" fmla="*/ 10702184 w 10886760"/>
                <a:gd name="connsiteY28" fmla="*/ 65870 h 1994638"/>
                <a:gd name="connsiteX29" fmla="*/ 9887888 w 10886760"/>
                <a:gd name="connsiteY29" fmla="*/ 14889 h 1994638"/>
                <a:gd name="connsiteX30" fmla="*/ 9301597 w 10886760"/>
                <a:gd name="connsiteY30" fmla="*/ 108364 h 1994638"/>
                <a:gd name="connsiteX31" fmla="*/ 8400447 w 10886760"/>
                <a:gd name="connsiteY31" fmla="*/ 201839 h 1994638"/>
                <a:gd name="connsiteX32" fmla="*/ 7434156 w 10886760"/>
                <a:gd name="connsiteY32" fmla="*/ 201839 h 1994638"/>
                <a:gd name="connsiteX33" fmla="*/ 5707866 w 10886760"/>
                <a:gd name="connsiteY33" fmla="*/ 193333 h 1994638"/>
                <a:gd name="connsiteX34" fmla="*/ 4622138 w 10886760"/>
                <a:gd name="connsiteY34" fmla="*/ 65870 h 1994638"/>
                <a:gd name="connsiteX35" fmla="*/ 2830706 w 10886760"/>
                <a:gd name="connsiteY35" fmla="*/ 57364 h 1994638"/>
                <a:gd name="connsiteX36" fmla="*/ 2290884 w 10886760"/>
                <a:gd name="connsiteY36" fmla="*/ 66415 h 1994638"/>
                <a:gd name="connsiteX0" fmla="*/ 2179017 w 10774893"/>
                <a:gd name="connsiteY0" fmla="*/ 66415 h 1994638"/>
                <a:gd name="connsiteX1" fmla="*/ 2061457 w 10774893"/>
                <a:gd name="connsiteY1" fmla="*/ 625754 h 1994638"/>
                <a:gd name="connsiteX2" fmla="*/ 134826 w 10774893"/>
                <a:gd name="connsiteY2" fmla="*/ 1595370 h 1994638"/>
                <a:gd name="connsiteX3" fmla="*/ 189121 w 10774893"/>
                <a:gd name="connsiteY3" fmla="*/ 1790808 h 1994638"/>
                <a:gd name="connsiteX4" fmla="*/ 351985 w 10774893"/>
                <a:gd name="connsiteY4" fmla="*/ 1986246 h 1994638"/>
                <a:gd name="connsiteX5" fmla="*/ 514849 w 10774893"/>
                <a:gd name="connsiteY5" fmla="*/ 1858784 h 1994638"/>
                <a:gd name="connsiteX6" fmla="*/ 536563 w 10774893"/>
                <a:gd name="connsiteY6" fmla="*/ 1595370 h 1994638"/>
                <a:gd name="connsiteX7" fmla="*/ 688558 w 10774893"/>
                <a:gd name="connsiteY7" fmla="*/ 1510401 h 1994638"/>
                <a:gd name="connsiteX8" fmla="*/ 797126 w 10774893"/>
                <a:gd name="connsiteY8" fmla="*/ 1229994 h 1994638"/>
                <a:gd name="connsiteX9" fmla="*/ 905694 w 10774893"/>
                <a:gd name="connsiteY9" fmla="*/ 873105 h 1994638"/>
                <a:gd name="connsiteX10" fmla="*/ 1057689 w 10774893"/>
                <a:gd name="connsiteY10" fmla="*/ 737154 h 1994638"/>
                <a:gd name="connsiteX11" fmla="*/ 1361680 w 10774893"/>
                <a:gd name="connsiteY11" fmla="*/ 737154 h 1994638"/>
                <a:gd name="connsiteX12" fmla="*/ 1937103 w 10774893"/>
                <a:gd name="connsiteY12" fmla="*/ 754148 h 1994638"/>
                <a:gd name="connsiteX13" fmla="*/ 3077102 w 10774893"/>
                <a:gd name="connsiteY13" fmla="*/ 754148 h 1994638"/>
                <a:gd name="connsiteX14" fmla="*/ 3771961 w 10774893"/>
                <a:gd name="connsiteY14" fmla="*/ 788136 h 1994638"/>
                <a:gd name="connsiteX15" fmla="*/ 4227971 w 10774893"/>
                <a:gd name="connsiteY15" fmla="*/ 728648 h 1994638"/>
                <a:gd name="connsiteX16" fmla="*/ 4705693 w 10774893"/>
                <a:gd name="connsiteY16" fmla="*/ 728648 h 1994638"/>
                <a:gd name="connsiteX17" fmla="*/ 5476562 w 10774893"/>
                <a:gd name="connsiteY17" fmla="*/ 771142 h 1994638"/>
                <a:gd name="connsiteX18" fmla="*/ 6355998 w 10774893"/>
                <a:gd name="connsiteY18" fmla="*/ 754148 h 1994638"/>
                <a:gd name="connsiteX19" fmla="*/ 6985716 w 10774893"/>
                <a:gd name="connsiteY19" fmla="*/ 762654 h 1994638"/>
                <a:gd name="connsiteX20" fmla="*/ 7821726 w 10774893"/>
                <a:gd name="connsiteY20" fmla="*/ 762654 h 1994638"/>
                <a:gd name="connsiteX21" fmla="*/ 8885739 w 10774893"/>
                <a:gd name="connsiteY21" fmla="*/ 788154 h 1994638"/>
                <a:gd name="connsiteX22" fmla="*/ 9634894 w 10774893"/>
                <a:gd name="connsiteY22" fmla="*/ 779648 h 1994638"/>
                <a:gd name="connsiteX23" fmla="*/ 10166889 w 10774893"/>
                <a:gd name="connsiteY23" fmla="*/ 771142 h 1994638"/>
                <a:gd name="connsiteX24" fmla="*/ 10644612 w 10774893"/>
                <a:gd name="connsiteY24" fmla="*/ 737154 h 1994638"/>
                <a:gd name="connsiteX25" fmla="*/ 10774893 w 10774893"/>
                <a:gd name="connsiteY25" fmla="*/ 754148 h 1994638"/>
                <a:gd name="connsiteX26" fmla="*/ 10774893 w 10774893"/>
                <a:gd name="connsiteY26" fmla="*/ 133791 h 1994638"/>
                <a:gd name="connsiteX27" fmla="*/ 10590317 w 10774893"/>
                <a:gd name="connsiteY27" fmla="*/ 65870 h 1994638"/>
                <a:gd name="connsiteX28" fmla="*/ 9776021 w 10774893"/>
                <a:gd name="connsiteY28" fmla="*/ 14889 h 1994638"/>
                <a:gd name="connsiteX29" fmla="*/ 9189730 w 10774893"/>
                <a:gd name="connsiteY29" fmla="*/ 108364 h 1994638"/>
                <a:gd name="connsiteX30" fmla="*/ 8288580 w 10774893"/>
                <a:gd name="connsiteY30" fmla="*/ 201839 h 1994638"/>
                <a:gd name="connsiteX31" fmla="*/ 7322289 w 10774893"/>
                <a:gd name="connsiteY31" fmla="*/ 201839 h 1994638"/>
                <a:gd name="connsiteX32" fmla="*/ 5595999 w 10774893"/>
                <a:gd name="connsiteY32" fmla="*/ 193333 h 1994638"/>
                <a:gd name="connsiteX33" fmla="*/ 4510271 w 10774893"/>
                <a:gd name="connsiteY33" fmla="*/ 65870 h 1994638"/>
                <a:gd name="connsiteX34" fmla="*/ 2718839 w 10774893"/>
                <a:gd name="connsiteY34" fmla="*/ 57364 h 1994638"/>
                <a:gd name="connsiteX35" fmla="*/ 2179017 w 10774893"/>
                <a:gd name="connsiteY35" fmla="*/ 66415 h 1994638"/>
                <a:gd name="connsiteX0" fmla="*/ 2100767 w 10696643"/>
                <a:gd name="connsiteY0" fmla="*/ 66415 h 2006207"/>
                <a:gd name="connsiteX1" fmla="*/ 1983207 w 10696643"/>
                <a:gd name="connsiteY1" fmla="*/ 625754 h 2006207"/>
                <a:gd name="connsiteX2" fmla="*/ 110871 w 10696643"/>
                <a:gd name="connsiteY2" fmla="*/ 1790808 h 2006207"/>
                <a:gd name="connsiteX3" fmla="*/ 273735 w 10696643"/>
                <a:gd name="connsiteY3" fmla="*/ 1986246 h 2006207"/>
                <a:gd name="connsiteX4" fmla="*/ 436599 w 10696643"/>
                <a:gd name="connsiteY4" fmla="*/ 1858784 h 2006207"/>
                <a:gd name="connsiteX5" fmla="*/ 458313 w 10696643"/>
                <a:gd name="connsiteY5" fmla="*/ 1595370 h 2006207"/>
                <a:gd name="connsiteX6" fmla="*/ 610308 w 10696643"/>
                <a:gd name="connsiteY6" fmla="*/ 1510401 h 2006207"/>
                <a:gd name="connsiteX7" fmla="*/ 718876 w 10696643"/>
                <a:gd name="connsiteY7" fmla="*/ 1229994 h 2006207"/>
                <a:gd name="connsiteX8" fmla="*/ 827444 w 10696643"/>
                <a:gd name="connsiteY8" fmla="*/ 873105 h 2006207"/>
                <a:gd name="connsiteX9" fmla="*/ 979439 w 10696643"/>
                <a:gd name="connsiteY9" fmla="*/ 737154 h 2006207"/>
                <a:gd name="connsiteX10" fmla="*/ 1283430 w 10696643"/>
                <a:gd name="connsiteY10" fmla="*/ 737154 h 2006207"/>
                <a:gd name="connsiteX11" fmla="*/ 1858853 w 10696643"/>
                <a:gd name="connsiteY11" fmla="*/ 754148 h 2006207"/>
                <a:gd name="connsiteX12" fmla="*/ 2998852 w 10696643"/>
                <a:gd name="connsiteY12" fmla="*/ 754148 h 2006207"/>
                <a:gd name="connsiteX13" fmla="*/ 3693711 w 10696643"/>
                <a:gd name="connsiteY13" fmla="*/ 788136 h 2006207"/>
                <a:gd name="connsiteX14" fmla="*/ 4149721 w 10696643"/>
                <a:gd name="connsiteY14" fmla="*/ 728648 h 2006207"/>
                <a:gd name="connsiteX15" fmla="*/ 4627443 w 10696643"/>
                <a:gd name="connsiteY15" fmla="*/ 728648 h 2006207"/>
                <a:gd name="connsiteX16" fmla="*/ 5398312 w 10696643"/>
                <a:gd name="connsiteY16" fmla="*/ 771142 h 2006207"/>
                <a:gd name="connsiteX17" fmla="*/ 6277748 w 10696643"/>
                <a:gd name="connsiteY17" fmla="*/ 754148 h 2006207"/>
                <a:gd name="connsiteX18" fmla="*/ 6907466 w 10696643"/>
                <a:gd name="connsiteY18" fmla="*/ 762654 h 2006207"/>
                <a:gd name="connsiteX19" fmla="*/ 7743476 w 10696643"/>
                <a:gd name="connsiteY19" fmla="*/ 762654 h 2006207"/>
                <a:gd name="connsiteX20" fmla="*/ 8807489 w 10696643"/>
                <a:gd name="connsiteY20" fmla="*/ 788154 h 2006207"/>
                <a:gd name="connsiteX21" fmla="*/ 9556644 w 10696643"/>
                <a:gd name="connsiteY21" fmla="*/ 779648 h 2006207"/>
                <a:gd name="connsiteX22" fmla="*/ 10088639 w 10696643"/>
                <a:gd name="connsiteY22" fmla="*/ 771142 h 2006207"/>
                <a:gd name="connsiteX23" fmla="*/ 10566362 w 10696643"/>
                <a:gd name="connsiteY23" fmla="*/ 737154 h 2006207"/>
                <a:gd name="connsiteX24" fmla="*/ 10696643 w 10696643"/>
                <a:gd name="connsiteY24" fmla="*/ 754148 h 2006207"/>
                <a:gd name="connsiteX25" fmla="*/ 10696643 w 10696643"/>
                <a:gd name="connsiteY25" fmla="*/ 133791 h 2006207"/>
                <a:gd name="connsiteX26" fmla="*/ 10512067 w 10696643"/>
                <a:gd name="connsiteY26" fmla="*/ 65870 h 2006207"/>
                <a:gd name="connsiteX27" fmla="*/ 9697771 w 10696643"/>
                <a:gd name="connsiteY27" fmla="*/ 14889 h 2006207"/>
                <a:gd name="connsiteX28" fmla="*/ 9111480 w 10696643"/>
                <a:gd name="connsiteY28" fmla="*/ 108364 h 2006207"/>
                <a:gd name="connsiteX29" fmla="*/ 8210330 w 10696643"/>
                <a:gd name="connsiteY29" fmla="*/ 201839 h 2006207"/>
                <a:gd name="connsiteX30" fmla="*/ 7244039 w 10696643"/>
                <a:gd name="connsiteY30" fmla="*/ 201839 h 2006207"/>
                <a:gd name="connsiteX31" fmla="*/ 5517749 w 10696643"/>
                <a:gd name="connsiteY31" fmla="*/ 193333 h 2006207"/>
                <a:gd name="connsiteX32" fmla="*/ 4432021 w 10696643"/>
                <a:gd name="connsiteY32" fmla="*/ 65870 h 2006207"/>
                <a:gd name="connsiteX33" fmla="*/ 2640589 w 10696643"/>
                <a:gd name="connsiteY33" fmla="*/ 57364 h 2006207"/>
                <a:gd name="connsiteX34" fmla="*/ 2100767 w 10696643"/>
                <a:gd name="connsiteY34" fmla="*/ 66415 h 2006207"/>
                <a:gd name="connsiteX0" fmla="*/ 1827032 w 10422908"/>
                <a:gd name="connsiteY0" fmla="*/ 66415 h 1986245"/>
                <a:gd name="connsiteX1" fmla="*/ 1709472 w 10422908"/>
                <a:gd name="connsiteY1" fmla="*/ 625754 h 1986245"/>
                <a:gd name="connsiteX2" fmla="*/ 0 w 10422908"/>
                <a:gd name="connsiteY2" fmla="*/ 1986246 h 1986245"/>
                <a:gd name="connsiteX3" fmla="*/ 162864 w 10422908"/>
                <a:gd name="connsiteY3" fmla="*/ 1858784 h 1986245"/>
                <a:gd name="connsiteX4" fmla="*/ 184578 w 10422908"/>
                <a:gd name="connsiteY4" fmla="*/ 1595370 h 1986245"/>
                <a:gd name="connsiteX5" fmla="*/ 336573 w 10422908"/>
                <a:gd name="connsiteY5" fmla="*/ 1510401 h 1986245"/>
                <a:gd name="connsiteX6" fmla="*/ 445141 w 10422908"/>
                <a:gd name="connsiteY6" fmla="*/ 1229994 h 1986245"/>
                <a:gd name="connsiteX7" fmla="*/ 553709 w 10422908"/>
                <a:gd name="connsiteY7" fmla="*/ 873105 h 1986245"/>
                <a:gd name="connsiteX8" fmla="*/ 705704 w 10422908"/>
                <a:gd name="connsiteY8" fmla="*/ 737154 h 1986245"/>
                <a:gd name="connsiteX9" fmla="*/ 1009695 w 10422908"/>
                <a:gd name="connsiteY9" fmla="*/ 737154 h 1986245"/>
                <a:gd name="connsiteX10" fmla="*/ 1585118 w 10422908"/>
                <a:gd name="connsiteY10" fmla="*/ 754148 h 1986245"/>
                <a:gd name="connsiteX11" fmla="*/ 2725117 w 10422908"/>
                <a:gd name="connsiteY11" fmla="*/ 754148 h 1986245"/>
                <a:gd name="connsiteX12" fmla="*/ 3419976 w 10422908"/>
                <a:gd name="connsiteY12" fmla="*/ 788136 h 1986245"/>
                <a:gd name="connsiteX13" fmla="*/ 3875986 w 10422908"/>
                <a:gd name="connsiteY13" fmla="*/ 728648 h 1986245"/>
                <a:gd name="connsiteX14" fmla="*/ 4353708 w 10422908"/>
                <a:gd name="connsiteY14" fmla="*/ 728648 h 1986245"/>
                <a:gd name="connsiteX15" fmla="*/ 5124577 w 10422908"/>
                <a:gd name="connsiteY15" fmla="*/ 771142 h 1986245"/>
                <a:gd name="connsiteX16" fmla="*/ 6004013 w 10422908"/>
                <a:gd name="connsiteY16" fmla="*/ 754148 h 1986245"/>
                <a:gd name="connsiteX17" fmla="*/ 6633731 w 10422908"/>
                <a:gd name="connsiteY17" fmla="*/ 762654 h 1986245"/>
                <a:gd name="connsiteX18" fmla="*/ 7469741 w 10422908"/>
                <a:gd name="connsiteY18" fmla="*/ 762654 h 1986245"/>
                <a:gd name="connsiteX19" fmla="*/ 8533754 w 10422908"/>
                <a:gd name="connsiteY19" fmla="*/ 788154 h 1986245"/>
                <a:gd name="connsiteX20" fmla="*/ 9282909 w 10422908"/>
                <a:gd name="connsiteY20" fmla="*/ 779648 h 1986245"/>
                <a:gd name="connsiteX21" fmla="*/ 9814904 w 10422908"/>
                <a:gd name="connsiteY21" fmla="*/ 771142 h 1986245"/>
                <a:gd name="connsiteX22" fmla="*/ 10292627 w 10422908"/>
                <a:gd name="connsiteY22" fmla="*/ 737154 h 1986245"/>
                <a:gd name="connsiteX23" fmla="*/ 10422908 w 10422908"/>
                <a:gd name="connsiteY23" fmla="*/ 754148 h 1986245"/>
                <a:gd name="connsiteX24" fmla="*/ 10422908 w 10422908"/>
                <a:gd name="connsiteY24" fmla="*/ 133791 h 1986245"/>
                <a:gd name="connsiteX25" fmla="*/ 10238332 w 10422908"/>
                <a:gd name="connsiteY25" fmla="*/ 65870 h 1986245"/>
                <a:gd name="connsiteX26" fmla="*/ 9424036 w 10422908"/>
                <a:gd name="connsiteY26" fmla="*/ 14889 h 1986245"/>
                <a:gd name="connsiteX27" fmla="*/ 8837745 w 10422908"/>
                <a:gd name="connsiteY27" fmla="*/ 108364 h 1986245"/>
                <a:gd name="connsiteX28" fmla="*/ 7936595 w 10422908"/>
                <a:gd name="connsiteY28" fmla="*/ 201839 h 1986245"/>
                <a:gd name="connsiteX29" fmla="*/ 6970304 w 10422908"/>
                <a:gd name="connsiteY29" fmla="*/ 201839 h 1986245"/>
                <a:gd name="connsiteX30" fmla="*/ 5244014 w 10422908"/>
                <a:gd name="connsiteY30" fmla="*/ 193333 h 1986245"/>
                <a:gd name="connsiteX31" fmla="*/ 4158286 w 10422908"/>
                <a:gd name="connsiteY31" fmla="*/ 65870 h 1986245"/>
                <a:gd name="connsiteX32" fmla="*/ 2366854 w 10422908"/>
                <a:gd name="connsiteY32" fmla="*/ 57364 h 1986245"/>
                <a:gd name="connsiteX33" fmla="*/ 1827032 w 10422908"/>
                <a:gd name="connsiteY33" fmla="*/ 66415 h 1986245"/>
                <a:gd name="connsiteX0" fmla="*/ 1786453 w 10382329"/>
                <a:gd name="connsiteY0" fmla="*/ 66415 h 1901488"/>
                <a:gd name="connsiteX1" fmla="*/ 1668893 w 10382329"/>
                <a:gd name="connsiteY1" fmla="*/ 625754 h 1901488"/>
                <a:gd name="connsiteX2" fmla="*/ 122285 w 10382329"/>
                <a:gd name="connsiteY2" fmla="*/ 1858784 h 1901488"/>
                <a:gd name="connsiteX3" fmla="*/ 143999 w 10382329"/>
                <a:gd name="connsiteY3" fmla="*/ 1595370 h 1901488"/>
                <a:gd name="connsiteX4" fmla="*/ 295994 w 10382329"/>
                <a:gd name="connsiteY4" fmla="*/ 1510401 h 1901488"/>
                <a:gd name="connsiteX5" fmla="*/ 404562 w 10382329"/>
                <a:gd name="connsiteY5" fmla="*/ 1229994 h 1901488"/>
                <a:gd name="connsiteX6" fmla="*/ 513130 w 10382329"/>
                <a:gd name="connsiteY6" fmla="*/ 873105 h 1901488"/>
                <a:gd name="connsiteX7" fmla="*/ 665125 w 10382329"/>
                <a:gd name="connsiteY7" fmla="*/ 737154 h 1901488"/>
                <a:gd name="connsiteX8" fmla="*/ 969116 w 10382329"/>
                <a:gd name="connsiteY8" fmla="*/ 737154 h 1901488"/>
                <a:gd name="connsiteX9" fmla="*/ 1544539 w 10382329"/>
                <a:gd name="connsiteY9" fmla="*/ 754148 h 1901488"/>
                <a:gd name="connsiteX10" fmla="*/ 2684538 w 10382329"/>
                <a:gd name="connsiteY10" fmla="*/ 754148 h 1901488"/>
                <a:gd name="connsiteX11" fmla="*/ 3379397 w 10382329"/>
                <a:gd name="connsiteY11" fmla="*/ 788136 h 1901488"/>
                <a:gd name="connsiteX12" fmla="*/ 3835407 w 10382329"/>
                <a:gd name="connsiteY12" fmla="*/ 728648 h 1901488"/>
                <a:gd name="connsiteX13" fmla="*/ 4313129 w 10382329"/>
                <a:gd name="connsiteY13" fmla="*/ 728648 h 1901488"/>
                <a:gd name="connsiteX14" fmla="*/ 5083998 w 10382329"/>
                <a:gd name="connsiteY14" fmla="*/ 771142 h 1901488"/>
                <a:gd name="connsiteX15" fmla="*/ 5963434 w 10382329"/>
                <a:gd name="connsiteY15" fmla="*/ 754148 h 1901488"/>
                <a:gd name="connsiteX16" fmla="*/ 6593152 w 10382329"/>
                <a:gd name="connsiteY16" fmla="*/ 762654 h 1901488"/>
                <a:gd name="connsiteX17" fmla="*/ 7429162 w 10382329"/>
                <a:gd name="connsiteY17" fmla="*/ 762654 h 1901488"/>
                <a:gd name="connsiteX18" fmla="*/ 8493175 w 10382329"/>
                <a:gd name="connsiteY18" fmla="*/ 788154 h 1901488"/>
                <a:gd name="connsiteX19" fmla="*/ 9242330 w 10382329"/>
                <a:gd name="connsiteY19" fmla="*/ 779648 h 1901488"/>
                <a:gd name="connsiteX20" fmla="*/ 9774325 w 10382329"/>
                <a:gd name="connsiteY20" fmla="*/ 771142 h 1901488"/>
                <a:gd name="connsiteX21" fmla="*/ 10252048 w 10382329"/>
                <a:gd name="connsiteY21" fmla="*/ 737154 h 1901488"/>
                <a:gd name="connsiteX22" fmla="*/ 10382329 w 10382329"/>
                <a:gd name="connsiteY22" fmla="*/ 754148 h 1901488"/>
                <a:gd name="connsiteX23" fmla="*/ 10382329 w 10382329"/>
                <a:gd name="connsiteY23" fmla="*/ 133791 h 1901488"/>
                <a:gd name="connsiteX24" fmla="*/ 10197753 w 10382329"/>
                <a:gd name="connsiteY24" fmla="*/ 65870 h 1901488"/>
                <a:gd name="connsiteX25" fmla="*/ 9383457 w 10382329"/>
                <a:gd name="connsiteY25" fmla="*/ 14889 h 1901488"/>
                <a:gd name="connsiteX26" fmla="*/ 8797166 w 10382329"/>
                <a:gd name="connsiteY26" fmla="*/ 108364 h 1901488"/>
                <a:gd name="connsiteX27" fmla="*/ 7896016 w 10382329"/>
                <a:gd name="connsiteY27" fmla="*/ 201839 h 1901488"/>
                <a:gd name="connsiteX28" fmla="*/ 6929725 w 10382329"/>
                <a:gd name="connsiteY28" fmla="*/ 201839 h 1901488"/>
                <a:gd name="connsiteX29" fmla="*/ 5203435 w 10382329"/>
                <a:gd name="connsiteY29" fmla="*/ 193333 h 1901488"/>
                <a:gd name="connsiteX30" fmla="*/ 4117707 w 10382329"/>
                <a:gd name="connsiteY30" fmla="*/ 65870 h 1901488"/>
                <a:gd name="connsiteX31" fmla="*/ 2326275 w 10382329"/>
                <a:gd name="connsiteY31" fmla="*/ 57364 h 1901488"/>
                <a:gd name="connsiteX32" fmla="*/ 1786453 w 10382329"/>
                <a:gd name="connsiteY32" fmla="*/ 66415 h 1901488"/>
                <a:gd name="connsiteX0" fmla="*/ 1724759 w 10320635"/>
                <a:gd name="connsiteY0" fmla="*/ 66415 h 1652063"/>
                <a:gd name="connsiteX1" fmla="*/ 1607199 w 10320635"/>
                <a:gd name="connsiteY1" fmla="*/ 625754 h 1652063"/>
                <a:gd name="connsiteX2" fmla="*/ 82305 w 10320635"/>
                <a:gd name="connsiteY2" fmla="*/ 1595370 h 1652063"/>
                <a:gd name="connsiteX3" fmla="*/ 234300 w 10320635"/>
                <a:gd name="connsiteY3" fmla="*/ 1510401 h 1652063"/>
                <a:gd name="connsiteX4" fmla="*/ 342868 w 10320635"/>
                <a:gd name="connsiteY4" fmla="*/ 1229994 h 1652063"/>
                <a:gd name="connsiteX5" fmla="*/ 451436 w 10320635"/>
                <a:gd name="connsiteY5" fmla="*/ 873105 h 1652063"/>
                <a:gd name="connsiteX6" fmla="*/ 603431 w 10320635"/>
                <a:gd name="connsiteY6" fmla="*/ 737154 h 1652063"/>
                <a:gd name="connsiteX7" fmla="*/ 907422 w 10320635"/>
                <a:gd name="connsiteY7" fmla="*/ 737154 h 1652063"/>
                <a:gd name="connsiteX8" fmla="*/ 1482845 w 10320635"/>
                <a:gd name="connsiteY8" fmla="*/ 754148 h 1652063"/>
                <a:gd name="connsiteX9" fmla="*/ 2622844 w 10320635"/>
                <a:gd name="connsiteY9" fmla="*/ 754148 h 1652063"/>
                <a:gd name="connsiteX10" fmla="*/ 3317703 w 10320635"/>
                <a:gd name="connsiteY10" fmla="*/ 788136 h 1652063"/>
                <a:gd name="connsiteX11" fmla="*/ 3773713 w 10320635"/>
                <a:gd name="connsiteY11" fmla="*/ 728648 h 1652063"/>
                <a:gd name="connsiteX12" fmla="*/ 4251435 w 10320635"/>
                <a:gd name="connsiteY12" fmla="*/ 728648 h 1652063"/>
                <a:gd name="connsiteX13" fmla="*/ 5022304 w 10320635"/>
                <a:gd name="connsiteY13" fmla="*/ 771142 h 1652063"/>
                <a:gd name="connsiteX14" fmla="*/ 5901740 w 10320635"/>
                <a:gd name="connsiteY14" fmla="*/ 754148 h 1652063"/>
                <a:gd name="connsiteX15" fmla="*/ 6531458 w 10320635"/>
                <a:gd name="connsiteY15" fmla="*/ 762654 h 1652063"/>
                <a:gd name="connsiteX16" fmla="*/ 7367468 w 10320635"/>
                <a:gd name="connsiteY16" fmla="*/ 762654 h 1652063"/>
                <a:gd name="connsiteX17" fmla="*/ 8431481 w 10320635"/>
                <a:gd name="connsiteY17" fmla="*/ 788154 h 1652063"/>
                <a:gd name="connsiteX18" fmla="*/ 9180636 w 10320635"/>
                <a:gd name="connsiteY18" fmla="*/ 779648 h 1652063"/>
                <a:gd name="connsiteX19" fmla="*/ 9712631 w 10320635"/>
                <a:gd name="connsiteY19" fmla="*/ 771142 h 1652063"/>
                <a:gd name="connsiteX20" fmla="*/ 10190354 w 10320635"/>
                <a:gd name="connsiteY20" fmla="*/ 737154 h 1652063"/>
                <a:gd name="connsiteX21" fmla="*/ 10320635 w 10320635"/>
                <a:gd name="connsiteY21" fmla="*/ 754148 h 1652063"/>
                <a:gd name="connsiteX22" fmla="*/ 10320635 w 10320635"/>
                <a:gd name="connsiteY22" fmla="*/ 133791 h 1652063"/>
                <a:gd name="connsiteX23" fmla="*/ 10136059 w 10320635"/>
                <a:gd name="connsiteY23" fmla="*/ 65870 h 1652063"/>
                <a:gd name="connsiteX24" fmla="*/ 9321763 w 10320635"/>
                <a:gd name="connsiteY24" fmla="*/ 14889 h 1652063"/>
                <a:gd name="connsiteX25" fmla="*/ 8735472 w 10320635"/>
                <a:gd name="connsiteY25" fmla="*/ 108364 h 1652063"/>
                <a:gd name="connsiteX26" fmla="*/ 7834322 w 10320635"/>
                <a:gd name="connsiteY26" fmla="*/ 201839 h 1652063"/>
                <a:gd name="connsiteX27" fmla="*/ 6868031 w 10320635"/>
                <a:gd name="connsiteY27" fmla="*/ 201839 h 1652063"/>
                <a:gd name="connsiteX28" fmla="*/ 5141741 w 10320635"/>
                <a:gd name="connsiteY28" fmla="*/ 193333 h 1652063"/>
                <a:gd name="connsiteX29" fmla="*/ 4056013 w 10320635"/>
                <a:gd name="connsiteY29" fmla="*/ 65870 h 1652063"/>
                <a:gd name="connsiteX30" fmla="*/ 2264581 w 10320635"/>
                <a:gd name="connsiteY30" fmla="*/ 57364 h 1652063"/>
                <a:gd name="connsiteX31" fmla="*/ 1724759 w 10320635"/>
                <a:gd name="connsiteY31" fmla="*/ 66415 h 1652063"/>
                <a:gd name="connsiteX0" fmla="*/ 1567192 w 10163068"/>
                <a:gd name="connsiteY0" fmla="*/ 66415 h 1535484"/>
                <a:gd name="connsiteX1" fmla="*/ 1449632 w 10163068"/>
                <a:gd name="connsiteY1" fmla="*/ 625754 h 1535484"/>
                <a:gd name="connsiteX2" fmla="*/ 76733 w 10163068"/>
                <a:gd name="connsiteY2" fmla="*/ 1510401 h 1535484"/>
                <a:gd name="connsiteX3" fmla="*/ 185301 w 10163068"/>
                <a:gd name="connsiteY3" fmla="*/ 1229994 h 1535484"/>
                <a:gd name="connsiteX4" fmla="*/ 293869 w 10163068"/>
                <a:gd name="connsiteY4" fmla="*/ 873105 h 1535484"/>
                <a:gd name="connsiteX5" fmla="*/ 445864 w 10163068"/>
                <a:gd name="connsiteY5" fmla="*/ 737154 h 1535484"/>
                <a:gd name="connsiteX6" fmla="*/ 749855 w 10163068"/>
                <a:gd name="connsiteY6" fmla="*/ 737154 h 1535484"/>
                <a:gd name="connsiteX7" fmla="*/ 1325278 w 10163068"/>
                <a:gd name="connsiteY7" fmla="*/ 754148 h 1535484"/>
                <a:gd name="connsiteX8" fmla="*/ 2465277 w 10163068"/>
                <a:gd name="connsiteY8" fmla="*/ 754148 h 1535484"/>
                <a:gd name="connsiteX9" fmla="*/ 3160136 w 10163068"/>
                <a:gd name="connsiteY9" fmla="*/ 788136 h 1535484"/>
                <a:gd name="connsiteX10" fmla="*/ 3616146 w 10163068"/>
                <a:gd name="connsiteY10" fmla="*/ 728648 h 1535484"/>
                <a:gd name="connsiteX11" fmla="*/ 4093868 w 10163068"/>
                <a:gd name="connsiteY11" fmla="*/ 728648 h 1535484"/>
                <a:gd name="connsiteX12" fmla="*/ 4864737 w 10163068"/>
                <a:gd name="connsiteY12" fmla="*/ 771142 h 1535484"/>
                <a:gd name="connsiteX13" fmla="*/ 5744173 w 10163068"/>
                <a:gd name="connsiteY13" fmla="*/ 754148 h 1535484"/>
                <a:gd name="connsiteX14" fmla="*/ 6373891 w 10163068"/>
                <a:gd name="connsiteY14" fmla="*/ 762654 h 1535484"/>
                <a:gd name="connsiteX15" fmla="*/ 7209901 w 10163068"/>
                <a:gd name="connsiteY15" fmla="*/ 762654 h 1535484"/>
                <a:gd name="connsiteX16" fmla="*/ 8273914 w 10163068"/>
                <a:gd name="connsiteY16" fmla="*/ 788154 h 1535484"/>
                <a:gd name="connsiteX17" fmla="*/ 9023069 w 10163068"/>
                <a:gd name="connsiteY17" fmla="*/ 779648 h 1535484"/>
                <a:gd name="connsiteX18" fmla="*/ 9555064 w 10163068"/>
                <a:gd name="connsiteY18" fmla="*/ 771142 h 1535484"/>
                <a:gd name="connsiteX19" fmla="*/ 10032787 w 10163068"/>
                <a:gd name="connsiteY19" fmla="*/ 737154 h 1535484"/>
                <a:gd name="connsiteX20" fmla="*/ 10163068 w 10163068"/>
                <a:gd name="connsiteY20" fmla="*/ 754148 h 1535484"/>
                <a:gd name="connsiteX21" fmla="*/ 10163068 w 10163068"/>
                <a:gd name="connsiteY21" fmla="*/ 133791 h 1535484"/>
                <a:gd name="connsiteX22" fmla="*/ 9978492 w 10163068"/>
                <a:gd name="connsiteY22" fmla="*/ 65870 h 1535484"/>
                <a:gd name="connsiteX23" fmla="*/ 9164196 w 10163068"/>
                <a:gd name="connsiteY23" fmla="*/ 14889 h 1535484"/>
                <a:gd name="connsiteX24" fmla="*/ 8577905 w 10163068"/>
                <a:gd name="connsiteY24" fmla="*/ 108364 h 1535484"/>
                <a:gd name="connsiteX25" fmla="*/ 7676755 w 10163068"/>
                <a:gd name="connsiteY25" fmla="*/ 201839 h 1535484"/>
                <a:gd name="connsiteX26" fmla="*/ 6710464 w 10163068"/>
                <a:gd name="connsiteY26" fmla="*/ 201839 h 1535484"/>
                <a:gd name="connsiteX27" fmla="*/ 4984174 w 10163068"/>
                <a:gd name="connsiteY27" fmla="*/ 193333 h 1535484"/>
                <a:gd name="connsiteX28" fmla="*/ 3898446 w 10163068"/>
                <a:gd name="connsiteY28" fmla="*/ 65870 h 1535484"/>
                <a:gd name="connsiteX29" fmla="*/ 2107014 w 10163068"/>
                <a:gd name="connsiteY29" fmla="*/ 57364 h 1535484"/>
                <a:gd name="connsiteX30" fmla="*/ 1567192 w 10163068"/>
                <a:gd name="connsiteY30" fmla="*/ 66415 h 1535484"/>
                <a:gd name="connsiteX0" fmla="*/ 1453651 w 10049527"/>
                <a:gd name="connsiteY0" fmla="*/ 66415 h 1233597"/>
                <a:gd name="connsiteX1" fmla="*/ 1336091 w 10049527"/>
                <a:gd name="connsiteY1" fmla="*/ 625754 h 1233597"/>
                <a:gd name="connsiteX2" fmla="*/ 71760 w 10049527"/>
                <a:gd name="connsiteY2" fmla="*/ 1229994 h 1233597"/>
                <a:gd name="connsiteX3" fmla="*/ 180328 w 10049527"/>
                <a:gd name="connsiteY3" fmla="*/ 873105 h 1233597"/>
                <a:gd name="connsiteX4" fmla="*/ 332323 w 10049527"/>
                <a:gd name="connsiteY4" fmla="*/ 737154 h 1233597"/>
                <a:gd name="connsiteX5" fmla="*/ 636314 w 10049527"/>
                <a:gd name="connsiteY5" fmla="*/ 737154 h 1233597"/>
                <a:gd name="connsiteX6" fmla="*/ 1211737 w 10049527"/>
                <a:gd name="connsiteY6" fmla="*/ 754148 h 1233597"/>
                <a:gd name="connsiteX7" fmla="*/ 2351736 w 10049527"/>
                <a:gd name="connsiteY7" fmla="*/ 754148 h 1233597"/>
                <a:gd name="connsiteX8" fmla="*/ 3046595 w 10049527"/>
                <a:gd name="connsiteY8" fmla="*/ 788136 h 1233597"/>
                <a:gd name="connsiteX9" fmla="*/ 3502605 w 10049527"/>
                <a:gd name="connsiteY9" fmla="*/ 728648 h 1233597"/>
                <a:gd name="connsiteX10" fmla="*/ 3980327 w 10049527"/>
                <a:gd name="connsiteY10" fmla="*/ 728648 h 1233597"/>
                <a:gd name="connsiteX11" fmla="*/ 4751196 w 10049527"/>
                <a:gd name="connsiteY11" fmla="*/ 771142 h 1233597"/>
                <a:gd name="connsiteX12" fmla="*/ 5630632 w 10049527"/>
                <a:gd name="connsiteY12" fmla="*/ 754148 h 1233597"/>
                <a:gd name="connsiteX13" fmla="*/ 6260350 w 10049527"/>
                <a:gd name="connsiteY13" fmla="*/ 762654 h 1233597"/>
                <a:gd name="connsiteX14" fmla="*/ 7096360 w 10049527"/>
                <a:gd name="connsiteY14" fmla="*/ 762654 h 1233597"/>
                <a:gd name="connsiteX15" fmla="*/ 8160373 w 10049527"/>
                <a:gd name="connsiteY15" fmla="*/ 788154 h 1233597"/>
                <a:gd name="connsiteX16" fmla="*/ 8909528 w 10049527"/>
                <a:gd name="connsiteY16" fmla="*/ 779648 h 1233597"/>
                <a:gd name="connsiteX17" fmla="*/ 9441523 w 10049527"/>
                <a:gd name="connsiteY17" fmla="*/ 771142 h 1233597"/>
                <a:gd name="connsiteX18" fmla="*/ 9919246 w 10049527"/>
                <a:gd name="connsiteY18" fmla="*/ 737154 h 1233597"/>
                <a:gd name="connsiteX19" fmla="*/ 10049527 w 10049527"/>
                <a:gd name="connsiteY19" fmla="*/ 754148 h 1233597"/>
                <a:gd name="connsiteX20" fmla="*/ 10049527 w 10049527"/>
                <a:gd name="connsiteY20" fmla="*/ 133791 h 1233597"/>
                <a:gd name="connsiteX21" fmla="*/ 9864951 w 10049527"/>
                <a:gd name="connsiteY21" fmla="*/ 65870 h 1233597"/>
                <a:gd name="connsiteX22" fmla="*/ 9050655 w 10049527"/>
                <a:gd name="connsiteY22" fmla="*/ 14889 h 1233597"/>
                <a:gd name="connsiteX23" fmla="*/ 8464364 w 10049527"/>
                <a:gd name="connsiteY23" fmla="*/ 108364 h 1233597"/>
                <a:gd name="connsiteX24" fmla="*/ 7563214 w 10049527"/>
                <a:gd name="connsiteY24" fmla="*/ 201839 h 1233597"/>
                <a:gd name="connsiteX25" fmla="*/ 6596923 w 10049527"/>
                <a:gd name="connsiteY25" fmla="*/ 201839 h 1233597"/>
                <a:gd name="connsiteX26" fmla="*/ 4870633 w 10049527"/>
                <a:gd name="connsiteY26" fmla="*/ 193333 h 1233597"/>
                <a:gd name="connsiteX27" fmla="*/ 3784905 w 10049527"/>
                <a:gd name="connsiteY27" fmla="*/ 65870 h 1233597"/>
                <a:gd name="connsiteX28" fmla="*/ 1993473 w 10049527"/>
                <a:gd name="connsiteY28" fmla="*/ 57364 h 1233597"/>
                <a:gd name="connsiteX29" fmla="*/ 1453651 w 10049527"/>
                <a:gd name="connsiteY29" fmla="*/ 66415 h 1233597"/>
                <a:gd name="connsiteX0" fmla="*/ 1428093 w 10023969"/>
                <a:gd name="connsiteY0" fmla="*/ 66415 h 1230579"/>
                <a:gd name="connsiteX1" fmla="*/ 1310533 w 10023969"/>
                <a:gd name="connsiteY1" fmla="*/ 625754 h 1230579"/>
                <a:gd name="connsiteX2" fmla="*/ 46202 w 10023969"/>
                <a:gd name="connsiteY2" fmla="*/ 1229994 h 1230579"/>
                <a:gd name="connsiteX3" fmla="*/ 306765 w 10023969"/>
                <a:gd name="connsiteY3" fmla="*/ 737154 h 1230579"/>
                <a:gd name="connsiteX4" fmla="*/ 610756 w 10023969"/>
                <a:gd name="connsiteY4" fmla="*/ 737154 h 1230579"/>
                <a:gd name="connsiteX5" fmla="*/ 1186179 w 10023969"/>
                <a:gd name="connsiteY5" fmla="*/ 754148 h 1230579"/>
                <a:gd name="connsiteX6" fmla="*/ 2326178 w 10023969"/>
                <a:gd name="connsiteY6" fmla="*/ 754148 h 1230579"/>
                <a:gd name="connsiteX7" fmla="*/ 3021037 w 10023969"/>
                <a:gd name="connsiteY7" fmla="*/ 788136 h 1230579"/>
                <a:gd name="connsiteX8" fmla="*/ 3477047 w 10023969"/>
                <a:gd name="connsiteY8" fmla="*/ 728648 h 1230579"/>
                <a:gd name="connsiteX9" fmla="*/ 3954769 w 10023969"/>
                <a:gd name="connsiteY9" fmla="*/ 728648 h 1230579"/>
                <a:gd name="connsiteX10" fmla="*/ 4725638 w 10023969"/>
                <a:gd name="connsiteY10" fmla="*/ 771142 h 1230579"/>
                <a:gd name="connsiteX11" fmla="*/ 5605074 w 10023969"/>
                <a:gd name="connsiteY11" fmla="*/ 754148 h 1230579"/>
                <a:gd name="connsiteX12" fmla="*/ 6234792 w 10023969"/>
                <a:gd name="connsiteY12" fmla="*/ 762654 h 1230579"/>
                <a:gd name="connsiteX13" fmla="*/ 7070802 w 10023969"/>
                <a:gd name="connsiteY13" fmla="*/ 762654 h 1230579"/>
                <a:gd name="connsiteX14" fmla="*/ 8134815 w 10023969"/>
                <a:gd name="connsiteY14" fmla="*/ 788154 h 1230579"/>
                <a:gd name="connsiteX15" fmla="*/ 8883970 w 10023969"/>
                <a:gd name="connsiteY15" fmla="*/ 779648 h 1230579"/>
                <a:gd name="connsiteX16" fmla="*/ 9415965 w 10023969"/>
                <a:gd name="connsiteY16" fmla="*/ 771142 h 1230579"/>
                <a:gd name="connsiteX17" fmla="*/ 9893688 w 10023969"/>
                <a:gd name="connsiteY17" fmla="*/ 737154 h 1230579"/>
                <a:gd name="connsiteX18" fmla="*/ 10023969 w 10023969"/>
                <a:gd name="connsiteY18" fmla="*/ 754148 h 1230579"/>
                <a:gd name="connsiteX19" fmla="*/ 10023969 w 10023969"/>
                <a:gd name="connsiteY19" fmla="*/ 133791 h 1230579"/>
                <a:gd name="connsiteX20" fmla="*/ 9839393 w 10023969"/>
                <a:gd name="connsiteY20" fmla="*/ 65870 h 1230579"/>
                <a:gd name="connsiteX21" fmla="*/ 9025097 w 10023969"/>
                <a:gd name="connsiteY21" fmla="*/ 14889 h 1230579"/>
                <a:gd name="connsiteX22" fmla="*/ 8438806 w 10023969"/>
                <a:gd name="connsiteY22" fmla="*/ 108364 h 1230579"/>
                <a:gd name="connsiteX23" fmla="*/ 7537656 w 10023969"/>
                <a:gd name="connsiteY23" fmla="*/ 201839 h 1230579"/>
                <a:gd name="connsiteX24" fmla="*/ 6571365 w 10023969"/>
                <a:gd name="connsiteY24" fmla="*/ 201839 h 1230579"/>
                <a:gd name="connsiteX25" fmla="*/ 4845075 w 10023969"/>
                <a:gd name="connsiteY25" fmla="*/ 193333 h 1230579"/>
                <a:gd name="connsiteX26" fmla="*/ 3759347 w 10023969"/>
                <a:gd name="connsiteY26" fmla="*/ 65870 h 1230579"/>
                <a:gd name="connsiteX27" fmla="*/ 1967915 w 10023969"/>
                <a:gd name="connsiteY27" fmla="*/ 57364 h 1230579"/>
                <a:gd name="connsiteX28" fmla="*/ 1428093 w 10023969"/>
                <a:gd name="connsiteY28" fmla="*/ 66415 h 1230579"/>
                <a:gd name="connsiteX0" fmla="*/ 1143230 w 9739106"/>
                <a:gd name="connsiteY0" fmla="*/ 66415 h 797578"/>
                <a:gd name="connsiteX1" fmla="*/ 1025670 w 9739106"/>
                <a:gd name="connsiteY1" fmla="*/ 625754 h 797578"/>
                <a:gd name="connsiteX2" fmla="*/ 21902 w 9739106"/>
                <a:gd name="connsiteY2" fmla="*/ 737154 h 797578"/>
                <a:gd name="connsiteX3" fmla="*/ 325893 w 9739106"/>
                <a:gd name="connsiteY3" fmla="*/ 737154 h 797578"/>
                <a:gd name="connsiteX4" fmla="*/ 901316 w 9739106"/>
                <a:gd name="connsiteY4" fmla="*/ 754148 h 797578"/>
                <a:gd name="connsiteX5" fmla="*/ 2041315 w 9739106"/>
                <a:gd name="connsiteY5" fmla="*/ 754148 h 797578"/>
                <a:gd name="connsiteX6" fmla="*/ 2736174 w 9739106"/>
                <a:gd name="connsiteY6" fmla="*/ 788136 h 797578"/>
                <a:gd name="connsiteX7" fmla="*/ 3192184 w 9739106"/>
                <a:gd name="connsiteY7" fmla="*/ 728648 h 797578"/>
                <a:gd name="connsiteX8" fmla="*/ 3669906 w 9739106"/>
                <a:gd name="connsiteY8" fmla="*/ 728648 h 797578"/>
                <a:gd name="connsiteX9" fmla="*/ 4440775 w 9739106"/>
                <a:gd name="connsiteY9" fmla="*/ 771142 h 797578"/>
                <a:gd name="connsiteX10" fmla="*/ 5320211 w 9739106"/>
                <a:gd name="connsiteY10" fmla="*/ 754148 h 797578"/>
                <a:gd name="connsiteX11" fmla="*/ 5949929 w 9739106"/>
                <a:gd name="connsiteY11" fmla="*/ 762654 h 797578"/>
                <a:gd name="connsiteX12" fmla="*/ 6785939 w 9739106"/>
                <a:gd name="connsiteY12" fmla="*/ 762654 h 797578"/>
                <a:gd name="connsiteX13" fmla="*/ 7849952 w 9739106"/>
                <a:gd name="connsiteY13" fmla="*/ 788154 h 797578"/>
                <a:gd name="connsiteX14" fmla="*/ 8599107 w 9739106"/>
                <a:gd name="connsiteY14" fmla="*/ 779648 h 797578"/>
                <a:gd name="connsiteX15" fmla="*/ 9131102 w 9739106"/>
                <a:gd name="connsiteY15" fmla="*/ 771142 h 797578"/>
                <a:gd name="connsiteX16" fmla="*/ 9608825 w 9739106"/>
                <a:gd name="connsiteY16" fmla="*/ 737154 h 797578"/>
                <a:gd name="connsiteX17" fmla="*/ 9739106 w 9739106"/>
                <a:gd name="connsiteY17" fmla="*/ 754148 h 797578"/>
                <a:gd name="connsiteX18" fmla="*/ 9739106 w 9739106"/>
                <a:gd name="connsiteY18" fmla="*/ 133791 h 797578"/>
                <a:gd name="connsiteX19" fmla="*/ 9554530 w 9739106"/>
                <a:gd name="connsiteY19" fmla="*/ 65870 h 797578"/>
                <a:gd name="connsiteX20" fmla="*/ 8740234 w 9739106"/>
                <a:gd name="connsiteY20" fmla="*/ 14889 h 797578"/>
                <a:gd name="connsiteX21" fmla="*/ 8153943 w 9739106"/>
                <a:gd name="connsiteY21" fmla="*/ 108364 h 797578"/>
                <a:gd name="connsiteX22" fmla="*/ 7252793 w 9739106"/>
                <a:gd name="connsiteY22" fmla="*/ 201839 h 797578"/>
                <a:gd name="connsiteX23" fmla="*/ 6286502 w 9739106"/>
                <a:gd name="connsiteY23" fmla="*/ 201839 h 797578"/>
                <a:gd name="connsiteX24" fmla="*/ 4560212 w 9739106"/>
                <a:gd name="connsiteY24" fmla="*/ 193333 h 797578"/>
                <a:gd name="connsiteX25" fmla="*/ 3474484 w 9739106"/>
                <a:gd name="connsiteY25" fmla="*/ 65870 h 797578"/>
                <a:gd name="connsiteX26" fmla="*/ 1683052 w 9739106"/>
                <a:gd name="connsiteY26" fmla="*/ 57364 h 797578"/>
                <a:gd name="connsiteX27" fmla="*/ 1143230 w 9739106"/>
                <a:gd name="connsiteY27" fmla="*/ 66415 h 797578"/>
                <a:gd name="connsiteX0" fmla="*/ 817337 w 9413213"/>
                <a:gd name="connsiteY0" fmla="*/ 66415 h 797576"/>
                <a:gd name="connsiteX1" fmla="*/ 699777 w 9413213"/>
                <a:gd name="connsiteY1" fmla="*/ 625754 h 797576"/>
                <a:gd name="connsiteX2" fmla="*/ 0 w 9413213"/>
                <a:gd name="connsiteY2" fmla="*/ 737154 h 797576"/>
                <a:gd name="connsiteX3" fmla="*/ 575423 w 9413213"/>
                <a:gd name="connsiteY3" fmla="*/ 754148 h 797576"/>
                <a:gd name="connsiteX4" fmla="*/ 1715422 w 9413213"/>
                <a:gd name="connsiteY4" fmla="*/ 754148 h 797576"/>
                <a:gd name="connsiteX5" fmla="*/ 2410281 w 9413213"/>
                <a:gd name="connsiteY5" fmla="*/ 788136 h 797576"/>
                <a:gd name="connsiteX6" fmla="*/ 2866291 w 9413213"/>
                <a:gd name="connsiteY6" fmla="*/ 728648 h 797576"/>
                <a:gd name="connsiteX7" fmla="*/ 3344013 w 9413213"/>
                <a:gd name="connsiteY7" fmla="*/ 728648 h 797576"/>
                <a:gd name="connsiteX8" fmla="*/ 4114882 w 9413213"/>
                <a:gd name="connsiteY8" fmla="*/ 771142 h 797576"/>
                <a:gd name="connsiteX9" fmla="*/ 4994318 w 9413213"/>
                <a:gd name="connsiteY9" fmla="*/ 754148 h 797576"/>
                <a:gd name="connsiteX10" fmla="*/ 5624036 w 9413213"/>
                <a:gd name="connsiteY10" fmla="*/ 762654 h 797576"/>
                <a:gd name="connsiteX11" fmla="*/ 6460046 w 9413213"/>
                <a:gd name="connsiteY11" fmla="*/ 762654 h 797576"/>
                <a:gd name="connsiteX12" fmla="*/ 7524059 w 9413213"/>
                <a:gd name="connsiteY12" fmla="*/ 788154 h 797576"/>
                <a:gd name="connsiteX13" fmla="*/ 8273214 w 9413213"/>
                <a:gd name="connsiteY13" fmla="*/ 779648 h 797576"/>
                <a:gd name="connsiteX14" fmla="*/ 8805209 w 9413213"/>
                <a:gd name="connsiteY14" fmla="*/ 771142 h 797576"/>
                <a:gd name="connsiteX15" fmla="*/ 9282932 w 9413213"/>
                <a:gd name="connsiteY15" fmla="*/ 737154 h 797576"/>
                <a:gd name="connsiteX16" fmla="*/ 9413213 w 9413213"/>
                <a:gd name="connsiteY16" fmla="*/ 754148 h 797576"/>
                <a:gd name="connsiteX17" fmla="*/ 9413213 w 9413213"/>
                <a:gd name="connsiteY17" fmla="*/ 133791 h 797576"/>
                <a:gd name="connsiteX18" fmla="*/ 9228637 w 9413213"/>
                <a:gd name="connsiteY18" fmla="*/ 65870 h 797576"/>
                <a:gd name="connsiteX19" fmla="*/ 8414341 w 9413213"/>
                <a:gd name="connsiteY19" fmla="*/ 14889 h 797576"/>
                <a:gd name="connsiteX20" fmla="*/ 7828050 w 9413213"/>
                <a:gd name="connsiteY20" fmla="*/ 108364 h 797576"/>
                <a:gd name="connsiteX21" fmla="*/ 6926900 w 9413213"/>
                <a:gd name="connsiteY21" fmla="*/ 201839 h 797576"/>
                <a:gd name="connsiteX22" fmla="*/ 5960609 w 9413213"/>
                <a:gd name="connsiteY22" fmla="*/ 201839 h 797576"/>
                <a:gd name="connsiteX23" fmla="*/ 4234319 w 9413213"/>
                <a:gd name="connsiteY23" fmla="*/ 193333 h 797576"/>
                <a:gd name="connsiteX24" fmla="*/ 3148591 w 9413213"/>
                <a:gd name="connsiteY24" fmla="*/ 65870 h 797576"/>
                <a:gd name="connsiteX25" fmla="*/ 1357159 w 9413213"/>
                <a:gd name="connsiteY25" fmla="*/ 57364 h 797576"/>
                <a:gd name="connsiteX26" fmla="*/ 817337 w 9413213"/>
                <a:gd name="connsiteY26" fmla="*/ 66415 h 797576"/>
                <a:gd name="connsiteX0" fmla="*/ 299581 w 8895457"/>
                <a:gd name="connsiteY0" fmla="*/ 66415 h 797578"/>
                <a:gd name="connsiteX1" fmla="*/ 182021 w 8895457"/>
                <a:gd name="connsiteY1" fmla="*/ 625754 h 797578"/>
                <a:gd name="connsiteX2" fmla="*/ 57667 w 8895457"/>
                <a:gd name="connsiteY2" fmla="*/ 754148 h 797578"/>
                <a:gd name="connsiteX3" fmla="*/ 1197666 w 8895457"/>
                <a:gd name="connsiteY3" fmla="*/ 754148 h 797578"/>
                <a:gd name="connsiteX4" fmla="*/ 1892525 w 8895457"/>
                <a:gd name="connsiteY4" fmla="*/ 788136 h 797578"/>
                <a:gd name="connsiteX5" fmla="*/ 2348535 w 8895457"/>
                <a:gd name="connsiteY5" fmla="*/ 728648 h 797578"/>
                <a:gd name="connsiteX6" fmla="*/ 2826257 w 8895457"/>
                <a:gd name="connsiteY6" fmla="*/ 728648 h 797578"/>
                <a:gd name="connsiteX7" fmla="*/ 3597126 w 8895457"/>
                <a:gd name="connsiteY7" fmla="*/ 771142 h 797578"/>
                <a:gd name="connsiteX8" fmla="*/ 4476562 w 8895457"/>
                <a:gd name="connsiteY8" fmla="*/ 754148 h 797578"/>
                <a:gd name="connsiteX9" fmla="*/ 5106280 w 8895457"/>
                <a:gd name="connsiteY9" fmla="*/ 762654 h 797578"/>
                <a:gd name="connsiteX10" fmla="*/ 5942290 w 8895457"/>
                <a:gd name="connsiteY10" fmla="*/ 762654 h 797578"/>
                <a:gd name="connsiteX11" fmla="*/ 7006303 w 8895457"/>
                <a:gd name="connsiteY11" fmla="*/ 788154 h 797578"/>
                <a:gd name="connsiteX12" fmla="*/ 7755458 w 8895457"/>
                <a:gd name="connsiteY12" fmla="*/ 779648 h 797578"/>
                <a:gd name="connsiteX13" fmla="*/ 8287453 w 8895457"/>
                <a:gd name="connsiteY13" fmla="*/ 771142 h 797578"/>
                <a:gd name="connsiteX14" fmla="*/ 8765176 w 8895457"/>
                <a:gd name="connsiteY14" fmla="*/ 737154 h 797578"/>
                <a:gd name="connsiteX15" fmla="*/ 8895457 w 8895457"/>
                <a:gd name="connsiteY15" fmla="*/ 754148 h 797578"/>
                <a:gd name="connsiteX16" fmla="*/ 8895457 w 8895457"/>
                <a:gd name="connsiteY16" fmla="*/ 133791 h 797578"/>
                <a:gd name="connsiteX17" fmla="*/ 8710881 w 8895457"/>
                <a:gd name="connsiteY17" fmla="*/ 65870 h 797578"/>
                <a:gd name="connsiteX18" fmla="*/ 7896585 w 8895457"/>
                <a:gd name="connsiteY18" fmla="*/ 14889 h 797578"/>
                <a:gd name="connsiteX19" fmla="*/ 7310294 w 8895457"/>
                <a:gd name="connsiteY19" fmla="*/ 108364 h 797578"/>
                <a:gd name="connsiteX20" fmla="*/ 6409144 w 8895457"/>
                <a:gd name="connsiteY20" fmla="*/ 201839 h 797578"/>
                <a:gd name="connsiteX21" fmla="*/ 5442853 w 8895457"/>
                <a:gd name="connsiteY21" fmla="*/ 201839 h 797578"/>
                <a:gd name="connsiteX22" fmla="*/ 3716563 w 8895457"/>
                <a:gd name="connsiteY22" fmla="*/ 193333 h 797578"/>
                <a:gd name="connsiteX23" fmla="*/ 2630835 w 8895457"/>
                <a:gd name="connsiteY23" fmla="*/ 65870 h 797578"/>
                <a:gd name="connsiteX24" fmla="*/ 839403 w 8895457"/>
                <a:gd name="connsiteY24" fmla="*/ 57364 h 797578"/>
                <a:gd name="connsiteX25" fmla="*/ 299581 w 8895457"/>
                <a:gd name="connsiteY25" fmla="*/ 66415 h 797578"/>
                <a:gd name="connsiteX0" fmla="*/ 300385 w 8896261"/>
                <a:gd name="connsiteY0" fmla="*/ 66415 h 797969"/>
                <a:gd name="connsiteX1" fmla="*/ 182825 w 8896261"/>
                <a:gd name="connsiteY1" fmla="*/ 625754 h 797969"/>
                <a:gd name="connsiteX2" fmla="*/ 1198470 w 8896261"/>
                <a:gd name="connsiteY2" fmla="*/ 754148 h 797969"/>
                <a:gd name="connsiteX3" fmla="*/ 1893329 w 8896261"/>
                <a:gd name="connsiteY3" fmla="*/ 788136 h 797969"/>
                <a:gd name="connsiteX4" fmla="*/ 2349339 w 8896261"/>
                <a:gd name="connsiteY4" fmla="*/ 728648 h 797969"/>
                <a:gd name="connsiteX5" fmla="*/ 2827061 w 8896261"/>
                <a:gd name="connsiteY5" fmla="*/ 728648 h 797969"/>
                <a:gd name="connsiteX6" fmla="*/ 3597930 w 8896261"/>
                <a:gd name="connsiteY6" fmla="*/ 771142 h 797969"/>
                <a:gd name="connsiteX7" fmla="*/ 4477366 w 8896261"/>
                <a:gd name="connsiteY7" fmla="*/ 754148 h 797969"/>
                <a:gd name="connsiteX8" fmla="*/ 5107084 w 8896261"/>
                <a:gd name="connsiteY8" fmla="*/ 762654 h 797969"/>
                <a:gd name="connsiteX9" fmla="*/ 5943094 w 8896261"/>
                <a:gd name="connsiteY9" fmla="*/ 762654 h 797969"/>
                <a:gd name="connsiteX10" fmla="*/ 7007107 w 8896261"/>
                <a:gd name="connsiteY10" fmla="*/ 788154 h 797969"/>
                <a:gd name="connsiteX11" fmla="*/ 7756262 w 8896261"/>
                <a:gd name="connsiteY11" fmla="*/ 779648 h 797969"/>
                <a:gd name="connsiteX12" fmla="*/ 8288257 w 8896261"/>
                <a:gd name="connsiteY12" fmla="*/ 771142 h 797969"/>
                <a:gd name="connsiteX13" fmla="*/ 8765980 w 8896261"/>
                <a:gd name="connsiteY13" fmla="*/ 737154 h 797969"/>
                <a:gd name="connsiteX14" fmla="*/ 8896261 w 8896261"/>
                <a:gd name="connsiteY14" fmla="*/ 754148 h 797969"/>
                <a:gd name="connsiteX15" fmla="*/ 8896261 w 8896261"/>
                <a:gd name="connsiteY15" fmla="*/ 133791 h 797969"/>
                <a:gd name="connsiteX16" fmla="*/ 8711685 w 8896261"/>
                <a:gd name="connsiteY16" fmla="*/ 65870 h 797969"/>
                <a:gd name="connsiteX17" fmla="*/ 7897389 w 8896261"/>
                <a:gd name="connsiteY17" fmla="*/ 14889 h 797969"/>
                <a:gd name="connsiteX18" fmla="*/ 7311098 w 8896261"/>
                <a:gd name="connsiteY18" fmla="*/ 108364 h 797969"/>
                <a:gd name="connsiteX19" fmla="*/ 6409948 w 8896261"/>
                <a:gd name="connsiteY19" fmla="*/ 201839 h 797969"/>
                <a:gd name="connsiteX20" fmla="*/ 5443657 w 8896261"/>
                <a:gd name="connsiteY20" fmla="*/ 201839 h 797969"/>
                <a:gd name="connsiteX21" fmla="*/ 3717367 w 8896261"/>
                <a:gd name="connsiteY21" fmla="*/ 193333 h 797969"/>
                <a:gd name="connsiteX22" fmla="*/ 2631639 w 8896261"/>
                <a:gd name="connsiteY22" fmla="*/ 65870 h 797969"/>
                <a:gd name="connsiteX23" fmla="*/ 840207 w 8896261"/>
                <a:gd name="connsiteY23" fmla="*/ 57364 h 797969"/>
                <a:gd name="connsiteX24" fmla="*/ 300385 w 8896261"/>
                <a:gd name="connsiteY24" fmla="*/ 66415 h 797969"/>
                <a:gd name="connsiteX0" fmla="*/ 263649 w 8859525"/>
                <a:gd name="connsiteY0" fmla="*/ 66415 h 795901"/>
                <a:gd name="connsiteX1" fmla="*/ 238952 w 8859525"/>
                <a:gd name="connsiteY1" fmla="*/ 726571 h 795901"/>
                <a:gd name="connsiteX2" fmla="*/ 1161734 w 8859525"/>
                <a:gd name="connsiteY2" fmla="*/ 754148 h 795901"/>
                <a:gd name="connsiteX3" fmla="*/ 1856593 w 8859525"/>
                <a:gd name="connsiteY3" fmla="*/ 788136 h 795901"/>
                <a:gd name="connsiteX4" fmla="*/ 2312603 w 8859525"/>
                <a:gd name="connsiteY4" fmla="*/ 728648 h 795901"/>
                <a:gd name="connsiteX5" fmla="*/ 2790325 w 8859525"/>
                <a:gd name="connsiteY5" fmla="*/ 728648 h 795901"/>
                <a:gd name="connsiteX6" fmla="*/ 3561194 w 8859525"/>
                <a:gd name="connsiteY6" fmla="*/ 771142 h 795901"/>
                <a:gd name="connsiteX7" fmla="*/ 4440630 w 8859525"/>
                <a:gd name="connsiteY7" fmla="*/ 754148 h 795901"/>
                <a:gd name="connsiteX8" fmla="*/ 5070348 w 8859525"/>
                <a:gd name="connsiteY8" fmla="*/ 762654 h 795901"/>
                <a:gd name="connsiteX9" fmla="*/ 5906358 w 8859525"/>
                <a:gd name="connsiteY9" fmla="*/ 762654 h 795901"/>
                <a:gd name="connsiteX10" fmla="*/ 6970371 w 8859525"/>
                <a:gd name="connsiteY10" fmla="*/ 788154 h 795901"/>
                <a:gd name="connsiteX11" fmla="*/ 7719526 w 8859525"/>
                <a:gd name="connsiteY11" fmla="*/ 779648 h 795901"/>
                <a:gd name="connsiteX12" fmla="*/ 8251521 w 8859525"/>
                <a:gd name="connsiteY12" fmla="*/ 771142 h 795901"/>
                <a:gd name="connsiteX13" fmla="*/ 8729244 w 8859525"/>
                <a:gd name="connsiteY13" fmla="*/ 737154 h 795901"/>
                <a:gd name="connsiteX14" fmla="*/ 8859525 w 8859525"/>
                <a:gd name="connsiteY14" fmla="*/ 754148 h 795901"/>
                <a:gd name="connsiteX15" fmla="*/ 8859525 w 8859525"/>
                <a:gd name="connsiteY15" fmla="*/ 133791 h 795901"/>
                <a:gd name="connsiteX16" fmla="*/ 8674949 w 8859525"/>
                <a:gd name="connsiteY16" fmla="*/ 65870 h 795901"/>
                <a:gd name="connsiteX17" fmla="*/ 7860653 w 8859525"/>
                <a:gd name="connsiteY17" fmla="*/ 14889 h 795901"/>
                <a:gd name="connsiteX18" fmla="*/ 7274362 w 8859525"/>
                <a:gd name="connsiteY18" fmla="*/ 108364 h 795901"/>
                <a:gd name="connsiteX19" fmla="*/ 6373212 w 8859525"/>
                <a:gd name="connsiteY19" fmla="*/ 201839 h 795901"/>
                <a:gd name="connsiteX20" fmla="*/ 5406921 w 8859525"/>
                <a:gd name="connsiteY20" fmla="*/ 201839 h 795901"/>
                <a:gd name="connsiteX21" fmla="*/ 3680631 w 8859525"/>
                <a:gd name="connsiteY21" fmla="*/ 193333 h 795901"/>
                <a:gd name="connsiteX22" fmla="*/ 2594903 w 8859525"/>
                <a:gd name="connsiteY22" fmla="*/ 65870 h 795901"/>
                <a:gd name="connsiteX23" fmla="*/ 803471 w 8859525"/>
                <a:gd name="connsiteY23" fmla="*/ 57364 h 795901"/>
                <a:gd name="connsiteX24" fmla="*/ 263649 w 8859525"/>
                <a:gd name="connsiteY24" fmla="*/ 66415 h 795901"/>
                <a:gd name="connsiteX0" fmla="*/ 224684 w 8820560"/>
                <a:gd name="connsiteY0" fmla="*/ 66415 h 815564"/>
                <a:gd name="connsiteX1" fmla="*/ 199987 w 8820560"/>
                <a:gd name="connsiteY1" fmla="*/ 726571 h 815564"/>
                <a:gd name="connsiteX2" fmla="*/ 1122769 w 8820560"/>
                <a:gd name="connsiteY2" fmla="*/ 754148 h 815564"/>
                <a:gd name="connsiteX3" fmla="*/ 1817628 w 8820560"/>
                <a:gd name="connsiteY3" fmla="*/ 788136 h 815564"/>
                <a:gd name="connsiteX4" fmla="*/ 2273638 w 8820560"/>
                <a:gd name="connsiteY4" fmla="*/ 728648 h 815564"/>
                <a:gd name="connsiteX5" fmla="*/ 2751360 w 8820560"/>
                <a:gd name="connsiteY5" fmla="*/ 728648 h 815564"/>
                <a:gd name="connsiteX6" fmla="*/ 3522229 w 8820560"/>
                <a:gd name="connsiteY6" fmla="*/ 771142 h 815564"/>
                <a:gd name="connsiteX7" fmla="*/ 4401665 w 8820560"/>
                <a:gd name="connsiteY7" fmla="*/ 754148 h 815564"/>
                <a:gd name="connsiteX8" fmla="*/ 5031383 w 8820560"/>
                <a:gd name="connsiteY8" fmla="*/ 762654 h 815564"/>
                <a:gd name="connsiteX9" fmla="*/ 5867393 w 8820560"/>
                <a:gd name="connsiteY9" fmla="*/ 762654 h 815564"/>
                <a:gd name="connsiteX10" fmla="*/ 6931406 w 8820560"/>
                <a:gd name="connsiteY10" fmla="*/ 788154 h 815564"/>
                <a:gd name="connsiteX11" fmla="*/ 7680561 w 8820560"/>
                <a:gd name="connsiteY11" fmla="*/ 779648 h 815564"/>
                <a:gd name="connsiteX12" fmla="*/ 8212556 w 8820560"/>
                <a:gd name="connsiteY12" fmla="*/ 771142 h 815564"/>
                <a:gd name="connsiteX13" fmla="*/ 8690279 w 8820560"/>
                <a:gd name="connsiteY13" fmla="*/ 737154 h 815564"/>
                <a:gd name="connsiteX14" fmla="*/ 8820560 w 8820560"/>
                <a:gd name="connsiteY14" fmla="*/ 754148 h 815564"/>
                <a:gd name="connsiteX15" fmla="*/ 8820560 w 8820560"/>
                <a:gd name="connsiteY15" fmla="*/ 133791 h 815564"/>
                <a:gd name="connsiteX16" fmla="*/ 8635984 w 8820560"/>
                <a:gd name="connsiteY16" fmla="*/ 65870 h 815564"/>
                <a:gd name="connsiteX17" fmla="*/ 7821688 w 8820560"/>
                <a:gd name="connsiteY17" fmla="*/ 14889 h 815564"/>
                <a:gd name="connsiteX18" fmla="*/ 7235397 w 8820560"/>
                <a:gd name="connsiteY18" fmla="*/ 108364 h 815564"/>
                <a:gd name="connsiteX19" fmla="*/ 6334247 w 8820560"/>
                <a:gd name="connsiteY19" fmla="*/ 201839 h 815564"/>
                <a:gd name="connsiteX20" fmla="*/ 5367956 w 8820560"/>
                <a:gd name="connsiteY20" fmla="*/ 201839 h 815564"/>
                <a:gd name="connsiteX21" fmla="*/ 3641666 w 8820560"/>
                <a:gd name="connsiteY21" fmla="*/ 193333 h 815564"/>
                <a:gd name="connsiteX22" fmla="*/ 2555938 w 8820560"/>
                <a:gd name="connsiteY22" fmla="*/ 65870 h 815564"/>
                <a:gd name="connsiteX23" fmla="*/ 764506 w 8820560"/>
                <a:gd name="connsiteY23" fmla="*/ 57364 h 815564"/>
                <a:gd name="connsiteX24" fmla="*/ 224684 w 8820560"/>
                <a:gd name="connsiteY24" fmla="*/ 66415 h 815564"/>
                <a:gd name="connsiteX0" fmla="*/ 93047 w 8688923"/>
                <a:gd name="connsiteY0" fmla="*/ 66415 h 795903"/>
                <a:gd name="connsiteX1" fmla="*/ 71109 w 8688923"/>
                <a:gd name="connsiteY1" fmla="*/ 350379 h 795903"/>
                <a:gd name="connsiteX2" fmla="*/ 68350 w 8688923"/>
                <a:gd name="connsiteY2" fmla="*/ 726571 h 795903"/>
                <a:gd name="connsiteX3" fmla="*/ 991132 w 8688923"/>
                <a:gd name="connsiteY3" fmla="*/ 754148 h 795903"/>
                <a:gd name="connsiteX4" fmla="*/ 1685991 w 8688923"/>
                <a:gd name="connsiteY4" fmla="*/ 788136 h 795903"/>
                <a:gd name="connsiteX5" fmla="*/ 2142001 w 8688923"/>
                <a:gd name="connsiteY5" fmla="*/ 728648 h 795903"/>
                <a:gd name="connsiteX6" fmla="*/ 2619723 w 8688923"/>
                <a:gd name="connsiteY6" fmla="*/ 728648 h 795903"/>
                <a:gd name="connsiteX7" fmla="*/ 3390592 w 8688923"/>
                <a:gd name="connsiteY7" fmla="*/ 771142 h 795903"/>
                <a:gd name="connsiteX8" fmla="*/ 4270028 w 8688923"/>
                <a:gd name="connsiteY8" fmla="*/ 754148 h 795903"/>
                <a:gd name="connsiteX9" fmla="*/ 4899746 w 8688923"/>
                <a:gd name="connsiteY9" fmla="*/ 762654 h 795903"/>
                <a:gd name="connsiteX10" fmla="*/ 5735756 w 8688923"/>
                <a:gd name="connsiteY10" fmla="*/ 762654 h 795903"/>
                <a:gd name="connsiteX11" fmla="*/ 6799769 w 8688923"/>
                <a:gd name="connsiteY11" fmla="*/ 788154 h 795903"/>
                <a:gd name="connsiteX12" fmla="*/ 7548924 w 8688923"/>
                <a:gd name="connsiteY12" fmla="*/ 779648 h 795903"/>
                <a:gd name="connsiteX13" fmla="*/ 8080919 w 8688923"/>
                <a:gd name="connsiteY13" fmla="*/ 771142 h 795903"/>
                <a:gd name="connsiteX14" fmla="*/ 8558642 w 8688923"/>
                <a:gd name="connsiteY14" fmla="*/ 737154 h 795903"/>
                <a:gd name="connsiteX15" fmla="*/ 8688923 w 8688923"/>
                <a:gd name="connsiteY15" fmla="*/ 754148 h 795903"/>
                <a:gd name="connsiteX16" fmla="*/ 8688923 w 8688923"/>
                <a:gd name="connsiteY16" fmla="*/ 133791 h 795903"/>
                <a:gd name="connsiteX17" fmla="*/ 8504347 w 8688923"/>
                <a:gd name="connsiteY17" fmla="*/ 65870 h 795903"/>
                <a:gd name="connsiteX18" fmla="*/ 7690051 w 8688923"/>
                <a:gd name="connsiteY18" fmla="*/ 14889 h 795903"/>
                <a:gd name="connsiteX19" fmla="*/ 7103760 w 8688923"/>
                <a:gd name="connsiteY19" fmla="*/ 108364 h 795903"/>
                <a:gd name="connsiteX20" fmla="*/ 6202610 w 8688923"/>
                <a:gd name="connsiteY20" fmla="*/ 201839 h 795903"/>
                <a:gd name="connsiteX21" fmla="*/ 5236319 w 8688923"/>
                <a:gd name="connsiteY21" fmla="*/ 201839 h 795903"/>
                <a:gd name="connsiteX22" fmla="*/ 3510029 w 8688923"/>
                <a:gd name="connsiteY22" fmla="*/ 193333 h 795903"/>
                <a:gd name="connsiteX23" fmla="*/ 2424301 w 8688923"/>
                <a:gd name="connsiteY23" fmla="*/ 65870 h 795903"/>
                <a:gd name="connsiteX24" fmla="*/ 632869 w 8688923"/>
                <a:gd name="connsiteY24" fmla="*/ 57364 h 795903"/>
                <a:gd name="connsiteX25" fmla="*/ 93047 w 8688923"/>
                <a:gd name="connsiteY25" fmla="*/ 66415 h 795903"/>
                <a:gd name="connsiteX0" fmla="*/ 91443 w 8687319"/>
                <a:gd name="connsiteY0" fmla="*/ 66415 h 795901"/>
                <a:gd name="connsiteX1" fmla="*/ 69505 w 8687319"/>
                <a:gd name="connsiteY1" fmla="*/ 350379 h 795901"/>
                <a:gd name="connsiteX2" fmla="*/ 66746 w 8687319"/>
                <a:gd name="connsiteY2" fmla="*/ 726571 h 795901"/>
                <a:gd name="connsiteX3" fmla="*/ 989528 w 8687319"/>
                <a:gd name="connsiteY3" fmla="*/ 754148 h 795901"/>
                <a:gd name="connsiteX4" fmla="*/ 1684387 w 8687319"/>
                <a:gd name="connsiteY4" fmla="*/ 788136 h 795901"/>
                <a:gd name="connsiteX5" fmla="*/ 2140397 w 8687319"/>
                <a:gd name="connsiteY5" fmla="*/ 728648 h 795901"/>
                <a:gd name="connsiteX6" fmla="*/ 2618119 w 8687319"/>
                <a:gd name="connsiteY6" fmla="*/ 728648 h 795901"/>
                <a:gd name="connsiteX7" fmla="*/ 3388988 w 8687319"/>
                <a:gd name="connsiteY7" fmla="*/ 771142 h 795901"/>
                <a:gd name="connsiteX8" fmla="*/ 4268424 w 8687319"/>
                <a:gd name="connsiteY8" fmla="*/ 754148 h 795901"/>
                <a:gd name="connsiteX9" fmla="*/ 4898142 w 8687319"/>
                <a:gd name="connsiteY9" fmla="*/ 762654 h 795901"/>
                <a:gd name="connsiteX10" fmla="*/ 5734152 w 8687319"/>
                <a:gd name="connsiteY10" fmla="*/ 762654 h 795901"/>
                <a:gd name="connsiteX11" fmla="*/ 6798165 w 8687319"/>
                <a:gd name="connsiteY11" fmla="*/ 788154 h 795901"/>
                <a:gd name="connsiteX12" fmla="*/ 7547320 w 8687319"/>
                <a:gd name="connsiteY12" fmla="*/ 779648 h 795901"/>
                <a:gd name="connsiteX13" fmla="*/ 8079315 w 8687319"/>
                <a:gd name="connsiteY13" fmla="*/ 771142 h 795901"/>
                <a:gd name="connsiteX14" fmla="*/ 8557038 w 8687319"/>
                <a:gd name="connsiteY14" fmla="*/ 737154 h 795901"/>
                <a:gd name="connsiteX15" fmla="*/ 8687319 w 8687319"/>
                <a:gd name="connsiteY15" fmla="*/ 754148 h 795901"/>
                <a:gd name="connsiteX16" fmla="*/ 8687319 w 8687319"/>
                <a:gd name="connsiteY16" fmla="*/ 133791 h 795901"/>
                <a:gd name="connsiteX17" fmla="*/ 8502743 w 8687319"/>
                <a:gd name="connsiteY17" fmla="*/ 65870 h 795901"/>
                <a:gd name="connsiteX18" fmla="*/ 7688447 w 8687319"/>
                <a:gd name="connsiteY18" fmla="*/ 14889 h 795901"/>
                <a:gd name="connsiteX19" fmla="*/ 7102156 w 8687319"/>
                <a:gd name="connsiteY19" fmla="*/ 108364 h 795901"/>
                <a:gd name="connsiteX20" fmla="*/ 6201006 w 8687319"/>
                <a:gd name="connsiteY20" fmla="*/ 201839 h 795901"/>
                <a:gd name="connsiteX21" fmla="*/ 5234715 w 8687319"/>
                <a:gd name="connsiteY21" fmla="*/ 201839 h 795901"/>
                <a:gd name="connsiteX22" fmla="*/ 3508425 w 8687319"/>
                <a:gd name="connsiteY22" fmla="*/ 193333 h 795901"/>
                <a:gd name="connsiteX23" fmla="*/ 2422697 w 8687319"/>
                <a:gd name="connsiteY23" fmla="*/ 65870 h 795901"/>
                <a:gd name="connsiteX24" fmla="*/ 631265 w 8687319"/>
                <a:gd name="connsiteY24" fmla="*/ 57364 h 795901"/>
                <a:gd name="connsiteX25" fmla="*/ 91443 w 8687319"/>
                <a:gd name="connsiteY25" fmla="*/ 66415 h 795901"/>
                <a:gd name="connsiteX0" fmla="*/ 91443 w 8687319"/>
                <a:gd name="connsiteY0" fmla="*/ 66415 h 795903"/>
                <a:gd name="connsiteX1" fmla="*/ 69505 w 8687319"/>
                <a:gd name="connsiteY1" fmla="*/ 350379 h 795903"/>
                <a:gd name="connsiteX2" fmla="*/ 66746 w 8687319"/>
                <a:gd name="connsiteY2" fmla="*/ 726571 h 795903"/>
                <a:gd name="connsiteX3" fmla="*/ 989528 w 8687319"/>
                <a:gd name="connsiteY3" fmla="*/ 754148 h 795903"/>
                <a:gd name="connsiteX4" fmla="*/ 1684387 w 8687319"/>
                <a:gd name="connsiteY4" fmla="*/ 788136 h 795903"/>
                <a:gd name="connsiteX5" fmla="*/ 2140397 w 8687319"/>
                <a:gd name="connsiteY5" fmla="*/ 728648 h 795903"/>
                <a:gd name="connsiteX6" fmla="*/ 2618119 w 8687319"/>
                <a:gd name="connsiteY6" fmla="*/ 728648 h 795903"/>
                <a:gd name="connsiteX7" fmla="*/ 3388988 w 8687319"/>
                <a:gd name="connsiteY7" fmla="*/ 771142 h 795903"/>
                <a:gd name="connsiteX8" fmla="*/ 4268424 w 8687319"/>
                <a:gd name="connsiteY8" fmla="*/ 754148 h 795903"/>
                <a:gd name="connsiteX9" fmla="*/ 4898142 w 8687319"/>
                <a:gd name="connsiteY9" fmla="*/ 762654 h 795903"/>
                <a:gd name="connsiteX10" fmla="*/ 5734152 w 8687319"/>
                <a:gd name="connsiteY10" fmla="*/ 762654 h 795903"/>
                <a:gd name="connsiteX11" fmla="*/ 6798165 w 8687319"/>
                <a:gd name="connsiteY11" fmla="*/ 788154 h 795903"/>
                <a:gd name="connsiteX12" fmla="*/ 7547320 w 8687319"/>
                <a:gd name="connsiteY12" fmla="*/ 779648 h 795903"/>
                <a:gd name="connsiteX13" fmla="*/ 8079315 w 8687319"/>
                <a:gd name="connsiteY13" fmla="*/ 771142 h 795903"/>
                <a:gd name="connsiteX14" fmla="*/ 8557038 w 8687319"/>
                <a:gd name="connsiteY14" fmla="*/ 737154 h 795903"/>
                <a:gd name="connsiteX15" fmla="*/ 8687319 w 8687319"/>
                <a:gd name="connsiteY15" fmla="*/ 754148 h 795903"/>
                <a:gd name="connsiteX16" fmla="*/ 8687319 w 8687319"/>
                <a:gd name="connsiteY16" fmla="*/ 133791 h 795903"/>
                <a:gd name="connsiteX17" fmla="*/ 8502743 w 8687319"/>
                <a:gd name="connsiteY17" fmla="*/ 65870 h 795903"/>
                <a:gd name="connsiteX18" fmla="*/ 7688447 w 8687319"/>
                <a:gd name="connsiteY18" fmla="*/ 14889 h 795903"/>
                <a:gd name="connsiteX19" fmla="*/ 7102156 w 8687319"/>
                <a:gd name="connsiteY19" fmla="*/ 108364 h 795903"/>
                <a:gd name="connsiteX20" fmla="*/ 6201006 w 8687319"/>
                <a:gd name="connsiteY20" fmla="*/ 201839 h 795903"/>
                <a:gd name="connsiteX21" fmla="*/ 5234715 w 8687319"/>
                <a:gd name="connsiteY21" fmla="*/ 201839 h 795903"/>
                <a:gd name="connsiteX22" fmla="*/ 3508425 w 8687319"/>
                <a:gd name="connsiteY22" fmla="*/ 193333 h 795903"/>
                <a:gd name="connsiteX23" fmla="*/ 2422697 w 8687319"/>
                <a:gd name="connsiteY23" fmla="*/ 65870 h 795903"/>
                <a:gd name="connsiteX24" fmla="*/ 631265 w 8687319"/>
                <a:gd name="connsiteY24" fmla="*/ 57364 h 795903"/>
                <a:gd name="connsiteX25" fmla="*/ 91443 w 8687319"/>
                <a:gd name="connsiteY25" fmla="*/ 66415 h 795903"/>
                <a:gd name="connsiteX0" fmla="*/ 87616 w 8683492"/>
                <a:gd name="connsiteY0" fmla="*/ 66415 h 795901"/>
                <a:gd name="connsiteX1" fmla="*/ 65678 w 8683492"/>
                <a:gd name="connsiteY1" fmla="*/ 350379 h 795901"/>
                <a:gd name="connsiteX2" fmla="*/ 80340 w 8683492"/>
                <a:gd name="connsiteY2" fmla="*/ 609625 h 795901"/>
                <a:gd name="connsiteX3" fmla="*/ 62919 w 8683492"/>
                <a:gd name="connsiteY3" fmla="*/ 726571 h 795901"/>
                <a:gd name="connsiteX4" fmla="*/ 985701 w 8683492"/>
                <a:gd name="connsiteY4" fmla="*/ 754148 h 795901"/>
                <a:gd name="connsiteX5" fmla="*/ 1680560 w 8683492"/>
                <a:gd name="connsiteY5" fmla="*/ 788136 h 795901"/>
                <a:gd name="connsiteX6" fmla="*/ 2136570 w 8683492"/>
                <a:gd name="connsiteY6" fmla="*/ 728648 h 795901"/>
                <a:gd name="connsiteX7" fmla="*/ 2614292 w 8683492"/>
                <a:gd name="connsiteY7" fmla="*/ 728648 h 795901"/>
                <a:gd name="connsiteX8" fmla="*/ 3385161 w 8683492"/>
                <a:gd name="connsiteY8" fmla="*/ 771142 h 795901"/>
                <a:gd name="connsiteX9" fmla="*/ 4264597 w 8683492"/>
                <a:gd name="connsiteY9" fmla="*/ 754148 h 795901"/>
                <a:gd name="connsiteX10" fmla="*/ 4894315 w 8683492"/>
                <a:gd name="connsiteY10" fmla="*/ 762654 h 795901"/>
                <a:gd name="connsiteX11" fmla="*/ 5730325 w 8683492"/>
                <a:gd name="connsiteY11" fmla="*/ 762654 h 795901"/>
                <a:gd name="connsiteX12" fmla="*/ 6794338 w 8683492"/>
                <a:gd name="connsiteY12" fmla="*/ 788154 h 795901"/>
                <a:gd name="connsiteX13" fmla="*/ 7543493 w 8683492"/>
                <a:gd name="connsiteY13" fmla="*/ 779648 h 795901"/>
                <a:gd name="connsiteX14" fmla="*/ 8075488 w 8683492"/>
                <a:gd name="connsiteY14" fmla="*/ 771142 h 795901"/>
                <a:gd name="connsiteX15" fmla="*/ 8553211 w 8683492"/>
                <a:gd name="connsiteY15" fmla="*/ 737154 h 795901"/>
                <a:gd name="connsiteX16" fmla="*/ 8683492 w 8683492"/>
                <a:gd name="connsiteY16" fmla="*/ 754148 h 795901"/>
                <a:gd name="connsiteX17" fmla="*/ 8683492 w 8683492"/>
                <a:gd name="connsiteY17" fmla="*/ 133791 h 795901"/>
                <a:gd name="connsiteX18" fmla="*/ 8498916 w 8683492"/>
                <a:gd name="connsiteY18" fmla="*/ 65870 h 795901"/>
                <a:gd name="connsiteX19" fmla="*/ 7684620 w 8683492"/>
                <a:gd name="connsiteY19" fmla="*/ 14889 h 795901"/>
                <a:gd name="connsiteX20" fmla="*/ 7098329 w 8683492"/>
                <a:gd name="connsiteY20" fmla="*/ 108364 h 795901"/>
                <a:gd name="connsiteX21" fmla="*/ 6197179 w 8683492"/>
                <a:gd name="connsiteY21" fmla="*/ 201839 h 795901"/>
                <a:gd name="connsiteX22" fmla="*/ 5230888 w 8683492"/>
                <a:gd name="connsiteY22" fmla="*/ 201839 h 795901"/>
                <a:gd name="connsiteX23" fmla="*/ 3504598 w 8683492"/>
                <a:gd name="connsiteY23" fmla="*/ 193333 h 795901"/>
                <a:gd name="connsiteX24" fmla="*/ 2418870 w 8683492"/>
                <a:gd name="connsiteY24" fmla="*/ 65870 h 795901"/>
                <a:gd name="connsiteX25" fmla="*/ 627438 w 8683492"/>
                <a:gd name="connsiteY25" fmla="*/ 57364 h 795901"/>
                <a:gd name="connsiteX26" fmla="*/ 87616 w 8683492"/>
                <a:gd name="connsiteY26" fmla="*/ 66415 h 795901"/>
                <a:gd name="connsiteX0" fmla="*/ 84495 w 8680371"/>
                <a:gd name="connsiteY0" fmla="*/ 66415 h 795903"/>
                <a:gd name="connsiteX1" fmla="*/ 62557 w 8680371"/>
                <a:gd name="connsiteY1" fmla="*/ 350379 h 795903"/>
                <a:gd name="connsiteX2" fmla="*/ 77219 w 8680371"/>
                <a:gd name="connsiteY2" fmla="*/ 609625 h 795903"/>
                <a:gd name="connsiteX3" fmla="*/ 89436 w 8680371"/>
                <a:gd name="connsiteY3" fmla="*/ 686441 h 795903"/>
                <a:gd name="connsiteX4" fmla="*/ 59798 w 8680371"/>
                <a:gd name="connsiteY4" fmla="*/ 726571 h 795903"/>
                <a:gd name="connsiteX5" fmla="*/ 982580 w 8680371"/>
                <a:gd name="connsiteY5" fmla="*/ 754148 h 795903"/>
                <a:gd name="connsiteX6" fmla="*/ 1677439 w 8680371"/>
                <a:gd name="connsiteY6" fmla="*/ 788136 h 795903"/>
                <a:gd name="connsiteX7" fmla="*/ 2133449 w 8680371"/>
                <a:gd name="connsiteY7" fmla="*/ 728648 h 795903"/>
                <a:gd name="connsiteX8" fmla="*/ 2611171 w 8680371"/>
                <a:gd name="connsiteY8" fmla="*/ 728648 h 795903"/>
                <a:gd name="connsiteX9" fmla="*/ 3382040 w 8680371"/>
                <a:gd name="connsiteY9" fmla="*/ 771142 h 795903"/>
                <a:gd name="connsiteX10" fmla="*/ 4261476 w 8680371"/>
                <a:gd name="connsiteY10" fmla="*/ 754148 h 795903"/>
                <a:gd name="connsiteX11" fmla="*/ 4891194 w 8680371"/>
                <a:gd name="connsiteY11" fmla="*/ 762654 h 795903"/>
                <a:gd name="connsiteX12" fmla="*/ 5727204 w 8680371"/>
                <a:gd name="connsiteY12" fmla="*/ 762654 h 795903"/>
                <a:gd name="connsiteX13" fmla="*/ 6791217 w 8680371"/>
                <a:gd name="connsiteY13" fmla="*/ 788154 h 795903"/>
                <a:gd name="connsiteX14" fmla="*/ 7540372 w 8680371"/>
                <a:gd name="connsiteY14" fmla="*/ 779648 h 795903"/>
                <a:gd name="connsiteX15" fmla="*/ 8072367 w 8680371"/>
                <a:gd name="connsiteY15" fmla="*/ 771142 h 795903"/>
                <a:gd name="connsiteX16" fmla="*/ 8550090 w 8680371"/>
                <a:gd name="connsiteY16" fmla="*/ 737154 h 795903"/>
                <a:gd name="connsiteX17" fmla="*/ 8680371 w 8680371"/>
                <a:gd name="connsiteY17" fmla="*/ 754148 h 795903"/>
                <a:gd name="connsiteX18" fmla="*/ 8680371 w 8680371"/>
                <a:gd name="connsiteY18" fmla="*/ 133791 h 795903"/>
                <a:gd name="connsiteX19" fmla="*/ 8495795 w 8680371"/>
                <a:gd name="connsiteY19" fmla="*/ 65870 h 795903"/>
                <a:gd name="connsiteX20" fmla="*/ 7681499 w 8680371"/>
                <a:gd name="connsiteY20" fmla="*/ 14889 h 795903"/>
                <a:gd name="connsiteX21" fmla="*/ 7095208 w 8680371"/>
                <a:gd name="connsiteY21" fmla="*/ 108364 h 795903"/>
                <a:gd name="connsiteX22" fmla="*/ 6194058 w 8680371"/>
                <a:gd name="connsiteY22" fmla="*/ 201839 h 795903"/>
                <a:gd name="connsiteX23" fmla="*/ 5227767 w 8680371"/>
                <a:gd name="connsiteY23" fmla="*/ 201839 h 795903"/>
                <a:gd name="connsiteX24" fmla="*/ 3501477 w 8680371"/>
                <a:gd name="connsiteY24" fmla="*/ 193333 h 795903"/>
                <a:gd name="connsiteX25" fmla="*/ 2415749 w 8680371"/>
                <a:gd name="connsiteY25" fmla="*/ 65870 h 795903"/>
                <a:gd name="connsiteX26" fmla="*/ 624317 w 8680371"/>
                <a:gd name="connsiteY26" fmla="*/ 57364 h 795903"/>
                <a:gd name="connsiteX27" fmla="*/ 84495 w 8680371"/>
                <a:gd name="connsiteY27" fmla="*/ 66415 h 795903"/>
                <a:gd name="connsiteX0" fmla="*/ 58632 w 8654508"/>
                <a:gd name="connsiteY0" fmla="*/ 66415 h 847530"/>
                <a:gd name="connsiteX1" fmla="*/ 36694 w 8654508"/>
                <a:gd name="connsiteY1" fmla="*/ 350379 h 847530"/>
                <a:gd name="connsiteX2" fmla="*/ 51356 w 8654508"/>
                <a:gd name="connsiteY2" fmla="*/ 609625 h 847530"/>
                <a:gd name="connsiteX3" fmla="*/ 63573 w 8654508"/>
                <a:gd name="connsiteY3" fmla="*/ 686441 h 847530"/>
                <a:gd name="connsiteX4" fmla="*/ 99916 w 8654508"/>
                <a:gd name="connsiteY4" fmla="*/ 846591 h 847530"/>
                <a:gd name="connsiteX5" fmla="*/ 956717 w 8654508"/>
                <a:gd name="connsiteY5" fmla="*/ 754148 h 847530"/>
                <a:gd name="connsiteX6" fmla="*/ 1651576 w 8654508"/>
                <a:gd name="connsiteY6" fmla="*/ 788136 h 847530"/>
                <a:gd name="connsiteX7" fmla="*/ 2107586 w 8654508"/>
                <a:gd name="connsiteY7" fmla="*/ 728648 h 847530"/>
                <a:gd name="connsiteX8" fmla="*/ 2585308 w 8654508"/>
                <a:gd name="connsiteY8" fmla="*/ 728648 h 847530"/>
                <a:gd name="connsiteX9" fmla="*/ 3356177 w 8654508"/>
                <a:gd name="connsiteY9" fmla="*/ 771142 h 847530"/>
                <a:gd name="connsiteX10" fmla="*/ 4235613 w 8654508"/>
                <a:gd name="connsiteY10" fmla="*/ 754148 h 847530"/>
                <a:gd name="connsiteX11" fmla="*/ 4865331 w 8654508"/>
                <a:gd name="connsiteY11" fmla="*/ 762654 h 847530"/>
                <a:gd name="connsiteX12" fmla="*/ 5701341 w 8654508"/>
                <a:gd name="connsiteY12" fmla="*/ 762654 h 847530"/>
                <a:gd name="connsiteX13" fmla="*/ 6765354 w 8654508"/>
                <a:gd name="connsiteY13" fmla="*/ 788154 h 847530"/>
                <a:gd name="connsiteX14" fmla="*/ 7514509 w 8654508"/>
                <a:gd name="connsiteY14" fmla="*/ 779648 h 847530"/>
                <a:gd name="connsiteX15" fmla="*/ 8046504 w 8654508"/>
                <a:gd name="connsiteY15" fmla="*/ 771142 h 847530"/>
                <a:gd name="connsiteX16" fmla="*/ 8524227 w 8654508"/>
                <a:gd name="connsiteY16" fmla="*/ 737154 h 847530"/>
                <a:gd name="connsiteX17" fmla="*/ 8654508 w 8654508"/>
                <a:gd name="connsiteY17" fmla="*/ 754148 h 847530"/>
                <a:gd name="connsiteX18" fmla="*/ 8654508 w 8654508"/>
                <a:gd name="connsiteY18" fmla="*/ 133791 h 847530"/>
                <a:gd name="connsiteX19" fmla="*/ 8469932 w 8654508"/>
                <a:gd name="connsiteY19" fmla="*/ 65870 h 847530"/>
                <a:gd name="connsiteX20" fmla="*/ 7655636 w 8654508"/>
                <a:gd name="connsiteY20" fmla="*/ 14889 h 847530"/>
                <a:gd name="connsiteX21" fmla="*/ 7069345 w 8654508"/>
                <a:gd name="connsiteY21" fmla="*/ 108364 h 847530"/>
                <a:gd name="connsiteX22" fmla="*/ 6168195 w 8654508"/>
                <a:gd name="connsiteY22" fmla="*/ 201839 h 847530"/>
                <a:gd name="connsiteX23" fmla="*/ 5201904 w 8654508"/>
                <a:gd name="connsiteY23" fmla="*/ 201839 h 847530"/>
                <a:gd name="connsiteX24" fmla="*/ 3475614 w 8654508"/>
                <a:gd name="connsiteY24" fmla="*/ 193333 h 847530"/>
                <a:gd name="connsiteX25" fmla="*/ 2389886 w 8654508"/>
                <a:gd name="connsiteY25" fmla="*/ 65870 h 847530"/>
                <a:gd name="connsiteX26" fmla="*/ 598454 w 8654508"/>
                <a:gd name="connsiteY26" fmla="*/ 57364 h 847530"/>
                <a:gd name="connsiteX27" fmla="*/ 58632 w 8654508"/>
                <a:gd name="connsiteY27" fmla="*/ 66415 h 847530"/>
                <a:gd name="connsiteX0" fmla="*/ 54170 w 8650046"/>
                <a:gd name="connsiteY0" fmla="*/ 66415 h 847528"/>
                <a:gd name="connsiteX1" fmla="*/ 20012 w 8650046"/>
                <a:gd name="connsiteY1" fmla="*/ 139144 h 847528"/>
                <a:gd name="connsiteX2" fmla="*/ 32232 w 8650046"/>
                <a:gd name="connsiteY2" fmla="*/ 350379 h 847528"/>
                <a:gd name="connsiteX3" fmla="*/ 46894 w 8650046"/>
                <a:gd name="connsiteY3" fmla="*/ 609625 h 847528"/>
                <a:gd name="connsiteX4" fmla="*/ 59111 w 8650046"/>
                <a:gd name="connsiteY4" fmla="*/ 686441 h 847528"/>
                <a:gd name="connsiteX5" fmla="*/ 95454 w 8650046"/>
                <a:gd name="connsiteY5" fmla="*/ 846591 h 847528"/>
                <a:gd name="connsiteX6" fmla="*/ 952255 w 8650046"/>
                <a:gd name="connsiteY6" fmla="*/ 754148 h 847528"/>
                <a:gd name="connsiteX7" fmla="*/ 1647114 w 8650046"/>
                <a:gd name="connsiteY7" fmla="*/ 788136 h 847528"/>
                <a:gd name="connsiteX8" fmla="*/ 2103124 w 8650046"/>
                <a:gd name="connsiteY8" fmla="*/ 728648 h 847528"/>
                <a:gd name="connsiteX9" fmla="*/ 2580846 w 8650046"/>
                <a:gd name="connsiteY9" fmla="*/ 728648 h 847528"/>
                <a:gd name="connsiteX10" fmla="*/ 3351715 w 8650046"/>
                <a:gd name="connsiteY10" fmla="*/ 771142 h 847528"/>
                <a:gd name="connsiteX11" fmla="*/ 4231151 w 8650046"/>
                <a:gd name="connsiteY11" fmla="*/ 754148 h 847528"/>
                <a:gd name="connsiteX12" fmla="*/ 4860869 w 8650046"/>
                <a:gd name="connsiteY12" fmla="*/ 762654 h 847528"/>
                <a:gd name="connsiteX13" fmla="*/ 5696879 w 8650046"/>
                <a:gd name="connsiteY13" fmla="*/ 762654 h 847528"/>
                <a:gd name="connsiteX14" fmla="*/ 6760892 w 8650046"/>
                <a:gd name="connsiteY14" fmla="*/ 788154 h 847528"/>
                <a:gd name="connsiteX15" fmla="*/ 7510047 w 8650046"/>
                <a:gd name="connsiteY15" fmla="*/ 779648 h 847528"/>
                <a:gd name="connsiteX16" fmla="*/ 8042042 w 8650046"/>
                <a:gd name="connsiteY16" fmla="*/ 771142 h 847528"/>
                <a:gd name="connsiteX17" fmla="*/ 8519765 w 8650046"/>
                <a:gd name="connsiteY17" fmla="*/ 737154 h 847528"/>
                <a:gd name="connsiteX18" fmla="*/ 8650046 w 8650046"/>
                <a:gd name="connsiteY18" fmla="*/ 754148 h 847528"/>
                <a:gd name="connsiteX19" fmla="*/ 8650046 w 8650046"/>
                <a:gd name="connsiteY19" fmla="*/ 133791 h 847528"/>
                <a:gd name="connsiteX20" fmla="*/ 8465470 w 8650046"/>
                <a:gd name="connsiteY20" fmla="*/ 65870 h 847528"/>
                <a:gd name="connsiteX21" fmla="*/ 7651174 w 8650046"/>
                <a:gd name="connsiteY21" fmla="*/ 14889 h 847528"/>
                <a:gd name="connsiteX22" fmla="*/ 7064883 w 8650046"/>
                <a:gd name="connsiteY22" fmla="*/ 108364 h 847528"/>
                <a:gd name="connsiteX23" fmla="*/ 6163733 w 8650046"/>
                <a:gd name="connsiteY23" fmla="*/ 201839 h 847528"/>
                <a:gd name="connsiteX24" fmla="*/ 5197442 w 8650046"/>
                <a:gd name="connsiteY24" fmla="*/ 201839 h 847528"/>
                <a:gd name="connsiteX25" fmla="*/ 3471152 w 8650046"/>
                <a:gd name="connsiteY25" fmla="*/ 193333 h 847528"/>
                <a:gd name="connsiteX26" fmla="*/ 2385424 w 8650046"/>
                <a:gd name="connsiteY26" fmla="*/ 65870 h 847528"/>
                <a:gd name="connsiteX27" fmla="*/ 593992 w 8650046"/>
                <a:gd name="connsiteY27" fmla="*/ 57364 h 847528"/>
                <a:gd name="connsiteX28" fmla="*/ 54170 w 8650046"/>
                <a:gd name="connsiteY28" fmla="*/ 66415 h 847528"/>
                <a:gd name="connsiteX0" fmla="*/ 54170 w 8650046"/>
                <a:gd name="connsiteY0" fmla="*/ 66415 h 847530"/>
                <a:gd name="connsiteX1" fmla="*/ 20012 w 8650046"/>
                <a:gd name="connsiteY1" fmla="*/ 139144 h 847530"/>
                <a:gd name="connsiteX2" fmla="*/ 32232 w 8650046"/>
                <a:gd name="connsiteY2" fmla="*/ 350379 h 847530"/>
                <a:gd name="connsiteX3" fmla="*/ 46894 w 8650046"/>
                <a:gd name="connsiteY3" fmla="*/ 609625 h 847530"/>
                <a:gd name="connsiteX4" fmla="*/ 59111 w 8650046"/>
                <a:gd name="connsiteY4" fmla="*/ 686441 h 847530"/>
                <a:gd name="connsiteX5" fmla="*/ 95454 w 8650046"/>
                <a:gd name="connsiteY5" fmla="*/ 846591 h 847530"/>
                <a:gd name="connsiteX6" fmla="*/ 952255 w 8650046"/>
                <a:gd name="connsiteY6" fmla="*/ 754148 h 847530"/>
                <a:gd name="connsiteX7" fmla="*/ 1647114 w 8650046"/>
                <a:gd name="connsiteY7" fmla="*/ 788136 h 847530"/>
                <a:gd name="connsiteX8" fmla="*/ 2103124 w 8650046"/>
                <a:gd name="connsiteY8" fmla="*/ 728648 h 847530"/>
                <a:gd name="connsiteX9" fmla="*/ 2580846 w 8650046"/>
                <a:gd name="connsiteY9" fmla="*/ 728648 h 847530"/>
                <a:gd name="connsiteX10" fmla="*/ 3351715 w 8650046"/>
                <a:gd name="connsiteY10" fmla="*/ 771142 h 847530"/>
                <a:gd name="connsiteX11" fmla="*/ 4231151 w 8650046"/>
                <a:gd name="connsiteY11" fmla="*/ 754148 h 847530"/>
                <a:gd name="connsiteX12" fmla="*/ 4860869 w 8650046"/>
                <a:gd name="connsiteY12" fmla="*/ 762654 h 847530"/>
                <a:gd name="connsiteX13" fmla="*/ 5696879 w 8650046"/>
                <a:gd name="connsiteY13" fmla="*/ 762654 h 847530"/>
                <a:gd name="connsiteX14" fmla="*/ 6760892 w 8650046"/>
                <a:gd name="connsiteY14" fmla="*/ 788154 h 847530"/>
                <a:gd name="connsiteX15" fmla="*/ 7510047 w 8650046"/>
                <a:gd name="connsiteY15" fmla="*/ 779648 h 847530"/>
                <a:gd name="connsiteX16" fmla="*/ 8042042 w 8650046"/>
                <a:gd name="connsiteY16" fmla="*/ 771142 h 847530"/>
                <a:gd name="connsiteX17" fmla="*/ 8519765 w 8650046"/>
                <a:gd name="connsiteY17" fmla="*/ 737154 h 847530"/>
                <a:gd name="connsiteX18" fmla="*/ 8650046 w 8650046"/>
                <a:gd name="connsiteY18" fmla="*/ 754148 h 847530"/>
                <a:gd name="connsiteX19" fmla="*/ 8650046 w 8650046"/>
                <a:gd name="connsiteY19" fmla="*/ 133791 h 847530"/>
                <a:gd name="connsiteX20" fmla="*/ 8465470 w 8650046"/>
                <a:gd name="connsiteY20" fmla="*/ 65870 h 847530"/>
                <a:gd name="connsiteX21" fmla="*/ 7651174 w 8650046"/>
                <a:gd name="connsiteY21" fmla="*/ 14889 h 847530"/>
                <a:gd name="connsiteX22" fmla="*/ 7064883 w 8650046"/>
                <a:gd name="connsiteY22" fmla="*/ 108364 h 847530"/>
                <a:gd name="connsiteX23" fmla="*/ 6163733 w 8650046"/>
                <a:gd name="connsiteY23" fmla="*/ 201839 h 847530"/>
                <a:gd name="connsiteX24" fmla="*/ 5197442 w 8650046"/>
                <a:gd name="connsiteY24" fmla="*/ 201839 h 847530"/>
                <a:gd name="connsiteX25" fmla="*/ 3471152 w 8650046"/>
                <a:gd name="connsiteY25" fmla="*/ 193333 h 847530"/>
                <a:gd name="connsiteX26" fmla="*/ 2385424 w 8650046"/>
                <a:gd name="connsiteY26" fmla="*/ 65870 h 847530"/>
                <a:gd name="connsiteX27" fmla="*/ 593992 w 8650046"/>
                <a:gd name="connsiteY27" fmla="*/ 57364 h 847530"/>
                <a:gd name="connsiteX28" fmla="*/ 54170 w 8650046"/>
                <a:gd name="connsiteY28" fmla="*/ 66415 h 847530"/>
                <a:gd name="connsiteX0" fmla="*/ 48208 w 8644084"/>
                <a:gd name="connsiteY0" fmla="*/ 66415 h 847528"/>
                <a:gd name="connsiteX1" fmla="*/ 14050 w 8644084"/>
                <a:gd name="connsiteY1" fmla="*/ 139144 h 847528"/>
                <a:gd name="connsiteX2" fmla="*/ 26270 w 8644084"/>
                <a:gd name="connsiteY2" fmla="*/ 350379 h 847528"/>
                <a:gd name="connsiteX3" fmla="*/ 40932 w 8644084"/>
                <a:gd name="connsiteY3" fmla="*/ 609625 h 847528"/>
                <a:gd name="connsiteX4" fmla="*/ 53149 w 8644084"/>
                <a:gd name="connsiteY4" fmla="*/ 686441 h 847528"/>
                <a:gd name="connsiteX5" fmla="*/ 89492 w 8644084"/>
                <a:gd name="connsiteY5" fmla="*/ 846591 h 847528"/>
                <a:gd name="connsiteX6" fmla="*/ 946293 w 8644084"/>
                <a:gd name="connsiteY6" fmla="*/ 754148 h 847528"/>
                <a:gd name="connsiteX7" fmla="*/ 1641152 w 8644084"/>
                <a:gd name="connsiteY7" fmla="*/ 788136 h 847528"/>
                <a:gd name="connsiteX8" fmla="*/ 2097162 w 8644084"/>
                <a:gd name="connsiteY8" fmla="*/ 728648 h 847528"/>
                <a:gd name="connsiteX9" fmla="*/ 2574884 w 8644084"/>
                <a:gd name="connsiteY9" fmla="*/ 728648 h 847528"/>
                <a:gd name="connsiteX10" fmla="*/ 3345753 w 8644084"/>
                <a:gd name="connsiteY10" fmla="*/ 771142 h 847528"/>
                <a:gd name="connsiteX11" fmla="*/ 4225189 w 8644084"/>
                <a:gd name="connsiteY11" fmla="*/ 754148 h 847528"/>
                <a:gd name="connsiteX12" fmla="*/ 4854907 w 8644084"/>
                <a:gd name="connsiteY12" fmla="*/ 762654 h 847528"/>
                <a:gd name="connsiteX13" fmla="*/ 5690917 w 8644084"/>
                <a:gd name="connsiteY13" fmla="*/ 762654 h 847528"/>
                <a:gd name="connsiteX14" fmla="*/ 6754930 w 8644084"/>
                <a:gd name="connsiteY14" fmla="*/ 788154 h 847528"/>
                <a:gd name="connsiteX15" fmla="*/ 7504085 w 8644084"/>
                <a:gd name="connsiteY15" fmla="*/ 779648 h 847528"/>
                <a:gd name="connsiteX16" fmla="*/ 8036080 w 8644084"/>
                <a:gd name="connsiteY16" fmla="*/ 771142 h 847528"/>
                <a:gd name="connsiteX17" fmla="*/ 8513803 w 8644084"/>
                <a:gd name="connsiteY17" fmla="*/ 737154 h 847528"/>
                <a:gd name="connsiteX18" fmla="*/ 8644084 w 8644084"/>
                <a:gd name="connsiteY18" fmla="*/ 754148 h 847528"/>
                <a:gd name="connsiteX19" fmla="*/ 8644084 w 8644084"/>
                <a:gd name="connsiteY19" fmla="*/ 133791 h 847528"/>
                <a:gd name="connsiteX20" fmla="*/ 8459508 w 8644084"/>
                <a:gd name="connsiteY20" fmla="*/ 65870 h 847528"/>
                <a:gd name="connsiteX21" fmla="*/ 7645212 w 8644084"/>
                <a:gd name="connsiteY21" fmla="*/ 14889 h 847528"/>
                <a:gd name="connsiteX22" fmla="*/ 7058921 w 8644084"/>
                <a:gd name="connsiteY22" fmla="*/ 108364 h 847528"/>
                <a:gd name="connsiteX23" fmla="*/ 6157771 w 8644084"/>
                <a:gd name="connsiteY23" fmla="*/ 201839 h 847528"/>
                <a:gd name="connsiteX24" fmla="*/ 5191480 w 8644084"/>
                <a:gd name="connsiteY24" fmla="*/ 201839 h 847528"/>
                <a:gd name="connsiteX25" fmla="*/ 3465190 w 8644084"/>
                <a:gd name="connsiteY25" fmla="*/ 193333 h 847528"/>
                <a:gd name="connsiteX26" fmla="*/ 2379462 w 8644084"/>
                <a:gd name="connsiteY26" fmla="*/ 65870 h 847528"/>
                <a:gd name="connsiteX27" fmla="*/ 588030 w 8644084"/>
                <a:gd name="connsiteY27" fmla="*/ 57364 h 847528"/>
                <a:gd name="connsiteX28" fmla="*/ 48208 w 8644084"/>
                <a:gd name="connsiteY28" fmla="*/ 66415 h 847528"/>
                <a:gd name="connsiteX0" fmla="*/ 39893 w 8635769"/>
                <a:gd name="connsiteY0" fmla="*/ 66415 h 847530"/>
                <a:gd name="connsiteX1" fmla="*/ 5735 w 8635769"/>
                <a:gd name="connsiteY1" fmla="*/ 139144 h 847530"/>
                <a:gd name="connsiteX2" fmla="*/ 17955 w 8635769"/>
                <a:gd name="connsiteY2" fmla="*/ 350379 h 847530"/>
                <a:gd name="connsiteX3" fmla="*/ 32617 w 8635769"/>
                <a:gd name="connsiteY3" fmla="*/ 609625 h 847530"/>
                <a:gd name="connsiteX4" fmla="*/ 44834 w 8635769"/>
                <a:gd name="connsiteY4" fmla="*/ 686441 h 847530"/>
                <a:gd name="connsiteX5" fmla="*/ 81177 w 8635769"/>
                <a:gd name="connsiteY5" fmla="*/ 846591 h 847530"/>
                <a:gd name="connsiteX6" fmla="*/ 937978 w 8635769"/>
                <a:gd name="connsiteY6" fmla="*/ 754148 h 847530"/>
                <a:gd name="connsiteX7" fmla="*/ 1632837 w 8635769"/>
                <a:gd name="connsiteY7" fmla="*/ 788136 h 847530"/>
                <a:gd name="connsiteX8" fmla="*/ 2088847 w 8635769"/>
                <a:gd name="connsiteY8" fmla="*/ 728648 h 847530"/>
                <a:gd name="connsiteX9" fmla="*/ 2566569 w 8635769"/>
                <a:gd name="connsiteY9" fmla="*/ 728648 h 847530"/>
                <a:gd name="connsiteX10" fmla="*/ 3337438 w 8635769"/>
                <a:gd name="connsiteY10" fmla="*/ 771142 h 847530"/>
                <a:gd name="connsiteX11" fmla="*/ 4216874 w 8635769"/>
                <a:gd name="connsiteY11" fmla="*/ 754148 h 847530"/>
                <a:gd name="connsiteX12" fmla="*/ 4846592 w 8635769"/>
                <a:gd name="connsiteY12" fmla="*/ 762654 h 847530"/>
                <a:gd name="connsiteX13" fmla="*/ 5682602 w 8635769"/>
                <a:gd name="connsiteY13" fmla="*/ 762654 h 847530"/>
                <a:gd name="connsiteX14" fmla="*/ 6746615 w 8635769"/>
                <a:gd name="connsiteY14" fmla="*/ 788154 h 847530"/>
                <a:gd name="connsiteX15" fmla="*/ 7495770 w 8635769"/>
                <a:gd name="connsiteY15" fmla="*/ 779648 h 847530"/>
                <a:gd name="connsiteX16" fmla="*/ 8027765 w 8635769"/>
                <a:gd name="connsiteY16" fmla="*/ 771142 h 847530"/>
                <a:gd name="connsiteX17" fmla="*/ 8505488 w 8635769"/>
                <a:gd name="connsiteY17" fmla="*/ 737154 h 847530"/>
                <a:gd name="connsiteX18" fmla="*/ 8635769 w 8635769"/>
                <a:gd name="connsiteY18" fmla="*/ 754148 h 847530"/>
                <a:gd name="connsiteX19" fmla="*/ 8635769 w 8635769"/>
                <a:gd name="connsiteY19" fmla="*/ 133791 h 847530"/>
                <a:gd name="connsiteX20" fmla="*/ 8451193 w 8635769"/>
                <a:gd name="connsiteY20" fmla="*/ 65870 h 847530"/>
                <a:gd name="connsiteX21" fmla="*/ 7636897 w 8635769"/>
                <a:gd name="connsiteY21" fmla="*/ 14889 h 847530"/>
                <a:gd name="connsiteX22" fmla="*/ 7050606 w 8635769"/>
                <a:gd name="connsiteY22" fmla="*/ 108364 h 847530"/>
                <a:gd name="connsiteX23" fmla="*/ 6149456 w 8635769"/>
                <a:gd name="connsiteY23" fmla="*/ 201839 h 847530"/>
                <a:gd name="connsiteX24" fmla="*/ 5183165 w 8635769"/>
                <a:gd name="connsiteY24" fmla="*/ 201839 h 847530"/>
                <a:gd name="connsiteX25" fmla="*/ 3456875 w 8635769"/>
                <a:gd name="connsiteY25" fmla="*/ 193333 h 847530"/>
                <a:gd name="connsiteX26" fmla="*/ 2371147 w 8635769"/>
                <a:gd name="connsiteY26" fmla="*/ 65870 h 847530"/>
                <a:gd name="connsiteX27" fmla="*/ 579715 w 8635769"/>
                <a:gd name="connsiteY27" fmla="*/ 57364 h 847530"/>
                <a:gd name="connsiteX28" fmla="*/ 39893 w 8635769"/>
                <a:gd name="connsiteY28" fmla="*/ 66415 h 847530"/>
                <a:gd name="connsiteX0" fmla="*/ 39893 w 8635769"/>
                <a:gd name="connsiteY0" fmla="*/ 66415 h 847528"/>
                <a:gd name="connsiteX1" fmla="*/ 5735 w 8635769"/>
                <a:gd name="connsiteY1" fmla="*/ 139144 h 847528"/>
                <a:gd name="connsiteX2" fmla="*/ 17955 w 8635769"/>
                <a:gd name="connsiteY2" fmla="*/ 350379 h 847528"/>
                <a:gd name="connsiteX3" fmla="*/ 32617 w 8635769"/>
                <a:gd name="connsiteY3" fmla="*/ 609625 h 847528"/>
                <a:gd name="connsiteX4" fmla="*/ 44834 w 8635769"/>
                <a:gd name="connsiteY4" fmla="*/ 686441 h 847528"/>
                <a:gd name="connsiteX5" fmla="*/ 81177 w 8635769"/>
                <a:gd name="connsiteY5" fmla="*/ 846591 h 847528"/>
                <a:gd name="connsiteX6" fmla="*/ 937978 w 8635769"/>
                <a:gd name="connsiteY6" fmla="*/ 754148 h 847528"/>
                <a:gd name="connsiteX7" fmla="*/ 1632837 w 8635769"/>
                <a:gd name="connsiteY7" fmla="*/ 788136 h 847528"/>
                <a:gd name="connsiteX8" fmla="*/ 2088847 w 8635769"/>
                <a:gd name="connsiteY8" fmla="*/ 728648 h 847528"/>
                <a:gd name="connsiteX9" fmla="*/ 2566569 w 8635769"/>
                <a:gd name="connsiteY9" fmla="*/ 728648 h 847528"/>
                <a:gd name="connsiteX10" fmla="*/ 3337438 w 8635769"/>
                <a:gd name="connsiteY10" fmla="*/ 771142 h 847528"/>
                <a:gd name="connsiteX11" fmla="*/ 4216874 w 8635769"/>
                <a:gd name="connsiteY11" fmla="*/ 754148 h 847528"/>
                <a:gd name="connsiteX12" fmla="*/ 4846592 w 8635769"/>
                <a:gd name="connsiteY12" fmla="*/ 762654 h 847528"/>
                <a:gd name="connsiteX13" fmla="*/ 5682602 w 8635769"/>
                <a:gd name="connsiteY13" fmla="*/ 762654 h 847528"/>
                <a:gd name="connsiteX14" fmla="*/ 6746615 w 8635769"/>
                <a:gd name="connsiteY14" fmla="*/ 788154 h 847528"/>
                <a:gd name="connsiteX15" fmla="*/ 7495770 w 8635769"/>
                <a:gd name="connsiteY15" fmla="*/ 779648 h 847528"/>
                <a:gd name="connsiteX16" fmla="*/ 8027765 w 8635769"/>
                <a:gd name="connsiteY16" fmla="*/ 771142 h 847528"/>
                <a:gd name="connsiteX17" fmla="*/ 8505488 w 8635769"/>
                <a:gd name="connsiteY17" fmla="*/ 737154 h 847528"/>
                <a:gd name="connsiteX18" fmla="*/ 8635769 w 8635769"/>
                <a:gd name="connsiteY18" fmla="*/ 754148 h 847528"/>
                <a:gd name="connsiteX19" fmla="*/ 8635769 w 8635769"/>
                <a:gd name="connsiteY19" fmla="*/ 133791 h 847528"/>
                <a:gd name="connsiteX20" fmla="*/ 8451193 w 8635769"/>
                <a:gd name="connsiteY20" fmla="*/ 65870 h 847528"/>
                <a:gd name="connsiteX21" fmla="*/ 7636897 w 8635769"/>
                <a:gd name="connsiteY21" fmla="*/ 14889 h 847528"/>
                <a:gd name="connsiteX22" fmla="*/ 7050606 w 8635769"/>
                <a:gd name="connsiteY22" fmla="*/ 108364 h 847528"/>
                <a:gd name="connsiteX23" fmla="*/ 6149456 w 8635769"/>
                <a:gd name="connsiteY23" fmla="*/ 201839 h 847528"/>
                <a:gd name="connsiteX24" fmla="*/ 5183165 w 8635769"/>
                <a:gd name="connsiteY24" fmla="*/ 201839 h 847528"/>
                <a:gd name="connsiteX25" fmla="*/ 3456875 w 8635769"/>
                <a:gd name="connsiteY25" fmla="*/ 193333 h 847528"/>
                <a:gd name="connsiteX26" fmla="*/ 2371147 w 8635769"/>
                <a:gd name="connsiteY26" fmla="*/ 65870 h 847528"/>
                <a:gd name="connsiteX27" fmla="*/ 579715 w 8635769"/>
                <a:gd name="connsiteY27" fmla="*/ 57364 h 847528"/>
                <a:gd name="connsiteX28" fmla="*/ 39893 w 8635769"/>
                <a:gd name="connsiteY28" fmla="*/ 66415 h 847528"/>
                <a:gd name="connsiteX0" fmla="*/ 36653 w 8632529"/>
                <a:gd name="connsiteY0" fmla="*/ 66415 h 847530"/>
                <a:gd name="connsiteX1" fmla="*/ 2495 w 8632529"/>
                <a:gd name="connsiteY1" fmla="*/ 139144 h 847530"/>
                <a:gd name="connsiteX2" fmla="*/ 14715 w 8632529"/>
                <a:gd name="connsiteY2" fmla="*/ 350379 h 847530"/>
                <a:gd name="connsiteX3" fmla="*/ 29377 w 8632529"/>
                <a:gd name="connsiteY3" fmla="*/ 609625 h 847530"/>
                <a:gd name="connsiteX4" fmla="*/ 41594 w 8632529"/>
                <a:gd name="connsiteY4" fmla="*/ 686441 h 847530"/>
                <a:gd name="connsiteX5" fmla="*/ 77937 w 8632529"/>
                <a:gd name="connsiteY5" fmla="*/ 846591 h 847530"/>
                <a:gd name="connsiteX6" fmla="*/ 934738 w 8632529"/>
                <a:gd name="connsiteY6" fmla="*/ 754148 h 847530"/>
                <a:gd name="connsiteX7" fmla="*/ 1629597 w 8632529"/>
                <a:gd name="connsiteY7" fmla="*/ 788136 h 847530"/>
                <a:gd name="connsiteX8" fmla="*/ 2085607 w 8632529"/>
                <a:gd name="connsiteY8" fmla="*/ 728648 h 847530"/>
                <a:gd name="connsiteX9" fmla="*/ 2563329 w 8632529"/>
                <a:gd name="connsiteY9" fmla="*/ 728648 h 847530"/>
                <a:gd name="connsiteX10" fmla="*/ 3334198 w 8632529"/>
                <a:gd name="connsiteY10" fmla="*/ 771142 h 847530"/>
                <a:gd name="connsiteX11" fmla="*/ 4213634 w 8632529"/>
                <a:gd name="connsiteY11" fmla="*/ 754148 h 847530"/>
                <a:gd name="connsiteX12" fmla="*/ 4843352 w 8632529"/>
                <a:gd name="connsiteY12" fmla="*/ 762654 h 847530"/>
                <a:gd name="connsiteX13" fmla="*/ 5679362 w 8632529"/>
                <a:gd name="connsiteY13" fmla="*/ 762654 h 847530"/>
                <a:gd name="connsiteX14" fmla="*/ 6743375 w 8632529"/>
                <a:gd name="connsiteY14" fmla="*/ 788154 h 847530"/>
                <a:gd name="connsiteX15" fmla="*/ 7492530 w 8632529"/>
                <a:gd name="connsiteY15" fmla="*/ 779648 h 847530"/>
                <a:gd name="connsiteX16" fmla="*/ 8024525 w 8632529"/>
                <a:gd name="connsiteY16" fmla="*/ 771142 h 847530"/>
                <a:gd name="connsiteX17" fmla="*/ 8502248 w 8632529"/>
                <a:gd name="connsiteY17" fmla="*/ 737154 h 847530"/>
                <a:gd name="connsiteX18" fmla="*/ 8632529 w 8632529"/>
                <a:gd name="connsiteY18" fmla="*/ 754148 h 847530"/>
                <a:gd name="connsiteX19" fmla="*/ 8632529 w 8632529"/>
                <a:gd name="connsiteY19" fmla="*/ 133791 h 847530"/>
                <a:gd name="connsiteX20" fmla="*/ 8447953 w 8632529"/>
                <a:gd name="connsiteY20" fmla="*/ 65870 h 847530"/>
                <a:gd name="connsiteX21" fmla="*/ 7633657 w 8632529"/>
                <a:gd name="connsiteY21" fmla="*/ 14889 h 847530"/>
                <a:gd name="connsiteX22" fmla="*/ 7047366 w 8632529"/>
                <a:gd name="connsiteY22" fmla="*/ 108364 h 847530"/>
                <a:gd name="connsiteX23" fmla="*/ 6146216 w 8632529"/>
                <a:gd name="connsiteY23" fmla="*/ 201839 h 847530"/>
                <a:gd name="connsiteX24" fmla="*/ 5179925 w 8632529"/>
                <a:gd name="connsiteY24" fmla="*/ 201839 h 847530"/>
                <a:gd name="connsiteX25" fmla="*/ 3453635 w 8632529"/>
                <a:gd name="connsiteY25" fmla="*/ 193333 h 847530"/>
                <a:gd name="connsiteX26" fmla="*/ 2367907 w 8632529"/>
                <a:gd name="connsiteY26" fmla="*/ 65870 h 847530"/>
                <a:gd name="connsiteX27" fmla="*/ 576475 w 8632529"/>
                <a:gd name="connsiteY27" fmla="*/ 57364 h 847530"/>
                <a:gd name="connsiteX28" fmla="*/ 36653 w 8632529"/>
                <a:gd name="connsiteY28" fmla="*/ 66415 h 847530"/>
                <a:gd name="connsiteX0" fmla="*/ 38923 w 8634799"/>
                <a:gd name="connsiteY0" fmla="*/ 66415 h 847528"/>
                <a:gd name="connsiteX1" fmla="*/ 4765 w 8634799"/>
                <a:gd name="connsiteY1" fmla="*/ 139144 h 847528"/>
                <a:gd name="connsiteX2" fmla="*/ 16985 w 8634799"/>
                <a:gd name="connsiteY2" fmla="*/ 350379 h 847528"/>
                <a:gd name="connsiteX3" fmla="*/ 31647 w 8634799"/>
                <a:gd name="connsiteY3" fmla="*/ 609625 h 847528"/>
                <a:gd name="connsiteX4" fmla="*/ 43864 w 8634799"/>
                <a:gd name="connsiteY4" fmla="*/ 686441 h 847528"/>
                <a:gd name="connsiteX5" fmla="*/ 80207 w 8634799"/>
                <a:gd name="connsiteY5" fmla="*/ 846591 h 847528"/>
                <a:gd name="connsiteX6" fmla="*/ 937008 w 8634799"/>
                <a:gd name="connsiteY6" fmla="*/ 754148 h 847528"/>
                <a:gd name="connsiteX7" fmla="*/ 1631867 w 8634799"/>
                <a:gd name="connsiteY7" fmla="*/ 788136 h 847528"/>
                <a:gd name="connsiteX8" fmla="*/ 2087877 w 8634799"/>
                <a:gd name="connsiteY8" fmla="*/ 728648 h 847528"/>
                <a:gd name="connsiteX9" fmla="*/ 2565599 w 8634799"/>
                <a:gd name="connsiteY9" fmla="*/ 728648 h 847528"/>
                <a:gd name="connsiteX10" fmla="*/ 3336468 w 8634799"/>
                <a:gd name="connsiteY10" fmla="*/ 771142 h 847528"/>
                <a:gd name="connsiteX11" fmla="*/ 4215904 w 8634799"/>
                <a:gd name="connsiteY11" fmla="*/ 754148 h 847528"/>
                <a:gd name="connsiteX12" fmla="*/ 4845622 w 8634799"/>
                <a:gd name="connsiteY12" fmla="*/ 762654 h 847528"/>
                <a:gd name="connsiteX13" fmla="*/ 5681632 w 8634799"/>
                <a:gd name="connsiteY13" fmla="*/ 762654 h 847528"/>
                <a:gd name="connsiteX14" fmla="*/ 6745645 w 8634799"/>
                <a:gd name="connsiteY14" fmla="*/ 788154 h 847528"/>
                <a:gd name="connsiteX15" fmla="*/ 7494800 w 8634799"/>
                <a:gd name="connsiteY15" fmla="*/ 779648 h 847528"/>
                <a:gd name="connsiteX16" fmla="*/ 8026795 w 8634799"/>
                <a:gd name="connsiteY16" fmla="*/ 771142 h 847528"/>
                <a:gd name="connsiteX17" fmla="*/ 8504518 w 8634799"/>
                <a:gd name="connsiteY17" fmla="*/ 737154 h 847528"/>
                <a:gd name="connsiteX18" fmla="*/ 8634799 w 8634799"/>
                <a:gd name="connsiteY18" fmla="*/ 754148 h 847528"/>
                <a:gd name="connsiteX19" fmla="*/ 8634799 w 8634799"/>
                <a:gd name="connsiteY19" fmla="*/ 133791 h 847528"/>
                <a:gd name="connsiteX20" fmla="*/ 8450223 w 8634799"/>
                <a:gd name="connsiteY20" fmla="*/ 65870 h 847528"/>
                <a:gd name="connsiteX21" fmla="*/ 7635927 w 8634799"/>
                <a:gd name="connsiteY21" fmla="*/ 14889 h 847528"/>
                <a:gd name="connsiteX22" fmla="*/ 7049636 w 8634799"/>
                <a:gd name="connsiteY22" fmla="*/ 108364 h 847528"/>
                <a:gd name="connsiteX23" fmla="*/ 6148486 w 8634799"/>
                <a:gd name="connsiteY23" fmla="*/ 201839 h 847528"/>
                <a:gd name="connsiteX24" fmla="*/ 5182195 w 8634799"/>
                <a:gd name="connsiteY24" fmla="*/ 201839 h 847528"/>
                <a:gd name="connsiteX25" fmla="*/ 3455905 w 8634799"/>
                <a:gd name="connsiteY25" fmla="*/ 193333 h 847528"/>
                <a:gd name="connsiteX26" fmla="*/ 2370177 w 8634799"/>
                <a:gd name="connsiteY26" fmla="*/ 65870 h 847528"/>
                <a:gd name="connsiteX27" fmla="*/ 578745 w 8634799"/>
                <a:gd name="connsiteY27" fmla="*/ 57364 h 847528"/>
                <a:gd name="connsiteX28" fmla="*/ 38923 w 8634799"/>
                <a:gd name="connsiteY28" fmla="*/ 66415 h 847528"/>
                <a:gd name="connsiteX0" fmla="*/ 38923 w 8634799"/>
                <a:gd name="connsiteY0" fmla="*/ 66415 h 847530"/>
                <a:gd name="connsiteX1" fmla="*/ 4765 w 8634799"/>
                <a:gd name="connsiteY1" fmla="*/ 139144 h 847530"/>
                <a:gd name="connsiteX2" fmla="*/ 16985 w 8634799"/>
                <a:gd name="connsiteY2" fmla="*/ 350379 h 847530"/>
                <a:gd name="connsiteX3" fmla="*/ 31647 w 8634799"/>
                <a:gd name="connsiteY3" fmla="*/ 609625 h 847530"/>
                <a:gd name="connsiteX4" fmla="*/ 43864 w 8634799"/>
                <a:gd name="connsiteY4" fmla="*/ 686441 h 847530"/>
                <a:gd name="connsiteX5" fmla="*/ 80207 w 8634799"/>
                <a:gd name="connsiteY5" fmla="*/ 846591 h 847530"/>
                <a:gd name="connsiteX6" fmla="*/ 937008 w 8634799"/>
                <a:gd name="connsiteY6" fmla="*/ 754148 h 847530"/>
                <a:gd name="connsiteX7" fmla="*/ 1631867 w 8634799"/>
                <a:gd name="connsiteY7" fmla="*/ 788136 h 847530"/>
                <a:gd name="connsiteX8" fmla="*/ 2087877 w 8634799"/>
                <a:gd name="connsiteY8" fmla="*/ 728648 h 847530"/>
                <a:gd name="connsiteX9" fmla="*/ 2565599 w 8634799"/>
                <a:gd name="connsiteY9" fmla="*/ 728648 h 847530"/>
                <a:gd name="connsiteX10" fmla="*/ 3336468 w 8634799"/>
                <a:gd name="connsiteY10" fmla="*/ 771142 h 847530"/>
                <a:gd name="connsiteX11" fmla="*/ 4215904 w 8634799"/>
                <a:gd name="connsiteY11" fmla="*/ 754148 h 847530"/>
                <a:gd name="connsiteX12" fmla="*/ 4845622 w 8634799"/>
                <a:gd name="connsiteY12" fmla="*/ 762654 h 847530"/>
                <a:gd name="connsiteX13" fmla="*/ 5681632 w 8634799"/>
                <a:gd name="connsiteY13" fmla="*/ 762654 h 847530"/>
                <a:gd name="connsiteX14" fmla="*/ 6745645 w 8634799"/>
                <a:gd name="connsiteY14" fmla="*/ 788154 h 847530"/>
                <a:gd name="connsiteX15" fmla="*/ 7494800 w 8634799"/>
                <a:gd name="connsiteY15" fmla="*/ 779648 h 847530"/>
                <a:gd name="connsiteX16" fmla="*/ 8026795 w 8634799"/>
                <a:gd name="connsiteY16" fmla="*/ 771142 h 847530"/>
                <a:gd name="connsiteX17" fmla="*/ 8504518 w 8634799"/>
                <a:gd name="connsiteY17" fmla="*/ 737154 h 847530"/>
                <a:gd name="connsiteX18" fmla="*/ 8634799 w 8634799"/>
                <a:gd name="connsiteY18" fmla="*/ 754148 h 847530"/>
                <a:gd name="connsiteX19" fmla="*/ 8634799 w 8634799"/>
                <a:gd name="connsiteY19" fmla="*/ 133791 h 847530"/>
                <a:gd name="connsiteX20" fmla="*/ 8450223 w 8634799"/>
                <a:gd name="connsiteY20" fmla="*/ 65870 h 847530"/>
                <a:gd name="connsiteX21" fmla="*/ 7635927 w 8634799"/>
                <a:gd name="connsiteY21" fmla="*/ 14889 h 847530"/>
                <a:gd name="connsiteX22" fmla="*/ 7049636 w 8634799"/>
                <a:gd name="connsiteY22" fmla="*/ 108364 h 847530"/>
                <a:gd name="connsiteX23" fmla="*/ 6132068 w 8634799"/>
                <a:gd name="connsiteY23" fmla="*/ 131955 h 847530"/>
                <a:gd name="connsiteX24" fmla="*/ 5182195 w 8634799"/>
                <a:gd name="connsiteY24" fmla="*/ 201839 h 847530"/>
                <a:gd name="connsiteX25" fmla="*/ 3455905 w 8634799"/>
                <a:gd name="connsiteY25" fmla="*/ 193333 h 847530"/>
                <a:gd name="connsiteX26" fmla="*/ 2370177 w 8634799"/>
                <a:gd name="connsiteY26" fmla="*/ 65870 h 847530"/>
                <a:gd name="connsiteX27" fmla="*/ 578745 w 8634799"/>
                <a:gd name="connsiteY27" fmla="*/ 57364 h 847530"/>
                <a:gd name="connsiteX28" fmla="*/ 38923 w 8634799"/>
                <a:gd name="connsiteY28" fmla="*/ 66415 h 847530"/>
                <a:gd name="connsiteX0" fmla="*/ 38923 w 8634799"/>
                <a:gd name="connsiteY0" fmla="*/ 66415 h 847528"/>
                <a:gd name="connsiteX1" fmla="*/ 4765 w 8634799"/>
                <a:gd name="connsiteY1" fmla="*/ 139144 h 847528"/>
                <a:gd name="connsiteX2" fmla="*/ 16985 w 8634799"/>
                <a:gd name="connsiteY2" fmla="*/ 350379 h 847528"/>
                <a:gd name="connsiteX3" fmla="*/ 31647 w 8634799"/>
                <a:gd name="connsiteY3" fmla="*/ 609625 h 847528"/>
                <a:gd name="connsiteX4" fmla="*/ 43864 w 8634799"/>
                <a:gd name="connsiteY4" fmla="*/ 686441 h 847528"/>
                <a:gd name="connsiteX5" fmla="*/ 80207 w 8634799"/>
                <a:gd name="connsiteY5" fmla="*/ 846591 h 847528"/>
                <a:gd name="connsiteX6" fmla="*/ 937008 w 8634799"/>
                <a:gd name="connsiteY6" fmla="*/ 754148 h 847528"/>
                <a:gd name="connsiteX7" fmla="*/ 1631867 w 8634799"/>
                <a:gd name="connsiteY7" fmla="*/ 788136 h 847528"/>
                <a:gd name="connsiteX8" fmla="*/ 2087877 w 8634799"/>
                <a:gd name="connsiteY8" fmla="*/ 728648 h 847528"/>
                <a:gd name="connsiteX9" fmla="*/ 2565599 w 8634799"/>
                <a:gd name="connsiteY9" fmla="*/ 728648 h 847528"/>
                <a:gd name="connsiteX10" fmla="*/ 3336468 w 8634799"/>
                <a:gd name="connsiteY10" fmla="*/ 771142 h 847528"/>
                <a:gd name="connsiteX11" fmla="*/ 4215904 w 8634799"/>
                <a:gd name="connsiteY11" fmla="*/ 754148 h 847528"/>
                <a:gd name="connsiteX12" fmla="*/ 4845622 w 8634799"/>
                <a:gd name="connsiteY12" fmla="*/ 762654 h 847528"/>
                <a:gd name="connsiteX13" fmla="*/ 5681632 w 8634799"/>
                <a:gd name="connsiteY13" fmla="*/ 762654 h 847528"/>
                <a:gd name="connsiteX14" fmla="*/ 6745645 w 8634799"/>
                <a:gd name="connsiteY14" fmla="*/ 788154 h 847528"/>
                <a:gd name="connsiteX15" fmla="*/ 7494800 w 8634799"/>
                <a:gd name="connsiteY15" fmla="*/ 779648 h 847528"/>
                <a:gd name="connsiteX16" fmla="*/ 8026795 w 8634799"/>
                <a:gd name="connsiteY16" fmla="*/ 771142 h 847528"/>
                <a:gd name="connsiteX17" fmla="*/ 8504518 w 8634799"/>
                <a:gd name="connsiteY17" fmla="*/ 737154 h 847528"/>
                <a:gd name="connsiteX18" fmla="*/ 8634799 w 8634799"/>
                <a:gd name="connsiteY18" fmla="*/ 754148 h 847528"/>
                <a:gd name="connsiteX19" fmla="*/ 8634799 w 8634799"/>
                <a:gd name="connsiteY19" fmla="*/ 133791 h 847528"/>
                <a:gd name="connsiteX20" fmla="*/ 8450223 w 8634799"/>
                <a:gd name="connsiteY20" fmla="*/ 65870 h 847528"/>
                <a:gd name="connsiteX21" fmla="*/ 7635927 w 8634799"/>
                <a:gd name="connsiteY21" fmla="*/ 14889 h 847528"/>
                <a:gd name="connsiteX22" fmla="*/ 7049636 w 8634799"/>
                <a:gd name="connsiteY22" fmla="*/ 108364 h 847528"/>
                <a:gd name="connsiteX23" fmla="*/ 6132068 w 8634799"/>
                <a:gd name="connsiteY23" fmla="*/ 131955 h 847528"/>
                <a:gd name="connsiteX24" fmla="*/ 5182195 w 8634799"/>
                <a:gd name="connsiteY24" fmla="*/ 201839 h 847528"/>
                <a:gd name="connsiteX25" fmla="*/ 3455905 w 8634799"/>
                <a:gd name="connsiteY25" fmla="*/ 193333 h 847528"/>
                <a:gd name="connsiteX26" fmla="*/ 2370177 w 8634799"/>
                <a:gd name="connsiteY26" fmla="*/ 65870 h 847528"/>
                <a:gd name="connsiteX27" fmla="*/ 578745 w 8634799"/>
                <a:gd name="connsiteY27" fmla="*/ 57364 h 847528"/>
                <a:gd name="connsiteX28" fmla="*/ 38923 w 8634799"/>
                <a:gd name="connsiteY28" fmla="*/ 66415 h 847528"/>
                <a:gd name="connsiteX0" fmla="*/ 38923 w 8634799"/>
                <a:gd name="connsiteY0" fmla="*/ 66415 h 847530"/>
                <a:gd name="connsiteX1" fmla="*/ 4765 w 8634799"/>
                <a:gd name="connsiteY1" fmla="*/ 139144 h 847530"/>
                <a:gd name="connsiteX2" fmla="*/ 16985 w 8634799"/>
                <a:gd name="connsiteY2" fmla="*/ 350379 h 847530"/>
                <a:gd name="connsiteX3" fmla="*/ 31647 w 8634799"/>
                <a:gd name="connsiteY3" fmla="*/ 609625 h 847530"/>
                <a:gd name="connsiteX4" fmla="*/ 43864 w 8634799"/>
                <a:gd name="connsiteY4" fmla="*/ 686441 h 847530"/>
                <a:gd name="connsiteX5" fmla="*/ 80207 w 8634799"/>
                <a:gd name="connsiteY5" fmla="*/ 846591 h 847530"/>
                <a:gd name="connsiteX6" fmla="*/ 937008 w 8634799"/>
                <a:gd name="connsiteY6" fmla="*/ 754148 h 847530"/>
                <a:gd name="connsiteX7" fmla="*/ 1631867 w 8634799"/>
                <a:gd name="connsiteY7" fmla="*/ 788136 h 847530"/>
                <a:gd name="connsiteX8" fmla="*/ 2087877 w 8634799"/>
                <a:gd name="connsiteY8" fmla="*/ 728648 h 847530"/>
                <a:gd name="connsiteX9" fmla="*/ 2565599 w 8634799"/>
                <a:gd name="connsiteY9" fmla="*/ 728648 h 847530"/>
                <a:gd name="connsiteX10" fmla="*/ 3336468 w 8634799"/>
                <a:gd name="connsiteY10" fmla="*/ 771142 h 847530"/>
                <a:gd name="connsiteX11" fmla="*/ 4215904 w 8634799"/>
                <a:gd name="connsiteY11" fmla="*/ 754148 h 847530"/>
                <a:gd name="connsiteX12" fmla="*/ 4845622 w 8634799"/>
                <a:gd name="connsiteY12" fmla="*/ 762654 h 847530"/>
                <a:gd name="connsiteX13" fmla="*/ 5681632 w 8634799"/>
                <a:gd name="connsiteY13" fmla="*/ 762654 h 847530"/>
                <a:gd name="connsiteX14" fmla="*/ 6745645 w 8634799"/>
                <a:gd name="connsiteY14" fmla="*/ 788154 h 847530"/>
                <a:gd name="connsiteX15" fmla="*/ 7494800 w 8634799"/>
                <a:gd name="connsiteY15" fmla="*/ 779648 h 847530"/>
                <a:gd name="connsiteX16" fmla="*/ 8026795 w 8634799"/>
                <a:gd name="connsiteY16" fmla="*/ 771142 h 847530"/>
                <a:gd name="connsiteX17" fmla="*/ 8504518 w 8634799"/>
                <a:gd name="connsiteY17" fmla="*/ 737154 h 847530"/>
                <a:gd name="connsiteX18" fmla="*/ 8634799 w 8634799"/>
                <a:gd name="connsiteY18" fmla="*/ 754148 h 847530"/>
                <a:gd name="connsiteX19" fmla="*/ 8634799 w 8634799"/>
                <a:gd name="connsiteY19" fmla="*/ 133791 h 847530"/>
                <a:gd name="connsiteX20" fmla="*/ 8450223 w 8634799"/>
                <a:gd name="connsiteY20" fmla="*/ 65870 h 847530"/>
                <a:gd name="connsiteX21" fmla="*/ 7635927 w 8634799"/>
                <a:gd name="connsiteY21" fmla="*/ 14889 h 847530"/>
                <a:gd name="connsiteX22" fmla="*/ 7049636 w 8634799"/>
                <a:gd name="connsiteY22" fmla="*/ 108364 h 847530"/>
                <a:gd name="connsiteX23" fmla="*/ 6132068 w 8634799"/>
                <a:gd name="connsiteY23" fmla="*/ 131955 h 847530"/>
                <a:gd name="connsiteX24" fmla="*/ 5182195 w 8634799"/>
                <a:gd name="connsiteY24" fmla="*/ 201839 h 847530"/>
                <a:gd name="connsiteX25" fmla="*/ 3455905 w 8634799"/>
                <a:gd name="connsiteY25" fmla="*/ 193333 h 847530"/>
                <a:gd name="connsiteX26" fmla="*/ 2370177 w 8634799"/>
                <a:gd name="connsiteY26" fmla="*/ 65870 h 847530"/>
                <a:gd name="connsiteX27" fmla="*/ 578745 w 8634799"/>
                <a:gd name="connsiteY27" fmla="*/ 57364 h 847530"/>
                <a:gd name="connsiteX28" fmla="*/ 38923 w 8634799"/>
                <a:gd name="connsiteY28" fmla="*/ 66415 h 847530"/>
                <a:gd name="connsiteX0" fmla="*/ 38923 w 8634799"/>
                <a:gd name="connsiteY0" fmla="*/ 66415 h 847528"/>
                <a:gd name="connsiteX1" fmla="*/ 4765 w 8634799"/>
                <a:gd name="connsiteY1" fmla="*/ 139144 h 847528"/>
                <a:gd name="connsiteX2" fmla="*/ 16985 w 8634799"/>
                <a:gd name="connsiteY2" fmla="*/ 350379 h 847528"/>
                <a:gd name="connsiteX3" fmla="*/ 31647 w 8634799"/>
                <a:gd name="connsiteY3" fmla="*/ 609625 h 847528"/>
                <a:gd name="connsiteX4" fmla="*/ 43864 w 8634799"/>
                <a:gd name="connsiteY4" fmla="*/ 686441 h 847528"/>
                <a:gd name="connsiteX5" fmla="*/ 80207 w 8634799"/>
                <a:gd name="connsiteY5" fmla="*/ 846591 h 847528"/>
                <a:gd name="connsiteX6" fmla="*/ 937008 w 8634799"/>
                <a:gd name="connsiteY6" fmla="*/ 754148 h 847528"/>
                <a:gd name="connsiteX7" fmla="*/ 1631867 w 8634799"/>
                <a:gd name="connsiteY7" fmla="*/ 788136 h 847528"/>
                <a:gd name="connsiteX8" fmla="*/ 2087877 w 8634799"/>
                <a:gd name="connsiteY8" fmla="*/ 728648 h 847528"/>
                <a:gd name="connsiteX9" fmla="*/ 2565599 w 8634799"/>
                <a:gd name="connsiteY9" fmla="*/ 728648 h 847528"/>
                <a:gd name="connsiteX10" fmla="*/ 3336468 w 8634799"/>
                <a:gd name="connsiteY10" fmla="*/ 771142 h 847528"/>
                <a:gd name="connsiteX11" fmla="*/ 4215904 w 8634799"/>
                <a:gd name="connsiteY11" fmla="*/ 754148 h 847528"/>
                <a:gd name="connsiteX12" fmla="*/ 4845622 w 8634799"/>
                <a:gd name="connsiteY12" fmla="*/ 762654 h 847528"/>
                <a:gd name="connsiteX13" fmla="*/ 5681632 w 8634799"/>
                <a:gd name="connsiteY13" fmla="*/ 762654 h 847528"/>
                <a:gd name="connsiteX14" fmla="*/ 6745645 w 8634799"/>
                <a:gd name="connsiteY14" fmla="*/ 788154 h 847528"/>
                <a:gd name="connsiteX15" fmla="*/ 7494800 w 8634799"/>
                <a:gd name="connsiteY15" fmla="*/ 779648 h 847528"/>
                <a:gd name="connsiteX16" fmla="*/ 8026795 w 8634799"/>
                <a:gd name="connsiteY16" fmla="*/ 771142 h 847528"/>
                <a:gd name="connsiteX17" fmla="*/ 8504518 w 8634799"/>
                <a:gd name="connsiteY17" fmla="*/ 737154 h 847528"/>
                <a:gd name="connsiteX18" fmla="*/ 8634799 w 8634799"/>
                <a:gd name="connsiteY18" fmla="*/ 754148 h 847528"/>
                <a:gd name="connsiteX19" fmla="*/ 8634799 w 8634799"/>
                <a:gd name="connsiteY19" fmla="*/ 133791 h 847528"/>
                <a:gd name="connsiteX20" fmla="*/ 8450223 w 8634799"/>
                <a:gd name="connsiteY20" fmla="*/ 65870 h 847528"/>
                <a:gd name="connsiteX21" fmla="*/ 7635927 w 8634799"/>
                <a:gd name="connsiteY21" fmla="*/ 14889 h 847528"/>
                <a:gd name="connsiteX22" fmla="*/ 7049636 w 8634799"/>
                <a:gd name="connsiteY22" fmla="*/ 108364 h 847528"/>
                <a:gd name="connsiteX23" fmla="*/ 6342549 w 8634799"/>
                <a:gd name="connsiteY23" fmla="*/ 55805 h 847528"/>
                <a:gd name="connsiteX24" fmla="*/ 6132068 w 8634799"/>
                <a:gd name="connsiteY24" fmla="*/ 131955 h 847528"/>
                <a:gd name="connsiteX25" fmla="*/ 5182195 w 8634799"/>
                <a:gd name="connsiteY25" fmla="*/ 201839 h 847528"/>
                <a:gd name="connsiteX26" fmla="*/ 3455905 w 8634799"/>
                <a:gd name="connsiteY26" fmla="*/ 193333 h 847528"/>
                <a:gd name="connsiteX27" fmla="*/ 2370177 w 8634799"/>
                <a:gd name="connsiteY27" fmla="*/ 65870 h 847528"/>
                <a:gd name="connsiteX28" fmla="*/ 578745 w 8634799"/>
                <a:gd name="connsiteY28" fmla="*/ 57364 h 847528"/>
                <a:gd name="connsiteX29" fmla="*/ 38923 w 8634799"/>
                <a:gd name="connsiteY29" fmla="*/ 66415 h 847528"/>
                <a:gd name="connsiteX0" fmla="*/ 38923 w 8634799"/>
                <a:gd name="connsiteY0" fmla="*/ 66415 h 847530"/>
                <a:gd name="connsiteX1" fmla="*/ 4765 w 8634799"/>
                <a:gd name="connsiteY1" fmla="*/ 139144 h 847530"/>
                <a:gd name="connsiteX2" fmla="*/ 16985 w 8634799"/>
                <a:gd name="connsiteY2" fmla="*/ 350379 h 847530"/>
                <a:gd name="connsiteX3" fmla="*/ 31647 w 8634799"/>
                <a:gd name="connsiteY3" fmla="*/ 609625 h 847530"/>
                <a:gd name="connsiteX4" fmla="*/ 43864 w 8634799"/>
                <a:gd name="connsiteY4" fmla="*/ 686441 h 847530"/>
                <a:gd name="connsiteX5" fmla="*/ 80207 w 8634799"/>
                <a:gd name="connsiteY5" fmla="*/ 846591 h 847530"/>
                <a:gd name="connsiteX6" fmla="*/ 937008 w 8634799"/>
                <a:gd name="connsiteY6" fmla="*/ 754148 h 847530"/>
                <a:gd name="connsiteX7" fmla="*/ 1631867 w 8634799"/>
                <a:gd name="connsiteY7" fmla="*/ 788136 h 847530"/>
                <a:gd name="connsiteX8" fmla="*/ 2087877 w 8634799"/>
                <a:gd name="connsiteY8" fmla="*/ 728648 h 847530"/>
                <a:gd name="connsiteX9" fmla="*/ 2565599 w 8634799"/>
                <a:gd name="connsiteY9" fmla="*/ 728648 h 847530"/>
                <a:gd name="connsiteX10" fmla="*/ 3336468 w 8634799"/>
                <a:gd name="connsiteY10" fmla="*/ 771142 h 847530"/>
                <a:gd name="connsiteX11" fmla="*/ 4215904 w 8634799"/>
                <a:gd name="connsiteY11" fmla="*/ 754148 h 847530"/>
                <a:gd name="connsiteX12" fmla="*/ 4845622 w 8634799"/>
                <a:gd name="connsiteY12" fmla="*/ 762654 h 847530"/>
                <a:gd name="connsiteX13" fmla="*/ 5681632 w 8634799"/>
                <a:gd name="connsiteY13" fmla="*/ 762654 h 847530"/>
                <a:gd name="connsiteX14" fmla="*/ 6745645 w 8634799"/>
                <a:gd name="connsiteY14" fmla="*/ 788154 h 847530"/>
                <a:gd name="connsiteX15" fmla="*/ 7494800 w 8634799"/>
                <a:gd name="connsiteY15" fmla="*/ 779648 h 847530"/>
                <a:gd name="connsiteX16" fmla="*/ 8026795 w 8634799"/>
                <a:gd name="connsiteY16" fmla="*/ 771142 h 847530"/>
                <a:gd name="connsiteX17" fmla="*/ 8504518 w 8634799"/>
                <a:gd name="connsiteY17" fmla="*/ 737154 h 847530"/>
                <a:gd name="connsiteX18" fmla="*/ 8634799 w 8634799"/>
                <a:gd name="connsiteY18" fmla="*/ 754148 h 847530"/>
                <a:gd name="connsiteX19" fmla="*/ 8634799 w 8634799"/>
                <a:gd name="connsiteY19" fmla="*/ 133791 h 847530"/>
                <a:gd name="connsiteX20" fmla="*/ 8450223 w 8634799"/>
                <a:gd name="connsiteY20" fmla="*/ 65870 h 847530"/>
                <a:gd name="connsiteX21" fmla="*/ 7635927 w 8634799"/>
                <a:gd name="connsiteY21" fmla="*/ 14889 h 847530"/>
                <a:gd name="connsiteX22" fmla="*/ 7049636 w 8634799"/>
                <a:gd name="connsiteY22" fmla="*/ 108364 h 847530"/>
                <a:gd name="connsiteX23" fmla="*/ 6342549 w 8634799"/>
                <a:gd name="connsiteY23" fmla="*/ 55805 h 847530"/>
                <a:gd name="connsiteX24" fmla="*/ 6132068 w 8634799"/>
                <a:gd name="connsiteY24" fmla="*/ 131955 h 847530"/>
                <a:gd name="connsiteX25" fmla="*/ 5182195 w 8634799"/>
                <a:gd name="connsiteY25" fmla="*/ 201839 h 847530"/>
                <a:gd name="connsiteX26" fmla="*/ 3455905 w 8634799"/>
                <a:gd name="connsiteY26" fmla="*/ 193333 h 847530"/>
                <a:gd name="connsiteX27" fmla="*/ 2370177 w 8634799"/>
                <a:gd name="connsiteY27" fmla="*/ 65870 h 847530"/>
                <a:gd name="connsiteX28" fmla="*/ 578745 w 8634799"/>
                <a:gd name="connsiteY28" fmla="*/ 57364 h 847530"/>
                <a:gd name="connsiteX29" fmla="*/ 38923 w 8634799"/>
                <a:gd name="connsiteY29" fmla="*/ 66415 h 847530"/>
                <a:gd name="connsiteX0" fmla="*/ 38923 w 8634799"/>
                <a:gd name="connsiteY0" fmla="*/ 66415 h 847528"/>
                <a:gd name="connsiteX1" fmla="*/ 4765 w 8634799"/>
                <a:gd name="connsiteY1" fmla="*/ 139144 h 847528"/>
                <a:gd name="connsiteX2" fmla="*/ 16985 w 8634799"/>
                <a:gd name="connsiteY2" fmla="*/ 350379 h 847528"/>
                <a:gd name="connsiteX3" fmla="*/ 31647 w 8634799"/>
                <a:gd name="connsiteY3" fmla="*/ 609625 h 847528"/>
                <a:gd name="connsiteX4" fmla="*/ 43864 w 8634799"/>
                <a:gd name="connsiteY4" fmla="*/ 686441 h 847528"/>
                <a:gd name="connsiteX5" fmla="*/ 80207 w 8634799"/>
                <a:gd name="connsiteY5" fmla="*/ 846591 h 847528"/>
                <a:gd name="connsiteX6" fmla="*/ 937008 w 8634799"/>
                <a:gd name="connsiteY6" fmla="*/ 754148 h 847528"/>
                <a:gd name="connsiteX7" fmla="*/ 1631867 w 8634799"/>
                <a:gd name="connsiteY7" fmla="*/ 788136 h 847528"/>
                <a:gd name="connsiteX8" fmla="*/ 2087877 w 8634799"/>
                <a:gd name="connsiteY8" fmla="*/ 728648 h 847528"/>
                <a:gd name="connsiteX9" fmla="*/ 2565599 w 8634799"/>
                <a:gd name="connsiteY9" fmla="*/ 728648 h 847528"/>
                <a:gd name="connsiteX10" fmla="*/ 3336468 w 8634799"/>
                <a:gd name="connsiteY10" fmla="*/ 771142 h 847528"/>
                <a:gd name="connsiteX11" fmla="*/ 4215904 w 8634799"/>
                <a:gd name="connsiteY11" fmla="*/ 754148 h 847528"/>
                <a:gd name="connsiteX12" fmla="*/ 4845622 w 8634799"/>
                <a:gd name="connsiteY12" fmla="*/ 762654 h 847528"/>
                <a:gd name="connsiteX13" fmla="*/ 5681632 w 8634799"/>
                <a:gd name="connsiteY13" fmla="*/ 762654 h 847528"/>
                <a:gd name="connsiteX14" fmla="*/ 6745645 w 8634799"/>
                <a:gd name="connsiteY14" fmla="*/ 788154 h 847528"/>
                <a:gd name="connsiteX15" fmla="*/ 7494800 w 8634799"/>
                <a:gd name="connsiteY15" fmla="*/ 779648 h 847528"/>
                <a:gd name="connsiteX16" fmla="*/ 8026795 w 8634799"/>
                <a:gd name="connsiteY16" fmla="*/ 771142 h 847528"/>
                <a:gd name="connsiteX17" fmla="*/ 8504518 w 8634799"/>
                <a:gd name="connsiteY17" fmla="*/ 737154 h 847528"/>
                <a:gd name="connsiteX18" fmla="*/ 8634799 w 8634799"/>
                <a:gd name="connsiteY18" fmla="*/ 754148 h 847528"/>
                <a:gd name="connsiteX19" fmla="*/ 8634799 w 8634799"/>
                <a:gd name="connsiteY19" fmla="*/ 133791 h 847528"/>
                <a:gd name="connsiteX20" fmla="*/ 8450223 w 8634799"/>
                <a:gd name="connsiteY20" fmla="*/ 65870 h 847528"/>
                <a:gd name="connsiteX21" fmla="*/ 7635927 w 8634799"/>
                <a:gd name="connsiteY21" fmla="*/ 14889 h 847528"/>
                <a:gd name="connsiteX22" fmla="*/ 7049636 w 8634799"/>
                <a:gd name="connsiteY22" fmla="*/ 108364 h 847528"/>
                <a:gd name="connsiteX23" fmla="*/ 6342549 w 8634799"/>
                <a:gd name="connsiteY23" fmla="*/ 55805 h 847528"/>
                <a:gd name="connsiteX24" fmla="*/ 5902209 w 8634799"/>
                <a:gd name="connsiteY24" fmla="*/ 158833 h 847528"/>
                <a:gd name="connsiteX25" fmla="*/ 5182195 w 8634799"/>
                <a:gd name="connsiteY25" fmla="*/ 201839 h 847528"/>
                <a:gd name="connsiteX26" fmla="*/ 3455905 w 8634799"/>
                <a:gd name="connsiteY26" fmla="*/ 193333 h 847528"/>
                <a:gd name="connsiteX27" fmla="*/ 2370177 w 8634799"/>
                <a:gd name="connsiteY27" fmla="*/ 65870 h 847528"/>
                <a:gd name="connsiteX28" fmla="*/ 578745 w 8634799"/>
                <a:gd name="connsiteY28" fmla="*/ 57364 h 847528"/>
                <a:gd name="connsiteX29" fmla="*/ 38923 w 8634799"/>
                <a:gd name="connsiteY29" fmla="*/ 66415 h 847528"/>
                <a:gd name="connsiteX0" fmla="*/ 38923 w 8634799"/>
                <a:gd name="connsiteY0" fmla="*/ 111866 h 892981"/>
                <a:gd name="connsiteX1" fmla="*/ 4765 w 8634799"/>
                <a:gd name="connsiteY1" fmla="*/ 184595 h 892981"/>
                <a:gd name="connsiteX2" fmla="*/ 16985 w 8634799"/>
                <a:gd name="connsiteY2" fmla="*/ 395830 h 892981"/>
                <a:gd name="connsiteX3" fmla="*/ 31647 w 8634799"/>
                <a:gd name="connsiteY3" fmla="*/ 655076 h 892981"/>
                <a:gd name="connsiteX4" fmla="*/ 43864 w 8634799"/>
                <a:gd name="connsiteY4" fmla="*/ 731892 h 892981"/>
                <a:gd name="connsiteX5" fmla="*/ 80207 w 8634799"/>
                <a:gd name="connsiteY5" fmla="*/ 892042 h 892981"/>
                <a:gd name="connsiteX6" fmla="*/ 937008 w 8634799"/>
                <a:gd name="connsiteY6" fmla="*/ 799599 h 892981"/>
                <a:gd name="connsiteX7" fmla="*/ 1631867 w 8634799"/>
                <a:gd name="connsiteY7" fmla="*/ 833587 h 892981"/>
                <a:gd name="connsiteX8" fmla="*/ 2087877 w 8634799"/>
                <a:gd name="connsiteY8" fmla="*/ 774099 h 892981"/>
                <a:gd name="connsiteX9" fmla="*/ 2565599 w 8634799"/>
                <a:gd name="connsiteY9" fmla="*/ 774099 h 892981"/>
                <a:gd name="connsiteX10" fmla="*/ 3336468 w 8634799"/>
                <a:gd name="connsiteY10" fmla="*/ 816593 h 892981"/>
                <a:gd name="connsiteX11" fmla="*/ 4215904 w 8634799"/>
                <a:gd name="connsiteY11" fmla="*/ 799599 h 892981"/>
                <a:gd name="connsiteX12" fmla="*/ 4845622 w 8634799"/>
                <a:gd name="connsiteY12" fmla="*/ 808105 h 892981"/>
                <a:gd name="connsiteX13" fmla="*/ 5681632 w 8634799"/>
                <a:gd name="connsiteY13" fmla="*/ 808105 h 892981"/>
                <a:gd name="connsiteX14" fmla="*/ 6745645 w 8634799"/>
                <a:gd name="connsiteY14" fmla="*/ 833605 h 892981"/>
                <a:gd name="connsiteX15" fmla="*/ 7494800 w 8634799"/>
                <a:gd name="connsiteY15" fmla="*/ 825099 h 892981"/>
                <a:gd name="connsiteX16" fmla="*/ 8026795 w 8634799"/>
                <a:gd name="connsiteY16" fmla="*/ 816593 h 892981"/>
                <a:gd name="connsiteX17" fmla="*/ 8504518 w 8634799"/>
                <a:gd name="connsiteY17" fmla="*/ 782605 h 892981"/>
                <a:gd name="connsiteX18" fmla="*/ 8634799 w 8634799"/>
                <a:gd name="connsiteY18" fmla="*/ 799599 h 892981"/>
                <a:gd name="connsiteX19" fmla="*/ 8634799 w 8634799"/>
                <a:gd name="connsiteY19" fmla="*/ 179242 h 892981"/>
                <a:gd name="connsiteX20" fmla="*/ 8450223 w 8634799"/>
                <a:gd name="connsiteY20" fmla="*/ 111321 h 892981"/>
                <a:gd name="connsiteX21" fmla="*/ 7635927 w 8634799"/>
                <a:gd name="connsiteY21" fmla="*/ 60340 h 892981"/>
                <a:gd name="connsiteX22" fmla="*/ 7049636 w 8634799"/>
                <a:gd name="connsiteY22" fmla="*/ 153815 h 892981"/>
                <a:gd name="connsiteX23" fmla="*/ 6342549 w 8634799"/>
                <a:gd name="connsiteY23" fmla="*/ 101256 h 892981"/>
                <a:gd name="connsiteX24" fmla="*/ 5902209 w 8634799"/>
                <a:gd name="connsiteY24" fmla="*/ 204284 h 892981"/>
                <a:gd name="connsiteX25" fmla="*/ 5182195 w 8634799"/>
                <a:gd name="connsiteY25" fmla="*/ 247290 h 892981"/>
                <a:gd name="connsiteX26" fmla="*/ 3469826 w 8634799"/>
                <a:gd name="connsiteY26" fmla="*/ 5421 h 892981"/>
                <a:gd name="connsiteX27" fmla="*/ 2370177 w 8634799"/>
                <a:gd name="connsiteY27" fmla="*/ 111321 h 892981"/>
                <a:gd name="connsiteX28" fmla="*/ 578745 w 8634799"/>
                <a:gd name="connsiteY28" fmla="*/ 102815 h 892981"/>
                <a:gd name="connsiteX29" fmla="*/ 38923 w 8634799"/>
                <a:gd name="connsiteY29" fmla="*/ 111866 h 892981"/>
                <a:gd name="connsiteX0" fmla="*/ 38923 w 8634799"/>
                <a:gd name="connsiteY0" fmla="*/ 135210 h 916324"/>
                <a:gd name="connsiteX1" fmla="*/ 4765 w 8634799"/>
                <a:gd name="connsiteY1" fmla="*/ 207939 h 916324"/>
                <a:gd name="connsiteX2" fmla="*/ 16985 w 8634799"/>
                <a:gd name="connsiteY2" fmla="*/ 419174 h 916324"/>
                <a:gd name="connsiteX3" fmla="*/ 31647 w 8634799"/>
                <a:gd name="connsiteY3" fmla="*/ 678420 h 916324"/>
                <a:gd name="connsiteX4" fmla="*/ 43864 w 8634799"/>
                <a:gd name="connsiteY4" fmla="*/ 755236 h 916324"/>
                <a:gd name="connsiteX5" fmla="*/ 80207 w 8634799"/>
                <a:gd name="connsiteY5" fmla="*/ 915386 h 916324"/>
                <a:gd name="connsiteX6" fmla="*/ 937008 w 8634799"/>
                <a:gd name="connsiteY6" fmla="*/ 822943 h 916324"/>
                <a:gd name="connsiteX7" fmla="*/ 1631867 w 8634799"/>
                <a:gd name="connsiteY7" fmla="*/ 856931 h 916324"/>
                <a:gd name="connsiteX8" fmla="*/ 2087877 w 8634799"/>
                <a:gd name="connsiteY8" fmla="*/ 797443 h 916324"/>
                <a:gd name="connsiteX9" fmla="*/ 2565599 w 8634799"/>
                <a:gd name="connsiteY9" fmla="*/ 797443 h 916324"/>
                <a:gd name="connsiteX10" fmla="*/ 3336468 w 8634799"/>
                <a:gd name="connsiteY10" fmla="*/ 839937 h 916324"/>
                <a:gd name="connsiteX11" fmla="*/ 4215904 w 8634799"/>
                <a:gd name="connsiteY11" fmla="*/ 822943 h 916324"/>
                <a:gd name="connsiteX12" fmla="*/ 4845622 w 8634799"/>
                <a:gd name="connsiteY12" fmla="*/ 831449 h 916324"/>
                <a:gd name="connsiteX13" fmla="*/ 5681632 w 8634799"/>
                <a:gd name="connsiteY13" fmla="*/ 831449 h 916324"/>
                <a:gd name="connsiteX14" fmla="*/ 6745645 w 8634799"/>
                <a:gd name="connsiteY14" fmla="*/ 856949 h 916324"/>
                <a:gd name="connsiteX15" fmla="*/ 7494800 w 8634799"/>
                <a:gd name="connsiteY15" fmla="*/ 848443 h 916324"/>
                <a:gd name="connsiteX16" fmla="*/ 8026795 w 8634799"/>
                <a:gd name="connsiteY16" fmla="*/ 839937 h 916324"/>
                <a:gd name="connsiteX17" fmla="*/ 8504518 w 8634799"/>
                <a:gd name="connsiteY17" fmla="*/ 805949 h 916324"/>
                <a:gd name="connsiteX18" fmla="*/ 8634799 w 8634799"/>
                <a:gd name="connsiteY18" fmla="*/ 822943 h 916324"/>
                <a:gd name="connsiteX19" fmla="*/ 8634799 w 8634799"/>
                <a:gd name="connsiteY19" fmla="*/ 202586 h 916324"/>
                <a:gd name="connsiteX20" fmla="*/ 8450223 w 8634799"/>
                <a:gd name="connsiteY20" fmla="*/ 134665 h 916324"/>
                <a:gd name="connsiteX21" fmla="*/ 7635927 w 8634799"/>
                <a:gd name="connsiteY21" fmla="*/ 83684 h 916324"/>
                <a:gd name="connsiteX22" fmla="*/ 7049636 w 8634799"/>
                <a:gd name="connsiteY22" fmla="*/ 177159 h 916324"/>
                <a:gd name="connsiteX23" fmla="*/ 6342549 w 8634799"/>
                <a:gd name="connsiteY23" fmla="*/ 124600 h 916324"/>
                <a:gd name="connsiteX24" fmla="*/ 5902209 w 8634799"/>
                <a:gd name="connsiteY24" fmla="*/ 227628 h 916324"/>
                <a:gd name="connsiteX25" fmla="*/ 5182195 w 8634799"/>
                <a:gd name="connsiteY25" fmla="*/ 270634 h 916324"/>
                <a:gd name="connsiteX26" fmla="*/ 3469826 w 8634799"/>
                <a:gd name="connsiteY26" fmla="*/ 28765 h 916324"/>
                <a:gd name="connsiteX27" fmla="*/ 2370177 w 8634799"/>
                <a:gd name="connsiteY27" fmla="*/ 134665 h 916324"/>
                <a:gd name="connsiteX28" fmla="*/ 578745 w 8634799"/>
                <a:gd name="connsiteY28" fmla="*/ 126159 h 916324"/>
                <a:gd name="connsiteX29" fmla="*/ 38923 w 8634799"/>
                <a:gd name="connsiteY29" fmla="*/ 135210 h 916324"/>
                <a:gd name="connsiteX0" fmla="*/ 38923 w 8634799"/>
                <a:gd name="connsiteY0" fmla="*/ 128131 h 909245"/>
                <a:gd name="connsiteX1" fmla="*/ 4765 w 8634799"/>
                <a:gd name="connsiteY1" fmla="*/ 200860 h 909245"/>
                <a:gd name="connsiteX2" fmla="*/ 16985 w 8634799"/>
                <a:gd name="connsiteY2" fmla="*/ 412095 h 909245"/>
                <a:gd name="connsiteX3" fmla="*/ 31647 w 8634799"/>
                <a:gd name="connsiteY3" fmla="*/ 671341 h 909245"/>
                <a:gd name="connsiteX4" fmla="*/ 43864 w 8634799"/>
                <a:gd name="connsiteY4" fmla="*/ 748157 h 909245"/>
                <a:gd name="connsiteX5" fmla="*/ 80207 w 8634799"/>
                <a:gd name="connsiteY5" fmla="*/ 908307 h 909245"/>
                <a:gd name="connsiteX6" fmla="*/ 937008 w 8634799"/>
                <a:gd name="connsiteY6" fmla="*/ 815864 h 909245"/>
                <a:gd name="connsiteX7" fmla="*/ 1631867 w 8634799"/>
                <a:gd name="connsiteY7" fmla="*/ 849852 h 909245"/>
                <a:gd name="connsiteX8" fmla="*/ 2087877 w 8634799"/>
                <a:gd name="connsiteY8" fmla="*/ 790364 h 909245"/>
                <a:gd name="connsiteX9" fmla="*/ 2565599 w 8634799"/>
                <a:gd name="connsiteY9" fmla="*/ 790364 h 909245"/>
                <a:gd name="connsiteX10" fmla="*/ 3336468 w 8634799"/>
                <a:gd name="connsiteY10" fmla="*/ 832858 h 909245"/>
                <a:gd name="connsiteX11" fmla="*/ 4215904 w 8634799"/>
                <a:gd name="connsiteY11" fmla="*/ 815864 h 909245"/>
                <a:gd name="connsiteX12" fmla="*/ 4845622 w 8634799"/>
                <a:gd name="connsiteY12" fmla="*/ 824370 h 909245"/>
                <a:gd name="connsiteX13" fmla="*/ 5681632 w 8634799"/>
                <a:gd name="connsiteY13" fmla="*/ 824370 h 909245"/>
                <a:gd name="connsiteX14" fmla="*/ 6745645 w 8634799"/>
                <a:gd name="connsiteY14" fmla="*/ 849870 h 909245"/>
                <a:gd name="connsiteX15" fmla="*/ 7494800 w 8634799"/>
                <a:gd name="connsiteY15" fmla="*/ 841364 h 909245"/>
                <a:gd name="connsiteX16" fmla="*/ 8026795 w 8634799"/>
                <a:gd name="connsiteY16" fmla="*/ 832858 h 909245"/>
                <a:gd name="connsiteX17" fmla="*/ 8504518 w 8634799"/>
                <a:gd name="connsiteY17" fmla="*/ 798870 h 909245"/>
                <a:gd name="connsiteX18" fmla="*/ 8634799 w 8634799"/>
                <a:gd name="connsiteY18" fmla="*/ 815864 h 909245"/>
                <a:gd name="connsiteX19" fmla="*/ 8634799 w 8634799"/>
                <a:gd name="connsiteY19" fmla="*/ 195507 h 909245"/>
                <a:gd name="connsiteX20" fmla="*/ 8450223 w 8634799"/>
                <a:gd name="connsiteY20" fmla="*/ 127586 h 909245"/>
                <a:gd name="connsiteX21" fmla="*/ 7635927 w 8634799"/>
                <a:gd name="connsiteY21" fmla="*/ 76605 h 909245"/>
                <a:gd name="connsiteX22" fmla="*/ 7049636 w 8634799"/>
                <a:gd name="connsiteY22" fmla="*/ 170080 h 909245"/>
                <a:gd name="connsiteX23" fmla="*/ 6342549 w 8634799"/>
                <a:gd name="connsiteY23" fmla="*/ 117521 h 909245"/>
                <a:gd name="connsiteX24" fmla="*/ 5902209 w 8634799"/>
                <a:gd name="connsiteY24" fmla="*/ 220549 h 909245"/>
                <a:gd name="connsiteX25" fmla="*/ 5182195 w 8634799"/>
                <a:gd name="connsiteY25" fmla="*/ 263555 h 909245"/>
                <a:gd name="connsiteX26" fmla="*/ 3469826 w 8634799"/>
                <a:gd name="connsiteY26" fmla="*/ 21686 h 909245"/>
                <a:gd name="connsiteX27" fmla="*/ 2370177 w 8634799"/>
                <a:gd name="connsiteY27" fmla="*/ 127586 h 909245"/>
                <a:gd name="connsiteX28" fmla="*/ 578745 w 8634799"/>
                <a:gd name="connsiteY28" fmla="*/ 119080 h 909245"/>
                <a:gd name="connsiteX29" fmla="*/ 38923 w 8634799"/>
                <a:gd name="connsiteY29" fmla="*/ 128131 h 909245"/>
                <a:gd name="connsiteX0" fmla="*/ 38923 w 8634799"/>
                <a:gd name="connsiteY0" fmla="*/ 134331 h 915445"/>
                <a:gd name="connsiteX1" fmla="*/ 4765 w 8634799"/>
                <a:gd name="connsiteY1" fmla="*/ 207060 h 915445"/>
                <a:gd name="connsiteX2" fmla="*/ 16985 w 8634799"/>
                <a:gd name="connsiteY2" fmla="*/ 418295 h 915445"/>
                <a:gd name="connsiteX3" fmla="*/ 31647 w 8634799"/>
                <a:gd name="connsiteY3" fmla="*/ 677541 h 915445"/>
                <a:gd name="connsiteX4" fmla="*/ 43864 w 8634799"/>
                <a:gd name="connsiteY4" fmla="*/ 754357 h 915445"/>
                <a:gd name="connsiteX5" fmla="*/ 80207 w 8634799"/>
                <a:gd name="connsiteY5" fmla="*/ 914507 h 915445"/>
                <a:gd name="connsiteX6" fmla="*/ 937008 w 8634799"/>
                <a:gd name="connsiteY6" fmla="*/ 822064 h 915445"/>
                <a:gd name="connsiteX7" fmla="*/ 1631867 w 8634799"/>
                <a:gd name="connsiteY7" fmla="*/ 856052 h 915445"/>
                <a:gd name="connsiteX8" fmla="*/ 2087877 w 8634799"/>
                <a:gd name="connsiteY8" fmla="*/ 796564 h 915445"/>
                <a:gd name="connsiteX9" fmla="*/ 2565599 w 8634799"/>
                <a:gd name="connsiteY9" fmla="*/ 796564 h 915445"/>
                <a:gd name="connsiteX10" fmla="*/ 3336468 w 8634799"/>
                <a:gd name="connsiteY10" fmla="*/ 839058 h 915445"/>
                <a:gd name="connsiteX11" fmla="*/ 4215904 w 8634799"/>
                <a:gd name="connsiteY11" fmla="*/ 822064 h 915445"/>
                <a:gd name="connsiteX12" fmla="*/ 4845622 w 8634799"/>
                <a:gd name="connsiteY12" fmla="*/ 830570 h 915445"/>
                <a:gd name="connsiteX13" fmla="*/ 5681632 w 8634799"/>
                <a:gd name="connsiteY13" fmla="*/ 830570 h 915445"/>
                <a:gd name="connsiteX14" fmla="*/ 6745645 w 8634799"/>
                <a:gd name="connsiteY14" fmla="*/ 856070 h 915445"/>
                <a:gd name="connsiteX15" fmla="*/ 7494800 w 8634799"/>
                <a:gd name="connsiteY15" fmla="*/ 847564 h 915445"/>
                <a:gd name="connsiteX16" fmla="*/ 8026795 w 8634799"/>
                <a:gd name="connsiteY16" fmla="*/ 839058 h 915445"/>
                <a:gd name="connsiteX17" fmla="*/ 8504518 w 8634799"/>
                <a:gd name="connsiteY17" fmla="*/ 805070 h 915445"/>
                <a:gd name="connsiteX18" fmla="*/ 8634799 w 8634799"/>
                <a:gd name="connsiteY18" fmla="*/ 822064 h 915445"/>
                <a:gd name="connsiteX19" fmla="*/ 8634799 w 8634799"/>
                <a:gd name="connsiteY19" fmla="*/ 201707 h 915445"/>
                <a:gd name="connsiteX20" fmla="*/ 8450223 w 8634799"/>
                <a:gd name="connsiteY20" fmla="*/ 133786 h 915445"/>
                <a:gd name="connsiteX21" fmla="*/ 7635927 w 8634799"/>
                <a:gd name="connsiteY21" fmla="*/ 82805 h 915445"/>
                <a:gd name="connsiteX22" fmla="*/ 7049636 w 8634799"/>
                <a:gd name="connsiteY22" fmla="*/ 176280 h 915445"/>
                <a:gd name="connsiteX23" fmla="*/ 6342549 w 8634799"/>
                <a:gd name="connsiteY23" fmla="*/ 123721 h 915445"/>
                <a:gd name="connsiteX24" fmla="*/ 5902209 w 8634799"/>
                <a:gd name="connsiteY24" fmla="*/ 226749 h 915445"/>
                <a:gd name="connsiteX25" fmla="*/ 5182195 w 8634799"/>
                <a:gd name="connsiteY25" fmla="*/ 269755 h 915445"/>
                <a:gd name="connsiteX26" fmla="*/ 3618314 w 8634799"/>
                <a:gd name="connsiteY26" fmla="*/ 21218 h 915445"/>
                <a:gd name="connsiteX27" fmla="*/ 2370177 w 8634799"/>
                <a:gd name="connsiteY27" fmla="*/ 133786 h 915445"/>
                <a:gd name="connsiteX28" fmla="*/ 578745 w 8634799"/>
                <a:gd name="connsiteY28" fmla="*/ 125280 h 915445"/>
                <a:gd name="connsiteX29" fmla="*/ 38923 w 8634799"/>
                <a:gd name="connsiteY29" fmla="*/ 134331 h 915445"/>
                <a:gd name="connsiteX0" fmla="*/ 38923 w 8634799"/>
                <a:gd name="connsiteY0" fmla="*/ 153045 h 934159"/>
                <a:gd name="connsiteX1" fmla="*/ 4765 w 8634799"/>
                <a:gd name="connsiteY1" fmla="*/ 225774 h 934159"/>
                <a:gd name="connsiteX2" fmla="*/ 16985 w 8634799"/>
                <a:gd name="connsiteY2" fmla="*/ 437009 h 934159"/>
                <a:gd name="connsiteX3" fmla="*/ 31647 w 8634799"/>
                <a:gd name="connsiteY3" fmla="*/ 696255 h 934159"/>
                <a:gd name="connsiteX4" fmla="*/ 43864 w 8634799"/>
                <a:gd name="connsiteY4" fmla="*/ 773071 h 934159"/>
                <a:gd name="connsiteX5" fmla="*/ 80207 w 8634799"/>
                <a:gd name="connsiteY5" fmla="*/ 933221 h 934159"/>
                <a:gd name="connsiteX6" fmla="*/ 937008 w 8634799"/>
                <a:gd name="connsiteY6" fmla="*/ 840778 h 934159"/>
                <a:gd name="connsiteX7" fmla="*/ 1631867 w 8634799"/>
                <a:gd name="connsiteY7" fmla="*/ 874766 h 934159"/>
                <a:gd name="connsiteX8" fmla="*/ 2087877 w 8634799"/>
                <a:gd name="connsiteY8" fmla="*/ 815278 h 934159"/>
                <a:gd name="connsiteX9" fmla="*/ 2565599 w 8634799"/>
                <a:gd name="connsiteY9" fmla="*/ 815278 h 934159"/>
                <a:gd name="connsiteX10" fmla="*/ 3336468 w 8634799"/>
                <a:gd name="connsiteY10" fmla="*/ 857772 h 934159"/>
                <a:gd name="connsiteX11" fmla="*/ 4215904 w 8634799"/>
                <a:gd name="connsiteY11" fmla="*/ 840778 h 934159"/>
                <a:gd name="connsiteX12" fmla="*/ 4845622 w 8634799"/>
                <a:gd name="connsiteY12" fmla="*/ 849284 h 934159"/>
                <a:gd name="connsiteX13" fmla="*/ 5681632 w 8634799"/>
                <a:gd name="connsiteY13" fmla="*/ 849284 h 934159"/>
                <a:gd name="connsiteX14" fmla="*/ 6745645 w 8634799"/>
                <a:gd name="connsiteY14" fmla="*/ 874784 h 934159"/>
                <a:gd name="connsiteX15" fmla="*/ 7494800 w 8634799"/>
                <a:gd name="connsiteY15" fmla="*/ 866278 h 934159"/>
                <a:gd name="connsiteX16" fmla="*/ 8026795 w 8634799"/>
                <a:gd name="connsiteY16" fmla="*/ 857772 h 934159"/>
                <a:gd name="connsiteX17" fmla="*/ 8504518 w 8634799"/>
                <a:gd name="connsiteY17" fmla="*/ 823784 h 934159"/>
                <a:gd name="connsiteX18" fmla="*/ 8634799 w 8634799"/>
                <a:gd name="connsiteY18" fmla="*/ 840778 h 934159"/>
                <a:gd name="connsiteX19" fmla="*/ 8634799 w 8634799"/>
                <a:gd name="connsiteY19" fmla="*/ 220421 h 934159"/>
                <a:gd name="connsiteX20" fmla="*/ 8450223 w 8634799"/>
                <a:gd name="connsiteY20" fmla="*/ 152500 h 934159"/>
                <a:gd name="connsiteX21" fmla="*/ 7635927 w 8634799"/>
                <a:gd name="connsiteY21" fmla="*/ 101519 h 934159"/>
                <a:gd name="connsiteX22" fmla="*/ 7049636 w 8634799"/>
                <a:gd name="connsiteY22" fmla="*/ 194994 h 934159"/>
                <a:gd name="connsiteX23" fmla="*/ 6342549 w 8634799"/>
                <a:gd name="connsiteY23" fmla="*/ 142435 h 934159"/>
                <a:gd name="connsiteX24" fmla="*/ 5902209 w 8634799"/>
                <a:gd name="connsiteY24" fmla="*/ 245463 h 934159"/>
                <a:gd name="connsiteX25" fmla="*/ 5182195 w 8634799"/>
                <a:gd name="connsiteY25" fmla="*/ 288469 h 934159"/>
                <a:gd name="connsiteX26" fmla="*/ 3655437 w 8634799"/>
                <a:gd name="connsiteY26" fmla="*/ 19929 h 934159"/>
                <a:gd name="connsiteX27" fmla="*/ 2370177 w 8634799"/>
                <a:gd name="connsiteY27" fmla="*/ 152500 h 934159"/>
                <a:gd name="connsiteX28" fmla="*/ 578745 w 8634799"/>
                <a:gd name="connsiteY28" fmla="*/ 143994 h 934159"/>
                <a:gd name="connsiteX29" fmla="*/ 38923 w 8634799"/>
                <a:gd name="connsiteY29" fmla="*/ 153045 h 934159"/>
                <a:gd name="connsiteX0" fmla="*/ 38923 w 8634799"/>
                <a:gd name="connsiteY0" fmla="*/ 203294 h 984408"/>
                <a:gd name="connsiteX1" fmla="*/ 4765 w 8634799"/>
                <a:gd name="connsiteY1" fmla="*/ 276023 h 984408"/>
                <a:gd name="connsiteX2" fmla="*/ 16985 w 8634799"/>
                <a:gd name="connsiteY2" fmla="*/ 487258 h 984408"/>
                <a:gd name="connsiteX3" fmla="*/ 31647 w 8634799"/>
                <a:gd name="connsiteY3" fmla="*/ 746504 h 984408"/>
                <a:gd name="connsiteX4" fmla="*/ 43864 w 8634799"/>
                <a:gd name="connsiteY4" fmla="*/ 823320 h 984408"/>
                <a:gd name="connsiteX5" fmla="*/ 80207 w 8634799"/>
                <a:gd name="connsiteY5" fmla="*/ 983470 h 984408"/>
                <a:gd name="connsiteX6" fmla="*/ 937008 w 8634799"/>
                <a:gd name="connsiteY6" fmla="*/ 891027 h 984408"/>
                <a:gd name="connsiteX7" fmla="*/ 1631867 w 8634799"/>
                <a:gd name="connsiteY7" fmla="*/ 925015 h 984408"/>
                <a:gd name="connsiteX8" fmla="*/ 2087877 w 8634799"/>
                <a:gd name="connsiteY8" fmla="*/ 865527 h 984408"/>
                <a:gd name="connsiteX9" fmla="*/ 2565599 w 8634799"/>
                <a:gd name="connsiteY9" fmla="*/ 865527 h 984408"/>
                <a:gd name="connsiteX10" fmla="*/ 3336468 w 8634799"/>
                <a:gd name="connsiteY10" fmla="*/ 908021 h 984408"/>
                <a:gd name="connsiteX11" fmla="*/ 4215904 w 8634799"/>
                <a:gd name="connsiteY11" fmla="*/ 891027 h 984408"/>
                <a:gd name="connsiteX12" fmla="*/ 4845622 w 8634799"/>
                <a:gd name="connsiteY12" fmla="*/ 899533 h 984408"/>
                <a:gd name="connsiteX13" fmla="*/ 5681632 w 8634799"/>
                <a:gd name="connsiteY13" fmla="*/ 899533 h 984408"/>
                <a:gd name="connsiteX14" fmla="*/ 6745645 w 8634799"/>
                <a:gd name="connsiteY14" fmla="*/ 925033 h 984408"/>
                <a:gd name="connsiteX15" fmla="*/ 7494800 w 8634799"/>
                <a:gd name="connsiteY15" fmla="*/ 916527 h 984408"/>
                <a:gd name="connsiteX16" fmla="*/ 8026795 w 8634799"/>
                <a:gd name="connsiteY16" fmla="*/ 908021 h 984408"/>
                <a:gd name="connsiteX17" fmla="*/ 8504518 w 8634799"/>
                <a:gd name="connsiteY17" fmla="*/ 874033 h 984408"/>
                <a:gd name="connsiteX18" fmla="*/ 8634799 w 8634799"/>
                <a:gd name="connsiteY18" fmla="*/ 891027 h 984408"/>
                <a:gd name="connsiteX19" fmla="*/ 8634799 w 8634799"/>
                <a:gd name="connsiteY19" fmla="*/ 270670 h 984408"/>
                <a:gd name="connsiteX20" fmla="*/ 8450223 w 8634799"/>
                <a:gd name="connsiteY20" fmla="*/ 202749 h 984408"/>
                <a:gd name="connsiteX21" fmla="*/ 7635927 w 8634799"/>
                <a:gd name="connsiteY21" fmla="*/ 151768 h 984408"/>
                <a:gd name="connsiteX22" fmla="*/ 7049636 w 8634799"/>
                <a:gd name="connsiteY22" fmla="*/ 245243 h 984408"/>
                <a:gd name="connsiteX23" fmla="*/ 6342549 w 8634799"/>
                <a:gd name="connsiteY23" fmla="*/ 192684 h 984408"/>
                <a:gd name="connsiteX24" fmla="*/ 5902209 w 8634799"/>
                <a:gd name="connsiteY24" fmla="*/ 295712 h 984408"/>
                <a:gd name="connsiteX25" fmla="*/ 5182195 w 8634799"/>
                <a:gd name="connsiteY25" fmla="*/ 338718 h 984408"/>
                <a:gd name="connsiteX26" fmla="*/ 3655437 w 8634799"/>
                <a:gd name="connsiteY26" fmla="*/ 70178 h 984408"/>
                <a:gd name="connsiteX27" fmla="*/ 2370177 w 8634799"/>
                <a:gd name="connsiteY27" fmla="*/ 202749 h 984408"/>
                <a:gd name="connsiteX28" fmla="*/ 578745 w 8634799"/>
                <a:gd name="connsiteY28" fmla="*/ 194243 h 984408"/>
                <a:gd name="connsiteX29" fmla="*/ 38923 w 8634799"/>
                <a:gd name="connsiteY29" fmla="*/ 203294 h 984408"/>
                <a:gd name="connsiteX0" fmla="*/ 38923 w 8634799"/>
                <a:gd name="connsiteY0" fmla="*/ 146213 h 927327"/>
                <a:gd name="connsiteX1" fmla="*/ 4765 w 8634799"/>
                <a:gd name="connsiteY1" fmla="*/ 218942 h 927327"/>
                <a:gd name="connsiteX2" fmla="*/ 16985 w 8634799"/>
                <a:gd name="connsiteY2" fmla="*/ 430177 h 927327"/>
                <a:gd name="connsiteX3" fmla="*/ 31647 w 8634799"/>
                <a:gd name="connsiteY3" fmla="*/ 689423 h 927327"/>
                <a:gd name="connsiteX4" fmla="*/ 43864 w 8634799"/>
                <a:gd name="connsiteY4" fmla="*/ 766239 h 927327"/>
                <a:gd name="connsiteX5" fmla="*/ 80207 w 8634799"/>
                <a:gd name="connsiteY5" fmla="*/ 926389 h 927327"/>
                <a:gd name="connsiteX6" fmla="*/ 937008 w 8634799"/>
                <a:gd name="connsiteY6" fmla="*/ 833946 h 927327"/>
                <a:gd name="connsiteX7" fmla="*/ 1631867 w 8634799"/>
                <a:gd name="connsiteY7" fmla="*/ 867934 h 927327"/>
                <a:gd name="connsiteX8" fmla="*/ 2087877 w 8634799"/>
                <a:gd name="connsiteY8" fmla="*/ 808446 h 927327"/>
                <a:gd name="connsiteX9" fmla="*/ 2565599 w 8634799"/>
                <a:gd name="connsiteY9" fmla="*/ 808446 h 927327"/>
                <a:gd name="connsiteX10" fmla="*/ 3336468 w 8634799"/>
                <a:gd name="connsiteY10" fmla="*/ 850940 h 927327"/>
                <a:gd name="connsiteX11" fmla="*/ 4215904 w 8634799"/>
                <a:gd name="connsiteY11" fmla="*/ 833946 h 927327"/>
                <a:gd name="connsiteX12" fmla="*/ 4845622 w 8634799"/>
                <a:gd name="connsiteY12" fmla="*/ 842452 h 927327"/>
                <a:gd name="connsiteX13" fmla="*/ 5681632 w 8634799"/>
                <a:gd name="connsiteY13" fmla="*/ 842452 h 927327"/>
                <a:gd name="connsiteX14" fmla="*/ 6745645 w 8634799"/>
                <a:gd name="connsiteY14" fmla="*/ 867952 h 927327"/>
                <a:gd name="connsiteX15" fmla="*/ 7494800 w 8634799"/>
                <a:gd name="connsiteY15" fmla="*/ 859446 h 927327"/>
                <a:gd name="connsiteX16" fmla="*/ 8026795 w 8634799"/>
                <a:gd name="connsiteY16" fmla="*/ 850940 h 927327"/>
                <a:gd name="connsiteX17" fmla="*/ 8504518 w 8634799"/>
                <a:gd name="connsiteY17" fmla="*/ 816952 h 927327"/>
                <a:gd name="connsiteX18" fmla="*/ 8634799 w 8634799"/>
                <a:gd name="connsiteY18" fmla="*/ 833946 h 927327"/>
                <a:gd name="connsiteX19" fmla="*/ 8634799 w 8634799"/>
                <a:gd name="connsiteY19" fmla="*/ 213589 h 927327"/>
                <a:gd name="connsiteX20" fmla="*/ 8450223 w 8634799"/>
                <a:gd name="connsiteY20" fmla="*/ 145668 h 927327"/>
                <a:gd name="connsiteX21" fmla="*/ 7635927 w 8634799"/>
                <a:gd name="connsiteY21" fmla="*/ 94687 h 927327"/>
                <a:gd name="connsiteX22" fmla="*/ 7049636 w 8634799"/>
                <a:gd name="connsiteY22" fmla="*/ 188162 h 927327"/>
                <a:gd name="connsiteX23" fmla="*/ 6342549 w 8634799"/>
                <a:gd name="connsiteY23" fmla="*/ 135603 h 927327"/>
                <a:gd name="connsiteX24" fmla="*/ 5902209 w 8634799"/>
                <a:gd name="connsiteY24" fmla="*/ 238631 h 927327"/>
                <a:gd name="connsiteX25" fmla="*/ 5182195 w 8634799"/>
                <a:gd name="connsiteY25" fmla="*/ 281637 h 927327"/>
                <a:gd name="connsiteX26" fmla="*/ 3822487 w 8634799"/>
                <a:gd name="connsiteY26" fmla="*/ 79772 h 927327"/>
                <a:gd name="connsiteX27" fmla="*/ 2370177 w 8634799"/>
                <a:gd name="connsiteY27" fmla="*/ 145668 h 927327"/>
                <a:gd name="connsiteX28" fmla="*/ 578745 w 8634799"/>
                <a:gd name="connsiteY28" fmla="*/ 137162 h 927327"/>
                <a:gd name="connsiteX29" fmla="*/ 38923 w 8634799"/>
                <a:gd name="connsiteY29" fmla="*/ 146213 h 927327"/>
                <a:gd name="connsiteX0" fmla="*/ 38923 w 8634799"/>
                <a:gd name="connsiteY0" fmla="*/ 157240 h 938354"/>
                <a:gd name="connsiteX1" fmla="*/ 4765 w 8634799"/>
                <a:gd name="connsiteY1" fmla="*/ 229969 h 938354"/>
                <a:gd name="connsiteX2" fmla="*/ 16985 w 8634799"/>
                <a:gd name="connsiteY2" fmla="*/ 441204 h 938354"/>
                <a:gd name="connsiteX3" fmla="*/ 31647 w 8634799"/>
                <a:gd name="connsiteY3" fmla="*/ 700450 h 938354"/>
                <a:gd name="connsiteX4" fmla="*/ 43864 w 8634799"/>
                <a:gd name="connsiteY4" fmla="*/ 777266 h 938354"/>
                <a:gd name="connsiteX5" fmla="*/ 80207 w 8634799"/>
                <a:gd name="connsiteY5" fmla="*/ 937416 h 938354"/>
                <a:gd name="connsiteX6" fmla="*/ 937008 w 8634799"/>
                <a:gd name="connsiteY6" fmla="*/ 844973 h 938354"/>
                <a:gd name="connsiteX7" fmla="*/ 1631867 w 8634799"/>
                <a:gd name="connsiteY7" fmla="*/ 878961 h 938354"/>
                <a:gd name="connsiteX8" fmla="*/ 2087877 w 8634799"/>
                <a:gd name="connsiteY8" fmla="*/ 819473 h 938354"/>
                <a:gd name="connsiteX9" fmla="*/ 2565599 w 8634799"/>
                <a:gd name="connsiteY9" fmla="*/ 819473 h 938354"/>
                <a:gd name="connsiteX10" fmla="*/ 3336468 w 8634799"/>
                <a:gd name="connsiteY10" fmla="*/ 861967 h 938354"/>
                <a:gd name="connsiteX11" fmla="*/ 4215904 w 8634799"/>
                <a:gd name="connsiteY11" fmla="*/ 844973 h 938354"/>
                <a:gd name="connsiteX12" fmla="*/ 4845622 w 8634799"/>
                <a:gd name="connsiteY12" fmla="*/ 853479 h 938354"/>
                <a:gd name="connsiteX13" fmla="*/ 5681632 w 8634799"/>
                <a:gd name="connsiteY13" fmla="*/ 853479 h 938354"/>
                <a:gd name="connsiteX14" fmla="*/ 6745645 w 8634799"/>
                <a:gd name="connsiteY14" fmla="*/ 878979 h 938354"/>
                <a:gd name="connsiteX15" fmla="*/ 7494800 w 8634799"/>
                <a:gd name="connsiteY15" fmla="*/ 870473 h 938354"/>
                <a:gd name="connsiteX16" fmla="*/ 8026795 w 8634799"/>
                <a:gd name="connsiteY16" fmla="*/ 861967 h 938354"/>
                <a:gd name="connsiteX17" fmla="*/ 8504518 w 8634799"/>
                <a:gd name="connsiteY17" fmla="*/ 827979 h 938354"/>
                <a:gd name="connsiteX18" fmla="*/ 8634799 w 8634799"/>
                <a:gd name="connsiteY18" fmla="*/ 844973 h 938354"/>
                <a:gd name="connsiteX19" fmla="*/ 8634799 w 8634799"/>
                <a:gd name="connsiteY19" fmla="*/ 224616 h 938354"/>
                <a:gd name="connsiteX20" fmla="*/ 8450223 w 8634799"/>
                <a:gd name="connsiteY20" fmla="*/ 156695 h 938354"/>
                <a:gd name="connsiteX21" fmla="*/ 7635927 w 8634799"/>
                <a:gd name="connsiteY21" fmla="*/ 105714 h 938354"/>
                <a:gd name="connsiteX22" fmla="*/ 7049636 w 8634799"/>
                <a:gd name="connsiteY22" fmla="*/ 199189 h 938354"/>
                <a:gd name="connsiteX23" fmla="*/ 6342549 w 8634799"/>
                <a:gd name="connsiteY23" fmla="*/ 146630 h 938354"/>
                <a:gd name="connsiteX24" fmla="*/ 5902209 w 8634799"/>
                <a:gd name="connsiteY24" fmla="*/ 249658 h 938354"/>
                <a:gd name="connsiteX25" fmla="*/ 5182195 w 8634799"/>
                <a:gd name="connsiteY25" fmla="*/ 292664 h 938354"/>
                <a:gd name="connsiteX26" fmla="*/ 3822487 w 8634799"/>
                <a:gd name="connsiteY26" fmla="*/ 90799 h 938354"/>
                <a:gd name="connsiteX27" fmla="*/ 2370177 w 8634799"/>
                <a:gd name="connsiteY27" fmla="*/ 156695 h 938354"/>
                <a:gd name="connsiteX28" fmla="*/ 578745 w 8634799"/>
                <a:gd name="connsiteY28" fmla="*/ 148189 h 938354"/>
                <a:gd name="connsiteX29" fmla="*/ 38923 w 8634799"/>
                <a:gd name="connsiteY29" fmla="*/ 157240 h 938354"/>
                <a:gd name="connsiteX0" fmla="*/ 38923 w 12045155"/>
                <a:gd name="connsiteY0" fmla="*/ 157240 h 938354"/>
                <a:gd name="connsiteX1" fmla="*/ 4765 w 12045155"/>
                <a:gd name="connsiteY1" fmla="*/ 229969 h 938354"/>
                <a:gd name="connsiteX2" fmla="*/ 16985 w 12045155"/>
                <a:gd name="connsiteY2" fmla="*/ 441204 h 938354"/>
                <a:gd name="connsiteX3" fmla="*/ 31647 w 12045155"/>
                <a:gd name="connsiteY3" fmla="*/ 700450 h 938354"/>
                <a:gd name="connsiteX4" fmla="*/ 43864 w 12045155"/>
                <a:gd name="connsiteY4" fmla="*/ 777266 h 938354"/>
                <a:gd name="connsiteX5" fmla="*/ 80207 w 12045155"/>
                <a:gd name="connsiteY5" fmla="*/ 937416 h 938354"/>
                <a:gd name="connsiteX6" fmla="*/ 937008 w 12045155"/>
                <a:gd name="connsiteY6" fmla="*/ 844973 h 938354"/>
                <a:gd name="connsiteX7" fmla="*/ 1631867 w 12045155"/>
                <a:gd name="connsiteY7" fmla="*/ 878961 h 938354"/>
                <a:gd name="connsiteX8" fmla="*/ 2087877 w 12045155"/>
                <a:gd name="connsiteY8" fmla="*/ 819473 h 938354"/>
                <a:gd name="connsiteX9" fmla="*/ 2565599 w 12045155"/>
                <a:gd name="connsiteY9" fmla="*/ 819473 h 938354"/>
                <a:gd name="connsiteX10" fmla="*/ 3336468 w 12045155"/>
                <a:gd name="connsiteY10" fmla="*/ 861967 h 938354"/>
                <a:gd name="connsiteX11" fmla="*/ 4215904 w 12045155"/>
                <a:gd name="connsiteY11" fmla="*/ 844973 h 938354"/>
                <a:gd name="connsiteX12" fmla="*/ 4845622 w 12045155"/>
                <a:gd name="connsiteY12" fmla="*/ 853479 h 938354"/>
                <a:gd name="connsiteX13" fmla="*/ 5681632 w 12045155"/>
                <a:gd name="connsiteY13" fmla="*/ 853479 h 938354"/>
                <a:gd name="connsiteX14" fmla="*/ 6745645 w 12045155"/>
                <a:gd name="connsiteY14" fmla="*/ 878979 h 938354"/>
                <a:gd name="connsiteX15" fmla="*/ 7494800 w 12045155"/>
                <a:gd name="connsiteY15" fmla="*/ 870473 h 938354"/>
                <a:gd name="connsiteX16" fmla="*/ 8026795 w 12045155"/>
                <a:gd name="connsiteY16" fmla="*/ 861967 h 938354"/>
                <a:gd name="connsiteX17" fmla="*/ 8504518 w 12045155"/>
                <a:gd name="connsiteY17" fmla="*/ 827979 h 938354"/>
                <a:gd name="connsiteX18" fmla="*/ 12045155 w 12045155"/>
                <a:gd name="connsiteY18" fmla="*/ 699393 h 938354"/>
                <a:gd name="connsiteX19" fmla="*/ 8634799 w 12045155"/>
                <a:gd name="connsiteY19" fmla="*/ 224616 h 938354"/>
                <a:gd name="connsiteX20" fmla="*/ 8450223 w 12045155"/>
                <a:gd name="connsiteY20" fmla="*/ 156695 h 938354"/>
                <a:gd name="connsiteX21" fmla="*/ 7635927 w 12045155"/>
                <a:gd name="connsiteY21" fmla="*/ 105714 h 938354"/>
                <a:gd name="connsiteX22" fmla="*/ 7049636 w 12045155"/>
                <a:gd name="connsiteY22" fmla="*/ 199189 h 938354"/>
                <a:gd name="connsiteX23" fmla="*/ 6342549 w 12045155"/>
                <a:gd name="connsiteY23" fmla="*/ 146630 h 938354"/>
                <a:gd name="connsiteX24" fmla="*/ 5902209 w 12045155"/>
                <a:gd name="connsiteY24" fmla="*/ 249658 h 938354"/>
                <a:gd name="connsiteX25" fmla="*/ 5182195 w 12045155"/>
                <a:gd name="connsiteY25" fmla="*/ 292664 h 938354"/>
                <a:gd name="connsiteX26" fmla="*/ 3822487 w 12045155"/>
                <a:gd name="connsiteY26" fmla="*/ 90799 h 938354"/>
                <a:gd name="connsiteX27" fmla="*/ 2370177 w 12045155"/>
                <a:gd name="connsiteY27" fmla="*/ 156695 h 938354"/>
                <a:gd name="connsiteX28" fmla="*/ 578745 w 12045155"/>
                <a:gd name="connsiteY28" fmla="*/ 148189 h 938354"/>
                <a:gd name="connsiteX29" fmla="*/ 38923 w 12045155"/>
                <a:gd name="connsiteY29" fmla="*/ 157240 h 938354"/>
                <a:gd name="connsiteX0" fmla="*/ 38923 w 12045155"/>
                <a:gd name="connsiteY0" fmla="*/ 157240 h 938354"/>
                <a:gd name="connsiteX1" fmla="*/ 4765 w 12045155"/>
                <a:gd name="connsiteY1" fmla="*/ 229969 h 938354"/>
                <a:gd name="connsiteX2" fmla="*/ 16985 w 12045155"/>
                <a:gd name="connsiteY2" fmla="*/ 441204 h 938354"/>
                <a:gd name="connsiteX3" fmla="*/ 31647 w 12045155"/>
                <a:gd name="connsiteY3" fmla="*/ 700450 h 938354"/>
                <a:gd name="connsiteX4" fmla="*/ 43864 w 12045155"/>
                <a:gd name="connsiteY4" fmla="*/ 777266 h 938354"/>
                <a:gd name="connsiteX5" fmla="*/ 80207 w 12045155"/>
                <a:gd name="connsiteY5" fmla="*/ 937416 h 938354"/>
                <a:gd name="connsiteX6" fmla="*/ 937008 w 12045155"/>
                <a:gd name="connsiteY6" fmla="*/ 844973 h 938354"/>
                <a:gd name="connsiteX7" fmla="*/ 1631867 w 12045155"/>
                <a:gd name="connsiteY7" fmla="*/ 878961 h 938354"/>
                <a:gd name="connsiteX8" fmla="*/ 2087877 w 12045155"/>
                <a:gd name="connsiteY8" fmla="*/ 819473 h 938354"/>
                <a:gd name="connsiteX9" fmla="*/ 2565599 w 12045155"/>
                <a:gd name="connsiteY9" fmla="*/ 819473 h 938354"/>
                <a:gd name="connsiteX10" fmla="*/ 3336468 w 12045155"/>
                <a:gd name="connsiteY10" fmla="*/ 861967 h 938354"/>
                <a:gd name="connsiteX11" fmla="*/ 4215904 w 12045155"/>
                <a:gd name="connsiteY11" fmla="*/ 844973 h 938354"/>
                <a:gd name="connsiteX12" fmla="*/ 4845622 w 12045155"/>
                <a:gd name="connsiteY12" fmla="*/ 853479 h 938354"/>
                <a:gd name="connsiteX13" fmla="*/ 5681632 w 12045155"/>
                <a:gd name="connsiteY13" fmla="*/ 853479 h 938354"/>
                <a:gd name="connsiteX14" fmla="*/ 6745645 w 12045155"/>
                <a:gd name="connsiteY14" fmla="*/ 878979 h 938354"/>
                <a:gd name="connsiteX15" fmla="*/ 7494800 w 12045155"/>
                <a:gd name="connsiteY15" fmla="*/ 870473 h 938354"/>
                <a:gd name="connsiteX16" fmla="*/ 8026795 w 12045155"/>
                <a:gd name="connsiteY16" fmla="*/ 861967 h 938354"/>
                <a:gd name="connsiteX17" fmla="*/ 8504518 w 12045155"/>
                <a:gd name="connsiteY17" fmla="*/ 827979 h 938354"/>
                <a:gd name="connsiteX18" fmla="*/ 12045155 w 12045155"/>
                <a:gd name="connsiteY18" fmla="*/ 699393 h 938354"/>
                <a:gd name="connsiteX19" fmla="*/ 12045155 w 12045155"/>
                <a:gd name="connsiteY19" fmla="*/ 261011 h 938354"/>
                <a:gd name="connsiteX20" fmla="*/ 8450223 w 12045155"/>
                <a:gd name="connsiteY20" fmla="*/ 156695 h 938354"/>
                <a:gd name="connsiteX21" fmla="*/ 7635927 w 12045155"/>
                <a:gd name="connsiteY21" fmla="*/ 105714 h 938354"/>
                <a:gd name="connsiteX22" fmla="*/ 7049636 w 12045155"/>
                <a:gd name="connsiteY22" fmla="*/ 199189 h 938354"/>
                <a:gd name="connsiteX23" fmla="*/ 6342549 w 12045155"/>
                <a:gd name="connsiteY23" fmla="*/ 146630 h 938354"/>
                <a:gd name="connsiteX24" fmla="*/ 5902209 w 12045155"/>
                <a:gd name="connsiteY24" fmla="*/ 249658 h 938354"/>
                <a:gd name="connsiteX25" fmla="*/ 5182195 w 12045155"/>
                <a:gd name="connsiteY25" fmla="*/ 292664 h 938354"/>
                <a:gd name="connsiteX26" fmla="*/ 3822487 w 12045155"/>
                <a:gd name="connsiteY26" fmla="*/ 90799 h 938354"/>
                <a:gd name="connsiteX27" fmla="*/ 2370177 w 12045155"/>
                <a:gd name="connsiteY27" fmla="*/ 156695 h 938354"/>
                <a:gd name="connsiteX28" fmla="*/ 578745 w 12045155"/>
                <a:gd name="connsiteY28" fmla="*/ 148189 h 938354"/>
                <a:gd name="connsiteX29" fmla="*/ 38923 w 12045155"/>
                <a:gd name="connsiteY29" fmla="*/ 157240 h 938354"/>
                <a:gd name="connsiteX0" fmla="*/ 38923 w 12045155"/>
                <a:gd name="connsiteY0" fmla="*/ 157240 h 1129823"/>
                <a:gd name="connsiteX1" fmla="*/ 4765 w 12045155"/>
                <a:gd name="connsiteY1" fmla="*/ 229969 h 1129823"/>
                <a:gd name="connsiteX2" fmla="*/ 16985 w 12045155"/>
                <a:gd name="connsiteY2" fmla="*/ 441204 h 1129823"/>
                <a:gd name="connsiteX3" fmla="*/ 31647 w 12045155"/>
                <a:gd name="connsiteY3" fmla="*/ 700450 h 1129823"/>
                <a:gd name="connsiteX4" fmla="*/ 43864 w 12045155"/>
                <a:gd name="connsiteY4" fmla="*/ 777266 h 1129823"/>
                <a:gd name="connsiteX5" fmla="*/ 80207 w 12045155"/>
                <a:gd name="connsiteY5" fmla="*/ 937416 h 1129823"/>
                <a:gd name="connsiteX6" fmla="*/ 937008 w 12045155"/>
                <a:gd name="connsiteY6" fmla="*/ 844973 h 1129823"/>
                <a:gd name="connsiteX7" fmla="*/ 1631867 w 12045155"/>
                <a:gd name="connsiteY7" fmla="*/ 878961 h 1129823"/>
                <a:gd name="connsiteX8" fmla="*/ 2087877 w 12045155"/>
                <a:gd name="connsiteY8" fmla="*/ 819473 h 1129823"/>
                <a:gd name="connsiteX9" fmla="*/ 2565599 w 12045155"/>
                <a:gd name="connsiteY9" fmla="*/ 819473 h 1129823"/>
                <a:gd name="connsiteX10" fmla="*/ 3336468 w 12045155"/>
                <a:gd name="connsiteY10" fmla="*/ 861967 h 1129823"/>
                <a:gd name="connsiteX11" fmla="*/ 4215904 w 12045155"/>
                <a:gd name="connsiteY11" fmla="*/ 844973 h 1129823"/>
                <a:gd name="connsiteX12" fmla="*/ 4845622 w 12045155"/>
                <a:gd name="connsiteY12" fmla="*/ 853479 h 1129823"/>
                <a:gd name="connsiteX13" fmla="*/ 5681632 w 12045155"/>
                <a:gd name="connsiteY13" fmla="*/ 853479 h 1129823"/>
                <a:gd name="connsiteX14" fmla="*/ 6745645 w 12045155"/>
                <a:gd name="connsiteY14" fmla="*/ 878979 h 1129823"/>
                <a:gd name="connsiteX15" fmla="*/ 7494800 w 12045155"/>
                <a:gd name="connsiteY15" fmla="*/ 870473 h 1129823"/>
                <a:gd name="connsiteX16" fmla="*/ 8026795 w 12045155"/>
                <a:gd name="connsiteY16" fmla="*/ 861967 h 1129823"/>
                <a:gd name="connsiteX17" fmla="*/ 8504518 w 12045155"/>
                <a:gd name="connsiteY17" fmla="*/ 827979 h 1129823"/>
                <a:gd name="connsiteX18" fmla="*/ 11481826 w 12045155"/>
                <a:gd name="connsiteY18" fmla="*/ 1127088 h 1129823"/>
                <a:gd name="connsiteX19" fmla="*/ 12045155 w 12045155"/>
                <a:gd name="connsiteY19" fmla="*/ 699393 h 1129823"/>
                <a:gd name="connsiteX20" fmla="*/ 12045155 w 12045155"/>
                <a:gd name="connsiteY20" fmla="*/ 261011 h 1129823"/>
                <a:gd name="connsiteX21" fmla="*/ 8450223 w 12045155"/>
                <a:gd name="connsiteY21" fmla="*/ 156695 h 1129823"/>
                <a:gd name="connsiteX22" fmla="*/ 7635927 w 12045155"/>
                <a:gd name="connsiteY22" fmla="*/ 105714 h 1129823"/>
                <a:gd name="connsiteX23" fmla="*/ 7049636 w 12045155"/>
                <a:gd name="connsiteY23" fmla="*/ 199189 h 1129823"/>
                <a:gd name="connsiteX24" fmla="*/ 6342549 w 12045155"/>
                <a:gd name="connsiteY24" fmla="*/ 146630 h 1129823"/>
                <a:gd name="connsiteX25" fmla="*/ 5902209 w 12045155"/>
                <a:gd name="connsiteY25" fmla="*/ 249658 h 1129823"/>
                <a:gd name="connsiteX26" fmla="*/ 5182195 w 12045155"/>
                <a:gd name="connsiteY26" fmla="*/ 292664 h 1129823"/>
                <a:gd name="connsiteX27" fmla="*/ 3822487 w 12045155"/>
                <a:gd name="connsiteY27" fmla="*/ 90799 h 1129823"/>
                <a:gd name="connsiteX28" fmla="*/ 2370177 w 12045155"/>
                <a:gd name="connsiteY28" fmla="*/ 156695 h 1129823"/>
                <a:gd name="connsiteX29" fmla="*/ 578745 w 12045155"/>
                <a:gd name="connsiteY29" fmla="*/ 148189 h 1129823"/>
                <a:gd name="connsiteX30" fmla="*/ 38923 w 12045155"/>
                <a:gd name="connsiteY30" fmla="*/ 157240 h 1129823"/>
                <a:gd name="connsiteX0" fmla="*/ 38923 w 12045155"/>
                <a:gd name="connsiteY0" fmla="*/ 157240 h 1784983"/>
                <a:gd name="connsiteX1" fmla="*/ 4765 w 12045155"/>
                <a:gd name="connsiteY1" fmla="*/ 229969 h 1784983"/>
                <a:gd name="connsiteX2" fmla="*/ 16985 w 12045155"/>
                <a:gd name="connsiteY2" fmla="*/ 441204 h 1784983"/>
                <a:gd name="connsiteX3" fmla="*/ 31647 w 12045155"/>
                <a:gd name="connsiteY3" fmla="*/ 700450 h 1784983"/>
                <a:gd name="connsiteX4" fmla="*/ 43864 w 12045155"/>
                <a:gd name="connsiteY4" fmla="*/ 777266 h 1784983"/>
                <a:gd name="connsiteX5" fmla="*/ 80207 w 12045155"/>
                <a:gd name="connsiteY5" fmla="*/ 937416 h 1784983"/>
                <a:gd name="connsiteX6" fmla="*/ 937008 w 12045155"/>
                <a:gd name="connsiteY6" fmla="*/ 844973 h 1784983"/>
                <a:gd name="connsiteX7" fmla="*/ 1631867 w 12045155"/>
                <a:gd name="connsiteY7" fmla="*/ 878961 h 1784983"/>
                <a:gd name="connsiteX8" fmla="*/ 2087877 w 12045155"/>
                <a:gd name="connsiteY8" fmla="*/ 819473 h 1784983"/>
                <a:gd name="connsiteX9" fmla="*/ 2565599 w 12045155"/>
                <a:gd name="connsiteY9" fmla="*/ 819473 h 1784983"/>
                <a:gd name="connsiteX10" fmla="*/ 3336468 w 12045155"/>
                <a:gd name="connsiteY10" fmla="*/ 861967 h 1784983"/>
                <a:gd name="connsiteX11" fmla="*/ 4215904 w 12045155"/>
                <a:gd name="connsiteY11" fmla="*/ 844973 h 1784983"/>
                <a:gd name="connsiteX12" fmla="*/ 4845622 w 12045155"/>
                <a:gd name="connsiteY12" fmla="*/ 853479 h 1784983"/>
                <a:gd name="connsiteX13" fmla="*/ 5681632 w 12045155"/>
                <a:gd name="connsiteY13" fmla="*/ 853479 h 1784983"/>
                <a:gd name="connsiteX14" fmla="*/ 6745645 w 12045155"/>
                <a:gd name="connsiteY14" fmla="*/ 878979 h 1784983"/>
                <a:gd name="connsiteX15" fmla="*/ 7494800 w 12045155"/>
                <a:gd name="connsiteY15" fmla="*/ 870473 h 1784983"/>
                <a:gd name="connsiteX16" fmla="*/ 8026795 w 12045155"/>
                <a:gd name="connsiteY16" fmla="*/ 861967 h 1784983"/>
                <a:gd name="connsiteX17" fmla="*/ 8504518 w 12045155"/>
                <a:gd name="connsiteY17" fmla="*/ 827979 h 1784983"/>
                <a:gd name="connsiteX18" fmla="*/ 10922986 w 12045155"/>
                <a:gd name="connsiteY18" fmla="*/ 1782194 h 1784983"/>
                <a:gd name="connsiteX19" fmla="*/ 11481826 w 12045155"/>
                <a:gd name="connsiteY19" fmla="*/ 1127088 h 1784983"/>
                <a:gd name="connsiteX20" fmla="*/ 12045155 w 12045155"/>
                <a:gd name="connsiteY20" fmla="*/ 699393 h 1784983"/>
                <a:gd name="connsiteX21" fmla="*/ 12045155 w 12045155"/>
                <a:gd name="connsiteY21" fmla="*/ 261011 h 1784983"/>
                <a:gd name="connsiteX22" fmla="*/ 8450223 w 12045155"/>
                <a:gd name="connsiteY22" fmla="*/ 156695 h 1784983"/>
                <a:gd name="connsiteX23" fmla="*/ 7635927 w 12045155"/>
                <a:gd name="connsiteY23" fmla="*/ 105714 h 1784983"/>
                <a:gd name="connsiteX24" fmla="*/ 7049636 w 12045155"/>
                <a:gd name="connsiteY24" fmla="*/ 199189 h 1784983"/>
                <a:gd name="connsiteX25" fmla="*/ 6342549 w 12045155"/>
                <a:gd name="connsiteY25" fmla="*/ 146630 h 1784983"/>
                <a:gd name="connsiteX26" fmla="*/ 5902209 w 12045155"/>
                <a:gd name="connsiteY26" fmla="*/ 249658 h 1784983"/>
                <a:gd name="connsiteX27" fmla="*/ 5182195 w 12045155"/>
                <a:gd name="connsiteY27" fmla="*/ 292664 h 1784983"/>
                <a:gd name="connsiteX28" fmla="*/ 3822487 w 12045155"/>
                <a:gd name="connsiteY28" fmla="*/ 90799 h 1784983"/>
                <a:gd name="connsiteX29" fmla="*/ 2370177 w 12045155"/>
                <a:gd name="connsiteY29" fmla="*/ 156695 h 1784983"/>
                <a:gd name="connsiteX30" fmla="*/ 578745 w 12045155"/>
                <a:gd name="connsiteY30" fmla="*/ 148189 h 1784983"/>
                <a:gd name="connsiteX31" fmla="*/ 38923 w 12045155"/>
                <a:gd name="connsiteY31" fmla="*/ 157240 h 1784983"/>
                <a:gd name="connsiteX0" fmla="*/ 38923 w 12045155"/>
                <a:gd name="connsiteY0" fmla="*/ 157240 h 1848237"/>
                <a:gd name="connsiteX1" fmla="*/ 4765 w 12045155"/>
                <a:gd name="connsiteY1" fmla="*/ 229969 h 1848237"/>
                <a:gd name="connsiteX2" fmla="*/ 16985 w 12045155"/>
                <a:gd name="connsiteY2" fmla="*/ 441204 h 1848237"/>
                <a:gd name="connsiteX3" fmla="*/ 31647 w 12045155"/>
                <a:gd name="connsiteY3" fmla="*/ 700450 h 1848237"/>
                <a:gd name="connsiteX4" fmla="*/ 43864 w 12045155"/>
                <a:gd name="connsiteY4" fmla="*/ 777266 h 1848237"/>
                <a:gd name="connsiteX5" fmla="*/ 80207 w 12045155"/>
                <a:gd name="connsiteY5" fmla="*/ 937416 h 1848237"/>
                <a:gd name="connsiteX6" fmla="*/ 937008 w 12045155"/>
                <a:gd name="connsiteY6" fmla="*/ 844973 h 1848237"/>
                <a:gd name="connsiteX7" fmla="*/ 1631867 w 12045155"/>
                <a:gd name="connsiteY7" fmla="*/ 878961 h 1848237"/>
                <a:gd name="connsiteX8" fmla="*/ 2087877 w 12045155"/>
                <a:gd name="connsiteY8" fmla="*/ 819473 h 1848237"/>
                <a:gd name="connsiteX9" fmla="*/ 2565599 w 12045155"/>
                <a:gd name="connsiteY9" fmla="*/ 819473 h 1848237"/>
                <a:gd name="connsiteX10" fmla="*/ 3336468 w 12045155"/>
                <a:gd name="connsiteY10" fmla="*/ 861967 h 1848237"/>
                <a:gd name="connsiteX11" fmla="*/ 4215904 w 12045155"/>
                <a:gd name="connsiteY11" fmla="*/ 844973 h 1848237"/>
                <a:gd name="connsiteX12" fmla="*/ 4845622 w 12045155"/>
                <a:gd name="connsiteY12" fmla="*/ 853479 h 1848237"/>
                <a:gd name="connsiteX13" fmla="*/ 5681632 w 12045155"/>
                <a:gd name="connsiteY13" fmla="*/ 853479 h 1848237"/>
                <a:gd name="connsiteX14" fmla="*/ 6745645 w 12045155"/>
                <a:gd name="connsiteY14" fmla="*/ 878979 h 1848237"/>
                <a:gd name="connsiteX15" fmla="*/ 7494800 w 12045155"/>
                <a:gd name="connsiteY15" fmla="*/ 870473 h 1848237"/>
                <a:gd name="connsiteX16" fmla="*/ 8026795 w 12045155"/>
                <a:gd name="connsiteY16" fmla="*/ 861967 h 1848237"/>
                <a:gd name="connsiteX17" fmla="*/ 8504518 w 12045155"/>
                <a:gd name="connsiteY17" fmla="*/ 827979 h 1848237"/>
                <a:gd name="connsiteX18" fmla="*/ 10922986 w 12045155"/>
                <a:gd name="connsiteY18" fmla="*/ 1782194 h 1848237"/>
                <a:gd name="connsiteX19" fmla="*/ 11481826 w 12045155"/>
                <a:gd name="connsiteY19" fmla="*/ 1127088 h 1848237"/>
                <a:gd name="connsiteX20" fmla="*/ 12045155 w 12045155"/>
                <a:gd name="connsiteY20" fmla="*/ 699393 h 1848237"/>
                <a:gd name="connsiteX21" fmla="*/ 12045155 w 12045155"/>
                <a:gd name="connsiteY21" fmla="*/ 261011 h 1848237"/>
                <a:gd name="connsiteX22" fmla="*/ 8450223 w 12045155"/>
                <a:gd name="connsiteY22" fmla="*/ 156695 h 1848237"/>
                <a:gd name="connsiteX23" fmla="*/ 7635927 w 12045155"/>
                <a:gd name="connsiteY23" fmla="*/ 105714 h 1848237"/>
                <a:gd name="connsiteX24" fmla="*/ 7049636 w 12045155"/>
                <a:gd name="connsiteY24" fmla="*/ 199189 h 1848237"/>
                <a:gd name="connsiteX25" fmla="*/ 6342549 w 12045155"/>
                <a:gd name="connsiteY25" fmla="*/ 146630 h 1848237"/>
                <a:gd name="connsiteX26" fmla="*/ 5902209 w 12045155"/>
                <a:gd name="connsiteY26" fmla="*/ 249658 h 1848237"/>
                <a:gd name="connsiteX27" fmla="*/ 5182195 w 12045155"/>
                <a:gd name="connsiteY27" fmla="*/ 292664 h 1848237"/>
                <a:gd name="connsiteX28" fmla="*/ 3822487 w 12045155"/>
                <a:gd name="connsiteY28" fmla="*/ 90799 h 1848237"/>
                <a:gd name="connsiteX29" fmla="*/ 2370177 w 12045155"/>
                <a:gd name="connsiteY29" fmla="*/ 156695 h 1848237"/>
                <a:gd name="connsiteX30" fmla="*/ 578745 w 12045155"/>
                <a:gd name="connsiteY30" fmla="*/ 148189 h 1848237"/>
                <a:gd name="connsiteX31" fmla="*/ 38923 w 12045155"/>
                <a:gd name="connsiteY31" fmla="*/ 157240 h 1848237"/>
                <a:gd name="connsiteX0" fmla="*/ 38923 w 12045155"/>
                <a:gd name="connsiteY0" fmla="*/ 157240 h 2147863"/>
                <a:gd name="connsiteX1" fmla="*/ 4765 w 12045155"/>
                <a:gd name="connsiteY1" fmla="*/ 229969 h 2147863"/>
                <a:gd name="connsiteX2" fmla="*/ 16985 w 12045155"/>
                <a:gd name="connsiteY2" fmla="*/ 441204 h 2147863"/>
                <a:gd name="connsiteX3" fmla="*/ 31647 w 12045155"/>
                <a:gd name="connsiteY3" fmla="*/ 700450 h 2147863"/>
                <a:gd name="connsiteX4" fmla="*/ 43864 w 12045155"/>
                <a:gd name="connsiteY4" fmla="*/ 777266 h 2147863"/>
                <a:gd name="connsiteX5" fmla="*/ 80207 w 12045155"/>
                <a:gd name="connsiteY5" fmla="*/ 937416 h 2147863"/>
                <a:gd name="connsiteX6" fmla="*/ 937008 w 12045155"/>
                <a:gd name="connsiteY6" fmla="*/ 844973 h 2147863"/>
                <a:gd name="connsiteX7" fmla="*/ 1631867 w 12045155"/>
                <a:gd name="connsiteY7" fmla="*/ 878961 h 2147863"/>
                <a:gd name="connsiteX8" fmla="*/ 2087877 w 12045155"/>
                <a:gd name="connsiteY8" fmla="*/ 819473 h 2147863"/>
                <a:gd name="connsiteX9" fmla="*/ 2565599 w 12045155"/>
                <a:gd name="connsiteY9" fmla="*/ 819473 h 2147863"/>
                <a:gd name="connsiteX10" fmla="*/ 3336468 w 12045155"/>
                <a:gd name="connsiteY10" fmla="*/ 861967 h 2147863"/>
                <a:gd name="connsiteX11" fmla="*/ 4215904 w 12045155"/>
                <a:gd name="connsiteY11" fmla="*/ 844973 h 2147863"/>
                <a:gd name="connsiteX12" fmla="*/ 4845622 w 12045155"/>
                <a:gd name="connsiteY12" fmla="*/ 853479 h 2147863"/>
                <a:gd name="connsiteX13" fmla="*/ 5681632 w 12045155"/>
                <a:gd name="connsiteY13" fmla="*/ 853479 h 2147863"/>
                <a:gd name="connsiteX14" fmla="*/ 6745645 w 12045155"/>
                <a:gd name="connsiteY14" fmla="*/ 878979 h 2147863"/>
                <a:gd name="connsiteX15" fmla="*/ 7494800 w 12045155"/>
                <a:gd name="connsiteY15" fmla="*/ 870473 h 2147863"/>
                <a:gd name="connsiteX16" fmla="*/ 8026795 w 12045155"/>
                <a:gd name="connsiteY16" fmla="*/ 861967 h 2147863"/>
                <a:gd name="connsiteX17" fmla="*/ 8504518 w 12045155"/>
                <a:gd name="connsiteY17" fmla="*/ 827979 h 2147863"/>
                <a:gd name="connsiteX18" fmla="*/ 10177867 w 12045155"/>
                <a:gd name="connsiteY18" fmla="*/ 2109744 h 2147863"/>
                <a:gd name="connsiteX19" fmla="*/ 10922986 w 12045155"/>
                <a:gd name="connsiteY19" fmla="*/ 1782194 h 2147863"/>
                <a:gd name="connsiteX20" fmla="*/ 11481826 w 12045155"/>
                <a:gd name="connsiteY20" fmla="*/ 1127088 h 2147863"/>
                <a:gd name="connsiteX21" fmla="*/ 12045155 w 12045155"/>
                <a:gd name="connsiteY21" fmla="*/ 699393 h 2147863"/>
                <a:gd name="connsiteX22" fmla="*/ 12045155 w 12045155"/>
                <a:gd name="connsiteY22" fmla="*/ 261011 h 2147863"/>
                <a:gd name="connsiteX23" fmla="*/ 8450223 w 12045155"/>
                <a:gd name="connsiteY23" fmla="*/ 156695 h 2147863"/>
                <a:gd name="connsiteX24" fmla="*/ 7635927 w 12045155"/>
                <a:gd name="connsiteY24" fmla="*/ 105714 h 2147863"/>
                <a:gd name="connsiteX25" fmla="*/ 7049636 w 12045155"/>
                <a:gd name="connsiteY25" fmla="*/ 199189 h 2147863"/>
                <a:gd name="connsiteX26" fmla="*/ 6342549 w 12045155"/>
                <a:gd name="connsiteY26" fmla="*/ 146630 h 2147863"/>
                <a:gd name="connsiteX27" fmla="*/ 5902209 w 12045155"/>
                <a:gd name="connsiteY27" fmla="*/ 249658 h 2147863"/>
                <a:gd name="connsiteX28" fmla="*/ 5182195 w 12045155"/>
                <a:gd name="connsiteY28" fmla="*/ 292664 h 2147863"/>
                <a:gd name="connsiteX29" fmla="*/ 3822487 w 12045155"/>
                <a:gd name="connsiteY29" fmla="*/ 90799 h 2147863"/>
                <a:gd name="connsiteX30" fmla="*/ 2370177 w 12045155"/>
                <a:gd name="connsiteY30" fmla="*/ 156695 h 2147863"/>
                <a:gd name="connsiteX31" fmla="*/ 578745 w 12045155"/>
                <a:gd name="connsiteY31" fmla="*/ 148189 h 2147863"/>
                <a:gd name="connsiteX32" fmla="*/ 38923 w 12045155"/>
                <a:gd name="connsiteY32" fmla="*/ 157240 h 2147863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8450223 w 12045155"/>
                <a:gd name="connsiteY24" fmla="*/ 156695 h 2112232"/>
                <a:gd name="connsiteX25" fmla="*/ 7635927 w 12045155"/>
                <a:gd name="connsiteY25" fmla="*/ 105714 h 2112232"/>
                <a:gd name="connsiteX26" fmla="*/ 7049636 w 12045155"/>
                <a:gd name="connsiteY26" fmla="*/ 199189 h 2112232"/>
                <a:gd name="connsiteX27" fmla="*/ 6342549 w 12045155"/>
                <a:gd name="connsiteY27" fmla="*/ 146630 h 2112232"/>
                <a:gd name="connsiteX28" fmla="*/ 5902209 w 12045155"/>
                <a:gd name="connsiteY28" fmla="*/ 249658 h 2112232"/>
                <a:gd name="connsiteX29" fmla="*/ 5182195 w 12045155"/>
                <a:gd name="connsiteY29" fmla="*/ 292664 h 2112232"/>
                <a:gd name="connsiteX30" fmla="*/ 3822487 w 12045155"/>
                <a:gd name="connsiteY30" fmla="*/ 90799 h 2112232"/>
                <a:gd name="connsiteX31" fmla="*/ 2370177 w 12045155"/>
                <a:gd name="connsiteY31" fmla="*/ 156695 h 2112232"/>
                <a:gd name="connsiteX32" fmla="*/ 578745 w 12045155"/>
                <a:gd name="connsiteY32" fmla="*/ 148189 h 2112232"/>
                <a:gd name="connsiteX33" fmla="*/ 38923 w 12045155"/>
                <a:gd name="connsiteY33" fmla="*/ 157240 h 2112232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11438839 w 12045155"/>
                <a:gd name="connsiteY24" fmla="*/ 435586 h 2112232"/>
                <a:gd name="connsiteX25" fmla="*/ 8450223 w 12045155"/>
                <a:gd name="connsiteY25" fmla="*/ 156695 h 2112232"/>
                <a:gd name="connsiteX26" fmla="*/ 7635927 w 12045155"/>
                <a:gd name="connsiteY26" fmla="*/ 105714 h 2112232"/>
                <a:gd name="connsiteX27" fmla="*/ 7049636 w 12045155"/>
                <a:gd name="connsiteY27" fmla="*/ 199189 h 2112232"/>
                <a:gd name="connsiteX28" fmla="*/ 6342549 w 12045155"/>
                <a:gd name="connsiteY28" fmla="*/ 146630 h 2112232"/>
                <a:gd name="connsiteX29" fmla="*/ 5902209 w 12045155"/>
                <a:gd name="connsiteY29" fmla="*/ 249658 h 2112232"/>
                <a:gd name="connsiteX30" fmla="*/ 5182195 w 12045155"/>
                <a:gd name="connsiteY30" fmla="*/ 292664 h 2112232"/>
                <a:gd name="connsiteX31" fmla="*/ 3822487 w 12045155"/>
                <a:gd name="connsiteY31" fmla="*/ 90799 h 2112232"/>
                <a:gd name="connsiteX32" fmla="*/ 2370177 w 12045155"/>
                <a:gd name="connsiteY32" fmla="*/ 156695 h 2112232"/>
                <a:gd name="connsiteX33" fmla="*/ 578745 w 12045155"/>
                <a:gd name="connsiteY33" fmla="*/ 148189 h 2112232"/>
                <a:gd name="connsiteX34" fmla="*/ 38923 w 12045155"/>
                <a:gd name="connsiteY34" fmla="*/ 157240 h 2112232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11438839 w 12045155"/>
                <a:gd name="connsiteY24" fmla="*/ 435586 h 2112232"/>
                <a:gd name="connsiteX25" fmla="*/ 8450223 w 12045155"/>
                <a:gd name="connsiteY25" fmla="*/ 156695 h 2112232"/>
                <a:gd name="connsiteX26" fmla="*/ 7635927 w 12045155"/>
                <a:gd name="connsiteY26" fmla="*/ 105714 h 2112232"/>
                <a:gd name="connsiteX27" fmla="*/ 7049636 w 12045155"/>
                <a:gd name="connsiteY27" fmla="*/ 199189 h 2112232"/>
                <a:gd name="connsiteX28" fmla="*/ 6342549 w 12045155"/>
                <a:gd name="connsiteY28" fmla="*/ 146630 h 2112232"/>
                <a:gd name="connsiteX29" fmla="*/ 5902209 w 12045155"/>
                <a:gd name="connsiteY29" fmla="*/ 249658 h 2112232"/>
                <a:gd name="connsiteX30" fmla="*/ 5182195 w 12045155"/>
                <a:gd name="connsiteY30" fmla="*/ 292664 h 2112232"/>
                <a:gd name="connsiteX31" fmla="*/ 3822487 w 12045155"/>
                <a:gd name="connsiteY31" fmla="*/ 90799 h 2112232"/>
                <a:gd name="connsiteX32" fmla="*/ 2370177 w 12045155"/>
                <a:gd name="connsiteY32" fmla="*/ 156695 h 2112232"/>
                <a:gd name="connsiteX33" fmla="*/ 578745 w 12045155"/>
                <a:gd name="connsiteY33" fmla="*/ 148189 h 2112232"/>
                <a:gd name="connsiteX34" fmla="*/ 38923 w 12045155"/>
                <a:gd name="connsiteY34" fmla="*/ 157240 h 2112232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11438839 w 12045155"/>
                <a:gd name="connsiteY24" fmla="*/ 435586 h 2112232"/>
                <a:gd name="connsiteX25" fmla="*/ 9053022 w 12045155"/>
                <a:gd name="connsiteY25" fmla="*/ 581165 h 2112232"/>
                <a:gd name="connsiteX26" fmla="*/ 8450223 w 12045155"/>
                <a:gd name="connsiteY26" fmla="*/ 156695 h 2112232"/>
                <a:gd name="connsiteX27" fmla="*/ 7635927 w 12045155"/>
                <a:gd name="connsiteY27" fmla="*/ 105714 h 2112232"/>
                <a:gd name="connsiteX28" fmla="*/ 7049636 w 12045155"/>
                <a:gd name="connsiteY28" fmla="*/ 199189 h 2112232"/>
                <a:gd name="connsiteX29" fmla="*/ 6342549 w 12045155"/>
                <a:gd name="connsiteY29" fmla="*/ 146630 h 2112232"/>
                <a:gd name="connsiteX30" fmla="*/ 5902209 w 12045155"/>
                <a:gd name="connsiteY30" fmla="*/ 249658 h 2112232"/>
                <a:gd name="connsiteX31" fmla="*/ 5182195 w 12045155"/>
                <a:gd name="connsiteY31" fmla="*/ 292664 h 2112232"/>
                <a:gd name="connsiteX32" fmla="*/ 3822487 w 12045155"/>
                <a:gd name="connsiteY32" fmla="*/ 90799 h 2112232"/>
                <a:gd name="connsiteX33" fmla="*/ 2370177 w 12045155"/>
                <a:gd name="connsiteY33" fmla="*/ 156695 h 2112232"/>
                <a:gd name="connsiteX34" fmla="*/ 578745 w 12045155"/>
                <a:gd name="connsiteY34" fmla="*/ 148189 h 2112232"/>
                <a:gd name="connsiteX35" fmla="*/ 38923 w 12045155"/>
                <a:gd name="connsiteY35" fmla="*/ 157240 h 2112232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11438839 w 12045155"/>
                <a:gd name="connsiteY24" fmla="*/ 435586 h 2112232"/>
                <a:gd name="connsiteX25" fmla="*/ 9527677 w 12045155"/>
                <a:gd name="connsiteY25" fmla="*/ 1058846 h 2112232"/>
                <a:gd name="connsiteX26" fmla="*/ 9053022 w 12045155"/>
                <a:gd name="connsiteY26" fmla="*/ 581165 h 2112232"/>
                <a:gd name="connsiteX27" fmla="*/ 8450223 w 12045155"/>
                <a:gd name="connsiteY27" fmla="*/ 156695 h 2112232"/>
                <a:gd name="connsiteX28" fmla="*/ 7635927 w 12045155"/>
                <a:gd name="connsiteY28" fmla="*/ 105714 h 2112232"/>
                <a:gd name="connsiteX29" fmla="*/ 7049636 w 12045155"/>
                <a:gd name="connsiteY29" fmla="*/ 199189 h 2112232"/>
                <a:gd name="connsiteX30" fmla="*/ 6342549 w 12045155"/>
                <a:gd name="connsiteY30" fmla="*/ 146630 h 2112232"/>
                <a:gd name="connsiteX31" fmla="*/ 5902209 w 12045155"/>
                <a:gd name="connsiteY31" fmla="*/ 249658 h 2112232"/>
                <a:gd name="connsiteX32" fmla="*/ 5182195 w 12045155"/>
                <a:gd name="connsiteY32" fmla="*/ 292664 h 2112232"/>
                <a:gd name="connsiteX33" fmla="*/ 3822487 w 12045155"/>
                <a:gd name="connsiteY33" fmla="*/ 90799 h 2112232"/>
                <a:gd name="connsiteX34" fmla="*/ 2370177 w 12045155"/>
                <a:gd name="connsiteY34" fmla="*/ 156695 h 2112232"/>
                <a:gd name="connsiteX35" fmla="*/ 578745 w 12045155"/>
                <a:gd name="connsiteY35" fmla="*/ 148189 h 2112232"/>
                <a:gd name="connsiteX36" fmla="*/ 38923 w 12045155"/>
                <a:gd name="connsiteY36" fmla="*/ 157240 h 2112232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11438839 w 12045155"/>
                <a:gd name="connsiteY24" fmla="*/ 435586 h 2112232"/>
                <a:gd name="connsiteX25" fmla="*/ 11059114 w 12045155"/>
                <a:gd name="connsiteY25" fmla="*/ 1047471 h 2112232"/>
                <a:gd name="connsiteX26" fmla="*/ 9527677 w 12045155"/>
                <a:gd name="connsiteY26" fmla="*/ 1058846 h 2112232"/>
                <a:gd name="connsiteX27" fmla="*/ 9053022 w 12045155"/>
                <a:gd name="connsiteY27" fmla="*/ 581165 h 2112232"/>
                <a:gd name="connsiteX28" fmla="*/ 8450223 w 12045155"/>
                <a:gd name="connsiteY28" fmla="*/ 156695 h 2112232"/>
                <a:gd name="connsiteX29" fmla="*/ 7635927 w 12045155"/>
                <a:gd name="connsiteY29" fmla="*/ 105714 h 2112232"/>
                <a:gd name="connsiteX30" fmla="*/ 7049636 w 12045155"/>
                <a:gd name="connsiteY30" fmla="*/ 199189 h 2112232"/>
                <a:gd name="connsiteX31" fmla="*/ 6342549 w 12045155"/>
                <a:gd name="connsiteY31" fmla="*/ 146630 h 2112232"/>
                <a:gd name="connsiteX32" fmla="*/ 5902209 w 12045155"/>
                <a:gd name="connsiteY32" fmla="*/ 249658 h 2112232"/>
                <a:gd name="connsiteX33" fmla="*/ 5182195 w 12045155"/>
                <a:gd name="connsiteY33" fmla="*/ 292664 h 2112232"/>
                <a:gd name="connsiteX34" fmla="*/ 3822487 w 12045155"/>
                <a:gd name="connsiteY34" fmla="*/ 90799 h 2112232"/>
                <a:gd name="connsiteX35" fmla="*/ 2370177 w 12045155"/>
                <a:gd name="connsiteY35" fmla="*/ 156695 h 2112232"/>
                <a:gd name="connsiteX36" fmla="*/ 578745 w 12045155"/>
                <a:gd name="connsiteY36" fmla="*/ 148189 h 2112232"/>
                <a:gd name="connsiteX37" fmla="*/ 38923 w 12045155"/>
                <a:gd name="connsiteY37" fmla="*/ 157240 h 2112232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11438839 w 12045155"/>
                <a:gd name="connsiteY24" fmla="*/ 435586 h 2112232"/>
                <a:gd name="connsiteX25" fmla="*/ 11059114 w 12045155"/>
                <a:gd name="connsiteY25" fmla="*/ 1047471 h 2112232"/>
                <a:gd name="connsiteX26" fmla="*/ 10602369 w 12045155"/>
                <a:gd name="connsiteY26" fmla="*/ 1661632 h 2112232"/>
                <a:gd name="connsiteX27" fmla="*/ 9527677 w 12045155"/>
                <a:gd name="connsiteY27" fmla="*/ 1058846 h 2112232"/>
                <a:gd name="connsiteX28" fmla="*/ 9053022 w 12045155"/>
                <a:gd name="connsiteY28" fmla="*/ 581165 h 2112232"/>
                <a:gd name="connsiteX29" fmla="*/ 8450223 w 12045155"/>
                <a:gd name="connsiteY29" fmla="*/ 156695 h 2112232"/>
                <a:gd name="connsiteX30" fmla="*/ 7635927 w 12045155"/>
                <a:gd name="connsiteY30" fmla="*/ 105714 h 2112232"/>
                <a:gd name="connsiteX31" fmla="*/ 7049636 w 12045155"/>
                <a:gd name="connsiteY31" fmla="*/ 199189 h 2112232"/>
                <a:gd name="connsiteX32" fmla="*/ 6342549 w 12045155"/>
                <a:gd name="connsiteY32" fmla="*/ 146630 h 2112232"/>
                <a:gd name="connsiteX33" fmla="*/ 5902209 w 12045155"/>
                <a:gd name="connsiteY33" fmla="*/ 249658 h 2112232"/>
                <a:gd name="connsiteX34" fmla="*/ 5182195 w 12045155"/>
                <a:gd name="connsiteY34" fmla="*/ 292664 h 2112232"/>
                <a:gd name="connsiteX35" fmla="*/ 3822487 w 12045155"/>
                <a:gd name="connsiteY35" fmla="*/ 90799 h 2112232"/>
                <a:gd name="connsiteX36" fmla="*/ 2370177 w 12045155"/>
                <a:gd name="connsiteY36" fmla="*/ 156695 h 2112232"/>
                <a:gd name="connsiteX37" fmla="*/ 578745 w 12045155"/>
                <a:gd name="connsiteY37" fmla="*/ 148189 h 2112232"/>
                <a:gd name="connsiteX38" fmla="*/ 38923 w 12045155"/>
                <a:gd name="connsiteY38" fmla="*/ 157240 h 2112232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11438839 w 12045155"/>
                <a:gd name="connsiteY24" fmla="*/ 435586 h 2112232"/>
                <a:gd name="connsiteX25" fmla="*/ 11059114 w 12045155"/>
                <a:gd name="connsiteY25" fmla="*/ 1047471 h 2112232"/>
                <a:gd name="connsiteX26" fmla="*/ 10602369 w 12045155"/>
                <a:gd name="connsiteY26" fmla="*/ 1661632 h 2112232"/>
                <a:gd name="connsiteX27" fmla="*/ 9948599 w 12045155"/>
                <a:gd name="connsiteY27" fmla="*/ 1673007 h 2112232"/>
                <a:gd name="connsiteX28" fmla="*/ 9527677 w 12045155"/>
                <a:gd name="connsiteY28" fmla="*/ 1058846 h 2112232"/>
                <a:gd name="connsiteX29" fmla="*/ 9053022 w 12045155"/>
                <a:gd name="connsiteY29" fmla="*/ 581165 h 2112232"/>
                <a:gd name="connsiteX30" fmla="*/ 8450223 w 12045155"/>
                <a:gd name="connsiteY30" fmla="*/ 156695 h 2112232"/>
                <a:gd name="connsiteX31" fmla="*/ 7635927 w 12045155"/>
                <a:gd name="connsiteY31" fmla="*/ 105714 h 2112232"/>
                <a:gd name="connsiteX32" fmla="*/ 7049636 w 12045155"/>
                <a:gd name="connsiteY32" fmla="*/ 199189 h 2112232"/>
                <a:gd name="connsiteX33" fmla="*/ 6342549 w 12045155"/>
                <a:gd name="connsiteY33" fmla="*/ 146630 h 2112232"/>
                <a:gd name="connsiteX34" fmla="*/ 5902209 w 12045155"/>
                <a:gd name="connsiteY34" fmla="*/ 249658 h 2112232"/>
                <a:gd name="connsiteX35" fmla="*/ 5182195 w 12045155"/>
                <a:gd name="connsiteY35" fmla="*/ 292664 h 2112232"/>
                <a:gd name="connsiteX36" fmla="*/ 3822487 w 12045155"/>
                <a:gd name="connsiteY36" fmla="*/ 90799 h 2112232"/>
                <a:gd name="connsiteX37" fmla="*/ 2370177 w 12045155"/>
                <a:gd name="connsiteY37" fmla="*/ 156695 h 2112232"/>
                <a:gd name="connsiteX38" fmla="*/ 578745 w 12045155"/>
                <a:gd name="connsiteY38" fmla="*/ 148189 h 2112232"/>
                <a:gd name="connsiteX39" fmla="*/ 38923 w 12045155"/>
                <a:gd name="connsiteY39" fmla="*/ 157240 h 2112232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11438839 w 12045155"/>
                <a:gd name="connsiteY24" fmla="*/ 435586 h 2112232"/>
                <a:gd name="connsiteX25" fmla="*/ 11059114 w 12045155"/>
                <a:gd name="connsiteY25" fmla="*/ 1047471 h 2112232"/>
                <a:gd name="connsiteX26" fmla="*/ 10602369 w 12045155"/>
                <a:gd name="connsiteY26" fmla="*/ 1661632 h 2112232"/>
                <a:gd name="connsiteX27" fmla="*/ 10034574 w 12045155"/>
                <a:gd name="connsiteY27" fmla="*/ 1618415 h 2112232"/>
                <a:gd name="connsiteX28" fmla="*/ 9527677 w 12045155"/>
                <a:gd name="connsiteY28" fmla="*/ 1058846 h 2112232"/>
                <a:gd name="connsiteX29" fmla="*/ 9053022 w 12045155"/>
                <a:gd name="connsiteY29" fmla="*/ 581165 h 2112232"/>
                <a:gd name="connsiteX30" fmla="*/ 8450223 w 12045155"/>
                <a:gd name="connsiteY30" fmla="*/ 156695 h 2112232"/>
                <a:gd name="connsiteX31" fmla="*/ 7635927 w 12045155"/>
                <a:gd name="connsiteY31" fmla="*/ 105714 h 2112232"/>
                <a:gd name="connsiteX32" fmla="*/ 7049636 w 12045155"/>
                <a:gd name="connsiteY32" fmla="*/ 199189 h 2112232"/>
                <a:gd name="connsiteX33" fmla="*/ 6342549 w 12045155"/>
                <a:gd name="connsiteY33" fmla="*/ 146630 h 2112232"/>
                <a:gd name="connsiteX34" fmla="*/ 5902209 w 12045155"/>
                <a:gd name="connsiteY34" fmla="*/ 249658 h 2112232"/>
                <a:gd name="connsiteX35" fmla="*/ 5182195 w 12045155"/>
                <a:gd name="connsiteY35" fmla="*/ 292664 h 2112232"/>
                <a:gd name="connsiteX36" fmla="*/ 3822487 w 12045155"/>
                <a:gd name="connsiteY36" fmla="*/ 90799 h 2112232"/>
                <a:gd name="connsiteX37" fmla="*/ 2370177 w 12045155"/>
                <a:gd name="connsiteY37" fmla="*/ 156695 h 2112232"/>
                <a:gd name="connsiteX38" fmla="*/ 578745 w 12045155"/>
                <a:gd name="connsiteY38" fmla="*/ 148189 h 2112232"/>
                <a:gd name="connsiteX39" fmla="*/ 38923 w 12045155"/>
                <a:gd name="connsiteY39" fmla="*/ 157240 h 2112232"/>
                <a:gd name="connsiteX0" fmla="*/ 38923 w 12045155"/>
                <a:gd name="connsiteY0" fmla="*/ 157240 h 2159168"/>
                <a:gd name="connsiteX1" fmla="*/ 4765 w 12045155"/>
                <a:gd name="connsiteY1" fmla="*/ 229969 h 2159168"/>
                <a:gd name="connsiteX2" fmla="*/ 16985 w 12045155"/>
                <a:gd name="connsiteY2" fmla="*/ 441204 h 2159168"/>
                <a:gd name="connsiteX3" fmla="*/ 31647 w 12045155"/>
                <a:gd name="connsiteY3" fmla="*/ 700450 h 2159168"/>
                <a:gd name="connsiteX4" fmla="*/ 43864 w 12045155"/>
                <a:gd name="connsiteY4" fmla="*/ 777266 h 2159168"/>
                <a:gd name="connsiteX5" fmla="*/ 80207 w 12045155"/>
                <a:gd name="connsiteY5" fmla="*/ 937416 h 2159168"/>
                <a:gd name="connsiteX6" fmla="*/ 937008 w 12045155"/>
                <a:gd name="connsiteY6" fmla="*/ 844973 h 2159168"/>
                <a:gd name="connsiteX7" fmla="*/ 1631867 w 12045155"/>
                <a:gd name="connsiteY7" fmla="*/ 878961 h 2159168"/>
                <a:gd name="connsiteX8" fmla="*/ 2087877 w 12045155"/>
                <a:gd name="connsiteY8" fmla="*/ 819473 h 2159168"/>
                <a:gd name="connsiteX9" fmla="*/ 2565599 w 12045155"/>
                <a:gd name="connsiteY9" fmla="*/ 819473 h 2159168"/>
                <a:gd name="connsiteX10" fmla="*/ 3336468 w 12045155"/>
                <a:gd name="connsiteY10" fmla="*/ 861967 h 2159168"/>
                <a:gd name="connsiteX11" fmla="*/ 4215904 w 12045155"/>
                <a:gd name="connsiteY11" fmla="*/ 844973 h 2159168"/>
                <a:gd name="connsiteX12" fmla="*/ 4845622 w 12045155"/>
                <a:gd name="connsiteY12" fmla="*/ 853479 h 2159168"/>
                <a:gd name="connsiteX13" fmla="*/ 5681632 w 12045155"/>
                <a:gd name="connsiteY13" fmla="*/ 853479 h 2159168"/>
                <a:gd name="connsiteX14" fmla="*/ 6745645 w 12045155"/>
                <a:gd name="connsiteY14" fmla="*/ 878979 h 2159168"/>
                <a:gd name="connsiteX15" fmla="*/ 7494800 w 12045155"/>
                <a:gd name="connsiteY15" fmla="*/ 870473 h 2159168"/>
                <a:gd name="connsiteX16" fmla="*/ 8026795 w 12045155"/>
                <a:gd name="connsiteY16" fmla="*/ 861967 h 2159168"/>
                <a:gd name="connsiteX17" fmla="*/ 8504518 w 12045155"/>
                <a:gd name="connsiteY17" fmla="*/ 827979 h 2159168"/>
                <a:gd name="connsiteX18" fmla="*/ 9361101 w 12045155"/>
                <a:gd name="connsiteY18" fmla="*/ 2018757 h 2159168"/>
                <a:gd name="connsiteX19" fmla="*/ 10177867 w 12045155"/>
                <a:gd name="connsiteY19" fmla="*/ 2109744 h 2159168"/>
                <a:gd name="connsiteX20" fmla="*/ 10922986 w 12045155"/>
                <a:gd name="connsiteY20" fmla="*/ 1782194 h 2159168"/>
                <a:gd name="connsiteX21" fmla="*/ 11481826 w 12045155"/>
                <a:gd name="connsiteY21" fmla="*/ 1127088 h 2159168"/>
                <a:gd name="connsiteX22" fmla="*/ 12045155 w 12045155"/>
                <a:gd name="connsiteY22" fmla="*/ 699393 h 2159168"/>
                <a:gd name="connsiteX23" fmla="*/ 12045155 w 12045155"/>
                <a:gd name="connsiteY23" fmla="*/ 261011 h 2159168"/>
                <a:gd name="connsiteX24" fmla="*/ 11438839 w 12045155"/>
                <a:gd name="connsiteY24" fmla="*/ 435586 h 2159168"/>
                <a:gd name="connsiteX25" fmla="*/ 11059114 w 12045155"/>
                <a:gd name="connsiteY25" fmla="*/ 1047471 h 2159168"/>
                <a:gd name="connsiteX26" fmla="*/ 10602369 w 12045155"/>
                <a:gd name="connsiteY26" fmla="*/ 1661632 h 2159168"/>
                <a:gd name="connsiteX27" fmla="*/ 10034574 w 12045155"/>
                <a:gd name="connsiteY27" fmla="*/ 1618415 h 2159168"/>
                <a:gd name="connsiteX28" fmla="*/ 9527677 w 12045155"/>
                <a:gd name="connsiteY28" fmla="*/ 1058846 h 2159168"/>
                <a:gd name="connsiteX29" fmla="*/ 9053022 w 12045155"/>
                <a:gd name="connsiteY29" fmla="*/ 581165 h 2159168"/>
                <a:gd name="connsiteX30" fmla="*/ 8450223 w 12045155"/>
                <a:gd name="connsiteY30" fmla="*/ 156695 h 2159168"/>
                <a:gd name="connsiteX31" fmla="*/ 7635927 w 12045155"/>
                <a:gd name="connsiteY31" fmla="*/ 105714 h 2159168"/>
                <a:gd name="connsiteX32" fmla="*/ 7049636 w 12045155"/>
                <a:gd name="connsiteY32" fmla="*/ 199189 h 2159168"/>
                <a:gd name="connsiteX33" fmla="*/ 6342549 w 12045155"/>
                <a:gd name="connsiteY33" fmla="*/ 146630 h 2159168"/>
                <a:gd name="connsiteX34" fmla="*/ 5902209 w 12045155"/>
                <a:gd name="connsiteY34" fmla="*/ 249658 h 2159168"/>
                <a:gd name="connsiteX35" fmla="*/ 5182195 w 12045155"/>
                <a:gd name="connsiteY35" fmla="*/ 292664 h 2159168"/>
                <a:gd name="connsiteX36" fmla="*/ 3822487 w 12045155"/>
                <a:gd name="connsiteY36" fmla="*/ 90799 h 2159168"/>
                <a:gd name="connsiteX37" fmla="*/ 2370177 w 12045155"/>
                <a:gd name="connsiteY37" fmla="*/ 156695 h 2159168"/>
                <a:gd name="connsiteX38" fmla="*/ 578745 w 12045155"/>
                <a:gd name="connsiteY38" fmla="*/ 148189 h 2159168"/>
                <a:gd name="connsiteX39" fmla="*/ 38923 w 12045155"/>
                <a:gd name="connsiteY39" fmla="*/ 157240 h 2159168"/>
                <a:gd name="connsiteX0" fmla="*/ 38923 w 12045155"/>
                <a:gd name="connsiteY0" fmla="*/ 157240 h 2371492"/>
                <a:gd name="connsiteX1" fmla="*/ 4765 w 12045155"/>
                <a:gd name="connsiteY1" fmla="*/ 229969 h 2371492"/>
                <a:gd name="connsiteX2" fmla="*/ 16985 w 12045155"/>
                <a:gd name="connsiteY2" fmla="*/ 441204 h 2371492"/>
                <a:gd name="connsiteX3" fmla="*/ 31647 w 12045155"/>
                <a:gd name="connsiteY3" fmla="*/ 700450 h 2371492"/>
                <a:gd name="connsiteX4" fmla="*/ 43864 w 12045155"/>
                <a:gd name="connsiteY4" fmla="*/ 777266 h 2371492"/>
                <a:gd name="connsiteX5" fmla="*/ 80207 w 12045155"/>
                <a:gd name="connsiteY5" fmla="*/ 937416 h 2371492"/>
                <a:gd name="connsiteX6" fmla="*/ 937008 w 12045155"/>
                <a:gd name="connsiteY6" fmla="*/ 844973 h 2371492"/>
                <a:gd name="connsiteX7" fmla="*/ 1631867 w 12045155"/>
                <a:gd name="connsiteY7" fmla="*/ 878961 h 2371492"/>
                <a:gd name="connsiteX8" fmla="*/ 2087877 w 12045155"/>
                <a:gd name="connsiteY8" fmla="*/ 819473 h 2371492"/>
                <a:gd name="connsiteX9" fmla="*/ 2565599 w 12045155"/>
                <a:gd name="connsiteY9" fmla="*/ 819473 h 2371492"/>
                <a:gd name="connsiteX10" fmla="*/ 3336468 w 12045155"/>
                <a:gd name="connsiteY10" fmla="*/ 861967 h 2371492"/>
                <a:gd name="connsiteX11" fmla="*/ 4215904 w 12045155"/>
                <a:gd name="connsiteY11" fmla="*/ 844973 h 2371492"/>
                <a:gd name="connsiteX12" fmla="*/ 4845622 w 12045155"/>
                <a:gd name="connsiteY12" fmla="*/ 853479 h 2371492"/>
                <a:gd name="connsiteX13" fmla="*/ 5681632 w 12045155"/>
                <a:gd name="connsiteY13" fmla="*/ 853479 h 2371492"/>
                <a:gd name="connsiteX14" fmla="*/ 6745645 w 12045155"/>
                <a:gd name="connsiteY14" fmla="*/ 878979 h 2371492"/>
                <a:gd name="connsiteX15" fmla="*/ 7494800 w 12045155"/>
                <a:gd name="connsiteY15" fmla="*/ 870473 h 2371492"/>
                <a:gd name="connsiteX16" fmla="*/ 8026795 w 12045155"/>
                <a:gd name="connsiteY16" fmla="*/ 861967 h 2371492"/>
                <a:gd name="connsiteX17" fmla="*/ 8504518 w 12045155"/>
                <a:gd name="connsiteY17" fmla="*/ 827979 h 2371492"/>
                <a:gd name="connsiteX18" fmla="*/ 9361101 w 12045155"/>
                <a:gd name="connsiteY18" fmla="*/ 2018757 h 2371492"/>
                <a:gd name="connsiteX19" fmla="*/ 10249513 w 12045155"/>
                <a:gd name="connsiteY19" fmla="*/ 2364507 h 2371492"/>
                <a:gd name="connsiteX20" fmla="*/ 10922986 w 12045155"/>
                <a:gd name="connsiteY20" fmla="*/ 1782194 h 2371492"/>
                <a:gd name="connsiteX21" fmla="*/ 11481826 w 12045155"/>
                <a:gd name="connsiteY21" fmla="*/ 1127088 h 2371492"/>
                <a:gd name="connsiteX22" fmla="*/ 12045155 w 12045155"/>
                <a:gd name="connsiteY22" fmla="*/ 699393 h 2371492"/>
                <a:gd name="connsiteX23" fmla="*/ 12045155 w 12045155"/>
                <a:gd name="connsiteY23" fmla="*/ 261011 h 2371492"/>
                <a:gd name="connsiteX24" fmla="*/ 11438839 w 12045155"/>
                <a:gd name="connsiteY24" fmla="*/ 435586 h 2371492"/>
                <a:gd name="connsiteX25" fmla="*/ 11059114 w 12045155"/>
                <a:gd name="connsiteY25" fmla="*/ 1047471 h 2371492"/>
                <a:gd name="connsiteX26" fmla="*/ 10602369 w 12045155"/>
                <a:gd name="connsiteY26" fmla="*/ 1661632 h 2371492"/>
                <a:gd name="connsiteX27" fmla="*/ 10034574 w 12045155"/>
                <a:gd name="connsiteY27" fmla="*/ 1618415 h 2371492"/>
                <a:gd name="connsiteX28" fmla="*/ 9527677 w 12045155"/>
                <a:gd name="connsiteY28" fmla="*/ 1058846 h 2371492"/>
                <a:gd name="connsiteX29" fmla="*/ 9053022 w 12045155"/>
                <a:gd name="connsiteY29" fmla="*/ 581165 h 2371492"/>
                <a:gd name="connsiteX30" fmla="*/ 8450223 w 12045155"/>
                <a:gd name="connsiteY30" fmla="*/ 156695 h 2371492"/>
                <a:gd name="connsiteX31" fmla="*/ 7635927 w 12045155"/>
                <a:gd name="connsiteY31" fmla="*/ 105714 h 2371492"/>
                <a:gd name="connsiteX32" fmla="*/ 7049636 w 12045155"/>
                <a:gd name="connsiteY32" fmla="*/ 199189 h 2371492"/>
                <a:gd name="connsiteX33" fmla="*/ 6342549 w 12045155"/>
                <a:gd name="connsiteY33" fmla="*/ 146630 h 2371492"/>
                <a:gd name="connsiteX34" fmla="*/ 5902209 w 12045155"/>
                <a:gd name="connsiteY34" fmla="*/ 249658 h 2371492"/>
                <a:gd name="connsiteX35" fmla="*/ 5182195 w 12045155"/>
                <a:gd name="connsiteY35" fmla="*/ 292664 h 2371492"/>
                <a:gd name="connsiteX36" fmla="*/ 3822487 w 12045155"/>
                <a:gd name="connsiteY36" fmla="*/ 90799 h 2371492"/>
                <a:gd name="connsiteX37" fmla="*/ 2370177 w 12045155"/>
                <a:gd name="connsiteY37" fmla="*/ 156695 h 2371492"/>
                <a:gd name="connsiteX38" fmla="*/ 578745 w 12045155"/>
                <a:gd name="connsiteY38" fmla="*/ 148189 h 2371492"/>
                <a:gd name="connsiteX39" fmla="*/ 38923 w 12045155"/>
                <a:gd name="connsiteY39" fmla="*/ 157240 h 2371492"/>
                <a:gd name="connsiteX0" fmla="*/ 38923 w 12045155"/>
                <a:gd name="connsiteY0" fmla="*/ 157240 h 2365078"/>
                <a:gd name="connsiteX1" fmla="*/ 4765 w 12045155"/>
                <a:gd name="connsiteY1" fmla="*/ 229969 h 2365078"/>
                <a:gd name="connsiteX2" fmla="*/ 16985 w 12045155"/>
                <a:gd name="connsiteY2" fmla="*/ 441204 h 2365078"/>
                <a:gd name="connsiteX3" fmla="*/ 31647 w 12045155"/>
                <a:gd name="connsiteY3" fmla="*/ 700450 h 2365078"/>
                <a:gd name="connsiteX4" fmla="*/ 43864 w 12045155"/>
                <a:gd name="connsiteY4" fmla="*/ 777266 h 2365078"/>
                <a:gd name="connsiteX5" fmla="*/ 80207 w 12045155"/>
                <a:gd name="connsiteY5" fmla="*/ 937416 h 2365078"/>
                <a:gd name="connsiteX6" fmla="*/ 937008 w 12045155"/>
                <a:gd name="connsiteY6" fmla="*/ 844973 h 2365078"/>
                <a:gd name="connsiteX7" fmla="*/ 1631867 w 12045155"/>
                <a:gd name="connsiteY7" fmla="*/ 878961 h 2365078"/>
                <a:gd name="connsiteX8" fmla="*/ 2087877 w 12045155"/>
                <a:gd name="connsiteY8" fmla="*/ 819473 h 2365078"/>
                <a:gd name="connsiteX9" fmla="*/ 2565599 w 12045155"/>
                <a:gd name="connsiteY9" fmla="*/ 819473 h 2365078"/>
                <a:gd name="connsiteX10" fmla="*/ 3336468 w 12045155"/>
                <a:gd name="connsiteY10" fmla="*/ 861967 h 2365078"/>
                <a:gd name="connsiteX11" fmla="*/ 4215904 w 12045155"/>
                <a:gd name="connsiteY11" fmla="*/ 844973 h 2365078"/>
                <a:gd name="connsiteX12" fmla="*/ 4845622 w 12045155"/>
                <a:gd name="connsiteY12" fmla="*/ 853479 h 2365078"/>
                <a:gd name="connsiteX13" fmla="*/ 5681632 w 12045155"/>
                <a:gd name="connsiteY13" fmla="*/ 853479 h 2365078"/>
                <a:gd name="connsiteX14" fmla="*/ 6745645 w 12045155"/>
                <a:gd name="connsiteY14" fmla="*/ 878979 h 2365078"/>
                <a:gd name="connsiteX15" fmla="*/ 7494800 w 12045155"/>
                <a:gd name="connsiteY15" fmla="*/ 870473 h 2365078"/>
                <a:gd name="connsiteX16" fmla="*/ 8026795 w 12045155"/>
                <a:gd name="connsiteY16" fmla="*/ 861967 h 2365078"/>
                <a:gd name="connsiteX17" fmla="*/ 8504518 w 12045155"/>
                <a:gd name="connsiteY17" fmla="*/ 827979 h 2365078"/>
                <a:gd name="connsiteX18" fmla="*/ 9361101 w 12045155"/>
                <a:gd name="connsiteY18" fmla="*/ 2018757 h 2365078"/>
                <a:gd name="connsiteX19" fmla="*/ 10249513 w 12045155"/>
                <a:gd name="connsiteY19" fmla="*/ 2364507 h 2365078"/>
                <a:gd name="connsiteX20" fmla="*/ 11123596 w 12045155"/>
                <a:gd name="connsiteY20" fmla="*/ 1964167 h 2365078"/>
                <a:gd name="connsiteX21" fmla="*/ 11481826 w 12045155"/>
                <a:gd name="connsiteY21" fmla="*/ 1127088 h 2365078"/>
                <a:gd name="connsiteX22" fmla="*/ 12045155 w 12045155"/>
                <a:gd name="connsiteY22" fmla="*/ 699393 h 2365078"/>
                <a:gd name="connsiteX23" fmla="*/ 12045155 w 12045155"/>
                <a:gd name="connsiteY23" fmla="*/ 261011 h 2365078"/>
                <a:gd name="connsiteX24" fmla="*/ 11438839 w 12045155"/>
                <a:gd name="connsiteY24" fmla="*/ 435586 h 2365078"/>
                <a:gd name="connsiteX25" fmla="*/ 11059114 w 12045155"/>
                <a:gd name="connsiteY25" fmla="*/ 1047471 h 2365078"/>
                <a:gd name="connsiteX26" fmla="*/ 10602369 w 12045155"/>
                <a:gd name="connsiteY26" fmla="*/ 1661632 h 2365078"/>
                <a:gd name="connsiteX27" fmla="*/ 10034574 w 12045155"/>
                <a:gd name="connsiteY27" fmla="*/ 1618415 h 2365078"/>
                <a:gd name="connsiteX28" fmla="*/ 9527677 w 12045155"/>
                <a:gd name="connsiteY28" fmla="*/ 1058846 h 2365078"/>
                <a:gd name="connsiteX29" fmla="*/ 9053022 w 12045155"/>
                <a:gd name="connsiteY29" fmla="*/ 581165 h 2365078"/>
                <a:gd name="connsiteX30" fmla="*/ 8450223 w 12045155"/>
                <a:gd name="connsiteY30" fmla="*/ 156695 h 2365078"/>
                <a:gd name="connsiteX31" fmla="*/ 7635927 w 12045155"/>
                <a:gd name="connsiteY31" fmla="*/ 105714 h 2365078"/>
                <a:gd name="connsiteX32" fmla="*/ 7049636 w 12045155"/>
                <a:gd name="connsiteY32" fmla="*/ 199189 h 2365078"/>
                <a:gd name="connsiteX33" fmla="*/ 6342549 w 12045155"/>
                <a:gd name="connsiteY33" fmla="*/ 146630 h 2365078"/>
                <a:gd name="connsiteX34" fmla="*/ 5902209 w 12045155"/>
                <a:gd name="connsiteY34" fmla="*/ 249658 h 2365078"/>
                <a:gd name="connsiteX35" fmla="*/ 5182195 w 12045155"/>
                <a:gd name="connsiteY35" fmla="*/ 292664 h 2365078"/>
                <a:gd name="connsiteX36" fmla="*/ 3822487 w 12045155"/>
                <a:gd name="connsiteY36" fmla="*/ 90799 h 2365078"/>
                <a:gd name="connsiteX37" fmla="*/ 2370177 w 12045155"/>
                <a:gd name="connsiteY37" fmla="*/ 156695 h 2365078"/>
                <a:gd name="connsiteX38" fmla="*/ 578745 w 12045155"/>
                <a:gd name="connsiteY38" fmla="*/ 148189 h 2365078"/>
                <a:gd name="connsiteX39" fmla="*/ 38923 w 12045155"/>
                <a:gd name="connsiteY39" fmla="*/ 157240 h 2365078"/>
                <a:gd name="connsiteX0" fmla="*/ 38923 w 12045155"/>
                <a:gd name="connsiteY0" fmla="*/ 157240 h 2365078"/>
                <a:gd name="connsiteX1" fmla="*/ 4765 w 12045155"/>
                <a:gd name="connsiteY1" fmla="*/ 229969 h 2365078"/>
                <a:gd name="connsiteX2" fmla="*/ 16985 w 12045155"/>
                <a:gd name="connsiteY2" fmla="*/ 441204 h 2365078"/>
                <a:gd name="connsiteX3" fmla="*/ 31647 w 12045155"/>
                <a:gd name="connsiteY3" fmla="*/ 700450 h 2365078"/>
                <a:gd name="connsiteX4" fmla="*/ 43864 w 12045155"/>
                <a:gd name="connsiteY4" fmla="*/ 777266 h 2365078"/>
                <a:gd name="connsiteX5" fmla="*/ 80207 w 12045155"/>
                <a:gd name="connsiteY5" fmla="*/ 937416 h 2365078"/>
                <a:gd name="connsiteX6" fmla="*/ 937008 w 12045155"/>
                <a:gd name="connsiteY6" fmla="*/ 844973 h 2365078"/>
                <a:gd name="connsiteX7" fmla="*/ 1631867 w 12045155"/>
                <a:gd name="connsiteY7" fmla="*/ 878961 h 2365078"/>
                <a:gd name="connsiteX8" fmla="*/ 2087877 w 12045155"/>
                <a:gd name="connsiteY8" fmla="*/ 819473 h 2365078"/>
                <a:gd name="connsiteX9" fmla="*/ 2565599 w 12045155"/>
                <a:gd name="connsiteY9" fmla="*/ 819473 h 2365078"/>
                <a:gd name="connsiteX10" fmla="*/ 3336468 w 12045155"/>
                <a:gd name="connsiteY10" fmla="*/ 861967 h 2365078"/>
                <a:gd name="connsiteX11" fmla="*/ 4215904 w 12045155"/>
                <a:gd name="connsiteY11" fmla="*/ 844973 h 2365078"/>
                <a:gd name="connsiteX12" fmla="*/ 4845622 w 12045155"/>
                <a:gd name="connsiteY12" fmla="*/ 853479 h 2365078"/>
                <a:gd name="connsiteX13" fmla="*/ 5681632 w 12045155"/>
                <a:gd name="connsiteY13" fmla="*/ 853479 h 2365078"/>
                <a:gd name="connsiteX14" fmla="*/ 6745645 w 12045155"/>
                <a:gd name="connsiteY14" fmla="*/ 878979 h 2365078"/>
                <a:gd name="connsiteX15" fmla="*/ 7494800 w 12045155"/>
                <a:gd name="connsiteY15" fmla="*/ 870473 h 2365078"/>
                <a:gd name="connsiteX16" fmla="*/ 8026795 w 12045155"/>
                <a:gd name="connsiteY16" fmla="*/ 861967 h 2365078"/>
                <a:gd name="connsiteX17" fmla="*/ 8504518 w 12045155"/>
                <a:gd name="connsiteY17" fmla="*/ 827979 h 2365078"/>
                <a:gd name="connsiteX18" fmla="*/ 9361101 w 12045155"/>
                <a:gd name="connsiteY18" fmla="*/ 2018757 h 2365078"/>
                <a:gd name="connsiteX19" fmla="*/ 10249513 w 12045155"/>
                <a:gd name="connsiteY19" fmla="*/ 2364507 h 2365078"/>
                <a:gd name="connsiteX20" fmla="*/ 11123596 w 12045155"/>
                <a:gd name="connsiteY20" fmla="*/ 1964167 h 2365078"/>
                <a:gd name="connsiteX21" fmla="*/ 11797069 w 12045155"/>
                <a:gd name="connsiteY21" fmla="*/ 999707 h 2365078"/>
                <a:gd name="connsiteX22" fmla="*/ 12045155 w 12045155"/>
                <a:gd name="connsiteY22" fmla="*/ 699393 h 2365078"/>
                <a:gd name="connsiteX23" fmla="*/ 12045155 w 12045155"/>
                <a:gd name="connsiteY23" fmla="*/ 261011 h 2365078"/>
                <a:gd name="connsiteX24" fmla="*/ 11438839 w 12045155"/>
                <a:gd name="connsiteY24" fmla="*/ 435586 h 2365078"/>
                <a:gd name="connsiteX25" fmla="*/ 11059114 w 12045155"/>
                <a:gd name="connsiteY25" fmla="*/ 1047471 h 2365078"/>
                <a:gd name="connsiteX26" fmla="*/ 10602369 w 12045155"/>
                <a:gd name="connsiteY26" fmla="*/ 1661632 h 2365078"/>
                <a:gd name="connsiteX27" fmla="*/ 10034574 w 12045155"/>
                <a:gd name="connsiteY27" fmla="*/ 1618415 h 2365078"/>
                <a:gd name="connsiteX28" fmla="*/ 9527677 w 12045155"/>
                <a:gd name="connsiteY28" fmla="*/ 1058846 h 2365078"/>
                <a:gd name="connsiteX29" fmla="*/ 9053022 w 12045155"/>
                <a:gd name="connsiteY29" fmla="*/ 581165 h 2365078"/>
                <a:gd name="connsiteX30" fmla="*/ 8450223 w 12045155"/>
                <a:gd name="connsiteY30" fmla="*/ 156695 h 2365078"/>
                <a:gd name="connsiteX31" fmla="*/ 7635927 w 12045155"/>
                <a:gd name="connsiteY31" fmla="*/ 105714 h 2365078"/>
                <a:gd name="connsiteX32" fmla="*/ 7049636 w 12045155"/>
                <a:gd name="connsiteY32" fmla="*/ 199189 h 2365078"/>
                <a:gd name="connsiteX33" fmla="*/ 6342549 w 12045155"/>
                <a:gd name="connsiteY33" fmla="*/ 146630 h 2365078"/>
                <a:gd name="connsiteX34" fmla="*/ 5902209 w 12045155"/>
                <a:gd name="connsiteY34" fmla="*/ 249658 h 2365078"/>
                <a:gd name="connsiteX35" fmla="*/ 5182195 w 12045155"/>
                <a:gd name="connsiteY35" fmla="*/ 292664 h 2365078"/>
                <a:gd name="connsiteX36" fmla="*/ 3822487 w 12045155"/>
                <a:gd name="connsiteY36" fmla="*/ 90799 h 2365078"/>
                <a:gd name="connsiteX37" fmla="*/ 2370177 w 12045155"/>
                <a:gd name="connsiteY37" fmla="*/ 156695 h 2365078"/>
                <a:gd name="connsiteX38" fmla="*/ 578745 w 12045155"/>
                <a:gd name="connsiteY38" fmla="*/ 148189 h 2365078"/>
                <a:gd name="connsiteX39" fmla="*/ 38923 w 12045155"/>
                <a:gd name="connsiteY39" fmla="*/ 157240 h 2365078"/>
                <a:gd name="connsiteX0" fmla="*/ 38923 w 12045155"/>
                <a:gd name="connsiteY0" fmla="*/ 157240 h 2365078"/>
                <a:gd name="connsiteX1" fmla="*/ 4765 w 12045155"/>
                <a:gd name="connsiteY1" fmla="*/ 229969 h 2365078"/>
                <a:gd name="connsiteX2" fmla="*/ 16985 w 12045155"/>
                <a:gd name="connsiteY2" fmla="*/ 441204 h 2365078"/>
                <a:gd name="connsiteX3" fmla="*/ 31647 w 12045155"/>
                <a:gd name="connsiteY3" fmla="*/ 700450 h 2365078"/>
                <a:gd name="connsiteX4" fmla="*/ 43864 w 12045155"/>
                <a:gd name="connsiteY4" fmla="*/ 777266 h 2365078"/>
                <a:gd name="connsiteX5" fmla="*/ 80207 w 12045155"/>
                <a:gd name="connsiteY5" fmla="*/ 937416 h 2365078"/>
                <a:gd name="connsiteX6" fmla="*/ 937008 w 12045155"/>
                <a:gd name="connsiteY6" fmla="*/ 844973 h 2365078"/>
                <a:gd name="connsiteX7" fmla="*/ 1631867 w 12045155"/>
                <a:gd name="connsiteY7" fmla="*/ 878961 h 2365078"/>
                <a:gd name="connsiteX8" fmla="*/ 2087877 w 12045155"/>
                <a:gd name="connsiteY8" fmla="*/ 819473 h 2365078"/>
                <a:gd name="connsiteX9" fmla="*/ 2565599 w 12045155"/>
                <a:gd name="connsiteY9" fmla="*/ 819473 h 2365078"/>
                <a:gd name="connsiteX10" fmla="*/ 3336468 w 12045155"/>
                <a:gd name="connsiteY10" fmla="*/ 861967 h 2365078"/>
                <a:gd name="connsiteX11" fmla="*/ 4215904 w 12045155"/>
                <a:gd name="connsiteY11" fmla="*/ 844973 h 2365078"/>
                <a:gd name="connsiteX12" fmla="*/ 4845622 w 12045155"/>
                <a:gd name="connsiteY12" fmla="*/ 853479 h 2365078"/>
                <a:gd name="connsiteX13" fmla="*/ 5681632 w 12045155"/>
                <a:gd name="connsiteY13" fmla="*/ 853479 h 2365078"/>
                <a:gd name="connsiteX14" fmla="*/ 6745645 w 12045155"/>
                <a:gd name="connsiteY14" fmla="*/ 878979 h 2365078"/>
                <a:gd name="connsiteX15" fmla="*/ 7494800 w 12045155"/>
                <a:gd name="connsiteY15" fmla="*/ 870473 h 2365078"/>
                <a:gd name="connsiteX16" fmla="*/ 8026795 w 12045155"/>
                <a:gd name="connsiteY16" fmla="*/ 861967 h 2365078"/>
                <a:gd name="connsiteX17" fmla="*/ 8504518 w 12045155"/>
                <a:gd name="connsiteY17" fmla="*/ 827979 h 2365078"/>
                <a:gd name="connsiteX18" fmla="*/ 9361101 w 12045155"/>
                <a:gd name="connsiteY18" fmla="*/ 2018757 h 2365078"/>
                <a:gd name="connsiteX19" fmla="*/ 10249513 w 12045155"/>
                <a:gd name="connsiteY19" fmla="*/ 2364507 h 2365078"/>
                <a:gd name="connsiteX20" fmla="*/ 11123596 w 12045155"/>
                <a:gd name="connsiteY20" fmla="*/ 1964167 h 2365078"/>
                <a:gd name="connsiteX21" fmla="*/ 11266888 w 12045155"/>
                <a:gd name="connsiteY21" fmla="*/ 1582018 h 2365078"/>
                <a:gd name="connsiteX22" fmla="*/ 11797069 w 12045155"/>
                <a:gd name="connsiteY22" fmla="*/ 999707 h 2365078"/>
                <a:gd name="connsiteX23" fmla="*/ 12045155 w 12045155"/>
                <a:gd name="connsiteY23" fmla="*/ 699393 h 2365078"/>
                <a:gd name="connsiteX24" fmla="*/ 12045155 w 12045155"/>
                <a:gd name="connsiteY24" fmla="*/ 261011 h 2365078"/>
                <a:gd name="connsiteX25" fmla="*/ 11438839 w 12045155"/>
                <a:gd name="connsiteY25" fmla="*/ 435586 h 2365078"/>
                <a:gd name="connsiteX26" fmla="*/ 11059114 w 12045155"/>
                <a:gd name="connsiteY26" fmla="*/ 1047471 h 2365078"/>
                <a:gd name="connsiteX27" fmla="*/ 10602369 w 12045155"/>
                <a:gd name="connsiteY27" fmla="*/ 1661632 h 2365078"/>
                <a:gd name="connsiteX28" fmla="*/ 10034574 w 12045155"/>
                <a:gd name="connsiteY28" fmla="*/ 1618415 h 2365078"/>
                <a:gd name="connsiteX29" fmla="*/ 9527677 w 12045155"/>
                <a:gd name="connsiteY29" fmla="*/ 1058846 h 2365078"/>
                <a:gd name="connsiteX30" fmla="*/ 9053022 w 12045155"/>
                <a:gd name="connsiteY30" fmla="*/ 581165 h 2365078"/>
                <a:gd name="connsiteX31" fmla="*/ 8450223 w 12045155"/>
                <a:gd name="connsiteY31" fmla="*/ 156695 h 2365078"/>
                <a:gd name="connsiteX32" fmla="*/ 7635927 w 12045155"/>
                <a:gd name="connsiteY32" fmla="*/ 105714 h 2365078"/>
                <a:gd name="connsiteX33" fmla="*/ 7049636 w 12045155"/>
                <a:gd name="connsiteY33" fmla="*/ 199189 h 2365078"/>
                <a:gd name="connsiteX34" fmla="*/ 6342549 w 12045155"/>
                <a:gd name="connsiteY34" fmla="*/ 146630 h 2365078"/>
                <a:gd name="connsiteX35" fmla="*/ 5902209 w 12045155"/>
                <a:gd name="connsiteY35" fmla="*/ 249658 h 2365078"/>
                <a:gd name="connsiteX36" fmla="*/ 5182195 w 12045155"/>
                <a:gd name="connsiteY36" fmla="*/ 292664 h 2365078"/>
                <a:gd name="connsiteX37" fmla="*/ 3822487 w 12045155"/>
                <a:gd name="connsiteY37" fmla="*/ 90799 h 2365078"/>
                <a:gd name="connsiteX38" fmla="*/ 2370177 w 12045155"/>
                <a:gd name="connsiteY38" fmla="*/ 156695 h 2365078"/>
                <a:gd name="connsiteX39" fmla="*/ 578745 w 12045155"/>
                <a:gd name="connsiteY39" fmla="*/ 148189 h 2365078"/>
                <a:gd name="connsiteX40" fmla="*/ 38923 w 12045155"/>
                <a:gd name="connsiteY40" fmla="*/ 157240 h 2365078"/>
                <a:gd name="connsiteX0" fmla="*/ 38923 w 12045155"/>
                <a:gd name="connsiteY0" fmla="*/ 157240 h 2365078"/>
                <a:gd name="connsiteX1" fmla="*/ 4765 w 12045155"/>
                <a:gd name="connsiteY1" fmla="*/ 229969 h 2365078"/>
                <a:gd name="connsiteX2" fmla="*/ 16985 w 12045155"/>
                <a:gd name="connsiteY2" fmla="*/ 441204 h 2365078"/>
                <a:gd name="connsiteX3" fmla="*/ 31647 w 12045155"/>
                <a:gd name="connsiteY3" fmla="*/ 700450 h 2365078"/>
                <a:gd name="connsiteX4" fmla="*/ 43864 w 12045155"/>
                <a:gd name="connsiteY4" fmla="*/ 777266 h 2365078"/>
                <a:gd name="connsiteX5" fmla="*/ 80207 w 12045155"/>
                <a:gd name="connsiteY5" fmla="*/ 937416 h 2365078"/>
                <a:gd name="connsiteX6" fmla="*/ 937008 w 12045155"/>
                <a:gd name="connsiteY6" fmla="*/ 844973 h 2365078"/>
                <a:gd name="connsiteX7" fmla="*/ 1631867 w 12045155"/>
                <a:gd name="connsiteY7" fmla="*/ 878961 h 2365078"/>
                <a:gd name="connsiteX8" fmla="*/ 2087877 w 12045155"/>
                <a:gd name="connsiteY8" fmla="*/ 819473 h 2365078"/>
                <a:gd name="connsiteX9" fmla="*/ 2565599 w 12045155"/>
                <a:gd name="connsiteY9" fmla="*/ 819473 h 2365078"/>
                <a:gd name="connsiteX10" fmla="*/ 3336468 w 12045155"/>
                <a:gd name="connsiteY10" fmla="*/ 861967 h 2365078"/>
                <a:gd name="connsiteX11" fmla="*/ 4215904 w 12045155"/>
                <a:gd name="connsiteY11" fmla="*/ 844973 h 2365078"/>
                <a:gd name="connsiteX12" fmla="*/ 4845622 w 12045155"/>
                <a:gd name="connsiteY12" fmla="*/ 853479 h 2365078"/>
                <a:gd name="connsiteX13" fmla="*/ 5681632 w 12045155"/>
                <a:gd name="connsiteY13" fmla="*/ 853479 h 2365078"/>
                <a:gd name="connsiteX14" fmla="*/ 6745645 w 12045155"/>
                <a:gd name="connsiteY14" fmla="*/ 878979 h 2365078"/>
                <a:gd name="connsiteX15" fmla="*/ 7494800 w 12045155"/>
                <a:gd name="connsiteY15" fmla="*/ 870473 h 2365078"/>
                <a:gd name="connsiteX16" fmla="*/ 8026795 w 12045155"/>
                <a:gd name="connsiteY16" fmla="*/ 861967 h 2365078"/>
                <a:gd name="connsiteX17" fmla="*/ 8504518 w 12045155"/>
                <a:gd name="connsiteY17" fmla="*/ 827979 h 2365078"/>
                <a:gd name="connsiteX18" fmla="*/ 9361101 w 12045155"/>
                <a:gd name="connsiteY18" fmla="*/ 2018757 h 2365078"/>
                <a:gd name="connsiteX19" fmla="*/ 10249513 w 12045155"/>
                <a:gd name="connsiteY19" fmla="*/ 2364507 h 2365078"/>
                <a:gd name="connsiteX20" fmla="*/ 11123596 w 12045155"/>
                <a:gd name="connsiteY20" fmla="*/ 1964167 h 2365078"/>
                <a:gd name="connsiteX21" fmla="*/ 11309876 w 12045155"/>
                <a:gd name="connsiteY21" fmla="*/ 1618413 h 2365078"/>
                <a:gd name="connsiteX22" fmla="*/ 11797069 w 12045155"/>
                <a:gd name="connsiteY22" fmla="*/ 999707 h 2365078"/>
                <a:gd name="connsiteX23" fmla="*/ 12045155 w 12045155"/>
                <a:gd name="connsiteY23" fmla="*/ 699393 h 2365078"/>
                <a:gd name="connsiteX24" fmla="*/ 12045155 w 12045155"/>
                <a:gd name="connsiteY24" fmla="*/ 261011 h 2365078"/>
                <a:gd name="connsiteX25" fmla="*/ 11438839 w 12045155"/>
                <a:gd name="connsiteY25" fmla="*/ 435586 h 2365078"/>
                <a:gd name="connsiteX26" fmla="*/ 11059114 w 12045155"/>
                <a:gd name="connsiteY26" fmla="*/ 1047471 h 2365078"/>
                <a:gd name="connsiteX27" fmla="*/ 10602369 w 12045155"/>
                <a:gd name="connsiteY27" fmla="*/ 1661632 h 2365078"/>
                <a:gd name="connsiteX28" fmla="*/ 10034574 w 12045155"/>
                <a:gd name="connsiteY28" fmla="*/ 1618415 h 2365078"/>
                <a:gd name="connsiteX29" fmla="*/ 9527677 w 12045155"/>
                <a:gd name="connsiteY29" fmla="*/ 1058846 h 2365078"/>
                <a:gd name="connsiteX30" fmla="*/ 9053022 w 12045155"/>
                <a:gd name="connsiteY30" fmla="*/ 581165 h 2365078"/>
                <a:gd name="connsiteX31" fmla="*/ 8450223 w 12045155"/>
                <a:gd name="connsiteY31" fmla="*/ 156695 h 2365078"/>
                <a:gd name="connsiteX32" fmla="*/ 7635927 w 12045155"/>
                <a:gd name="connsiteY32" fmla="*/ 105714 h 2365078"/>
                <a:gd name="connsiteX33" fmla="*/ 7049636 w 12045155"/>
                <a:gd name="connsiteY33" fmla="*/ 199189 h 2365078"/>
                <a:gd name="connsiteX34" fmla="*/ 6342549 w 12045155"/>
                <a:gd name="connsiteY34" fmla="*/ 146630 h 2365078"/>
                <a:gd name="connsiteX35" fmla="*/ 5902209 w 12045155"/>
                <a:gd name="connsiteY35" fmla="*/ 249658 h 2365078"/>
                <a:gd name="connsiteX36" fmla="*/ 5182195 w 12045155"/>
                <a:gd name="connsiteY36" fmla="*/ 292664 h 2365078"/>
                <a:gd name="connsiteX37" fmla="*/ 3822487 w 12045155"/>
                <a:gd name="connsiteY37" fmla="*/ 90799 h 2365078"/>
                <a:gd name="connsiteX38" fmla="*/ 2370177 w 12045155"/>
                <a:gd name="connsiteY38" fmla="*/ 156695 h 2365078"/>
                <a:gd name="connsiteX39" fmla="*/ 578745 w 12045155"/>
                <a:gd name="connsiteY39" fmla="*/ 148189 h 2365078"/>
                <a:gd name="connsiteX40" fmla="*/ 38923 w 12045155"/>
                <a:gd name="connsiteY40" fmla="*/ 157240 h 2365078"/>
                <a:gd name="connsiteX0" fmla="*/ 38923 w 12045155"/>
                <a:gd name="connsiteY0" fmla="*/ 157240 h 2365066"/>
                <a:gd name="connsiteX1" fmla="*/ 4765 w 12045155"/>
                <a:gd name="connsiteY1" fmla="*/ 229969 h 2365066"/>
                <a:gd name="connsiteX2" fmla="*/ 16985 w 12045155"/>
                <a:gd name="connsiteY2" fmla="*/ 441204 h 2365066"/>
                <a:gd name="connsiteX3" fmla="*/ 31647 w 12045155"/>
                <a:gd name="connsiteY3" fmla="*/ 700450 h 2365066"/>
                <a:gd name="connsiteX4" fmla="*/ 43864 w 12045155"/>
                <a:gd name="connsiteY4" fmla="*/ 777266 h 2365066"/>
                <a:gd name="connsiteX5" fmla="*/ 80207 w 12045155"/>
                <a:gd name="connsiteY5" fmla="*/ 937416 h 2365066"/>
                <a:gd name="connsiteX6" fmla="*/ 937008 w 12045155"/>
                <a:gd name="connsiteY6" fmla="*/ 844973 h 2365066"/>
                <a:gd name="connsiteX7" fmla="*/ 1631867 w 12045155"/>
                <a:gd name="connsiteY7" fmla="*/ 878961 h 2365066"/>
                <a:gd name="connsiteX8" fmla="*/ 2087877 w 12045155"/>
                <a:gd name="connsiteY8" fmla="*/ 819473 h 2365066"/>
                <a:gd name="connsiteX9" fmla="*/ 2565599 w 12045155"/>
                <a:gd name="connsiteY9" fmla="*/ 819473 h 2365066"/>
                <a:gd name="connsiteX10" fmla="*/ 3336468 w 12045155"/>
                <a:gd name="connsiteY10" fmla="*/ 861967 h 2365066"/>
                <a:gd name="connsiteX11" fmla="*/ 4215904 w 12045155"/>
                <a:gd name="connsiteY11" fmla="*/ 844973 h 2365066"/>
                <a:gd name="connsiteX12" fmla="*/ 4845622 w 12045155"/>
                <a:gd name="connsiteY12" fmla="*/ 853479 h 2365066"/>
                <a:gd name="connsiteX13" fmla="*/ 5681632 w 12045155"/>
                <a:gd name="connsiteY13" fmla="*/ 853479 h 2365066"/>
                <a:gd name="connsiteX14" fmla="*/ 6745645 w 12045155"/>
                <a:gd name="connsiteY14" fmla="*/ 878979 h 2365066"/>
                <a:gd name="connsiteX15" fmla="*/ 7494800 w 12045155"/>
                <a:gd name="connsiteY15" fmla="*/ 870473 h 2365066"/>
                <a:gd name="connsiteX16" fmla="*/ 8026795 w 12045155"/>
                <a:gd name="connsiteY16" fmla="*/ 861967 h 2365066"/>
                <a:gd name="connsiteX17" fmla="*/ 8504518 w 12045155"/>
                <a:gd name="connsiteY17" fmla="*/ 827979 h 2365066"/>
                <a:gd name="connsiteX18" fmla="*/ 9361101 w 12045155"/>
                <a:gd name="connsiteY18" fmla="*/ 2018757 h 2365066"/>
                <a:gd name="connsiteX19" fmla="*/ 10249513 w 12045155"/>
                <a:gd name="connsiteY19" fmla="*/ 2364507 h 2365066"/>
                <a:gd name="connsiteX20" fmla="*/ 11195242 w 12045155"/>
                <a:gd name="connsiteY20" fmla="*/ 2091549 h 2365066"/>
                <a:gd name="connsiteX21" fmla="*/ 11309876 w 12045155"/>
                <a:gd name="connsiteY21" fmla="*/ 1618413 h 2365066"/>
                <a:gd name="connsiteX22" fmla="*/ 11797069 w 12045155"/>
                <a:gd name="connsiteY22" fmla="*/ 999707 h 2365066"/>
                <a:gd name="connsiteX23" fmla="*/ 12045155 w 12045155"/>
                <a:gd name="connsiteY23" fmla="*/ 699393 h 2365066"/>
                <a:gd name="connsiteX24" fmla="*/ 12045155 w 12045155"/>
                <a:gd name="connsiteY24" fmla="*/ 261011 h 2365066"/>
                <a:gd name="connsiteX25" fmla="*/ 11438839 w 12045155"/>
                <a:gd name="connsiteY25" fmla="*/ 435586 h 2365066"/>
                <a:gd name="connsiteX26" fmla="*/ 11059114 w 12045155"/>
                <a:gd name="connsiteY26" fmla="*/ 1047471 h 2365066"/>
                <a:gd name="connsiteX27" fmla="*/ 10602369 w 12045155"/>
                <a:gd name="connsiteY27" fmla="*/ 1661632 h 2365066"/>
                <a:gd name="connsiteX28" fmla="*/ 10034574 w 12045155"/>
                <a:gd name="connsiteY28" fmla="*/ 1618415 h 2365066"/>
                <a:gd name="connsiteX29" fmla="*/ 9527677 w 12045155"/>
                <a:gd name="connsiteY29" fmla="*/ 1058846 h 2365066"/>
                <a:gd name="connsiteX30" fmla="*/ 9053022 w 12045155"/>
                <a:gd name="connsiteY30" fmla="*/ 581165 h 2365066"/>
                <a:gd name="connsiteX31" fmla="*/ 8450223 w 12045155"/>
                <a:gd name="connsiteY31" fmla="*/ 156695 h 2365066"/>
                <a:gd name="connsiteX32" fmla="*/ 7635927 w 12045155"/>
                <a:gd name="connsiteY32" fmla="*/ 105714 h 2365066"/>
                <a:gd name="connsiteX33" fmla="*/ 7049636 w 12045155"/>
                <a:gd name="connsiteY33" fmla="*/ 199189 h 2365066"/>
                <a:gd name="connsiteX34" fmla="*/ 6342549 w 12045155"/>
                <a:gd name="connsiteY34" fmla="*/ 146630 h 2365066"/>
                <a:gd name="connsiteX35" fmla="*/ 5902209 w 12045155"/>
                <a:gd name="connsiteY35" fmla="*/ 249658 h 2365066"/>
                <a:gd name="connsiteX36" fmla="*/ 5182195 w 12045155"/>
                <a:gd name="connsiteY36" fmla="*/ 292664 h 2365066"/>
                <a:gd name="connsiteX37" fmla="*/ 3822487 w 12045155"/>
                <a:gd name="connsiteY37" fmla="*/ 90799 h 2365066"/>
                <a:gd name="connsiteX38" fmla="*/ 2370177 w 12045155"/>
                <a:gd name="connsiteY38" fmla="*/ 156695 h 2365066"/>
                <a:gd name="connsiteX39" fmla="*/ 578745 w 12045155"/>
                <a:gd name="connsiteY39" fmla="*/ 148189 h 2365066"/>
                <a:gd name="connsiteX40" fmla="*/ 38923 w 12045155"/>
                <a:gd name="connsiteY40" fmla="*/ 157240 h 2365066"/>
                <a:gd name="connsiteX0" fmla="*/ 38923 w 12045155"/>
                <a:gd name="connsiteY0" fmla="*/ 157240 h 2510409"/>
                <a:gd name="connsiteX1" fmla="*/ 4765 w 12045155"/>
                <a:gd name="connsiteY1" fmla="*/ 229969 h 2510409"/>
                <a:gd name="connsiteX2" fmla="*/ 16985 w 12045155"/>
                <a:gd name="connsiteY2" fmla="*/ 441204 h 2510409"/>
                <a:gd name="connsiteX3" fmla="*/ 31647 w 12045155"/>
                <a:gd name="connsiteY3" fmla="*/ 700450 h 2510409"/>
                <a:gd name="connsiteX4" fmla="*/ 43864 w 12045155"/>
                <a:gd name="connsiteY4" fmla="*/ 777266 h 2510409"/>
                <a:gd name="connsiteX5" fmla="*/ 80207 w 12045155"/>
                <a:gd name="connsiteY5" fmla="*/ 937416 h 2510409"/>
                <a:gd name="connsiteX6" fmla="*/ 937008 w 12045155"/>
                <a:gd name="connsiteY6" fmla="*/ 844973 h 2510409"/>
                <a:gd name="connsiteX7" fmla="*/ 1631867 w 12045155"/>
                <a:gd name="connsiteY7" fmla="*/ 878961 h 2510409"/>
                <a:gd name="connsiteX8" fmla="*/ 2087877 w 12045155"/>
                <a:gd name="connsiteY8" fmla="*/ 819473 h 2510409"/>
                <a:gd name="connsiteX9" fmla="*/ 2565599 w 12045155"/>
                <a:gd name="connsiteY9" fmla="*/ 819473 h 2510409"/>
                <a:gd name="connsiteX10" fmla="*/ 3336468 w 12045155"/>
                <a:gd name="connsiteY10" fmla="*/ 861967 h 2510409"/>
                <a:gd name="connsiteX11" fmla="*/ 4215904 w 12045155"/>
                <a:gd name="connsiteY11" fmla="*/ 844973 h 2510409"/>
                <a:gd name="connsiteX12" fmla="*/ 4845622 w 12045155"/>
                <a:gd name="connsiteY12" fmla="*/ 853479 h 2510409"/>
                <a:gd name="connsiteX13" fmla="*/ 5681632 w 12045155"/>
                <a:gd name="connsiteY13" fmla="*/ 853479 h 2510409"/>
                <a:gd name="connsiteX14" fmla="*/ 6745645 w 12045155"/>
                <a:gd name="connsiteY14" fmla="*/ 878979 h 2510409"/>
                <a:gd name="connsiteX15" fmla="*/ 7494800 w 12045155"/>
                <a:gd name="connsiteY15" fmla="*/ 870473 h 2510409"/>
                <a:gd name="connsiteX16" fmla="*/ 8026795 w 12045155"/>
                <a:gd name="connsiteY16" fmla="*/ 861967 h 2510409"/>
                <a:gd name="connsiteX17" fmla="*/ 8504518 w 12045155"/>
                <a:gd name="connsiteY17" fmla="*/ 827979 h 2510409"/>
                <a:gd name="connsiteX18" fmla="*/ 9361101 w 12045155"/>
                <a:gd name="connsiteY18" fmla="*/ 2018757 h 2510409"/>
                <a:gd name="connsiteX19" fmla="*/ 10149208 w 12045155"/>
                <a:gd name="connsiteY19" fmla="*/ 2510086 h 2510409"/>
                <a:gd name="connsiteX20" fmla="*/ 11195242 w 12045155"/>
                <a:gd name="connsiteY20" fmla="*/ 2091549 h 2510409"/>
                <a:gd name="connsiteX21" fmla="*/ 11309876 w 12045155"/>
                <a:gd name="connsiteY21" fmla="*/ 1618413 h 2510409"/>
                <a:gd name="connsiteX22" fmla="*/ 11797069 w 12045155"/>
                <a:gd name="connsiteY22" fmla="*/ 999707 h 2510409"/>
                <a:gd name="connsiteX23" fmla="*/ 12045155 w 12045155"/>
                <a:gd name="connsiteY23" fmla="*/ 699393 h 2510409"/>
                <a:gd name="connsiteX24" fmla="*/ 12045155 w 12045155"/>
                <a:gd name="connsiteY24" fmla="*/ 261011 h 2510409"/>
                <a:gd name="connsiteX25" fmla="*/ 11438839 w 12045155"/>
                <a:gd name="connsiteY25" fmla="*/ 435586 h 2510409"/>
                <a:gd name="connsiteX26" fmla="*/ 11059114 w 12045155"/>
                <a:gd name="connsiteY26" fmla="*/ 1047471 h 2510409"/>
                <a:gd name="connsiteX27" fmla="*/ 10602369 w 12045155"/>
                <a:gd name="connsiteY27" fmla="*/ 1661632 h 2510409"/>
                <a:gd name="connsiteX28" fmla="*/ 10034574 w 12045155"/>
                <a:gd name="connsiteY28" fmla="*/ 1618415 h 2510409"/>
                <a:gd name="connsiteX29" fmla="*/ 9527677 w 12045155"/>
                <a:gd name="connsiteY29" fmla="*/ 1058846 h 2510409"/>
                <a:gd name="connsiteX30" fmla="*/ 9053022 w 12045155"/>
                <a:gd name="connsiteY30" fmla="*/ 581165 h 2510409"/>
                <a:gd name="connsiteX31" fmla="*/ 8450223 w 12045155"/>
                <a:gd name="connsiteY31" fmla="*/ 156695 h 2510409"/>
                <a:gd name="connsiteX32" fmla="*/ 7635927 w 12045155"/>
                <a:gd name="connsiteY32" fmla="*/ 105714 h 2510409"/>
                <a:gd name="connsiteX33" fmla="*/ 7049636 w 12045155"/>
                <a:gd name="connsiteY33" fmla="*/ 199189 h 2510409"/>
                <a:gd name="connsiteX34" fmla="*/ 6342549 w 12045155"/>
                <a:gd name="connsiteY34" fmla="*/ 146630 h 2510409"/>
                <a:gd name="connsiteX35" fmla="*/ 5902209 w 12045155"/>
                <a:gd name="connsiteY35" fmla="*/ 249658 h 2510409"/>
                <a:gd name="connsiteX36" fmla="*/ 5182195 w 12045155"/>
                <a:gd name="connsiteY36" fmla="*/ 292664 h 2510409"/>
                <a:gd name="connsiteX37" fmla="*/ 3822487 w 12045155"/>
                <a:gd name="connsiteY37" fmla="*/ 90799 h 2510409"/>
                <a:gd name="connsiteX38" fmla="*/ 2370177 w 12045155"/>
                <a:gd name="connsiteY38" fmla="*/ 156695 h 2510409"/>
                <a:gd name="connsiteX39" fmla="*/ 578745 w 12045155"/>
                <a:gd name="connsiteY39" fmla="*/ 148189 h 2510409"/>
                <a:gd name="connsiteX40" fmla="*/ 38923 w 12045155"/>
                <a:gd name="connsiteY40" fmla="*/ 157240 h 2510409"/>
                <a:gd name="connsiteX0" fmla="*/ 38923 w 12045155"/>
                <a:gd name="connsiteY0" fmla="*/ 157240 h 2510087"/>
                <a:gd name="connsiteX1" fmla="*/ 4765 w 12045155"/>
                <a:gd name="connsiteY1" fmla="*/ 229969 h 2510087"/>
                <a:gd name="connsiteX2" fmla="*/ 16985 w 12045155"/>
                <a:gd name="connsiteY2" fmla="*/ 441204 h 2510087"/>
                <a:gd name="connsiteX3" fmla="*/ 31647 w 12045155"/>
                <a:gd name="connsiteY3" fmla="*/ 700450 h 2510087"/>
                <a:gd name="connsiteX4" fmla="*/ 43864 w 12045155"/>
                <a:gd name="connsiteY4" fmla="*/ 777266 h 2510087"/>
                <a:gd name="connsiteX5" fmla="*/ 80207 w 12045155"/>
                <a:gd name="connsiteY5" fmla="*/ 937416 h 2510087"/>
                <a:gd name="connsiteX6" fmla="*/ 937008 w 12045155"/>
                <a:gd name="connsiteY6" fmla="*/ 844973 h 2510087"/>
                <a:gd name="connsiteX7" fmla="*/ 1631867 w 12045155"/>
                <a:gd name="connsiteY7" fmla="*/ 878961 h 2510087"/>
                <a:gd name="connsiteX8" fmla="*/ 2087877 w 12045155"/>
                <a:gd name="connsiteY8" fmla="*/ 819473 h 2510087"/>
                <a:gd name="connsiteX9" fmla="*/ 2565599 w 12045155"/>
                <a:gd name="connsiteY9" fmla="*/ 819473 h 2510087"/>
                <a:gd name="connsiteX10" fmla="*/ 3336468 w 12045155"/>
                <a:gd name="connsiteY10" fmla="*/ 861967 h 2510087"/>
                <a:gd name="connsiteX11" fmla="*/ 4215904 w 12045155"/>
                <a:gd name="connsiteY11" fmla="*/ 844973 h 2510087"/>
                <a:gd name="connsiteX12" fmla="*/ 4845622 w 12045155"/>
                <a:gd name="connsiteY12" fmla="*/ 853479 h 2510087"/>
                <a:gd name="connsiteX13" fmla="*/ 5681632 w 12045155"/>
                <a:gd name="connsiteY13" fmla="*/ 853479 h 2510087"/>
                <a:gd name="connsiteX14" fmla="*/ 6745645 w 12045155"/>
                <a:gd name="connsiteY14" fmla="*/ 878979 h 2510087"/>
                <a:gd name="connsiteX15" fmla="*/ 7494800 w 12045155"/>
                <a:gd name="connsiteY15" fmla="*/ 870473 h 2510087"/>
                <a:gd name="connsiteX16" fmla="*/ 8026795 w 12045155"/>
                <a:gd name="connsiteY16" fmla="*/ 861967 h 2510087"/>
                <a:gd name="connsiteX17" fmla="*/ 8504518 w 12045155"/>
                <a:gd name="connsiteY17" fmla="*/ 827979 h 2510087"/>
                <a:gd name="connsiteX18" fmla="*/ 9217808 w 12045155"/>
                <a:gd name="connsiteY18" fmla="*/ 2091547 h 2510087"/>
                <a:gd name="connsiteX19" fmla="*/ 10149208 w 12045155"/>
                <a:gd name="connsiteY19" fmla="*/ 2510086 h 2510087"/>
                <a:gd name="connsiteX20" fmla="*/ 11195242 w 12045155"/>
                <a:gd name="connsiteY20" fmla="*/ 2091549 h 2510087"/>
                <a:gd name="connsiteX21" fmla="*/ 11309876 w 12045155"/>
                <a:gd name="connsiteY21" fmla="*/ 1618413 h 2510087"/>
                <a:gd name="connsiteX22" fmla="*/ 11797069 w 12045155"/>
                <a:gd name="connsiteY22" fmla="*/ 999707 h 2510087"/>
                <a:gd name="connsiteX23" fmla="*/ 12045155 w 12045155"/>
                <a:gd name="connsiteY23" fmla="*/ 699393 h 2510087"/>
                <a:gd name="connsiteX24" fmla="*/ 12045155 w 12045155"/>
                <a:gd name="connsiteY24" fmla="*/ 261011 h 2510087"/>
                <a:gd name="connsiteX25" fmla="*/ 11438839 w 12045155"/>
                <a:gd name="connsiteY25" fmla="*/ 435586 h 2510087"/>
                <a:gd name="connsiteX26" fmla="*/ 11059114 w 12045155"/>
                <a:gd name="connsiteY26" fmla="*/ 1047471 h 2510087"/>
                <a:gd name="connsiteX27" fmla="*/ 10602369 w 12045155"/>
                <a:gd name="connsiteY27" fmla="*/ 1661632 h 2510087"/>
                <a:gd name="connsiteX28" fmla="*/ 10034574 w 12045155"/>
                <a:gd name="connsiteY28" fmla="*/ 1618415 h 2510087"/>
                <a:gd name="connsiteX29" fmla="*/ 9527677 w 12045155"/>
                <a:gd name="connsiteY29" fmla="*/ 1058846 h 2510087"/>
                <a:gd name="connsiteX30" fmla="*/ 9053022 w 12045155"/>
                <a:gd name="connsiteY30" fmla="*/ 581165 h 2510087"/>
                <a:gd name="connsiteX31" fmla="*/ 8450223 w 12045155"/>
                <a:gd name="connsiteY31" fmla="*/ 156695 h 2510087"/>
                <a:gd name="connsiteX32" fmla="*/ 7635927 w 12045155"/>
                <a:gd name="connsiteY32" fmla="*/ 105714 h 2510087"/>
                <a:gd name="connsiteX33" fmla="*/ 7049636 w 12045155"/>
                <a:gd name="connsiteY33" fmla="*/ 199189 h 2510087"/>
                <a:gd name="connsiteX34" fmla="*/ 6342549 w 12045155"/>
                <a:gd name="connsiteY34" fmla="*/ 146630 h 2510087"/>
                <a:gd name="connsiteX35" fmla="*/ 5902209 w 12045155"/>
                <a:gd name="connsiteY35" fmla="*/ 249658 h 2510087"/>
                <a:gd name="connsiteX36" fmla="*/ 5182195 w 12045155"/>
                <a:gd name="connsiteY36" fmla="*/ 292664 h 2510087"/>
                <a:gd name="connsiteX37" fmla="*/ 3822487 w 12045155"/>
                <a:gd name="connsiteY37" fmla="*/ 90799 h 2510087"/>
                <a:gd name="connsiteX38" fmla="*/ 2370177 w 12045155"/>
                <a:gd name="connsiteY38" fmla="*/ 156695 h 2510087"/>
                <a:gd name="connsiteX39" fmla="*/ 578745 w 12045155"/>
                <a:gd name="connsiteY39" fmla="*/ 148189 h 2510087"/>
                <a:gd name="connsiteX40" fmla="*/ 38923 w 12045155"/>
                <a:gd name="connsiteY40" fmla="*/ 157240 h 2510087"/>
                <a:gd name="connsiteX0" fmla="*/ 38923 w 12045155"/>
                <a:gd name="connsiteY0" fmla="*/ 157240 h 2510087"/>
                <a:gd name="connsiteX1" fmla="*/ 4765 w 12045155"/>
                <a:gd name="connsiteY1" fmla="*/ 229969 h 2510087"/>
                <a:gd name="connsiteX2" fmla="*/ 16985 w 12045155"/>
                <a:gd name="connsiteY2" fmla="*/ 441204 h 2510087"/>
                <a:gd name="connsiteX3" fmla="*/ 31647 w 12045155"/>
                <a:gd name="connsiteY3" fmla="*/ 700450 h 2510087"/>
                <a:gd name="connsiteX4" fmla="*/ 43864 w 12045155"/>
                <a:gd name="connsiteY4" fmla="*/ 777266 h 2510087"/>
                <a:gd name="connsiteX5" fmla="*/ 80207 w 12045155"/>
                <a:gd name="connsiteY5" fmla="*/ 937416 h 2510087"/>
                <a:gd name="connsiteX6" fmla="*/ 937008 w 12045155"/>
                <a:gd name="connsiteY6" fmla="*/ 844973 h 2510087"/>
                <a:gd name="connsiteX7" fmla="*/ 1631867 w 12045155"/>
                <a:gd name="connsiteY7" fmla="*/ 878961 h 2510087"/>
                <a:gd name="connsiteX8" fmla="*/ 2087877 w 12045155"/>
                <a:gd name="connsiteY8" fmla="*/ 819473 h 2510087"/>
                <a:gd name="connsiteX9" fmla="*/ 2565599 w 12045155"/>
                <a:gd name="connsiteY9" fmla="*/ 819473 h 2510087"/>
                <a:gd name="connsiteX10" fmla="*/ 3336468 w 12045155"/>
                <a:gd name="connsiteY10" fmla="*/ 861967 h 2510087"/>
                <a:gd name="connsiteX11" fmla="*/ 4215904 w 12045155"/>
                <a:gd name="connsiteY11" fmla="*/ 844973 h 2510087"/>
                <a:gd name="connsiteX12" fmla="*/ 4845622 w 12045155"/>
                <a:gd name="connsiteY12" fmla="*/ 853479 h 2510087"/>
                <a:gd name="connsiteX13" fmla="*/ 5681632 w 12045155"/>
                <a:gd name="connsiteY13" fmla="*/ 853479 h 2510087"/>
                <a:gd name="connsiteX14" fmla="*/ 6745645 w 12045155"/>
                <a:gd name="connsiteY14" fmla="*/ 878979 h 2510087"/>
                <a:gd name="connsiteX15" fmla="*/ 7494800 w 12045155"/>
                <a:gd name="connsiteY15" fmla="*/ 870473 h 2510087"/>
                <a:gd name="connsiteX16" fmla="*/ 8026795 w 12045155"/>
                <a:gd name="connsiteY16" fmla="*/ 861967 h 2510087"/>
                <a:gd name="connsiteX17" fmla="*/ 8504518 w 12045155"/>
                <a:gd name="connsiteY17" fmla="*/ 827979 h 2510087"/>
                <a:gd name="connsiteX18" fmla="*/ 9217808 w 12045155"/>
                <a:gd name="connsiteY18" fmla="*/ 2091547 h 2510087"/>
                <a:gd name="connsiteX19" fmla="*/ 10149208 w 12045155"/>
                <a:gd name="connsiteY19" fmla="*/ 2510086 h 2510087"/>
                <a:gd name="connsiteX20" fmla="*/ 11195242 w 12045155"/>
                <a:gd name="connsiteY20" fmla="*/ 2091549 h 2510087"/>
                <a:gd name="connsiteX21" fmla="*/ 11625119 w 12045155"/>
                <a:gd name="connsiteY21" fmla="*/ 1600216 h 2510087"/>
                <a:gd name="connsiteX22" fmla="*/ 11797069 w 12045155"/>
                <a:gd name="connsiteY22" fmla="*/ 999707 h 2510087"/>
                <a:gd name="connsiteX23" fmla="*/ 12045155 w 12045155"/>
                <a:gd name="connsiteY23" fmla="*/ 699393 h 2510087"/>
                <a:gd name="connsiteX24" fmla="*/ 12045155 w 12045155"/>
                <a:gd name="connsiteY24" fmla="*/ 261011 h 2510087"/>
                <a:gd name="connsiteX25" fmla="*/ 11438839 w 12045155"/>
                <a:gd name="connsiteY25" fmla="*/ 435586 h 2510087"/>
                <a:gd name="connsiteX26" fmla="*/ 11059114 w 12045155"/>
                <a:gd name="connsiteY26" fmla="*/ 1047471 h 2510087"/>
                <a:gd name="connsiteX27" fmla="*/ 10602369 w 12045155"/>
                <a:gd name="connsiteY27" fmla="*/ 1661632 h 2510087"/>
                <a:gd name="connsiteX28" fmla="*/ 10034574 w 12045155"/>
                <a:gd name="connsiteY28" fmla="*/ 1618415 h 2510087"/>
                <a:gd name="connsiteX29" fmla="*/ 9527677 w 12045155"/>
                <a:gd name="connsiteY29" fmla="*/ 1058846 h 2510087"/>
                <a:gd name="connsiteX30" fmla="*/ 9053022 w 12045155"/>
                <a:gd name="connsiteY30" fmla="*/ 581165 h 2510087"/>
                <a:gd name="connsiteX31" fmla="*/ 8450223 w 12045155"/>
                <a:gd name="connsiteY31" fmla="*/ 156695 h 2510087"/>
                <a:gd name="connsiteX32" fmla="*/ 7635927 w 12045155"/>
                <a:gd name="connsiteY32" fmla="*/ 105714 h 2510087"/>
                <a:gd name="connsiteX33" fmla="*/ 7049636 w 12045155"/>
                <a:gd name="connsiteY33" fmla="*/ 199189 h 2510087"/>
                <a:gd name="connsiteX34" fmla="*/ 6342549 w 12045155"/>
                <a:gd name="connsiteY34" fmla="*/ 146630 h 2510087"/>
                <a:gd name="connsiteX35" fmla="*/ 5902209 w 12045155"/>
                <a:gd name="connsiteY35" fmla="*/ 249658 h 2510087"/>
                <a:gd name="connsiteX36" fmla="*/ 5182195 w 12045155"/>
                <a:gd name="connsiteY36" fmla="*/ 292664 h 2510087"/>
                <a:gd name="connsiteX37" fmla="*/ 3822487 w 12045155"/>
                <a:gd name="connsiteY37" fmla="*/ 90799 h 2510087"/>
                <a:gd name="connsiteX38" fmla="*/ 2370177 w 12045155"/>
                <a:gd name="connsiteY38" fmla="*/ 156695 h 2510087"/>
                <a:gd name="connsiteX39" fmla="*/ 578745 w 12045155"/>
                <a:gd name="connsiteY39" fmla="*/ 148189 h 2510087"/>
                <a:gd name="connsiteX40" fmla="*/ 38923 w 12045155"/>
                <a:gd name="connsiteY40" fmla="*/ 157240 h 2510087"/>
                <a:gd name="connsiteX0" fmla="*/ 38923 w 12045155"/>
                <a:gd name="connsiteY0" fmla="*/ 157240 h 2510087"/>
                <a:gd name="connsiteX1" fmla="*/ 4765 w 12045155"/>
                <a:gd name="connsiteY1" fmla="*/ 229969 h 2510087"/>
                <a:gd name="connsiteX2" fmla="*/ 16985 w 12045155"/>
                <a:gd name="connsiteY2" fmla="*/ 441204 h 2510087"/>
                <a:gd name="connsiteX3" fmla="*/ 31647 w 12045155"/>
                <a:gd name="connsiteY3" fmla="*/ 700450 h 2510087"/>
                <a:gd name="connsiteX4" fmla="*/ 43864 w 12045155"/>
                <a:gd name="connsiteY4" fmla="*/ 777266 h 2510087"/>
                <a:gd name="connsiteX5" fmla="*/ 80207 w 12045155"/>
                <a:gd name="connsiteY5" fmla="*/ 937416 h 2510087"/>
                <a:gd name="connsiteX6" fmla="*/ 937008 w 12045155"/>
                <a:gd name="connsiteY6" fmla="*/ 844973 h 2510087"/>
                <a:gd name="connsiteX7" fmla="*/ 1631867 w 12045155"/>
                <a:gd name="connsiteY7" fmla="*/ 878961 h 2510087"/>
                <a:gd name="connsiteX8" fmla="*/ 2087877 w 12045155"/>
                <a:gd name="connsiteY8" fmla="*/ 819473 h 2510087"/>
                <a:gd name="connsiteX9" fmla="*/ 2565599 w 12045155"/>
                <a:gd name="connsiteY9" fmla="*/ 819473 h 2510087"/>
                <a:gd name="connsiteX10" fmla="*/ 3336468 w 12045155"/>
                <a:gd name="connsiteY10" fmla="*/ 861967 h 2510087"/>
                <a:gd name="connsiteX11" fmla="*/ 4215904 w 12045155"/>
                <a:gd name="connsiteY11" fmla="*/ 844973 h 2510087"/>
                <a:gd name="connsiteX12" fmla="*/ 4845622 w 12045155"/>
                <a:gd name="connsiteY12" fmla="*/ 853479 h 2510087"/>
                <a:gd name="connsiteX13" fmla="*/ 5681632 w 12045155"/>
                <a:gd name="connsiteY13" fmla="*/ 853479 h 2510087"/>
                <a:gd name="connsiteX14" fmla="*/ 6745645 w 12045155"/>
                <a:gd name="connsiteY14" fmla="*/ 878979 h 2510087"/>
                <a:gd name="connsiteX15" fmla="*/ 7494800 w 12045155"/>
                <a:gd name="connsiteY15" fmla="*/ 870473 h 2510087"/>
                <a:gd name="connsiteX16" fmla="*/ 8026795 w 12045155"/>
                <a:gd name="connsiteY16" fmla="*/ 861967 h 2510087"/>
                <a:gd name="connsiteX17" fmla="*/ 8647812 w 12045155"/>
                <a:gd name="connsiteY17" fmla="*/ 1264715 h 2510087"/>
                <a:gd name="connsiteX18" fmla="*/ 9217808 w 12045155"/>
                <a:gd name="connsiteY18" fmla="*/ 2091547 h 2510087"/>
                <a:gd name="connsiteX19" fmla="*/ 10149208 w 12045155"/>
                <a:gd name="connsiteY19" fmla="*/ 2510086 h 2510087"/>
                <a:gd name="connsiteX20" fmla="*/ 11195242 w 12045155"/>
                <a:gd name="connsiteY20" fmla="*/ 2091549 h 2510087"/>
                <a:gd name="connsiteX21" fmla="*/ 11625119 w 12045155"/>
                <a:gd name="connsiteY21" fmla="*/ 1600216 h 2510087"/>
                <a:gd name="connsiteX22" fmla="*/ 11797069 w 12045155"/>
                <a:gd name="connsiteY22" fmla="*/ 999707 h 2510087"/>
                <a:gd name="connsiteX23" fmla="*/ 12045155 w 12045155"/>
                <a:gd name="connsiteY23" fmla="*/ 699393 h 2510087"/>
                <a:gd name="connsiteX24" fmla="*/ 12045155 w 12045155"/>
                <a:gd name="connsiteY24" fmla="*/ 261011 h 2510087"/>
                <a:gd name="connsiteX25" fmla="*/ 11438839 w 12045155"/>
                <a:gd name="connsiteY25" fmla="*/ 435586 h 2510087"/>
                <a:gd name="connsiteX26" fmla="*/ 11059114 w 12045155"/>
                <a:gd name="connsiteY26" fmla="*/ 1047471 h 2510087"/>
                <a:gd name="connsiteX27" fmla="*/ 10602369 w 12045155"/>
                <a:gd name="connsiteY27" fmla="*/ 1661632 h 2510087"/>
                <a:gd name="connsiteX28" fmla="*/ 10034574 w 12045155"/>
                <a:gd name="connsiteY28" fmla="*/ 1618415 h 2510087"/>
                <a:gd name="connsiteX29" fmla="*/ 9527677 w 12045155"/>
                <a:gd name="connsiteY29" fmla="*/ 1058846 h 2510087"/>
                <a:gd name="connsiteX30" fmla="*/ 9053022 w 12045155"/>
                <a:gd name="connsiteY30" fmla="*/ 581165 h 2510087"/>
                <a:gd name="connsiteX31" fmla="*/ 8450223 w 12045155"/>
                <a:gd name="connsiteY31" fmla="*/ 156695 h 2510087"/>
                <a:gd name="connsiteX32" fmla="*/ 7635927 w 12045155"/>
                <a:gd name="connsiteY32" fmla="*/ 105714 h 2510087"/>
                <a:gd name="connsiteX33" fmla="*/ 7049636 w 12045155"/>
                <a:gd name="connsiteY33" fmla="*/ 199189 h 2510087"/>
                <a:gd name="connsiteX34" fmla="*/ 6342549 w 12045155"/>
                <a:gd name="connsiteY34" fmla="*/ 146630 h 2510087"/>
                <a:gd name="connsiteX35" fmla="*/ 5902209 w 12045155"/>
                <a:gd name="connsiteY35" fmla="*/ 249658 h 2510087"/>
                <a:gd name="connsiteX36" fmla="*/ 5182195 w 12045155"/>
                <a:gd name="connsiteY36" fmla="*/ 292664 h 2510087"/>
                <a:gd name="connsiteX37" fmla="*/ 3822487 w 12045155"/>
                <a:gd name="connsiteY37" fmla="*/ 90799 h 2510087"/>
                <a:gd name="connsiteX38" fmla="*/ 2370177 w 12045155"/>
                <a:gd name="connsiteY38" fmla="*/ 156695 h 2510087"/>
                <a:gd name="connsiteX39" fmla="*/ 578745 w 12045155"/>
                <a:gd name="connsiteY39" fmla="*/ 148189 h 2510087"/>
                <a:gd name="connsiteX40" fmla="*/ 38923 w 12045155"/>
                <a:gd name="connsiteY40" fmla="*/ 157240 h 2510087"/>
                <a:gd name="connsiteX0" fmla="*/ 38923 w 12045155"/>
                <a:gd name="connsiteY0" fmla="*/ 157240 h 2510087"/>
                <a:gd name="connsiteX1" fmla="*/ 4765 w 12045155"/>
                <a:gd name="connsiteY1" fmla="*/ 229969 h 2510087"/>
                <a:gd name="connsiteX2" fmla="*/ 16985 w 12045155"/>
                <a:gd name="connsiteY2" fmla="*/ 441204 h 2510087"/>
                <a:gd name="connsiteX3" fmla="*/ 31647 w 12045155"/>
                <a:gd name="connsiteY3" fmla="*/ 700450 h 2510087"/>
                <a:gd name="connsiteX4" fmla="*/ 43864 w 12045155"/>
                <a:gd name="connsiteY4" fmla="*/ 777266 h 2510087"/>
                <a:gd name="connsiteX5" fmla="*/ 80207 w 12045155"/>
                <a:gd name="connsiteY5" fmla="*/ 937416 h 2510087"/>
                <a:gd name="connsiteX6" fmla="*/ 937008 w 12045155"/>
                <a:gd name="connsiteY6" fmla="*/ 844973 h 2510087"/>
                <a:gd name="connsiteX7" fmla="*/ 1631867 w 12045155"/>
                <a:gd name="connsiteY7" fmla="*/ 878961 h 2510087"/>
                <a:gd name="connsiteX8" fmla="*/ 2087877 w 12045155"/>
                <a:gd name="connsiteY8" fmla="*/ 819473 h 2510087"/>
                <a:gd name="connsiteX9" fmla="*/ 2565599 w 12045155"/>
                <a:gd name="connsiteY9" fmla="*/ 819473 h 2510087"/>
                <a:gd name="connsiteX10" fmla="*/ 3336468 w 12045155"/>
                <a:gd name="connsiteY10" fmla="*/ 861967 h 2510087"/>
                <a:gd name="connsiteX11" fmla="*/ 4215904 w 12045155"/>
                <a:gd name="connsiteY11" fmla="*/ 844973 h 2510087"/>
                <a:gd name="connsiteX12" fmla="*/ 4845622 w 12045155"/>
                <a:gd name="connsiteY12" fmla="*/ 853479 h 2510087"/>
                <a:gd name="connsiteX13" fmla="*/ 5681632 w 12045155"/>
                <a:gd name="connsiteY13" fmla="*/ 853479 h 2510087"/>
                <a:gd name="connsiteX14" fmla="*/ 6745645 w 12045155"/>
                <a:gd name="connsiteY14" fmla="*/ 878979 h 2510087"/>
                <a:gd name="connsiteX15" fmla="*/ 7494800 w 12045155"/>
                <a:gd name="connsiteY15" fmla="*/ 870473 h 2510087"/>
                <a:gd name="connsiteX16" fmla="*/ 8026795 w 12045155"/>
                <a:gd name="connsiteY16" fmla="*/ 861967 h 2510087"/>
                <a:gd name="connsiteX17" fmla="*/ 8647812 w 12045155"/>
                <a:gd name="connsiteY17" fmla="*/ 1264715 h 2510087"/>
                <a:gd name="connsiteX18" fmla="*/ 9217808 w 12045155"/>
                <a:gd name="connsiteY18" fmla="*/ 2091547 h 2510087"/>
                <a:gd name="connsiteX19" fmla="*/ 10149208 w 12045155"/>
                <a:gd name="connsiteY19" fmla="*/ 2510086 h 2510087"/>
                <a:gd name="connsiteX20" fmla="*/ 11195242 w 12045155"/>
                <a:gd name="connsiteY20" fmla="*/ 2091549 h 2510087"/>
                <a:gd name="connsiteX21" fmla="*/ 11486173 w 12045155"/>
                <a:gd name="connsiteY21" fmla="*/ 1445814 h 2510087"/>
                <a:gd name="connsiteX22" fmla="*/ 11797069 w 12045155"/>
                <a:gd name="connsiteY22" fmla="*/ 999707 h 2510087"/>
                <a:gd name="connsiteX23" fmla="*/ 12045155 w 12045155"/>
                <a:gd name="connsiteY23" fmla="*/ 699393 h 2510087"/>
                <a:gd name="connsiteX24" fmla="*/ 12045155 w 12045155"/>
                <a:gd name="connsiteY24" fmla="*/ 261011 h 2510087"/>
                <a:gd name="connsiteX25" fmla="*/ 11438839 w 12045155"/>
                <a:gd name="connsiteY25" fmla="*/ 435586 h 2510087"/>
                <a:gd name="connsiteX26" fmla="*/ 11059114 w 12045155"/>
                <a:gd name="connsiteY26" fmla="*/ 1047471 h 2510087"/>
                <a:gd name="connsiteX27" fmla="*/ 10602369 w 12045155"/>
                <a:gd name="connsiteY27" fmla="*/ 1661632 h 2510087"/>
                <a:gd name="connsiteX28" fmla="*/ 10034574 w 12045155"/>
                <a:gd name="connsiteY28" fmla="*/ 1618415 h 2510087"/>
                <a:gd name="connsiteX29" fmla="*/ 9527677 w 12045155"/>
                <a:gd name="connsiteY29" fmla="*/ 1058846 h 2510087"/>
                <a:gd name="connsiteX30" fmla="*/ 9053022 w 12045155"/>
                <a:gd name="connsiteY30" fmla="*/ 581165 h 2510087"/>
                <a:gd name="connsiteX31" fmla="*/ 8450223 w 12045155"/>
                <a:gd name="connsiteY31" fmla="*/ 156695 h 2510087"/>
                <a:gd name="connsiteX32" fmla="*/ 7635927 w 12045155"/>
                <a:gd name="connsiteY32" fmla="*/ 105714 h 2510087"/>
                <a:gd name="connsiteX33" fmla="*/ 7049636 w 12045155"/>
                <a:gd name="connsiteY33" fmla="*/ 199189 h 2510087"/>
                <a:gd name="connsiteX34" fmla="*/ 6342549 w 12045155"/>
                <a:gd name="connsiteY34" fmla="*/ 146630 h 2510087"/>
                <a:gd name="connsiteX35" fmla="*/ 5902209 w 12045155"/>
                <a:gd name="connsiteY35" fmla="*/ 249658 h 2510087"/>
                <a:gd name="connsiteX36" fmla="*/ 5182195 w 12045155"/>
                <a:gd name="connsiteY36" fmla="*/ 292664 h 2510087"/>
                <a:gd name="connsiteX37" fmla="*/ 3822487 w 12045155"/>
                <a:gd name="connsiteY37" fmla="*/ 90799 h 2510087"/>
                <a:gd name="connsiteX38" fmla="*/ 2370177 w 12045155"/>
                <a:gd name="connsiteY38" fmla="*/ 156695 h 2510087"/>
                <a:gd name="connsiteX39" fmla="*/ 578745 w 12045155"/>
                <a:gd name="connsiteY39" fmla="*/ 148189 h 2510087"/>
                <a:gd name="connsiteX40" fmla="*/ 38923 w 12045155"/>
                <a:gd name="connsiteY40" fmla="*/ 157240 h 2510087"/>
                <a:gd name="connsiteX0" fmla="*/ 38923 w 12045155"/>
                <a:gd name="connsiteY0" fmla="*/ 157240 h 2510087"/>
                <a:gd name="connsiteX1" fmla="*/ 4765 w 12045155"/>
                <a:gd name="connsiteY1" fmla="*/ 229969 h 2510087"/>
                <a:gd name="connsiteX2" fmla="*/ 8249783 w 12045155"/>
                <a:gd name="connsiteY2" fmla="*/ 507371 h 2510087"/>
                <a:gd name="connsiteX3" fmla="*/ 31647 w 12045155"/>
                <a:gd name="connsiteY3" fmla="*/ 700450 h 2510087"/>
                <a:gd name="connsiteX4" fmla="*/ 43864 w 12045155"/>
                <a:gd name="connsiteY4" fmla="*/ 777266 h 2510087"/>
                <a:gd name="connsiteX5" fmla="*/ 80207 w 12045155"/>
                <a:gd name="connsiteY5" fmla="*/ 937416 h 2510087"/>
                <a:gd name="connsiteX6" fmla="*/ 937008 w 12045155"/>
                <a:gd name="connsiteY6" fmla="*/ 844973 h 2510087"/>
                <a:gd name="connsiteX7" fmla="*/ 1631867 w 12045155"/>
                <a:gd name="connsiteY7" fmla="*/ 878961 h 2510087"/>
                <a:gd name="connsiteX8" fmla="*/ 2087877 w 12045155"/>
                <a:gd name="connsiteY8" fmla="*/ 819473 h 2510087"/>
                <a:gd name="connsiteX9" fmla="*/ 2565599 w 12045155"/>
                <a:gd name="connsiteY9" fmla="*/ 819473 h 2510087"/>
                <a:gd name="connsiteX10" fmla="*/ 3336468 w 12045155"/>
                <a:gd name="connsiteY10" fmla="*/ 861967 h 2510087"/>
                <a:gd name="connsiteX11" fmla="*/ 4215904 w 12045155"/>
                <a:gd name="connsiteY11" fmla="*/ 844973 h 2510087"/>
                <a:gd name="connsiteX12" fmla="*/ 4845622 w 12045155"/>
                <a:gd name="connsiteY12" fmla="*/ 853479 h 2510087"/>
                <a:gd name="connsiteX13" fmla="*/ 5681632 w 12045155"/>
                <a:gd name="connsiteY13" fmla="*/ 853479 h 2510087"/>
                <a:gd name="connsiteX14" fmla="*/ 6745645 w 12045155"/>
                <a:gd name="connsiteY14" fmla="*/ 878979 h 2510087"/>
                <a:gd name="connsiteX15" fmla="*/ 7494800 w 12045155"/>
                <a:gd name="connsiteY15" fmla="*/ 870473 h 2510087"/>
                <a:gd name="connsiteX16" fmla="*/ 8026795 w 12045155"/>
                <a:gd name="connsiteY16" fmla="*/ 861967 h 2510087"/>
                <a:gd name="connsiteX17" fmla="*/ 8647812 w 12045155"/>
                <a:gd name="connsiteY17" fmla="*/ 1264715 h 2510087"/>
                <a:gd name="connsiteX18" fmla="*/ 9217808 w 12045155"/>
                <a:gd name="connsiteY18" fmla="*/ 2091547 h 2510087"/>
                <a:gd name="connsiteX19" fmla="*/ 10149208 w 12045155"/>
                <a:gd name="connsiteY19" fmla="*/ 2510086 h 2510087"/>
                <a:gd name="connsiteX20" fmla="*/ 11195242 w 12045155"/>
                <a:gd name="connsiteY20" fmla="*/ 2091549 h 2510087"/>
                <a:gd name="connsiteX21" fmla="*/ 11486173 w 12045155"/>
                <a:gd name="connsiteY21" fmla="*/ 1445814 h 2510087"/>
                <a:gd name="connsiteX22" fmla="*/ 11797069 w 12045155"/>
                <a:gd name="connsiteY22" fmla="*/ 999707 h 2510087"/>
                <a:gd name="connsiteX23" fmla="*/ 12045155 w 12045155"/>
                <a:gd name="connsiteY23" fmla="*/ 699393 h 2510087"/>
                <a:gd name="connsiteX24" fmla="*/ 12045155 w 12045155"/>
                <a:gd name="connsiteY24" fmla="*/ 261011 h 2510087"/>
                <a:gd name="connsiteX25" fmla="*/ 11438839 w 12045155"/>
                <a:gd name="connsiteY25" fmla="*/ 435586 h 2510087"/>
                <a:gd name="connsiteX26" fmla="*/ 11059114 w 12045155"/>
                <a:gd name="connsiteY26" fmla="*/ 1047471 h 2510087"/>
                <a:gd name="connsiteX27" fmla="*/ 10602369 w 12045155"/>
                <a:gd name="connsiteY27" fmla="*/ 1661632 h 2510087"/>
                <a:gd name="connsiteX28" fmla="*/ 10034574 w 12045155"/>
                <a:gd name="connsiteY28" fmla="*/ 1618415 h 2510087"/>
                <a:gd name="connsiteX29" fmla="*/ 9527677 w 12045155"/>
                <a:gd name="connsiteY29" fmla="*/ 1058846 h 2510087"/>
                <a:gd name="connsiteX30" fmla="*/ 9053022 w 12045155"/>
                <a:gd name="connsiteY30" fmla="*/ 581165 h 2510087"/>
                <a:gd name="connsiteX31" fmla="*/ 8450223 w 12045155"/>
                <a:gd name="connsiteY31" fmla="*/ 156695 h 2510087"/>
                <a:gd name="connsiteX32" fmla="*/ 7635927 w 12045155"/>
                <a:gd name="connsiteY32" fmla="*/ 105714 h 2510087"/>
                <a:gd name="connsiteX33" fmla="*/ 7049636 w 12045155"/>
                <a:gd name="connsiteY33" fmla="*/ 199189 h 2510087"/>
                <a:gd name="connsiteX34" fmla="*/ 6342549 w 12045155"/>
                <a:gd name="connsiteY34" fmla="*/ 146630 h 2510087"/>
                <a:gd name="connsiteX35" fmla="*/ 5902209 w 12045155"/>
                <a:gd name="connsiteY35" fmla="*/ 249658 h 2510087"/>
                <a:gd name="connsiteX36" fmla="*/ 5182195 w 12045155"/>
                <a:gd name="connsiteY36" fmla="*/ 292664 h 2510087"/>
                <a:gd name="connsiteX37" fmla="*/ 3822487 w 12045155"/>
                <a:gd name="connsiteY37" fmla="*/ 90799 h 2510087"/>
                <a:gd name="connsiteX38" fmla="*/ 2370177 w 12045155"/>
                <a:gd name="connsiteY38" fmla="*/ 156695 h 2510087"/>
                <a:gd name="connsiteX39" fmla="*/ 578745 w 12045155"/>
                <a:gd name="connsiteY39" fmla="*/ 148189 h 2510087"/>
                <a:gd name="connsiteX40" fmla="*/ 38923 w 12045155"/>
                <a:gd name="connsiteY40" fmla="*/ 157240 h 2510087"/>
                <a:gd name="connsiteX0" fmla="*/ 38923 w 12045155"/>
                <a:gd name="connsiteY0" fmla="*/ 157240 h 2510087"/>
                <a:gd name="connsiteX1" fmla="*/ 4765 w 12045155"/>
                <a:gd name="connsiteY1" fmla="*/ 229969 h 2510087"/>
                <a:gd name="connsiteX2" fmla="*/ 8249783 w 12045155"/>
                <a:gd name="connsiteY2" fmla="*/ 507371 h 2510087"/>
                <a:gd name="connsiteX3" fmla="*/ 31647 w 12045155"/>
                <a:gd name="connsiteY3" fmla="*/ 700450 h 2510087"/>
                <a:gd name="connsiteX4" fmla="*/ 43864 w 12045155"/>
                <a:gd name="connsiteY4" fmla="*/ 777266 h 2510087"/>
                <a:gd name="connsiteX5" fmla="*/ 80207 w 12045155"/>
                <a:gd name="connsiteY5" fmla="*/ 937416 h 2510087"/>
                <a:gd name="connsiteX6" fmla="*/ 937008 w 12045155"/>
                <a:gd name="connsiteY6" fmla="*/ 844973 h 2510087"/>
                <a:gd name="connsiteX7" fmla="*/ 1631867 w 12045155"/>
                <a:gd name="connsiteY7" fmla="*/ 878961 h 2510087"/>
                <a:gd name="connsiteX8" fmla="*/ 2087877 w 12045155"/>
                <a:gd name="connsiteY8" fmla="*/ 819473 h 2510087"/>
                <a:gd name="connsiteX9" fmla="*/ 2565599 w 12045155"/>
                <a:gd name="connsiteY9" fmla="*/ 819473 h 2510087"/>
                <a:gd name="connsiteX10" fmla="*/ 3336468 w 12045155"/>
                <a:gd name="connsiteY10" fmla="*/ 861967 h 2510087"/>
                <a:gd name="connsiteX11" fmla="*/ 4215904 w 12045155"/>
                <a:gd name="connsiteY11" fmla="*/ 844973 h 2510087"/>
                <a:gd name="connsiteX12" fmla="*/ 4845622 w 12045155"/>
                <a:gd name="connsiteY12" fmla="*/ 853479 h 2510087"/>
                <a:gd name="connsiteX13" fmla="*/ 5681632 w 12045155"/>
                <a:gd name="connsiteY13" fmla="*/ 853479 h 2510087"/>
                <a:gd name="connsiteX14" fmla="*/ 6745645 w 12045155"/>
                <a:gd name="connsiteY14" fmla="*/ 878979 h 2510087"/>
                <a:gd name="connsiteX15" fmla="*/ 7494800 w 12045155"/>
                <a:gd name="connsiteY15" fmla="*/ 870473 h 2510087"/>
                <a:gd name="connsiteX16" fmla="*/ 8026795 w 12045155"/>
                <a:gd name="connsiteY16" fmla="*/ 861967 h 2510087"/>
                <a:gd name="connsiteX17" fmla="*/ 8647812 w 12045155"/>
                <a:gd name="connsiteY17" fmla="*/ 1264715 h 2510087"/>
                <a:gd name="connsiteX18" fmla="*/ 9217808 w 12045155"/>
                <a:gd name="connsiteY18" fmla="*/ 2091547 h 2510087"/>
                <a:gd name="connsiteX19" fmla="*/ 10149208 w 12045155"/>
                <a:gd name="connsiteY19" fmla="*/ 2510086 h 2510087"/>
                <a:gd name="connsiteX20" fmla="*/ 11195242 w 12045155"/>
                <a:gd name="connsiteY20" fmla="*/ 2091549 h 2510087"/>
                <a:gd name="connsiteX21" fmla="*/ 11486173 w 12045155"/>
                <a:gd name="connsiteY21" fmla="*/ 1445814 h 2510087"/>
                <a:gd name="connsiteX22" fmla="*/ 11797069 w 12045155"/>
                <a:gd name="connsiteY22" fmla="*/ 999707 h 2510087"/>
                <a:gd name="connsiteX23" fmla="*/ 12045155 w 12045155"/>
                <a:gd name="connsiteY23" fmla="*/ 699393 h 2510087"/>
                <a:gd name="connsiteX24" fmla="*/ 12045155 w 12045155"/>
                <a:gd name="connsiteY24" fmla="*/ 261011 h 2510087"/>
                <a:gd name="connsiteX25" fmla="*/ 11438839 w 12045155"/>
                <a:gd name="connsiteY25" fmla="*/ 435586 h 2510087"/>
                <a:gd name="connsiteX26" fmla="*/ 11059114 w 12045155"/>
                <a:gd name="connsiteY26" fmla="*/ 1047471 h 2510087"/>
                <a:gd name="connsiteX27" fmla="*/ 10602369 w 12045155"/>
                <a:gd name="connsiteY27" fmla="*/ 1661632 h 2510087"/>
                <a:gd name="connsiteX28" fmla="*/ 10034574 w 12045155"/>
                <a:gd name="connsiteY28" fmla="*/ 1618415 h 2510087"/>
                <a:gd name="connsiteX29" fmla="*/ 9527677 w 12045155"/>
                <a:gd name="connsiteY29" fmla="*/ 1058846 h 2510087"/>
                <a:gd name="connsiteX30" fmla="*/ 9053022 w 12045155"/>
                <a:gd name="connsiteY30" fmla="*/ 581165 h 2510087"/>
                <a:gd name="connsiteX31" fmla="*/ 8450223 w 12045155"/>
                <a:gd name="connsiteY31" fmla="*/ 156695 h 2510087"/>
                <a:gd name="connsiteX32" fmla="*/ 7635927 w 12045155"/>
                <a:gd name="connsiteY32" fmla="*/ 105714 h 2510087"/>
                <a:gd name="connsiteX33" fmla="*/ 7049636 w 12045155"/>
                <a:gd name="connsiteY33" fmla="*/ 199189 h 2510087"/>
                <a:gd name="connsiteX34" fmla="*/ 6342549 w 12045155"/>
                <a:gd name="connsiteY34" fmla="*/ 146630 h 2510087"/>
                <a:gd name="connsiteX35" fmla="*/ 5902209 w 12045155"/>
                <a:gd name="connsiteY35" fmla="*/ 249658 h 2510087"/>
                <a:gd name="connsiteX36" fmla="*/ 5182195 w 12045155"/>
                <a:gd name="connsiteY36" fmla="*/ 292664 h 2510087"/>
                <a:gd name="connsiteX37" fmla="*/ 3822487 w 12045155"/>
                <a:gd name="connsiteY37" fmla="*/ 90799 h 2510087"/>
                <a:gd name="connsiteX38" fmla="*/ 2370177 w 12045155"/>
                <a:gd name="connsiteY38" fmla="*/ 156695 h 2510087"/>
                <a:gd name="connsiteX39" fmla="*/ 578745 w 12045155"/>
                <a:gd name="connsiteY39" fmla="*/ 148189 h 2510087"/>
                <a:gd name="connsiteX40" fmla="*/ 38923 w 12045155"/>
                <a:gd name="connsiteY40" fmla="*/ 157240 h 2510087"/>
                <a:gd name="connsiteX0" fmla="*/ 379789 w 12386021"/>
                <a:gd name="connsiteY0" fmla="*/ 157240 h 2510087"/>
                <a:gd name="connsiteX1" fmla="*/ 345631 w 12386021"/>
                <a:gd name="connsiteY1" fmla="*/ 229969 h 2510087"/>
                <a:gd name="connsiteX2" fmla="*/ 8590649 w 12386021"/>
                <a:gd name="connsiteY2" fmla="*/ 507371 h 2510087"/>
                <a:gd name="connsiteX3" fmla="*/ 372513 w 12386021"/>
                <a:gd name="connsiteY3" fmla="*/ 700450 h 2510087"/>
                <a:gd name="connsiteX4" fmla="*/ 8652699 w 12386021"/>
                <a:gd name="connsiteY4" fmla="*/ 777261 h 2510087"/>
                <a:gd name="connsiteX5" fmla="*/ 421073 w 12386021"/>
                <a:gd name="connsiteY5" fmla="*/ 937416 h 2510087"/>
                <a:gd name="connsiteX6" fmla="*/ 1277874 w 12386021"/>
                <a:gd name="connsiteY6" fmla="*/ 844973 h 2510087"/>
                <a:gd name="connsiteX7" fmla="*/ 1972733 w 12386021"/>
                <a:gd name="connsiteY7" fmla="*/ 878961 h 2510087"/>
                <a:gd name="connsiteX8" fmla="*/ 2428743 w 12386021"/>
                <a:gd name="connsiteY8" fmla="*/ 819473 h 2510087"/>
                <a:gd name="connsiteX9" fmla="*/ 2906465 w 12386021"/>
                <a:gd name="connsiteY9" fmla="*/ 819473 h 2510087"/>
                <a:gd name="connsiteX10" fmla="*/ 3677334 w 12386021"/>
                <a:gd name="connsiteY10" fmla="*/ 861967 h 2510087"/>
                <a:gd name="connsiteX11" fmla="*/ 4556770 w 12386021"/>
                <a:gd name="connsiteY11" fmla="*/ 844973 h 2510087"/>
                <a:gd name="connsiteX12" fmla="*/ 5186488 w 12386021"/>
                <a:gd name="connsiteY12" fmla="*/ 853479 h 2510087"/>
                <a:gd name="connsiteX13" fmla="*/ 6022498 w 12386021"/>
                <a:gd name="connsiteY13" fmla="*/ 853479 h 2510087"/>
                <a:gd name="connsiteX14" fmla="*/ 7086511 w 12386021"/>
                <a:gd name="connsiteY14" fmla="*/ 878979 h 2510087"/>
                <a:gd name="connsiteX15" fmla="*/ 7835666 w 12386021"/>
                <a:gd name="connsiteY15" fmla="*/ 870473 h 2510087"/>
                <a:gd name="connsiteX16" fmla="*/ 8367661 w 12386021"/>
                <a:gd name="connsiteY16" fmla="*/ 861967 h 2510087"/>
                <a:gd name="connsiteX17" fmla="*/ 8988678 w 12386021"/>
                <a:gd name="connsiteY17" fmla="*/ 1264715 h 2510087"/>
                <a:gd name="connsiteX18" fmla="*/ 9558674 w 12386021"/>
                <a:gd name="connsiteY18" fmla="*/ 2091547 h 2510087"/>
                <a:gd name="connsiteX19" fmla="*/ 10490074 w 12386021"/>
                <a:gd name="connsiteY19" fmla="*/ 2510086 h 2510087"/>
                <a:gd name="connsiteX20" fmla="*/ 11536108 w 12386021"/>
                <a:gd name="connsiteY20" fmla="*/ 2091549 h 2510087"/>
                <a:gd name="connsiteX21" fmla="*/ 11827039 w 12386021"/>
                <a:gd name="connsiteY21" fmla="*/ 1445814 h 2510087"/>
                <a:gd name="connsiteX22" fmla="*/ 12137935 w 12386021"/>
                <a:gd name="connsiteY22" fmla="*/ 999707 h 2510087"/>
                <a:gd name="connsiteX23" fmla="*/ 12386021 w 12386021"/>
                <a:gd name="connsiteY23" fmla="*/ 699393 h 2510087"/>
                <a:gd name="connsiteX24" fmla="*/ 12386021 w 12386021"/>
                <a:gd name="connsiteY24" fmla="*/ 261011 h 2510087"/>
                <a:gd name="connsiteX25" fmla="*/ 11779705 w 12386021"/>
                <a:gd name="connsiteY25" fmla="*/ 435586 h 2510087"/>
                <a:gd name="connsiteX26" fmla="*/ 11399980 w 12386021"/>
                <a:gd name="connsiteY26" fmla="*/ 1047471 h 2510087"/>
                <a:gd name="connsiteX27" fmla="*/ 10943235 w 12386021"/>
                <a:gd name="connsiteY27" fmla="*/ 1661632 h 2510087"/>
                <a:gd name="connsiteX28" fmla="*/ 10375440 w 12386021"/>
                <a:gd name="connsiteY28" fmla="*/ 1618415 h 2510087"/>
                <a:gd name="connsiteX29" fmla="*/ 9868543 w 12386021"/>
                <a:gd name="connsiteY29" fmla="*/ 1058846 h 2510087"/>
                <a:gd name="connsiteX30" fmla="*/ 9393888 w 12386021"/>
                <a:gd name="connsiteY30" fmla="*/ 581165 h 2510087"/>
                <a:gd name="connsiteX31" fmla="*/ 8791089 w 12386021"/>
                <a:gd name="connsiteY31" fmla="*/ 156695 h 2510087"/>
                <a:gd name="connsiteX32" fmla="*/ 7976793 w 12386021"/>
                <a:gd name="connsiteY32" fmla="*/ 105714 h 2510087"/>
                <a:gd name="connsiteX33" fmla="*/ 7390502 w 12386021"/>
                <a:gd name="connsiteY33" fmla="*/ 199189 h 2510087"/>
                <a:gd name="connsiteX34" fmla="*/ 6683415 w 12386021"/>
                <a:gd name="connsiteY34" fmla="*/ 146630 h 2510087"/>
                <a:gd name="connsiteX35" fmla="*/ 6243075 w 12386021"/>
                <a:gd name="connsiteY35" fmla="*/ 249658 h 2510087"/>
                <a:gd name="connsiteX36" fmla="*/ 5523061 w 12386021"/>
                <a:gd name="connsiteY36" fmla="*/ 292664 h 2510087"/>
                <a:gd name="connsiteX37" fmla="*/ 4163353 w 12386021"/>
                <a:gd name="connsiteY37" fmla="*/ 90799 h 2510087"/>
                <a:gd name="connsiteX38" fmla="*/ 2711043 w 12386021"/>
                <a:gd name="connsiteY38" fmla="*/ 156695 h 2510087"/>
                <a:gd name="connsiteX39" fmla="*/ 919611 w 12386021"/>
                <a:gd name="connsiteY39" fmla="*/ 148189 h 2510087"/>
                <a:gd name="connsiteX40" fmla="*/ 379789 w 12386021"/>
                <a:gd name="connsiteY40" fmla="*/ 157240 h 2510087"/>
                <a:gd name="connsiteX0" fmla="*/ 379791 w 12386023"/>
                <a:gd name="connsiteY0" fmla="*/ 157240 h 2510087"/>
                <a:gd name="connsiteX1" fmla="*/ 345633 w 12386023"/>
                <a:gd name="connsiteY1" fmla="*/ 229969 h 2510087"/>
                <a:gd name="connsiteX2" fmla="*/ 8590651 w 12386023"/>
                <a:gd name="connsiteY2" fmla="*/ 507371 h 2510087"/>
                <a:gd name="connsiteX3" fmla="*/ 8697801 w 12386023"/>
                <a:gd name="connsiteY3" fmla="*/ 591261 h 2510087"/>
                <a:gd name="connsiteX4" fmla="*/ 8652701 w 12386023"/>
                <a:gd name="connsiteY4" fmla="*/ 777261 h 2510087"/>
                <a:gd name="connsiteX5" fmla="*/ 421075 w 12386023"/>
                <a:gd name="connsiteY5" fmla="*/ 937416 h 2510087"/>
                <a:gd name="connsiteX6" fmla="*/ 1277876 w 12386023"/>
                <a:gd name="connsiteY6" fmla="*/ 844973 h 2510087"/>
                <a:gd name="connsiteX7" fmla="*/ 1972735 w 12386023"/>
                <a:gd name="connsiteY7" fmla="*/ 878961 h 2510087"/>
                <a:gd name="connsiteX8" fmla="*/ 2428745 w 12386023"/>
                <a:gd name="connsiteY8" fmla="*/ 819473 h 2510087"/>
                <a:gd name="connsiteX9" fmla="*/ 2906467 w 12386023"/>
                <a:gd name="connsiteY9" fmla="*/ 819473 h 2510087"/>
                <a:gd name="connsiteX10" fmla="*/ 3677336 w 12386023"/>
                <a:gd name="connsiteY10" fmla="*/ 861967 h 2510087"/>
                <a:gd name="connsiteX11" fmla="*/ 4556772 w 12386023"/>
                <a:gd name="connsiteY11" fmla="*/ 844973 h 2510087"/>
                <a:gd name="connsiteX12" fmla="*/ 5186490 w 12386023"/>
                <a:gd name="connsiteY12" fmla="*/ 853479 h 2510087"/>
                <a:gd name="connsiteX13" fmla="*/ 6022500 w 12386023"/>
                <a:gd name="connsiteY13" fmla="*/ 853479 h 2510087"/>
                <a:gd name="connsiteX14" fmla="*/ 7086513 w 12386023"/>
                <a:gd name="connsiteY14" fmla="*/ 878979 h 2510087"/>
                <a:gd name="connsiteX15" fmla="*/ 7835668 w 12386023"/>
                <a:gd name="connsiteY15" fmla="*/ 870473 h 2510087"/>
                <a:gd name="connsiteX16" fmla="*/ 8367663 w 12386023"/>
                <a:gd name="connsiteY16" fmla="*/ 861967 h 2510087"/>
                <a:gd name="connsiteX17" fmla="*/ 8988680 w 12386023"/>
                <a:gd name="connsiteY17" fmla="*/ 1264715 h 2510087"/>
                <a:gd name="connsiteX18" fmla="*/ 9558676 w 12386023"/>
                <a:gd name="connsiteY18" fmla="*/ 2091547 h 2510087"/>
                <a:gd name="connsiteX19" fmla="*/ 10490076 w 12386023"/>
                <a:gd name="connsiteY19" fmla="*/ 2510086 h 2510087"/>
                <a:gd name="connsiteX20" fmla="*/ 11536110 w 12386023"/>
                <a:gd name="connsiteY20" fmla="*/ 2091549 h 2510087"/>
                <a:gd name="connsiteX21" fmla="*/ 11827041 w 12386023"/>
                <a:gd name="connsiteY21" fmla="*/ 1445814 h 2510087"/>
                <a:gd name="connsiteX22" fmla="*/ 12137937 w 12386023"/>
                <a:gd name="connsiteY22" fmla="*/ 999707 h 2510087"/>
                <a:gd name="connsiteX23" fmla="*/ 12386023 w 12386023"/>
                <a:gd name="connsiteY23" fmla="*/ 699393 h 2510087"/>
                <a:gd name="connsiteX24" fmla="*/ 12386023 w 12386023"/>
                <a:gd name="connsiteY24" fmla="*/ 261011 h 2510087"/>
                <a:gd name="connsiteX25" fmla="*/ 11779707 w 12386023"/>
                <a:gd name="connsiteY25" fmla="*/ 435586 h 2510087"/>
                <a:gd name="connsiteX26" fmla="*/ 11399982 w 12386023"/>
                <a:gd name="connsiteY26" fmla="*/ 1047471 h 2510087"/>
                <a:gd name="connsiteX27" fmla="*/ 10943237 w 12386023"/>
                <a:gd name="connsiteY27" fmla="*/ 1661632 h 2510087"/>
                <a:gd name="connsiteX28" fmla="*/ 10375442 w 12386023"/>
                <a:gd name="connsiteY28" fmla="*/ 1618415 h 2510087"/>
                <a:gd name="connsiteX29" fmla="*/ 9868545 w 12386023"/>
                <a:gd name="connsiteY29" fmla="*/ 1058846 h 2510087"/>
                <a:gd name="connsiteX30" fmla="*/ 9393890 w 12386023"/>
                <a:gd name="connsiteY30" fmla="*/ 581165 h 2510087"/>
                <a:gd name="connsiteX31" fmla="*/ 8791091 w 12386023"/>
                <a:gd name="connsiteY31" fmla="*/ 156695 h 2510087"/>
                <a:gd name="connsiteX32" fmla="*/ 7976795 w 12386023"/>
                <a:gd name="connsiteY32" fmla="*/ 105714 h 2510087"/>
                <a:gd name="connsiteX33" fmla="*/ 7390504 w 12386023"/>
                <a:gd name="connsiteY33" fmla="*/ 199189 h 2510087"/>
                <a:gd name="connsiteX34" fmla="*/ 6683417 w 12386023"/>
                <a:gd name="connsiteY34" fmla="*/ 146630 h 2510087"/>
                <a:gd name="connsiteX35" fmla="*/ 6243077 w 12386023"/>
                <a:gd name="connsiteY35" fmla="*/ 249658 h 2510087"/>
                <a:gd name="connsiteX36" fmla="*/ 5523063 w 12386023"/>
                <a:gd name="connsiteY36" fmla="*/ 292664 h 2510087"/>
                <a:gd name="connsiteX37" fmla="*/ 4163355 w 12386023"/>
                <a:gd name="connsiteY37" fmla="*/ 90799 h 2510087"/>
                <a:gd name="connsiteX38" fmla="*/ 2711045 w 12386023"/>
                <a:gd name="connsiteY38" fmla="*/ 156695 h 2510087"/>
                <a:gd name="connsiteX39" fmla="*/ 919613 w 12386023"/>
                <a:gd name="connsiteY39" fmla="*/ 148189 h 2510087"/>
                <a:gd name="connsiteX40" fmla="*/ 379791 w 12386023"/>
                <a:gd name="connsiteY40" fmla="*/ 157240 h 2510087"/>
                <a:gd name="connsiteX0" fmla="*/ 379791 w 12386023"/>
                <a:gd name="connsiteY0" fmla="*/ 157240 h 2510087"/>
                <a:gd name="connsiteX1" fmla="*/ 345633 w 12386023"/>
                <a:gd name="connsiteY1" fmla="*/ 229969 h 2510087"/>
                <a:gd name="connsiteX2" fmla="*/ 8676628 w 12386023"/>
                <a:gd name="connsiteY2" fmla="*/ 434581 h 2510087"/>
                <a:gd name="connsiteX3" fmla="*/ 8697801 w 12386023"/>
                <a:gd name="connsiteY3" fmla="*/ 591261 h 2510087"/>
                <a:gd name="connsiteX4" fmla="*/ 8652701 w 12386023"/>
                <a:gd name="connsiteY4" fmla="*/ 777261 h 2510087"/>
                <a:gd name="connsiteX5" fmla="*/ 421075 w 12386023"/>
                <a:gd name="connsiteY5" fmla="*/ 937416 h 2510087"/>
                <a:gd name="connsiteX6" fmla="*/ 1277876 w 12386023"/>
                <a:gd name="connsiteY6" fmla="*/ 844973 h 2510087"/>
                <a:gd name="connsiteX7" fmla="*/ 1972735 w 12386023"/>
                <a:gd name="connsiteY7" fmla="*/ 878961 h 2510087"/>
                <a:gd name="connsiteX8" fmla="*/ 2428745 w 12386023"/>
                <a:gd name="connsiteY8" fmla="*/ 819473 h 2510087"/>
                <a:gd name="connsiteX9" fmla="*/ 2906467 w 12386023"/>
                <a:gd name="connsiteY9" fmla="*/ 819473 h 2510087"/>
                <a:gd name="connsiteX10" fmla="*/ 3677336 w 12386023"/>
                <a:gd name="connsiteY10" fmla="*/ 861967 h 2510087"/>
                <a:gd name="connsiteX11" fmla="*/ 4556772 w 12386023"/>
                <a:gd name="connsiteY11" fmla="*/ 844973 h 2510087"/>
                <a:gd name="connsiteX12" fmla="*/ 5186490 w 12386023"/>
                <a:gd name="connsiteY12" fmla="*/ 853479 h 2510087"/>
                <a:gd name="connsiteX13" fmla="*/ 6022500 w 12386023"/>
                <a:gd name="connsiteY13" fmla="*/ 853479 h 2510087"/>
                <a:gd name="connsiteX14" fmla="*/ 7086513 w 12386023"/>
                <a:gd name="connsiteY14" fmla="*/ 878979 h 2510087"/>
                <a:gd name="connsiteX15" fmla="*/ 7835668 w 12386023"/>
                <a:gd name="connsiteY15" fmla="*/ 870473 h 2510087"/>
                <a:gd name="connsiteX16" fmla="*/ 8367663 w 12386023"/>
                <a:gd name="connsiteY16" fmla="*/ 861967 h 2510087"/>
                <a:gd name="connsiteX17" fmla="*/ 8988680 w 12386023"/>
                <a:gd name="connsiteY17" fmla="*/ 1264715 h 2510087"/>
                <a:gd name="connsiteX18" fmla="*/ 9558676 w 12386023"/>
                <a:gd name="connsiteY18" fmla="*/ 2091547 h 2510087"/>
                <a:gd name="connsiteX19" fmla="*/ 10490076 w 12386023"/>
                <a:gd name="connsiteY19" fmla="*/ 2510086 h 2510087"/>
                <a:gd name="connsiteX20" fmla="*/ 11536110 w 12386023"/>
                <a:gd name="connsiteY20" fmla="*/ 2091549 h 2510087"/>
                <a:gd name="connsiteX21" fmla="*/ 11827041 w 12386023"/>
                <a:gd name="connsiteY21" fmla="*/ 1445814 h 2510087"/>
                <a:gd name="connsiteX22" fmla="*/ 12137937 w 12386023"/>
                <a:gd name="connsiteY22" fmla="*/ 999707 h 2510087"/>
                <a:gd name="connsiteX23" fmla="*/ 12386023 w 12386023"/>
                <a:gd name="connsiteY23" fmla="*/ 699393 h 2510087"/>
                <a:gd name="connsiteX24" fmla="*/ 12386023 w 12386023"/>
                <a:gd name="connsiteY24" fmla="*/ 261011 h 2510087"/>
                <a:gd name="connsiteX25" fmla="*/ 11779707 w 12386023"/>
                <a:gd name="connsiteY25" fmla="*/ 435586 h 2510087"/>
                <a:gd name="connsiteX26" fmla="*/ 11399982 w 12386023"/>
                <a:gd name="connsiteY26" fmla="*/ 1047471 h 2510087"/>
                <a:gd name="connsiteX27" fmla="*/ 10943237 w 12386023"/>
                <a:gd name="connsiteY27" fmla="*/ 1661632 h 2510087"/>
                <a:gd name="connsiteX28" fmla="*/ 10375442 w 12386023"/>
                <a:gd name="connsiteY28" fmla="*/ 1618415 h 2510087"/>
                <a:gd name="connsiteX29" fmla="*/ 9868545 w 12386023"/>
                <a:gd name="connsiteY29" fmla="*/ 1058846 h 2510087"/>
                <a:gd name="connsiteX30" fmla="*/ 9393890 w 12386023"/>
                <a:gd name="connsiteY30" fmla="*/ 581165 h 2510087"/>
                <a:gd name="connsiteX31" fmla="*/ 8791091 w 12386023"/>
                <a:gd name="connsiteY31" fmla="*/ 156695 h 2510087"/>
                <a:gd name="connsiteX32" fmla="*/ 7976795 w 12386023"/>
                <a:gd name="connsiteY32" fmla="*/ 105714 h 2510087"/>
                <a:gd name="connsiteX33" fmla="*/ 7390504 w 12386023"/>
                <a:gd name="connsiteY33" fmla="*/ 199189 h 2510087"/>
                <a:gd name="connsiteX34" fmla="*/ 6683417 w 12386023"/>
                <a:gd name="connsiteY34" fmla="*/ 146630 h 2510087"/>
                <a:gd name="connsiteX35" fmla="*/ 6243077 w 12386023"/>
                <a:gd name="connsiteY35" fmla="*/ 249658 h 2510087"/>
                <a:gd name="connsiteX36" fmla="*/ 5523063 w 12386023"/>
                <a:gd name="connsiteY36" fmla="*/ 292664 h 2510087"/>
                <a:gd name="connsiteX37" fmla="*/ 4163355 w 12386023"/>
                <a:gd name="connsiteY37" fmla="*/ 90799 h 2510087"/>
                <a:gd name="connsiteX38" fmla="*/ 2711045 w 12386023"/>
                <a:gd name="connsiteY38" fmla="*/ 156695 h 2510087"/>
                <a:gd name="connsiteX39" fmla="*/ 919613 w 12386023"/>
                <a:gd name="connsiteY39" fmla="*/ 148189 h 2510087"/>
                <a:gd name="connsiteX40" fmla="*/ 379791 w 12386023"/>
                <a:gd name="connsiteY40" fmla="*/ 157240 h 2510087"/>
                <a:gd name="connsiteX0" fmla="*/ 8705072 w 12386023"/>
                <a:gd name="connsiteY0" fmla="*/ 284622 h 2510087"/>
                <a:gd name="connsiteX1" fmla="*/ 345633 w 12386023"/>
                <a:gd name="connsiteY1" fmla="*/ 229969 h 2510087"/>
                <a:gd name="connsiteX2" fmla="*/ 8676628 w 12386023"/>
                <a:gd name="connsiteY2" fmla="*/ 434581 h 2510087"/>
                <a:gd name="connsiteX3" fmla="*/ 8697801 w 12386023"/>
                <a:gd name="connsiteY3" fmla="*/ 591261 h 2510087"/>
                <a:gd name="connsiteX4" fmla="*/ 8652701 w 12386023"/>
                <a:gd name="connsiteY4" fmla="*/ 777261 h 2510087"/>
                <a:gd name="connsiteX5" fmla="*/ 421075 w 12386023"/>
                <a:gd name="connsiteY5" fmla="*/ 937416 h 2510087"/>
                <a:gd name="connsiteX6" fmla="*/ 1277876 w 12386023"/>
                <a:gd name="connsiteY6" fmla="*/ 844973 h 2510087"/>
                <a:gd name="connsiteX7" fmla="*/ 1972735 w 12386023"/>
                <a:gd name="connsiteY7" fmla="*/ 878961 h 2510087"/>
                <a:gd name="connsiteX8" fmla="*/ 2428745 w 12386023"/>
                <a:gd name="connsiteY8" fmla="*/ 819473 h 2510087"/>
                <a:gd name="connsiteX9" fmla="*/ 2906467 w 12386023"/>
                <a:gd name="connsiteY9" fmla="*/ 819473 h 2510087"/>
                <a:gd name="connsiteX10" fmla="*/ 3677336 w 12386023"/>
                <a:gd name="connsiteY10" fmla="*/ 861967 h 2510087"/>
                <a:gd name="connsiteX11" fmla="*/ 4556772 w 12386023"/>
                <a:gd name="connsiteY11" fmla="*/ 844973 h 2510087"/>
                <a:gd name="connsiteX12" fmla="*/ 5186490 w 12386023"/>
                <a:gd name="connsiteY12" fmla="*/ 853479 h 2510087"/>
                <a:gd name="connsiteX13" fmla="*/ 6022500 w 12386023"/>
                <a:gd name="connsiteY13" fmla="*/ 853479 h 2510087"/>
                <a:gd name="connsiteX14" fmla="*/ 7086513 w 12386023"/>
                <a:gd name="connsiteY14" fmla="*/ 878979 h 2510087"/>
                <a:gd name="connsiteX15" fmla="*/ 7835668 w 12386023"/>
                <a:gd name="connsiteY15" fmla="*/ 870473 h 2510087"/>
                <a:gd name="connsiteX16" fmla="*/ 8367663 w 12386023"/>
                <a:gd name="connsiteY16" fmla="*/ 861967 h 2510087"/>
                <a:gd name="connsiteX17" fmla="*/ 8988680 w 12386023"/>
                <a:gd name="connsiteY17" fmla="*/ 1264715 h 2510087"/>
                <a:gd name="connsiteX18" fmla="*/ 9558676 w 12386023"/>
                <a:gd name="connsiteY18" fmla="*/ 2091547 h 2510087"/>
                <a:gd name="connsiteX19" fmla="*/ 10490076 w 12386023"/>
                <a:gd name="connsiteY19" fmla="*/ 2510086 h 2510087"/>
                <a:gd name="connsiteX20" fmla="*/ 11536110 w 12386023"/>
                <a:gd name="connsiteY20" fmla="*/ 2091549 h 2510087"/>
                <a:gd name="connsiteX21" fmla="*/ 11827041 w 12386023"/>
                <a:gd name="connsiteY21" fmla="*/ 1445814 h 2510087"/>
                <a:gd name="connsiteX22" fmla="*/ 12137937 w 12386023"/>
                <a:gd name="connsiteY22" fmla="*/ 999707 h 2510087"/>
                <a:gd name="connsiteX23" fmla="*/ 12386023 w 12386023"/>
                <a:gd name="connsiteY23" fmla="*/ 699393 h 2510087"/>
                <a:gd name="connsiteX24" fmla="*/ 12386023 w 12386023"/>
                <a:gd name="connsiteY24" fmla="*/ 261011 h 2510087"/>
                <a:gd name="connsiteX25" fmla="*/ 11779707 w 12386023"/>
                <a:gd name="connsiteY25" fmla="*/ 435586 h 2510087"/>
                <a:gd name="connsiteX26" fmla="*/ 11399982 w 12386023"/>
                <a:gd name="connsiteY26" fmla="*/ 1047471 h 2510087"/>
                <a:gd name="connsiteX27" fmla="*/ 10943237 w 12386023"/>
                <a:gd name="connsiteY27" fmla="*/ 1661632 h 2510087"/>
                <a:gd name="connsiteX28" fmla="*/ 10375442 w 12386023"/>
                <a:gd name="connsiteY28" fmla="*/ 1618415 h 2510087"/>
                <a:gd name="connsiteX29" fmla="*/ 9868545 w 12386023"/>
                <a:gd name="connsiteY29" fmla="*/ 1058846 h 2510087"/>
                <a:gd name="connsiteX30" fmla="*/ 9393890 w 12386023"/>
                <a:gd name="connsiteY30" fmla="*/ 581165 h 2510087"/>
                <a:gd name="connsiteX31" fmla="*/ 8791091 w 12386023"/>
                <a:gd name="connsiteY31" fmla="*/ 156695 h 2510087"/>
                <a:gd name="connsiteX32" fmla="*/ 7976795 w 12386023"/>
                <a:gd name="connsiteY32" fmla="*/ 105714 h 2510087"/>
                <a:gd name="connsiteX33" fmla="*/ 7390504 w 12386023"/>
                <a:gd name="connsiteY33" fmla="*/ 199189 h 2510087"/>
                <a:gd name="connsiteX34" fmla="*/ 6683417 w 12386023"/>
                <a:gd name="connsiteY34" fmla="*/ 146630 h 2510087"/>
                <a:gd name="connsiteX35" fmla="*/ 6243077 w 12386023"/>
                <a:gd name="connsiteY35" fmla="*/ 249658 h 2510087"/>
                <a:gd name="connsiteX36" fmla="*/ 5523063 w 12386023"/>
                <a:gd name="connsiteY36" fmla="*/ 292664 h 2510087"/>
                <a:gd name="connsiteX37" fmla="*/ 4163355 w 12386023"/>
                <a:gd name="connsiteY37" fmla="*/ 90799 h 2510087"/>
                <a:gd name="connsiteX38" fmla="*/ 2711045 w 12386023"/>
                <a:gd name="connsiteY38" fmla="*/ 156695 h 2510087"/>
                <a:gd name="connsiteX39" fmla="*/ 919613 w 12386023"/>
                <a:gd name="connsiteY39" fmla="*/ 148189 h 2510087"/>
                <a:gd name="connsiteX40" fmla="*/ 8705072 w 12386023"/>
                <a:gd name="connsiteY40" fmla="*/ 284622 h 2510087"/>
                <a:gd name="connsiteX0" fmla="*/ 8705072 w 12386023"/>
                <a:gd name="connsiteY0" fmla="*/ 284622 h 2510087"/>
                <a:gd name="connsiteX1" fmla="*/ 8742561 w 12386023"/>
                <a:gd name="connsiteY1" fmla="*/ 521128 h 2510087"/>
                <a:gd name="connsiteX2" fmla="*/ 8676628 w 12386023"/>
                <a:gd name="connsiteY2" fmla="*/ 434581 h 2510087"/>
                <a:gd name="connsiteX3" fmla="*/ 8697801 w 12386023"/>
                <a:gd name="connsiteY3" fmla="*/ 591261 h 2510087"/>
                <a:gd name="connsiteX4" fmla="*/ 8652701 w 12386023"/>
                <a:gd name="connsiteY4" fmla="*/ 777261 h 2510087"/>
                <a:gd name="connsiteX5" fmla="*/ 421075 w 12386023"/>
                <a:gd name="connsiteY5" fmla="*/ 937416 h 2510087"/>
                <a:gd name="connsiteX6" fmla="*/ 1277876 w 12386023"/>
                <a:gd name="connsiteY6" fmla="*/ 844973 h 2510087"/>
                <a:gd name="connsiteX7" fmla="*/ 1972735 w 12386023"/>
                <a:gd name="connsiteY7" fmla="*/ 878961 h 2510087"/>
                <a:gd name="connsiteX8" fmla="*/ 2428745 w 12386023"/>
                <a:gd name="connsiteY8" fmla="*/ 819473 h 2510087"/>
                <a:gd name="connsiteX9" fmla="*/ 2906467 w 12386023"/>
                <a:gd name="connsiteY9" fmla="*/ 819473 h 2510087"/>
                <a:gd name="connsiteX10" fmla="*/ 3677336 w 12386023"/>
                <a:gd name="connsiteY10" fmla="*/ 861967 h 2510087"/>
                <a:gd name="connsiteX11" fmla="*/ 4556772 w 12386023"/>
                <a:gd name="connsiteY11" fmla="*/ 844973 h 2510087"/>
                <a:gd name="connsiteX12" fmla="*/ 5186490 w 12386023"/>
                <a:gd name="connsiteY12" fmla="*/ 853479 h 2510087"/>
                <a:gd name="connsiteX13" fmla="*/ 6022500 w 12386023"/>
                <a:gd name="connsiteY13" fmla="*/ 853479 h 2510087"/>
                <a:gd name="connsiteX14" fmla="*/ 7086513 w 12386023"/>
                <a:gd name="connsiteY14" fmla="*/ 878979 h 2510087"/>
                <a:gd name="connsiteX15" fmla="*/ 7835668 w 12386023"/>
                <a:gd name="connsiteY15" fmla="*/ 870473 h 2510087"/>
                <a:gd name="connsiteX16" fmla="*/ 8367663 w 12386023"/>
                <a:gd name="connsiteY16" fmla="*/ 861967 h 2510087"/>
                <a:gd name="connsiteX17" fmla="*/ 8988680 w 12386023"/>
                <a:gd name="connsiteY17" fmla="*/ 1264715 h 2510087"/>
                <a:gd name="connsiteX18" fmla="*/ 9558676 w 12386023"/>
                <a:gd name="connsiteY18" fmla="*/ 2091547 h 2510087"/>
                <a:gd name="connsiteX19" fmla="*/ 10490076 w 12386023"/>
                <a:gd name="connsiteY19" fmla="*/ 2510086 h 2510087"/>
                <a:gd name="connsiteX20" fmla="*/ 11536110 w 12386023"/>
                <a:gd name="connsiteY20" fmla="*/ 2091549 h 2510087"/>
                <a:gd name="connsiteX21" fmla="*/ 11827041 w 12386023"/>
                <a:gd name="connsiteY21" fmla="*/ 1445814 h 2510087"/>
                <a:gd name="connsiteX22" fmla="*/ 12137937 w 12386023"/>
                <a:gd name="connsiteY22" fmla="*/ 999707 h 2510087"/>
                <a:gd name="connsiteX23" fmla="*/ 12386023 w 12386023"/>
                <a:gd name="connsiteY23" fmla="*/ 699393 h 2510087"/>
                <a:gd name="connsiteX24" fmla="*/ 12386023 w 12386023"/>
                <a:gd name="connsiteY24" fmla="*/ 261011 h 2510087"/>
                <a:gd name="connsiteX25" fmla="*/ 11779707 w 12386023"/>
                <a:gd name="connsiteY25" fmla="*/ 435586 h 2510087"/>
                <a:gd name="connsiteX26" fmla="*/ 11399982 w 12386023"/>
                <a:gd name="connsiteY26" fmla="*/ 1047471 h 2510087"/>
                <a:gd name="connsiteX27" fmla="*/ 10943237 w 12386023"/>
                <a:gd name="connsiteY27" fmla="*/ 1661632 h 2510087"/>
                <a:gd name="connsiteX28" fmla="*/ 10375442 w 12386023"/>
                <a:gd name="connsiteY28" fmla="*/ 1618415 h 2510087"/>
                <a:gd name="connsiteX29" fmla="*/ 9868545 w 12386023"/>
                <a:gd name="connsiteY29" fmla="*/ 1058846 h 2510087"/>
                <a:gd name="connsiteX30" fmla="*/ 9393890 w 12386023"/>
                <a:gd name="connsiteY30" fmla="*/ 581165 h 2510087"/>
                <a:gd name="connsiteX31" fmla="*/ 8791091 w 12386023"/>
                <a:gd name="connsiteY31" fmla="*/ 156695 h 2510087"/>
                <a:gd name="connsiteX32" fmla="*/ 7976795 w 12386023"/>
                <a:gd name="connsiteY32" fmla="*/ 105714 h 2510087"/>
                <a:gd name="connsiteX33" fmla="*/ 7390504 w 12386023"/>
                <a:gd name="connsiteY33" fmla="*/ 199189 h 2510087"/>
                <a:gd name="connsiteX34" fmla="*/ 6683417 w 12386023"/>
                <a:gd name="connsiteY34" fmla="*/ 146630 h 2510087"/>
                <a:gd name="connsiteX35" fmla="*/ 6243077 w 12386023"/>
                <a:gd name="connsiteY35" fmla="*/ 249658 h 2510087"/>
                <a:gd name="connsiteX36" fmla="*/ 5523063 w 12386023"/>
                <a:gd name="connsiteY36" fmla="*/ 292664 h 2510087"/>
                <a:gd name="connsiteX37" fmla="*/ 4163355 w 12386023"/>
                <a:gd name="connsiteY37" fmla="*/ 90799 h 2510087"/>
                <a:gd name="connsiteX38" fmla="*/ 2711045 w 12386023"/>
                <a:gd name="connsiteY38" fmla="*/ 156695 h 2510087"/>
                <a:gd name="connsiteX39" fmla="*/ 919613 w 12386023"/>
                <a:gd name="connsiteY39" fmla="*/ 148189 h 2510087"/>
                <a:gd name="connsiteX40" fmla="*/ 8705072 w 12386023"/>
                <a:gd name="connsiteY40" fmla="*/ 284622 h 2510087"/>
                <a:gd name="connsiteX0" fmla="*/ 8705072 w 12386023"/>
                <a:gd name="connsiteY0" fmla="*/ 284622 h 2510087"/>
                <a:gd name="connsiteX1" fmla="*/ 8742561 w 12386023"/>
                <a:gd name="connsiteY1" fmla="*/ 521128 h 2510087"/>
                <a:gd name="connsiteX2" fmla="*/ 8676628 w 12386023"/>
                <a:gd name="connsiteY2" fmla="*/ 434581 h 2510087"/>
                <a:gd name="connsiteX3" fmla="*/ 8697801 w 12386023"/>
                <a:gd name="connsiteY3" fmla="*/ 591261 h 2510087"/>
                <a:gd name="connsiteX4" fmla="*/ 8652701 w 12386023"/>
                <a:gd name="connsiteY4" fmla="*/ 777261 h 2510087"/>
                <a:gd name="connsiteX5" fmla="*/ 421075 w 12386023"/>
                <a:gd name="connsiteY5" fmla="*/ 937416 h 2510087"/>
                <a:gd name="connsiteX6" fmla="*/ 1277876 w 12386023"/>
                <a:gd name="connsiteY6" fmla="*/ 844973 h 2510087"/>
                <a:gd name="connsiteX7" fmla="*/ 1972735 w 12386023"/>
                <a:gd name="connsiteY7" fmla="*/ 878961 h 2510087"/>
                <a:gd name="connsiteX8" fmla="*/ 2428745 w 12386023"/>
                <a:gd name="connsiteY8" fmla="*/ 819473 h 2510087"/>
                <a:gd name="connsiteX9" fmla="*/ 2906467 w 12386023"/>
                <a:gd name="connsiteY9" fmla="*/ 819473 h 2510087"/>
                <a:gd name="connsiteX10" fmla="*/ 3677336 w 12386023"/>
                <a:gd name="connsiteY10" fmla="*/ 861967 h 2510087"/>
                <a:gd name="connsiteX11" fmla="*/ 4556772 w 12386023"/>
                <a:gd name="connsiteY11" fmla="*/ 844973 h 2510087"/>
                <a:gd name="connsiteX12" fmla="*/ 5186490 w 12386023"/>
                <a:gd name="connsiteY12" fmla="*/ 853479 h 2510087"/>
                <a:gd name="connsiteX13" fmla="*/ 6022500 w 12386023"/>
                <a:gd name="connsiteY13" fmla="*/ 853479 h 2510087"/>
                <a:gd name="connsiteX14" fmla="*/ 7086513 w 12386023"/>
                <a:gd name="connsiteY14" fmla="*/ 878979 h 2510087"/>
                <a:gd name="connsiteX15" fmla="*/ 7835668 w 12386023"/>
                <a:gd name="connsiteY15" fmla="*/ 870473 h 2510087"/>
                <a:gd name="connsiteX16" fmla="*/ 8367663 w 12386023"/>
                <a:gd name="connsiteY16" fmla="*/ 861967 h 2510087"/>
                <a:gd name="connsiteX17" fmla="*/ 8988680 w 12386023"/>
                <a:gd name="connsiteY17" fmla="*/ 1264715 h 2510087"/>
                <a:gd name="connsiteX18" fmla="*/ 9558676 w 12386023"/>
                <a:gd name="connsiteY18" fmla="*/ 2091547 h 2510087"/>
                <a:gd name="connsiteX19" fmla="*/ 10490076 w 12386023"/>
                <a:gd name="connsiteY19" fmla="*/ 2510086 h 2510087"/>
                <a:gd name="connsiteX20" fmla="*/ 11536110 w 12386023"/>
                <a:gd name="connsiteY20" fmla="*/ 2091549 h 2510087"/>
                <a:gd name="connsiteX21" fmla="*/ 11827041 w 12386023"/>
                <a:gd name="connsiteY21" fmla="*/ 1445814 h 2510087"/>
                <a:gd name="connsiteX22" fmla="*/ 12137937 w 12386023"/>
                <a:gd name="connsiteY22" fmla="*/ 999707 h 2510087"/>
                <a:gd name="connsiteX23" fmla="*/ 12386023 w 12386023"/>
                <a:gd name="connsiteY23" fmla="*/ 699393 h 2510087"/>
                <a:gd name="connsiteX24" fmla="*/ 12386023 w 12386023"/>
                <a:gd name="connsiteY24" fmla="*/ 261011 h 2510087"/>
                <a:gd name="connsiteX25" fmla="*/ 11779707 w 12386023"/>
                <a:gd name="connsiteY25" fmla="*/ 435586 h 2510087"/>
                <a:gd name="connsiteX26" fmla="*/ 11399982 w 12386023"/>
                <a:gd name="connsiteY26" fmla="*/ 1047471 h 2510087"/>
                <a:gd name="connsiteX27" fmla="*/ 10943237 w 12386023"/>
                <a:gd name="connsiteY27" fmla="*/ 1661632 h 2510087"/>
                <a:gd name="connsiteX28" fmla="*/ 10375442 w 12386023"/>
                <a:gd name="connsiteY28" fmla="*/ 1618415 h 2510087"/>
                <a:gd name="connsiteX29" fmla="*/ 9868545 w 12386023"/>
                <a:gd name="connsiteY29" fmla="*/ 1058846 h 2510087"/>
                <a:gd name="connsiteX30" fmla="*/ 9393890 w 12386023"/>
                <a:gd name="connsiteY30" fmla="*/ 581165 h 2510087"/>
                <a:gd name="connsiteX31" fmla="*/ 8791091 w 12386023"/>
                <a:gd name="connsiteY31" fmla="*/ 156695 h 2510087"/>
                <a:gd name="connsiteX32" fmla="*/ 7976795 w 12386023"/>
                <a:gd name="connsiteY32" fmla="*/ 105714 h 2510087"/>
                <a:gd name="connsiteX33" fmla="*/ 7390504 w 12386023"/>
                <a:gd name="connsiteY33" fmla="*/ 199189 h 2510087"/>
                <a:gd name="connsiteX34" fmla="*/ 6683417 w 12386023"/>
                <a:gd name="connsiteY34" fmla="*/ 146630 h 2510087"/>
                <a:gd name="connsiteX35" fmla="*/ 6243077 w 12386023"/>
                <a:gd name="connsiteY35" fmla="*/ 249658 h 2510087"/>
                <a:gd name="connsiteX36" fmla="*/ 5523063 w 12386023"/>
                <a:gd name="connsiteY36" fmla="*/ 292664 h 2510087"/>
                <a:gd name="connsiteX37" fmla="*/ 4163355 w 12386023"/>
                <a:gd name="connsiteY37" fmla="*/ 90799 h 2510087"/>
                <a:gd name="connsiteX38" fmla="*/ 2711045 w 12386023"/>
                <a:gd name="connsiteY38" fmla="*/ 156695 h 2510087"/>
                <a:gd name="connsiteX39" fmla="*/ 8714713 w 12386023"/>
                <a:gd name="connsiteY39" fmla="*/ 457545 h 2510087"/>
                <a:gd name="connsiteX40" fmla="*/ 8705072 w 12386023"/>
                <a:gd name="connsiteY40" fmla="*/ 284622 h 2510087"/>
                <a:gd name="connsiteX0" fmla="*/ 8705072 w 12386023"/>
                <a:gd name="connsiteY0" fmla="*/ 215157 h 2440622"/>
                <a:gd name="connsiteX1" fmla="*/ 8742561 w 12386023"/>
                <a:gd name="connsiteY1" fmla="*/ 451663 h 2440622"/>
                <a:gd name="connsiteX2" fmla="*/ 8676628 w 12386023"/>
                <a:gd name="connsiteY2" fmla="*/ 365116 h 2440622"/>
                <a:gd name="connsiteX3" fmla="*/ 8697801 w 12386023"/>
                <a:gd name="connsiteY3" fmla="*/ 521796 h 2440622"/>
                <a:gd name="connsiteX4" fmla="*/ 8652701 w 12386023"/>
                <a:gd name="connsiteY4" fmla="*/ 707796 h 2440622"/>
                <a:gd name="connsiteX5" fmla="*/ 421075 w 12386023"/>
                <a:gd name="connsiteY5" fmla="*/ 867951 h 2440622"/>
                <a:gd name="connsiteX6" fmla="*/ 1277876 w 12386023"/>
                <a:gd name="connsiteY6" fmla="*/ 775508 h 2440622"/>
                <a:gd name="connsiteX7" fmla="*/ 1972735 w 12386023"/>
                <a:gd name="connsiteY7" fmla="*/ 809496 h 2440622"/>
                <a:gd name="connsiteX8" fmla="*/ 2428745 w 12386023"/>
                <a:gd name="connsiteY8" fmla="*/ 750008 h 2440622"/>
                <a:gd name="connsiteX9" fmla="*/ 2906467 w 12386023"/>
                <a:gd name="connsiteY9" fmla="*/ 750008 h 2440622"/>
                <a:gd name="connsiteX10" fmla="*/ 3677336 w 12386023"/>
                <a:gd name="connsiteY10" fmla="*/ 792502 h 2440622"/>
                <a:gd name="connsiteX11" fmla="*/ 4556772 w 12386023"/>
                <a:gd name="connsiteY11" fmla="*/ 775508 h 2440622"/>
                <a:gd name="connsiteX12" fmla="*/ 5186490 w 12386023"/>
                <a:gd name="connsiteY12" fmla="*/ 784014 h 2440622"/>
                <a:gd name="connsiteX13" fmla="*/ 6022500 w 12386023"/>
                <a:gd name="connsiteY13" fmla="*/ 784014 h 2440622"/>
                <a:gd name="connsiteX14" fmla="*/ 7086513 w 12386023"/>
                <a:gd name="connsiteY14" fmla="*/ 809514 h 2440622"/>
                <a:gd name="connsiteX15" fmla="*/ 7835668 w 12386023"/>
                <a:gd name="connsiteY15" fmla="*/ 801008 h 2440622"/>
                <a:gd name="connsiteX16" fmla="*/ 8367663 w 12386023"/>
                <a:gd name="connsiteY16" fmla="*/ 792502 h 2440622"/>
                <a:gd name="connsiteX17" fmla="*/ 8988680 w 12386023"/>
                <a:gd name="connsiteY17" fmla="*/ 1195250 h 2440622"/>
                <a:gd name="connsiteX18" fmla="*/ 9558676 w 12386023"/>
                <a:gd name="connsiteY18" fmla="*/ 2022082 h 2440622"/>
                <a:gd name="connsiteX19" fmla="*/ 10490076 w 12386023"/>
                <a:gd name="connsiteY19" fmla="*/ 2440621 h 2440622"/>
                <a:gd name="connsiteX20" fmla="*/ 11536110 w 12386023"/>
                <a:gd name="connsiteY20" fmla="*/ 2022084 h 2440622"/>
                <a:gd name="connsiteX21" fmla="*/ 11827041 w 12386023"/>
                <a:gd name="connsiteY21" fmla="*/ 1376349 h 2440622"/>
                <a:gd name="connsiteX22" fmla="*/ 12137937 w 12386023"/>
                <a:gd name="connsiteY22" fmla="*/ 930242 h 2440622"/>
                <a:gd name="connsiteX23" fmla="*/ 12386023 w 12386023"/>
                <a:gd name="connsiteY23" fmla="*/ 629928 h 2440622"/>
                <a:gd name="connsiteX24" fmla="*/ 12386023 w 12386023"/>
                <a:gd name="connsiteY24" fmla="*/ 191546 h 2440622"/>
                <a:gd name="connsiteX25" fmla="*/ 11779707 w 12386023"/>
                <a:gd name="connsiteY25" fmla="*/ 366121 h 2440622"/>
                <a:gd name="connsiteX26" fmla="*/ 11399982 w 12386023"/>
                <a:gd name="connsiteY26" fmla="*/ 978006 h 2440622"/>
                <a:gd name="connsiteX27" fmla="*/ 10943237 w 12386023"/>
                <a:gd name="connsiteY27" fmla="*/ 1592167 h 2440622"/>
                <a:gd name="connsiteX28" fmla="*/ 10375442 w 12386023"/>
                <a:gd name="connsiteY28" fmla="*/ 1548950 h 2440622"/>
                <a:gd name="connsiteX29" fmla="*/ 9868545 w 12386023"/>
                <a:gd name="connsiteY29" fmla="*/ 989381 h 2440622"/>
                <a:gd name="connsiteX30" fmla="*/ 9393890 w 12386023"/>
                <a:gd name="connsiteY30" fmla="*/ 511700 h 2440622"/>
                <a:gd name="connsiteX31" fmla="*/ 8791091 w 12386023"/>
                <a:gd name="connsiteY31" fmla="*/ 87230 h 2440622"/>
                <a:gd name="connsiteX32" fmla="*/ 7976795 w 12386023"/>
                <a:gd name="connsiteY32" fmla="*/ 36249 h 2440622"/>
                <a:gd name="connsiteX33" fmla="*/ 7390504 w 12386023"/>
                <a:gd name="connsiteY33" fmla="*/ 129724 h 2440622"/>
                <a:gd name="connsiteX34" fmla="*/ 6683417 w 12386023"/>
                <a:gd name="connsiteY34" fmla="*/ 77165 h 2440622"/>
                <a:gd name="connsiteX35" fmla="*/ 6243077 w 12386023"/>
                <a:gd name="connsiteY35" fmla="*/ 180193 h 2440622"/>
                <a:gd name="connsiteX36" fmla="*/ 5523063 w 12386023"/>
                <a:gd name="connsiteY36" fmla="*/ 223199 h 2440622"/>
                <a:gd name="connsiteX37" fmla="*/ 4163355 w 12386023"/>
                <a:gd name="connsiteY37" fmla="*/ 21334 h 2440622"/>
                <a:gd name="connsiteX38" fmla="*/ 9073222 w 12386023"/>
                <a:gd name="connsiteY38" fmla="*/ 815126 h 2440622"/>
                <a:gd name="connsiteX39" fmla="*/ 8714713 w 12386023"/>
                <a:gd name="connsiteY39" fmla="*/ 388080 h 2440622"/>
                <a:gd name="connsiteX40" fmla="*/ 8705072 w 12386023"/>
                <a:gd name="connsiteY40" fmla="*/ 215157 h 2440622"/>
                <a:gd name="connsiteX0" fmla="*/ 8705072 w 12386023"/>
                <a:gd name="connsiteY0" fmla="*/ 200377 h 2425842"/>
                <a:gd name="connsiteX1" fmla="*/ 8742561 w 12386023"/>
                <a:gd name="connsiteY1" fmla="*/ 436883 h 2425842"/>
                <a:gd name="connsiteX2" fmla="*/ 8676628 w 12386023"/>
                <a:gd name="connsiteY2" fmla="*/ 350336 h 2425842"/>
                <a:gd name="connsiteX3" fmla="*/ 8697801 w 12386023"/>
                <a:gd name="connsiteY3" fmla="*/ 507016 h 2425842"/>
                <a:gd name="connsiteX4" fmla="*/ 8652701 w 12386023"/>
                <a:gd name="connsiteY4" fmla="*/ 693016 h 2425842"/>
                <a:gd name="connsiteX5" fmla="*/ 421075 w 12386023"/>
                <a:gd name="connsiteY5" fmla="*/ 853171 h 2425842"/>
                <a:gd name="connsiteX6" fmla="*/ 1277876 w 12386023"/>
                <a:gd name="connsiteY6" fmla="*/ 760728 h 2425842"/>
                <a:gd name="connsiteX7" fmla="*/ 1972735 w 12386023"/>
                <a:gd name="connsiteY7" fmla="*/ 794716 h 2425842"/>
                <a:gd name="connsiteX8" fmla="*/ 2428745 w 12386023"/>
                <a:gd name="connsiteY8" fmla="*/ 735228 h 2425842"/>
                <a:gd name="connsiteX9" fmla="*/ 2906467 w 12386023"/>
                <a:gd name="connsiteY9" fmla="*/ 735228 h 2425842"/>
                <a:gd name="connsiteX10" fmla="*/ 3677336 w 12386023"/>
                <a:gd name="connsiteY10" fmla="*/ 777722 h 2425842"/>
                <a:gd name="connsiteX11" fmla="*/ 4556772 w 12386023"/>
                <a:gd name="connsiteY11" fmla="*/ 760728 h 2425842"/>
                <a:gd name="connsiteX12" fmla="*/ 5186490 w 12386023"/>
                <a:gd name="connsiteY12" fmla="*/ 769234 h 2425842"/>
                <a:gd name="connsiteX13" fmla="*/ 6022500 w 12386023"/>
                <a:gd name="connsiteY13" fmla="*/ 769234 h 2425842"/>
                <a:gd name="connsiteX14" fmla="*/ 7086513 w 12386023"/>
                <a:gd name="connsiteY14" fmla="*/ 794734 h 2425842"/>
                <a:gd name="connsiteX15" fmla="*/ 7835668 w 12386023"/>
                <a:gd name="connsiteY15" fmla="*/ 786228 h 2425842"/>
                <a:gd name="connsiteX16" fmla="*/ 8367663 w 12386023"/>
                <a:gd name="connsiteY16" fmla="*/ 777722 h 2425842"/>
                <a:gd name="connsiteX17" fmla="*/ 8988680 w 12386023"/>
                <a:gd name="connsiteY17" fmla="*/ 1180470 h 2425842"/>
                <a:gd name="connsiteX18" fmla="*/ 9558676 w 12386023"/>
                <a:gd name="connsiteY18" fmla="*/ 2007302 h 2425842"/>
                <a:gd name="connsiteX19" fmla="*/ 10490076 w 12386023"/>
                <a:gd name="connsiteY19" fmla="*/ 2425841 h 2425842"/>
                <a:gd name="connsiteX20" fmla="*/ 11536110 w 12386023"/>
                <a:gd name="connsiteY20" fmla="*/ 2007304 h 2425842"/>
                <a:gd name="connsiteX21" fmla="*/ 11827041 w 12386023"/>
                <a:gd name="connsiteY21" fmla="*/ 1361569 h 2425842"/>
                <a:gd name="connsiteX22" fmla="*/ 12137937 w 12386023"/>
                <a:gd name="connsiteY22" fmla="*/ 915462 h 2425842"/>
                <a:gd name="connsiteX23" fmla="*/ 12386023 w 12386023"/>
                <a:gd name="connsiteY23" fmla="*/ 615148 h 2425842"/>
                <a:gd name="connsiteX24" fmla="*/ 12386023 w 12386023"/>
                <a:gd name="connsiteY24" fmla="*/ 176766 h 2425842"/>
                <a:gd name="connsiteX25" fmla="*/ 11779707 w 12386023"/>
                <a:gd name="connsiteY25" fmla="*/ 351341 h 2425842"/>
                <a:gd name="connsiteX26" fmla="*/ 11399982 w 12386023"/>
                <a:gd name="connsiteY26" fmla="*/ 963226 h 2425842"/>
                <a:gd name="connsiteX27" fmla="*/ 10943237 w 12386023"/>
                <a:gd name="connsiteY27" fmla="*/ 1577387 h 2425842"/>
                <a:gd name="connsiteX28" fmla="*/ 10375442 w 12386023"/>
                <a:gd name="connsiteY28" fmla="*/ 1534170 h 2425842"/>
                <a:gd name="connsiteX29" fmla="*/ 9868545 w 12386023"/>
                <a:gd name="connsiteY29" fmla="*/ 974601 h 2425842"/>
                <a:gd name="connsiteX30" fmla="*/ 9393890 w 12386023"/>
                <a:gd name="connsiteY30" fmla="*/ 496920 h 2425842"/>
                <a:gd name="connsiteX31" fmla="*/ 8791091 w 12386023"/>
                <a:gd name="connsiteY31" fmla="*/ 72450 h 2425842"/>
                <a:gd name="connsiteX32" fmla="*/ 7976795 w 12386023"/>
                <a:gd name="connsiteY32" fmla="*/ 21469 h 2425842"/>
                <a:gd name="connsiteX33" fmla="*/ 7390504 w 12386023"/>
                <a:gd name="connsiteY33" fmla="*/ 114944 h 2425842"/>
                <a:gd name="connsiteX34" fmla="*/ 6683417 w 12386023"/>
                <a:gd name="connsiteY34" fmla="*/ 62385 h 2425842"/>
                <a:gd name="connsiteX35" fmla="*/ 6243077 w 12386023"/>
                <a:gd name="connsiteY35" fmla="*/ 165413 h 2425842"/>
                <a:gd name="connsiteX36" fmla="*/ 5523063 w 12386023"/>
                <a:gd name="connsiteY36" fmla="*/ 208419 h 2425842"/>
                <a:gd name="connsiteX37" fmla="*/ 8892001 w 12386023"/>
                <a:gd name="connsiteY37" fmla="*/ 497882 h 2425842"/>
                <a:gd name="connsiteX38" fmla="*/ 9073222 w 12386023"/>
                <a:gd name="connsiteY38" fmla="*/ 800346 h 2425842"/>
                <a:gd name="connsiteX39" fmla="*/ 8714713 w 12386023"/>
                <a:gd name="connsiteY39" fmla="*/ 373300 h 2425842"/>
                <a:gd name="connsiteX40" fmla="*/ 8705072 w 12386023"/>
                <a:gd name="connsiteY40" fmla="*/ 200377 h 2425842"/>
                <a:gd name="connsiteX0" fmla="*/ 8705072 w 12386023"/>
                <a:gd name="connsiteY0" fmla="*/ 200377 h 2425842"/>
                <a:gd name="connsiteX1" fmla="*/ 8742561 w 12386023"/>
                <a:gd name="connsiteY1" fmla="*/ 436883 h 2425842"/>
                <a:gd name="connsiteX2" fmla="*/ 8676628 w 12386023"/>
                <a:gd name="connsiteY2" fmla="*/ 350336 h 2425842"/>
                <a:gd name="connsiteX3" fmla="*/ 8697801 w 12386023"/>
                <a:gd name="connsiteY3" fmla="*/ 507016 h 2425842"/>
                <a:gd name="connsiteX4" fmla="*/ 8652701 w 12386023"/>
                <a:gd name="connsiteY4" fmla="*/ 693016 h 2425842"/>
                <a:gd name="connsiteX5" fmla="*/ 421075 w 12386023"/>
                <a:gd name="connsiteY5" fmla="*/ 853171 h 2425842"/>
                <a:gd name="connsiteX6" fmla="*/ 1277876 w 12386023"/>
                <a:gd name="connsiteY6" fmla="*/ 760728 h 2425842"/>
                <a:gd name="connsiteX7" fmla="*/ 1972735 w 12386023"/>
                <a:gd name="connsiteY7" fmla="*/ 794716 h 2425842"/>
                <a:gd name="connsiteX8" fmla="*/ 2428745 w 12386023"/>
                <a:gd name="connsiteY8" fmla="*/ 735228 h 2425842"/>
                <a:gd name="connsiteX9" fmla="*/ 2906467 w 12386023"/>
                <a:gd name="connsiteY9" fmla="*/ 735228 h 2425842"/>
                <a:gd name="connsiteX10" fmla="*/ 3677336 w 12386023"/>
                <a:gd name="connsiteY10" fmla="*/ 777722 h 2425842"/>
                <a:gd name="connsiteX11" fmla="*/ 4556772 w 12386023"/>
                <a:gd name="connsiteY11" fmla="*/ 760728 h 2425842"/>
                <a:gd name="connsiteX12" fmla="*/ 5186490 w 12386023"/>
                <a:gd name="connsiteY12" fmla="*/ 769234 h 2425842"/>
                <a:gd name="connsiteX13" fmla="*/ 6022500 w 12386023"/>
                <a:gd name="connsiteY13" fmla="*/ 769234 h 2425842"/>
                <a:gd name="connsiteX14" fmla="*/ 7086513 w 12386023"/>
                <a:gd name="connsiteY14" fmla="*/ 794734 h 2425842"/>
                <a:gd name="connsiteX15" fmla="*/ 7835668 w 12386023"/>
                <a:gd name="connsiteY15" fmla="*/ 786228 h 2425842"/>
                <a:gd name="connsiteX16" fmla="*/ 8367663 w 12386023"/>
                <a:gd name="connsiteY16" fmla="*/ 777722 h 2425842"/>
                <a:gd name="connsiteX17" fmla="*/ 8988680 w 12386023"/>
                <a:gd name="connsiteY17" fmla="*/ 1180470 h 2425842"/>
                <a:gd name="connsiteX18" fmla="*/ 9558676 w 12386023"/>
                <a:gd name="connsiteY18" fmla="*/ 2007302 h 2425842"/>
                <a:gd name="connsiteX19" fmla="*/ 10490076 w 12386023"/>
                <a:gd name="connsiteY19" fmla="*/ 2425841 h 2425842"/>
                <a:gd name="connsiteX20" fmla="*/ 11536110 w 12386023"/>
                <a:gd name="connsiteY20" fmla="*/ 2007304 h 2425842"/>
                <a:gd name="connsiteX21" fmla="*/ 11827041 w 12386023"/>
                <a:gd name="connsiteY21" fmla="*/ 1361569 h 2425842"/>
                <a:gd name="connsiteX22" fmla="*/ 12137937 w 12386023"/>
                <a:gd name="connsiteY22" fmla="*/ 915462 h 2425842"/>
                <a:gd name="connsiteX23" fmla="*/ 12386023 w 12386023"/>
                <a:gd name="connsiteY23" fmla="*/ 615148 h 2425842"/>
                <a:gd name="connsiteX24" fmla="*/ 12386023 w 12386023"/>
                <a:gd name="connsiteY24" fmla="*/ 176766 h 2425842"/>
                <a:gd name="connsiteX25" fmla="*/ 11779707 w 12386023"/>
                <a:gd name="connsiteY25" fmla="*/ 351341 h 2425842"/>
                <a:gd name="connsiteX26" fmla="*/ 11399982 w 12386023"/>
                <a:gd name="connsiteY26" fmla="*/ 963226 h 2425842"/>
                <a:gd name="connsiteX27" fmla="*/ 10943237 w 12386023"/>
                <a:gd name="connsiteY27" fmla="*/ 1577387 h 2425842"/>
                <a:gd name="connsiteX28" fmla="*/ 10375442 w 12386023"/>
                <a:gd name="connsiteY28" fmla="*/ 1534170 h 2425842"/>
                <a:gd name="connsiteX29" fmla="*/ 9868545 w 12386023"/>
                <a:gd name="connsiteY29" fmla="*/ 974601 h 2425842"/>
                <a:gd name="connsiteX30" fmla="*/ 9393890 w 12386023"/>
                <a:gd name="connsiteY30" fmla="*/ 496920 h 2425842"/>
                <a:gd name="connsiteX31" fmla="*/ 8791091 w 12386023"/>
                <a:gd name="connsiteY31" fmla="*/ 72450 h 2425842"/>
                <a:gd name="connsiteX32" fmla="*/ 7976795 w 12386023"/>
                <a:gd name="connsiteY32" fmla="*/ 21469 h 2425842"/>
                <a:gd name="connsiteX33" fmla="*/ 7390504 w 12386023"/>
                <a:gd name="connsiteY33" fmla="*/ 114944 h 2425842"/>
                <a:gd name="connsiteX34" fmla="*/ 6683417 w 12386023"/>
                <a:gd name="connsiteY34" fmla="*/ 62385 h 2425842"/>
                <a:gd name="connsiteX35" fmla="*/ 6243077 w 12386023"/>
                <a:gd name="connsiteY35" fmla="*/ 165413 h 2425842"/>
                <a:gd name="connsiteX36" fmla="*/ 9248668 w 12386023"/>
                <a:gd name="connsiteY36" fmla="*/ 535967 h 2425842"/>
                <a:gd name="connsiteX37" fmla="*/ 8892001 w 12386023"/>
                <a:gd name="connsiteY37" fmla="*/ 497882 h 2425842"/>
                <a:gd name="connsiteX38" fmla="*/ 9073222 w 12386023"/>
                <a:gd name="connsiteY38" fmla="*/ 800346 h 2425842"/>
                <a:gd name="connsiteX39" fmla="*/ 8714713 w 12386023"/>
                <a:gd name="connsiteY39" fmla="*/ 373300 h 2425842"/>
                <a:gd name="connsiteX40" fmla="*/ 8705072 w 12386023"/>
                <a:gd name="connsiteY40" fmla="*/ 200377 h 2425842"/>
                <a:gd name="connsiteX0" fmla="*/ 8705072 w 12386023"/>
                <a:gd name="connsiteY0" fmla="*/ 148058 h 2373523"/>
                <a:gd name="connsiteX1" fmla="*/ 8742561 w 12386023"/>
                <a:gd name="connsiteY1" fmla="*/ 384564 h 2373523"/>
                <a:gd name="connsiteX2" fmla="*/ 8676628 w 12386023"/>
                <a:gd name="connsiteY2" fmla="*/ 298017 h 2373523"/>
                <a:gd name="connsiteX3" fmla="*/ 8697801 w 12386023"/>
                <a:gd name="connsiteY3" fmla="*/ 454697 h 2373523"/>
                <a:gd name="connsiteX4" fmla="*/ 8652701 w 12386023"/>
                <a:gd name="connsiteY4" fmla="*/ 640697 h 2373523"/>
                <a:gd name="connsiteX5" fmla="*/ 421075 w 12386023"/>
                <a:gd name="connsiteY5" fmla="*/ 800852 h 2373523"/>
                <a:gd name="connsiteX6" fmla="*/ 1277876 w 12386023"/>
                <a:gd name="connsiteY6" fmla="*/ 708409 h 2373523"/>
                <a:gd name="connsiteX7" fmla="*/ 1972735 w 12386023"/>
                <a:gd name="connsiteY7" fmla="*/ 742397 h 2373523"/>
                <a:gd name="connsiteX8" fmla="*/ 2428745 w 12386023"/>
                <a:gd name="connsiteY8" fmla="*/ 682909 h 2373523"/>
                <a:gd name="connsiteX9" fmla="*/ 2906467 w 12386023"/>
                <a:gd name="connsiteY9" fmla="*/ 682909 h 2373523"/>
                <a:gd name="connsiteX10" fmla="*/ 3677336 w 12386023"/>
                <a:gd name="connsiteY10" fmla="*/ 725403 h 2373523"/>
                <a:gd name="connsiteX11" fmla="*/ 4556772 w 12386023"/>
                <a:gd name="connsiteY11" fmla="*/ 708409 h 2373523"/>
                <a:gd name="connsiteX12" fmla="*/ 5186490 w 12386023"/>
                <a:gd name="connsiteY12" fmla="*/ 716915 h 2373523"/>
                <a:gd name="connsiteX13" fmla="*/ 6022500 w 12386023"/>
                <a:gd name="connsiteY13" fmla="*/ 716915 h 2373523"/>
                <a:gd name="connsiteX14" fmla="*/ 7086513 w 12386023"/>
                <a:gd name="connsiteY14" fmla="*/ 742415 h 2373523"/>
                <a:gd name="connsiteX15" fmla="*/ 7835668 w 12386023"/>
                <a:gd name="connsiteY15" fmla="*/ 733909 h 2373523"/>
                <a:gd name="connsiteX16" fmla="*/ 8367663 w 12386023"/>
                <a:gd name="connsiteY16" fmla="*/ 725403 h 2373523"/>
                <a:gd name="connsiteX17" fmla="*/ 8988680 w 12386023"/>
                <a:gd name="connsiteY17" fmla="*/ 1128151 h 2373523"/>
                <a:gd name="connsiteX18" fmla="*/ 9558676 w 12386023"/>
                <a:gd name="connsiteY18" fmla="*/ 1954983 h 2373523"/>
                <a:gd name="connsiteX19" fmla="*/ 10490076 w 12386023"/>
                <a:gd name="connsiteY19" fmla="*/ 2373522 h 2373523"/>
                <a:gd name="connsiteX20" fmla="*/ 11536110 w 12386023"/>
                <a:gd name="connsiteY20" fmla="*/ 1954985 h 2373523"/>
                <a:gd name="connsiteX21" fmla="*/ 11827041 w 12386023"/>
                <a:gd name="connsiteY21" fmla="*/ 1309250 h 2373523"/>
                <a:gd name="connsiteX22" fmla="*/ 12137937 w 12386023"/>
                <a:gd name="connsiteY22" fmla="*/ 863143 h 2373523"/>
                <a:gd name="connsiteX23" fmla="*/ 12386023 w 12386023"/>
                <a:gd name="connsiteY23" fmla="*/ 562829 h 2373523"/>
                <a:gd name="connsiteX24" fmla="*/ 12386023 w 12386023"/>
                <a:gd name="connsiteY24" fmla="*/ 124447 h 2373523"/>
                <a:gd name="connsiteX25" fmla="*/ 11779707 w 12386023"/>
                <a:gd name="connsiteY25" fmla="*/ 299022 h 2373523"/>
                <a:gd name="connsiteX26" fmla="*/ 11399982 w 12386023"/>
                <a:gd name="connsiteY26" fmla="*/ 910907 h 2373523"/>
                <a:gd name="connsiteX27" fmla="*/ 10943237 w 12386023"/>
                <a:gd name="connsiteY27" fmla="*/ 1525068 h 2373523"/>
                <a:gd name="connsiteX28" fmla="*/ 10375442 w 12386023"/>
                <a:gd name="connsiteY28" fmla="*/ 1481851 h 2373523"/>
                <a:gd name="connsiteX29" fmla="*/ 9868545 w 12386023"/>
                <a:gd name="connsiteY29" fmla="*/ 922282 h 2373523"/>
                <a:gd name="connsiteX30" fmla="*/ 9393890 w 12386023"/>
                <a:gd name="connsiteY30" fmla="*/ 444601 h 2373523"/>
                <a:gd name="connsiteX31" fmla="*/ 8791091 w 12386023"/>
                <a:gd name="connsiteY31" fmla="*/ 20131 h 2373523"/>
                <a:gd name="connsiteX32" fmla="*/ 7390504 w 12386023"/>
                <a:gd name="connsiteY32" fmla="*/ 62625 h 2373523"/>
                <a:gd name="connsiteX33" fmla="*/ 6683417 w 12386023"/>
                <a:gd name="connsiteY33" fmla="*/ 10066 h 2373523"/>
                <a:gd name="connsiteX34" fmla="*/ 6243077 w 12386023"/>
                <a:gd name="connsiteY34" fmla="*/ 113094 h 2373523"/>
                <a:gd name="connsiteX35" fmla="*/ 9248668 w 12386023"/>
                <a:gd name="connsiteY35" fmla="*/ 483648 h 2373523"/>
                <a:gd name="connsiteX36" fmla="*/ 8892001 w 12386023"/>
                <a:gd name="connsiteY36" fmla="*/ 445563 h 2373523"/>
                <a:gd name="connsiteX37" fmla="*/ 9073222 w 12386023"/>
                <a:gd name="connsiteY37" fmla="*/ 748027 h 2373523"/>
                <a:gd name="connsiteX38" fmla="*/ 8714713 w 12386023"/>
                <a:gd name="connsiteY38" fmla="*/ 320981 h 2373523"/>
                <a:gd name="connsiteX39" fmla="*/ 8705072 w 12386023"/>
                <a:gd name="connsiteY39" fmla="*/ 148058 h 2373523"/>
                <a:gd name="connsiteX0" fmla="*/ 8705072 w 12386023"/>
                <a:gd name="connsiteY0" fmla="*/ 148058 h 2373523"/>
                <a:gd name="connsiteX1" fmla="*/ 8742561 w 12386023"/>
                <a:gd name="connsiteY1" fmla="*/ 384564 h 2373523"/>
                <a:gd name="connsiteX2" fmla="*/ 8676628 w 12386023"/>
                <a:gd name="connsiteY2" fmla="*/ 298017 h 2373523"/>
                <a:gd name="connsiteX3" fmla="*/ 8697801 w 12386023"/>
                <a:gd name="connsiteY3" fmla="*/ 454697 h 2373523"/>
                <a:gd name="connsiteX4" fmla="*/ 8652701 w 12386023"/>
                <a:gd name="connsiteY4" fmla="*/ 640697 h 2373523"/>
                <a:gd name="connsiteX5" fmla="*/ 421075 w 12386023"/>
                <a:gd name="connsiteY5" fmla="*/ 800852 h 2373523"/>
                <a:gd name="connsiteX6" fmla="*/ 1277876 w 12386023"/>
                <a:gd name="connsiteY6" fmla="*/ 708409 h 2373523"/>
                <a:gd name="connsiteX7" fmla="*/ 1972735 w 12386023"/>
                <a:gd name="connsiteY7" fmla="*/ 742397 h 2373523"/>
                <a:gd name="connsiteX8" fmla="*/ 2428745 w 12386023"/>
                <a:gd name="connsiteY8" fmla="*/ 682909 h 2373523"/>
                <a:gd name="connsiteX9" fmla="*/ 2906467 w 12386023"/>
                <a:gd name="connsiteY9" fmla="*/ 682909 h 2373523"/>
                <a:gd name="connsiteX10" fmla="*/ 3677336 w 12386023"/>
                <a:gd name="connsiteY10" fmla="*/ 725403 h 2373523"/>
                <a:gd name="connsiteX11" fmla="*/ 4556772 w 12386023"/>
                <a:gd name="connsiteY11" fmla="*/ 708409 h 2373523"/>
                <a:gd name="connsiteX12" fmla="*/ 5186490 w 12386023"/>
                <a:gd name="connsiteY12" fmla="*/ 716915 h 2373523"/>
                <a:gd name="connsiteX13" fmla="*/ 6022500 w 12386023"/>
                <a:gd name="connsiteY13" fmla="*/ 716915 h 2373523"/>
                <a:gd name="connsiteX14" fmla="*/ 7086513 w 12386023"/>
                <a:gd name="connsiteY14" fmla="*/ 742415 h 2373523"/>
                <a:gd name="connsiteX15" fmla="*/ 7835668 w 12386023"/>
                <a:gd name="connsiteY15" fmla="*/ 733909 h 2373523"/>
                <a:gd name="connsiteX16" fmla="*/ 8367663 w 12386023"/>
                <a:gd name="connsiteY16" fmla="*/ 725403 h 2373523"/>
                <a:gd name="connsiteX17" fmla="*/ 8988680 w 12386023"/>
                <a:gd name="connsiteY17" fmla="*/ 1128151 h 2373523"/>
                <a:gd name="connsiteX18" fmla="*/ 9558676 w 12386023"/>
                <a:gd name="connsiteY18" fmla="*/ 1954983 h 2373523"/>
                <a:gd name="connsiteX19" fmla="*/ 10490076 w 12386023"/>
                <a:gd name="connsiteY19" fmla="*/ 2373522 h 2373523"/>
                <a:gd name="connsiteX20" fmla="*/ 11536110 w 12386023"/>
                <a:gd name="connsiteY20" fmla="*/ 1954985 h 2373523"/>
                <a:gd name="connsiteX21" fmla="*/ 11827041 w 12386023"/>
                <a:gd name="connsiteY21" fmla="*/ 1309250 h 2373523"/>
                <a:gd name="connsiteX22" fmla="*/ 12137937 w 12386023"/>
                <a:gd name="connsiteY22" fmla="*/ 863143 h 2373523"/>
                <a:gd name="connsiteX23" fmla="*/ 12386023 w 12386023"/>
                <a:gd name="connsiteY23" fmla="*/ 562829 h 2373523"/>
                <a:gd name="connsiteX24" fmla="*/ 12386023 w 12386023"/>
                <a:gd name="connsiteY24" fmla="*/ 124447 h 2373523"/>
                <a:gd name="connsiteX25" fmla="*/ 11779707 w 12386023"/>
                <a:gd name="connsiteY25" fmla="*/ 299022 h 2373523"/>
                <a:gd name="connsiteX26" fmla="*/ 11399982 w 12386023"/>
                <a:gd name="connsiteY26" fmla="*/ 910907 h 2373523"/>
                <a:gd name="connsiteX27" fmla="*/ 10943237 w 12386023"/>
                <a:gd name="connsiteY27" fmla="*/ 1525068 h 2373523"/>
                <a:gd name="connsiteX28" fmla="*/ 10375442 w 12386023"/>
                <a:gd name="connsiteY28" fmla="*/ 1481851 h 2373523"/>
                <a:gd name="connsiteX29" fmla="*/ 9868545 w 12386023"/>
                <a:gd name="connsiteY29" fmla="*/ 922282 h 2373523"/>
                <a:gd name="connsiteX30" fmla="*/ 9393890 w 12386023"/>
                <a:gd name="connsiteY30" fmla="*/ 444601 h 2373523"/>
                <a:gd name="connsiteX31" fmla="*/ 8791091 w 12386023"/>
                <a:gd name="connsiteY31" fmla="*/ 20131 h 2373523"/>
                <a:gd name="connsiteX32" fmla="*/ 7390504 w 12386023"/>
                <a:gd name="connsiteY32" fmla="*/ 62625 h 2373523"/>
                <a:gd name="connsiteX33" fmla="*/ 6243077 w 12386023"/>
                <a:gd name="connsiteY33" fmla="*/ 113094 h 2373523"/>
                <a:gd name="connsiteX34" fmla="*/ 9248668 w 12386023"/>
                <a:gd name="connsiteY34" fmla="*/ 483648 h 2373523"/>
                <a:gd name="connsiteX35" fmla="*/ 8892001 w 12386023"/>
                <a:gd name="connsiteY35" fmla="*/ 445563 h 2373523"/>
                <a:gd name="connsiteX36" fmla="*/ 9073222 w 12386023"/>
                <a:gd name="connsiteY36" fmla="*/ 748027 h 2373523"/>
                <a:gd name="connsiteX37" fmla="*/ 8714713 w 12386023"/>
                <a:gd name="connsiteY37" fmla="*/ 320981 h 2373523"/>
                <a:gd name="connsiteX38" fmla="*/ 8705072 w 12386023"/>
                <a:gd name="connsiteY38" fmla="*/ 148058 h 2373523"/>
                <a:gd name="connsiteX0" fmla="*/ 8705072 w 12386023"/>
                <a:gd name="connsiteY0" fmla="*/ 148058 h 2373523"/>
                <a:gd name="connsiteX1" fmla="*/ 8742561 w 12386023"/>
                <a:gd name="connsiteY1" fmla="*/ 384564 h 2373523"/>
                <a:gd name="connsiteX2" fmla="*/ 8676628 w 12386023"/>
                <a:gd name="connsiteY2" fmla="*/ 298017 h 2373523"/>
                <a:gd name="connsiteX3" fmla="*/ 8697801 w 12386023"/>
                <a:gd name="connsiteY3" fmla="*/ 454697 h 2373523"/>
                <a:gd name="connsiteX4" fmla="*/ 8652701 w 12386023"/>
                <a:gd name="connsiteY4" fmla="*/ 640697 h 2373523"/>
                <a:gd name="connsiteX5" fmla="*/ 421075 w 12386023"/>
                <a:gd name="connsiteY5" fmla="*/ 800852 h 2373523"/>
                <a:gd name="connsiteX6" fmla="*/ 1277876 w 12386023"/>
                <a:gd name="connsiteY6" fmla="*/ 708409 h 2373523"/>
                <a:gd name="connsiteX7" fmla="*/ 1972735 w 12386023"/>
                <a:gd name="connsiteY7" fmla="*/ 742397 h 2373523"/>
                <a:gd name="connsiteX8" fmla="*/ 2428745 w 12386023"/>
                <a:gd name="connsiteY8" fmla="*/ 682909 h 2373523"/>
                <a:gd name="connsiteX9" fmla="*/ 2906467 w 12386023"/>
                <a:gd name="connsiteY9" fmla="*/ 682909 h 2373523"/>
                <a:gd name="connsiteX10" fmla="*/ 3677336 w 12386023"/>
                <a:gd name="connsiteY10" fmla="*/ 725403 h 2373523"/>
                <a:gd name="connsiteX11" fmla="*/ 4556772 w 12386023"/>
                <a:gd name="connsiteY11" fmla="*/ 708409 h 2373523"/>
                <a:gd name="connsiteX12" fmla="*/ 5186490 w 12386023"/>
                <a:gd name="connsiteY12" fmla="*/ 716915 h 2373523"/>
                <a:gd name="connsiteX13" fmla="*/ 6022500 w 12386023"/>
                <a:gd name="connsiteY13" fmla="*/ 716915 h 2373523"/>
                <a:gd name="connsiteX14" fmla="*/ 7086513 w 12386023"/>
                <a:gd name="connsiteY14" fmla="*/ 742415 h 2373523"/>
                <a:gd name="connsiteX15" fmla="*/ 7835668 w 12386023"/>
                <a:gd name="connsiteY15" fmla="*/ 733909 h 2373523"/>
                <a:gd name="connsiteX16" fmla="*/ 8367663 w 12386023"/>
                <a:gd name="connsiteY16" fmla="*/ 725403 h 2373523"/>
                <a:gd name="connsiteX17" fmla="*/ 8988680 w 12386023"/>
                <a:gd name="connsiteY17" fmla="*/ 1128151 h 2373523"/>
                <a:gd name="connsiteX18" fmla="*/ 9558676 w 12386023"/>
                <a:gd name="connsiteY18" fmla="*/ 1954983 h 2373523"/>
                <a:gd name="connsiteX19" fmla="*/ 10490076 w 12386023"/>
                <a:gd name="connsiteY19" fmla="*/ 2373522 h 2373523"/>
                <a:gd name="connsiteX20" fmla="*/ 11536110 w 12386023"/>
                <a:gd name="connsiteY20" fmla="*/ 1954985 h 2373523"/>
                <a:gd name="connsiteX21" fmla="*/ 11827041 w 12386023"/>
                <a:gd name="connsiteY21" fmla="*/ 1309250 h 2373523"/>
                <a:gd name="connsiteX22" fmla="*/ 12137937 w 12386023"/>
                <a:gd name="connsiteY22" fmla="*/ 863143 h 2373523"/>
                <a:gd name="connsiteX23" fmla="*/ 12386023 w 12386023"/>
                <a:gd name="connsiteY23" fmla="*/ 562829 h 2373523"/>
                <a:gd name="connsiteX24" fmla="*/ 12386023 w 12386023"/>
                <a:gd name="connsiteY24" fmla="*/ 124447 h 2373523"/>
                <a:gd name="connsiteX25" fmla="*/ 11779707 w 12386023"/>
                <a:gd name="connsiteY25" fmla="*/ 299022 h 2373523"/>
                <a:gd name="connsiteX26" fmla="*/ 11399982 w 12386023"/>
                <a:gd name="connsiteY26" fmla="*/ 910907 h 2373523"/>
                <a:gd name="connsiteX27" fmla="*/ 10943237 w 12386023"/>
                <a:gd name="connsiteY27" fmla="*/ 1525068 h 2373523"/>
                <a:gd name="connsiteX28" fmla="*/ 10375442 w 12386023"/>
                <a:gd name="connsiteY28" fmla="*/ 1481851 h 2373523"/>
                <a:gd name="connsiteX29" fmla="*/ 9868545 w 12386023"/>
                <a:gd name="connsiteY29" fmla="*/ 922282 h 2373523"/>
                <a:gd name="connsiteX30" fmla="*/ 9393890 w 12386023"/>
                <a:gd name="connsiteY30" fmla="*/ 444601 h 2373523"/>
                <a:gd name="connsiteX31" fmla="*/ 8791091 w 12386023"/>
                <a:gd name="connsiteY31" fmla="*/ 20131 h 2373523"/>
                <a:gd name="connsiteX32" fmla="*/ 7390504 w 12386023"/>
                <a:gd name="connsiteY32" fmla="*/ 62625 h 2373523"/>
                <a:gd name="connsiteX33" fmla="*/ 9248668 w 12386023"/>
                <a:gd name="connsiteY33" fmla="*/ 483648 h 2373523"/>
                <a:gd name="connsiteX34" fmla="*/ 8892001 w 12386023"/>
                <a:gd name="connsiteY34" fmla="*/ 445563 h 2373523"/>
                <a:gd name="connsiteX35" fmla="*/ 9073222 w 12386023"/>
                <a:gd name="connsiteY35" fmla="*/ 748027 h 2373523"/>
                <a:gd name="connsiteX36" fmla="*/ 8714713 w 12386023"/>
                <a:gd name="connsiteY36" fmla="*/ 320981 h 2373523"/>
                <a:gd name="connsiteX37" fmla="*/ 8705072 w 12386023"/>
                <a:gd name="connsiteY37" fmla="*/ 148058 h 2373523"/>
                <a:gd name="connsiteX0" fmla="*/ 8705072 w 12386023"/>
                <a:gd name="connsiteY0" fmla="*/ 148058 h 2373523"/>
                <a:gd name="connsiteX1" fmla="*/ 8742561 w 12386023"/>
                <a:gd name="connsiteY1" fmla="*/ 384564 h 2373523"/>
                <a:gd name="connsiteX2" fmla="*/ 8676628 w 12386023"/>
                <a:gd name="connsiteY2" fmla="*/ 298017 h 2373523"/>
                <a:gd name="connsiteX3" fmla="*/ 8697801 w 12386023"/>
                <a:gd name="connsiteY3" fmla="*/ 454697 h 2373523"/>
                <a:gd name="connsiteX4" fmla="*/ 8652701 w 12386023"/>
                <a:gd name="connsiteY4" fmla="*/ 640697 h 2373523"/>
                <a:gd name="connsiteX5" fmla="*/ 421075 w 12386023"/>
                <a:gd name="connsiteY5" fmla="*/ 800852 h 2373523"/>
                <a:gd name="connsiteX6" fmla="*/ 1277876 w 12386023"/>
                <a:gd name="connsiteY6" fmla="*/ 708409 h 2373523"/>
                <a:gd name="connsiteX7" fmla="*/ 1972735 w 12386023"/>
                <a:gd name="connsiteY7" fmla="*/ 742397 h 2373523"/>
                <a:gd name="connsiteX8" fmla="*/ 2428745 w 12386023"/>
                <a:gd name="connsiteY8" fmla="*/ 682909 h 2373523"/>
                <a:gd name="connsiteX9" fmla="*/ 2906467 w 12386023"/>
                <a:gd name="connsiteY9" fmla="*/ 682909 h 2373523"/>
                <a:gd name="connsiteX10" fmla="*/ 3677336 w 12386023"/>
                <a:gd name="connsiteY10" fmla="*/ 725403 h 2373523"/>
                <a:gd name="connsiteX11" fmla="*/ 4556772 w 12386023"/>
                <a:gd name="connsiteY11" fmla="*/ 708409 h 2373523"/>
                <a:gd name="connsiteX12" fmla="*/ 5186490 w 12386023"/>
                <a:gd name="connsiteY12" fmla="*/ 716915 h 2373523"/>
                <a:gd name="connsiteX13" fmla="*/ 6022500 w 12386023"/>
                <a:gd name="connsiteY13" fmla="*/ 716915 h 2373523"/>
                <a:gd name="connsiteX14" fmla="*/ 7086513 w 12386023"/>
                <a:gd name="connsiteY14" fmla="*/ 742415 h 2373523"/>
                <a:gd name="connsiteX15" fmla="*/ 7835668 w 12386023"/>
                <a:gd name="connsiteY15" fmla="*/ 733909 h 2373523"/>
                <a:gd name="connsiteX16" fmla="*/ 8367663 w 12386023"/>
                <a:gd name="connsiteY16" fmla="*/ 725403 h 2373523"/>
                <a:gd name="connsiteX17" fmla="*/ 8988680 w 12386023"/>
                <a:gd name="connsiteY17" fmla="*/ 1128151 h 2373523"/>
                <a:gd name="connsiteX18" fmla="*/ 9558676 w 12386023"/>
                <a:gd name="connsiteY18" fmla="*/ 1954983 h 2373523"/>
                <a:gd name="connsiteX19" fmla="*/ 10490076 w 12386023"/>
                <a:gd name="connsiteY19" fmla="*/ 2373522 h 2373523"/>
                <a:gd name="connsiteX20" fmla="*/ 11536110 w 12386023"/>
                <a:gd name="connsiteY20" fmla="*/ 1954985 h 2373523"/>
                <a:gd name="connsiteX21" fmla="*/ 11827041 w 12386023"/>
                <a:gd name="connsiteY21" fmla="*/ 1309250 h 2373523"/>
                <a:gd name="connsiteX22" fmla="*/ 12137937 w 12386023"/>
                <a:gd name="connsiteY22" fmla="*/ 863143 h 2373523"/>
                <a:gd name="connsiteX23" fmla="*/ 12386023 w 12386023"/>
                <a:gd name="connsiteY23" fmla="*/ 562829 h 2373523"/>
                <a:gd name="connsiteX24" fmla="*/ 12386023 w 12386023"/>
                <a:gd name="connsiteY24" fmla="*/ 124447 h 2373523"/>
                <a:gd name="connsiteX25" fmla="*/ 11779707 w 12386023"/>
                <a:gd name="connsiteY25" fmla="*/ 299022 h 2373523"/>
                <a:gd name="connsiteX26" fmla="*/ 11399982 w 12386023"/>
                <a:gd name="connsiteY26" fmla="*/ 910907 h 2373523"/>
                <a:gd name="connsiteX27" fmla="*/ 10943237 w 12386023"/>
                <a:gd name="connsiteY27" fmla="*/ 1525068 h 2373523"/>
                <a:gd name="connsiteX28" fmla="*/ 10375442 w 12386023"/>
                <a:gd name="connsiteY28" fmla="*/ 1481851 h 2373523"/>
                <a:gd name="connsiteX29" fmla="*/ 9868545 w 12386023"/>
                <a:gd name="connsiteY29" fmla="*/ 922282 h 2373523"/>
                <a:gd name="connsiteX30" fmla="*/ 9393890 w 12386023"/>
                <a:gd name="connsiteY30" fmla="*/ 444601 h 2373523"/>
                <a:gd name="connsiteX31" fmla="*/ 8791091 w 12386023"/>
                <a:gd name="connsiteY31" fmla="*/ 20131 h 2373523"/>
                <a:gd name="connsiteX32" fmla="*/ 7390504 w 12386023"/>
                <a:gd name="connsiteY32" fmla="*/ 62625 h 2373523"/>
                <a:gd name="connsiteX33" fmla="*/ 9248668 w 12386023"/>
                <a:gd name="connsiteY33" fmla="*/ 483648 h 2373523"/>
                <a:gd name="connsiteX34" fmla="*/ 8892001 w 12386023"/>
                <a:gd name="connsiteY34" fmla="*/ 445563 h 2373523"/>
                <a:gd name="connsiteX35" fmla="*/ 9073222 w 12386023"/>
                <a:gd name="connsiteY35" fmla="*/ 748027 h 2373523"/>
                <a:gd name="connsiteX36" fmla="*/ 8705072 w 12386023"/>
                <a:gd name="connsiteY36" fmla="*/ 148058 h 2373523"/>
                <a:gd name="connsiteX0" fmla="*/ 8705072 w 12386023"/>
                <a:gd name="connsiteY0" fmla="*/ 148058 h 2373523"/>
                <a:gd name="connsiteX1" fmla="*/ 8742561 w 12386023"/>
                <a:gd name="connsiteY1" fmla="*/ 384564 h 2373523"/>
                <a:gd name="connsiteX2" fmla="*/ 8697801 w 12386023"/>
                <a:gd name="connsiteY2" fmla="*/ 454697 h 2373523"/>
                <a:gd name="connsiteX3" fmla="*/ 8652701 w 12386023"/>
                <a:gd name="connsiteY3" fmla="*/ 640697 h 2373523"/>
                <a:gd name="connsiteX4" fmla="*/ 421075 w 12386023"/>
                <a:gd name="connsiteY4" fmla="*/ 800852 h 2373523"/>
                <a:gd name="connsiteX5" fmla="*/ 1277876 w 12386023"/>
                <a:gd name="connsiteY5" fmla="*/ 708409 h 2373523"/>
                <a:gd name="connsiteX6" fmla="*/ 1972735 w 12386023"/>
                <a:gd name="connsiteY6" fmla="*/ 742397 h 2373523"/>
                <a:gd name="connsiteX7" fmla="*/ 2428745 w 12386023"/>
                <a:gd name="connsiteY7" fmla="*/ 682909 h 2373523"/>
                <a:gd name="connsiteX8" fmla="*/ 2906467 w 12386023"/>
                <a:gd name="connsiteY8" fmla="*/ 682909 h 2373523"/>
                <a:gd name="connsiteX9" fmla="*/ 3677336 w 12386023"/>
                <a:gd name="connsiteY9" fmla="*/ 725403 h 2373523"/>
                <a:gd name="connsiteX10" fmla="*/ 4556772 w 12386023"/>
                <a:gd name="connsiteY10" fmla="*/ 708409 h 2373523"/>
                <a:gd name="connsiteX11" fmla="*/ 5186490 w 12386023"/>
                <a:gd name="connsiteY11" fmla="*/ 716915 h 2373523"/>
                <a:gd name="connsiteX12" fmla="*/ 6022500 w 12386023"/>
                <a:gd name="connsiteY12" fmla="*/ 716915 h 2373523"/>
                <a:gd name="connsiteX13" fmla="*/ 7086513 w 12386023"/>
                <a:gd name="connsiteY13" fmla="*/ 742415 h 2373523"/>
                <a:gd name="connsiteX14" fmla="*/ 7835668 w 12386023"/>
                <a:gd name="connsiteY14" fmla="*/ 733909 h 2373523"/>
                <a:gd name="connsiteX15" fmla="*/ 8367663 w 12386023"/>
                <a:gd name="connsiteY15" fmla="*/ 725403 h 2373523"/>
                <a:gd name="connsiteX16" fmla="*/ 8988680 w 12386023"/>
                <a:gd name="connsiteY16" fmla="*/ 1128151 h 2373523"/>
                <a:gd name="connsiteX17" fmla="*/ 9558676 w 12386023"/>
                <a:gd name="connsiteY17" fmla="*/ 1954983 h 2373523"/>
                <a:gd name="connsiteX18" fmla="*/ 10490076 w 12386023"/>
                <a:gd name="connsiteY18" fmla="*/ 2373522 h 2373523"/>
                <a:gd name="connsiteX19" fmla="*/ 11536110 w 12386023"/>
                <a:gd name="connsiteY19" fmla="*/ 1954985 h 2373523"/>
                <a:gd name="connsiteX20" fmla="*/ 11827041 w 12386023"/>
                <a:gd name="connsiteY20" fmla="*/ 1309250 h 2373523"/>
                <a:gd name="connsiteX21" fmla="*/ 12137937 w 12386023"/>
                <a:gd name="connsiteY21" fmla="*/ 863143 h 2373523"/>
                <a:gd name="connsiteX22" fmla="*/ 12386023 w 12386023"/>
                <a:gd name="connsiteY22" fmla="*/ 562829 h 2373523"/>
                <a:gd name="connsiteX23" fmla="*/ 12386023 w 12386023"/>
                <a:gd name="connsiteY23" fmla="*/ 124447 h 2373523"/>
                <a:gd name="connsiteX24" fmla="*/ 11779707 w 12386023"/>
                <a:gd name="connsiteY24" fmla="*/ 299022 h 2373523"/>
                <a:gd name="connsiteX25" fmla="*/ 11399982 w 12386023"/>
                <a:gd name="connsiteY25" fmla="*/ 910907 h 2373523"/>
                <a:gd name="connsiteX26" fmla="*/ 10943237 w 12386023"/>
                <a:gd name="connsiteY26" fmla="*/ 1525068 h 2373523"/>
                <a:gd name="connsiteX27" fmla="*/ 10375442 w 12386023"/>
                <a:gd name="connsiteY27" fmla="*/ 1481851 h 2373523"/>
                <a:gd name="connsiteX28" fmla="*/ 9868545 w 12386023"/>
                <a:gd name="connsiteY28" fmla="*/ 922282 h 2373523"/>
                <a:gd name="connsiteX29" fmla="*/ 9393890 w 12386023"/>
                <a:gd name="connsiteY29" fmla="*/ 444601 h 2373523"/>
                <a:gd name="connsiteX30" fmla="*/ 8791091 w 12386023"/>
                <a:gd name="connsiteY30" fmla="*/ 20131 h 2373523"/>
                <a:gd name="connsiteX31" fmla="*/ 7390504 w 12386023"/>
                <a:gd name="connsiteY31" fmla="*/ 62625 h 2373523"/>
                <a:gd name="connsiteX32" fmla="*/ 9248668 w 12386023"/>
                <a:gd name="connsiteY32" fmla="*/ 483648 h 2373523"/>
                <a:gd name="connsiteX33" fmla="*/ 8892001 w 12386023"/>
                <a:gd name="connsiteY33" fmla="*/ 445563 h 2373523"/>
                <a:gd name="connsiteX34" fmla="*/ 9073222 w 12386023"/>
                <a:gd name="connsiteY34" fmla="*/ 748027 h 2373523"/>
                <a:gd name="connsiteX35" fmla="*/ 8705072 w 12386023"/>
                <a:gd name="connsiteY35" fmla="*/ 148058 h 2373523"/>
                <a:gd name="connsiteX0" fmla="*/ 8705072 w 12386023"/>
                <a:gd name="connsiteY0" fmla="*/ 148058 h 2373523"/>
                <a:gd name="connsiteX1" fmla="*/ 8697801 w 12386023"/>
                <a:gd name="connsiteY1" fmla="*/ 454697 h 2373523"/>
                <a:gd name="connsiteX2" fmla="*/ 8652701 w 12386023"/>
                <a:gd name="connsiteY2" fmla="*/ 640697 h 2373523"/>
                <a:gd name="connsiteX3" fmla="*/ 421075 w 12386023"/>
                <a:gd name="connsiteY3" fmla="*/ 800852 h 2373523"/>
                <a:gd name="connsiteX4" fmla="*/ 1277876 w 12386023"/>
                <a:gd name="connsiteY4" fmla="*/ 708409 h 2373523"/>
                <a:gd name="connsiteX5" fmla="*/ 1972735 w 12386023"/>
                <a:gd name="connsiteY5" fmla="*/ 742397 h 2373523"/>
                <a:gd name="connsiteX6" fmla="*/ 2428745 w 12386023"/>
                <a:gd name="connsiteY6" fmla="*/ 682909 h 2373523"/>
                <a:gd name="connsiteX7" fmla="*/ 2906467 w 12386023"/>
                <a:gd name="connsiteY7" fmla="*/ 682909 h 2373523"/>
                <a:gd name="connsiteX8" fmla="*/ 3677336 w 12386023"/>
                <a:gd name="connsiteY8" fmla="*/ 725403 h 2373523"/>
                <a:gd name="connsiteX9" fmla="*/ 4556772 w 12386023"/>
                <a:gd name="connsiteY9" fmla="*/ 708409 h 2373523"/>
                <a:gd name="connsiteX10" fmla="*/ 5186490 w 12386023"/>
                <a:gd name="connsiteY10" fmla="*/ 716915 h 2373523"/>
                <a:gd name="connsiteX11" fmla="*/ 6022500 w 12386023"/>
                <a:gd name="connsiteY11" fmla="*/ 716915 h 2373523"/>
                <a:gd name="connsiteX12" fmla="*/ 7086513 w 12386023"/>
                <a:gd name="connsiteY12" fmla="*/ 742415 h 2373523"/>
                <a:gd name="connsiteX13" fmla="*/ 7835668 w 12386023"/>
                <a:gd name="connsiteY13" fmla="*/ 733909 h 2373523"/>
                <a:gd name="connsiteX14" fmla="*/ 8367663 w 12386023"/>
                <a:gd name="connsiteY14" fmla="*/ 725403 h 2373523"/>
                <a:gd name="connsiteX15" fmla="*/ 8988680 w 12386023"/>
                <a:gd name="connsiteY15" fmla="*/ 1128151 h 2373523"/>
                <a:gd name="connsiteX16" fmla="*/ 9558676 w 12386023"/>
                <a:gd name="connsiteY16" fmla="*/ 1954983 h 2373523"/>
                <a:gd name="connsiteX17" fmla="*/ 10490076 w 12386023"/>
                <a:gd name="connsiteY17" fmla="*/ 2373522 h 2373523"/>
                <a:gd name="connsiteX18" fmla="*/ 11536110 w 12386023"/>
                <a:gd name="connsiteY18" fmla="*/ 1954985 h 2373523"/>
                <a:gd name="connsiteX19" fmla="*/ 11827041 w 12386023"/>
                <a:gd name="connsiteY19" fmla="*/ 1309250 h 2373523"/>
                <a:gd name="connsiteX20" fmla="*/ 12137937 w 12386023"/>
                <a:gd name="connsiteY20" fmla="*/ 863143 h 2373523"/>
                <a:gd name="connsiteX21" fmla="*/ 12386023 w 12386023"/>
                <a:gd name="connsiteY21" fmla="*/ 562829 h 2373523"/>
                <a:gd name="connsiteX22" fmla="*/ 12386023 w 12386023"/>
                <a:gd name="connsiteY22" fmla="*/ 124447 h 2373523"/>
                <a:gd name="connsiteX23" fmla="*/ 11779707 w 12386023"/>
                <a:gd name="connsiteY23" fmla="*/ 299022 h 2373523"/>
                <a:gd name="connsiteX24" fmla="*/ 11399982 w 12386023"/>
                <a:gd name="connsiteY24" fmla="*/ 910907 h 2373523"/>
                <a:gd name="connsiteX25" fmla="*/ 10943237 w 12386023"/>
                <a:gd name="connsiteY25" fmla="*/ 1525068 h 2373523"/>
                <a:gd name="connsiteX26" fmla="*/ 10375442 w 12386023"/>
                <a:gd name="connsiteY26" fmla="*/ 1481851 h 2373523"/>
                <a:gd name="connsiteX27" fmla="*/ 9868545 w 12386023"/>
                <a:gd name="connsiteY27" fmla="*/ 922282 h 2373523"/>
                <a:gd name="connsiteX28" fmla="*/ 9393890 w 12386023"/>
                <a:gd name="connsiteY28" fmla="*/ 444601 h 2373523"/>
                <a:gd name="connsiteX29" fmla="*/ 8791091 w 12386023"/>
                <a:gd name="connsiteY29" fmla="*/ 20131 h 2373523"/>
                <a:gd name="connsiteX30" fmla="*/ 7390504 w 12386023"/>
                <a:gd name="connsiteY30" fmla="*/ 62625 h 2373523"/>
                <a:gd name="connsiteX31" fmla="*/ 9248668 w 12386023"/>
                <a:gd name="connsiteY31" fmla="*/ 483648 h 2373523"/>
                <a:gd name="connsiteX32" fmla="*/ 8892001 w 12386023"/>
                <a:gd name="connsiteY32" fmla="*/ 445563 h 2373523"/>
                <a:gd name="connsiteX33" fmla="*/ 9073222 w 12386023"/>
                <a:gd name="connsiteY33" fmla="*/ 748027 h 2373523"/>
                <a:gd name="connsiteX34" fmla="*/ 8705072 w 12386023"/>
                <a:gd name="connsiteY34" fmla="*/ 148058 h 2373523"/>
                <a:gd name="connsiteX0" fmla="*/ 9073222 w 12386023"/>
                <a:gd name="connsiteY0" fmla="*/ 748027 h 2373523"/>
                <a:gd name="connsiteX1" fmla="*/ 8697801 w 12386023"/>
                <a:gd name="connsiteY1" fmla="*/ 454697 h 2373523"/>
                <a:gd name="connsiteX2" fmla="*/ 8652701 w 12386023"/>
                <a:gd name="connsiteY2" fmla="*/ 640697 h 2373523"/>
                <a:gd name="connsiteX3" fmla="*/ 421075 w 12386023"/>
                <a:gd name="connsiteY3" fmla="*/ 800852 h 2373523"/>
                <a:gd name="connsiteX4" fmla="*/ 1277876 w 12386023"/>
                <a:gd name="connsiteY4" fmla="*/ 708409 h 2373523"/>
                <a:gd name="connsiteX5" fmla="*/ 1972735 w 12386023"/>
                <a:gd name="connsiteY5" fmla="*/ 742397 h 2373523"/>
                <a:gd name="connsiteX6" fmla="*/ 2428745 w 12386023"/>
                <a:gd name="connsiteY6" fmla="*/ 682909 h 2373523"/>
                <a:gd name="connsiteX7" fmla="*/ 2906467 w 12386023"/>
                <a:gd name="connsiteY7" fmla="*/ 682909 h 2373523"/>
                <a:gd name="connsiteX8" fmla="*/ 3677336 w 12386023"/>
                <a:gd name="connsiteY8" fmla="*/ 725403 h 2373523"/>
                <a:gd name="connsiteX9" fmla="*/ 4556772 w 12386023"/>
                <a:gd name="connsiteY9" fmla="*/ 708409 h 2373523"/>
                <a:gd name="connsiteX10" fmla="*/ 5186490 w 12386023"/>
                <a:gd name="connsiteY10" fmla="*/ 716915 h 2373523"/>
                <a:gd name="connsiteX11" fmla="*/ 6022500 w 12386023"/>
                <a:gd name="connsiteY11" fmla="*/ 716915 h 2373523"/>
                <a:gd name="connsiteX12" fmla="*/ 7086513 w 12386023"/>
                <a:gd name="connsiteY12" fmla="*/ 742415 h 2373523"/>
                <a:gd name="connsiteX13" fmla="*/ 7835668 w 12386023"/>
                <a:gd name="connsiteY13" fmla="*/ 733909 h 2373523"/>
                <a:gd name="connsiteX14" fmla="*/ 8367663 w 12386023"/>
                <a:gd name="connsiteY14" fmla="*/ 725403 h 2373523"/>
                <a:gd name="connsiteX15" fmla="*/ 8988680 w 12386023"/>
                <a:gd name="connsiteY15" fmla="*/ 1128151 h 2373523"/>
                <a:gd name="connsiteX16" fmla="*/ 9558676 w 12386023"/>
                <a:gd name="connsiteY16" fmla="*/ 1954983 h 2373523"/>
                <a:gd name="connsiteX17" fmla="*/ 10490076 w 12386023"/>
                <a:gd name="connsiteY17" fmla="*/ 2373522 h 2373523"/>
                <a:gd name="connsiteX18" fmla="*/ 11536110 w 12386023"/>
                <a:gd name="connsiteY18" fmla="*/ 1954985 h 2373523"/>
                <a:gd name="connsiteX19" fmla="*/ 11827041 w 12386023"/>
                <a:gd name="connsiteY19" fmla="*/ 1309250 h 2373523"/>
                <a:gd name="connsiteX20" fmla="*/ 12137937 w 12386023"/>
                <a:gd name="connsiteY20" fmla="*/ 863143 h 2373523"/>
                <a:gd name="connsiteX21" fmla="*/ 12386023 w 12386023"/>
                <a:gd name="connsiteY21" fmla="*/ 562829 h 2373523"/>
                <a:gd name="connsiteX22" fmla="*/ 12386023 w 12386023"/>
                <a:gd name="connsiteY22" fmla="*/ 124447 h 2373523"/>
                <a:gd name="connsiteX23" fmla="*/ 11779707 w 12386023"/>
                <a:gd name="connsiteY23" fmla="*/ 299022 h 2373523"/>
                <a:gd name="connsiteX24" fmla="*/ 11399982 w 12386023"/>
                <a:gd name="connsiteY24" fmla="*/ 910907 h 2373523"/>
                <a:gd name="connsiteX25" fmla="*/ 10943237 w 12386023"/>
                <a:gd name="connsiteY25" fmla="*/ 1525068 h 2373523"/>
                <a:gd name="connsiteX26" fmla="*/ 10375442 w 12386023"/>
                <a:gd name="connsiteY26" fmla="*/ 1481851 h 2373523"/>
                <a:gd name="connsiteX27" fmla="*/ 9868545 w 12386023"/>
                <a:gd name="connsiteY27" fmla="*/ 922282 h 2373523"/>
                <a:gd name="connsiteX28" fmla="*/ 9393890 w 12386023"/>
                <a:gd name="connsiteY28" fmla="*/ 444601 h 2373523"/>
                <a:gd name="connsiteX29" fmla="*/ 8791091 w 12386023"/>
                <a:gd name="connsiteY29" fmla="*/ 20131 h 2373523"/>
                <a:gd name="connsiteX30" fmla="*/ 7390504 w 12386023"/>
                <a:gd name="connsiteY30" fmla="*/ 62625 h 2373523"/>
                <a:gd name="connsiteX31" fmla="*/ 9248668 w 12386023"/>
                <a:gd name="connsiteY31" fmla="*/ 483648 h 2373523"/>
                <a:gd name="connsiteX32" fmla="*/ 8892001 w 12386023"/>
                <a:gd name="connsiteY32" fmla="*/ 445563 h 2373523"/>
                <a:gd name="connsiteX33" fmla="*/ 9073222 w 12386023"/>
                <a:gd name="connsiteY33" fmla="*/ 748027 h 2373523"/>
                <a:gd name="connsiteX0" fmla="*/ 9073222 w 12386023"/>
                <a:gd name="connsiteY0" fmla="*/ 748027 h 2373523"/>
                <a:gd name="connsiteX1" fmla="*/ 8652701 w 12386023"/>
                <a:gd name="connsiteY1" fmla="*/ 640697 h 2373523"/>
                <a:gd name="connsiteX2" fmla="*/ 421075 w 12386023"/>
                <a:gd name="connsiteY2" fmla="*/ 800852 h 2373523"/>
                <a:gd name="connsiteX3" fmla="*/ 1277876 w 12386023"/>
                <a:gd name="connsiteY3" fmla="*/ 708409 h 2373523"/>
                <a:gd name="connsiteX4" fmla="*/ 1972735 w 12386023"/>
                <a:gd name="connsiteY4" fmla="*/ 742397 h 2373523"/>
                <a:gd name="connsiteX5" fmla="*/ 2428745 w 12386023"/>
                <a:gd name="connsiteY5" fmla="*/ 682909 h 2373523"/>
                <a:gd name="connsiteX6" fmla="*/ 2906467 w 12386023"/>
                <a:gd name="connsiteY6" fmla="*/ 682909 h 2373523"/>
                <a:gd name="connsiteX7" fmla="*/ 3677336 w 12386023"/>
                <a:gd name="connsiteY7" fmla="*/ 725403 h 2373523"/>
                <a:gd name="connsiteX8" fmla="*/ 4556772 w 12386023"/>
                <a:gd name="connsiteY8" fmla="*/ 708409 h 2373523"/>
                <a:gd name="connsiteX9" fmla="*/ 5186490 w 12386023"/>
                <a:gd name="connsiteY9" fmla="*/ 716915 h 2373523"/>
                <a:gd name="connsiteX10" fmla="*/ 6022500 w 12386023"/>
                <a:gd name="connsiteY10" fmla="*/ 716915 h 2373523"/>
                <a:gd name="connsiteX11" fmla="*/ 7086513 w 12386023"/>
                <a:gd name="connsiteY11" fmla="*/ 742415 h 2373523"/>
                <a:gd name="connsiteX12" fmla="*/ 7835668 w 12386023"/>
                <a:gd name="connsiteY12" fmla="*/ 733909 h 2373523"/>
                <a:gd name="connsiteX13" fmla="*/ 8367663 w 12386023"/>
                <a:gd name="connsiteY13" fmla="*/ 725403 h 2373523"/>
                <a:gd name="connsiteX14" fmla="*/ 8988680 w 12386023"/>
                <a:gd name="connsiteY14" fmla="*/ 1128151 h 2373523"/>
                <a:gd name="connsiteX15" fmla="*/ 9558676 w 12386023"/>
                <a:gd name="connsiteY15" fmla="*/ 1954983 h 2373523"/>
                <a:gd name="connsiteX16" fmla="*/ 10490076 w 12386023"/>
                <a:gd name="connsiteY16" fmla="*/ 2373522 h 2373523"/>
                <a:gd name="connsiteX17" fmla="*/ 11536110 w 12386023"/>
                <a:gd name="connsiteY17" fmla="*/ 1954985 h 2373523"/>
                <a:gd name="connsiteX18" fmla="*/ 11827041 w 12386023"/>
                <a:gd name="connsiteY18" fmla="*/ 1309250 h 2373523"/>
                <a:gd name="connsiteX19" fmla="*/ 12137937 w 12386023"/>
                <a:gd name="connsiteY19" fmla="*/ 863143 h 2373523"/>
                <a:gd name="connsiteX20" fmla="*/ 12386023 w 12386023"/>
                <a:gd name="connsiteY20" fmla="*/ 562829 h 2373523"/>
                <a:gd name="connsiteX21" fmla="*/ 12386023 w 12386023"/>
                <a:gd name="connsiteY21" fmla="*/ 124447 h 2373523"/>
                <a:gd name="connsiteX22" fmla="*/ 11779707 w 12386023"/>
                <a:gd name="connsiteY22" fmla="*/ 299022 h 2373523"/>
                <a:gd name="connsiteX23" fmla="*/ 11399982 w 12386023"/>
                <a:gd name="connsiteY23" fmla="*/ 910907 h 2373523"/>
                <a:gd name="connsiteX24" fmla="*/ 10943237 w 12386023"/>
                <a:gd name="connsiteY24" fmla="*/ 1525068 h 2373523"/>
                <a:gd name="connsiteX25" fmla="*/ 10375442 w 12386023"/>
                <a:gd name="connsiteY25" fmla="*/ 1481851 h 2373523"/>
                <a:gd name="connsiteX26" fmla="*/ 9868545 w 12386023"/>
                <a:gd name="connsiteY26" fmla="*/ 922282 h 2373523"/>
                <a:gd name="connsiteX27" fmla="*/ 9393890 w 12386023"/>
                <a:gd name="connsiteY27" fmla="*/ 444601 h 2373523"/>
                <a:gd name="connsiteX28" fmla="*/ 8791091 w 12386023"/>
                <a:gd name="connsiteY28" fmla="*/ 20131 h 2373523"/>
                <a:gd name="connsiteX29" fmla="*/ 7390504 w 12386023"/>
                <a:gd name="connsiteY29" fmla="*/ 62625 h 2373523"/>
                <a:gd name="connsiteX30" fmla="*/ 9248668 w 12386023"/>
                <a:gd name="connsiteY30" fmla="*/ 483648 h 2373523"/>
                <a:gd name="connsiteX31" fmla="*/ 8892001 w 12386023"/>
                <a:gd name="connsiteY31" fmla="*/ 445563 h 2373523"/>
                <a:gd name="connsiteX32" fmla="*/ 9073222 w 12386023"/>
                <a:gd name="connsiteY32" fmla="*/ 748027 h 2373523"/>
                <a:gd name="connsiteX0" fmla="*/ 9102751 w 12415552"/>
                <a:gd name="connsiteY0" fmla="*/ 748027 h 2373523"/>
                <a:gd name="connsiteX1" fmla="*/ 450604 w 12415552"/>
                <a:gd name="connsiteY1" fmla="*/ 800852 h 2373523"/>
                <a:gd name="connsiteX2" fmla="*/ 1307405 w 12415552"/>
                <a:gd name="connsiteY2" fmla="*/ 708409 h 2373523"/>
                <a:gd name="connsiteX3" fmla="*/ 2002264 w 12415552"/>
                <a:gd name="connsiteY3" fmla="*/ 742397 h 2373523"/>
                <a:gd name="connsiteX4" fmla="*/ 2458274 w 12415552"/>
                <a:gd name="connsiteY4" fmla="*/ 682909 h 2373523"/>
                <a:gd name="connsiteX5" fmla="*/ 2935996 w 12415552"/>
                <a:gd name="connsiteY5" fmla="*/ 682909 h 2373523"/>
                <a:gd name="connsiteX6" fmla="*/ 3706865 w 12415552"/>
                <a:gd name="connsiteY6" fmla="*/ 725403 h 2373523"/>
                <a:gd name="connsiteX7" fmla="*/ 4586301 w 12415552"/>
                <a:gd name="connsiteY7" fmla="*/ 708409 h 2373523"/>
                <a:gd name="connsiteX8" fmla="*/ 5216019 w 12415552"/>
                <a:gd name="connsiteY8" fmla="*/ 716915 h 2373523"/>
                <a:gd name="connsiteX9" fmla="*/ 6052029 w 12415552"/>
                <a:gd name="connsiteY9" fmla="*/ 716915 h 2373523"/>
                <a:gd name="connsiteX10" fmla="*/ 7116042 w 12415552"/>
                <a:gd name="connsiteY10" fmla="*/ 742415 h 2373523"/>
                <a:gd name="connsiteX11" fmla="*/ 7865197 w 12415552"/>
                <a:gd name="connsiteY11" fmla="*/ 733909 h 2373523"/>
                <a:gd name="connsiteX12" fmla="*/ 8397192 w 12415552"/>
                <a:gd name="connsiteY12" fmla="*/ 725403 h 2373523"/>
                <a:gd name="connsiteX13" fmla="*/ 9018209 w 12415552"/>
                <a:gd name="connsiteY13" fmla="*/ 1128151 h 2373523"/>
                <a:gd name="connsiteX14" fmla="*/ 9588205 w 12415552"/>
                <a:gd name="connsiteY14" fmla="*/ 1954983 h 2373523"/>
                <a:gd name="connsiteX15" fmla="*/ 10519605 w 12415552"/>
                <a:gd name="connsiteY15" fmla="*/ 2373522 h 2373523"/>
                <a:gd name="connsiteX16" fmla="*/ 11565639 w 12415552"/>
                <a:gd name="connsiteY16" fmla="*/ 1954985 h 2373523"/>
                <a:gd name="connsiteX17" fmla="*/ 11856570 w 12415552"/>
                <a:gd name="connsiteY17" fmla="*/ 1309250 h 2373523"/>
                <a:gd name="connsiteX18" fmla="*/ 12167466 w 12415552"/>
                <a:gd name="connsiteY18" fmla="*/ 863143 h 2373523"/>
                <a:gd name="connsiteX19" fmla="*/ 12415552 w 12415552"/>
                <a:gd name="connsiteY19" fmla="*/ 562829 h 2373523"/>
                <a:gd name="connsiteX20" fmla="*/ 12415552 w 12415552"/>
                <a:gd name="connsiteY20" fmla="*/ 124447 h 2373523"/>
                <a:gd name="connsiteX21" fmla="*/ 11809236 w 12415552"/>
                <a:gd name="connsiteY21" fmla="*/ 299022 h 2373523"/>
                <a:gd name="connsiteX22" fmla="*/ 11429511 w 12415552"/>
                <a:gd name="connsiteY22" fmla="*/ 910907 h 2373523"/>
                <a:gd name="connsiteX23" fmla="*/ 10972766 w 12415552"/>
                <a:gd name="connsiteY23" fmla="*/ 1525068 h 2373523"/>
                <a:gd name="connsiteX24" fmla="*/ 10404971 w 12415552"/>
                <a:gd name="connsiteY24" fmla="*/ 1481851 h 2373523"/>
                <a:gd name="connsiteX25" fmla="*/ 9898074 w 12415552"/>
                <a:gd name="connsiteY25" fmla="*/ 922282 h 2373523"/>
                <a:gd name="connsiteX26" fmla="*/ 9423419 w 12415552"/>
                <a:gd name="connsiteY26" fmla="*/ 444601 h 2373523"/>
                <a:gd name="connsiteX27" fmla="*/ 8820620 w 12415552"/>
                <a:gd name="connsiteY27" fmla="*/ 20131 h 2373523"/>
                <a:gd name="connsiteX28" fmla="*/ 7420033 w 12415552"/>
                <a:gd name="connsiteY28" fmla="*/ 62625 h 2373523"/>
                <a:gd name="connsiteX29" fmla="*/ 9278197 w 12415552"/>
                <a:gd name="connsiteY29" fmla="*/ 483648 h 2373523"/>
                <a:gd name="connsiteX30" fmla="*/ 8921530 w 12415552"/>
                <a:gd name="connsiteY30" fmla="*/ 445563 h 2373523"/>
                <a:gd name="connsiteX31" fmla="*/ 9102751 w 12415552"/>
                <a:gd name="connsiteY31" fmla="*/ 748027 h 2373523"/>
                <a:gd name="connsiteX0" fmla="*/ 9102753 w 12415554"/>
                <a:gd name="connsiteY0" fmla="*/ 748027 h 2373523"/>
                <a:gd name="connsiteX1" fmla="*/ 450606 w 12415554"/>
                <a:gd name="connsiteY1" fmla="*/ 800852 h 2373523"/>
                <a:gd name="connsiteX2" fmla="*/ 1307407 w 12415554"/>
                <a:gd name="connsiteY2" fmla="*/ 708409 h 2373523"/>
                <a:gd name="connsiteX3" fmla="*/ 2002266 w 12415554"/>
                <a:gd name="connsiteY3" fmla="*/ 742397 h 2373523"/>
                <a:gd name="connsiteX4" fmla="*/ 2458276 w 12415554"/>
                <a:gd name="connsiteY4" fmla="*/ 682909 h 2373523"/>
                <a:gd name="connsiteX5" fmla="*/ 2935998 w 12415554"/>
                <a:gd name="connsiteY5" fmla="*/ 682909 h 2373523"/>
                <a:gd name="connsiteX6" fmla="*/ 3706867 w 12415554"/>
                <a:gd name="connsiteY6" fmla="*/ 725403 h 2373523"/>
                <a:gd name="connsiteX7" fmla="*/ 4586303 w 12415554"/>
                <a:gd name="connsiteY7" fmla="*/ 708409 h 2373523"/>
                <a:gd name="connsiteX8" fmla="*/ 5216021 w 12415554"/>
                <a:gd name="connsiteY8" fmla="*/ 716915 h 2373523"/>
                <a:gd name="connsiteX9" fmla="*/ 6052031 w 12415554"/>
                <a:gd name="connsiteY9" fmla="*/ 716915 h 2373523"/>
                <a:gd name="connsiteX10" fmla="*/ 7116044 w 12415554"/>
                <a:gd name="connsiteY10" fmla="*/ 742415 h 2373523"/>
                <a:gd name="connsiteX11" fmla="*/ 7865199 w 12415554"/>
                <a:gd name="connsiteY11" fmla="*/ 733909 h 2373523"/>
                <a:gd name="connsiteX12" fmla="*/ 8397194 w 12415554"/>
                <a:gd name="connsiteY12" fmla="*/ 725403 h 2373523"/>
                <a:gd name="connsiteX13" fmla="*/ 9018211 w 12415554"/>
                <a:gd name="connsiteY13" fmla="*/ 1128151 h 2373523"/>
                <a:gd name="connsiteX14" fmla="*/ 9588207 w 12415554"/>
                <a:gd name="connsiteY14" fmla="*/ 1954983 h 2373523"/>
                <a:gd name="connsiteX15" fmla="*/ 10519607 w 12415554"/>
                <a:gd name="connsiteY15" fmla="*/ 2373522 h 2373523"/>
                <a:gd name="connsiteX16" fmla="*/ 11565641 w 12415554"/>
                <a:gd name="connsiteY16" fmla="*/ 1954985 h 2373523"/>
                <a:gd name="connsiteX17" fmla="*/ 11856572 w 12415554"/>
                <a:gd name="connsiteY17" fmla="*/ 1309250 h 2373523"/>
                <a:gd name="connsiteX18" fmla="*/ 12167468 w 12415554"/>
                <a:gd name="connsiteY18" fmla="*/ 863143 h 2373523"/>
                <a:gd name="connsiteX19" fmla="*/ 12415554 w 12415554"/>
                <a:gd name="connsiteY19" fmla="*/ 562829 h 2373523"/>
                <a:gd name="connsiteX20" fmla="*/ 12415554 w 12415554"/>
                <a:gd name="connsiteY20" fmla="*/ 124447 h 2373523"/>
                <a:gd name="connsiteX21" fmla="*/ 11809238 w 12415554"/>
                <a:gd name="connsiteY21" fmla="*/ 299022 h 2373523"/>
                <a:gd name="connsiteX22" fmla="*/ 11429513 w 12415554"/>
                <a:gd name="connsiteY22" fmla="*/ 910907 h 2373523"/>
                <a:gd name="connsiteX23" fmla="*/ 10972768 w 12415554"/>
                <a:gd name="connsiteY23" fmla="*/ 1525068 h 2373523"/>
                <a:gd name="connsiteX24" fmla="*/ 10404973 w 12415554"/>
                <a:gd name="connsiteY24" fmla="*/ 1481851 h 2373523"/>
                <a:gd name="connsiteX25" fmla="*/ 9898076 w 12415554"/>
                <a:gd name="connsiteY25" fmla="*/ 922282 h 2373523"/>
                <a:gd name="connsiteX26" fmla="*/ 9423421 w 12415554"/>
                <a:gd name="connsiteY26" fmla="*/ 444601 h 2373523"/>
                <a:gd name="connsiteX27" fmla="*/ 8820622 w 12415554"/>
                <a:gd name="connsiteY27" fmla="*/ 20131 h 2373523"/>
                <a:gd name="connsiteX28" fmla="*/ 7420035 w 12415554"/>
                <a:gd name="connsiteY28" fmla="*/ 62625 h 2373523"/>
                <a:gd name="connsiteX29" fmla="*/ 9278199 w 12415554"/>
                <a:gd name="connsiteY29" fmla="*/ 483648 h 2373523"/>
                <a:gd name="connsiteX30" fmla="*/ 9102753 w 12415554"/>
                <a:gd name="connsiteY30" fmla="*/ 748027 h 2373523"/>
                <a:gd name="connsiteX0" fmla="*/ 9102753 w 12415554"/>
                <a:gd name="connsiteY0" fmla="*/ 748027 h 2373523"/>
                <a:gd name="connsiteX1" fmla="*/ 450606 w 12415554"/>
                <a:gd name="connsiteY1" fmla="*/ 800852 h 2373523"/>
                <a:gd name="connsiteX2" fmla="*/ 1307407 w 12415554"/>
                <a:gd name="connsiteY2" fmla="*/ 708409 h 2373523"/>
                <a:gd name="connsiteX3" fmla="*/ 2002266 w 12415554"/>
                <a:gd name="connsiteY3" fmla="*/ 742397 h 2373523"/>
                <a:gd name="connsiteX4" fmla="*/ 2458276 w 12415554"/>
                <a:gd name="connsiteY4" fmla="*/ 682909 h 2373523"/>
                <a:gd name="connsiteX5" fmla="*/ 2935998 w 12415554"/>
                <a:gd name="connsiteY5" fmla="*/ 682909 h 2373523"/>
                <a:gd name="connsiteX6" fmla="*/ 3706867 w 12415554"/>
                <a:gd name="connsiteY6" fmla="*/ 725403 h 2373523"/>
                <a:gd name="connsiteX7" fmla="*/ 4586303 w 12415554"/>
                <a:gd name="connsiteY7" fmla="*/ 708409 h 2373523"/>
                <a:gd name="connsiteX8" fmla="*/ 5216021 w 12415554"/>
                <a:gd name="connsiteY8" fmla="*/ 716915 h 2373523"/>
                <a:gd name="connsiteX9" fmla="*/ 6052031 w 12415554"/>
                <a:gd name="connsiteY9" fmla="*/ 716915 h 2373523"/>
                <a:gd name="connsiteX10" fmla="*/ 7116044 w 12415554"/>
                <a:gd name="connsiteY10" fmla="*/ 742415 h 2373523"/>
                <a:gd name="connsiteX11" fmla="*/ 7865199 w 12415554"/>
                <a:gd name="connsiteY11" fmla="*/ 733909 h 2373523"/>
                <a:gd name="connsiteX12" fmla="*/ 8397194 w 12415554"/>
                <a:gd name="connsiteY12" fmla="*/ 725403 h 2373523"/>
                <a:gd name="connsiteX13" fmla="*/ 9018211 w 12415554"/>
                <a:gd name="connsiteY13" fmla="*/ 1128151 h 2373523"/>
                <a:gd name="connsiteX14" fmla="*/ 9588207 w 12415554"/>
                <a:gd name="connsiteY14" fmla="*/ 1954983 h 2373523"/>
                <a:gd name="connsiteX15" fmla="*/ 10519607 w 12415554"/>
                <a:gd name="connsiteY15" fmla="*/ 2373522 h 2373523"/>
                <a:gd name="connsiteX16" fmla="*/ 11565641 w 12415554"/>
                <a:gd name="connsiteY16" fmla="*/ 1954985 h 2373523"/>
                <a:gd name="connsiteX17" fmla="*/ 11856572 w 12415554"/>
                <a:gd name="connsiteY17" fmla="*/ 1309250 h 2373523"/>
                <a:gd name="connsiteX18" fmla="*/ 12167468 w 12415554"/>
                <a:gd name="connsiteY18" fmla="*/ 863143 h 2373523"/>
                <a:gd name="connsiteX19" fmla="*/ 12415554 w 12415554"/>
                <a:gd name="connsiteY19" fmla="*/ 562829 h 2373523"/>
                <a:gd name="connsiteX20" fmla="*/ 12415554 w 12415554"/>
                <a:gd name="connsiteY20" fmla="*/ 124447 h 2373523"/>
                <a:gd name="connsiteX21" fmla="*/ 11809238 w 12415554"/>
                <a:gd name="connsiteY21" fmla="*/ 299022 h 2373523"/>
                <a:gd name="connsiteX22" fmla="*/ 11429513 w 12415554"/>
                <a:gd name="connsiteY22" fmla="*/ 910907 h 2373523"/>
                <a:gd name="connsiteX23" fmla="*/ 10972768 w 12415554"/>
                <a:gd name="connsiteY23" fmla="*/ 1525068 h 2373523"/>
                <a:gd name="connsiteX24" fmla="*/ 10404973 w 12415554"/>
                <a:gd name="connsiteY24" fmla="*/ 1481851 h 2373523"/>
                <a:gd name="connsiteX25" fmla="*/ 9898076 w 12415554"/>
                <a:gd name="connsiteY25" fmla="*/ 922282 h 2373523"/>
                <a:gd name="connsiteX26" fmla="*/ 9423421 w 12415554"/>
                <a:gd name="connsiteY26" fmla="*/ 444601 h 2373523"/>
                <a:gd name="connsiteX27" fmla="*/ 8820622 w 12415554"/>
                <a:gd name="connsiteY27" fmla="*/ 20131 h 2373523"/>
                <a:gd name="connsiteX28" fmla="*/ 7420035 w 12415554"/>
                <a:gd name="connsiteY28" fmla="*/ 62625 h 2373523"/>
                <a:gd name="connsiteX29" fmla="*/ 9102753 w 12415554"/>
                <a:gd name="connsiteY29" fmla="*/ 748027 h 2373523"/>
                <a:gd name="connsiteX0" fmla="*/ 7302823 w 12298342"/>
                <a:gd name="connsiteY0" fmla="*/ 62625 h 2373523"/>
                <a:gd name="connsiteX1" fmla="*/ 333394 w 12298342"/>
                <a:gd name="connsiteY1" fmla="*/ 800852 h 2373523"/>
                <a:gd name="connsiteX2" fmla="*/ 1190195 w 12298342"/>
                <a:gd name="connsiteY2" fmla="*/ 708409 h 2373523"/>
                <a:gd name="connsiteX3" fmla="*/ 1885054 w 12298342"/>
                <a:gd name="connsiteY3" fmla="*/ 742397 h 2373523"/>
                <a:gd name="connsiteX4" fmla="*/ 2341064 w 12298342"/>
                <a:gd name="connsiteY4" fmla="*/ 682909 h 2373523"/>
                <a:gd name="connsiteX5" fmla="*/ 2818786 w 12298342"/>
                <a:gd name="connsiteY5" fmla="*/ 682909 h 2373523"/>
                <a:gd name="connsiteX6" fmla="*/ 3589655 w 12298342"/>
                <a:gd name="connsiteY6" fmla="*/ 725403 h 2373523"/>
                <a:gd name="connsiteX7" fmla="*/ 4469091 w 12298342"/>
                <a:gd name="connsiteY7" fmla="*/ 708409 h 2373523"/>
                <a:gd name="connsiteX8" fmla="*/ 5098809 w 12298342"/>
                <a:gd name="connsiteY8" fmla="*/ 716915 h 2373523"/>
                <a:gd name="connsiteX9" fmla="*/ 5934819 w 12298342"/>
                <a:gd name="connsiteY9" fmla="*/ 716915 h 2373523"/>
                <a:gd name="connsiteX10" fmla="*/ 6998832 w 12298342"/>
                <a:gd name="connsiteY10" fmla="*/ 742415 h 2373523"/>
                <a:gd name="connsiteX11" fmla="*/ 7747987 w 12298342"/>
                <a:gd name="connsiteY11" fmla="*/ 733909 h 2373523"/>
                <a:gd name="connsiteX12" fmla="*/ 8279982 w 12298342"/>
                <a:gd name="connsiteY12" fmla="*/ 725403 h 2373523"/>
                <a:gd name="connsiteX13" fmla="*/ 8900999 w 12298342"/>
                <a:gd name="connsiteY13" fmla="*/ 1128151 h 2373523"/>
                <a:gd name="connsiteX14" fmla="*/ 9470995 w 12298342"/>
                <a:gd name="connsiteY14" fmla="*/ 1954983 h 2373523"/>
                <a:gd name="connsiteX15" fmla="*/ 10402395 w 12298342"/>
                <a:gd name="connsiteY15" fmla="*/ 2373522 h 2373523"/>
                <a:gd name="connsiteX16" fmla="*/ 11448429 w 12298342"/>
                <a:gd name="connsiteY16" fmla="*/ 1954985 h 2373523"/>
                <a:gd name="connsiteX17" fmla="*/ 11739360 w 12298342"/>
                <a:gd name="connsiteY17" fmla="*/ 1309250 h 2373523"/>
                <a:gd name="connsiteX18" fmla="*/ 12050256 w 12298342"/>
                <a:gd name="connsiteY18" fmla="*/ 863143 h 2373523"/>
                <a:gd name="connsiteX19" fmla="*/ 12298342 w 12298342"/>
                <a:gd name="connsiteY19" fmla="*/ 562829 h 2373523"/>
                <a:gd name="connsiteX20" fmla="*/ 12298342 w 12298342"/>
                <a:gd name="connsiteY20" fmla="*/ 124447 h 2373523"/>
                <a:gd name="connsiteX21" fmla="*/ 11692026 w 12298342"/>
                <a:gd name="connsiteY21" fmla="*/ 299022 h 2373523"/>
                <a:gd name="connsiteX22" fmla="*/ 11312301 w 12298342"/>
                <a:gd name="connsiteY22" fmla="*/ 910907 h 2373523"/>
                <a:gd name="connsiteX23" fmla="*/ 10855556 w 12298342"/>
                <a:gd name="connsiteY23" fmla="*/ 1525068 h 2373523"/>
                <a:gd name="connsiteX24" fmla="*/ 10287761 w 12298342"/>
                <a:gd name="connsiteY24" fmla="*/ 1481851 h 2373523"/>
                <a:gd name="connsiteX25" fmla="*/ 9780864 w 12298342"/>
                <a:gd name="connsiteY25" fmla="*/ 922282 h 2373523"/>
                <a:gd name="connsiteX26" fmla="*/ 9306209 w 12298342"/>
                <a:gd name="connsiteY26" fmla="*/ 444601 h 2373523"/>
                <a:gd name="connsiteX27" fmla="*/ 8703410 w 12298342"/>
                <a:gd name="connsiteY27" fmla="*/ 20131 h 2373523"/>
                <a:gd name="connsiteX28" fmla="*/ 7302823 w 12298342"/>
                <a:gd name="connsiteY28" fmla="*/ 62625 h 2373523"/>
                <a:gd name="connsiteX0" fmla="*/ 8557475 w 12379789"/>
                <a:gd name="connsiteY0" fmla="*/ 304971 h 2354282"/>
                <a:gd name="connsiteX1" fmla="*/ 414841 w 12379789"/>
                <a:gd name="connsiteY1" fmla="*/ 781611 h 2354282"/>
                <a:gd name="connsiteX2" fmla="*/ 1271642 w 12379789"/>
                <a:gd name="connsiteY2" fmla="*/ 689168 h 2354282"/>
                <a:gd name="connsiteX3" fmla="*/ 1966501 w 12379789"/>
                <a:gd name="connsiteY3" fmla="*/ 723156 h 2354282"/>
                <a:gd name="connsiteX4" fmla="*/ 2422511 w 12379789"/>
                <a:gd name="connsiteY4" fmla="*/ 663668 h 2354282"/>
                <a:gd name="connsiteX5" fmla="*/ 2900233 w 12379789"/>
                <a:gd name="connsiteY5" fmla="*/ 663668 h 2354282"/>
                <a:gd name="connsiteX6" fmla="*/ 3671102 w 12379789"/>
                <a:gd name="connsiteY6" fmla="*/ 706162 h 2354282"/>
                <a:gd name="connsiteX7" fmla="*/ 4550538 w 12379789"/>
                <a:gd name="connsiteY7" fmla="*/ 689168 h 2354282"/>
                <a:gd name="connsiteX8" fmla="*/ 5180256 w 12379789"/>
                <a:gd name="connsiteY8" fmla="*/ 697674 h 2354282"/>
                <a:gd name="connsiteX9" fmla="*/ 6016266 w 12379789"/>
                <a:gd name="connsiteY9" fmla="*/ 697674 h 2354282"/>
                <a:gd name="connsiteX10" fmla="*/ 7080279 w 12379789"/>
                <a:gd name="connsiteY10" fmla="*/ 723174 h 2354282"/>
                <a:gd name="connsiteX11" fmla="*/ 7829434 w 12379789"/>
                <a:gd name="connsiteY11" fmla="*/ 714668 h 2354282"/>
                <a:gd name="connsiteX12" fmla="*/ 8361429 w 12379789"/>
                <a:gd name="connsiteY12" fmla="*/ 706162 h 2354282"/>
                <a:gd name="connsiteX13" fmla="*/ 8982446 w 12379789"/>
                <a:gd name="connsiteY13" fmla="*/ 1108910 h 2354282"/>
                <a:gd name="connsiteX14" fmla="*/ 9552442 w 12379789"/>
                <a:gd name="connsiteY14" fmla="*/ 1935742 h 2354282"/>
                <a:gd name="connsiteX15" fmla="*/ 10483842 w 12379789"/>
                <a:gd name="connsiteY15" fmla="*/ 2354281 h 2354282"/>
                <a:gd name="connsiteX16" fmla="*/ 11529876 w 12379789"/>
                <a:gd name="connsiteY16" fmla="*/ 1935744 h 2354282"/>
                <a:gd name="connsiteX17" fmla="*/ 11820807 w 12379789"/>
                <a:gd name="connsiteY17" fmla="*/ 1290009 h 2354282"/>
                <a:gd name="connsiteX18" fmla="*/ 12131703 w 12379789"/>
                <a:gd name="connsiteY18" fmla="*/ 843902 h 2354282"/>
                <a:gd name="connsiteX19" fmla="*/ 12379789 w 12379789"/>
                <a:gd name="connsiteY19" fmla="*/ 543588 h 2354282"/>
                <a:gd name="connsiteX20" fmla="*/ 12379789 w 12379789"/>
                <a:gd name="connsiteY20" fmla="*/ 105206 h 2354282"/>
                <a:gd name="connsiteX21" fmla="*/ 11773473 w 12379789"/>
                <a:gd name="connsiteY21" fmla="*/ 279781 h 2354282"/>
                <a:gd name="connsiteX22" fmla="*/ 11393748 w 12379789"/>
                <a:gd name="connsiteY22" fmla="*/ 891666 h 2354282"/>
                <a:gd name="connsiteX23" fmla="*/ 10937003 w 12379789"/>
                <a:gd name="connsiteY23" fmla="*/ 1505827 h 2354282"/>
                <a:gd name="connsiteX24" fmla="*/ 10369208 w 12379789"/>
                <a:gd name="connsiteY24" fmla="*/ 1462610 h 2354282"/>
                <a:gd name="connsiteX25" fmla="*/ 9862311 w 12379789"/>
                <a:gd name="connsiteY25" fmla="*/ 903041 h 2354282"/>
                <a:gd name="connsiteX26" fmla="*/ 9387656 w 12379789"/>
                <a:gd name="connsiteY26" fmla="*/ 425360 h 2354282"/>
                <a:gd name="connsiteX27" fmla="*/ 8784857 w 12379789"/>
                <a:gd name="connsiteY27" fmla="*/ 890 h 2354282"/>
                <a:gd name="connsiteX28" fmla="*/ 8557475 w 12379789"/>
                <a:gd name="connsiteY28" fmla="*/ 304971 h 2354282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3671104 w 12379791"/>
                <a:gd name="connsiteY6" fmla="*/ 614077 h 2262197"/>
                <a:gd name="connsiteX7" fmla="*/ 4550540 w 12379791"/>
                <a:gd name="connsiteY7" fmla="*/ 597083 h 2262197"/>
                <a:gd name="connsiteX8" fmla="*/ 5180258 w 12379791"/>
                <a:gd name="connsiteY8" fmla="*/ 605589 h 2262197"/>
                <a:gd name="connsiteX9" fmla="*/ 6016268 w 12379791"/>
                <a:gd name="connsiteY9" fmla="*/ 605589 h 2262197"/>
                <a:gd name="connsiteX10" fmla="*/ 7080281 w 12379791"/>
                <a:gd name="connsiteY10" fmla="*/ 631089 h 2262197"/>
                <a:gd name="connsiteX11" fmla="*/ 7829436 w 12379791"/>
                <a:gd name="connsiteY11" fmla="*/ 622583 h 2262197"/>
                <a:gd name="connsiteX12" fmla="*/ 8361431 w 12379791"/>
                <a:gd name="connsiteY12" fmla="*/ 614077 h 2262197"/>
                <a:gd name="connsiteX13" fmla="*/ 8982448 w 12379791"/>
                <a:gd name="connsiteY13" fmla="*/ 1016825 h 2262197"/>
                <a:gd name="connsiteX14" fmla="*/ 9552444 w 12379791"/>
                <a:gd name="connsiteY14" fmla="*/ 1843657 h 2262197"/>
                <a:gd name="connsiteX15" fmla="*/ 10483844 w 12379791"/>
                <a:gd name="connsiteY15" fmla="*/ 2262196 h 2262197"/>
                <a:gd name="connsiteX16" fmla="*/ 11529878 w 12379791"/>
                <a:gd name="connsiteY16" fmla="*/ 1843659 h 2262197"/>
                <a:gd name="connsiteX17" fmla="*/ 11820809 w 12379791"/>
                <a:gd name="connsiteY17" fmla="*/ 1197924 h 2262197"/>
                <a:gd name="connsiteX18" fmla="*/ 12131705 w 12379791"/>
                <a:gd name="connsiteY18" fmla="*/ 751817 h 2262197"/>
                <a:gd name="connsiteX19" fmla="*/ 12379791 w 12379791"/>
                <a:gd name="connsiteY19" fmla="*/ 451503 h 2262197"/>
                <a:gd name="connsiteX20" fmla="*/ 12379791 w 12379791"/>
                <a:gd name="connsiteY20" fmla="*/ 13121 h 2262197"/>
                <a:gd name="connsiteX21" fmla="*/ 11773475 w 12379791"/>
                <a:gd name="connsiteY21" fmla="*/ 187696 h 2262197"/>
                <a:gd name="connsiteX22" fmla="*/ 11393750 w 12379791"/>
                <a:gd name="connsiteY22" fmla="*/ 799581 h 2262197"/>
                <a:gd name="connsiteX23" fmla="*/ 10937005 w 12379791"/>
                <a:gd name="connsiteY23" fmla="*/ 1413742 h 2262197"/>
                <a:gd name="connsiteX24" fmla="*/ 10369210 w 12379791"/>
                <a:gd name="connsiteY24" fmla="*/ 1370525 h 2262197"/>
                <a:gd name="connsiteX25" fmla="*/ 9862313 w 12379791"/>
                <a:gd name="connsiteY25" fmla="*/ 810956 h 2262197"/>
                <a:gd name="connsiteX26" fmla="*/ 9387658 w 12379791"/>
                <a:gd name="connsiteY26" fmla="*/ 333275 h 2262197"/>
                <a:gd name="connsiteX27" fmla="*/ 8614705 w 12379791"/>
                <a:gd name="connsiteY27" fmla="*/ 45280 h 2262197"/>
                <a:gd name="connsiteX28" fmla="*/ 8557477 w 12379791"/>
                <a:gd name="connsiteY28" fmla="*/ 212886 h 2262197"/>
                <a:gd name="connsiteX0" fmla="*/ 8557477 w 12379791"/>
                <a:gd name="connsiteY0" fmla="*/ 220165 h 2269476"/>
                <a:gd name="connsiteX1" fmla="*/ 414843 w 12379791"/>
                <a:gd name="connsiteY1" fmla="*/ 696805 h 2269476"/>
                <a:gd name="connsiteX2" fmla="*/ 1271644 w 12379791"/>
                <a:gd name="connsiteY2" fmla="*/ 604362 h 2269476"/>
                <a:gd name="connsiteX3" fmla="*/ 1966503 w 12379791"/>
                <a:gd name="connsiteY3" fmla="*/ 638350 h 2269476"/>
                <a:gd name="connsiteX4" fmla="*/ 2422513 w 12379791"/>
                <a:gd name="connsiteY4" fmla="*/ 578862 h 2269476"/>
                <a:gd name="connsiteX5" fmla="*/ 2900235 w 12379791"/>
                <a:gd name="connsiteY5" fmla="*/ 578862 h 2269476"/>
                <a:gd name="connsiteX6" fmla="*/ 3671104 w 12379791"/>
                <a:gd name="connsiteY6" fmla="*/ 621356 h 2269476"/>
                <a:gd name="connsiteX7" fmla="*/ 4550540 w 12379791"/>
                <a:gd name="connsiteY7" fmla="*/ 604362 h 2269476"/>
                <a:gd name="connsiteX8" fmla="*/ 5180258 w 12379791"/>
                <a:gd name="connsiteY8" fmla="*/ 612868 h 2269476"/>
                <a:gd name="connsiteX9" fmla="*/ 6016268 w 12379791"/>
                <a:gd name="connsiteY9" fmla="*/ 612868 h 2269476"/>
                <a:gd name="connsiteX10" fmla="*/ 7080281 w 12379791"/>
                <a:gd name="connsiteY10" fmla="*/ 638368 h 2269476"/>
                <a:gd name="connsiteX11" fmla="*/ 7829436 w 12379791"/>
                <a:gd name="connsiteY11" fmla="*/ 629862 h 2269476"/>
                <a:gd name="connsiteX12" fmla="*/ 8361431 w 12379791"/>
                <a:gd name="connsiteY12" fmla="*/ 621356 h 2269476"/>
                <a:gd name="connsiteX13" fmla="*/ 8982448 w 12379791"/>
                <a:gd name="connsiteY13" fmla="*/ 1024104 h 2269476"/>
                <a:gd name="connsiteX14" fmla="*/ 9552444 w 12379791"/>
                <a:gd name="connsiteY14" fmla="*/ 1850936 h 2269476"/>
                <a:gd name="connsiteX15" fmla="*/ 10483844 w 12379791"/>
                <a:gd name="connsiteY15" fmla="*/ 2269475 h 2269476"/>
                <a:gd name="connsiteX16" fmla="*/ 11529878 w 12379791"/>
                <a:gd name="connsiteY16" fmla="*/ 1850938 h 2269476"/>
                <a:gd name="connsiteX17" fmla="*/ 11820809 w 12379791"/>
                <a:gd name="connsiteY17" fmla="*/ 1205203 h 2269476"/>
                <a:gd name="connsiteX18" fmla="*/ 12131705 w 12379791"/>
                <a:gd name="connsiteY18" fmla="*/ 759096 h 2269476"/>
                <a:gd name="connsiteX19" fmla="*/ 12379791 w 12379791"/>
                <a:gd name="connsiteY19" fmla="*/ 458782 h 2269476"/>
                <a:gd name="connsiteX20" fmla="*/ 12379791 w 12379791"/>
                <a:gd name="connsiteY20" fmla="*/ 20400 h 2269476"/>
                <a:gd name="connsiteX21" fmla="*/ 11773475 w 12379791"/>
                <a:gd name="connsiteY21" fmla="*/ 194975 h 2269476"/>
                <a:gd name="connsiteX22" fmla="*/ 11393750 w 12379791"/>
                <a:gd name="connsiteY22" fmla="*/ 806860 h 2269476"/>
                <a:gd name="connsiteX23" fmla="*/ 10937005 w 12379791"/>
                <a:gd name="connsiteY23" fmla="*/ 1421021 h 2269476"/>
                <a:gd name="connsiteX24" fmla="*/ 10369210 w 12379791"/>
                <a:gd name="connsiteY24" fmla="*/ 1377804 h 2269476"/>
                <a:gd name="connsiteX25" fmla="*/ 9862313 w 12379791"/>
                <a:gd name="connsiteY25" fmla="*/ 818235 h 2269476"/>
                <a:gd name="connsiteX26" fmla="*/ 9387658 w 12379791"/>
                <a:gd name="connsiteY26" fmla="*/ 340554 h 2269476"/>
                <a:gd name="connsiteX27" fmla="*/ 8614705 w 12379791"/>
                <a:gd name="connsiteY27" fmla="*/ 52559 h 2269476"/>
                <a:gd name="connsiteX28" fmla="*/ 8557477 w 12379791"/>
                <a:gd name="connsiteY28" fmla="*/ 220165 h 2269476"/>
                <a:gd name="connsiteX0" fmla="*/ 8557477 w 12379791"/>
                <a:gd name="connsiteY0" fmla="*/ 220165 h 2269476"/>
                <a:gd name="connsiteX1" fmla="*/ 414843 w 12379791"/>
                <a:gd name="connsiteY1" fmla="*/ 696805 h 2269476"/>
                <a:gd name="connsiteX2" fmla="*/ 1271644 w 12379791"/>
                <a:gd name="connsiteY2" fmla="*/ 604362 h 2269476"/>
                <a:gd name="connsiteX3" fmla="*/ 1966503 w 12379791"/>
                <a:gd name="connsiteY3" fmla="*/ 638350 h 2269476"/>
                <a:gd name="connsiteX4" fmla="*/ 2422513 w 12379791"/>
                <a:gd name="connsiteY4" fmla="*/ 578862 h 2269476"/>
                <a:gd name="connsiteX5" fmla="*/ 2900235 w 12379791"/>
                <a:gd name="connsiteY5" fmla="*/ 578862 h 2269476"/>
                <a:gd name="connsiteX6" fmla="*/ 3671104 w 12379791"/>
                <a:gd name="connsiteY6" fmla="*/ 621356 h 2269476"/>
                <a:gd name="connsiteX7" fmla="*/ 4550540 w 12379791"/>
                <a:gd name="connsiteY7" fmla="*/ 604362 h 2269476"/>
                <a:gd name="connsiteX8" fmla="*/ 5180258 w 12379791"/>
                <a:gd name="connsiteY8" fmla="*/ 612868 h 2269476"/>
                <a:gd name="connsiteX9" fmla="*/ 6016268 w 12379791"/>
                <a:gd name="connsiteY9" fmla="*/ 612868 h 2269476"/>
                <a:gd name="connsiteX10" fmla="*/ 7080281 w 12379791"/>
                <a:gd name="connsiteY10" fmla="*/ 638368 h 2269476"/>
                <a:gd name="connsiteX11" fmla="*/ 7829436 w 12379791"/>
                <a:gd name="connsiteY11" fmla="*/ 629862 h 2269476"/>
                <a:gd name="connsiteX12" fmla="*/ 8361431 w 12379791"/>
                <a:gd name="connsiteY12" fmla="*/ 621356 h 2269476"/>
                <a:gd name="connsiteX13" fmla="*/ 8982448 w 12379791"/>
                <a:gd name="connsiteY13" fmla="*/ 1024104 h 2269476"/>
                <a:gd name="connsiteX14" fmla="*/ 9552444 w 12379791"/>
                <a:gd name="connsiteY14" fmla="*/ 1850936 h 2269476"/>
                <a:gd name="connsiteX15" fmla="*/ 10483844 w 12379791"/>
                <a:gd name="connsiteY15" fmla="*/ 2269475 h 2269476"/>
                <a:gd name="connsiteX16" fmla="*/ 11529878 w 12379791"/>
                <a:gd name="connsiteY16" fmla="*/ 1850938 h 2269476"/>
                <a:gd name="connsiteX17" fmla="*/ 11820809 w 12379791"/>
                <a:gd name="connsiteY17" fmla="*/ 1205203 h 2269476"/>
                <a:gd name="connsiteX18" fmla="*/ 12131705 w 12379791"/>
                <a:gd name="connsiteY18" fmla="*/ 759096 h 2269476"/>
                <a:gd name="connsiteX19" fmla="*/ 12379791 w 12379791"/>
                <a:gd name="connsiteY19" fmla="*/ 458782 h 2269476"/>
                <a:gd name="connsiteX20" fmla="*/ 12379791 w 12379791"/>
                <a:gd name="connsiteY20" fmla="*/ 20400 h 2269476"/>
                <a:gd name="connsiteX21" fmla="*/ 11773475 w 12379791"/>
                <a:gd name="connsiteY21" fmla="*/ 194975 h 2269476"/>
                <a:gd name="connsiteX22" fmla="*/ 11393750 w 12379791"/>
                <a:gd name="connsiteY22" fmla="*/ 806860 h 2269476"/>
                <a:gd name="connsiteX23" fmla="*/ 10937005 w 12379791"/>
                <a:gd name="connsiteY23" fmla="*/ 1421021 h 2269476"/>
                <a:gd name="connsiteX24" fmla="*/ 10369210 w 12379791"/>
                <a:gd name="connsiteY24" fmla="*/ 1377804 h 2269476"/>
                <a:gd name="connsiteX25" fmla="*/ 9862313 w 12379791"/>
                <a:gd name="connsiteY25" fmla="*/ 818235 h 2269476"/>
                <a:gd name="connsiteX26" fmla="*/ 9387658 w 12379791"/>
                <a:gd name="connsiteY26" fmla="*/ 340554 h 2269476"/>
                <a:gd name="connsiteX27" fmla="*/ 8614705 w 12379791"/>
                <a:gd name="connsiteY27" fmla="*/ 52559 h 2269476"/>
                <a:gd name="connsiteX28" fmla="*/ 8557477 w 12379791"/>
                <a:gd name="connsiteY28" fmla="*/ 220165 h 2269476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3671104 w 12379791"/>
                <a:gd name="connsiteY6" fmla="*/ 614077 h 2262197"/>
                <a:gd name="connsiteX7" fmla="*/ 4550540 w 12379791"/>
                <a:gd name="connsiteY7" fmla="*/ 597083 h 2262197"/>
                <a:gd name="connsiteX8" fmla="*/ 5180258 w 12379791"/>
                <a:gd name="connsiteY8" fmla="*/ 605589 h 2262197"/>
                <a:gd name="connsiteX9" fmla="*/ 6016268 w 12379791"/>
                <a:gd name="connsiteY9" fmla="*/ 605589 h 2262197"/>
                <a:gd name="connsiteX10" fmla="*/ 7080281 w 12379791"/>
                <a:gd name="connsiteY10" fmla="*/ 631089 h 2262197"/>
                <a:gd name="connsiteX11" fmla="*/ 7829436 w 12379791"/>
                <a:gd name="connsiteY11" fmla="*/ 622583 h 2262197"/>
                <a:gd name="connsiteX12" fmla="*/ 8361431 w 12379791"/>
                <a:gd name="connsiteY12" fmla="*/ 614077 h 2262197"/>
                <a:gd name="connsiteX13" fmla="*/ 8982448 w 12379791"/>
                <a:gd name="connsiteY13" fmla="*/ 1016825 h 2262197"/>
                <a:gd name="connsiteX14" fmla="*/ 9552444 w 12379791"/>
                <a:gd name="connsiteY14" fmla="*/ 1843657 h 2262197"/>
                <a:gd name="connsiteX15" fmla="*/ 10483844 w 12379791"/>
                <a:gd name="connsiteY15" fmla="*/ 2262196 h 2262197"/>
                <a:gd name="connsiteX16" fmla="*/ 11529878 w 12379791"/>
                <a:gd name="connsiteY16" fmla="*/ 1843659 h 2262197"/>
                <a:gd name="connsiteX17" fmla="*/ 11820809 w 12379791"/>
                <a:gd name="connsiteY17" fmla="*/ 1197924 h 2262197"/>
                <a:gd name="connsiteX18" fmla="*/ 12131705 w 12379791"/>
                <a:gd name="connsiteY18" fmla="*/ 751817 h 2262197"/>
                <a:gd name="connsiteX19" fmla="*/ 12379791 w 12379791"/>
                <a:gd name="connsiteY19" fmla="*/ 451503 h 2262197"/>
                <a:gd name="connsiteX20" fmla="*/ 12379791 w 12379791"/>
                <a:gd name="connsiteY20" fmla="*/ 13121 h 2262197"/>
                <a:gd name="connsiteX21" fmla="*/ 11773475 w 12379791"/>
                <a:gd name="connsiteY21" fmla="*/ 187696 h 2262197"/>
                <a:gd name="connsiteX22" fmla="*/ 11393750 w 12379791"/>
                <a:gd name="connsiteY22" fmla="*/ 799581 h 2262197"/>
                <a:gd name="connsiteX23" fmla="*/ 10937005 w 12379791"/>
                <a:gd name="connsiteY23" fmla="*/ 1413742 h 2262197"/>
                <a:gd name="connsiteX24" fmla="*/ 10369210 w 12379791"/>
                <a:gd name="connsiteY24" fmla="*/ 1370525 h 2262197"/>
                <a:gd name="connsiteX25" fmla="*/ 9862313 w 12379791"/>
                <a:gd name="connsiteY25" fmla="*/ 810956 h 2262197"/>
                <a:gd name="connsiteX26" fmla="*/ 9387658 w 12379791"/>
                <a:gd name="connsiteY26" fmla="*/ 333275 h 2262197"/>
                <a:gd name="connsiteX27" fmla="*/ 8557477 w 12379791"/>
                <a:gd name="connsiteY27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3671104 w 12379791"/>
                <a:gd name="connsiteY6" fmla="*/ 614077 h 2262197"/>
                <a:gd name="connsiteX7" fmla="*/ 4550540 w 12379791"/>
                <a:gd name="connsiteY7" fmla="*/ 597083 h 2262197"/>
                <a:gd name="connsiteX8" fmla="*/ 5180258 w 12379791"/>
                <a:gd name="connsiteY8" fmla="*/ 605589 h 2262197"/>
                <a:gd name="connsiteX9" fmla="*/ 6016268 w 12379791"/>
                <a:gd name="connsiteY9" fmla="*/ 605589 h 2262197"/>
                <a:gd name="connsiteX10" fmla="*/ 7080281 w 12379791"/>
                <a:gd name="connsiteY10" fmla="*/ 631089 h 2262197"/>
                <a:gd name="connsiteX11" fmla="*/ 7829436 w 12379791"/>
                <a:gd name="connsiteY11" fmla="*/ 622583 h 2262197"/>
                <a:gd name="connsiteX12" fmla="*/ 8361431 w 12379791"/>
                <a:gd name="connsiteY12" fmla="*/ 614077 h 2262197"/>
                <a:gd name="connsiteX13" fmla="*/ 8982448 w 12379791"/>
                <a:gd name="connsiteY13" fmla="*/ 1016825 h 2262197"/>
                <a:gd name="connsiteX14" fmla="*/ 9552444 w 12379791"/>
                <a:gd name="connsiteY14" fmla="*/ 1843657 h 2262197"/>
                <a:gd name="connsiteX15" fmla="*/ 10483844 w 12379791"/>
                <a:gd name="connsiteY15" fmla="*/ 2262196 h 2262197"/>
                <a:gd name="connsiteX16" fmla="*/ 11529878 w 12379791"/>
                <a:gd name="connsiteY16" fmla="*/ 1843659 h 2262197"/>
                <a:gd name="connsiteX17" fmla="*/ 11820809 w 12379791"/>
                <a:gd name="connsiteY17" fmla="*/ 1197924 h 2262197"/>
                <a:gd name="connsiteX18" fmla="*/ 12131705 w 12379791"/>
                <a:gd name="connsiteY18" fmla="*/ 751817 h 2262197"/>
                <a:gd name="connsiteX19" fmla="*/ 12379791 w 12379791"/>
                <a:gd name="connsiteY19" fmla="*/ 451503 h 2262197"/>
                <a:gd name="connsiteX20" fmla="*/ 12379791 w 12379791"/>
                <a:gd name="connsiteY20" fmla="*/ 13121 h 2262197"/>
                <a:gd name="connsiteX21" fmla="*/ 11773475 w 12379791"/>
                <a:gd name="connsiteY21" fmla="*/ 187696 h 2262197"/>
                <a:gd name="connsiteX22" fmla="*/ 11393750 w 12379791"/>
                <a:gd name="connsiteY22" fmla="*/ 799581 h 2262197"/>
                <a:gd name="connsiteX23" fmla="*/ 10937005 w 12379791"/>
                <a:gd name="connsiteY23" fmla="*/ 1413742 h 2262197"/>
                <a:gd name="connsiteX24" fmla="*/ 10369210 w 12379791"/>
                <a:gd name="connsiteY24" fmla="*/ 1370525 h 2262197"/>
                <a:gd name="connsiteX25" fmla="*/ 9862313 w 12379791"/>
                <a:gd name="connsiteY25" fmla="*/ 810956 h 2262197"/>
                <a:gd name="connsiteX26" fmla="*/ 9450348 w 12379791"/>
                <a:gd name="connsiteY26" fmla="*/ 299156 h 2262197"/>
                <a:gd name="connsiteX27" fmla="*/ 8557477 w 12379791"/>
                <a:gd name="connsiteY27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3671104 w 12379791"/>
                <a:gd name="connsiteY6" fmla="*/ 614077 h 2262197"/>
                <a:gd name="connsiteX7" fmla="*/ 4550540 w 12379791"/>
                <a:gd name="connsiteY7" fmla="*/ 597083 h 2262197"/>
                <a:gd name="connsiteX8" fmla="*/ 5180258 w 12379791"/>
                <a:gd name="connsiteY8" fmla="*/ 605589 h 2262197"/>
                <a:gd name="connsiteX9" fmla="*/ 6016268 w 12379791"/>
                <a:gd name="connsiteY9" fmla="*/ 605589 h 2262197"/>
                <a:gd name="connsiteX10" fmla="*/ 7080281 w 12379791"/>
                <a:gd name="connsiteY10" fmla="*/ 631089 h 2262197"/>
                <a:gd name="connsiteX11" fmla="*/ 7829436 w 12379791"/>
                <a:gd name="connsiteY11" fmla="*/ 622583 h 2262197"/>
                <a:gd name="connsiteX12" fmla="*/ 8361431 w 12379791"/>
                <a:gd name="connsiteY12" fmla="*/ 614077 h 2262197"/>
                <a:gd name="connsiteX13" fmla="*/ 8982448 w 12379791"/>
                <a:gd name="connsiteY13" fmla="*/ 1016825 h 2262197"/>
                <a:gd name="connsiteX14" fmla="*/ 9552444 w 12379791"/>
                <a:gd name="connsiteY14" fmla="*/ 1843657 h 2262197"/>
                <a:gd name="connsiteX15" fmla="*/ 10483844 w 12379791"/>
                <a:gd name="connsiteY15" fmla="*/ 2262196 h 2262197"/>
                <a:gd name="connsiteX16" fmla="*/ 11529878 w 12379791"/>
                <a:gd name="connsiteY16" fmla="*/ 1843659 h 2262197"/>
                <a:gd name="connsiteX17" fmla="*/ 11820809 w 12379791"/>
                <a:gd name="connsiteY17" fmla="*/ 1197924 h 2262197"/>
                <a:gd name="connsiteX18" fmla="*/ 12131705 w 12379791"/>
                <a:gd name="connsiteY18" fmla="*/ 751817 h 2262197"/>
                <a:gd name="connsiteX19" fmla="*/ 12379791 w 12379791"/>
                <a:gd name="connsiteY19" fmla="*/ 451503 h 2262197"/>
                <a:gd name="connsiteX20" fmla="*/ 12379791 w 12379791"/>
                <a:gd name="connsiteY20" fmla="*/ 13121 h 2262197"/>
                <a:gd name="connsiteX21" fmla="*/ 11773475 w 12379791"/>
                <a:gd name="connsiteY21" fmla="*/ 187696 h 2262197"/>
                <a:gd name="connsiteX22" fmla="*/ 11393750 w 12379791"/>
                <a:gd name="connsiteY22" fmla="*/ 799581 h 2262197"/>
                <a:gd name="connsiteX23" fmla="*/ 10937005 w 12379791"/>
                <a:gd name="connsiteY23" fmla="*/ 1413742 h 2262197"/>
                <a:gd name="connsiteX24" fmla="*/ 10369210 w 12379791"/>
                <a:gd name="connsiteY24" fmla="*/ 1370525 h 2262197"/>
                <a:gd name="connsiteX25" fmla="*/ 9862313 w 12379791"/>
                <a:gd name="connsiteY25" fmla="*/ 810956 h 2262197"/>
                <a:gd name="connsiteX26" fmla="*/ 9450348 w 12379791"/>
                <a:gd name="connsiteY26" fmla="*/ 299156 h 2262197"/>
                <a:gd name="connsiteX27" fmla="*/ 8557477 w 12379791"/>
                <a:gd name="connsiteY27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4550540 w 12379791"/>
                <a:gd name="connsiteY6" fmla="*/ 597083 h 2262197"/>
                <a:gd name="connsiteX7" fmla="*/ 5180258 w 12379791"/>
                <a:gd name="connsiteY7" fmla="*/ 605589 h 2262197"/>
                <a:gd name="connsiteX8" fmla="*/ 6016268 w 12379791"/>
                <a:gd name="connsiteY8" fmla="*/ 605589 h 2262197"/>
                <a:gd name="connsiteX9" fmla="*/ 7080281 w 12379791"/>
                <a:gd name="connsiteY9" fmla="*/ 631089 h 2262197"/>
                <a:gd name="connsiteX10" fmla="*/ 7829436 w 12379791"/>
                <a:gd name="connsiteY10" fmla="*/ 622583 h 2262197"/>
                <a:gd name="connsiteX11" fmla="*/ 8361431 w 12379791"/>
                <a:gd name="connsiteY11" fmla="*/ 614077 h 2262197"/>
                <a:gd name="connsiteX12" fmla="*/ 8982448 w 12379791"/>
                <a:gd name="connsiteY12" fmla="*/ 1016825 h 2262197"/>
                <a:gd name="connsiteX13" fmla="*/ 9552444 w 12379791"/>
                <a:gd name="connsiteY13" fmla="*/ 1843657 h 2262197"/>
                <a:gd name="connsiteX14" fmla="*/ 10483844 w 12379791"/>
                <a:gd name="connsiteY14" fmla="*/ 2262196 h 2262197"/>
                <a:gd name="connsiteX15" fmla="*/ 11529878 w 12379791"/>
                <a:gd name="connsiteY15" fmla="*/ 1843659 h 2262197"/>
                <a:gd name="connsiteX16" fmla="*/ 11820809 w 12379791"/>
                <a:gd name="connsiteY16" fmla="*/ 1197924 h 2262197"/>
                <a:gd name="connsiteX17" fmla="*/ 12131705 w 12379791"/>
                <a:gd name="connsiteY17" fmla="*/ 751817 h 2262197"/>
                <a:gd name="connsiteX18" fmla="*/ 12379791 w 12379791"/>
                <a:gd name="connsiteY18" fmla="*/ 451503 h 2262197"/>
                <a:gd name="connsiteX19" fmla="*/ 12379791 w 12379791"/>
                <a:gd name="connsiteY19" fmla="*/ 13121 h 2262197"/>
                <a:gd name="connsiteX20" fmla="*/ 11773475 w 12379791"/>
                <a:gd name="connsiteY20" fmla="*/ 187696 h 2262197"/>
                <a:gd name="connsiteX21" fmla="*/ 11393750 w 12379791"/>
                <a:gd name="connsiteY21" fmla="*/ 799581 h 2262197"/>
                <a:gd name="connsiteX22" fmla="*/ 10937005 w 12379791"/>
                <a:gd name="connsiteY22" fmla="*/ 1413742 h 2262197"/>
                <a:gd name="connsiteX23" fmla="*/ 10369210 w 12379791"/>
                <a:gd name="connsiteY23" fmla="*/ 1370525 h 2262197"/>
                <a:gd name="connsiteX24" fmla="*/ 9862313 w 12379791"/>
                <a:gd name="connsiteY24" fmla="*/ 810956 h 2262197"/>
                <a:gd name="connsiteX25" fmla="*/ 9450348 w 12379791"/>
                <a:gd name="connsiteY25" fmla="*/ 299156 h 2262197"/>
                <a:gd name="connsiteX26" fmla="*/ 8557477 w 12379791"/>
                <a:gd name="connsiteY26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5180258 w 12379791"/>
                <a:gd name="connsiteY6" fmla="*/ 605589 h 2262197"/>
                <a:gd name="connsiteX7" fmla="*/ 6016268 w 12379791"/>
                <a:gd name="connsiteY7" fmla="*/ 605589 h 2262197"/>
                <a:gd name="connsiteX8" fmla="*/ 7080281 w 12379791"/>
                <a:gd name="connsiteY8" fmla="*/ 631089 h 2262197"/>
                <a:gd name="connsiteX9" fmla="*/ 7829436 w 12379791"/>
                <a:gd name="connsiteY9" fmla="*/ 622583 h 2262197"/>
                <a:gd name="connsiteX10" fmla="*/ 8361431 w 12379791"/>
                <a:gd name="connsiteY10" fmla="*/ 614077 h 2262197"/>
                <a:gd name="connsiteX11" fmla="*/ 8982448 w 12379791"/>
                <a:gd name="connsiteY11" fmla="*/ 1016825 h 2262197"/>
                <a:gd name="connsiteX12" fmla="*/ 9552444 w 12379791"/>
                <a:gd name="connsiteY12" fmla="*/ 1843657 h 2262197"/>
                <a:gd name="connsiteX13" fmla="*/ 10483844 w 12379791"/>
                <a:gd name="connsiteY13" fmla="*/ 2262196 h 2262197"/>
                <a:gd name="connsiteX14" fmla="*/ 11529878 w 12379791"/>
                <a:gd name="connsiteY14" fmla="*/ 1843659 h 2262197"/>
                <a:gd name="connsiteX15" fmla="*/ 11820809 w 12379791"/>
                <a:gd name="connsiteY15" fmla="*/ 1197924 h 2262197"/>
                <a:gd name="connsiteX16" fmla="*/ 12131705 w 12379791"/>
                <a:gd name="connsiteY16" fmla="*/ 751817 h 2262197"/>
                <a:gd name="connsiteX17" fmla="*/ 12379791 w 12379791"/>
                <a:gd name="connsiteY17" fmla="*/ 451503 h 2262197"/>
                <a:gd name="connsiteX18" fmla="*/ 12379791 w 12379791"/>
                <a:gd name="connsiteY18" fmla="*/ 13121 h 2262197"/>
                <a:gd name="connsiteX19" fmla="*/ 11773475 w 12379791"/>
                <a:gd name="connsiteY19" fmla="*/ 187696 h 2262197"/>
                <a:gd name="connsiteX20" fmla="*/ 11393750 w 12379791"/>
                <a:gd name="connsiteY20" fmla="*/ 799581 h 2262197"/>
                <a:gd name="connsiteX21" fmla="*/ 10937005 w 12379791"/>
                <a:gd name="connsiteY21" fmla="*/ 1413742 h 2262197"/>
                <a:gd name="connsiteX22" fmla="*/ 10369210 w 12379791"/>
                <a:gd name="connsiteY22" fmla="*/ 1370525 h 2262197"/>
                <a:gd name="connsiteX23" fmla="*/ 9862313 w 12379791"/>
                <a:gd name="connsiteY23" fmla="*/ 810956 h 2262197"/>
                <a:gd name="connsiteX24" fmla="*/ 9450348 w 12379791"/>
                <a:gd name="connsiteY24" fmla="*/ 299156 h 2262197"/>
                <a:gd name="connsiteX25" fmla="*/ 8557477 w 12379791"/>
                <a:gd name="connsiteY25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6016268 w 12379791"/>
                <a:gd name="connsiteY6" fmla="*/ 605589 h 2262197"/>
                <a:gd name="connsiteX7" fmla="*/ 7080281 w 12379791"/>
                <a:gd name="connsiteY7" fmla="*/ 631089 h 2262197"/>
                <a:gd name="connsiteX8" fmla="*/ 7829436 w 12379791"/>
                <a:gd name="connsiteY8" fmla="*/ 622583 h 2262197"/>
                <a:gd name="connsiteX9" fmla="*/ 8361431 w 12379791"/>
                <a:gd name="connsiteY9" fmla="*/ 614077 h 2262197"/>
                <a:gd name="connsiteX10" fmla="*/ 8982448 w 12379791"/>
                <a:gd name="connsiteY10" fmla="*/ 1016825 h 2262197"/>
                <a:gd name="connsiteX11" fmla="*/ 9552444 w 12379791"/>
                <a:gd name="connsiteY11" fmla="*/ 1843657 h 2262197"/>
                <a:gd name="connsiteX12" fmla="*/ 10483844 w 12379791"/>
                <a:gd name="connsiteY12" fmla="*/ 2262196 h 2262197"/>
                <a:gd name="connsiteX13" fmla="*/ 11529878 w 12379791"/>
                <a:gd name="connsiteY13" fmla="*/ 1843659 h 2262197"/>
                <a:gd name="connsiteX14" fmla="*/ 11820809 w 12379791"/>
                <a:gd name="connsiteY14" fmla="*/ 1197924 h 2262197"/>
                <a:gd name="connsiteX15" fmla="*/ 12131705 w 12379791"/>
                <a:gd name="connsiteY15" fmla="*/ 751817 h 2262197"/>
                <a:gd name="connsiteX16" fmla="*/ 12379791 w 12379791"/>
                <a:gd name="connsiteY16" fmla="*/ 451503 h 2262197"/>
                <a:gd name="connsiteX17" fmla="*/ 12379791 w 12379791"/>
                <a:gd name="connsiteY17" fmla="*/ 13121 h 2262197"/>
                <a:gd name="connsiteX18" fmla="*/ 11773475 w 12379791"/>
                <a:gd name="connsiteY18" fmla="*/ 187696 h 2262197"/>
                <a:gd name="connsiteX19" fmla="*/ 11393750 w 12379791"/>
                <a:gd name="connsiteY19" fmla="*/ 799581 h 2262197"/>
                <a:gd name="connsiteX20" fmla="*/ 10937005 w 12379791"/>
                <a:gd name="connsiteY20" fmla="*/ 1413742 h 2262197"/>
                <a:gd name="connsiteX21" fmla="*/ 10369210 w 12379791"/>
                <a:gd name="connsiteY21" fmla="*/ 1370525 h 2262197"/>
                <a:gd name="connsiteX22" fmla="*/ 9862313 w 12379791"/>
                <a:gd name="connsiteY22" fmla="*/ 810956 h 2262197"/>
                <a:gd name="connsiteX23" fmla="*/ 9450348 w 12379791"/>
                <a:gd name="connsiteY23" fmla="*/ 299156 h 2262197"/>
                <a:gd name="connsiteX24" fmla="*/ 8557477 w 12379791"/>
                <a:gd name="connsiteY24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7080281 w 12379791"/>
                <a:gd name="connsiteY6" fmla="*/ 631089 h 2262197"/>
                <a:gd name="connsiteX7" fmla="*/ 7829436 w 12379791"/>
                <a:gd name="connsiteY7" fmla="*/ 622583 h 2262197"/>
                <a:gd name="connsiteX8" fmla="*/ 8361431 w 12379791"/>
                <a:gd name="connsiteY8" fmla="*/ 614077 h 2262197"/>
                <a:gd name="connsiteX9" fmla="*/ 8982448 w 12379791"/>
                <a:gd name="connsiteY9" fmla="*/ 1016825 h 2262197"/>
                <a:gd name="connsiteX10" fmla="*/ 9552444 w 12379791"/>
                <a:gd name="connsiteY10" fmla="*/ 1843657 h 2262197"/>
                <a:gd name="connsiteX11" fmla="*/ 10483844 w 12379791"/>
                <a:gd name="connsiteY11" fmla="*/ 2262196 h 2262197"/>
                <a:gd name="connsiteX12" fmla="*/ 11529878 w 12379791"/>
                <a:gd name="connsiteY12" fmla="*/ 1843659 h 2262197"/>
                <a:gd name="connsiteX13" fmla="*/ 11820809 w 12379791"/>
                <a:gd name="connsiteY13" fmla="*/ 1197924 h 2262197"/>
                <a:gd name="connsiteX14" fmla="*/ 12131705 w 12379791"/>
                <a:gd name="connsiteY14" fmla="*/ 751817 h 2262197"/>
                <a:gd name="connsiteX15" fmla="*/ 12379791 w 12379791"/>
                <a:gd name="connsiteY15" fmla="*/ 451503 h 2262197"/>
                <a:gd name="connsiteX16" fmla="*/ 12379791 w 12379791"/>
                <a:gd name="connsiteY16" fmla="*/ 13121 h 2262197"/>
                <a:gd name="connsiteX17" fmla="*/ 11773475 w 12379791"/>
                <a:gd name="connsiteY17" fmla="*/ 187696 h 2262197"/>
                <a:gd name="connsiteX18" fmla="*/ 11393750 w 12379791"/>
                <a:gd name="connsiteY18" fmla="*/ 799581 h 2262197"/>
                <a:gd name="connsiteX19" fmla="*/ 10937005 w 12379791"/>
                <a:gd name="connsiteY19" fmla="*/ 1413742 h 2262197"/>
                <a:gd name="connsiteX20" fmla="*/ 10369210 w 12379791"/>
                <a:gd name="connsiteY20" fmla="*/ 1370525 h 2262197"/>
                <a:gd name="connsiteX21" fmla="*/ 9862313 w 12379791"/>
                <a:gd name="connsiteY21" fmla="*/ 810956 h 2262197"/>
                <a:gd name="connsiteX22" fmla="*/ 9450348 w 12379791"/>
                <a:gd name="connsiteY22" fmla="*/ 299156 h 2262197"/>
                <a:gd name="connsiteX23" fmla="*/ 8557477 w 12379791"/>
                <a:gd name="connsiteY23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7829436 w 12379791"/>
                <a:gd name="connsiteY6" fmla="*/ 622583 h 2262197"/>
                <a:gd name="connsiteX7" fmla="*/ 8361431 w 12379791"/>
                <a:gd name="connsiteY7" fmla="*/ 614077 h 2262197"/>
                <a:gd name="connsiteX8" fmla="*/ 8982448 w 12379791"/>
                <a:gd name="connsiteY8" fmla="*/ 1016825 h 2262197"/>
                <a:gd name="connsiteX9" fmla="*/ 9552444 w 12379791"/>
                <a:gd name="connsiteY9" fmla="*/ 1843657 h 2262197"/>
                <a:gd name="connsiteX10" fmla="*/ 10483844 w 12379791"/>
                <a:gd name="connsiteY10" fmla="*/ 2262196 h 2262197"/>
                <a:gd name="connsiteX11" fmla="*/ 11529878 w 12379791"/>
                <a:gd name="connsiteY11" fmla="*/ 1843659 h 2262197"/>
                <a:gd name="connsiteX12" fmla="*/ 11820809 w 12379791"/>
                <a:gd name="connsiteY12" fmla="*/ 1197924 h 2262197"/>
                <a:gd name="connsiteX13" fmla="*/ 12131705 w 12379791"/>
                <a:gd name="connsiteY13" fmla="*/ 751817 h 2262197"/>
                <a:gd name="connsiteX14" fmla="*/ 12379791 w 12379791"/>
                <a:gd name="connsiteY14" fmla="*/ 451503 h 2262197"/>
                <a:gd name="connsiteX15" fmla="*/ 12379791 w 12379791"/>
                <a:gd name="connsiteY15" fmla="*/ 13121 h 2262197"/>
                <a:gd name="connsiteX16" fmla="*/ 11773475 w 12379791"/>
                <a:gd name="connsiteY16" fmla="*/ 187696 h 2262197"/>
                <a:gd name="connsiteX17" fmla="*/ 11393750 w 12379791"/>
                <a:gd name="connsiteY17" fmla="*/ 799581 h 2262197"/>
                <a:gd name="connsiteX18" fmla="*/ 10937005 w 12379791"/>
                <a:gd name="connsiteY18" fmla="*/ 1413742 h 2262197"/>
                <a:gd name="connsiteX19" fmla="*/ 10369210 w 12379791"/>
                <a:gd name="connsiteY19" fmla="*/ 1370525 h 2262197"/>
                <a:gd name="connsiteX20" fmla="*/ 9862313 w 12379791"/>
                <a:gd name="connsiteY20" fmla="*/ 810956 h 2262197"/>
                <a:gd name="connsiteX21" fmla="*/ 9450348 w 12379791"/>
                <a:gd name="connsiteY21" fmla="*/ 299156 h 2262197"/>
                <a:gd name="connsiteX22" fmla="*/ 8557477 w 12379791"/>
                <a:gd name="connsiteY22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8361431 w 12379791"/>
                <a:gd name="connsiteY6" fmla="*/ 614077 h 2262197"/>
                <a:gd name="connsiteX7" fmla="*/ 8982448 w 12379791"/>
                <a:gd name="connsiteY7" fmla="*/ 1016825 h 2262197"/>
                <a:gd name="connsiteX8" fmla="*/ 9552444 w 12379791"/>
                <a:gd name="connsiteY8" fmla="*/ 1843657 h 2262197"/>
                <a:gd name="connsiteX9" fmla="*/ 10483844 w 12379791"/>
                <a:gd name="connsiteY9" fmla="*/ 2262196 h 2262197"/>
                <a:gd name="connsiteX10" fmla="*/ 11529878 w 12379791"/>
                <a:gd name="connsiteY10" fmla="*/ 1843659 h 2262197"/>
                <a:gd name="connsiteX11" fmla="*/ 11820809 w 12379791"/>
                <a:gd name="connsiteY11" fmla="*/ 1197924 h 2262197"/>
                <a:gd name="connsiteX12" fmla="*/ 12131705 w 12379791"/>
                <a:gd name="connsiteY12" fmla="*/ 751817 h 2262197"/>
                <a:gd name="connsiteX13" fmla="*/ 12379791 w 12379791"/>
                <a:gd name="connsiteY13" fmla="*/ 451503 h 2262197"/>
                <a:gd name="connsiteX14" fmla="*/ 12379791 w 12379791"/>
                <a:gd name="connsiteY14" fmla="*/ 13121 h 2262197"/>
                <a:gd name="connsiteX15" fmla="*/ 11773475 w 12379791"/>
                <a:gd name="connsiteY15" fmla="*/ 187696 h 2262197"/>
                <a:gd name="connsiteX16" fmla="*/ 11393750 w 12379791"/>
                <a:gd name="connsiteY16" fmla="*/ 799581 h 2262197"/>
                <a:gd name="connsiteX17" fmla="*/ 10937005 w 12379791"/>
                <a:gd name="connsiteY17" fmla="*/ 1413742 h 2262197"/>
                <a:gd name="connsiteX18" fmla="*/ 10369210 w 12379791"/>
                <a:gd name="connsiteY18" fmla="*/ 1370525 h 2262197"/>
                <a:gd name="connsiteX19" fmla="*/ 9862313 w 12379791"/>
                <a:gd name="connsiteY19" fmla="*/ 810956 h 2262197"/>
                <a:gd name="connsiteX20" fmla="*/ 9450348 w 12379791"/>
                <a:gd name="connsiteY20" fmla="*/ 299156 h 2262197"/>
                <a:gd name="connsiteX21" fmla="*/ 8557477 w 12379791"/>
                <a:gd name="connsiteY21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8370387 w 12379791"/>
                <a:gd name="connsiteY6" fmla="*/ 545838 h 2262197"/>
                <a:gd name="connsiteX7" fmla="*/ 8982448 w 12379791"/>
                <a:gd name="connsiteY7" fmla="*/ 1016825 h 2262197"/>
                <a:gd name="connsiteX8" fmla="*/ 9552444 w 12379791"/>
                <a:gd name="connsiteY8" fmla="*/ 1843657 h 2262197"/>
                <a:gd name="connsiteX9" fmla="*/ 10483844 w 12379791"/>
                <a:gd name="connsiteY9" fmla="*/ 2262196 h 2262197"/>
                <a:gd name="connsiteX10" fmla="*/ 11529878 w 12379791"/>
                <a:gd name="connsiteY10" fmla="*/ 1843659 h 2262197"/>
                <a:gd name="connsiteX11" fmla="*/ 11820809 w 12379791"/>
                <a:gd name="connsiteY11" fmla="*/ 1197924 h 2262197"/>
                <a:gd name="connsiteX12" fmla="*/ 12131705 w 12379791"/>
                <a:gd name="connsiteY12" fmla="*/ 751817 h 2262197"/>
                <a:gd name="connsiteX13" fmla="*/ 12379791 w 12379791"/>
                <a:gd name="connsiteY13" fmla="*/ 451503 h 2262197"/>
                <a:gd name="connsiteX14" fmla="*/ 12379791 w 12379791"/>
                <a:gd name="connsiteY14" fmla="*/ 13121 h 2262197"/>
                <a:gd name="connsiteX15" fmla="*/ 11773475 w 12379791"/>
                <a:gd name="connsiteY15" fmla="*/ 187696 h 2262197"/>
                <a:gd name="connsiteX16" fmla="*/ 11393750 w 12379791"/>
                <a:gd name="connsiteY16" fmla="*/ 799581 h 2262197"/>
                <a:gd name="connsiteX17" fmla="*/ 10937005 w 12379791"/>
                <a:gd name="connsiteY17" fmla="*/ 1413742 h 2262197"/>
                <a:gd name="connsiteX18" fmla="*/ 10369210 w 12379791"/>
                <a:gd name="connsiteY18" fmla="*/ 1370525 h 2262197"/>
                <a:gd name="connsiteX19" fmla="*/ 9862313 w 12379791"/>
                <a:gd name="connsiteY19" fmla="*/ 810956 h 2262197"/>
                <a:gd name="connsiteX20" fmla="*/ 9450348 w 12379791"/>
                <a:gd name="connsiteY20" fmla="*/ 299156 h 2262197"/>
                <a:gd name="connsiteX21" fmla="*/ 8557477 w 12379791"/>
                <a:gd name="connsiteY21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8982448 w 12379791"/>
                <a:gd name="connsiteY6" fmla="*/ 1016825 h 2262197"/>
                <a:gd name="connsiteX7" fmla="*/ 9552444 w 12379791"/>
                <a:gd name="connsiteY7" fmla="*/ 1843657 h 2262197"/>
                <a:gd name="connsiteX8" fmla="*/ 10483844 w 12379791"/>
                <a:gd name="connsiteY8" fmla="*/ 2262196 h 2262197"/>
                <a:gd name="connsiteX9" fmla="*/ 11529878 w 12379791"/>
                <a:gd name="connsiteY9" fmla="*/ 1843659 h 2262197"/>
                <a:gd name="connsiteX10" fmla="*/ 11820809 w 12379791"/>
                <a:gd name="connsiteY10" fmla="*/ 1197924 h 2262197"/>
                <a:gd name="connsiteX11" fmla="*/ 12131705 w 12379791"/>
                <a:gd name="connsiteY11" fmla="*/ 751817 h 2262197"/>
                <a:gd name="connsiteX12" fmla="*/ 12379791 w 12379791"/>
                <a:gd name="connsiteY12" fmla="*/ 451503 h 2262197"/>
                <a:gd name="connsiteX13" fmla="*/ 12379791 w 12379791"/>
                <a:gd name="connsiteY13" fmla="*/ 13121 h 2262197"/>
                <a:gd name="connsiteX14" fmla="*/ 11773475 w 12379791"/>
                <a:gd name="connsiteY14" fmla="*/ 187696 h 2262197"/>
                <a:gd name="connsiteX15" fmla="*/ 11393750 w 12379791"/>
                <a:gd name="connsiteY15" fmla="*/ 799581 h 2262197"/>
                <a:gd name="connsiteX16" fmla="*/ 10937005 w 12379791"/>
                <a:gd name="connsiteY16" fmla="*/ 1413742 h 2262197"/>
                <a:gd name="connsiteX17" fmla="*/ 10369210 w 12379791"/>
                <a:gd name="connsiteY17" fmla="*/ 1370525 h 2262197"/>
                <a:gd name="connsiteX18" fmla="*/ 9862313 w 12379791"/>
                <a:gd name="connsiteY18" fmla="*/ 810956 h 2262197"/>
                <a:gd name="connsiteX19" fmla="*/ 9450348 w 12379791"/>
                <a:gd name="connsiteY19" fmla="*/ 299156 h 2262197"/>
                <a:gd name="connsiteX20" fmla="*/ 8557477 w 12379791"/>
                <a:gd name="connsiteY20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8622972 w 12379791"/>
                <a:gd name="connsiteY5" fmla="*/ 537465 h 2262197"/>
                <a:gd name="connsiteX6" fmla="*/ 8982448 w 12379791"/>
                <a:gd name="connsiteY6" fmla="*/ 1016825 h 2262197"/>
                <a:gd name="connsiteX7" fmla="*/ 9552444 w 12379791"/>
                <a:gd name="connsiteY7" fmla="*/ 1843657 h 2262197"/>
                <a:gd name="connsiteX8" fmla="*/ 10483844 w 12379791"/>
                <a:gd name="connsiteY8" fmla="*/ 2262196 h 2262197"/>
                <a:gd name="connsiteX9" fmla="*/ 11529878 w 12379791"/>
                <a:gd name="connsiteY9" fmla="*/ 1843659 h 2262197"/>
                <a:gd name="connsiteX10" fmla="*/ 11820809 w 12379791"/>
                <a:gd name="connsiteY10" fmla="*/ 1197924 h 2262197"/>
                <a:gd name="connsiteX11" fmla="*/ 12131705 w 12379791"/>
                <a:gd name="connsiteY11" fmla="*/ 751817 h 2262197"/>
                <a:gd name="connsiteX12" fmla="*/ 12379791 w 12379791"/>
                <a:gd name="connsiteY12" fmla="*/ 451503 h 2262197"/>
                <a:gd name="connsiteX13" fmla="*/ 12379791 w 12379791"/>
                <a:gd name="connsiteY13" fmla="*/ 13121 h 2262197"/>
                <a:gd name="connsiteX14" fmla="*/ 11773475 w 12379791"/>
                <a:gd name="connsiteY14" fmla="*/ 187696 h 2262197"/>
                <a:gd name="connsiteX15" fmla="*/ 11393750 w 12379791"/>
                <a:gd name="connsiteY15" fmla="*/ 799581 h 2262197"/>
                <a:gd name="connsiteX16" fmla="*/ 10937005 w 12379791"/>
                <a:gd name="connsiteY16" fmla="*/ 1413742 h 2262197"/>
                <a:gd name="connsiteX17" fmla="*/ 10369210 w 12379791"/>
                <a:gd name="connsiteY17" fmla="*/ 1370525 h 2262197"/>
                <a:gd name="connsiteX18" fmla="*/ 9862313 w 12379791"/>
                <a:gd name="connsiteY18" fmla="*/ 810956 h 2262197"/>
                <a:gd name="connsiteX19" fmla="*/ 9450348 w 12379791"/>
                <a:gd name="connsiteY19" fmla="*/ 299156 h 2262197"/>
                <a:gd name="connsiteX20" fmla="*/ 8557477 w 12379791"/>
                <a:gd name="connsiteY20" fmla="*/ 212886 h 2262197"/>
                <a:gd name="connsiteX0" fmla="*/ 8568147 w 12390461"/>
                <a:gd name="connsiteY0" fmla="*/ 212886 h 2262197"/>
                <a:gd name="connsiteX1" fmla="*/ 425513 w 12390461"/>
                <a:gd name="connsiteY1" fmla="*/ 689526 h 2262197"/>
                <a:gd name="connsiteX2" fmla="*/ 1282314 w 12390461"/>
                <a:gd name="connsiteY2" fmla="*/ 597083 h 2262197"/>
                <a:gd name="connsiteX3" fmla="*/ 2433183 w 12390461"/>
                <a:gd name="connsiteY3" fmla="*/ 571583 h 2262197"/>
                <a:gd name="connsiteX4" fmla="*/ 8633642 w 12390461"/>
                <a:gd name="connsiteY4" fmla="*/ 537465 h 2262197"/>
                <a:gd name="connsiteX5" fmla="*/ 8993118 w 12390461"/>
                <a:gd name="connsiteY5" fmla="*/ 1016825 h 2262197"/>
                <a:gd name="connsiteX6" fmla="*/ 9563114 w 12390461"/>
                <a:gd name="connsiteY6" fmla="*/ 1843657 h 2262197"/>
                <a:gd name="connsiteX7" fmla="*/ 10494514 w 12390461"/>
                <a:gd name="connsiteY7" fmla="*/ 2262196 h 2262197"/>
                <a:gd name="connsiteX8" fmla="*/ 11540548 w 12390461"/>
                <a:gd name="connsiteY8" fmla="*/ 1843659 h 2262197"/>
                <a:gd name="connsiteX9" fmla="*/ 11831479 w 12390461"/>
                <a:gd name="connsiteY9" fmla="*/ 1197924 h 2262197"/>
                <a:gd name="connsiteX10" fmla="*/ 12142375 w 12390461"/>
                <a:gd name="connsiteY10" fmla="*/ 751817 h 2262197"/>
                <a:gd name="connsiteX11" fmla="*/ 12390461 w 12390461"/>
                <a:gd name="connsiteY11" fmla="*/ 451503 h 2262197"/>
                <a:gd name="connsiteX12" fmla="*/ 12390461 w 12390461"/>
                <a:gd name="connsiteY12" fmla="*/ 13121 h 2262197"/>
                <a:gd name="connsiteX13" fmla="*/ 11784145 w 12390461"/>
                <a:gd name="connsiteY13" fmla="*/ 187696 h 2262197"/>
                <a:gd name="connsiteX14" fmla="*/ 11404420 w 12390461"/>
                <a:gd name="connsiteY14" fmla="*/ 799581 h 2262197"/>
                <a:gd name="connsiteX15" fmla="*/ 10947675 w 12390461"/>
                <a:gd name="connsiteY15" fmla="*/ 1413742 h 2262197"/>
                <a:gd name="connsiteX16" fmla="*/ 10379880 w 12390461"/>
                <a:gd name="connsiteY16" fmla="*/ 1370525 h 2262197"/>
                <a:gd name="connsiteX17" fmla="*/ 9872983 w 12390461"/>
                <a:gd name="connsiteY17" fmla="*/ 810956 h 2262197"/>
                <a:gd name="connsiteX18" fmla="*/ 9461018 w 12390461"/>
                <a:gd name="connsiteY18" fmla="*/ 299156 h 2262197"/>
                <a:gd name="connsiteX19" fmla="*/ 8568147 w 12390461"/>
                <a:gd name="connsiteY19" fmla="*/ 212886 h 2262197"/>
                <a:gd name="connsiteX0" fmla="*/ 8767043 w 12589357"/>
                <a:gd name="connsiteY0" fmla="*/ 212886 h 2262197"/>
                <a:gd name="connsiteX1" fmla="*/ 624409 w 12589357"/>
                <a:gd name="connsiteY1" fmla="*/ 689526 h 2262197"/>
                <a:gd name="connsiteX2" fmla="*/ 1481210 w 12589357"/>
                <a:gd name="connsiteY2" fmla="*/ 597083 h 2262197"/>
                <a:gd name="connsiteX3" fmla="*/ 8832538 w 12589357"/>
                <a:gd name="connsiteY3" fmla="*/ 537465 h 2262197"/>
                <a:gd name="connsiteX4" fmla="*/ 9192014 w 12589357"/>
                <a:gd name="connsiteY4" fmla="*/ 1016825 h 2262197"/>
                <a:gd name="connsiteX5" fmla="*/ 9762010 w 12589357"/>
                <a:gd name="connsiteY5" fmla="*/ 1843657 h 2262197"/>
                <a:gd name="connsiteX6" fmla="*/ 10693410 w 12589357"/>
                <a:gd name="connsiteY6" fmla="*/ 2262196 h 2262197"/>
                <a:gd name="connsiteX7" fmla="*/ 11739444 w 12589357"/>
                <a:gd name="connsiteY7" fmla="*/ 1843659 h 2262197"/>
                <a:gd name="connsiteX8" fmla="*/ 12030375 w 12589357"/>
                <a:gd name="connsiteY8" fmla="*/ 1197924 h 2262197"/>
                <a:gd name="connsiteX9" fmla="*/ 12341271 w 12589357"/>
                <a:gd name="connsiteY9" fmla="*/ 751817 h 2262197"/>
                <a:gd name="connsiteX10" fmla="*/ 12589357 w 12589357"/>
                <a:gd name="connsiteY10" fmla="*/ 451503 h 2262197"/>
                <a:gd name="connsiteX11" fmla="*/ 12589357 w 12589357"/>
                <a:gd name="connsiteY11" fmla="*/ 13121 h 2262197"/>
                <a:gd name="connsiteX12" fmla="*/ 11983041 w 12589357"/>
                <a:gd name="connsiteY12" fmla="*/ 187696 h 2262197"/>
                <a:gd name="connsiteX13" fmla="*/ 11603316 w 12589357"/>
                <a:gd name="connsiteY13" fmla="*/ 799581 h 2262197"/>
                <a:gd name="connsiteX14" fmla="*/ 11146571 w 12589357"/>
                <a:gd name="connsiteY14" fmla="*/ 1413742 h 2262197"/>
                <a:gd name="connsiteX15" fmla="*/ 10578776 w 12589357"/>
                <a:gd name="connsiteY15" fmla="*/ 1370525 h 2262197"/>
                <a:gd name="connsiteX16" fmla="*/ 10071879 w 12589357"/>
                <a:gd name="connsiteY16" fmla="*/ 810956 h 2262197"/>
                <a:gd name="connsiteX17" fmla="*/ 9659914 w 12589357"/>
                <a:gd name="connsiteY17" fmla="*/ 299156 h 2262197"/>
                <a:gd name="connsiteX18" fmla="*/ 8767043 w 12589357"/>
                <a:gd name="connsiteY18" fmla="*/ 212886 h 2262197"/>
                <a:gd name="connsiteX0" fmla="*/ 8142648 w 11964962"/>
                <a:gd name="connsiteY0" fmla="*/ 212886 h 2262197"/>
                <a:gd name="connsiteX1" fmla="*/ 14 w 11964962"/>
                <a:gd name="connsiteY1" fmla="*/ 689526 h 2262197"/>
                <a:gd name="connsiteX2" fmla="*/ 8208143 w 11964962"/>
                <a:gd name="connsiteY2" fmla="*/ 537465 h 2262197"/>
                <a:gd name="connsiteX3" fmla="*/ 8567619 w 11964962"/>
                <a:gd name="connsiteY3" fmla="*/ 1016825 h 2262197"/>
                <a:gd name="connsiteX4" fmla="*/ 9137615 w 11964962"/>
                <a:gd name="connsiteY4" fmla="*/ 1843657 h 2262197"/>
                <a:gd name="connsiteX5" fmla="*/ 10069015 w 11964962"/>
                <a:gd name="connsiteY5" fmla="*/ 2262196 h 2262197"/>
                <a:gd name="connsiteX6" fmla="*/ 11115049 w 11964962"/>
                <a:gd name="connsiteY6" fmla="*/ 1843659 h 2262197"/>
                <a:gd name="connsiteX7" fmla="*/ 11405980 w 11964962"/>
                <a:gd name="connsiteY7" fmla="*/ 1197924 h 2262197"/>
                <a:gd name="connsiteX8" fmla="*/ 11716876 w 11964962"/>
                <a:gd name="connsiteY8" fmla="*/ 751817 h 2262197"/>
                <a:gd name="connsiteX9" fmla="*/ 11964962 w 11964962"/>
                <a:gd name="connsiteY9" fmla="*/ 451503 h 2262197"/>
                <a:gd name="connsiteX10" fmla="*/ 11964962 w 11964962"/>
                <a:gd name="connsiteY10" fmla="*/ 13121 h 2262197"/>
                <a:gd name="connsiteX11" fmla="*/ 11358646 w 11964962"/>
                <a:gd name="connsiteY11" fmla="*/ 187696 h 2262197"/>
                <a:gd name="connsiteX12" fmla="*/ 10978921 w 11964962"/>
                <a:gd name="connsiteY12" fmla="*/ 799581 h 2262197"/>
                <a:gd name="connsiteX13" fmla="*/ 10522176 w 11964962"/>
                <a:gd name="connsiteY13" fmla="*/ 1413742 h 2262197"/>
                <a:gd name="connsiteX14" fmla="*/ 9954381 w 11964962"/>
                <a:gd name="connsiteY14" fmla="*/ 1370525 h 2262197"/>
                <a:gd name="connsiteX15" fmla="*/ 9447484 w 11964962"/>
                <a:gd name="connsiteY15" fmla="*/ 810956 h 2262197"/>
                <a:gd name="connsiteX16" fmla="*/ 9035519 w 11964962"/>
                <a:gd name="connsiteY16" fmla="*/ 299156 h 2262197"/>
                <a:gd name="connsiteX17" fmla="*/ 8142648 w 11964962"/>
                <a:gd name="connsiteY17" fmla="*/ 212886 h 2262197"/>
                <a:gd name="connsiteX0" fmla="*/ 60187 w 3882501"/>
                <a:gd name="connsiteY0" fmla="*/ 212886 h 2262197"/>
                <a:gd name="connsiteX1" fmla="*/ 125682 w 3882501"/>
                <a:gd name="connsiteY1" fmla="*/ 537465 h 2262197"/>
                <a:gd name="connsiteX2" fmla="*/ 485158 w 3882501"/>
                <a:gd name="connsiteY2" fmla="*/ 1016825 h 2262197"/>
                <a:gd name="connsiteX3" fmla="*/ 1055154 w 3882501"/>
                <a:gd name="connsiteY3" fmla="*/ 1843657 h 2262197"/>
                <a:gd name="connsiteX4" fmla="*/ 1986554 w 3882501"/>
                <a:gd name="connsiteY4" fmla="*/ 2262196 h 2262197"/>
                <a:gd name="connsiteX5" fmla="*/ 3032588 w 3882501"/>
                <a:gd name="connsiteY5" fmla="*/ 1843659 h 2262197"/>
                <a:gd name="connsiteX6" fmla="*/ 3323519 w 3882501"/>
                <a:gd name="connsiteY6" fmla="*/ 1197924 h 2262197"/>
                <a:gd name="connsiteX7" fmla="*/ 3634415 w 3882501"/>
                <a:gd name="connsiteY7" fmla="*/ 751817 h 2262197"/>
                <a:gd name="connsiteX8" fmla="*/ 3882501 w 3882501"/>
                <a:gd name="connsiteY8" fmla="*/ 451503 h 2262197"/>
                <a:gd name="connsiteX9" fmla="*/ 3882501 w 3882501"/>
                <a:gd name="connsiteY9" fmla="*/ 13121 h 2262197"/>
                <a:gd name="connsiteX10" fmla="*/ 3276185 w 3882501"/>
                <a:gd name="connsiteY10" fmla="*/ 187696 h 2262197"/>
                <a:gd name="connsiteX11" fmla="*/ 2896460 w 3882501"/>
                <a:gd name="connsiteY11" fmla="*/ 799581 h 2262197"/>
                <a:gd name="connsiteX12" fmla="*/ 2439715 w 3882501"/>
                <a:gd name="connsiteY12" fmla="*/ 1413742 h 2262197"/>
                <a:gd name="connsiteX13" fmla="*/ 1871920 w 3882501"/>
                <a:gd name="connsiteY13" fmla="*/ 1370525 h 2262197"/>
                <a:gd name="connsiteX14" fmla="*/ 1365023 w 3882501"/>
                <a:gd name="connsiteY14" fmla="*/ 810956 h 2262197"/>
                <a:gd name="connsiteX15" fmla="*/ 953058 w 3882501"/>
                <a:gd name="connsiteY15" fmla="*/ 299156 h 2262197"/>
                <a:gd name="connsiteX16" fmla="*/ 60187 w 3882501"/>
                <a:gd name="connsiteY16" fmla="*/ 212886 h 2262197"/>
                <a:gd name="connsiteX0" fmla="*/ 60187 w 3882501"/>
                <a:gd name="connsiteY0" fmla="*/ 212886 h 2262197"/>
                <a:gd name="connsiteX1" fmla="*/ 125682 w 3882501"/>
                <a:gd name="connsiteY1" fmla="*/ 537465 h 2262197"/>
                <a:gd name="connsiteX2" fmla="*/ 485158 w 3882501"/>
                <a:gd name="connsiteY2" fmla="*/ 1016825 h 2262197"/>
                <a:gd name="connsiteX3" fmla="*/ 1055154 w 3882501"/>
                <a:gd name="connsiteY3" fmla="*/ 1843657 h 2262197"/>
                <a:gd name="connsiteX4" fmla="*/ 1986554 w 3882501"/>
                <a:gd name="connsiteY4" fmla="*/ 2262196 h 2262197"/>
                <a:gd name="connsiteX5" fmla="*/ 3032588 w 3882501"/>
                <a:gd name="connsiteY5" fmla="*/ 1843659 h 2262197"/>
                <a:gd name="connsiteX6" fmla="*/ 3323519 w 3882501"/>
                <a:gd name="connsiteY6" fmla="*/ 1197924 h 2262197"/>
                <a:gd name="connsiteX7" fmla="*/ 3634415 w 3882501"/>
                <a:gd name="connsiteY7" fmla="*/ 751817 h 2262197"/>
                <a:gd name="connsiteX8" fmla="*/ 3882501 w 3882501"/>
                <a:gd name="connsiteY8" fmla="*/ 451503 h 2262197"/>
                <a:gd name="connsiteX9" fmla="*/ 3882501 w 3882501"/>
                <a:gd name="connsiteY9" fmla="*/ 13121 h 2262197"/>
                <a:gd name="connsiteX10" fmla="*/ 3276185 w 3882501"/>
                <a:gd name="connsiteY10" fmla="*/ 187696 h 2262197"/>
                <a:gd name="connsiteX11" fmla="*/ 2896460 w 3882501"/>
                <a:gd name="connsiteY11" fmla="*/ 799581 h 2262197"/>
                <a:gd name="connsiteX12" fmla="*/ 2439715 w 3882501"/>
                <a:gd name="connsiteY12" fmla="*/ 1413742 h 2262197"/>
                <a:gd name="connsiteX13" fmla="*/ 1871920 w 3882501"/>
                <a:gd name="connsiteY13" fmla="*/ 1370525 h 2262197"/>
                <a:gd name="connsiteX14" fmla="*/ 1579966 w 3882501"/>
                <a:gd name="connsiteY14" fmla="*/ 185419 h 2262197"/>
                <a:gd name="connsiteX15" fmla="*/ 953058 w 3882501"/>
                <a:gd name="connsiteY15" fmla="*/ 299156 h 2262197"/>
                <a:gd name="connsiteX16" fmla="*/ 60187 w 3882501"/>
                <a:gd name="connsiteY16" fmla="*/ 212886 h 2262197"/>
                <a:gd name="connsiteX0" fmla="*/ 62173 w 3884487"/>
                <a:gd name="connsiteY0" fmla="*/ 212886 h 2262197"/>
                <a:gd name="connsiteX1" fmla="*/ 127668 w 3884487"/>
                <a:gd name="connsiteY1" fmla="*/ 537465 h 2262197"/>
                <a:gd name="connsiteX2" fmla="*/ 487144 w 3884487"/>
                <a:gd name="connsiteY2" fmla="*/ 1016825 h 2262197"/>
                <a:gd name="connsiteX3" fmla="*/ 1057140 w 3884487"/>
                <a:gd name="connsiteY3" fmla="*/ 1843657 h 2262197"/>
                <a:gd name="connsiteX4" fmla="*/ 1988540 w 3884487"/>
                <a:gd name="connsiteY4" fmla="*/ 2262196 h 2262197"/>
                <a:gd name="connsiteX5" fmla="*/ 3034574 w 3884487"/>
                <a:gd name="connsiteY5" fmla="*/ 1843659 h 2262197"/>
                <a:gd name="connsiteX6" fmla="*/ 3325505 w 3884487"/>
                <a:gd name="connsiteY6" fmla="*/ 1197924 h 2262197"/>
                <a:gd name="connsiteX7" fmla="*/ 3636401 w 3884487"/>
                <a:gd name="connsiteY7" fmla="*/ 751817 h 2262197"/>
                <a:gd name="connsiteX8" fmla="*/ 3884487 w 3884487"/>
                <a:gd name="connsiteY8" fmla="*/ 451503 h 2262197"/>
                <a:gd name="connsiteX9" fmla="*/ 3884487 w 3884487"/>
                <a:gd name="connsiteY9" fmla="*/ 13121 h 2262197"/>
                <a:gd name="connsiteX10" fmla="*/ 3278171 w 3884487"/>
                <a:gd name="connsiteY10" fmla="*/ 187696 h 2262197"/>
                <a:gd name="connsiteX11" fmla="*/ 2898446 w 3884487"/>
                <a:gd name="connsiteY11" fmla="*/ 799581 h 2262197"/>
                <a:gd name="connsiteX12" fmla="*/ 2441701 w 3884487"/>
                <a:gd name="connsiteY12" fmla="*/ 1413742 h 2262197"/>
                <a:gd name="connsiteX13" fmla="*/ 1873906 w 3884487"/>
                <a:gd name="connsiteY13" fmla="*/ 1370525 h 2262197"/>
                <a:gd name="connsiteX14" fmla="*/ 1581952 w 3884487"/>
                <a:gd name="connsiteY14" fmla="*/ 185419 h 2262197"/>
                <a:gd name="connsiteX15" fmla="*/ 981914 w 3884487"/>
                <a:gd name="connsiteY15" fmla="*/ 94434 h 2262197"/>
                <a:gd name="connsiteX16" fmla="*/ 62173 w 3884487"/>
                <a:gd name="connsiteY16" fmla="*/ 212886 h 2262197"/>
                <a:gd name="connsiteX0" fmla="*/ 62175 w 3884485"/>
                <a:gd name="connsiteY0" fmla="*/ 30910 h 2262197"/>
                <a:gd name="connsiteX1" fmla="*/ 127666 w 3884485"/>
                <a:gd name="connsiteY1" fmla="*/ 537465 h 2262197"/>
                <a:gd name="connsiteX2" fmla="*/ 487142 w 3884485"/>
                <a:gd name="connsiteY2" fmla="*/ 1016825 h 2262197"/>
                <a:gd name="connsiteX3" fmla="*/ 1057138 w 3884485"/>
                <a:gd name="connsiteY3" fmla="*/ 1843657 h 2262197"/>
                <a:gd name="connsiteX4" fmla="*/ 1988538 w 3884485"/>
                <a:gd name="connsiteY4" fmla="*/ 2262196 h 2262197"/>
                <a:gd name="connsiteX5" fmla="*/ 3034572 w 3884485"/>
                <a:gd name="connsiteY5" fmla="*/ 1843659 h 2262197"/>
                <a:gd name="connsiteX6" fmla="*/ 3325503 w 3884485"/>
                <a:gd name="connsiteY6" fmla="*/ 1197924 h 2262197"/>
                <a:gd name="connsiteX7" fmla="*/ 3636399 w 3884485"/>
                <a:gd name="connsiteY7" fmla="*/ 751817 h 2262197"/>
                <a:gd name="connsiteX8" fmla="*/ 3884485 w 3884485"/>
                <a:gd name="connsiteY8" fmla="*/ 451503 h 2262197"/>
                <a:gd name="connsiteX9" fmla="*/ 3884485 w 3884485"/>
                <a:gd name="connsiteY9" fmla="*/ 13121 h 2262197"/>
                <a:gd name="connsiteX10" fmla="*/ 3278169 w 3884485"/>
                <a:gd name="connsiteY10" fmla="*/ 187696 h 2262197"/>
                <a:gd name="connsiteX11" fmla="*/ 2898444 w 3884485"/>
                <a:gd name="connsiteY11" fmla="*/ 799581 h 2262197"/>
                <a:gd name="connsiteX12" fmla="*/ 2441699 w 3884485"/>
                <a:gd name="connsiteY12" fmla="*/ 1413742 h 2262197"/>
                <a:gd name="connsiteX13" fmla="*/ 1873904 w 3884485"/>
                <a:gd name="connsiteY13" fmla="*/ 1370525 h 2262197"/>
                <a:gd name="connsiteX14" fmla="*/ 1581950 w 3884485"/>
                <a:gd name="connsiteY14" fmla="*/ 185419 h 2262197"/>
                <a:gd name="connsiteX15" fmla="*/ 981912 w 3884485"/>
                <a:gd name="connsiteY15" fmla="*/ 94434 h 2262197"/>
                <a:gd name="connsiteX16" fmla="*/ 62175 w 3884485"/>
                <a:gd name="connsiteY16" fmla="*/ 30910 h 2262197"/>
                <a:gd name="connsiteX0" fmla="*/ 61263 w 3883573"/>
                <a:gd name="connsiteY0" fmla="*/ 30910 h 2262197"/>
                <a:gd name="connsiteX1" fmla="*/ 126754 w 3883573"/>
                <a:gd name="connsiteY1" fmla="*/ 537465 h 2262197"/>
                <a:gd name="connsiteX2" fmla="*/ 459363 w 3883573"/>
                <a:gd name="connsiteY2" fmla="*/ 1062319 h 2262197"/>
                <a:gd name="connsiteX3" fmla="*/ 1056226 w 3883573"/>
                <a:gd name="connsiteY3" fmla="*/ 1843657 h 2262197"/>
                <a:gd name="connsiteX4" fmla="*/ 1987626 w 3883573"/>
                <a:gd name="connsiteY4" fmla="*/ 2262196 h 2262197"/>
                <a:gd name="connsiteX5" fmla="*/ 3033660 w 3883573"/>
                <a:gd name="connsiteY5" fmla="*/ 1843659 h 2262197"/>
                <a:gd name="connsiteX6" fmla="*/ 3324591 w 3883573"/>
                <a:gd name="connsiteY6" fmla="*/ 1197924 h 2262197"/>
                <a:gd name="connsiteX7" fmla="*/ 3635487 w 3883573"/>
                <a:gd name="connsiteY7" fmla="*/ 751817 h 2262197"/>
                <a:gd name="connsiteX8" fmla="*/ 3883573 w 3883573"/>
                <a:gd name="connsiteY8" fmla="*/ 451503 h 2262197"/>
                <a:gd name="connsiteX9" fmla="*/ 3883573 w 3883573"/>
                <a:gd name="connsiteY9" fmla="*/ 13121 h 2262197"/>
                <a:gd name="connsiteX10" fmla="*/ 3277257 w 3883573"/>
                <a:gd name="connsiteY10" fmla="*/ 187696 h 2262197"/>
                <a:gd name="connsiteX11" fmla="*/ 2897532 w 3883573"/>
                <a:gd name="connsiteY11" fmla="*/ 799581 h 2262197"/>
                <a:gd name="connsiteX12" fmla="*/ 2440787 w 3883573"/>
                <a:gd name="connsiteY12" fmla="*/ 1413742 h 2262197"/>
                <a:gd name="connsiteX13" fmla="*/ 1872992 w 3883573"/>
                <a:gd name="connsiteY13" fmla="*/ 1370525 h 2262197"/>
                <a:gd name="connsiteX14" fmla="*/ 1581038 w 3883573"/>
                <a:gd name="connsiteY14" fmla="*/ 185419 h 2262197"/>
                <a:gd name="connsiteX15" fmla="*/ 981000 w 3883573"/>
                <a:gd name="connsiteY15" fmla="*/ 94434 h 2262197"/>
                <a:gd name="connsiteX16" fmla="*/ 61263 w 3883573"/>
                <a:gd name="connsiteY16" fmla="*/ 30910 h 2262197"/>
                <a:gd name="connsiteX0" fmla="*/ 61263 w 3883573"/>
                <a:gd name="connsiteY0" fmla="*/ 30910 h 2277068"/>
                <a:gd name="connsiteX1" fmla="*/ 126754 w 3883573"/>
                <a:gd name="connsiteY1" fmla="*/ 537465 h 2277068"/>
                <a:gd name="connsiteX2" fmla="*/ 459363 w 3883573"/>
                <a:gd name="connsiteY2" fmla="*/ 1062319 h 2277068"/>
                <a:gd name="connsiteX3" fmla="*/ 1235346 w 3883573"/>
                <a:gd name="connsiteY3" fmla="*/ 1252241 h 2277068"/>
                <a:gd name="connsiteX4" fmla="*/ 1987626 w 3883573"/>
                <a:gd name="connsiteY4" fmla="*/ 2262196 h 2277068"/>
                <a:gd name="connsiteX5" fmla="*/ 3033660 w 3883573"/>
                <a:gd name="connsiteY5" fmla="*/ 1843659 h 2277068"/>
                <a:gd name="connsiteX6" fmla="*/ 3324591 w 3883573"/>
                <a:gd name="connsiteY6" fmla="*/ 1197924 h 2277068"/>
                <a:gd name="connsiteX7" fmla="*/ 3635487 w 3883573"/>
                <a:gd name="connsiteY7" fmla="*/ 751817 h 2277068"/>
                <a:gd name="connsiteX8" fmla="*/ 3883573 w 3883573"/>
                <a:gd name="connsiteY8" fmla="*/ 451503 h 2277068"/>
                <a:gd name="connsiteX9" fmla="*/ 3883573 w 3883573"/>
                <a:gd name="connsiteY9" fmla="*/ 13121 h 2277068"/>
                <a:gd name="connsiteX10" fmla="*/ 3277257 w 3883573"/>
                <a:gd name="connsiteY10" fmla="*/ 187696 h 2277068"/>
                <a:gd name="connsiteX11" fmla="*/ 2897532 w 3883573"/>
                <a:gd name="connsiteY11" fmla="*/ 799581 h 2277068"/>
                <a:gd name="connsiteX12" fmla="*/ 2440787 w 3883573"/>
                <a:gd name="connsiteY12" fmla="*/ 1413742 h 2277068"/>
                <a:gd name="connsiteX13" fmla="*/ 1872992 w 3883573"/>
                <a:gd name="connsiteY13" fmla="*/ 1370525 h 2277068"/>
                <a:gd name="connsiteX14" fmla="*/ 1581038 w 3883573"/>
                <a:gd name="connsiteY14" fmla="*/ 185419 h 2277068"/>
                <a:gd name="connsiteX15" fmla="*/ 981000 w 3883573"/>
                <a:gd name="connsiteY15" fmla="*/ 94434 h 2277068"/>
                <a:gd name="connsiteX16" fmla="*/ 61263 w 3883573"/>
                <a:gd name="connsiteY16" fmla="*/ 30910 h 2277068"/>
                <a:gd name="connsiteX0" fmla="*/ 61263 w 3883573"/>
                <a:gd name="connsiteY0" fmla="*/ 30910 h 2277068"/>
                <a:gd name="connsiteX1" fmla="*/ 126754 w 3883573"/>
                <a:gd name="connsiteY1" fmla="*/ 537465 h 2277068"/>
                <a:gd name="connsiteX2" fmla="*/ 459363 w 3883573"/>
                <a:gd name="connsiteY2" fmla="*/ 1062319 h 2277068"/>
                <a:gd name="connsiteX3" fmla="*/ 1235346 w 3883573"/>
                <a:gd name="connsiteY3" fmla="*/ 1252241 h 2277068"/>
                <a:gd name="connsiteX4" fmla="*/ 1987626 w 3883573"/>
                <a:gd name="connsiteY4" fmla="*/ 2262196 h 2277068"/>
                <a:gd name="connsiteX5" fmla="*/ 3033660 w 3883573"/>
                <a:gd name="connsiteY5" fmla="*/ 1843659 h 2277068"/>
                <a:gd name="connsiteX6" fmla="*/ 3324591 w 3883573"/>
                <a:gd name="connsiteY6" fmla="*/ 1197924 h 2277068"/>
                <a:gd name="connsiteX7" fmla="*/ 3635487 w 3883573"/>
                <a:gd name="connsiteY7" fmla="*/ 751817 h 2277068"/>
                <a:gd name="connsiteX8" fmla="*/ 3883573 w 3883573"/>
                <a:gd name="connsiteY8" fmla="*/ 451503 h 2277068"/>
                <a:gd name="connsiteX9" fmla="*/ 3883573 w 3883573"/>
                <a:gd name="connsiteY9" fmla="*/ 13121 h 2277068"/>
                <a:gd name="connsiteX10" fmla="*/ 3277257 w 3883573"/>
                <a:gd name="connsiteY10" fmla="*/ 187696 h 2277068"/>
                <a:gd name="connsiteX11" fmla="*/ 2897532 w 3883573"/>
                <a:gd name="connsiteY11" fmla="*/ 799581 h 2277068"/>
                <a:gd name="connsiteX12" fmla="*/ 2440787 w 3883573"/>
                <a:gd name="connsiteY12" fmla="*/ 1413742 h 2277068"/>
                <a:gd name="connsiteX13" fmla="*/ 2320781 w 3883573"/>
                <a:gd name="connsiteY13" fmla="*/ 210442 h 2277068"/>
                <a:gd name="connsiteX14" fmla="*/ 1581038 w 3883573"/>
                <a:gd name="connsiteY14" fmla="*/ 185419 h 2277068"/>
                <a:gd name="connsiteX15" fmla="*/ 981000 w 3883573"/>
                <a:gd name="connsiteY15" fmla="*/ 94434 h 2277068"/>
                <a:gd name="connsiteX16" fmla="*/ 61263 w 3883573"/>
                <a:gd name="connsiteY16" fmla="*/ 30910 h 2277068"/>
                <a:gd name="connsiteX0" fmla="*/ 61263 w 3883573"/>
                <a:gd name="connsiteY0" fmla="*/ 30910 h 2277068"/>
                <a:gd name="connsiteX1" fmla="*/ 126754 w 3883573"/>
                <a:gd name="connsiteY1" fmla="*/ 537465 h 2277068"/>
                <a:gd name="connsiteX2" fmla="*/ 459363 w 3883573"/>
                <a:gd name="connsiteY2" fmla="*/ 1062319 h 2277068"/>
                <a:gd name="connsiteX3" fmla="*/ 1235346 w 3883573"/>
                <a:gd name="connsiteY3" fmla="*/ 1252241 h 2277068"/>
                <a:gd name="connsiteX4" fmla="*/ 1987626 w 3883573"/>
                <a:gd name="connsiteY4" fmla="*/ 2262196 h 2277068"/>
                <a:gd name="connsiteX5" fmla="*/ 3033660 w 3883573"/>
                <a:gd name="connsiteY5" fmla="*/ 1843659 h 2277068"/>
                <a:gd name="connsiteX6" fmla="*/ 3324591 w 3883573"/>
                <a:gd name="connsiteY6" fmla="*/ 1197924 h 2277068"/>
                <a:gd name="connsiteX7" fmla="*/ 3635487 w 3883573"/>
                <a:gd name="connsiteY7" fmla="*/ 751817 h 2277068"/>
                <a:gd name="connsiteX8" fmla="*/ 3883573 w 3883573"/>
                <a:gd name="connsiteY8" fmla="*/ 451503 h 2277068"/>
                <a:gd name="connsiteX9" fmla="*/ 3883573 w 3883573"/>
                <a:gd name="connsiteY9" fmla="*/ 13121 h 2277068"/>
                <a:gd name="connsiteX10" fmla="*/ 3277257 w 3883573"/>
                <a:gd name="connsiteY10" fmla="*/ 187696 h 2277068"/>
                <a:gd name="connsiteX11" fmla="*/ 2897532 w 3883573"/>
                <a:gd name="connsiteY11" fmla="*/ 799581 h 2277068"/>
                <a:gd name="connsiteX12" fmla="*/ 2320781 w 3883573"/>
                <a:gd name="connsiteY12" fmla="*/ 210442 h 2277068"/>
                <a:gd name="connsiteX13" fmla="*/ 1581038 w 3883573"/>
                <a:gd name="connsiteY13" fmla="*/ 185419 h 2277068"/>
                <a:gd name="connsiteX14" fmla="*/ 981000 w 3883573"/>
                <a:gd name="connsiteY14" fmla="*/ 94434 h 2277068"/>
                <a:gd name="connsiteX15" fmla="*/ 61263 w 3883573"/>
                <a:gd name="connsiteY15" fmla="*/ 30910 h 2277068"/>
                <a:gd name="connsiteX0" fmla="*/ 61263 w 3883573"/>
                <a:gd name="connsiteY0" fmla="*/ 30910 h 2277068"/>
                <a:gd name="connsiteX1" fmla="*/ 126754 w 3883573"/>
                <a:gd name="connsiteY1" fmla="*/ 537465 h 2277068"/>
                <a:gd name="connsiteX2" fmla="*/ 459363 w 3883573"/>
                <a:gd name="connsiteY2" fmla="*/ 1062319 h 2277068"/>
                <a:gd name="connsiteX3" fmla="*/ 1235346 w 3883573"/>
                <a:gd name="connsiteY3" fmla="*/ 1252241 h 2277068"/>
                <a:gd name="connsiteX4" fmla="*/ 1987626 w 3883573"/>
                <a:gd name="connsiteY4" fmla="*/ 2262196 h 2277068"/>
                <a:gd name="connsiteX5" fmla="*/ 3033660 w 3883573"/>
                <a:gd name="connsiteY5" fmla="*/ 1843659 h 2277068"/>
                <a:gd name="connsiteX6" fmla="*/ 3324591 w 3883573"/>
                <a:gd name="connsiteY6" fmla="*/ 1197924 h 2277068"/>
                <a:gd name="connsiteX7" fmla="*/ 3635487 w 3883573"/>
                <a:gd name="connsiteY7" fmla="*/ 751817 h 2277068"/>
                <a:gd name="connsiteX8" fmla="*/ 3883573 w 3883573"/>
                <a:gd name="connsiteY8" fmla="*/ 451503 h 2277068"/>
                <a:gd name="connsiteX9" fmla="*/ 3883573 w 3883573"/>
                <a:gd name="connsiteY9" fmla="*/ 13121 h 2277068"/>
                <a:gd name="connsiteX10" fmla="*/ 3277257 w 3883573"/>
                <a:gd name="connsiteY10" fmla="*/ 187696 h 2277068"/>
                <a:gd name="connsiteX11" fmla="*/ 2790063 w 3883573"/>
                <a:gd name="connsiteY11" fmla="*/ 287779 h 2277068"/>
                <a:gd name="connsiteX12" fmla="*/ 2320781 w 3883573"/>
                <a:gd name="connsiteY12" fmla="*/ 210442 h 2277068"/>
                <a:gd name="connsiteX13" fmla="*/ 1581038 w 3883573"/>
                <a:gd name="connsiteY13" fmla="*/ 185419 h 2277068"/>
                <a:gd name="connsiteX14" fmla="*/ 981000 w 3883573"/>
                <a:gd name="connsiteY14" fmla="*/ 94434 h 2277068"/>
                <a:gd name="connsiteX15" fmla="*/ 61263 w 3883573"/>
                <a:gd name="connsiteY15" fmla="*/ 30910 h 2277068"/>
                <a:gd name="connsiteX0" fmla="*/ 61263 w 3883573"/>
                <a:gd name="connsiteY0" fmla="*/ 30910 h 1851428"/>
                <a:gd name="connsiteX1" fmla="*/ 126754 w 3883573"/>
                <a:gd name="connsiteY1" fmla="*/ 537465 h 1851428"/>
                <a:gd name="connsiteX2" fmla="*/ 459363 w 3883573"/>
                <a:gd name="connsiteY2" fmla="*/ 1062319 h 1851428"/>
                <a:gd name="connsiteX3" fmla="*/ 1235346 w 3883573"/>
                <a:gd name="connsiteY3" fmla="*/ 1252241 h 1851428"/>
                <a:gd name="connsiteX4" fmla="*/ 2023449 w 3883573"/>
                <a:gd name="connsiteY4" fmla="*/ 999753 h 1851428"/>
                <a:gd name="connsiteX5" fmla="*/ 3033660 w 3883573"/>
                <a:gd name="connsiteY5" fmla="*/ 1843659 h 1851428"/>
                <a:gd name="connsiteX6" fmla="*/ 3324591 w 3883573"/>
                <a:gd name="connsiteY6" fmla="*/ 1197924 h 1851428"/>
                <a:gd name="connsiteX7" fmla="*/ 3635487 w 3883573"/>
                <a:gd name="connsiteY7" fmla="*/ 751817 h 1851428"/>
                <a:gd name="connsiteX8" fmla="*/ 3883573 w 3883573"/>
                <a:gd name="connsiteY8" fmla="*/ 451503 h 1851428"/>
                <a:gd name="connsiteX9" fmla="*/ 3883573 w 3883573"/>
                <a:gd name="connsiteY9" fmla="*/ 13121 h 1851428"/>
                <a:gd name="connsiteX10" fmla="*/ 3277257 w 3883573"/>
                <a:gd name="connsiteY10" fmla="*/ 187696 h 1851428"/>
                <a:gd name="connsiteX11" fmla="*/ 2790063 w 3883573"/>
                <a:gd name="connsiteY11" fmla="*/ 287779 h 1851428"/>
                <a:gd name="connsiteX12" fmla="*/ 2320781 w 3883573"/>
                <a:gd name="connsiteY12" fmla="*/ 210442 h 1851428"/>
                <a:gd name="connsiteX13" fmla="*/ 1581038 w 3883573"/>
                <a:gd name="connsiteY13" fmla="*/ 185419 h 1851428"/>
                <a:gd name="connsiteX14" fmla="*/ 981000 w 3883573"/>
                <a:gd name="connsiteY14" fmla="*/ 94434 h 1851428"/>
                <a:gd name="connsiteX15" fmla="*/ 61263 w 3883573"/>
                <a:gd name="connsiteY15" fmla="*/ 30910 h 1851428"/>
                <a:gd name="connsiteX0" fmla="*/ 61263 w 3883573"/>
                <a:gd name="connsiteY0" fmla="*/ 30910 h 1847024"/>
                <a:gd name="connsiteX1" fmla="*/ 126754 w 3883573"/>
                <a:gd name="connsiteY1" fmla="*/ 537465 h 1847024"/>
                <a:gd name="connsiteX2" fmla="*/ 459363 w 3883573"/>
                <a:gd name="connsiteY2" fmla="*/ 1062319 h 1847024"/>
                <a:gd name="connsiteX3" fmla="*/ 1235346 w 3883573"/>
                <a:gd name="connsiteY3" fmla="*/ 1252241 h 1847024"/>
                <a:gd name="connsiteX4" fmla="*/ 2023449 w 3883573"/>
                <a:gd name="connsiteY4" fmla="*/ 999753 h 1847024"/>
                <a:gd name="connsiteX5" fmla="*/ 2490859 w 3883573"/>
                <a:gd name="connsiteY5" fmla="*/ 1155322 h 1847024"/>
                <a:gd name="connsiteX6" fmla="*/ 3033660 w 3883573"/>
                <a:gd name="connsiteY6" fmla="*/ 1843659 h 1847024"/>
                <a:gd name="connsiteX7" fmla="*/ 3324591 w 3883573"/>
                <a:gd name="connsiteY7" fmla="*/ 1197924 h 1847024"/>
                <a:gd name="connsiteX8" fmla="*/ 3635487 w 3883573"/>
                <a:gd name="connsiteY8" fmla="*/ 751817 h 1847024"/>
                <a:gd name="connsiteX9" fmla="*/ 3883573 w 3883573"/>
                <a:gd name="connsiteY9" fmla="*/ 451503 h 1847024"/>
                <a:gd name="connsiteX10" fmla="*/ 3883573 w 3883573"/>
                <a:gd name="connsiteY10" fmla="*/ 13121 h 1847024"/>
                <a:gd name="connsiteX11" fmla="*/ 3277257 w 3883573"/>
                <a:gd name="connsiteY11" fmla="*/ 187696 h 1847024"/>
                <a:gd name="connsiteX12" fmla="*/ 2790063 w 3883573"/>
                <a:gd name="connsiteY12" fmla="*/ 287779 h 1847024"/>
                <a:gd name="connsiteX13" fmla="*/ 2320781 w 3883573"/>
                <a:gd name="connsiteY13" fmla="*/ 210442 h 1847024"/>
                <a:gd name="connsiteX14" fmla="*/ 1581038 w 3883573"/>
                <a:gd name="connsiteY14" fmla="*/ 185419 h 1847024"/>
                <a:gd name="connsiteX15" fmla="*/ 981000 w 3883573"/>
                <a:gd name="connsiteY15" fmla="*/ 94434 h 1847024"/>
                <a:gd name="connsiteX16" fmla="*/ 61263 w 3883573"/>
                <a:gd name="connsiteY16" fmla="*/ 30910 h 1847024"/>
                <a:gd name="connsiteX0" fmla="*/ 61263 w 3883573"/>
                <a:gd name="connsiteY0" fmla="*/ 30910 h 1847024"/>
                <a:gd name="connsiteX1" fmla="*/ 126754 w 3883573"/>
                <a:gd name="connsiteY1" fmla="*/ 537465 h 1847024"/>
                <a:gd name="connsiteX2" fmla="*/ 459363 w 3883573"/>
                <a:gd name="connsiteY2" fmla="*/ 1062319 h 1847024"/>
                <a:gd name="connsiteX3" fmla="*/ 1235346 w 3883573"/>
                <a:gd name="connsiteY3" fmla="*/ 1252241 h 1847024"/>
                <a:gd name="connsiteX4" fmla="*/ 1736869 w 3883573"/>
                <a:gd name="connsiteY4" fmla="*/ 1011123 h 1847024"/>
                <a:gd name="connsiteX5" fmla="*/ 2490859 w 3883573"/>
                <a:gd name="connsiteY5" fmla="*/ 1155322 h 1847024"/>
                <a:gd name="connsiteX6" fmla="*/ 3033660 w 3883573"/>
                <a:gd name="connsiteY6" fmla="*/ 1843659 h 1847024"/>
                <a:gd name="connsiteX7" fmla="*/ 3324591 w 3883573"/>
                <a:gd name="connsiteY7" fmla="*/ 1197924 h 1847024"/>
                <a:gd name="connsiteX8" fmla="*/ 3635487 w 3883573"/>
                <a:gd name="connsiteY8" fmla="*/ 751817 h 1847024"/>
                <a:gd name="connsiteX9" fmla="*/ 3883573 w 3883573"/>
                <a:gd name="connsiteY9" fmla="*/ 451503 h 1847024"/>
                <a:gd name="connsiteX10" fmla="*/ 3883573 w 3883573"/>
                <a:gd name="connsiteY10" fmla="*/ 13121 h 1847024"/>
                <a:gd name="connsiteX11" fmla="*/ 3277257 w 3883573"/>
                <a:gd name="connsiteY11" fmla="*/ 187696 h 1847024"/>
                <a:gd name="connsiteX12" fmla="*/ 2790063 w 3883573"/>
                <a:gd name="connsiteY12" fmla="*/ 287779 h 1847024"/>
                <a:gd name="connsiteX13" fmla="*/ 2320781 w 3883573"/>
                <a:gd name="connsiteY13" fmla="*/ 210442 h 1847024"/>
                <a:gd name="connsiteX14" fmla="*/ 1581038 w 3883573"/>
                <a:gd name="connsiteY14" fmla="*/ 185419 h 1847024"/>
                <a:gd name="connsiteX15" fmla="*/ 981000 w 3883573"/>
                <a:gd name="connsiteY15" fmla="*/ 94434 h 1847024"/>
                <a:gd name="connsiteX16" fmla="*/ 61263 w 3883573"/>
                <a:gd name="connsiteY16" fmla="*/ 30910 h 1847024"/>
                <a:gd name="connsiteX0" fmla="*/ 61263 w 3883573"/>
                <a:gd name="connsiteY0" fmla="*/ 30910 h 1847024"/>
                <a:gd name="connsiteX1" fmla="*/ 126754 w 3883573"/>
                <a:gd name="connsiteY1" fmla="*/ 537465 h 1847024"/>
                <a:gd name="connsiteX2" fmla="*/ 459363 w 3883573"/>
                <a:gd name="connsiteY2" fmla="*/ 1062319 h 1847024"/>
                <a:gd name="connsiteX3" fmla="*/ 903987 w 3883573"/>
                <a:gd name="connsiteY3" fmla="*/ 1127135 h 1847024"/>
                <a:gd name="connsiteX4" fmla="*/ 1736869 w 3883573"/>
                <a:gd name="connsiteY4" fmla="*/ 1011123 h 1847024"/>
                <a:gd name="connsiteX5" fmla="*/ 2490859 w 3883573"/>
                <a:gd name="connsiteY5" fmla="*/ 1155322 h 1847024"/>
                <a:gd name="connsiteX6" fmla="*/ 3033660 w 3883573"/>
                <a:gd name="connsiteY6" fmla="*/ 1843659 h 1847024"/>
                <a:gd name="connsiteX7" fmla="*/ 3324591 w 3883573"/>
                <a:gd name="connsiteY7" fmla="*/ 1197924 h 1847024"/>
                <a:gd name="connsiteX8" fmla="*/ 3635487 w 3883573"/>
                <a:gd name="connsiteY8" fmla="*/ 751817 h 1847024"/>
                <a:gd name="connsiteX9" fmla="*/ 3883573 w 3883573"/>
                <a:gd name="connsiteY9" fmla="*/ 451503 h 1847024"/>
                <a:gd name="connsiteX10" fmla="*/ 3883573 w 3883573"/>
                <a:gd name="connsiteY10" fmla="*/ 13121 h 1847024"/>
                <a:gd name="connsiteX11" fmla="*/ 3277257 w 3883573"/>
                <a:gd name="connsiteY11" fmla="*/ 187696 h 1847024"/>
                <a:gd name="connsiteX12" fmla="*/ 2790063 w 3883573"/>
                <a:gd name="connsiteY12" fmla="*/ 287779 h 1847024"/>
                <a:gd name="connsiteX13" fmla="*/ 2320781 w 3883573"/>
                <a:gd name="connsiteY13" fmla="*/ 210442 h 1847024"/>
                <a:gd name="connsiteX14" fmla="*/ 1581038 w 3883573"/>
                <a:gd name="connsiteY14" fmla="*/ 185419 h 1847024"/>
                <a:gd name="connsiteX15" fmla="*/ 981000 w 3883573"/>
                <a:gd name="connsiteY15" fmla="*/ 94434 h 1847024"/>
                <a:gd name="connsiteX16" fmla="*/ 61263 w 3883573"/>
                <a:gd name="connsiteY16" fmla="*/ 30910 h 1847024"/>
                <a:gd name="connsiteX0" fmla="*/ 61263 w 3883573"/>
                <a:gd name="connsiteY0" fmla="*/ 30910 h 1847000"/>
                <a:gd name="connsiteX1" fmla="*/ 126754 w 3883573"/>
                <a:gd name="connsiteY1" fmla="*/ 537465 h 1847000"/>
                <a:gd name="connsiteX2" fmla="*/ 459363 w 3883573"/>
                <a:gd name="connsiteY2" fmla="*/ 1062319 h 1847000"/>
                <a:gd name="connsiteX3" fmla="*/ 903987 w 3883573"/>
                <a:gd name="connsiteY3" fmla="*/ 1127135 h 1847000"/>
                <a:gd name="connsiteX4" fmla="*/ 1736869 w 3883573"/>
                <a:gd name="connsiteY4" fmla="*/ 1011123 h 1847000"/>
                <a:gd name="connsiteX5" fmla="*/ 2069939 w 3883573"/>
                <a:gd name="connsiteY5" fmla="*/ 1166694 h 1847000"/>
                <a:gd name="connsiteX6" fmla="*/ 2490859 w 3883573"/>
                <a:gd name="connsiteY6" fmla="*/ 1155322 h 1847000"/>
                <a:gd name="connsiteX7" fmla="*/ 3033660 w 3883573"/>
                <a:gd name="connsiteY7" fmla="*/ 1843659 h 1847000"/>
                <a:gd name="connsiteX8" fmla="*/ 3324591 w 3883573"/>
                <a:gd name="connsiteY8" fmla="*/ 1197924 h 1847000"/>
                <a:gd name="connsiteX9" fmla="*/ 3635487 w 3883573"/>
                <a:gd name="connsiteY9" fmla="*/ 751817 h 1847000"/>
                <a:gd name="connsiteX10" fmla="*/ 3883573 w 3883573"/>
                <a:gd name="connsiteY10" fmla="*/ 451503 h 1847000"/>
                <a:gd name="connsiteX11" fmla="*/ 3883573 w 3883573"/>
                <a:gd name="connsiteY11" fmla="*/ 13121 h 1847000"/>
                <a:gd name="connsiteX12" fmla="*/ 3277257 w 3883573"/>
                <a:gd name="connsiteY12" fmla="*/ 187696 h 1847000"/>
                <a:gd name="connsiteX13" fmla="*/ 2790063 w 3883573"/>
                <a:gd name="connsiteY13" fmla="*/ 287779 h 1847000"/>
                <a:gd name="connsiteX14" fmla="*/ 2320781 w 3883573"/>
                <a:gd name="connsiteY14" fmla="*/ 210442 h 1847000"/>
                <a:gd name="connsiteX15" fmla="*/ 1581038 w 3883573"/>
                <a:gd name="connsiteY15" fmla="*/ 185419 h 1847000"/>
                <a:gd name="connsiteX16" fmla="*/ 981000 w 3883573"/>
                <a:gd name="connsiteY16" fmla="*/ 94434 h 1847000"/>
                <a:gd name="connsiteX17" fmla="*/ 61263 w 3883573"/>
                <a:gd name="connsiteY17" fmla="*/ 30910 h 1847000"/>
                <a:gd name="connsiteX0" fmla="*/ 61263 w 3883573"/>
                <a:gd name="connsiteY0" fmla="*/ 30910 h 1220392"/>
                <a:gd name="connsiteX1" fmla="*/ 126754 w 3883573"/>
                <a:gd name="connsiteY1" fmla="*/ 537465 h 1220392"/>
                <a:gd name="connsiteX2" fmla="*/ 459363 w 3883573"/>
                <a:gd name="connsiteY2" fmla="*/ 1062319 h 1220392"/>
                <a:gd name="connsiteX3" fmla="*/ 903987 w 3883573"/>
                <a:gd name="connsiteY3" fmla="*/ 1127135 h 1220392"/>
                <a:gd name="connsiteX4" fmla="*/ 1736869 w 3883573"/>
                <a:gd name="connsiteY4" fmla="*/ 1011123 h 1220392"/>
                <a:gd name="connsiteX5" fmla="*/ 2069939 w 3883573"/>
                <a:gd name="connsiteY5" fmla="*/ 1166694 h 1220392"/>
                <a:gd name="connsiteX6" fmla="*/ 2490859 w 3883573"/>
                <a:gd name="connsiteY6" fmla="*/ 1155322 h 1220392"/>
                <a:gd name="connsiteX7" fmla="*/ 3324591 w 3883573"/>
                <a:gd name="connsiteY7" fmla="*/ 1197924 h 1220392"/>
                <a:gd name="connsiteX8" fmla="*/ 3635487 w 3883573"/>
                <a:gd name="connsiteY8" fmla="*/ 751817 h 1220392"/>
                <a:gd name="connsiteX9" fmla="*/ 3883573 w 3883573"/>
                <a:gd name="connsiteY9" fmla="*/ 451503 h 1220392"/>
                <a:gd name="connsiteX10" fmla="*/ 3883573 w 3883573"/>
                <a:gd name="connsiteY10" fmla="*/ 13121 h 1220392"/>
                <a:gd name="connsiteX11" fmla="*/ 3277257 w 3883573"/>
                <a:gd name="connsiteY11" fmla="*/ 187696 h 1220392"/>
                <a:gd name="connsiteX12" fmla="*/ 2790063 w 3883573"/>
                <a:gd name="connsiteY12" fmla="*/ 287779 h 1220392"/>
                <a:gd name="connsiteX13" fmla="*/ 2320781 w 3883573"/>
                <a:gd name="connsiteY13" fmla="*/ 210442 h 1220392"/>
                <a:gd name="connsiteX14" fmla="*/ 1581038 w 3883573"/>
                <a:gd name="connsiteY14" fmla="*/ 185419 h 1220392"/>
                <a:gd name="connsiteX15" fmla="*/ 981000 w 3883573"/>
                <a:gd name="connsiteY15" fmla="*/ 94434 h 1220392"/>
                <a:gd name="connsiteX16" fmla="*/ 61263 w 3883573"/>
                <a:gd name="connsiteY16" fmla="*/ 30910 h 1220392"/>
                <a:gd name="connsiteX0" fmla="*/ 61263 w 3883573"/>
                <a:gd name="connsiteY0" fmla="*/ 30910 h 1174361"/>
                <a:gd name="connsiteX1" fmla="*/ 126754 w 3883573"/>
                <a:gd name="connsiteY1" fmla="*/ 537465 h 1174361"/>
                <a:gd name="connsiteX2" fmla="*/ 459363 w 3883573"/>
                <a:gd name="connsiteY2" fmla="*/ 1062319 h 1174361"/>
                <a:gd name="connsiteX3" fmla="*/ 903987 w 3883573"/>
                <a:gd name="connsiteY3" fmla="*/ 1127135 h 1174361"/>
                <a:gd name="connsiteX4" fmla="*/ 1736869 w 3883573"/>
                <a:gd name="connsiteY4" fmla="*/ 1011123 h 1174361"/>
                <a:gd name="connsiteX5" fmla="*/ 2069939 w 3883573"/>
                <a:gd name="connsiteY5" fmla="*/ 1166694 h 1174361"/>
                <a:gd name="connsiteX6" fmla="*/ 2490859 w 3883573"/>
                <a:gd name="connsiteY6" fmla="*/ 1155322 h 1174361"/>
                <a:gd name="connsiteX7" fmla="*/ 3243989 w 3883573"/>
                <a:gd name="connsiteY7" fmla="*/ 959085 h 1174361"/>
                <a:gd name="connsiteX8" fmla="*/ 3635487 w 3883573"/>
                <a:gd name="connsiteY8" fmla="*/ 751817 h 1174361"/>
                <a:gd name="connsiteX9" fmla="*/ 3883573 w 3883573"/>
                <a:gd name="connsiteY9" fmla="*/ 451503 h 1174361"/>
                <a:gd name="connsiteX10" fmla="*/ 3883573 w 3883573"/>
                <a:gd name="connsiteY10" fmla="*/ 13121 h 1174361"/>
                <a:gd name="connsiteX11" fmla="*/ 3277257 w 3883573"/>
                <a:gd name="connsiteY11" fmla="*/ 187696 h 1174361"/>
                <a:gd name="connsiteX12" fmla="*/ 2790063 w 3883573"/>
                <a:gd name="connsiteY12" fmla="*/ 287779 h 1174361"/>
                <a:gd name="connsiteX13" fmla="*/ 2320781 w 3883573"/>
                <a:gd name="connsiteY13" fmla="*/ 210442 h 1174361"/>
                <a:gd name="connsiteX14" fmla="*/ 1581038 w 3883573"/>
                <a:gd name="connsiteY14" fmla="*/ 185419 h 1174361"/>
                <a:gd name="connsiteX15" fmla="*/ 981000 w 3883573"/>
                <a:gd name="connsiteY15" fmla="*/ 94434 h 1174361"/>
                <a:gd name="connsiteX16" fmla="*/ 61263 w 3883573"/>
                <a:gd name="connsiteY16" fmla="*/ 30910 h 1174361"/>
                <a:gd name="connsiteX0" fmla="*/ 61263 w 3883573"/>
                <a:gd name="connsiteY0" fmla="*/ 30910 h 1174361"/>
                <a:gd name="connsiteX1" fmla="*/ 126754 w 3883573"/>
                <a:gd name="connsiteY1" fmla="*/ 537465 h 1174361"/>
                <a:gd name="connsiteX2" fmla="*/ 459363 w 3883573"/>
                <a:gd name="connsiteY2" fmla="*/ 1062319 h 1174361"/>
                <a:gd name="connsiteX3" fmla="*/ 903987 w 3883573"/>
                <a:gd name="connsiteY3" fmla="*/ 1127135 h 1174361"/>
                <a:gd name="connsiteX4" fmla="*/ 1736869 w 3883573"/>
                <a:gd name="connsiteY4" fmla="*/ 1011123 h 1174361"/>
                <a:gd name="connsiteX5" fmla="*/ 2069939 w 3883573"/>
                <a:gd name="connsiteY5" fmla="*/ 1166694 h 1174361"/>
                <a:gd name="connsiteX6" fmla="*/ 2490859 w 3883573"/>
                <a:gd name="connsiteY6" fmla="*/ 1155322 h 1174361"/>
                <a:gd name="connsiteX7" fmla="*/ 3360418 w 3883573"/>
                <a:gd name="connsiteY7" fmla="*/ 1050071 h 1174361"/>
                <a:gd name="connsiteX8" fmla="*/ 3635487 w 3883573"/>
                <a:gd name="connsiteY8" fmla="*/ 751817 h 1174361"/>
                <a:gd name="connsiteX9" fmla="*/ 3883573 w 3883573"/>
                <a:gd name="connsiteY9" fmla="*/ 451503 h 1174361"/>
                <a:gd name="connsiteX10" fmla="*/ 3883573 w 3883573"/>
                <a:gd name="connsiteY10" fmla="*/ 13121 h 1174361"/>
                <a:gd name="connsiteX11" fmla="*/ 3277257 w 3883573"/>
                <a:gd name="connsiteY11" fmla="*/ 187696 h 1174361"/>
                <a:gd name="connsiteX12" fmla="*/ 2790063 w 3883573"/>
                <a:gd name="connsiteY12" fmla="*/ 287779 h 1174361"/>
                <a:gd name="connsiteX13" fmla="*/ 2320781 w 3883573"/>
                <a:gd name="connsiteY13" fmla="*/ 210442 h 1174361"/>
                <a:gd name="connsiteX14" fmla="*/ 1581038 w 3883573"/>
                <a:gd name="connsiteY14" fmla="*/ 185419 h 1174361"/>
                <a:gd name="connsiteX15" fmla="*/ 981000 w 3883573"/>
                <a:gd name="connsiteY15" fmla="*/ 94434 h 1174361"/>
                <a:gd name="connsiteX16" fmla="*/ 61263 w 3883573"/>
                <a:gd name="connsiteY16" fmla="*/ 30910 h 1174361"/>
                <a:gd name="connsiteX0" fmla="*/ 61263 w 3892533"/>
                <a:gd name="connsiteY0" fmla="*/ 24870 h 1168321"/>
                <a:gd name="connsiteX1" fmla="*/ 126754 w 3892533"/>
                <a:gd name="connsiteY1" fmla="*/ 531425 h 1168321"/>
                <a:gd name="connsiteX2" fmla="*/ 459363 w 3892533"/>
                <a:gd name="connsiteY2" fmla="*/ 1056279 h 1168321"/>
                <a:gd name="connsiteX3" fmla="*/ 903987 w 3892533"/>
                <a:gd name="connsiteY3" fmla="*/ 1121095 h 1168321"/>
                <a:gd name="connsiteX4" fmla="*/ 1736869 w 3892533"/>
                <a:gd name="connsiteY4" fmla="*/ 1005083 h 1168321"/>
                <a:gd name="connsiteX5" fmla="*/ 2069939 w 3892533"/>
                <a:gd name="connsiteY5" fmla="*/ 1160654 h 1168321"/>
                <a:gd name="connsiteX6" fmla="*/ 2490859 w 3892533"/>
                <a:gd name="connsiteY6" fmla="*/ 1149282 h 1168321"/>
                <a:gd name="connsiteX7" fmla="*/ 3360418 w 3892533"/>
                <a:gd name="connsiteY7" fmla="*/ 1044031 h 1168321"/>
                <a:gd name="connsiteX8" fmla="*/ 3635487 w 3892533"/>
                <a:gd name="connsiteY8" fmla="*/ 745777 h 1168321"/>
                <a:gd name="connsiteX9" fmla="*/ 3883573 w 3892533"/>
                <a:gd name="connsiteY9" fmla="*/ 445463 h 1168321"/>
                <a:gd name="connsiteX10" fmla="*/ 3892534 w 3892533"/>
                <a:gd name="connsiteY10" fmla="*/ 166306 h 1168321"/>
                <a:gd name="connsiteX11" fmla="*/ 3277257 w 3892533"/>
                <a:gd name="connsiteY11" fmla="*/ 181656 h 1168321"/>
                <a:gd name="connsiteX12" fmla="*/ 2790063 w 3892533"/>
                <a:gd name="connsiteY12" fmla="*/ 281739 h 1168321"/>
                <a:gd name="connsiteX13" fmla="*/ 2320781 w 3892533"/>
                <a:gd name="connsiteY13" fmla="*/ 204402 h 1168321"/>
                <a:gd name="connsiteX14" fmla="*/ 1581038 w 3892533"/>
                <a:gd name="connsiteY14" fmla="*/ 179379 h 1168321"/>
                <a:gd name="connsiteX15" fmla="*/ 981000 w 3892533"/>
                <a:gd name="connsiteY15" fmla="*/ 88394 h 1168321"/>
                <a:gd name="connsiteX16" fmla="*/ 61263 w 3892533"/>
                <a:gd name="connsiteY16" fmla="*/ 24870 h 1168321"/>
                <a:gd name="connsiteX0" fmla="*/ 61263 w 3892535"/>
                <a:gd name="connsiteY0" fmla="*/ 24870 h 1280796"/>
                <a:gd name="connsiteX1" fmla="*/ 126754 w 3892535"/>
                <a:gd name="connsiteY1" fmla="*/ 531425 h 1280796"/>
                <a:gd name="connsiteX2" fmla="*/ 459363 w 3892535"/>
                <a:gd name="connsiteY2" fmla="*/ 1056279 h 1280796"/>
                <a:gd name="connsiteX3" fmla="*/ 966682 w 3892535"/>
                <a:gd name="connsiteY3" fmla="*/ 1280322 h 1280796"/>
                <a:gd name="connsiteX4" fmla="*/ 1736869 w 3892535"/>
                <a:gd name="connsiteY4" fmla="*/ 1005083 h 1280796"/>
                <a:gd name="connsiteX5" fmla="*/ 2069939 w 3892535"/>
                <a:gd name="connsiteY5" fmla="*/ 1160654 h 1280796"/>
                <a:gd name="connsiteX6" fmla="*/ 2490859 w 3892535"/>
                <a:gd name="connsiteY6" fmla="*/ 1149282 h 1280796"/>
                <a:gd name="connsiteX7" fmla="*/ 3360418 w 3892535"/>
                <a:gd name="connsiteY7" fmla="*/ 1044031 h 1280796"/>
                <a:gd name="connsiteX8" fmla="*/ 3635487 w 3892535"/>
                <a:gd name="connsiteY8" fmla="*/ 745777 h 1280796"/>
                <a:gd name="connsiteX9" fmla="*/ 3883573 w 3892535"/>
                <a:gd name="connsiteY9" fmla="*/ 445463 h 1280796"/>
                <a:gd name="connsiteX10" fmla="*/ 3892534 w 3892535"/>
                <a:gd name="connsiteY10" fmla="*/ 166306 h 1280796"/>
                <a:gd name="connsiteX11" fmla="*/ 3277257 w 3892535"/>
                <a:gd name="connsiteY11" fmla="*/ 181656 h 1280796"/>
                <a:gd name="connsiteX12" fmla="*/ 2790063 w 3892535"/>
                <a:gd name="connsiteY12" fmla="*/ 281739 h 1280796"/>
                <a:gd name="connsiteX13" fmla="*/ 2320781 w 3892535"/>
                <a:gd name="connsiteY13" fmla="*/ 204402 h 1280796"/>
                <a:gd name="connsiteX14" fmla="*/ 1581038 w 3892535"/>
                <a:gd name="connsiteY14" fmla="*/ 179379 h 1280796"/>
                <a:gd name="connsiteX15" fmla="*/ 981000 w 3892535"/>
                <a:gd name="connsiteY15" fmla="*/ 88394 h 1280796"/>
                <a:gd name="connsiteX16" fmla="*/ 61263 w 3892535"/>
                <a:gd name="connsiteY16" fmla="*/ 24870 h 1280796"/>
                <a:gd name="connsiteX0" fmla="*/ 61263 w 3892533"/>
                <a:gd name="connsiteY0" fmla="*/ 24870 h 1288550"/>
                <a:gd name="connsiteX1" fmla="*/ 126754 w 3892533"/>
                <a:gd name="connsiteY1" fmla="*/ 531425 h 1288550"/>
                <a:gd name="connsiteX2" fmla="*/ 459363 w 3892533"/>
                <a:gd name="connsiteY2" fmla="*/ 1056279 h 1288550"/>
                <a:gd name="connsiteX3" fmla="*/ 966682 w 3892533"/>
                <a:gd name="connsiteY3" fmla="*/ 1280322 h 1288550"/>
                <a:gd name="connsiteX4" fmla="*/ 1584621 w 3892533"/>
                <a:gd name="connsiteY4" fmla="*/ 1232549 h 1288550"/>
                <a:gd name="connsiteX5" fmla="*/ 2069939 w 3892533"/>
                <a:gd name="connsiteY5" fmla="*/ 1160654 h 1288550"/>
                <a:gd name="connsiteX6" fmla="*/ 2490859 w 3892533"/>
                <a:gd name="connsiteY6" fmla="*/ 1149282 h 1288550"/>
                <a:gd name="connsiteX7" fmla="*/ 3360418 w 3892533"/>
                <a:gd name="connsiteY7" fmla="*/ 1044031 h 1288550"/>
                <a:gd name="connsiteX8" fmla="*/ 3635487 w 3892533"/>
                <a:gd name="connsiteY8" fmla="*/ 745777 h 1288550"/>
                <a:gd name="connsiteX9" fmla="*/ 3883573 w 3892533"/>
                <a:gd name="connsiteY9" fmla="*/ 445463 h 1288550"/>
                <a:gd name="connsiteX10" fmla="*/ 3892534 w 3892533"/>
                <a:gd name="connsiteY10" fmla="*/ 166306 h 1288550"/>
                <a:gd name="connsiteX11" fmla="*/ 3277257 w 3892533"/>
                <a:gd name="connsiteY11" fmla="*/ 181656 h 1288550"/>
                <a:gd name="connsiteX12" fmla="*/ 2790063 w 3892533"/>
                <a:gd name="connsiteY12" fmla="*/ 281739 h 1288550"/>
                <a:gd name="connsiteX13" fmla="*/ 2320781 w 3892533"/>
                <a:gd name="connsiteY13" fmla="*/ 204402 h 1288550"/>
                <a:gd name="connsiteX14" fmla="*/ 1581038 w 3892533"/>
                <a:gd name="connsiteY14" fmla="*/ 179379 h 1288550"/>
                <a:gd name="connsiteX15" fmla="*/ 981000 w 3892533"/>
                <a:gd name="connsiteY15" fmla="*/ 88394 h 1288550"/>
                <a:gd name="connsiteX16" fmla="*/ 61263 w 3892533"/>
                <a:gd name="connsiteY16" fmla="*/ 24870 h 1288550"/>
                <a:gd name="connsiteX0" fmla="*/ 61263 w 3892535"/>
                <a:gd name="connsiteY0" fmla="*/ 24870 h 1288550"/>
                <a:gd name="connsiteX1" fmla="*/ 126754 w 3892535"/>
                <a:gd name="connsiteY1" fmla="*/ 531425 h 1288550"/>
                <a:gd name="connsiteX2" fmla="*/ 459363 w 3892535"/>
                <a:gd name="connsiteY2" fmla="*/ 1056279 h 1288550"/>
                <a:gd name="connsiteX3" fmla="*/ 966682 w 3892535"/>
                <a:gd name="connsiteY3" fmla="*/ 1280322 h 1288550"/>
                <a:gd name="connsiteX4" fmla="*/ 1584621 w 3892535"/>
                <a:gd name="connsiteY4" fmla="*/ 1232549 h 1288550"/>
                <a:gd name="connsiteX5" fmla="*/ 2069939 w 3892535"/>
                <a:gd name="connsiteY5" fmla="*/ 1160654 h 1288550"/>
                <a:gd name="connsiteX6" fmla="*/ 2338605 w 3892535"/>
                <a:gd name="connsiteY6" fmla="*/ 1285763 h 1288550"/>
                <a:gd name="connsiteX7" fmla="*/ 2490859 w 3892535"/>
                <a:gd name="connsiteY7" fmla="*/ 1149282 h 1288550"/>
                <a:gd name="connsiteX8" fmla="*/ 3360418 w 3892535"/>
                <a:gd name="connsiteY8" fmla="*/ 1044031 h 1288550"/>
                <a:gd name="connsiteX9" fmla="*/ 3635487 w 3892535"/>
                <a:gd name="connsiteY9" fmla="*/ 745777 h 1288550"/>
                <a:gd name="connsiteX10" fmla="*/ 3883573 w 3892535"/>
                <a:gd name="connsiteY10" fmla="*/ 445463 h 1288550"/>
                <a:gd name="connsiteX11" fmla="*/ 3892534 w 3892535"/>
                <a:gd name="connsiteY11" fmla="*/ 166306 h 1288550"/>
                <a:gd name="connsiteX12" fmla="*/ 3277257 w 3892535"/>
                <a:gd name="connsiteY12" fmla="*/ 181656 h 1288550"/>
                <a:gd name="connsiteX13" fmla="*/ 2790063 w 3892535"/>
                <a:gd name="connsiteY13" fmla="*/ 281739 h 1288550"/>
                <a:gd name="connsiteX14" fmla="*/ 2320781 w 3892535"/>
                <a:gd name="connsiteY14" fmla="*/ 204402 h 1288550"/>
                <a:gd name="connsiteX15" fmla="*/ 1581038 w 3892535"/>
                <a:gd name="connsiteY15" fmla="*/ 179379 h 1288550"/>
                <a:gd name="connsiteX16" fmla="*/ 981000 w 3892535"/>
                <a:gd name="connsiteY16" fmla="*/ 88394 h 1288550"/>
                <a:gd name="connsiteX17" fmla="*/ 61263 w 3892535"/>
                <a:gd name="connsiteY17" fmla="*/ 24870 h 1288550"/>
                <a:gd name="connsiteX0" fmla="*/ 61263 w 3892533"/>
                <a:gd name="connsiteY0" fmla="*/ 24870 h 1288550"/>
                <a:gd name="connsiteX1" fmla="*/ 126754 w 3892533"/>
                <a:gd name="connsiteY1" fmla="*/ 531425 h 1288550"/>
                <a:gd name="connsiteX2" fmla="*/ 459363 w 3892533"/>
                <a:gd name="connsiteY2" fmla="*/ 1056279 h 1288550"/>
                <a:gd name="connsiteX3" fmla="*/ 966682 w 3892533"/>
                <a:gd name="connsiteY3" fmla="*/ 1280322 h 1288550"/>
                <a:gd name="connsiteX4" fmla="*/ 1584621 w 3892533"/>
                <a:gd name="connsiteY4" fmla="*/ 1232549 h 1288550"/>
                <a:gd name="connsiteX5" fmla="*/ 2069939 w 3892533"/>
                <a:gd name="connsiteY5" fmla="*/ 1160654 h 1288550"/>
                <a:gd name="connsiteX6" fmla="*/ 2338605 w 3892533"/>
                <a:gd name="connsiteY6" fmla="*/ 1285763 h 1288550"/>
                <a:gd name="connsiteX7" fmla="*/ 2490859 w 3892533"/>
                <a:gd name="connsiteY7" fmla="*/ 1149282 h 1288550"/>
                <a:gd name="connsiteX8" fmla="*/ 2768487 w 3892533"/>
                <a:gd name="connsiteY8" fmla="*/ 1206147 h 1288550"/>
                <a:gd name="connsiteX9" fmla="*/ 3360418 w 3892533"/>
                <a:gd name="connsiteY9" fmla="*/ 1044031 h 1288550"/>
                <a:gd name="connsiteX10" fmla="*/ 3635487 w 3892533"/>
                <a:gd name="connsiteY10" fmla="*/ 745777 h 1288550"/>
                <a:gd name="connsiteX11" fmla="*/ 3883573 w 3892533"/>
                <a:gd name="connsiteY11" fmla="*/ 445463 h 1288550"/>
                <a:gd name="connsiteX12" fmla="*/ 3892534 w 3892533"/>
                <a:gd name="connsiteY12" fmla="*/ 166306 h 1288550"/>
                <a:gd name="connsiteX13" fmla="*/ 3277257 w 3892533"/>
                <a:gd name="connsiteY13" fmla="*/ 181656 h 1288550"/>
                <a:gd name="connsiteX14" fmla="*/ 2790063 w 3892533"/>
                <a:gd name="connsiteY14" fmla="*/ 281739 h 1288550"/>
                <a:gd name="connsiteX15" fmla="*/ 2320781 w 3892533"/>
                <a:gd name="connsiteY15" fmla="*/ 204402 h 1288550"/>
                <a:gd name="connsiteX16" fmla="*/ 1581038 w 3892533"/>
                <a:gd name="connsiteY16" fmla="*/ 179379 h 1288550"/>
                <a:gd name="connsiteX17" fmla="*/ 981000 w 3892533"/>
                <a:gd name="connsiteY17" fmla="*/ 88394 h 1288550"/>
                <a:gd name="connsiteX18" fmla="*/ 61263 w 3892533"/>
                <a:gd name="connsiteY18" fmla="*/ 24870 h 1288550"/>
                <a:gd name="connsiteX0" fmla="*/ 61263 w 3892535"/>
                <a:gd name="connsiteY0" fmla="*/ 24870 h 1289751"/>
                <a:gd name="connsiteX1" fmla="*/ 126754 w 3892535"/>
                <a:gd name="connsiteY1" fmla="*/ 531425 h 1289751"/>
                <a:gd name="connsiteX2" fmla="*/ 459363 w 3892535"/>
                <a:gd name="connsiteY2" fmla="*/ 1056279 h 1289751"/>
                <a:gd name="connsiteX3" fmla="*/ 966682 w 3892535"/>
                <a:gd name="connsiteY3" fmla="*/ 1280322 h 1289751"/>
                <a:gd name="connsiteX4" fmla="*/ 1584621 w 3892535"/>
                <a:gd name="connsiteY4" fmla="*/ 1232549 h 1289751"/>
                <a:gd name="connsiteX5" fmla="*/ 1881860 w 3892535"/>
                <a:gd name="connsiteY5" fmla="*/ 1092415 h 1289751"/>
                <a:gd name="connsiteX6" fmla="*/ 2069939 w 3892535"/>
                <a:gd name="connsiteY6" fmla="*/ 1160654 h 1289751"/>
                <a:gd name="connsiteX7" fmla="*/ 2338605 w 3892535"/>
                <a:gd name="connsiteY7" fmla="*/ 1285763 h 1289751"/>
                <a:gd name="connsiteX8" fmla="*/ 2490859 w 3892535"/>
                <a:gd name="connsiteY8" fmla="*/ 1149282 h 1289751"/>
                <a:gd name="connsiteX9" fmla="*/ 2768487 w 3892535"/>
                <a:gd name="connsiteY9" fmla="*/ 1206147 h 1289751"/>
                <a:gd name="connsiteX10" fmla="*/ 3360418 w 3892535"/>
                <a:gd name="connsiteY10" fmla="*/ 1044031 h 1289751"/>
                <a:gd name="connsiteX11" fmla="*/ 3635487 w 3892535"/>
                <a:gd name="connsiteY11" fmla="*/ 745777 h 1289751"/>
                <a:gd name="connsiteX12" fmla="*/ 3883573 w 3892535"/>
                <a:gd name="connsiteY12" fmla="*/ 445463 h 1289751"/>
                <a:gd name="connsiteX13" fmla="*/ 3892534 w 3892535"/>
                <a:gd name="connsiteY13" fmla="*/ 166306 h 1289751"/>
                <a:gd name="connsiteX14" fmla="*/ 3277257 w 3892535"/>
                <a:gd name="connsiteY14" fmla="*/ 181656 h 1289751"/>
                <a:gd name="connsiteX15" fmla="*/ 2790063 w 3892535"/>
                <a:gd name="connsiteY15" fmla="*/ 281739 h 1289751"/>
                <a:gd name="connsiteX16" fmla="*/ 2320781 w 3892535"/>
                <a:gd name="connsiteY16" fmla="*/ 204402 h 1289751"/>
                <a:gd name="connsiteX17" fmla="*/ 1581038 w 3892535"/>
                <a:gd name="connsiteY17" fmla="*/ 179379 h 1289751"/>
                <a:gd name="connsiteX18" fmla="*/ 981000 w 3892535"/>
                <a:gd name="connsiteY18" fmla="*/ 88394 h 1289751"/>
                <a:gd name="connsiteX19" fmla="*/ 61263 w 3892535"/>
                <a:gd name="connsiteY19" fmla="*/ 24870 h 1289751"/>
                <a:gd name="connsiteX0" fmla="*/ 61263 w 3892533"/>
                <a:gd name="connsiteY0" fmla="*/ 24870 h 1411420"/>
                <a:gd name="connsiteX1" fmla="*/ 126754 w 3892533"/>
                <a:gd name="connsiteY1" fmla="*/ 531425 h 1411420"/>
                <a:gd name="connsiteX2" fmla="*/ 459363 w 3892533"/>
                <a:gd name="connsiteY2" fmla="*/ 1056279 h 1411420"/>
                <a:gd name="connsiteX3" fmla="*/ 966682 w 3892533"/>
                <a:gd name="connsiteY3" fmla="*/ 1280322 h 1411420"/>
                <a:gd name="connsiteX4" fmla="*/ 1407205 w 3892533"/>
                <a:gd name="connsiteY4" fmla="*/ 1410866 h 1411420"/>
                <a:gd name="connsiteX5" fmla="*/ 1584621 w 3892533"/>
                <a:gd name="connsiteY5" fmla="*/ 1232549 h 1411420"/>
                <a:gd name="connsiteX6" fmla="*/ 1881860 w 3892533"/>
                <a:gd name="connsiteY6" fmla="*/ 1092415 h 1411420"/>
                <a:gd name="connsiteX7" fmla="*/ 2069939 w 3892533"/>
                <a:gd name="connsiteY7" fmla="*/ 1160654 h 1411420"/>
                <a:gd name="connsiteX8" fmla="*/ 2338605 w 3892533"/>
                <a:gd name="connsiteY8" fmla="*/ 1285763 h 1411420"/>
                <a:gd name="connsiteX9" fmla="*/ 2490859 w 3892533"/>
                <a:gd name="connsiteY9" fmla="*/ 1149282 h 1411420"/>
                <a:gd name="connsiteX10" fmla="*/ 2768487 w 3892533"/>
                <a:gd name="connsiteY10" fmla="*/ 1206147 h 1411420"/>
                <a:gd name="connsiteX11" fmla="*/ 3360418 w 3892533"/>
                <a:gd name="connsiteY11" fmla="*/ 1044031 h 1411420"/>
                <a:gd name="connsiteX12" fmla="*/ 3635487 w 3892533"/>
                <a:gd name="connsiteY12" fmla="*/ 745777 h 1411420"/>
                <a:gd name="connsiteX13" fmla="*/ 3883573 w 3892533"/>
                <a:gd name="connsiteY13" fmla="*/ 445463 h 1411420"/>
                <a:gd name="connsiteX14" fmla="*/ 3892534 w 3892533"/>
                <a:gd name="connsiteY14" fmla="*/ 166306 h 1411420"/>
                <a:gd name="connsiteX15" fmla="*/ 3277257 w 3892533"/>
                <a:gd name="connsiteY15" fmla="*/ 181656 h 1411420"/>
                <a:gd name="connsiteX16" fmla="*/ 2790063 w 3892533"/>
                <a:gd name="connsiteY16" fmla="*/ 281739 h 1411420"/>
                <a:gd name="connsiteX17" fmla="*/ 2320781 w 3892533"/>
                <a:gd name="connsiteY17" fmla="*/ 204402 h 1411420"/>
                <a:gd name="connsiteX18" fmla="*/ 1581038 w 3892533"/>
                <a:gd name="connsiteY18" fmla="*/ 179379 h 1411420"/>
                <a:gd name="connsiteX19" fmla="*/ 981000 w 3892533"/>
                <a:gd name="connsiteY19" fmla="*/ 88394 h 1411420"/>
                <a:gd name="connsiteX20" fmla="*/ 61263 w 3892533"/>
                <a:gd name="connsiteY20" fmla="*/ 24870 h 1411420"/>
                <a:gd name="connsiteX0" fmla="*/ 61263 w 3892534"/>
                <a:gd name="connsiteY0" fmla="*/ 24870 h 1411420"/>
                <a:gd name="connsiteX1" fmla="*/ 126754 w 3892534"/>
                <a:gd name="connsiteY1" fmla="*/ 531425 h 1411420"/>
                <a:gd name="connsiteX2" fmla="*/ 459363 w 3892534"/>
                <a:gd name="connsiteY2" fmla="*/ 1056279 h 1411420"/>
                <a:gd name="connsiteX3" fmla="*/ 966682 w 3892534"/>
                <a:gd name="connsiteY3" fmla="*/ 1280322 h 1411420"/>
                <a:gd name="connsiteX4" fmla="*/ 1407205 w 3892534"/>
                <a:gd name="connsiteY4" fmla="*/ 1410866 h 1411420"/>
                <a:gd name="connsiteX5" fmla="*/ 1584621 w 3892534"/>
                <a:gd name="connsiteY5" fmla="*/ 1232549 h 1411420"/>
                <a:gd name="connsiteX6" fmla="*/ 1881860 w 3892534"/>
                <a:gd name="connsiteY6" fmla="*/ 1092415 h 1411420"/>
                <a:gd name="connsiteX7" fmla="*/ 2069939 w 3892534"/>
                <a:gd name="connsiteY7" fmla="*/ 1160654 h 1411420"/>
                <a:gd name="connsiteX8" fmla="*/ 2338605 w 3892534"/>
                <a:gd name="connsiteY8" fmla="*/ 1285763 h 1411420"/>
                <a:gd name="connsiteX9" fmla="*/ 2490859 w 3892534"/>
                <a:gd name="connsiteY9" fmla="*/ 1149282 h 1411420"/>
                <a:gd name="connsiteX10" fmla="*/ 2768487 w 3892534"/>
                <a:gd name="connsiteY10" fmla="*/ 1206147 h 1411420"/>
                <a:gd name="connsiteX11" fmla="*/ 3360418 w 3892534"/>
                <a:gd name="connsiteY11" fmla="*/ 1044031 h 1411420"/>
                <a:gd name="connsiteX12" fmla="*/ 3635487 w 3892534"/>
                <a:gd name="connsiteY12" fmla="*/ 745777 h 1411420"/>
                <a:gd name="connsiteX13" fmla="*/ 3892534 w 3892534"/>
                <a:gd name="connsiteY13" fmla="*/ 166306 h 1411420"/>
                <a:gd name="connsiteX14" fmla="*/ 3277257 w 3892534"/>
                <a:gd name="connsiteY14" fmla="*/ 181656 h 1411420"/>
                <a:gd name="connsiteX15" fmla="*/ 2790063 w 3892534"/>
                <a:gd name="connsiteY15" fmla="*/ 281739 h 1411420"/>
                <a:gd name="connsiteX16" fmla="*/ 2320781 w 3892534"/>
                <a:gd name="connsiteY16" fmla="*/ 204402 h 1411420"/>
                <a:gd name="connsiteX17" fmla="*/ 1581038 w 3892534"/>
                <a:gd name="connsiteY17" fmla="*/ 179379 h 1411420"/>
                <a:gd name="connsiteX18" fmla="*/ 981000 w 3892534"/>
                <a:gd name="connsiteY18" fmla="*/ 88394 h 1411420"/>
                <a:gd name="connsiteX19" fmla="*/ 61263 w 3892534"/>
                <a:gd name="connsiteY19" fmla="*/ 24870 h 1411420"/>
                <a:gd name="connsiteX0" fmla="*/ 61263 w 3635487"/>
                <a:gd name="connsiteY0" fmla="*/ 24870 h 1411420"/>
                <a:gd name="connsiteX1" fmla="*/ 126754 w 3635487"/>
                <a:gd name="connsiteY1" fmla="*/ 531425 h 1411420"/>
                <a:gd name="connsiteX2" fmla="*/ 459363 w 3635487"/>
                <a:gd name="connsiteY2" fmla="*/ 1056279 h 1411420"/>
                <a:gd name="connsiteX3" fmla="*/ 966682 w 3635487"/>
                <a:gd name="connsiteY3" fmla="*/ 1280322 h 1411420"/>
                <a:gd name="connsiteX4" fmla="*/ 1407205 w 3635487"/>
                <a:gd name="connsiteY4" fmla="*/ 1410866 h 1411420"/>
                <a:gd name="connsiteX5" fmla="*/ 1584621 w 3635487"/>
                <a:gd name="connsiteY5" fmla="*/ 1232549 h 1411420"/>
                <a:gd name="connsiteX6" fmla="*/ 1881860 w 3635487"/>
                <a:gd name="connsiteY6" fmla="*/ 1092415 h 1411420"/>
                <a:gd name="connsiteX7" fmla="*/ 2069939 w 3635487"/>
                <a:gd name="connsiteY7" fmla="*/ 1160654 h 1411420"/>
                <a:gd name="connsiteX8" fmla="*/ 2338605 w 3635487"/>
                <a:gd name="connsiteY8" fmla="*/ 1285763 h 1411420"/>
                <a:gd name="connsiteX9" fmla="*/ 2490859 w 3635487"/>
                <a:gd name="connsiteY9" fmla="*/ 1149282 h 1411420"/>
                <a:gd name="connsiteX10" fmla="*/ 2768487 w 3635487"/>
                <a:gd name="connsiteY10" fmla="*/ 1206147 h 1411420"/>
                <a:gd name="connsiteX11" fmla="*/ 3360418 w 3635487"/>
                <a:gd name="connsiteY11" fmla="*/ 1044031 h 1411420"/>
                <a:gd name="connsiteX12" fmla="*/ 3635487 w 3635487"/>
                <a:gd name="connsiteY12" fmla="*/ 745777 h 1411420"/>
                <a:gd name="connsiteX13" fmla="*/ 3585596 w 3635487"/>
                <a:gd name="connsiteY13" fmla="*/ 222686 h 1411420"/>
                <a:gd name="connsiteX14" fmla="*/ 3277257 w 3635487"/>
                <a:gd name="connsiteY14" fmla="*/ 181656 h 1411420"/>
                <a:gd name="connsiteX15" fmla="*/ 2790063 w 3635487"/>
                <a:gd name="connsiteY15" fmla="*/ 281739 h 1411420"/>
                <a:gd name="connsiteX16" fmla="*/ 2320781 w 3635487"/>
                <a:gd name="connsiteY16" fmla="*/ 204402 h 1411420"/>
                <a:gd name="connsiteX17" fmla="*/ 1581038 w 3635487"/>
                <a:gd name="connsiteY17" fmla="*/ 179379 h 1411420"/>
                <a:gd name="connsiteX18" fmla="*/ 981000 w 3635487"/>
                <a:gd name="connsiteY18" fmla="*/ 88394 h 1411420"/>
                <a:gd name="connsiteX19" fmla="*/ 61263 w 3635487"/>
                <a:gd name="connsiteY19" fmla="*/ 24870 h 1411420"/>
                <a:gd name="connsiteX0" fmla="*/ 94360 w 3556971"/>
                <a:gd name="connsiteY0" fmla="*/ 63653 h 1326168"/>
                <a:gd name="connsiteX1" fmla="*/ 48238 w 3556971"/>
                <a:gd name="connsiteY1" fmla="*/ 446173 h 1326168"/>
                <a:gd name="connsiteX2" fmla="*/ 380847 w 3556971"/>
                <a:gd name="connsiteY2" fmla="*/ 971027 h 1326168"/>
                <a:gd name="connsiteX3" fmla="*/ 888166 w 3556971"/>
                <a:gd name="connsiteY3" fmla="*/ 1195070 h 1326168"/>
                <a:gd name="connsiteX4" fmla="*/ 1328689 w 3556971"/>
                <a:gd name="connsiteY4" fmla="*/ 1325614 h 1326168"/>
                <a:gd name="connsiteX5" fmla="*/ 1506105 w 3556971"/>
                <a:gd name="connsiteY5" fmla="*/ 1147297 h 1326168"/>
                <a:gd name="connsiteX6" fmla="*/ 1803344 w 3556971"/>
                <a:gd name="connsiteY6" fmla="*/ 1007163 h 1326168"/>
                <a:gd name="connsiteX7" fmla="*/ 1991423 w 3556971"/>
                <a:gd name="connsiteY7" fmla="*/ 1075402 h 1326168"/>
                <a:gd name="connsiteX8" fmla="*/ 2260089 w 3556971"/>
                <a:gd name="connsiteY8" fmla="*/ 1200511 h 1326168"/>
                <a:gd name="connsiteX9" fmla="*/ 2412343 w 3556971"/>
                <a:gd name="connsiteY9" fmla="*/ 1064030 h 1326168"/>
                <a:gd name="connsiteX10" fmla="*/ 2689971 w 3556971"/>
                <a:gd name="connsiteY10" fmla="*/ 1120895 h 1326168"/>
                <a:gd name="connsiteX11" fmla="*/ 3281902 w 3556971"/>
                <a:gd name="connsiteY11" fmla="*/ 958779 h 1326168"/>
                <a:gd name="connsiteX12" fmla="*/ 3556971 w 3556971"/>
                <a:gd name="connsiteY12" fmla="*/ 660525 h 1326168"/>
                <a:gd name="connsiteX13" fmla="*/ 3507080 w 3556971"/>
                <a:gd name="connsiteY13" fmla="*/ 137434 h 1326168"/>
                <a:gd name="connsiteX14" fmla="*/ 3198741 w 3556971"/>
                <a:gd name="connsiteY14" fmla="*/ 96404 h 1326168"/>
                <a:gd name="connsiteX15" fmla="*/ 2711547 w 3556971"/>
                <a:gd name="connsiteY15" fmla="*/ 196487 h 1326168"/>
                <a:gd name="connsiteX16" fmla="*/ 2242265 w 3556971"/>
                <a:gd name="connsiteY16" fmla="*/ 119150 h 1326168"/>
                <a:gd name="connsiteX17" fmla="*/ 1502522 w 3556971"/>
                <a:gd name="connsiteY17" fmla="*/ 94127 h 1326168"/>
                <a:gd name="connsiteX18" fmla="*/ 902484 w 3556971"/>
                <a:gd name="connsiteY18" fmla="*/ 3142 h 1326168"/>
                <a:gd name="connsiteX19" fmla="*/ 94360 w 3556971"/>
                <a:gd name="connsiteY19" fmla="*/ 63653 h 1326168"/>
                <a:gd name="connsiteX0" fmla="*/ 57946 w 3520557"/>
                <a:gd name="connsiteY0" fmla="*/ 61876 h 1324391"/>
                <a:gd name="connsiteX1" fmla="*/ 95534 w 3520557"/>
                <a:gd name="connsiteY1" fmla="*/ 354189 h 1324391"/>
                <a:gd name="connsiteX2" fmla="*/ 344433 w 3520557"/>
                <a:gd name="connsiteY2" fmla="*/ 969250 h 1324391"/>
                <a:gd name="connsiteX3" fmla="*/ 851752 w 3520557"/>
                <a:gd name="connsiteY3" fmla="*/ 1193293 h 1324391"/>
                <a:gd name="connsiteX4" fmla="*/ 1292275 w 3520557"/>
                <a:gd name="connsiteY4" fmla="*/ 1323837 h 1324391"/>
                <a:gd name="connsiteX5" fmla="*/ 1469691 w 3520557"/>
                <a:gd name="connsiteY5" fmla="*/ 1145520 h 1324391"/>
                <a:gd name="connsiteX6" fmla="*/ 1766930 w 3520557"/>
                <a:gd name="connsiteY6" fmla="*/ 1005386 h 1324391"/>
                <a:gd name="connsiteX7" fmla="*/ 1955009 w 3520557"/>
                <a:gd name="connsiteY7" fmla="*/ 1073625 h 1324391"/>
                <a:gd name="connsiteX8" fmla="*/ 2223675 w 3520557"/>
                <a:gd name="connsiteY8" fmla="*/ 1198734 h 1324391"/>
                <a:gd name="connsiteX9" fmla="*/ 2375929 w 3520557"/>
                <a:gd name="connsiteY9" fmla="*/ 1062253 h 1324391"/>
                <a:gd name="connsiteX10" fmla="*/ 2653557 w 3520557"/>
                <a:gd name="connsiteY10" fmla="*/ 1119118 h 1324391"/>
                <a:gd name="connsiteX11" fmla="*/ 3245488 w 3520557"/>
                <a:gd name="connsiteY11" fmla="*/ 957002 h 1324391"/>
                <a:gd name="connsiteX12" fmla="*/ 3520557 w 3520557"/>
                <a:gd name="connsiteY12" fmla="*/ 658748 h 1324391"/>
                <a:gd name="connsiteX13" fmla="*/ 3470666 w 3520557"/>
                <a:gd name="connsiteY13" fmla="*/ 135657 h 1324391"/>
                <a:gd name="connsiteX14" fmla="*/ 3162327 w 3520557"/>
                <a:gd name="connsiteY14" fmla="*/ 94627 h 1324391"/>
                <a:gd name="connsiteX15" fmla="*/ 2675133 w 3520557"/>
                <a:gd name="connsiteY15" fmla="*/ 194710 h 1324391"/>
                <a:gd name="connsiteX16" fmla="*/ 2205851 w 3520557"/>
                <a:gd name="connsiteY16" fmla="*/ 117373 h 1324391"/>
                <a:gd name="connsiteX17" fmla="*/ 1466108 w 3520557"/>
                <a:gd name="connsiteY17" fmla="*/ 92350 h 1324391"/>
                <a:gd name="connsiteX18" fmla="*/ 866070 w 3520557"/>
                <a:gd name="connsiteY18" fmla="*/ 1365 h 1324391"/>
                <a:gd name="connsiteX19" fmla="*/ 57946 w 3520557"/>
                <a:gd name="connsiteY19" fmla="*/ 61876 h 1324391"/>
                <a:gd name="connsiteX0" fmla="*/ 119984 w 3436101"/>
                <a:gd name="connsiteY0" fmla="*/ 39450 h 1335792"/>
                <a:gd name="connsiteX1" fmla="*/ 11078 w 3436101"/>
                <a:gd name="connsiteY1" fmla="*/ 365590 h 1335792"/>
                <a:gd name="connsiteX2" fmla="*/ 259977 w 3436101"/>
                <a:gd name="connsiteY2" fmla="*/ 980651 h 1335792"/>
                <a:gd name="connsiteX3" fmla="*/ 767296 w 3436101"/>
                <a:gd name="connsiteY3" fmla="*/ 1204694 h 1335792"/>
                <a:gd name="connsiteX4" fmla="*/ 1207819 w 3436101"/>
                <a:gd name="connsiteY4" fmla="*/ 1335238 h 1335792"/>
                <a:gd name="connsiteX5" fmla="*/ 1385235 w 3436101"/>
                <a:gd name="connsiteY5" fmla="*/ 1156921 h 1335792"/>
                <a:gd name="connsiteX6" fmla="*/ 1682474 w 3436101"/>
                <a:gd name="connsiteY6" fmla="*/ 1016787 h 1335792"/>
                <a:gd name="connsiteX7" fmla="*/ 1870553 w 3436101"/>
                <a:gd name="connsiteY7" fmla="*/ 1085026 h 1335792"/>
                <a:gd name="connsiteX8" fmla="*/ 2139219 w 3436101"/>
                <a:gd name="connsiteY8" fmla="*/ 1210135 h 1335792"/>
                <a:gd name="connsiteX9" fmla="*/ 2291473 w 3436101"/>
                <a:gd name="connsiteY9" fmla="*/ 1073654 h 1335792"/>
                <a:gd name="connsiteX10" fmla="*/ 2569101 w 3436101"/>
                <a:gd name="connsiteY10" fmla="*/ 1130519 h 1335792"/>
                <a:gd name="connsiteX11" fmla="*/ 3161032 w 3436101"/>
                <a:gd name="connsiteY11" fmla="*/ 968403 h 1335792"/>
                <a:gd name="connsiteX12" fmla="*/ 3436101 w 3436101"/>
                <a:gd name="connsiteY12" fmla="*/ 670149 h 1335792"/>
                <a:gd name="connsiteX13" fmla="*/ 3386210 w 3436101"/>
                <a:gd name="connsiteY13" fmla="*/ 147058 h 1335792"/>
                <a:gd name="connsiteX14" fmla="*/ 3077871 w 3436101"/>
                <a:gd name="connsiteY14" fmla="*/ 106028 h 1335792"/>
                <a:gd name="connsiteX15" fmla="*/ 2590677 w 3436101"/>
                <a:gd name="connsiteY15" fmla="*/ 206111 h 1335792"/>
                <a:gd name="connsiteX16" fmla="*/ 2121395 w 3436101"/>
                <a:gd name="connsiteY16" fmla="*/ 128774 h 1335792"/>
                <a:gd name="connsiteX17" fmla="*/ 1381652 w 3436101"/>
                <a:gd name="connsiteY17" fmla="*/ 103751 h 1335792"/>
                <a:gd name="connsiteX18" fmla="*/ 781614 w 3436101"/>
                <a:gd name="connsiteY18" fmla="*/ 12766 h 1335792"/>
                <a:gd name="connsiteX19" fmla="*/ 119984 w 3436101"/>
                <a:gd name="connsiteY19" fmla="*/ 39450 h 1335792"/>
                <a:gd name="connsiteX0" fmla="*/ 119984 w 3436101"/>
                <a:gd name="connsiteY0" fmla="*/ 39450 h 2062273"/>
                <a:gd name="connsiteX1" fmla="*/ 11078 w 3436101"/>
                <a:gd name="connsiteY1" fmla="*/ 365590 h 2062273"/>
                <a:gd name="connsiteX2" fmla="*/ 259977 w 3436101"/>
                <a:gd name="connsiteY2" fmla="*/ 980651 h 2062273"/>
                <a:gd name="connsiteX3" fmla="*/ 767296 w 3436101"/>
                <a:gd name="connsiteY3" fmla="*/ 1204694 h 2062273"/>
                <a:gd name="connsiteX4" fmla="*/ 1207819 w 3436101"/>
                <a:gd name="connsiteY4" fmla="*/ 1335238 h 2062273"/>
                <a:gd name="connsiteX5" fmla="*/ 1385235 w 3436101"/>
                <a:gd name="connsiteY5" fmla="*/ 1156921 h 2062273"/>
                <a:gd name="connsiteX6" fmla="*/ 1682474 w 3436101"/>
                <a:gd name="connsiteY6" fmla="*/ 1016787 h 2062273"/>
                <a:gd name="connsiteX7" fmla="*/ 1870553 w 3436101"/>
                <a:gd name="connsiteY7" fmla="*/ 1085026 h 2062273"/>
                <a:gd name="connsiteX8" fmla="*/ 2139219 w 3436101"/>
                <a:gd name="connsiteY8" fmla="*/ 1210135 h 2062273"/>
                <a:gd name="connsiteX9" fmla="*/ 2291473 w 3436101"/>
                <a:gd name="connsiteY9" fmla="*/ 1073654 h 2062273"/>
                <a:gd name="connsiteX10" fmla="*/ 2565728 w 3436101"/>
                <a:gd name="connsiteY10" fmla="*/ 2062006 h 2062273"/>
                <a:gd name="connsiteX11" fmla="*/ 3161032 w 3436101"/>
                <a:gd name="connsiteY11" fmla="*/ 968403 h 2062273"/>
                <a:gd name="connsiteX12" fmla="*/ 3436101 w 3436101"/>
                <a:gd name="connsiteY12" fmla="*/ 670149 h 2062273"/>
                <a:gd name="connsiteX13" fmla="*/ 3386210 w 3436101"/>
                <a:gd name="connsiteY13" fmla="*/ 147058 h 2062273"/>
                <a:gd name="connsiteX14" fmla="*/ 3077871 w 3436101"/>
                <a:gd name="connsiteY14" fmla="*/ 106028 h 2062273"/>
                <a:gd name="connsiteX15" fmla="*/ 2590677 w 3436101"/>
                <a:gd name="connsiteY15" fmla="*/ 206111 h 2062273"/>
                <a:gd name="connsiteX16" fmla="*/ 2121395 w 3436101"/>
                <a:gd name="connsiteY16" fmla="*/ 128774 h 2062273"/>
                <a:gd name="connsiteX17" fmla="*/ 1381652 w 3436101"/>
                <a:gd name="connsiteY17" fmla="*/ 103751 h 2062273"/>
                <a:gd name="connsiteX18" fmla="*/ 781614 w 3436101"/>
                <a:gd name="connsiteY18" fmla="*/ 12766 h 2062273"/>
                <a:gd name="connsiteX19" fmla="*/ 119984 w 3436101"/>
                <a:gd name="connsiteY19" fmla="*/ 39450 h 2062273"/>
                <a:gd name="connsiteX0" fmla="*/ 119984 w 3436101"/>
                <a:gd name="connsiteY0" fmla="*/ 39450 h 2063611"/>
                <a:gd name="connsiteX1" fmla="*/ 11078 w 3436101"/>
                <a:gd name="connsiteY1" fmla="*/ 365590 h 2063611"/>
                <a:gd name="connsiteX2" fmla="*/ 259977 w 3436101"/>
                <a:gd name="connsiteY2" fmla="*/ 980651 h 2063611"/>
                <a:gd name="connsiteX3" fmla="*/ 767296 w 3436101"/>
                <a:gd name="connsiteY3" fmla="*/ 1204694 h 2063611"/>
                <a:gd name="connsiteX4" fmla="*/ 1207819 w 3436101"/>
                <a:gd name="connsiteY4" fmla="*/ 1335238 h 2063611"/>
                <a:gd name="connsiteX5" fmla="*/ 1385235 w 3436101"/>
                <a:gd name="connsiteY5" fmla="*/ 1156921 h 2063611"/>
                <a:gd name="connsiteX6" fmla="*/ 1682474 w 3436101"/>
                <a:gd name="connsiteY6" fmla="*/ 1016787 h 2063611"/>
                <a:gd name="connsiteX7" fmla="*/ 1870553 w 3436101"/>
                <a:gd name="connsiteY7" fmla="*/ 1085026 h 2063611"/>
                <a:gd name="connsiteX8" fmla="*/ 2139219 w 3436101"/>
                <a:gd name="connsiteY8" fmla="*/ 1210135 h 2063611"/>
                <a:gd name="connsiteX9" fmla="*/ 2565728 w 3436101"/>
                <a:gd name="connsiteY9" fmla="*/ 2062006 h 2063611"/>
                <a:gd name="connsiteX10" fmla="*/ 3161032 w 3436101"/>
                <a:gd name="connsiteY10" fmla="*/ 968403 h 2063611"/>
                <a:gd name="connsiteX11" fmla="*/ 3436101 w 3436101"/>
                <a:gd name="connsiteY11" fmla="*/ 670149 h 2063611"/>
                <a:gd name="connsiteX12" fmla="*/ 3386210 w 3436101"/>
                <a:gd name="connsiteY12" fmla="*/ 147058 h 2063611"/>
                <a:gd name="connsiteX13" fmla="*/ 3077871 w 3436101"/>
                <a:gd name="connsiteY13" fmla="*/ 106028 h 2063611"/>
                <a:gd name="connsiteX14" fmla="*/ 2590677 w 3436101"/>
                <a:gd name="connsiteY14" fmla="*/ 206111 h 2063611"/>
                <a:gd name="connsiteX15" fmla="*/ 2121395 w 3436101"/>
                <a:gd name="connsiteY15" fmla="*/ 128774 h 2063611"/>
                <a:gd name="connsiteX16" fmla="*/ 1381652 w 3436101"/>
                <a:gd name="connsiteY16" fmla="*/ 103751 h 2063611"/>
                <a:gd name="connsiteX17" fmla="*/ 781614 w 3436101"/>
                <a:gd name="connsiteY17" fmla="*/ 12766 h 2063611"/>
                <a:gd name="connsiteX18" fmla="*/ 119984 w 3436101"/>
                <a:gd name="connsiteY18" fmla="*/ 39450 h 2063611"/>
                <a:gd name="connsiteX0" fmla="*/ 119984 w 3436101"/>
                <a:gd name="connsiteY0" fmla="*/ 39450 h 2063611"/>
                <a:gd name="connsiteX1" fmla="*/ 11078 w 3436101"/>
                <a:gd name="connsiteY1" fmla="*/ 365590 h 2063611"/>
                <a:gd name="connsiteX2" fmla="*/ 259977 w 3436101"/>
                <a:gd name="connsiteY2" fmla="*/ 980651 h 2063611"/>
                <a:gd name="connsiteX3" fmla="*/ 767296 w 3436101"/>
                <a:gd name="connsiteY3" fmla="*/ 1204694 h 2063611"/>
                <a:gd name="connsiteX4" fmla="*/ 1207819 w 3436101"/>
                <a:gd name="connsiteY4" fmla="*/ 1335238 h 2063611"/>
                <a:gd name="connsiteX5" fmla="*/ 1385235 w 3436101"/>
                <a:gd name="connsiteY5" fmla="*/ 1156921 h 2063611"/>
                <a:gd name="connsiteX6" fmla="*/ 1682474 w 3436101"/>
                <a:gd name="connsiteY6" fmla="*/ 1016787 h 2063611"/>
                <a:gd name="connsiteX7" fmla="*/ 1870553 w 3436101"/>
                <a:gd name="connsiteY7" fmla="*/ 1085026 h 2063611"/>
                <a:gd name="connsiteX8" fmla="*/ 2139219 w 3436101"/>
                <a:gd name="connsiteY8" fmla="*/ 1210135 h 2063611"/>
                <a:gd name="connsiteX9" fmla="*/ 2565728 w 3436101"/>
                <a:gd name="connsiteY9" fmla="*/ 2062006 h 2063611"/>
                <a:gd name="connsiteX10" fmla="*/ 3436101 w 3436101"/>
                <a:gd name="connsiteY10" fmla="*/ 670149 h 2063611"/>
                <a:gd name="connsiteX11" fmla="*/ 3386210 w 3436101"/>
                <a:gd name="connsiteY11" fmla="*/ 147058 h 2063611"/>
                <a:gd name="connsiteX12" fmla="*/ 3077871 w 3436101"/>
                <a:gd name="connsiteY12" fmla="*/ 106028 h 2063611"/>
                <a:gd name="connsiteX13" fmla="*/ 2590677 w 3436101"/>
                <a:gd name="connsiteY13" fmla="*/ 206111 h 2063611"/>
                <a:gd name="connsiteX14" fmla="*/ 2121395 w 3436101"/>
                <a:gd name="connsiteY14" fmla="*/ 128774 h 2063611"/>
                <a:gd name="connsiteX15" fmla="*/ 1381652 w 3436101"/>
                <a:gd name="connsiteY15" fmla="*/ 103751 h 2063611"/>
                <a:gd name="connsiteX16" fmla="*/ 781614 w 3436101"/>
                <a:gd name="connsiteY16" fmla="*/ 12766 h 2063611"/>
                <a:gd name="connsiteX17" fmla="*/ 119984 w 3436101"/>
                <a:gd name="connsiteY17" fmla="*/ 39450 h 2063611"/>
                <a:gd name="connsiteX0" fmla="*/ 119984 w 3421698"/>
                <a:gd name="connsiteY0" fmla="*/ 39450 h 2091440"/>
                <a:gd name="connsiteX1" fmla="*/ 11078 w 3421698"/>
                <a:gd name="connsiteY1" fmla="*/ 365590 h 2091440"/>
                <a:gd name="connsiteX2" fmla="*/ 259977 w 3421698"/>
                <a:gd name="connsiteY2" fmla="*/ 980651 h 2091440"/>
                <a:gd name="connsiteX3" fmla="*/ 767296 w 3421698"/>
                <a:gd name="connsiteY3" fmla="*/ 1204694 h 2091440"/>
                <a:gd name="connsiteX4" fmla="*/ 1207819 w 3421698"/>
                <a:gd name="connsiteY4" fmla="*/ 1335238 h 2091440"/>
                <a:gd name="connsiteX5" fmla="*/ 1385235 w 3421698"/>
                <a:gd name="connsiteY5" fmla="*/ 1156921 h 2091440"/>
                <a:gd name="connsiteX6" fmla="*/ 1682474 w 3421698"/>
                <a:gd name="connsiteY6" fmla="*/ 1016787 h 2091440"/>
                <a:gd name="connsiteX7" fmla="*/ 1870553 w 3421698"/>
                <a:gd name="connsiteY7" fmla="*/ 1085026 h 2091440"/>
                <a:gd name="connsiteX8" fmla="*/ 2139219 w 3421698"/>
                <a:gd name="connsiteY8" fmla="*/ 1210135 h 2091440"/>
                <a:gd name="connsiteX9" fmla="*/ 2565728 w 3421698"/>
                <a:gd name="connsiteY9" fmla="*/ 2062006 h 2091440"/>
                <a:gd name="connsiteX10" fmla="*/ 3297873 w 3421698"/>
                <a:gd name="connsiteY10" fmla="*/ 1727969 h 2091440"/>
                <a:gd name="connsiteX11" fmla="*/ 3386210 w 3421698"/>
                <a:gd name="connsiteY11" fmla="*/ 147058 h 2091440"/>
                <a:gd name="connsiteX12" fmla="*/ 3077871 w 3421698"/>
                <a:gd name="connsiteY12" fmla="*/ 106028 h 2091440"/>
                <a:gd name="connsiteX13" fmla="*/ 2590677 w 3421698"/>
                <a:gd name="connsiteY13" fmla="*/ 206111 h 2091440"/>
                <a:gd name="connsiteX14" fmla="*/ 2121395 w 3421698"/>
                <a:gd name="connsiteY14" fmla="*/ 128774 h 2091440"/>
                <a:gd name="connsiteX15" fmla="*/ 1381652 w 3421698"/>
                <a:gd name="connsiteY15" fmla="*/ 103751 h 2091440"/>
                <a:gd name="connsiteX16" fmla="*/ 781614 w 3421698"/>
                <a:gd name="connsiteY16" fmla="*/ 12766 h 2091440"/>
                <a:gd name="connsiteX17" fmla="*/ 119984 w 3421698"/>
                <a:gd name="connsiteY17" fmla="*/ 39450 h 2091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421698" h="2091440">
                  <a:moveTo>
                    <a:pt x="119984" y="39450"/>
                  </a:moveTo>
                  <a:cubicBezTo>
                    <a:pt x="-8439" y="98254"/>
                    <a:pt x="-12254" y="208723"/>
                    <a:pt x="11078" y="365590"/>
                  </a:cubicBezTo>
                  <a:cubicBezTo>
                    <a:pt x="34410" y="522457"/>
                    <a:pt x="133941" y="840800"/>
                    <a:pt x="259977" y="980651"/>
                  </a:cubicBezTo>
                  <a:cubicBezTo>
                    <a:pt x="386013" y="1120502"/>
                    <a:pt x="609322" y="1145596"/>
                    <a:pt x="767296" y="1204694"/>
                  </a:cubicBezTo>
                  <a:cubicBezTo>
                    <a:pt x="925270" y="1263792"/>
                    <a:pt x="1104829" y="1343200"/>
                    <a:pt x="1207819" y="1335238"/>
                  </a:cubicBezTo>
                  <a:cubicBezTo>
                    <a:pt x="1310809" y="1327276"/>
                    <a:pt x="1306126" y="1209996"/>
                    <a:pt x="1385235" y="1156921"/>
                  </a:cubicBezTo>
                  <a:cubicBezTo>
                    <a:pt x="1464344" y="1103846"/>
                    <a:pt x="1601588" y="1028769"/>
                    <a:pt x="1682474" y="1016787"/>
                  </a:cubicBezTo>
                  <a:cubicBezTo>
                    <a:pt x="1763360" y="1004805"/>
                    <a:pt x="1794429" y="1069862"/>
                    <a:pt x="1870553" y="1085026"/>
                  </a:cubicBezTo>
                  <a:cubicBezTo>
                    <a:pt x="1946677" y="1100191"/>
                    <a:pt x="2023357" y="1047305"/>
                    <a:pt x="2139219" y="1210135"/>
                  </a:cubicBezTo>
                  <a:cubicBezTo>
                    <a:pt x="2255081" y="1372965"/>
                    <a:pt x="2372619" y="1975700"/>
                    <a:pt x="2565728" y="2062006"/>
                  </a:cubicBezTo>
                  <a:cubicBezTo>
                    <a:pt x="2758837" y="2148312"/>
                    <a:pt x="3161126" y="2047127"/>
                    <a:pt x="3297873" y="1727969"/>
                  </a:cubicBezTo>
                  <a:lnTo>
                    <a:pt x="3386210" y="147058"/>
                  </a:lnTo>
                  <a:cubicBezTo>
                    <a:pt x="3289934" y="72761"/>
                    <a:pt x="3677026" y="123414"/>
                    <a:pt x="3077871" y="106028"/>
                  </a:cubicBezTo>
                  <a:cubicBezTo>
                    <a:pt x="2867259" y="170760"/>
                    <a:pt x="2909204" y="102234"/>
                    <a:pt x="2590677" y="206111"/>
                  </a:cubicBezTo>
                  <a:cubicBezTo>
                    <a:pt x="2431264" y="209902"/>
                    <a:pt x="2322899" y="145834"/>
                    <a:pt x="2121395" y="128774"/>
                  </a:cubicBezTo>
                  <a:cubicBezTo>
                    <a:pt x="1919891" y="111714"/>
                    <a:pt x="1604949" y="123086"/>
                    <a:pt x="1381652" y="103751"/>
                  </a:cubicBezTo>
                  <a:cubicBezTo>
                    <a:pt x="1158355" y="84416"/>
                    <a:pt x="991892" y="23483"/>
                    <a:pt x="781614" y="12766"/>
                  </a:cubicBezTo>
                  <a:cubicBezTo>
                    <a:pt x="571336" y="2049"/>
                    <a:pt x="248407" y="-19354"/>
                    <a:pt x="119984" y="39450"/>
                  </a:cubicBezTo>
                  <a:close/>
                </a:path>
              </a:pathLst>
            </a:custGeom>
            <a:solidFill>
              <a:srgbClr val="E3D16D">
                <a:alpha val="80000"/>
              </a:srgbClr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600"/>
            </a:p>
          </p:txBody>
        </p:sp>
        <p:sp>
          <p:nvSpPr>
            <p:cNvPr id="3371" name="!!mucus">
              <a:extLst>
                <a:ext uri="{FF2B5EF4-FFF2-40B4-BE49-F238E27FC236}">
                  <a16:creationId xmlns:a16="http://schemas.microsoft.com/office/drawing/2014/main" id="{DB4D3553-D7EF-0EF6-D461-2E4B06946CC5}"/>
                </a:ext>
              </a:extLst>
            </p:cNvPr>
            <p:cNvSpPr/>
            <p:nvPr/>
          </p:nvSpPr>
          <p:spPr>
            <a:xfrm rot="10800000">
              <a:off x="1317396" y="4573477"/>
              <a:ext cx="508148" cy="152400"/>
            </a:xfrm>
            <a:custGeom>
              <a:avLst/>
              <a:gdLst>
                <a:gd name="connsiteX0" fmla="*/ 0 w 11280654"/>
                <a:gd name="connsiteY0" fmla="*/ 91352 h 1986246"/>
                <a:gd name="connsiteX1" fmla="*/ 10868 w 11280654"/>
                <a:gd name="connsiteY1" fmla="*/ 745642 h 1986246"/>
                <a:gd name="connsiteX2" fmla="*/ 260587 w 11280654"/>
                <a:gd name="connsiteY2" fmla="*/ 915580 h 1986246"/>
                <a:gd name="connsiteX3" fmla="*/ 282300 w 11280654"/>
                <a:gd name="connsiteY3" fmla="*/ 1077031 h 1986246"/>
                <a:gd name="connsiteX4" fmla="*/ 510305 w 11280654"/>
                <a:gd name="connsiteY4" fmla="*/ 1416926 h 1986246"/>
                <a:gd name="connsiteX5" fmla="*/ 640587 w 11280654"/>
                <a:gd name="connsiteY5" fmla="*/ 1595370 h 1986246"/>
                <a:gd name="connsiteX6" fmla="*/ 694882 w 11280654"/>
                <a:gd name="connsiteY6" fmla="*/ 1790808 h 1986246"/>
                <a:gd name="connsiteX7" fmla="*/ 857746 w 11280654"/>
                <a:gd name="connsiteY7" fmla="*/ 1986246 h 1986246"/>
                <a:gd name="connsiteX8" fmla="*/ 1020610 w 11280654"/>
                <a:gd name="connsiteY8" fmla="*/ 1858784 h 1986246"/>
                <a:gd name="connsiteX9" fmla="*/ 1042324 w 11280654"/>
                <a:gd name="connsiteY9" fmla="*/ 1595370 h 1986246"/>
                <a:gd name="connsiteX10" fmla="*/ 1194319 w 11280654"/>
                <a:gd name="connsiteY10" fmla="*/ 1510401 h 1986246"/>
                <a:gd name="connsiteX11" fmla="*/ 1302887 w 11280654"/>
                <a:gd name="connsiteY11" fmla="*/ 1229994 h 1986246"/>
                <a:gd name="connsiteX12" fmla="*/ 1411455 w 11280654"/>
                <a:gd name="connsiteY12" fmla="*/ 873105 h 1986246"/>
                <a:gd name="connsiteX13" fmla="*/ 1563450 w 11280654"/>
                <a:gd name="connsiteY13" fmla="*/ 737154 h 1986246"/>
                <a:gd name="connsiteX14" fmla="*/ 1867441 w 11280654"/>
                <a:gd name="connsiteY14" fmla="*/ 737154 h 1986246"/>
                <a:gd name="connsiteX15" fmla="*/ 2442864 w 11280654"/>
                <a:gd name="connsiteY15" fmla="*/ 754148 h 1986246"/>
                <a:gd name="connsiteX16" fmla="*/ 3582863 w 11280654"/>
                <a:gd name="connsiteY16" fmla="*/ 754148 h 1986246"/>
                <a:gd name="connsiteX17" fmla="*/ 4277722 w 11280654"/>
                <a:gd name="connsiteY17" fmla="*/ 788136 h 1986246"/>
                <a:gd name="connsiteX18" fmla="*/ 4733732 w 11280654"/>
                <a:gd name="connsiteY18" fmla="*/ 728648 h 1986246"/>
                <a:gd name="connsiteX19" fmla="*/ 5211454 w 11280654"/>
                <a:gd name="connsiteY19" fmla="*/ 728648 h 1986246"/>
                <a:gd name="connsiteX20" fmla="*/ 5982323 w 11280654"/>
                <a:gd name="connsiteY20" fmla="*/ 771142 h 1986246"/>
                <a:gd name="connsiteX21" fmla="*/ 6861759 w 11280654"/>
                <a:gd name="connsiteY21" fmla="*/ 754148 h 1986246"/>
                <a:gd name="connsiteX22" fmla="*/ 7491477 w 11280654"/>
                <a:gd name="connsiteY22" fmla="*/ 762654 h 1986246"/>
                <a:gd name="connsiteX23" fmla="*/ 8327487 w 11280654"/>
                <a:gd name="connsiteY23" fmla="*/ 762654 h 1986246"/>
                <a:gd name="connsiteX24" fmla="*/ 9391500 w 11280654"/>
                <a:gd name="connsiteY24" fmla="*/ 788154 h 1986246"/>
                <a:gd name="connsiteX25" fmla="*/ 10140655 w 11280654"/>
                <a:gd name="connsiteY25" fmla="*/ 779648 h 1986246"/>
                <a:gd name="connsiteX26" fmla="*/ 10672650 w 11280654"/>
                <a:gd name="connsiteY26" fmla="*/ 771142 h 1986246"/>
                <a:gd name="connsiteX27" fmla="*/ 11150373 w 11280654"/>
                <a:gd name="connsiteY27" fmla="*/ 737154 h 1986246"/>
                <a:gd name="connsiteX28" fmla="*/ 11280654 w 11280654"/>
                <a:gd name="connsiteY28" fmla="*/ 754148 h 1986246"/>
                <a:gd name="connsiteX29" fmla="*/ 11280654 w 11280654"/>
                <a:gd name="connsiteY29" fmla="*/ 133791 h 1986246"/>
                <a:gd name="connsiteX30" fmla="*/ 11096078 w 11280654"/>
                <a:gd name="connsiteY30" fmla="*/ 65870 h 1986246"/>
                <a:gd name="connsiteX31" fmla="*/ 10281782 w 11280654"/>
                <a:gd name="connsiteY31" fmla="*/ 14889 h 1986246"/>
                <a:gd name="connsiteX32" fmla="*/ 9695491 w 11280654"/>
                <a:gd name="connsiteY32" fmla="*/ 108364 h 1986246"/>
                <a:gd name="connsiteX33" fmla="*/ 8794341 w 11280654"/>
                <a:gd name="connsiteY33" fmla="*/ 201839 h 1986246"/>
                <a:gd name="connsiteX34" fmla="*/ 7828050 w 11280654"/>
                <a:gd name="connsiteY34" fmla="*/ 201839 h 1986246"/>
                <a:gd name="connsiteX35" fmla="*/ 6101760 w 11280654"/>
                <a:gd name="connsiteY35" fmla="*/ 193333 h 1986246"/>
                <a:gd name="connsiteX36" fmla="*/ 5016032 w 11280654"/>
                <a:gd name="connsiteY36" fmla="*/ 65870 h 1986246"/>
                <a:gd name="connsiteX37" fmla="*/ 3224600 w 11280654"/>
                <a:gd name="connsiteY37" fmla="*/ 57364 h 1986246"/>
                <a:gd name="connsiteX38" fmla="*/ 2171455 w 11280654"/>
                <a:gd name="connsiteY38" fmla="*/ 82864 h 1986246"/>
                <a:gd name="connsiteX39" fmla="*/ 760023 w 11280654"/>
                <a:gd name="connsiteY39" fmla="*/ 116852 h 1986246"/>
                <a:gd name="connsiteX40" fmla="*/ 0 w 11280654"/>
                <a:gd name="connsiteY40" fmla="*/ 91352 h 1986246"/>
                <a:gd name="connsiteX0" fmla="*/ 0 w 11280654"/>
                <a:gd name="connsiteY0" fmla="*/ 91352 h 1994638"/>
                <a:gd name="connsiteX1" fmla="*/ 10868 w 11280654"/>
                <a:gd name="connsiteY1" fmla="*/ 745642 h 1994638"/>
                <a:gd name="connsiteX2" fmla="*/ 260587 w 11280654"/>
                <a:gd name="connsiteY2" fmla="*/ 915580 h 1994638"/>
                <a:gd name="connsiteX3" fmla="*/ 282300 w 11280654"/>
                <a:gd name="connsiteY3" fmla="*/ 1077031 h 1994638"/>
                <a:gd name="connsiteX4" fmla="*/ 510305 w 11280654"/>
                <a:gd name="connsiteY4" fmla="*/ 1416926 h 1994638"/>
                <a:gd name="connsiteX5" fmla="*/ 640587 w 11280654"/>
                <a:gd name="connsiteY5" fmla="*/ 1595370 h 1994638"/>
                <a:gd name="connsiteX6" fmla="*/ 694882 w 11280654"/>
                <a:gd name="connsiteY6" fmla="*/ 1790808 h 1994638"/>
                <a:gd name="connsiteX7" fmla="*/ 857746 w 11280654"/>
                <a:gd name="connsiteY7" fmla="*/ 1986246 h 1994638"/>
                <a:gd name="connsiteX8" fmla="*/ 1020610 w 11280654"/>
                <a:gd name="connsiteY8" fmla="*/ 1858784 h 1994638"/>
                <a:gd name="connsiteX9" fmla="*/ 1042324 w 11280654"/>
                <a:gd name="connsiteY9" fmla="*/ 1595370 h 1994638"/>
                <a:gd name="connsiteX10" fmla="*/ 1194319 w 11280654"/>
                <a:gd name="connsiteY10" fmla="*/ 1510401 h 1994638"/>
                <a:gd name="connsiteX11" fmla="*/ 1302887 w 11280654"/>
                <a:gd name="connsiteY11" fmla="*/ 1229994 h 1994638"/>
                <a:gd name="connsiteX12" fmla="*/ 1411455 w 11280654"/>
                <a:gd name="connsiteY12" fmla="*/ 873105 h 1994638"/>
                <a:gd name="connsiteX13" fmla="*/ 1563450 w 11280654"/>
                <a:gd name="connsiteY13" fmla="*/ 737154 h 1994638"/>
                <a:gd name="connsiteX14" fmla="*/ 1867441 w 11280654"/>
                <a:gd name="connsiteY14" fmla="*/ 737154 h 1994638"/>
                <a:gd name="connsiteX15" fmla="*/ 2442864 w 11280654"/>
                <a:gd name="connsiteY15" fmla="*/ 754148 h 1994638"/>
                <a:gd name="connsiteX16" fmla="*/ 3582863 w 11280654"/>
                <a:gd name="connsiteY16" fmla="*/ 754148 h 1994638"/>
                <a:gd name="connsiteX17" fmla="*/ 4277722 w 11280654"/>
                <a:gd name="connsiteY17" fmla="*/ 788136 h 1994638"/>
                <a:gd name="connsiteX18" fmla="*/ 4733732 w 11280654"/>
                <a:gd name="connsiteY18" fmla="*/ 728648 h 1994638"/>
                <a:gd name="connsiteX19" fmla="*/ 5211454 w 11280654"/>
                <a:gd name="connsiteY19" fmla="*/ 728648 h 1994638"/>
                <a:gd name="connsiteX20" fmla="*/ 5982323 w 11280654"/>
                <a:gd name="connsiteY20" fmla="*/ 771142 h 1994638"/>
                <a:gd name="connsiteX21" fmla="*/ 6861759 w 11280654"/>
                <a:gd name="connsiteY21" fmla="*/ 754148 h 1994638"/>
                <a:gd name="connsiteX22" fmla="*/ 7491477 w 11280654"/>
                <a:gd name="connsiteY22" fmla="*/ 762654 h 1994638"/>
                <a:gd name="connsiteX23" fmla="*/ 8327487 w 11280654"/>
                <a:gd name="connsiteY23" fmla="*/ 762654 h 1994638"/>
                <a:gd name="connsiteX24" fmla="*/ 9391500 w 11280654"/>
                <a:gd name="connsiteY24" fmla="*/ 788154 h 1994638"/>
                <a:gd name="connsiteX25" fmla="*/ 10140655 w 11280654"/>
                <a:gd name="connsiteY25" fmla="*/ 779648 h 1994638"/>
                <a:gd name="connsiteX26" fmla="*/ 10672650 w 11280654"/>
                <a:gd name="connsiteY26" fmla="*/ 771142 h 1994638"/>
                <a:gd name="connsiteX27" fmla="*/ 11150373 w 11280654"/>
                <a:gd name="connsiteY27" fmla="*/ 737154 h 1994638"/>
                <a:gd name="connsiteX28" fmla="*/ 11280654 w 11280654"/>
                <a:gd name="connsiteY28" fmla="*/ 754148 h 1994638"/>
                <a:gd name="connsiteX29" fmla="*/ 11280654 w 11280654"/>
                <a:gd name="connsiteY29" fmla="*/ 133791 h 1994638"/>
                <a:gd name="connsiteX30" fmla="*/ 11096078 w 11280654"/>
                <a:gd name="connsiteY30" fmla="*/ 65870 h 1994638"/>
                <a:gd name="connsiteX31" fmla="*/ 10281782 w 11280654"/>
                <a:gd name="connsiteY31" fmla="*/ 14889 h 1994638"/>
                <a:gd name="connsiteX32" fmla="*/ 9695491 w 11280654"/>
                <a:gd name="connsiteY32" fmla="*/ 108364 h 1994638"/>
                <a:gd name="connsiteX33" fmla="*/ 8794341 w 11280654"/>
                <a:gd name="connsiteY33" fmla="*/ 201839 h 1994638"/>
                <a:gd name="connsiteX34" fmla="*/ 7828050 w 11280654"/>
                <a:gd name="connsiteY34" fmla="*/ 201839 h 1994638"/>
                <a:gd name="connsiteX35" fmla="*/ 6101760 w 11280654"/>
                <a:gd name="connsiteY35" fmla="*/ 193333 h 1994638"/>
                <a:gd name="connsiteX36" fmla="*/ 5016032 w 11280654"/>
                <a:gd name="connsiteY36" fmla="*/ 65870 h 1994638"/>
                <a:gd name="connsiteX37" fmla="*/ 3224600 w 11280654"/>
                <a:gd name="connsiteY37" fmla="*/ 57364 h 1994638"/>
                <a:gd name="connsiteX38" fmla="*/ 2171455 w 11280654"/>
                <a:gd name="connsiteY38" fmla="*/ 82864 h 1994638"/>
                <a:gd name="connsiteX39" fmla="*/ 760023 w 11280654"/>
                <a:gd name="connsiteY39" fmla="*/ 116852 h 1994638"/>
                <a:gd name="connsiteX40" fmla="*/ 0 w 11280654"/>
                <a:gd name="connsiteY40" fmla="*/ 91352 h 1994638"/>
                <a:gd name="connsiteX0" fmla="*/ 2673914 w 11269790"/>
                <a:gd name="connsiteY0" fmla="*/ 66415 h 1994638"/>
                <a:gd name="connsiteX1" fmla="*/ 4 w 11269790"/>
                <a:gd name="connsiteY1" fmla="*/ 745642 h 1994638"/>
                <a:gd name="connsiteX2" fmla="*/ 249723 w 11269790"/>
                <a:gd name="connsiteY2" fmla="*/ 915580 h 1994638"/>
                <a:gd name="connsiteX3" fmla="*/ 271436 w 11269790"/>
                <a:gd name="connsiteY3" fmla="*/ 1077031 h 1994638"/>
                <a:gd name="connsiteX4" fmla="*/ 499441 w 11269790"/>
                <a:gd name="connsiteY4" fmla="*/ 1416926 h 1994638"/>
                <a:gd name="connsiteX5" fmla="*/ 629723 w 11269790"/>
                <a:gd name="connsiteY5" fmla="*/ 1595370 h 1994638"/>
                <a:gd name="connsiteX6" fmla="*/ 684018 w 11269790"/>
                <a:gd name="connsiteY6" fmla="*/ 1790808 h 1994638"/>
                <a:gd name="connsiteX7" fmla="*/ 846882 w 11269790"/>
                <a:gd name="connsiteY7" fmla="*/ 1986246 h 1994638"/>
                <a:gd name="connsiteX8" fmla="*/ 1009746 w 11269790"/>
                <a:gd name="connsiteY8" fmla="*/ 1858784 h 1994638"/>
                <a:gd name="connsiteX9" fmla="*/ 1031460 w 11269790"/>
                <a:gd name="connsiteY9" fmla="*/ 1595370 h 1994638"/>
                <a:gd name="connsiteX10" fmla="*/ 1183455 w 11269790"/>
                <a:gd name="connsiteY10" fmla="*/ 1510401 h 1994638"/>
                <a:gd name="connsiteX11" fmla="*/ 1292023 w 11269790"/>
                <a:gd name="connsiteY11" fmla="*/ 1229994 h 1994638"/>
                <a:gd name="connsiteX12" fmla="*/ 1400591 w 11269790"/>
                <a:gd name="connsiteY12" fmla="*/ 873105 h 1994638"/>
                <a:gd name="connsiteX13" fmla="*/ 1552586 w 11269790"/>
                <a:gd name="connsiteY13" fmla="*/ 737154 h 1994638"/>
                <a:gd name="connsiteX14" fmla="*/ 1856577 w 11269790"/>
                <a:gd name="connsiteY14" fmla="*/ 737154 h 1994638"/>
                <a:gd name="connsiteX15" fmla="*/ 2432000 w 11269790"/>
                <a:gd name="connsiteY15" fmla="*/ 754148 h 1994638"/>
                <a:gd name="connsiteX16" fmla="*/ 3571999 w 11269790"/>
                <a:gd name="connsiteY16" fmla="*/ 754148 h 1994638"/>
                <a:gd name="connsiteX17" fmla="*/ 4266858 w 11269790"/>
                <a:gd name="connsiteY17" fmla="*/ 788136 h 1994638"/>
                <a:gd name="connsiteX18" fmla="*/ 4722868 w 11269790"/>
                <a:gd name="connsiteY18" fmla="*/ 728648 h 1994638"/>
                <a:gd name="connsiteX19" fmla="*/ 5200590 w 11269790"/>
                <a:gd name="connsiteY19" fmla="*/ 728648 h 1994638"/>
                <a:gd name="connsiteX20" fmla="*/ 5971459 w 11269790"/>
                <a:gd name="connsiteY20" fmla="*/ 771142 h 1994638"/>
                <a:gd name="connsiteX21" fmla="*/ 6850895 w 11269790"/>
                <a:gd name="connsiteY21" fmla="*/ 754148 h 1994638"/>
                <a:gd name="connsiteX22" fmla="*/ 7480613 w 11269790"/>
                <a:gd name="connsiteY22" fmla="*/ 762654 h 1994638"/>
                <a:gd name="connsiteX23" fmla="*/ 8316623 w 11269790"/>
                <a:gd name="connsiteY23" fmla="*/ 762654 h 1994638"/>
                <a:gd name="connsiteX24" fmla="*/ 9380636 w 11269790"/>
                <a:gd name="connsiteY24" fmla="*/ 788154 h 1994638"/>
                <a:gd name="connsiteX25" fmla="*/ 10129791 w 11269790"/>
                <a:gd name="connsiteY25" fmla="*/ 779648 h 1994638"/>
                <a:gd name="connsiteX26" fmla="*/ 10661786 w 11269790"/>
                <a:gd name="connsiteY26" fmla="*/ 771142 h 1994638"/>
                <a:gd name="connsiteX27" fmla="*/ 11139509 w 11269790"/>
                <a:gd name="connsiteY27" fmla="*/ 737154 h 1994638"/>
                <a:gd name="connsiteX28" fmla="*/ 11269790 w 11269790"/>
                <a:gd name="connsiteY28" fmla="*/ 754148 h 1994638"/>
                <a:gd name="connsiteX29" fmla="*/ 11269790 w 11269790"/>
                <a:gd name="connsiteY29" fmla="*/ 133791 h 1994638"/>
                <a:gd name="connsiteX30" fmla="*/ 11085214 w 11269790"/>
                <a:gd name="connsiteY30" fmla="*/ 65870 h 1994638"/>
                <a:gd name="connsiteX31" fmla="*/ 10270918 w 11269790"/>
                <a:gd name="connsiteY31" fmla="*/ 14889 h 1994638"/>
                <a:gd name="connsiteX32" fmla="*/ 9684627 w 11269790"/>
                <a:gd name="connsiteY32" fmla="*/ 108364 h 1994638"/>
                <a:gd name="connsiteX33" fmla="*/ 8783477 w 11269790"/>
                <a:gd name="connsiteY33" fmla="*/ 201839 h 1994638"/>
                <a:gd name="connsiteX34" fmla="*/ 7817186 w 11269790"/>
                <a:gd name="connsiteY34" fmla="*/ 201839 h 1994638"/>
                <a:gd name="connsiteX35" fmla="*/ 6090896 w 11269790"/>
                <a:gd name="connsiteY35" fmla="*/ 193333 h 1994638"/>
                <a:gd name="connsiteX36" fmla="*/ 5005168 w 11269790"/>
                <a:gd name="connsiteY36" fmla="*/ 65870 h 1994638"/>
                <a:gd name="connsiteX37" fmla="*/ 3213736 w 11269790"/>
                <a:gd name="connsiteY37" fmla="*/ 57364 h 1994638"/>
                <a:gd name="connsiteX38" fmla="*/ 2160591 w 11269790"/>
                <a:gd name="connsiteY38" fmla="*/ 82864 h 1994638"/>
                <a:gd name="connsiteX39" fmla="*/ 749159 w 11269790"/>
                <a:gd name="connsiteY39" fmla="*/ 116852 h 1994638"/>
                <a:gd name="connsiteX40" fmla="*/ 2673914 w 11269790"/>
                <a:gd name="connsiteY40" fmla="*/ 66415 h 1994638"/>
                <a:gd name="connsiteX0" fmla="*/ 2673914 w 11269790"/>
                <a:gd name="connsiteY0" fmla="*/ 66415 h 1994638"/>
                <a:gd name="connsiteX1" fmla="*/ 4 w 11269790"/>
                <a:gd name="connsiteY1" fmla="*/ 745642 h 1994638"/>
                <a:gd name="connsiteX2" fmla="*/ 249723 w 11269790"/>
                <a:gd name="connsiteY2" fmla="*/ 915580 h 1994638"/>
                <a:gd name="connsiteX3" fmla="*/ 271436 w 11269790"/>
                <a:gd name="connsiteY3" fmla="*/ 1077031 h 1994638"/>
                <a:gd name="connsiteX4" fmla="*/ 499441 w 11269790"/>
                <a:gd name="connsiteY4" fmla="*/ 1416926 h 1994638"/>
                <a:gd name="connsiteX5" fmla="*/ 629723 w 11269790"/>
                <a:gd name="connsiteY5" fmla="*/ 1595370 h 1994638"/>
                <a:gd name="connsiteX6" fmla="*/ 684018 w 11269790"/>
                <a:gd name="connsiteY6" fmla="*/ 1790808 h 1994638"/>
                <a:gd name="connsiteX7" fmla="*/ 846882 w 11269790"/>
                <a:gd name="connsiteY7" fmla="*/ 1986246 h 1994638"/>
                <a:gd name="connsiteX8" fmla="*/ 1009746 w 11269790"/>
                <a:gd name="connsiteY8" fmla="*/ 1858784 h 1994638"/>
                <a:gd name="connsiteX9" fmla="*/ 1031460 w 11269790"/>
                <a:gd name="connsiteY9" fmla="*/ 1595370 h 1994638"/>
                <a:gd name="connsiteX10" fmla="*/ 1183455 w 11269790"/>
                <a:gd name="connsiteY10" fmla="*/ 1510401 h 1994638"/>
                <a:gd name="connsiteX11" fmla="*/ 1292023 w 11269790"/>
                <a:gd name="connsiteY11" fmla="*/ 1229994 h 1994638"/>
                <a:gd name="connsiteX12" fmla="*/ 1400591 w 11269790"/>
                <a:gd name="connsiteY12" fmla="*/ 873105 h 1994638"/>
                <a:gd name="connsiteX13" fmla="*/ 1552586 w 11269790"/>
                <a:gd name="connsiteY13" fmla="*/ 737154 h 1994638"/>
                <a:gd name="connsiteX14" fmla="*/ 1856577 w 11269790"/>
                <a:gd name="connsiteY14" fmla="*/ 737154 h 1994638"/>
                <a:gd name="connsiteX15" fmla="*/ 2432000 w 11269790"/>
                <a:gd name="connsiteY15" fmla="*/ 754148 h 1994638"/>
                <a:gd name="connsiteX16" fmla="*/ 3571999 w 11269790"/>
                <a:gd name="connsiteY16" fmla="*/ 754148 h 1994638"/>
                <a:gd name="connsiteX17" fmla="*/ 4266858 w 11269790"/>
                <a:gd name="connsiteY17" fmla="*/ 788136 h 1994638"/>
                <a:gd name="connsiteX18" fmla="*/ 4722868 w 11269790"/>
                <a:gd name="connsiteY18" fmla="*/ 728648 h 1994638"/>
                <a:gd name="connsiteX19" fmla="*/ 5200590 w 11269790"/>
                <a:gd name="connsiteY19" fmla="*/ 728648 h 1994638"/>
                <a:gd name="connsiteX20" fmla="*/ 5971459 w 11269790"/>
                <a:gd name="connsiteY20" fmla="*/ 771142 h 1994638"/>
                <a:gd name="connsiteX21" fmla="*/ 6850895 w 11269790"/>
                <a:gd name="connsiteY21" fmla="*/ 754148 h 1994638"/>
                <a:gd name="connsiteX22" fmla="*/ 7480613 w 11269790"/>
                <a:gd name="connsiteY22" fmla="*/ 762654 h 1994638"/>
                <a:gd name="connsiteX23" fmla="*/ 8316623 w 11269790"/>
                <a:gd name="connsiteY23" fmla="*/ 762654 h 1994638"/>
                <a:gd name="connsiteX24" fmla="*/ 9380636 w 11269790"/>
                <a:gd name="connsiteY24" fmla="*/ 788154 h 1994638"/>
                <a:gd name="connsiteX25" fmla="*/ 10129791 w 11269790"/>
                <a:gd name="connsiteY25" fmla="*/ 779648 h 1994638"/>
                <a:gd name="connsiteX26" fmla="*/ 10661786 w 11269790"/>
                <a:gd name="connsiteY26" fmla="*/ 771142 h 1994638"/>
                <a:gd name="connsiteX27" fmla="*/ 11139509 w 11269790"/>
                <a:gd name="connsiteY27" fmla="*/ 737154 h 1994638"/>
                <a:gd name="connsiteX28" fmla="*/ 11269790 w 11269790"/>
                <a:gd name="connsiteY28" fmla="*/ 754148 h 1994638"/>
                <a:gd name="connsiteX29" fmla="*/ 11269790 w 11269790"/>
                <a:gd name="connsiteY29" fmla="*/ 133791 h 1994638"/>
                <a:gd name="connsiteX30" fmla="*/ 11085214 w 11269790"/>
                <a:gd name="connsiteY30" fmla="*/ 65870 h 1994638"/>
                <a:gd name="connsiteX31" fmla="*/ 10270918 w 11269790"/>
                <a:gd name="connsiteY31" fmla="*/ 14889 h 1994638"/>
                <a:gd name="connsiteX32" fmla="*/ 9684627 w 11269790"/>
                <a:gd name="connsiteY32" fmla="*/ 108364 h 1994638"/>
                <a:gd name="connsiteX33" fmla="*/ 8783477 w 11269790"/>
                <a:gd name="connsiteY33" fmla="*/ 201839 h 1994638"/>
                <a:gd name="connsiteX34" fmla="*/ 7817186 w 11269790"/>
                <a:gd name="connsiteY34" fmla="*/ 201839 h 1994638"/>
                <a:gd name="connsiteX35" fmla="*/ 6090896 w 11269790"/>
                <a:gd name="connsiteY35" fmla="*/ 193333 h 1994638"/>
                <a:gd name="connsiteX36" fmla="*/ 5005168 w 11269790"/>
                <a:gd name="connsiteY36" fmla="*/ 65870 h 1994638"/>
                <a:gd name="connsiteX37" fmla="*/ 3213736 w 11269790"/>
                <a:gd name="connsiteY37" fmla="*/ 57364 h 1994638"/>
                <a:gd name="connsiteX38" fmla="*/ 2160591 w 11269790"/>
                <a:gd name="connsiteY38" fmla="*/ 82864 h 1994638"/>
                <a:gd name="connsiteX39" fmla="*/ 2673914 w 11269790"/>
                <a:gd name="connsiteY39" fmla="*/ 66415 h 1994638"/>
                <a:gd name="connsiteX0" fmla="*/ 2673914 w 11269790"/>
                <a:gd name="connsiteY0" fmla="*/ 66415 h 1994638"/>
                <a:gd name="connsiteX1" fmla="*/ 4 w 11269790"/>
                <a:gd name="connsiteY1" fmla="*/ 745642 h 1994638"/>
                <a:gd name="connsiteX2" fmla="*/ 249723 w 11269790"/>
                <a:gd name="connsiteY2" fmla="*/ 915580 h 1994638"/>
                <a:gd name="connsiteX3" fmla="*/ 271436 w 11269790"/>
                <a:gd name="connsiteY3" fmla="*/ 1077031 h 1994638"/>
                <a:gd name="connsiteX4" fmla="*/ 499441 w 11269790"/>
                <a:gd name="connsiteY4" fmla="*/ 1416926 h 1994638"/>
                <a:gd name="connsiteX5" fmla="*/ 629723 w 11269790"/>
                <a:gd name="connsiteY5" fmla="*/ 1595370 h 1994638"/>
                <a:gd name="connsiteX6" fmla="*/ 684018 w 11269790"/>
                <a:gd name="connsiteY6" fmla="*/ 1790808 h 1994638"/>
                <a:gd name="connsiteX7" fmla="*/ 846882 w 11269790"/>
                <a:gd name="connsiteY7" fmla="*/ 1986246 h 1994638"/>
                <a:gd name="connsiteX8" fmla="*/ 1009746 w 11269790"/>
                <a:gd name="connsiteY8" fmla="*/ 1858784 h 1994638"/>
                <a:gd name="connsiteX9" fmla="*/ 1031460 w 11269790"/>
                <a:gd name="connsiteY9" fmla="*/ 1595370 h 1994638"/>
                <a:gd name="connsiteX10" fmla="*/ 1183455 w 11269790"/>
                <a:gd name="connsiteY10" fmla="*/ 1510401 h 1994638"/>
                <a:gd name="connsiteX11" fmla="*/ 1292023 w 11269790"/>
                <a:gd name="connsiteY11" fmla="*/ 1229994 h 1994638"/>
                <a:gd name="connsiteX12" fmla="*/ 1400591 w 11269790"/>
                <a:gd name="connsiteY12" fmla="*/ 873105 h 1994638"/>
                <a:gd name="connsiteX13" fmla="*/ 1552586 w 11269790"/>
                <a:gd name="connsiteY13" fmla="*/ 737154 h 1994638"/>
                <a:gd name="connsiteX14" fmla="*/ 1856577 w 11269790"/>
                <a:gd name="connsiteY14" fmla="*/ 737154 h 1994638"/>
                <a:gd name="connsiteX15" fmla="*/ 2432000 w 11269790"/>
                <a:gd name="connsiteY15" fmla="*/ 754148 h 1994638"/>
                <a:gd name="connsiteX16" fmla="*/ 3571999 w 11269790"/>
                <a:gd name="connsiteY16" fmla="*/ 754148 h 1994638"/>
                <a:gd name="connsiteX17" fmla="*/ 4266858 w 11269790"/>
                <a:gd name="connsiteY17" fmla="*/ 788136 h 1994638"/>
                <a:gd name="connsiteX18" fmla="*/ 4722868 w 11269790"/>
                <a:gd name="connsiteY18" fmla="*/ 728648 h 1994638"/>
                <a:gd name="connsiteX19" fmla="*/ 5200590 w 11269790"/>
                <a:gd name="connsiteY19" fmla="*/ 728648 h 1994638"/>
                <a:gd name="connsiteX20" fmla="*/ 5971459 w 11269790"/>
                <a:gd name="connsiteY20" fmla="*/ 771142 h 1994638"/>
                <a:gd name="connsiteX21" fmla="*/ 6850895 w 11269790"/>
                <a:gd name="connsiteY21" fmla="*/ 754148 h 1994638"/>
                <a:gd name="connsiteX22" fmla="*/ 7480613 w 11269790"/>
                <a:gd name="connsiteY22" fmla="*/ 762654 h 1994638"/>
                <a:gd name="connsiteX23" fmla="*/ 8316623 w 11269790"/>
                <a:gd name="connsiteY23" fmla="*/ 762654 h 1994638"/>
                <a:gd name="connsiteX24" fmla="*/ 9380636 w 11269790"/>
                <a:gd name="connsiteY24" fmla="*/ 788154 h 1994638"/>
                <a:gd name="connsiteX25" fmla="*/ 10129791 w 11269790"/>
                <a:gd name="connsiteY25" fmla="*/ 779648 h 1994638"/>
                <a:gd name="connsiteX26" fmla="*/ 10661786 w 11269790"/>
                <a:gd name="connsiteY26" fmla="*/ 771142 h 1994638"/>
                <a:gd name="connsiteX27" fmla="*/ 11139509 w 11269790"/>
                <a:gd name="connsiteY27" fmla="*/ 737154 h 1994638"/>
                <a:gd name="connsiteX28" fmla="*/ 11269790 w 11269790"/>
                <a:gd name="connsiteY28" fmla="*/ 754148 h 1994638"/>
                <a:gd name="connsiteX29" fmla="*/ 11269790 w 11269790"/>
                <a:gd name="connsiteY29" fmla="*/ 133791 h 1994638"/>
                <a:gd name="connsiteX30" fmla="*/ 11085214 w 11269790"/>
                <a:gd name="connsiteY30" fmla="*/ 65870 h 1994638"/>
                <a:gd name="connsiteX31" fmla="*/ 10270918 w 11269790"/>
                <a:gd name="connsiteY31" fmla="*/ 14889 h 1994638"/>
                <a:gd name="connsiteX32" fmla="*/ 9684627 w 11269790"/>
                <a:gd name="connsiteY32" fmla="*/ 108364 h 1994638"/>
                <a:gd name="connsiteX33" fmla="*/ 8783477 w 11269790"/>
                <a:gd name="connsiteY33" fmla="*/ 201839 h 1994638"/>
                <a:gd name="connsiteX34" fmla="*/ 7817186 w 11269790"/>
                <a:gd name="connsiteY34" fmla="*/ 201839 h 1994638"/>
                <a:gd name="connsiteX35" fmla="*/ 6090896 w 11269790"/>
                <a:gd name="connsiteY35" fmla="*/ 193333 h 1994638"/>
                <a:gd name="connsiteX36" fmla="*/ 5005168 w 11269790"/>
                <a:gd name="connsiteY36" fmla="*/ 65870 h 1994638"/>
                <a:gd name="connsiteX37" fmla="*/ 3213736 w 11269790"/>
                <a:gd name="connsiteY37" fmla="*/ 57364 h 1994638"/>
                <a:gd name="connsiteX38" fmla="*/ 2673914 w 11269790"/>
                <a:gd name="connsiteY38" fmla="*/ 66415 h 1994638"/>
                <a:gd name="connsiteX0" fmla="*/ 2598674 w 11194550"/>
                <a:gd name="connsiteY0" fmla="*/ 66415 h 1994638"/>
                <a:gd name="connsiteX1" fmla="*/ 174483 w 11194550"/>
                <a:gd name="connsiteY1" fmla="*/ 915580 h 1994638"/>
                <a:gd name="connsiteX2" fmla="*/ 196196 w 11194550"/>
                <a:gd name="connsiteY2" fmla="*/ 1077031 h 1994638"/>
                <a:gd name="connsiteX3" fmla="*/ 424201 w 11194550"/>
                <a:gd name="connsiteY3" fmla="*/ 1416926 h 1994638"/>
                <a:gd name="connsiteX4" fmla="*/ 554483 w 11194550"/>
                <a:gd name="connsiteY4" fmla="*/ 1595370 h 1994638"/>
                <a:gd name="connsiteX5" fmla="*/ 608778 w 11194550"/>
                <a:gd name="connsiteY5" fmla="*/ 1790808 h 1994638"/>
                <a:gd name="connsiteX6" fmla="*/ 771642 w 11194550"/>
                <a:gd name="connsiteY6" fmla="*/ 1986246 h 1994638"/>
                <a:gd name="connsiteX7" fmla="*/ 934506 w 11194550"/>
                <a:gd name="connsiteY7" fmla="*/ 1858784 h 1994638"/>
                <a:gd name="connsiteX8" fmla="*/ 956220 w 11194550"/>
                <a:gd name="connsiteY8" fmla="*/ 1595370 h 1994638"/>
                <a:gd name="connsiteX9" fmla="*/ 1108215 w 11194550"/>
                <a:gd name="connsiteY9" fmla="*/ 1510401 h 1994638"/>
                <a:gd name="connsiteX10" fmla="*/ 1216783 w 11194550"/>
                <a:gd name="connsiteY10" fmla="*/ 1229994 h 1994638"/>
                <a:gd name="connsiteX11" fmla="*/ 1325351 w 11194550"/>
                <a:gd name="connsiteY11" fmla="*/ 873105 h 1994638"/>
                <a:gd name="connsiteX12" fmla="*/ 1477346 w 11194550"/>
                <a:gd name="connsiteY12" fmla="*/ 737154 h 1994638"/>
                <a:gd name="connsiteX13" fmla="*/ 1781337 w 11194550"/>
                <a:gd name="connsiteY13" fmla="*/ 737154 h 1994638"/>
                <a:gd name="connsiteX14" fmla="*/ 2356760 w 11194550"/>
                <a:gd name="connsiteY14" fmla="*/ 754148 h 1994638"/>
                <a:gd name="connsiteX15" fmla="*/ 3496759 w 11194550"/>
                <a:gd name="connsiteY15" fmla="*/ 754148 h 1994638"/>
                <a:gd name="connsiteX16" fmla="*/ 4191618 w 11194550"/>
                <a:gd name="connsiteY16" fmla="*/ 788136 h 1994638"/>
                <a:gd name="connsiteX17" fmla="*/ 4647628 w 11194550"/>
                <a:gd name="connsiteY17" fmla="*/ 728648 h 1994638"/>
                <a:gd name="connsiteX18" fmla="*/ 5125350 w 11194550"/>
                <a:gd name="connsiteY18" fmla="*/ 728648 h 1994638"/>
                <a:gd name="connsiteX19" fmla="*/ 5896219 w 11194550"/>
                <a:gd name="connsiteY19" fmla="*/ 771142 h 1994638"/>
                <a:gd name="connsiteX20" fmla="*/ 6775655 w 11194550"/>
                <a:gd name="connsiteY20" fmla="*/ 754148 h 1994638"/>
                <a:gd name="connsiteX21" fmla="*/ 7405373 w 11194550"/>
                <a:gd name="connsiteY21" fmla="*/ 762654 h 1994638"/>
                <a:gd name="connsiteX22" fmla="*/ 8241383 w 11194550"/>
                <a:gd name="connsiteY22" fmla="*/ 762654 h 1994638"/>
                <a:gd name="connsiteX23" fmla="*/ 9305396 w 11194550"/>
                <a:gd name="connsiteY23" fmla="*/ 788154 h 1994638"/>
                <a:gd name="connsiteX24" fmla="*/ 10054551 w 11194550"/>
                <a:gd name="connsiteY24" fmla="*/ 779648 h 1994638"/>
                <a:gd name="connsiteX25" fmla="*/ 10586546 w 11194550"/>
                <a:gd name="connsiteY25" fmla="*/ 771142 h 1994638"/>
                <a:gd name="connsiteX26" fmla="*/ 11064269 w 11194550"/>
                <a:gd name="connsiteY26" fmla="*/ 737154 h 1994638"/>
                <a:gd name="connsiteX27" fmla="*/ 11194550 w 11194550"/>
                <a:gd name="connsiteY27" fmla="*/ 754148 h 1994638"/>
                <a:gd name="connsiteX28" fmla="*/ 11194550 w 11194550"/>
                <a:gd name="connsiteY28" fmla="*/ 133791 h 1994638"/>
                <a:gd name="connsiteX29" fmla="*/ 11009974 w 11194550"/>
                <a:gd name="connsiteY29" fmla="*/ 65870 h 1994638"/>
                <a:gd name="connsiteX30" fmla="*/ 10195678 w 11194550"/>
                <a:gd name="connsiteY30" fmla="*/ 14889 h 1994638"/>
                <a:gd name="connsiteX31" fmla="*/ 9609387 w 11194550"/>
                <a:gd name="connsiteY31" fmla="*/ 108364 h 1994638"/>
                <a:gd name="connsiteX32" fmla="*/ 8708237 w 11194550"/>
                <a:gd name="connsiteY32" fmla="*/ 201839 h 1994638"/>
                <a:gd name="connsiteX33" fmla="*/ 7741946 w 11194550"/>
                <a:gd name="connsiteY33" fmla="*/ 201839 h 1994638"/>
                <a:gd name="connsiteX34" fmla="*/ 6015656 w 11194550"/>
                <a:gd name="connsiteY34" fmla="*/ 193333 h 1994638"/>
                <a:gd name="connsiteX35" fmla="*/ 4929928 w 11194550"/>
                <a:gd name="connsiteY35" fmla="*/ 65870 h 1994638"/>
                <a:gd name="connsiteX36" fmla="*/ 3138496 w 11194550"/>
                <a:gd name="connsiteY36" fmla="*/ 57364 h 1994638"/>
                <a:gd name="connsiteX37" fmla="*/ 2598674 w 11194550"/>
                <a:gd name="connsiteY37" fmla="*/ 66415 h 1994638"/>
                <a:gd name="connsiteX0" fmla="*/ 2523012 w 11118888"/>
                <a:gd name="connsiteY0" fmla="*/ 66415 h 1994638"/>
                <a:gd name="connsiteX1" fmla="*/ 2391070 w 11118888"/>
                <a:gd name="connsiteY1" fmla="*/ 622730 h 1994638"/>
                <a:gd name="connsiteX2" fmla="*/ 120534 w 11118888"/>
                <a:gd name="connsiteY2" fmla="*/ 1077031 h 1994638"/>
                <a:gd name="connsiteX3" fmla="*/ 348539 w 11118888"/>
                <a:gd name="connsiteY3" fmla="*/ 1416926 h 1994638"/>
                <a:gd name="connsiteX4" fmla="*/ 478821 w 11118888"/>
                <a:gd name="connsiteY4" fmla="*/ 1595370 h 1994638"/>
                <a:gd name="connsiteX5" fmla="*/ 533116 w 11118888"/>
                <a:gd name="connsiteY5" fmla="*/ 1790808 h 1994638"/>
                <a:gd name="connsiteX6" fmla="*/ 695980 w 11118888"/>
                <a:gd name="connsiteY6" fmla="*/ 1986246 h 1994638"/>
                <a:gd name="connsiteX7" fmla="*/ 858844 w 11118888"/>
                <a:gd name="connsiteY7" fmla="*/ 1858784 h 1994638"/>
                <a:gd name="connsiteX8" fmla="*/ 880558 w 11118888"/>
                <a:gd name="connsiteY8" fmla="*/ 1595370 h 1994638"/>
                <a:gd name="connsiteX9" fmla="*/ 1032553 w 11118888"/>
                <a:gd name="connsiteY9" fmla="*/ 1510401 h 1994638"/>
                <a:gd name="connsiteX10" fmla="*/ 1141121 w 11118888"/>
                <a:gd name="connsiteY10" fmla="*/ 1229994 h 1994638"/>
                <a:gd name="connsiteX11" fmla="*/ 1249689 w 11118888"/>
                <a:gd name="connsiteY11" fmla="*/ 873105 h 1994638"/>
                <a:gd name="connsiteX12" fmla="*/ 1401684 w 11118888"/>
                <a:gd name="connsiteY12" fmla="*/ 737154 h 1994638"/>
                <a:gd name="connsiteX13" fmla="*/ 1705675 w 11118888"/>
                <a:gd name="connsiteY13" fmla="*/ 737154 h 1994638"/>
                <a:gd name="connsiteX14" fmla="*/ 2281098 w 11118888"/>
                <a:gd name="connsiteY14" fmla="*/ 754148 h 1994638"/>
                <a:gd name="connsiteX15" fmla="*/ 3421097 w 11118888"/>
                <a:gd name="connsiteY15" fmla="*/ 754148 h 1994638"/>
                <a:gd name="connsiteX16" fmla="*/ 4115956 w 11118888"/>
                <a:gd name="connsiteY16" fmla="*/ 788136 h 1994638"/>
                <a:gd name="connsiteX17" fmla="*/ 4571966 w 11118888"/>
                <a:gd name="connsiteY17" fmla="*/ 728648 h 1994638"/>
                <a:gd name="connsiteX18" fmla="*/ 5049688 w 11118888"/>
                <a:gd name="connsiteY18" fmla="*/ 728648 h 1994638"/>
                <a:gd name="connsiteX19" fmla="*/ 5820557 w 11118888"/>
                <a:gd name="connsiteY19" fmla="*/ 771142 h 1994638"/>
                <a:gd name="connsiteX20" fmla="*/ 6699993 w 11118888"/>
                <a:gd name="connsiteY20" fmla="*/ 754148 h 1994638"/>
                <a:gd name="connsiteX21" fmla="*/ 7329711 w 11118888"/>
                <a:gd name="connsiteY21" fmla="*/ 762654 h 1994638"/>
                <a:gd name="connsiteX22" fmla="*/ 8165721 w 11118888"/>
                <a:gd name="connsiteY22" fmla="*/ 762654 h 1994638"/>
                <a:gd name="connsiteX23" fmla="*/ 9229734 w 11118888"/>
                <a:gd name="connsiteY23" fmla="*/ 788154 h 1994638"/>
                <a:gd name="connsiteX24" fmla="*/ 9978889 w 11118888"/>
                <a:gd name="connsiteY24" fmla="*/ 779648 h 1994638"/>
                <a:gd name="connsiteX25" fmla="*/ 10510884 w 11118888"/>
                <a:gd name="connsiteY25" fmla="*/ 771142 h 1994638"/>
                <a:gd name="connsiteX26" fmla="*/ 10988607 w 11118888"/>
                <a:gd name="connsiteY26" fmla="*/ 737154 h 1994638"/>
                <a:gd name="connsiteX27" fmla="*/ 11118888 w 11118888"/>
                <a:gd name="connsiteY27" fmla="*/ 754148 h 1994638"/>
                <a:gd name="connsiteX28" fmla="*/ 11118888 w 11118888"/>
                <a:gd name="connsiteY28" fmla="*/ 133791 h 1994638"/>
                <a:gd name="connsiteX29" fmla="*/ 10934312 w 11118888"/>
                <a:gd name="connsiteY29" fmla="*/ 65870 h 1994638"/>
                <a:gd name="connsiteX30" fmla="*/ 10120016 w 11118888"/>
                <a:gd name="connsiteY30" fmla="*/ 14889 h 1994638"/>
                <a:gd name="connsiteX31" fmla="*/ 9533725 w 11118888"/>
                <a:gd name="connsiteY31" fmla="*/ 108364 h 1994638"/>
                <a:gd name="connsiteX32" fmla="*/ 8632575 w 11118888"/>
                <a:gd name="connsiteY32" fmla="*/ 201839 h 1994638"/>
                <a:gd name="connsiteX33" fmla="*/ 7666284 w 11118888"/>
                <a:gd name="connsiteY33" fmla="*/ 201839 h 1994638"/>
                <a:gd name="connsiteX34" fmla="*/ 5939994 w 11118888"/>
                <a:gd name="connsiteY34" fmla="*/ 193333 h 1994638"/>
                <a:gd name="connsiteX35" fmla="*/ 4854266 w 11118888"/>
                <a:gd name="connsiteY35" fmla="*/ 65870 h 1994638"/>
                <a:gd name="connsiteX36" fmla="*/ 3062834 w 11118888"/>
                <a:gd name="connsiteY36" fmla="*/ 57364 h 1994638"/>
                <a:gd name="connsiteX37" fmla="*/ 2523012 w 11118888"/>
                <a:gd name="connsiteY37" fmla="*/ 66415 h 1994638"/>
                <a:gd name="connsiteX0" fmla="*/ 2523012 w 11118888"/>
                <a:gd name="connsiteY0" fmla="*/ 66415 h 1994638"/>
                <a:gd name="connsiteX1" fmla="*/ 2391070 w 11118888"/>
                <a:gd name="connsiteY1" fmla="*/ 622730 h 1994638"/>
                <a:gd name="connsiteX2" fmla="*/ 120534 w 11118888"/>
                <a:gd name="connsiteY2" fmla="*/ 1077031 h 1994638"/>
                <a:gd name="connsiteX3" fmla="*/ 348539 w 11118888"/>
                <a:gd name="connsiteY3" fmla="*/ 1416926 h 1994638"/>
                <a:gd name="connsiteX4" fmla="*/ 478821 w 11118888"/>
                <a:gd name="connsiteY4" fmla="*/ 1595370 h 1994638"/>
                <a:gd name="connsiteX5" fmla="*/ 533116 w 11118888"/>
                <a:gd name="connsiteY5" fmla="*/ 1790808 h 1994638"/>
                <a:gd name="connsiteX6" fmla="*/ 695980 w 11118888"/>
                <a:gd name="connsiteY6" fmla="*/ 1986246 h 1994638"/>
                <a:gd name="connsiteX7" fmla="*/ 858844 w 11118888"/>
                <a:gd name="connsiteY7" fmla="*/ 1858784 h 1994638"/>
                <a:gd name="connsiteX8" fmla="*/ 880558 w 11118888"/>
                <a:gd name="connsiteY8" fmla="*/ 1595370 h 1994638"/>
                <a:gd name="connsiteX9" fmla="*/ 1032553 w 11118888"/>
                <a:gd name="connsiteY9" fmla="*/ 1510401 h 1994638"/>
                <a:gd name="connsiteX10" fmla="*/ 1141121 w 11118888"/>
                <a:gd name="connsiteY10" fmla="*/ 1229994 h 1994638"/>
                <a:gd name="connsiteX11" fmla="*/ 1249689 w 11118888"/>
                <a:gd name="connsiteY11" fmla="*/ 873105 h 1994638"/>
                <a:gd name="connsiteX12" fmla="*/ 1401684 w 11118888"/>
                <a:gd name="connsiteY12" fmla="*/ 737154 h 1994638"/>
                <a:gd name="connsiteX13" fmla="*/ 1705675 w 11118888"/>
                <a:gd name="connsiteY13" fmla="*/ 737154 h 1994638"/>
                <a:gd name="connsiteX14" fmla="*/ 2281098 w 11118888"/>
                <a:gd name="connsiteY14" fmla="*/ 754148 h 1994638"/>
                <a:gd name="connsiteX15" fmla="*/ 3421097 w 11118888"/>
                <a:gd name="connsiteY15" fmla="*/ 754148 h 1994638"/>
                <a:gd name="connsiteX16" fmla="*/ 4115956 w 11118888"/>
                <a:gd name="connsiteY16" fmla="*/ 788136 h 1994638"/>
                <a:gd name="connsiteX17" fmla="*/ 4571966 w 11118888"/>
                <a:gd name="connsiteY17" fmla="*/ 728648 h 1994638"/>
                <a:gd name="connsiteX18" fmla="*/ 5049688 w 11118888"/>
                <a:gd name="connsiteY18" fmla="*/ 728648 h 1994638"/>
                <a:gd name="connsiteX19" fmla="*/ 5820557 w 11118888"/>
                <a:gd name="connsiteY19" fmla="*/ 771142 h 1994638"/>
                <a:gd name="connsiteX20" fmla="*/ 6699993 w 11118888"/>
                <a:gd name="connsiteY20" fmla="*/ 754148 h 1994638"/>
                <a:gd name="connsiteX21" fmla="*/ 7329711 w 11118888"/>
                <a:gd name="connsiteY21" fmla="*/ 762654 h 1994638"/>
                <a:gd name="connsiteX22" fmla="*/ 8165721 w 11118888"/>
                <a:gd name="connsiteY22" fmla="*/ 762654 h 1994638"/>
                <a:gd name="connsiteX23" fmla="*/ 9229734 w 11118888"/>
                <a:gd name="connsiteY23" fmla="*/ 788154 h 1994638"/>
                <a:gd name="connsiteX24" fmla="*/ 9978889 w 11118888"/>
                <a:gd name="connsiteY24" fmla="*/ 779648 h 1994638"/>
                <a:gd name="connsiteX25" fmla="*/ 10510884 w 11118888"/>
                <a:gd name="connsiteY25" fmla="*/ 771142 h 1994638"/>
                <a:gd name="connsiteX26" fmla="*/ 10988607 w 11118888"/>
                <a:gd name="connsiteY26" fmla="*/ 737154 h 1994638"/>
                <a:gd name="connsiteX27" fmla="*/ 11118888 w 11118888"/>
                <a:gd name="connsiteY27" fmla="*/ 754148 h 1994638"/>
                <a:gd name="connsiteX28" fmla="*/ 11118888 w 11118888"/>
                <a:gd name="connsiteY28" fmla="*/ 133791 h 1994638"/>
                <a:gd name="connsiteX29" fmla="*/ 10934312 w 11118888"/>
                <a:gd name="connsiteY29" fmla="*/ 65870 h 1994638"/>
                <a:gd name="connsiteX30" fmla="*/ 10120016 w 11118888"/>
                <a:gd name="connsiteY30" fmla="*/ 14889 h 1994638"/>
                <a:gd name="connsiteX31" fmla="*/ 9533725 w 11118888"/>
                <a:gd name="connsiteY31" fmla="*/ 108364 h 1994638"/>
                <a:gd name="connsiteX32" fmla="*/ 8632575 w 11118888"/>
                <a:gd name="connsiteY32" fmla="*/ 201839 h 1994638"/>
                <a:gd name="connsiteX33" fmla="*/ 7666284 w 11118888"/>
                <a:gd name="connsiteY33" fmla="*/ 201839 h 1994638"/>
                <a:gd name="connsiteX34" fmla="*/ 5939994 w 11118888"/>
                <a:gd name="connsiteY34" fmla="*/ 193333 h 1994638"/>
                <a:gd name="connsiteX35" fmla="*/ 4854266 w 11118888"/>
                <a:gd name="connsiteY35" fmla="*/ 65870 h 1994638"/>
                <a:gd name="connsiteX36" fmla="*/ 3062834 w 11118888"/>
                <a:gd name="connsiteY36" fmla="*/ 57364 h 1994638"/>
                <a:gd name="connsiteX37" fmla="*/ 2523012 w 11118888"/>
                <a:gd name="connsiteY37" fmla="*/ 66415 h 1994638"/>
                <a:gd name="connsiteX0" fmla="*/ 2532379 w 11128255"/>
                <a:gd name="connsiteY0" fmla="*/ 66415 h 1994638"/>
                <a:gd name="connsiteX1" fmla="*/ 129901 w 11128255"/>
                <a:gd name="connsiteY1" fmla="*/ 1077031 h 1994638"/>
                <a:gd name="connsiteX2" fmla="*/ 357906 w 11128255"/>
                <a:gd name="connsiteY2" fmla="*/ 1416926 h 1994638"/>
                <a:gd name="connsiteX3" fmla="*/ 488188 w 11128255"/>
                <a:gd name="connsiteY3" fmla="*/ 1595370 h 1994638"/>
                <a:gd name="connsiteX4" fmla="*/ 542483 w 11128255"/>
                <a:gd name="connsiteY4" fmla="*/ 1790808 h 1994638"/>
                <a:gd name="connsiteX5" fmla="*/ 705347 w 11128255"/>
                <a:gd name="connsiteY5" fmla="*/ 1986246 h 1994638"/>
                <a:gd name="connsiteX6" fmla="*/ 868211 w 11128255"/>
                <a:gd name="connsiteY6" fmla="*/ 1858784 h 1994638"/>
                <a:gd name="connsiteX7" fmla="*/ 889925 w 11128255"/>
                <a:gd name="connsiteY7" fmla="*/ 1595370 h 1994638"/>
                <a:gd name="connsiteX8" fmla="*/ 1041920 w 11128255"/>
                <a:gd name="connsiteY8" fmla="*/ 1510401 h 1994638"/>
                <a:gd name="connsiteX9" fmla="*/ 1150488 w 11128255"/>
                <a:gd name="connsiteY9" fmla="*/ 1229994 h 1994638"/>
                <a:gd name="connsiteX10" fmla="*/ 1259056 w 11128255"/>
                <a:gd name="connsiteY10" fmla="*/ 873105 h 1994638"/>
                <a:gd name="connsiteX11" fmla="*/ 1411051 w 11128255"/>
                <a:gd name="connsiteY11" fmla="*/ 737154 h 1994638"/>
                <a:gd name="connsiteX12" fmla="*/ 1715042 w 11128255"/>
                <a:gd name="connsiteY12" fmla="*/ 737154 h 1994638"/>
                <a:gd name="connsiteX13" fmla="*/ 2290465 w 11128255"/>
                <a:gd name="connsiteY13" fmla="*/ 754148 h 1994638"/>
                <a:gd name="connsiteX14" fmla="*/ 3430464 w 11128255"/>
                <a:gd name="connsiteY14" fmla="*/ 754148 h 1994638"/>
                <a:gd name="connsiteX15" fmla="*/ 4125323 w 11128255"/>
                <a:gd name="connsiteY15" fmla="*/ 788136 h 1994638"/>
                <a:gd name="connsiteX16" fmla="*/ 4581333 w 11128255"/>
                <a:gd name="connsiteY16" fmla="*/ 728648 h 1994638"/>
                <a:gd name="connsiteX17" fmla="*/ 5059055 w 11128255"/>
                <a:gd name="connsiteY17" fmla="*/ 728648 h 1994638"/>
                <a:gd name="connsiteX18" fmla="*/ 5829924 w 11128255"/>
                <a:gd name="connsiteY18" fmla="*/ 771142 h 1994638"/>
                <a:gd name="connsiteX19" fmla="*/ 6709360 w 11128255"/>
                <a:gd name="connsiteY19" fmla="*/ 754148 h 1994638"/>
                <a:gd name="connsiteX20" fmla="*/ 7339078 w 11128255"/>
                <a:gd name="connsiteY20" fmla="*/ 762654 h 1994638"/>
                <a:gd name="connsiteX21" fmla="*/ 8175088 w 11128255"/>
                <a:gd name="connsiteY21" fmla="*/ 762654 h 1994638"/>
                <a:gd name="connsiteX22" fmla="*/ 9239101 w 11128255"/>
                <a:gd name="connsiteY22" fmla="*/ 788154 h 1994638"/>
                <a:gd name="connsiteX23" fmla="*/ 9988256 w 11128255"/>
                <a:gd name="connsiteY23" fmla="*/ 779648 h 1994638"/>
                <a:gd name="connsiteX24" fmla="*/ 10520251 w 11128255"/>
                <a:gd name="connsiteY24" fmla="*/ 771142 h 1994638"/>
                <a:gd name="connsiteX25" fmla="*/ 10997974 w 11128255"/>
                <a:gd name="connsiteY25" fmla="*/ 737154 h 1994638"/>
                <a:gd name="connsiteX26" fmla="*/ 11128255 w 11128255"/>
                <a:gd name="connsiteY26" fmla="*/ 754148 h 1994638"/>
                <a:gd name="connsiteX27" fmla="*/ 11128255 w 11128255"/>
                <a:gd name="connsiteY27" fmla="*/ 133791 h 1994638"/>
                <a:gd name="connsiteX28" fmla="*/ 10943679 w 11128255"/>
                <a:gd name="connsiteY28" fmla="*/ 65870 h 1994638"/>
                <a:gd name="connsiteX29" fmla="*/ 10129383 w 11128255"/>
                <a:gd name="connsiteY29" fmla="*/ 14889 h 1994638"/>
                <a:gd name="connsiteX30" fmla="*/ 9543092 w 11128255"/>
                <a:gd name="connsiteY30" fmla="*/ 108364 h 1994638"/>
                <a:gd name="connsiteX31" fmla="*/ 8641942 w 11128255"/>
                <a:gd name="connsiteY31" fmla="*/ 201839 h 1994638"/>
                <a:gd name="connsiteX32" fmla="*/ 7675651 w 11128255"/>
                <a:gd name="connsiteY32" fmla="*/ 201839 h 1994638"/>
                <a:gd name="connsiteX33" fmla="*/ 5949361 w 11128255"/>
                <a:gd name="connsiteY33" fmla="*/ 193333 h 1994638"/>
                <a:gd name="connsiteX34" fmla="*/ 4863633 w 11128255"/>
                <a:gd name="connsiteY34" fmla="*/ 65870 h 1994638"/>
                <a:gd name="connsiteX35" fmla="*/ 3072201 w 11128255"/>
                <a:gd name="connsiteY35" fmla="*/ 57364 h 1994638"/>
                <a:gd name="connsiteX36" fmla="*/ 2532379 w 11128255"/>
                <a:gd name="connsiteY36" fmla="*/ 66415 h 1994638"/>
                <a:gd name="connsiteX0" fmla="*/ 2290884 w 10886760"/>
                <a:gd name="connsiteY0" fmla="*/ 66415 h 1994638"/>
                <a:gd name="connsiteX1" fmla="*/ 2173324 w 10886760"/>
                <a:gd name="connsiteY1" fmla="*/ 625754 h 1994638"/>
                <a:gd name="connsiteX2" fmla="*/ 116411 w 10886760"/>
                <a:gd name="connsiteY2" fmla="*/ 1416926 h 1994638"/>
                <a:gd name="connsiteX3" fmla="*/ 246693 w 10886760"/>
                <a:gd name="connsiteY3" fmla="*/ 1595370 h 1994638"/>
                <a:gd name="connsiteX4" fmla="*/ 300988 w 10886760"/>
                <a:gd name="connsiteY4" fmla="*/ 1790808 h 1994638"/>
                <a:gd name="connsiteX5" fmla="*/ 463852 w 10886760"/>
                <a:gd name="connsiteY5" fmla="*/ 1986246 h 1994638"/>
                <a:gd name="connsiteX6" fmla="*/ 626716 w 10886760"/>
                <a:gd name="connsiteY6" fmla="*/ 1858784 h 1994638"/>
                <a:gd name="connsiteX7" fmla="*/ 648430 w 10886760"/>
                <a:gd name="connsiteY7" fmla="*/ 1595370 h 1994638"/>
                <a:gd name="connsiteX8" fmla="*/ 800425 w 10886760"/>
                <a:gd name="connsiteY8" fmla="*/ 1510401 h 1994638"/>
                <a:gd name="connsiteX9" fmla="*/ 908993 w 10886760"/>
                <a:gd name="connsiteY9" fmla="*/ 1229994 h 1994638"/>
                <a:gd name="connsiteX10" fmla="*/ 1017561 w 10886760"/>
                <a:gd name="connsiteY10" fmla="*/ 873105 h 1994638"/>
                <a:gd name="connsiteX11" fmla="*/ 1169556 w 10886760"/>
                <a:gd name="connsiteY11" fmla="*/ 737154 h 1994638"/>
                <a:gd name="connsiteX12" fmla="*/ 1473547 w 10886760"/>
                <a:gd name="connsiteY12" fmla="*/ 737154 h 1994638"/>
                <a:gd name="connsiteX13" fmla="*/ 2048970 w 10886760"/>
                <a:gd name="connsiteY13" fmla="*/ 754148 h 1994638"/>
                <a:gd name="connsiteX14" fmla="*/ 3188969 w 10886760"/>
                <a:gd name="connsiteY14" fmla="*/ 754148 h 1994638"/>
                <a:gd name="connsiteX15" fmla="*/ 3883828 w 10886760"/>
                <a:gd name="connsiteY15" fmla="*/ 788136 h 1994638"/>
                <a:gd name="connsiteX16" fmla="*/ 4339838 w 10886760"/>
                <a:gd name="connsiteY16" fmla="*/ 728648 h 1994638"/>
                <a:gd name="connsiteX17" fmla="*/ 4817560 w 10886760"/>
                <a:gd name="connsiteY17" fmla="*/ 728648 h 1994638"/>
                <a:gd name="connsiteX18" fmla="*/ 5588429 w 10886760"/>
                <a:gd name="connsiteY18" fmla="*/ 771142 h 1994638"/>
                <a:gd name="connsiteX19" fmla="*/ 6467865 w 10886760"/>
                <a:gd name="connsiteY19" fmla="*/ 754148 h 1994638"/>
                <a:gd name="connsiteX20" fmla="*/ 7097583 w 10886760"/>
                <a:gd name="connsiteY20" fmla="*/ 762654 h 1994638"/>
                <a:gd name="connsiteX21" fmla="*/ 7933593 w 10886760"/>
                <a:gd name="connsiteY21" fmla="*/ 762654 h 1994638"/>
                <a:gd name="connsiteX22" fmla="*/ 8997606 w 10886760"/>
                <a:gd name="connsiteY22" fmla="*/ 788154 h 1994638"/>
                <a:gd name="connsiteX23" fmla="*/ 9746761 w 10886760"/>
                <a:gd name="connsiteY23" fmla="*/ 779648 h 1994638"/>
                <a:gd name="connsiteX24" fmla="*/ 10278756 w 10886760"/>
                <a:gd name="connsiteY24" fmla="*/ 771142 h 1994638"/>
                <a:gd name="connsiteX25" fmla="*/ 10756479 w 10886760"/>
                <a:gd name="connsiteY25" fmla="*/ 737154 h 1994638"/>
                <a:gd name="connsiteX26" fmla="*/ 10886760 w 10886760"/>
                <a:gd name="connsiteY26" fmla="*/ 754148 h 1994638"/>
                <a:gd name="connsiteX27" fmla="*/ 10886760 w 10886760"/>
                <a:gd name="connsiteY27" fmla="*/ 133791 h 1994638"/>
                <a:gd name="connsiteX28" fmla="*/ 10702184 w 10886760"/>
                <a:gd name="connsiteY28" fmla="*/ 65870 h 1994638"/>
                <a:gd name="connsiteX29" fmla="*/ 9887888 w 10886760"/>
                <a:gd name="connsiteY29" fmla="*/ 14889 h 1994638"/>
                <a:gd name="connsiteX30" fmla="*/ 9301597 w 10886760"/>
                <a:gd name="connsiteY30" fmla="*/ 108364 h 1994638"/>
                <a:gd name="connsiteX31" fmla="*/ 8400447 w 10886760"/>
                <a:gd name="connsiteY31" fmla="*/ 201839 h 1994638"/>
                <a:gd name="connsiteX32" fmla="*/ 7434156 w 10886760"/>
                <a:gd name="connsiteY32" fmla="*/ 201839 h 1994638"/>
                <a:gd name="connsiteX33" fmla="*/ 5707866 w 10886760"/>
                <a:gd name="connsiteY33" fmla="*/ 193333 h 1994638"/>
                <a:gd name="connsiteX34" fmla="*/ 4622138 w 10886760"/>
                <a:gd name="connsiteY34" fmla="*/ 65870 h 1994638"/>
                <a:gd name="connsiteX35" fmla="*/ 2830706 w 10886760"/>
                <a:gd name="connsiteY35" fmla="*/ 57364 h 1994638"/>
                <a:gd name="connsiteX36" fmla="*/ 2290884 w 10886760"/>
                <a:gd name="connsiteY36" fmla="*/ 66415 h 1994638"/>
                <a:gd name="connsiteX0" fmla="*/ 2179017 w 10774893"/>
                <a:gd name="connsiteY0" fmla="*/ 66415 h 1994638"/>
                <a:gd name="connsiteX1" fmla="*/ 2061457 w 10774893"/>
                <a:gd name="connsiteY1" fmla="*/ 625754 h 1994638"/>
                <a:gd name="connsiteX2" fmla="*/ 134826 w 10774893"/>
                <a:gd name="connsiteY2" fmla="*/ 1595370 h 1994638"/>
                <a:gd name="connsiteX3" fmla="*/ 189121 w 10774893"/>
                <a:gd name="connsiteY3" fmla="*/ 1790808 h 1994638"/>
                <a:gd name="connsiteX4" fmla="*/ 351985 w 10774893"/>
                <a:gd name="connsiteY4" fmla="*/ 1986246 h 1994638"/>
                <a:gd name="connsiteX5" fmla="*/ 514849 w 10774893"/>
                <a:gd name="connsiteY5" fmla="*/ 1858784 h 1994638"/>
                <a:gd name="connsiteX6" fmla="*/ 536563 w 10774893"/>
                <a:gd name="connsiteY6" fmla="*/ 1595370 h 1994638"/>
                <a:gd name="connsiteX7" fmla="*/ 688558 w 10774893"/>
                <a:gd name="connsiteY7" fmla="*/ 1510401 h 1994638"/>
                <a:gd name="connsiteX8" fmla="*/ 797126 w 10774893"/>
                <a:gd name="connsiteY8" fmla="*/ 1229994 h 1994638"/>
                <a:gd name="connsiteX9" fmla="*/ 905694 w 10774893"/>
                <a:gd name="connsiteY9" fmla="*/ 873105 h 1994638"/>
                <a:gd name="connsiteX10" fmla="*/ 1057689 w 10774893"/>
                <a:gd name="connsiteY10" fmla="*/ 737154 h 1994638"/>
                <a:gd name="connsiteX11" fmla="*/ 1361680 w 10774893"/>
                <a:gd name="connsiteY11" fmla="*/ 737154 h 1994638"/>
                <a:gd name="connsiteX12" fmla="*/ 1937103 w 10774893"/>
                <a:gd name="connsiteY12" fmla="*/ 754148 h 1994638"/>
                <a:gd name="connsiteX13" fmla="*/ 3077102 w 10774893"/>
                <a:gd name="connsiteY13" fmla="*/ 754148 h 1994638"/>
                <a:gd name="connsiteX14" fmla="*/ 3771961 w 10774893"/>
                <a:gd name="connsiteY14" fmla="*/ 788136 h 1994638"/>
                <a:gd name="connsiteX15" fmla="*/ 4227971 w 10774893"/>
                <a:gd name="connsiteY15" fmla="*/ 728648 h 1994638"/>
                <a:gd name="connsiteX16" fmla="*/ 4705693 w 10774893"/>
                <a:gd name="connsiteY16" fmla="*/ 728648 h 1994638"/>
                <a:gd name="connsiteX17" fmla="*/ 5476562 w 10774893"/>
                <a:gd name="connsiteY17" fmla="*/ 771142 h 1994638"/>
                <a:gd name="connsiteX18" fmla="*/ 6355998 w 10774893"/>
                <a:gd name="connsiteY18" fmla="*/ 754148 h 1994638"/>
                <a:gd name="connsiteX19" fmla="*/ 6985716 w 10774893"/>
                <a:gd name="connsiteY19" fmla="*/ 762654 h 1994638"/>
                <a:gd name="connsiteX20" fmla="*/ 7821726 w 10774893"/>
                <a:gd name="connsiteY20" fmla="*/ 762654 h 1994638"/>
                <a:gd name="connsiteX21" fmla="*/ 8885739 w 10774893"/>
                <a:gd name="connsiteY21" fmla="*/ 788154 h 1994638"/>
                <a:gd name="connsiteX22" fmla="*/ 9634894 w 10774893"/>
                <a:gd name="connsiteY22" fmla="*/ 779648 h 1994638"/>
                <a:gd name="connsiteX23" fmla="*/ 10166889 w 10774893"/>
                <a:gd name="connsiteY23" fmla="*/ 771142 h 1994638"/>
                <a:gd name="connsiteX24" fmla="*/ 10644612 w 10774893"/>
                <a:gd name="connsiteY24" fmla="*/ 737154 h 1994638"/>
                <a:gd name="connsiteX25" fmla="*/ 10774893 w 10774893"/>
                <a:gd name="connsiteY25" fmla="*/ 754148 h 1994638"/>
                <a:gd name="connsiteX26" fmla="*/ 10774893 w 10774893"/>
                <a:gd name="connsiteY26" fmla="*/ 133791 h 1994638"/>
                <a:gd name="connsiteX27" fmla="*/ 10590317 w 10774893"/>
                <a:gd name="connsiteY27" fmla="*/ 65870 h 1994638"/>
                <a:gd name="connsiteX28" fmla="*/ 9776021 w 10774893"/>
                <a:gd name="connsiteY28" fmla="*/ 14889 h 1994638"/>
                <a:gd name="connsiteX29" fmla="*/ 9189730 w 10774893"/>
                <a:gd name="connsiteY29" fmla="*/ 108364 h 1994638"/>
                <a:gd name="connsiteX30" fmla="*/ 8288580 w 10774893"/>
                <a:gd name="connsiteY30" fmla="*/ 201839 h 1994638"/>
                <a:gd name="connsiteX31" fmla="*/ 7322289 w 10774893"/>
                <a:gd name="connsiteY31" fmla="*/ 201839 h 1994638"/>
                <a:gd name="connsiteX32" fmla="*/ 5595999 w 10774893"/>
                <a:gd name="connsiteY32" fmla="*/ 193333 h 1994638"/>
                <a:gd name="connsiteX33" fmla="*/ 4510271 w 10774893"/>
                <a:gd name="connsiteY33" fmla="*/ 65870 h 1994638"/>
                <a:gd name="connsiteX34" fmla="*/ 2718839 w 10774893"/>
                <a:gd name="connsiteY34" fmla="*/ 57364 h 1994638"/>
                <a:gd name="connsiteX35" fmla="*/ 2179017 w 10774893"/>
                <a:gd name="connsiteY35" fmla="*/ 66415 h 1994638"/>
                <a:gd name="connsiteX0" fmla="*/ 2100767 w 10696643"/>
                <a:gd name="connsiteY0" fmla="*/ 66415 h 2006207"/>
                <a:gd name="connsiteX1" fmla="*/ 1983207 w 10696643"/>
                <a:gd name="connsiteY1" fmla="*/ 625754 h 2006207"/>
                <a:gd name="connsiteX2" fmla="*/ 110871 w 10696643"/>
                <a:gd name="connsiteY2" fmla="*/ 1790808 h 2006207"/>
                <a:gd name="connsiteX3" fmla="*/ 273735 w 10696643"/>
                <a:gd name="connsiteY3" fmla="*/ 1986246 h 2006207"/>
                <a:gd name="connsiteX4" fmla="*/ 436599 w 10696643"/>
                <a:gd name="connsiteY4" fmla="*/ 1858784 h 2006207"/>
                <a:gd name="connsiteX5" fmla="*/ 458313 w 10696643"/>
                <a:gd name="connsiteY5" fmla="*/ 1595370 h 2006207"/>
                <a:gd name="connsiteX6" fmla="*/ 610308 w 10696643"/>
                <a:gd name="connsiteY6" fmla="*/ 1510401 h 2006207"/>
                <a:gd name="connsiteX7" fmla="*/ 718876 w 10696643"/>
                <a:gd name="connsiteY7" fmla="*/ 1229994 h 2006207"/>
                <a:gd name="connsiteX8" fmla="*/ 827444 w 10696643"/>
                <a:gd name="connsiteY8" fmla="*/ 873105 h 2006207"/>
                <a:gd name="connsiteX9" fmla="*/ 979439 w 10696643"/>
                <a:gd name="connsiteY9" fmla="*/ 737154 h 2006207"/>
                <a:gd name="connsiteX10" fmla="*/ 1283430 w 10696643"/>
                <a:gd name="connsiteY10" fmla="*/ 737154 h 2006207"/>
                <a:gd name="connsiteX11" fmla="*/ 1858853 w 10696643"/>
                <a:gd name="connsiteY11" fmla="*/ 754148 h 2006207"/>
                <a:gd name="connsiteX12" fmla="*/ 2998852 w 10696643"/>
                <a:gd name="connsiteY12" fmla="*/ 754148 h 2006207"/>
                <a:gd name="connsiteX13" fmla="*/ 3693711 w 10696643"/>
                <a:gd name="connsiteY13" fmla="*/ 788136 h 2006207"/>
                <a:gd name="connsiteX14" fmla="*/ 4149721 w 10696643"/>
                <a:gd name="connsiteY14" fmla="*/ 728648 h 2006207"/>
                <a:gd name="connsiteX15" fmla="*/ 4627443 w 10696643"/>
                <a:gd name="connsiteY15" fmla="*/ 728648 h 2006207"/>
                <a:gd name="connsiteX16" fmla="*/ 5398312 w 10696643"/>
                <a:gd name="connsiteY16" fmla="*/ 771142 h 2006207"/>
                <a:gd name="connsiteX17" fmla="*/ 6277748 w 10696643"/>
                <a:gd name="connsiteY17" fmla="*/ 754148 h 2006207"/>
                <a:gd name="connsiteX18" fmla="*/ 6907466 w 10696643"/>
                <a:gd name="connsiteY18" fmla="*/ 762654 h 2006207"/>
                <a:gd name="connsiteX19" fmla="*/ 7743476 w 10696643"/>
                <a:gd name="connsiteY19" fmla="*/ 762654 h 2006207"/>
                <a:gd name="connsiteX20" fmla="*/ 8807489 w 10696643"/>
                <a:gd name="connsiteY20" fmla="*/ 788154 h 2006207"/>
                <a:gd name="connsiteX21" fmla="*/ 9556644 w 10696643"/>
                <a:gd name="connsiteY21" fmla="*/ 779648 h 2006207"/>
                <a:gd name="connsiteX22" fmla="*/ 10088639 w 10696643"/>
                <a:gd name="connsiteY22" fmla="*/ 771142 h 2006207"/>
                <a:gd name="connsiteX23" fmla="*/ 10566362 w 10696643"/>
                <a:gd name="connsiteY23" fmla="*/ 737154 h 2006207"/>
                <a:gd name="connsiteX24" fmla="*/ 10696643 w 10696643"/>
                <a:gd name="connsiteY24" fmla="*/ 754148 h 2006207"/>
                <a:gd name="connsiteX25" fmla="*/ 10696643 w 10696643"/>
                <a:gd name="connsiteY25" fmla="*/ 133791 h 2006207"/>
                <a:gd name="connsiteX26" fmla="*/ 10512067 w 10696643"/>
                <a:gd name="connsiteY26" fmla="*/ 65870 h 2006207"/>
                <a:gd name="connsiteX27" fmla="*/ 9697771 w 10696643"/>
                <a:gd name="connsiteY27" fmla="*/ 14889 h 2006207"/>
                <a:gd name="connsiteX28" fmla="*/ 9111480 w 10696643"/>
                <a:gd name="connsiteY28" fmla="*/ 108364 h 2006207"/>
                <a:gd name="connsiteX29" fmla="*/ 8210330 w 10696643"/>
                <a:gd name="connsiteY29" fmla="*/ 201839 h 2006207"/>
                <a:gd name="connsiteX30" fmla="*/ 7244039 w 10696643"/>
                <a:gd name="connsiteY30" fmla="*/ 201839 h 2006207"/>
                <a:gd name="connsiteX31" fmla="*/ 5517749 w 10696643"/>
                <a:gd name="connsiteY31" fmla="*/ 193333 h 2006207"/>
                <a:gd name="connsiteX32" fmla="*/ 4432021 w 10696643"/>
                <a:gd name="connsiteY32" fmla="*/ 65870 h 2006207"/>
                <a:gd name="connsiteX33" fmla="*/ 2640589 w 10696643"/>
                <a:gd name="connsiteY33" fmla="*/ 57364 h 2006207"/>
                <a:gd name="connsiteX34" fmla="*/ 2100767 w 10696643"/>
                <a:gd name="connsiteY34" fmla="*/ 66415 h 2006207"/>
                <a:gd name="connsiteX0" fmla="*/ 1827032 w 10422908"/>
                <a:gd name="connsiteY0" fmla="*/ 66415 h 1986245"/>
                <a:gd name="connsiteX1" fmla="*/ 1709472 w 10422908"/>
                <a:gd name="connsiteY1" fmla="*/ 625754 h 1986245"/>
                <a:gd name="connsiteX2" fmla="*/ 0 w 10422908"/>
                <a:gd name="connsiteY2" fmla="*/ 1986246 h 1986245"/>
                <a:gd name="connsiteX3" fmla="*/ 162864 w 10422908"/>
                <a:gd name="connsiteY3" fmla="*/ 1858784 h 1986245"/>
                <a:gd name="connsiteX4" fmla="*/ 184578 w 10422908"/>
                <a:gd name="connsiteY4" fmla="*/ 1595370 h 1986245"/>
                <a:gd name="connsiteX5" fmla="*/ 336573 w 10422908"/>
                <a:gd name="connsiteY5" fmla="*/ 1510401 h 1986245"/>
                <a:gd name="connsiteX6" fmla="*/ 445141 w 10422908"/>
                <a:gd name="connsiteY6" fmla="*/ 1229994 h 1986245"/>
                <a:gd name="connsiteX7" fmla="*/ 553709 w 10422908"/>
                <a:gd name="connsiteY7" fmla="*/ 873105 h 1986245"/>
                <a:gd name="connsiteX8" fmla="*/ 705704 w 10422908"/>
                <a:gd name="connsiteY8" fmla="*/ 737154 h 1986245"/>
                <a:gd name="connsiteX9" fmla="*/ 1009695 w 10422908"/>
                <a:gd name="connsiteY9" fmla="*/ 737154 h 1986245"/>
                <a:gd name="connsiteX10" fmla="*/ 1585118 w 10422908"/>
                <a:gd name="connsiteY10" fmla="*/ 754148 h 1986245"/>
                <a:gd name="connsiteX11" fmla="*/ 2725117 w 10422908"/>
                <a:gd name="connsiteY11" fmla="*/ 754148 h 1986245"/>
                <a:gd name="connsiteX12" fmla="*/ 3419976 w 10422908"/>
                <a:gd name="connsiteY12" fmla="*/ 788136 h 1986245"/>
                <a:gd name="connsiteX13" fmla="*/ 3875986 w 10422908"/>
                <a:gd name="connsiteY13" fmla="*/ 728648 h 1986245"/>
                <a:gd name="connsiteX14" fmla="*/ 4353708 w 10422908"/>
                <a:gd name="connsiteY14" fmla="*/ 728648 h 1986245"/>
                <a:gd name="connsiteX15" fmla="*/ 5124577 w 10422908"/>
                <a:gd name="connsiteY15" fmla="*/ 771142 h 1986245"/>
                <a:gd name="connsiteX16" fmla="*/ 6004013 w 10422908"/>
                <a:gd name="connsiteY16" fmla="*/ 754148 h 1986245"/>
                <a:gd name="connsiteX17" fmla="*/ 6633731 w 10422908"/>
                <a:gd name="connsiteY17" fmla="*/ 762654 h 1986245"/>
                <a:gd name="connsiteX18" fmla="*/ 7469741 w 10422908"/>
                <a:gd name="connsiteY18" fmla="*/ 762654 h 1986245"/>
                <a:gd name="connsiteX19" fmla="*/ 8533754 w 10422908"/>
                <a:gd name="connsiteY19" fmla="*/ 788154 h 1986245"/>
                <a:gd name="connsiteX20" fmla="*/ 9282909 w 10422908"/>
                <a:gd name="connsiteY20" fmla="*/ 779648 h 1986245"/>
                <a:gd name="connsiteX21" fmla="*/ 9814904 w 10422908"/>
                <a:gd name="connsiteY21" fmla="*/ 771142 h 1986245"/>
                <a:gd name="connsiteX22" fmla="*/ 10292627 w 10422908"/>
                <a:gd name="connsiteY22" fmla="*/ 737154 h 1986245"/>
                <a:gd name="connsiteX23" fmla="*/ 10422908 w 10422908"/>
                <a:gd name="connsiteY23" fmla="*/ 754148 h 1986245"/>
                <a:gd name="connsiteX24" fmla="*/ 10422908 w 10422908"/>
                <a:gd name="connsiteY24" fmla="*/ 133791 h 1986245"/>
                <a:gd name="connsiteX25" fmla="*/ 10238332 w 10422908"/>
                <a:gd name="connsiteY25" fmla="*/ 65870 h 1986245"/>
                <a:gd name="connsiteX26" fmla="*/ 9424036 w 10422908"/>
                <a:gd name="connsiteY26" fmla="*/ 14889 h 1986245"/>
                <a:gd name="connsiteX27" fmla="*/ 8837745 w 10422908"/>
                <a:gd name="connsiteY27" fmla="*/ 108364 h 1986245"/>
                <a:gd name="connsiteX28" fmla="*/ 7936595 w 10422908"/>
                <a:gd name="connsiteY28" fmla="*/ 201839 h 1986245"/>
                <a:gd name="connsiteX29" fmla="*/ 6970304 w 10422908"/>
                <a:gd name="connsiteY29" fmla="*/ 201839 h 1986245"/>
                <a:gd name="connsiteX30" fmla="*/ 5244014 w 10422908"/>
                <a:gd name="connsiteY30" fmla="*/ 193333 h 1986245"/>
                <a:gd name="connsiteX31" fmla="*/ 4158286 w 10422908"/>
                <a:gd name="connsiteY31" fmla="*/ 65870 h 1986245"/>
                <a:gd name="connsiteX32" fmla="*/ 2366854 w 10422908"/>
                <a:gd name="connsiteY32" fmla="*/ 57364 h 1986245"/>
                <a:gd name="connsiteX33" fmla="*/ 1827032 w 10422908"/>
                <a:gd name="connsiteY33" fmla="*/ 66415 h 1986245"/>
                <a:gd name="connsiteX0" fmla="*/ 1786453 w 10382329"/>
                <a:gd name="connsiteY0" fmla="*/ 66415 h 1901488"/>
                <a:gd name="connsiteX1" fmla="*/ 1668893 w 10382329"/>
                <a:gd name="connsiteY1" fmla="*/ 625754 h 1901488"/>
                <a:gd name="connsiteX2" fmla="*/ 122285 w 10382329"/>
                <a:gd name="connsiteY2" fmla="*/ 1858784 h 1901488"/>
                <a:gd name="connsiteX3" fmla="*/ 143999 w 10382329"/>
                <a:gd name="connsiteY3" fmla="*/ 1595370 h 1901488"/>
                <a:gd name="connsiteX4" fmla="*/ 295994 w 10382329"/>
                <a:gd name="connsiteY4" fmla="*/ 1510401 h 1901488"/>
                <a:gd name="connsiteX5" fmla="*/ 404562 w 10382329"/>
                <a:gd name="connsiteY5" fmla="*/ 1229994 h 1901488"/>
                <a:gd name="connsiteX6" fmla="*/ 513130 w 10382329"/>
                <a:gd name="connsiteY6" fmla="*/ 873105 h 1901488"/>
                <a:gd name="connsiteX7" fmla="*/ 665125 w 10382329"/>
                <a:gd name="connsiteY7" fmla="*/ 737154 h 1901488"/>
                <a:gd name="connsiteX8" fmla="*/ 969116 w 10382329"/>
                <a:gd name="connsiteY8" fmla="*/ 737154 h 1901488"/>
                <a:gd name="connsiteX9" fmla="*/ 1544539 w 10382329"/>
                <a:gd name="connsiteY9" fmla="*/ 754148 h 1901488"/>
                <a:gd name="connsiteX10" fmla="*/ 2684538 w 10382329"/>
                <a:gd name="connsiteY10" fmla="*/ 754148 h 1901488"/>
                <a:gd name="connsiteX11" fmla="*/ 3379397 w 10382329"/>
                <a:gd name="connsiteY11" fmla="*/ 788136 h 1901488"/>
                <a:gd name="connsiteX12" fmla="*/ 3835407 w 10382329"/>
                <a:gd name="connsiteY12" fmla="*/ 728648 h 1901488"/>
                <a:gd name="connsiteX13" fmla="*/ 4313129 w 10382329"/>
                <a:gd name="connsiteY13" fmla="*/ 728648 h 1901488"/>
                <a:gd name="connsiteX14" fmla="*/ 5083998 w 10382329"/>
                <a:gd name="connsiteY14" fmla="*/ 771142 h 1901488"/>
                <a:gd name="connsiteX15" fmla="*/ 5963434 w 10382329"/>
                <a:gd name="connsiteY15" fmla="*/ 754148 h 1901488"/>
                <a:gd name="connsiteX16" fmla="*/ 6593152 w 10382329"/>
                <a:gd name="connsiteY16" fmla="*/ 762654 h 1901488"/>
                <a:gd name="connsiteX17" fmla="*/ 7429162 w 10382329"/>
                <a:gd name="connsiteY17" fmla="*/ 762654 h 1901488"/>
                <a:gd name="connsiteX18" fmla="*/ 8493175 w 10382329"/>
                <a:gd name="connsiteY18" fmla="*/ 788154 h 1901488"/>
                <a:gd name="connsiteX19" fmla="*/ 9242330 w 10382329"/>
                <a:gd name="connsiteY19" fmla="*/ 779648 h 1901488"/>
                <a:gd name="connsiteX20" fmla="*/ 9774325 w 10382329"/>
                <a:gd name="connsiteY20" fmla="*/ 771142 h 1901488"/>
                <a:gd name="connsiteX21" fmla="*/ 10252048 w 10382329"/>
                <a:gd name="connsiteY21" fmla="*/ 737154 h 1901488"/>
                <a:gd name="connsiteX22" fmla="*/ 10382329 w 10382329"/>
                <a:gd name="connsiteY22" fmla="*/ 754148 h 1901488"/>
                <a:gd name="connsiteX23" fmla="*/ 10382329 w 10382329"/>
                <a:gd name="connsiteY23" fmla="*/ 133791 h 1901488"/>
                <a:gd name="connsiteX24" fmla="*/ 10197753 w 10382329"/>
                <a:gd name="connsiteY24" fmla="*/ 65870 h 1901488"/>
                <a:gd name="connsiteX25" fmla="*/ 9383457 w 10382329"/>
                <a:gd name="connsiteY25" fmla="*/ 14889 h 1901488"/>
                <a:gd name="connsiteX26" fmla="*/ 8797166 w 10382329"/>
                <a:gd name="connsiteY26" fmla="*/ 108364 h 1901488"/>
                <a:gd name="connsiteX27" fmla="*/ 7896016 w 10382329"/>
                <a:gd name="connsiteY27" fmla="*/ 201839 h 1901488"/>
                <a:gd name="connsiteX28" fmla="*/ 6929725 w 10382329"/>
                <a:gd name="connsiteY28" fmla="*/ 201839 h 1901488"/>
                <a:gd name="connsiteX29" fmla="*/ 5203435 w 10382329"/>
                <a:gd name="connsiteY29" fmla="*/ 193333 h 1901488"/>
                <a:gd name="connsiteX30" fmla="*/ 4117707 w 10382329"/>
                <a:gd name="connsiteY30" fmla="*/ 65870 h 1901488"/>
                <a:gd name="connsiteX31" fmla="*/ 2326275 w 10382329"/>
                <a:gd name="connsiteY31" fmla="*/ 57364 h 1901488"/>
                <a:gd name="connsiteX32" fmla="*/ 1786453 w 10382329"/>
                <a:gd name="connsiteY32" fmla="*/ 66415 h 1901488"/>
                <a:gd name="connsiteX0" fmla="*/ 1724759 w 10320635"/>
                <a:gd name="connsiteY0" fmla="*/ 66415 h 1652063"/>
                <a:gd name="connsiteX1" fmla="*/ 1607199 w 10320635"/>
                <a:gd name="connsiteY1" fmla="*/ 625754 h 1652063"/>
                <a:gd name="connsiteX2" fmla="*/ 82305 w 10320635"/>
                <a:gd name="connsiteY2" fmla="*/ 1595370 h 1652063"/>
                <a:gd name="connsiteX3" fmla="*/ 234300 w 10320635"/>
                <a:gd name="connsiteY3" fmla="*/ 1510401 h 1652063"/>
                <a:gd name="connsiteX4" fmla="*/ 342868 w 10320635"/>
                <a:gd name="connsiteY4" fmla="*/ 1229994 h 1652063"/>
                <a:gd name="connsiteX5" fmla="*/ 451436 w 10320635"/>
                <a:gd name="connsiteY5" fmla="*/ 873105 h 1652063"/>
                <a:gd name="connsiteX6" fmla="*/ 603431 w 10320635"/>
                <a:gd name="connsiteY6" fmla="*/ 737154 h 1652063"/>
                <a:gd name="connsiteX7" fmla="*/ 907422 w 10320635"/>
                <a:gd name="connsiteY7" fmla="*/ 737154 h 1652063"/>
                <a:gd name="connsiteX8" fmla="*/ 1482845 w 10320635"/>
                <a:gd name="connsiteY8" fmla="*/ 754148 h 1652063"/>
                <a:gd name="connsiteX9" fmla="*/ 2622844 w 10320635"/>
                <a:gd name="connsiteY9" fmla="*/ 754148 h 1652063"/>
                <a:gd name="connsiteX10" fmla="*/ 3317703 w 10320635"/>
                <a:gd name="connsiteY10" fmla="*/ 788136 h 1652063"/>
                <a:gd name="connsiteX11" fmla="*/ 3773713 w 10320635"/>
                <a:gd name="connsiteY11" fmla="*/ 728648 h 1652063"/>
                <a:gd name="connsiteX12" fmla="*/ 4251435 w 10320635"/>
                <a:gd name="connsiteY12" fmla="*/ 728648 h 1652063"/>
                <a:gd name="connsiteX13" fmla="*/ 5022304 w 10320635"/>
                <a:gd name="connsiteY13" fmla="*/ 771142 h 1652063"/>
                <a:gd name="connsiteX14" fmla="*/ 5901740 w 10320635"/>
                <a:gd name="connsiteY14" fmla="*/ 754148 h 1652063"/>
                <a:gd name="connsiteX15" fmla="*/ 6531458 w 10320635"/>
                <a:gd name="connsiteY15" fmla="*/ 762654 h 1652063"/>
                <a:gd name="connsiteX16" fmla="*/ 7367468 w 10320635"/>
                <a:gd name="connsiteY16" fmla="*/ 762654 h 1652063"/>
                <a:gd name="connsiteX17" fmla="*/ 8431481 w 10320635"/>
                <a:gd name="connsiteY17" fmla="*/ 788154 h 1652063"/>
                <a:gd name="connsiteX18" fmla="*/ 9180636 w 10320635"/>
                <a:gd name="connsiteY18" fmla="*/ 779648 h 1652063"/>
                <a:gd name="connsiteX19" fmla="*/ 9712631 w 10320635"/>
                <a:gd name="connsiteY19" fmla="*/ 771142 h 1652063"/>
                <a:gd name="connsiteX20" fmla="*/ 10190354 w 10320635"/>
                <a:gd name="connsiteY20" fmla="*/ 737154 h 1652063"/>
                <a:gd name="connsiteX21" fmla="*/ 10320635 w 10320635"/>
                <a:gd name="connsiteY21" fmla="*/ 754148 h 1652063"/>
                <a:gd name="connsiteX22" fmla="*/ 10320635 w 10320635"/>
                <a:gd name="connsiteY22" fmla="*/ 133791 h 1652063"/>
                <a:gd name="connsiteX23" fmla="*/ 10136059 w 10320635"/>
                <a:gd name="connsiteY23" fmla="*/ 65870 h 1652063"/>
                <a:gd name="connsiteX24" fmla="*/ 9321763 w 10320635"/>
                <a:gd name="connsiteY24" fmla="*/ 14889 h 1652063"/>
                <a:gd name="connsiteX25" fmla="*/ 8735472 w 10320635"/>
                <a:gd name="connsiteY25" fmla="*/ 108364 h 1652063"/>
                <a:gd name="connsiteX26" fmla="*/ 7834322 w 10320635"/>
                <a:gd name="connsiteY26" fmla="*/ 201839 h 1652063"/>
                <a:gd name="connsiteX27" fmla="*/ 6868031 w 10320635"/>
                <a:gd name="connsiteY27" fmla="*/ 201839 h 1652063"/>
                <a:gd name="connsiteX28" fmla="*/ 5141741 w 10320635"/>
                <a:gd name="connsiteY28" fmla="*/ 193333 h 1652063"/>
                <a:gd name="connsiteX29" fmla="*/ 4056013 w 10320635"/>
                <a:gd name="connsiteY29" fmla="*/ 65870 h 1652063"/>
                <a:gd name="connsiteX30" fmla="*/ 2264581 w 10320635"/>
                <a:gd name="connsiteY30" fmla="*/ 57364 h 1652063"/>
                <a:gd name="connsiteX31" fmla="*/ 1724759 w 10320635"/>
                <a:gd name="connsiteY31" fmla="*/ 66415 h 1652063"/>
                <a:gd name="connsiteX0" fmla="*/ 1567192 w 10163068"/>
                <a:gd name="connsiteY0" fmla="*/ 66415 h 1535484"/>
                <a:gd name="connsiteX1" fmla="*/ 1449632 w 10163068"/>
                <a:gd name="connsiteY1" fmla="*/ 625754 h 1535484"/>
                <a:gd name="connsiteX2" fmla="*/ 76733 w 10163068"/>
                <a:gd name="connsiteY2" fmla="*/ 1510401 h 1535484"/>
                <a:gd name="connsiteX3" fmla="*/ 185301 w 10163068"/>
                <a:gd name="connsiteY3" fmla="*/ 1229994 h 1535484"/>
                <a:gd name="connsiteX4" fmla="*/ 293869 w 10163068"/>
                <a:gd name="connsiteY4" fmla="*/ 873105 h 1535484"/>
                <a:gd name="connsiteX5" fmla="*/ 445864 w 10163068"/>
                <a:gd name="connsiteY5" fmla="*/ 737154 h 1535484"/>
                <a:gd name="connsiteX6" fmla="*/ 749855 w 10163068"/>
                <a:gd name="connsiteY6" fmla="*/ 737154 h 1535484"/>
                <a:gd name="connsiteX7" fmla="*/ 1325278 w 10163068"/>
                <a:gd name="connsiteY7" fmla="*/ 754148 h 1535484"/>
                <a:gd name="connsiteX8" fmla="*/ 2465277 w 10163068"/>
                <a:gd name="connsiteY8" fmla="*/ 754148 h 1535484"/>
                <a:gd name="connsiteX9" fmla="*/ 3160136 w 10163068"/>
                <a:gd name="connsiteY9" fmla="*/ 788136 h 1535484"/>
                <a:gd name="connsiteX10" fmla="*/ 3616146 w 10163068"/>
                <a:gd name="connsiteY10" fmla="*/ 728648 h 1535484"/>
                <a:gd name="connsiteX11" fmla="*/ 4093868 w 10163068"/>
                <a:gd name="connsiteY11" fmla="*/ 728648 h 1535484"/>
                <a:gd name="connsiteX12" fmla="*/ 4864737 w 10163068"/>
                <a:gd name="connsiteY12" fmla="*/ 771142 h 1535484"/>
                <a:gd name="connsiteX13" fmla="*/ 5744173 w 10163068"/>
                <a:gd name="connsiteY13" fmla="*/ 754148 h 1535484"/>
                <a:gd name="connsiteX14" fmla="*/ 6373891 w 10163068"/>
                <a:gd name="connsiteY14" fmla="*/ 762654 h 1535484"/>
                <a:gd name="connsiteX15" fmla="*/ 7209901 w 10163068"/>
                <a:gd name="connsiteY15" fmla="*/ 762654 h 1535484"/>
                <a:gd name="connsiteX16" fmla="*/ 8273914 w 10163068"/>
                <a:gd name="connsiteY16" fmla="*/ 788154 h 1535484"/>
                <a:gd name="connsiteX17" fmla="*/ 9023069 w 10163068"/>
                <a:gd name="connsiteY17" fmla="*/ 779648 h 1535484"/>
                <a:gd name="connsiteX18" fmla="*/ 9555064 w 10163068"/>
                <a:gd name="connsiteY18" fmla="*/ 771142 h 1535484"/>
                <a:gd name="connsiteX19" fmla="*/ 10032787 w 10163068"/>
                <a:gd name="connsiteY19" fmla="*/ 737154 h 1535484"/>
                <a:gd name="connsiteX20" fmla="*/ 10163068 w 10163068"/>
                <a:gd name="connsiteY20" fmla="*/ 754148 h 1535484"/>
                <a:gd name="connsiteX21" fmla="*/ 10163068 w 10163068"/>
                <a:gd name="connsiteY21" fmla="*/ 133791 h 1535484"/>
                <a:gd name="connsiteX22" fmla="*/ 9978492 w 10163068"/>
                <a:gd name="connsiteY22" fmla="*/ 65870 h 1535484"/>
                <a:gd name="connsiteX23" fmla="*/ 9164196 w 10163068"/>
                <a:gd name="connsiteY23" fmla="*/ 14889 h 1535484"/>
                <a:gd name="connsiteX24" fmla="*/ 8577905 w 10163068"/>
                <a:gd name="connsiteY24" fmla="*/ 108364 h 1535484"/>
                <a:gd name="connsiteX25" fmla="*/ 7676755 w 10163068"/>
                <a:gd name="connsiteY25" fmla="*/ 201839 h 1535484"/>
                <a:gd name="connsiteX26" fmla="*/ 6710464 w 10163068"/>
                <a:gd name="connsiteY26" fmla="*/ 201839 h 1535484"/>
                <a:gd name="connsiteX27" fmla="*/ 4984174 w 10163068"/>
                <a:gd name="connsiteY27" fmla="*/ 193333 h 1535484"/>
                <a:gd name="connsiteX28" fmla="*/ 3898446 w 10163068"/>
                <a:gd name="connsiteY28" fmla="*/ 65870 h 1535484"/>
                <a:gd name="connsiteX29" fmla="*/ 2107014 w 10163068"/>
                <a:gd name="connsiteY29" fmla="*/ 57364 h 1535484"/>
                <a:gd name="connsiteX30" fmla="*/ 1567192 w 10163068"/>
                <a:gd name="connsiteY30" fmla="*/ 66415 h 1535484"/>
                <a:gd name="connsiteX0" fmla="*/ 1453651 w 10049527"/>
                <a:gd name="connsiteY0" fmla="*/ 66415 h 1233597"/>
                <a:gd name="connsiteX1" fmla="*/ 1336091 w 10049527"/>
                <a:gd name="connsiteY1" fmla="*/ 625754 h 1233597"/>
                <a:gd name="connsiteX2" fmla="*/ 71760 w 10049527"/>
                <a:gd name="connsiteY2" fmla="*/ 1229994 h 1233597"/>
                <a:gd name="connsiteX3" fmla="*/ 180328 w 10049527"/>
                <a:gd name="connsiteY3" fmla="*/ 873105 h 1233597"/>
                <a:gd name="connsiteX4" fmla="*/ 332323 w 10049527"/>
                <a:gd name="connsiteY4" fmla="*/ 737154 h 1233597"/>
                <a:gd name="connsiteX5" fmla="*/ 636314 w 10049527"/>
                <a:gd name="connsiteY5" fmla="*/ 737154 h 1233597"/>
                <a:gd name="connsiteX6" fmla="*/ 1211737 w 10049527"/>
                <a:gd name="connsiteY6" fmla="*/ 754148 h 1233597"/>
                <a:gd name="connsiteX7" fmla="*/ 2351736 w 10049527"/>
                <a:gd name="connsiteY7" fmla="*/ 754148 h 1233597"/>
                <a:gd name="connsiteX8" fmla="*/ 3046595 w 10049527"/>
                <a:gd name="connsiteY8" fmla="*/ 788136 h 1233597"/>
                <a:gd name="connsiteX9" fmla="*/ 3502605 w 10049527"/>
                <a:gd name="connsiteY9" fmla="*/ 728648 h 1233597"/>
                <a:gd name="connsiteX10" fmla="*/ 3980327 w 10049527"/>
                <a:gd name="connsiteY10" fmla="*/ 728648 h 1233597"/>
                <a:gd name="connsiteX11" fmla="*/ 4751196 w 10049527"/>
                <a:gd name="connsiteY11" fmla="*/ 771142 h 1233597"/>
                <a:gd name="connsiteX12" fmla="*/ 5630632 w 10049527"/>
                <a:gd name="connsiteY12" fmla="*/ 754148 h 1233597"/>
                <a:gd name="connsiteX13" fmla="*/ 6260350 w 10049527"/>
                <a:gd name="connsiteY13" fmla="*/ 762654 h 1233597"/>
                <a:gd name="connsiteX14" fmla="*/ 7096360 w 10049527"/>
                <a:gd name="connsiteY14" fmla="*/ 762654 h 1233597"/>
                <a:gd name="connsiteX15" fmla="*/ 8160373 w 10049527"/>
                <a:gd name="connsiteY15" fmla="*/ 788154 h 1233597"/>
                <a:gd name="connsiteX16" fmla="*/ 8909528 w 10049527"/>
                <a:gd name="connsiteY16" fmla="*/ 779648 h 1233597"/>
                <a:gd name="connsiteX17" fmla="*/ 9441523 w 10049527"/>
                <a:gd name="connsiteY17" fmla="*/ 771142 h 1233597"/>
                <a:gd name="connsiteX18" fmla="*/ 9919246 w 10049527"/>
                <a:gd name="connsiteY18" fmla="*/ 737154 h 1233597"/>
                <a:gd name="connsiteX19" fmla="*/ 10049527 w 10049527"/>
                <a:gd name="connsiteY19" fmla="*/ 754148 h 1233597"/>
                <a:gd name="connsiteX20" fmla="*/ 10049527 w 10049527"/>
                <a:gd name="connsiteY20" fmla="*/ 133791 h 1233597"/>
                <a:gd name="connsiteX21" fmla="*/ 9864951 w 10049527"/>
                <a:gd name="connsiteY21" fmla="*/ 65870 h 1233597"/>
                <a:gd name="connsiteX22" fmla="*/ 9050655 w 10049527"/>
                <a:gd name="connsiteY22" fmla="*/ 14889 h 1233597"/>
                <a:gd name="connsiteX23" fmla="*/ 8464364 w 10049527"/>
                <a:gd name="connsiteY23" fmla="*/ 108364 h 1233597"/>
                <a:gd name="connsiteX24" fmla="*/ 7563214 w 10049527"/>
                <a:gd name="connsiteY24" fmla="*/ 201839 h 1233597"/>
                <a:gd name="connsiteX25" fmla="*/ 6596923 w 10049527"/>
                <a:gd name="connsiteY25" fmla="*/ 201839 h 1233597"/>
                <a:gd name="connsiteX26" fmla="*/ 4870633 w 10049527"/>
                <a:gd name="connsiteY26" fmla="*/ 193333 h 1233597"/>
                <a:gd name="connsiteX27" fmla="*/ 3784905 w 10049527"/>
                <a:gd name="connsiteY27" fmla="*/ 65870 h 1233597"/>
                <a:gd name="connsiteX28" fmla="*/ 1993473 w 10049527"/>
                <a:gd name="connsiteY28" fmla="*/ 57364 h 1233597"/>
                <a:gd name="connsiteX29" fmla="*/ 1453651 w 10049527"/>
                <a:gd name="connsiteY29" fmla="*/ 66415 h 1233597"/>
                <a:gd name="connsiteX0" fmla="*/ 1428093 w 10023969"/>
                <a:gd name="connsiteY0" fmla="*/ 66415 h 1230579"/>
                <a:gd name="connsiteX1" fmla="*/ 1310533 w 10023969"/>
                <a:gd name="connsiteY1" fmla="*/ 625754 h 1230579"/>
                <a:gd name="connsiteX2" fmla="*/ 46202 w 10023969"/>
                <a:gd name="connsiteY2" fmla="*/ 1229994 h 1230579"/>
                <a:gd name="connsiteX3" fmla="*/ 306765 w 10023969"/>
                <a:gd name="connsiteY3" fmla="*/ 737154 h 1230579"/>
                <a:gd name="connsiteX4" fmla="*/ 610756 w 10023969"/>
                <a:gd name="connsiteY4" fmla="*/ 737154 h 1230579"/>
                <a:gd name="connsiteX5" fmla="*/ 1186179 w 10023969"/>
                <a:gd name="connsiteY5" fmla="*/ 754148 h 1230579"/>
                <a:gd name="connsiteX6" fmla="*/ 2326178 w 10023969"/>
                <a:gd name="connsiteY6" fmla="*/ 754148 h 1230579"/>
                <a:gd name="connsiteX7" fmla="*/ 3021037 w 10023969"/>
                <a:gd name="connsiteY7" fmla="*/ 788136 h 1230579"/>
                <a:gd name="connsiteX8" fmla="*/ 3477047 w 10023969"/>
                <a:gd name="connsiteY8" fmla="*/ 728648 h 1230579"/>
                <a:gd name="connsiteX9" fmla="*/ 3954769 w 10023969"/>
                <a:gd name="connsiteY9" fmla="*/ 728648 h 1230579"/>
                <a:gd name="connsiteX10" fmla="*/ 4725638 w 10023969"/>
                <a:gd name="connsiteY10" fmla="*/ 771142 h 1230579"/>
                <a:gd name="connsiteX11" fmla="*/ 5605074 w 10023969"/>
                <a:gd name="connsiteY11" fmla="*/ 754148 h 1230579"/>
                <a:gd name="connsiteX12" fmla="*/ 6234792 w 10023969"/>
                <a:gd name="connsiteY12" fmla="*/ 762654 h 1230579"/>
                <a:gd name="connsiteX13" fmla="*/ 7070802 w 10023969"/>
                <a:gd name="connsiteY13" fmla="*/ 762654 h 1230579"/>
                <a:gd name="connsiteX14" fmla="*/ 8134815 w 10023969"/>
                <a:gd name="connsiteY14" fmla="*/ 788154 h 1230579"/>
                <a:gd name="connsiteX15" fmla="*/ 8883970 w 10023969"/>
                <a:gd name="connsiteY15" fmla="*/ 779648 h 1230579"/>
                <a:gd name="connsiteX16" fmla="*/ 9415965 w 10023969"/>
                <a:gd name="connsiteY16" fmla="*/ 771142 h 1230579"/>
                <a:gd name="connsiteX17" fmla="*/ 9893688 w 10023969"/>
                <a:gd name="connsiteY17" fmla="*/ 737154 h 1230579"/>
                <a:gd name="connsiteX18" fmla="*/ 10023969 w 10023969"/>
                <a:gd name="connsiteY18" fmla="*/ 754148 h 1230579"/>
                <a:gd name="connsiteX19" fmla="*/ 10023969 w 10023969"/>
                <a:gd name="connsiteY19" fmla="*/ 133791 h 1230579"/>
                <a:gd name="connsiteX20" fmla="*/ 9839393 w 10023969"/>
                <a:gd name="connsiteY20" fmla="*/ 65870 h 1230579"/>
                <a:gd name="connsiteX21" fmla="*/ 9025097 w 10023969"/>
                <a:gd name="connsiteY21" fmla="*/ 14889 h 1230579"/>
                <a:gd name="connsiteX22" fmla="*/ 8438806 w 10023969"/>
                <a:gd name="connsiteY22" fmla="*/ 108364 h 1230579"/>
                <a:gd name="connsiteX23" fmla="*/ 7537656 w 10023969"/>
                <a:gd name="connsiteY23" fmla="*/ 201839 h 1230579"/>
                <a:gd name="connsiteX24" fmla="*/ 6571365 w 10023969"/>
                <a:gd name="connsiteY24" fmla="*/ 201839 h 1230579"/>
                <a:gd name="connsiteX25" fmla="*/ 4845075 w 10023969"/>
                <a:gd name="connsiteY25" fmla="*/ 193333 h 1230579"/>
                <a:gd name="connsiteX26" fmla="*/ 3759347 w 10023969"/>
                <a:gd name="connsiteY26" fmla="*/ 65870 h 1230579"/>
                <a:gd name="connsiteX27" fmla="*/ 1967915 w 10023969"/>
                <a:gd name="connsiteY27" fmla="*/ 57364 h 1230579"/>
                <a:gd name="connsiteX28" fmla="*/ 1428093 w 10023969"/>
                <a:gd name="connsiteY28" fmla="*/ 66415 h 1230579"/>
                <a:gd name="connsiteX0" fmla="*/ 1143230 w 9739106"/>
                <a:gd name="connsiteY0" fmla="*/ 66415 h 797578"/>
                <a:gd name="connsiteX1" fmla="*/ 1025670 w 9739106"/>
                <a:gd name="connsiteY1" fmla="*/ 625754 h 797578"/>
                <a:gd name="connsiteX2" fmla="*/ 21902 w 9739106"/>
                <a:gd name="connsiteY2" fmla="*/ 737154 h 797578"/>
                <a:gd name="connsiteX3" fmla="*/ 325893 w 9739106"/>
                <a:gd name="connsiteY3" fmla="*/ 737154 h 797578"/>
                <a:gd name="connsiteX4" fmla="*/ 901316 w 9739106"/>
                <a:gd name="connsiteY4" fmla="*/ 754148 h 797578"/>
                <a:gd name="connsiteX5" fmla="*/ 2041315 w 9739106"/>
                <a:gd name="connsiteY5" fmla="*/ 754148 h 797578"/>
                <a:gd name="connsiteX6" fmla="*/ 2736174 w 9739106"/>
                <a:gd name="connsiteY6" fmla="*/ 788136 h 797578"/>
                <a:gd name="connsiteX7" fmla="*/ 3192184 w 9739106"/>
                <a:gd name="connsiteY7" fmla="*/ 728648 h 797578"/>
                <a:gd name="connsiteX8" fmla="*/ 3669906 w 9739106"/>
                <a:gd name="connsiteY8" fmla="*/ 728648 h 797578"/>
                <a:gd name="connsiteX9" fmla="*/ 4440775 w 9739106"/>
                <a:gd name="connsiteY9" fmla="*/ 771142 h 797578"/>
                <a:gd name="connsiteX10" fmla="*/ 5320211 w 9739106"/>
                <a:gd name="connsiteY10" fmla="*/ 754148 h 797578"/>
                <a:gd name="connsiteX11" fmla="*/ 5949929 w 9739106"/>
                <a:gd name="connsiteY11" fmla="*/ 762654 h 797578"/>
                <a:gd name="connsiteX12" fmla="*/ 6785939 w 9739106"/>
                <a:gd name="connsiteY12" fmla="*/ 762654 h 797578"/>
                <a:gd name="connsiteX13" fmla="*/ 7849952 w 9739106"/>
                <a:gd name="connsiteY13" fmla="*/ 788154 h 797578"/>
                <a:gd name="connsiteX14" fmla="*/ 8599107 w 9739106"/>
                <a:gd name="connsiteY14" fmla="*/ 779648 h 797578"/>
                <a:gd name="connsiteX15" fmla="*/ 9131102 w 9739106"/>
                <a:gd name="connsiteY15" fmla="*/ 771142 h 797578"/>
                <a:gd name="connsiteX16" fmla="*/ 9608825 w 9739106"/>
                <a:gd name="connsiteY16" fmla="*/ 737154 h 797578"/>
                <a:gd name="connsiteX17" fmla="*/ 9739106 w 9739106"/>
                <a:gd name="connsiteY17" fmla="*/ 754148 h 797578"/>
                <a:gd name="connsiteX18" fmla="*/ 9739106 w 9739106"/>
                <a:gd name="connsiteY18" fmla="*/ 133791 h 797578"/>
                <a:gd name="connsiteX19" fmla="*/ 9554530 w 9739106"/>
                <a:gd name="connsiteY19" fmla="*/ 65870 h 797578"/>
                <a:gd name="connsiteX20" fmla="*/ 8740234 w 9739106"/>
                <a:gd name="connsiteY20" fmla="*/ 14889 h 797578"/>
                <a:gd name="connsiteX21" fmla="*/ 8153943 w 9739106"/>
                <a:gd name="connsiteY21" fmla="*/ 108364 h 797578"/>
                <a:gd name="connsiteX22" fmla="*/ 7252793 w 9739106"/>
                <a:gd name="connsiteY22" fmla="*/ 201839 h 797578"/>
                <a:gd name="connsiteX23" fmla="*/ 6286502 w 9739106"/>
                <a:gd name="connsiteY23" fmla="*/ 201839 h 797578"/>
                <a:gd name="connsiteX24" fmla="*/ 4560212 w 9739106"/>
                <a:gd name="connsiteY24" fmla="*/ 193333 h 797578"/>
                <a:gd name="connsiteX25" fmla="*/ 3474484 w 9739106"/>
                <a:gd name="connsiteY25" fmla="*/ 65870 h 797578"/>
                <a:gd name="connsiteX26" fmla="*/ 1683052 w 9739106"/>
                <a:gd name="connsiteY26" fmla="*/ 57364 h 797578"/>
                <a:gd name="connsiteX27" fmla="*/ 1143230 w 9739106"/>
                <a:gd name="connsiteY27" fmla="*/ 66415 h 797578"/>
                <a:gd name="connsiteX0" fmla="*/ 817337 w 9413213"/>
                <a:gd name="connsiteY0" fmla="*/ 66415 h 797576"/>
                <a:gd name="connsiteX1" fmla="*/ 699777 w 9413213"/>
                <a:gd name="connsiteY1" fmla="*/ 625754 h 797576"/>
                <a:gd name="connsiteX2" fmla="*/ 0 w 9413213"/>
                <a:gd name="connsiteY2" fmla="*/ 737154 h 797576"/>
                <a:gd name="connsiteX3" fmla="*/ 575423 w 9413213"/>
                <a:gd name="connsiteY3" fmla="*/ 754148 h 797576"/>
                <a:gd name="connsiteX4" fmla="*/ 1715422 w 9413213"/>
                <a:gd name="connsiteY4" fmla="*/ 754148 h 797576"/>
                <a:gd name="connsiteX5" fmla="*/ 2410281 w 9413213"/>
                <a:gd name="connsiteY5" fmla="*/ 788136 h 797576"/>
                <a:gd name="connsiteX6" fmla="*/ 2866291 w 9413213"/>
                <a:gd name="connsiteY6" fmla="*/ 728648 h 797576"/>
                <a:gd name="connsiteX7" fmla="*/ 3344013 w 9413213"/>
                <a:gd name="connsiteY7" fmla="*/ 728648 h 797576"/>
                <a:gd name="connsiteX8" fmla="*/ 4114882 w 9413213"/>
                <a:gd name="connsiteY8" fmla="*/ 771142 h 797576"/>
                <a:gd name="connsiteX9" fmla="*/ 4994318 w 9413213"/>
                <a:gd name="connsiteY9" fmla="*/ 754148 h 797576"/>
                <a:gd name="connsiteX10" fmla="*/ 5624036 w 9413213"/>
                <a:gd name="connsiteY10" fmla="*/ 762654 h 797576"/>
                <a:gd name="connsiteX11" fmla="*/ 6460046 w 9413213"/>
                <a:gd name="connsiteY11" fmla="*/ 762654 h 797576"/>
                <a:gd name="connsiteX12" fmla="*/ 7524059 w 9413213"/>
                <a:gd name="connsiteY12" fmla="*/ 788154 h 797576"/>
                <a:gd name="connsiteX13" fmla="*/ 8273214 w 9413213"/>
                <a:gd name="connsiteY13" fmla="*/ 779648 h 797576"/>
                <a:gd name="connsiteX14" fmla="*/ 8805209 w 9413213"/>
                <a:gd name="connsiteY14" fmla="*/ 771142 h 797576"/>
                <a:gd name="connsiteX15" fmla="*/ 9282932 w 9413213"/>
                <a:gd name="connsiteY15" fmla="*/ 737154 h 797576"/>
                <a:gd name="connsiteX16" fmla="*/ 9413213 w 9413213"/>
                <a:gd name="connsiteY16" fmla="*/ 754148 h 797576"/>
                <a:gd name="connsiteX17" fmla="*/ 9413213 w 9413213"/>
                <a:gd name="connsiteY17" fmla="*/ 133791 h 797576"/>
                <a:gd name="connsiteX18" fmla="*/ 9228637 w 9413213"/>
                <a:gd name="connsiteY18" fmla="*/ 65870 h 797576"/>
                <a:gd name="connsiteX19" fmla="*/ 8414341 w 9413213"/>
                <a:gd name="connsiteY19" fmla="*/ 14889 h 797576"/>
                <a:gd name="connsiteX20" fmla="*/ 7828050 w 9413213"/>
                <a:gd name="connsiteY20" fmla="*/ 108364 h 797576"/>
                <a:gd name="connsiteX21" fmla="*/ 6926900 w 9413213"/>
                <a:gd name="connsiteY21" fmla="*/ 201839 h 797576"/>
                <a:gd name="connsiteX22" fmla="*/ 5960609 w 9413213"/>
                <a:gd name="connsiteY22" fmla="*/ 201839 h 797576"/>
                <a:gd name="connsiteX23" fmla="*/ 4234319 w 9413213"/>
                <a:gd name="connsiteY23" fmla="*/ 193333 h 797576"/>
                <a:gd name="connsiteX24" fmla="*/ 3148591 w 9413213"/>
                <a:gd name="connsiteY24" fmla="*/ 65870 h 797576"/>
                <a:gd name="connsiteX25" fmla="*/ 1357159 w 9413213"/>
                <a:gd name="connsiteY25" fmla="*/ 57364 h 797576"/>
                <a:gd name="connsiteX26" fmla="*/ 817337 w 9413213"/>
                <a:gd name="connsiteY26" fmla="*/ 66415 h 797576"/>
                <a:gd name="connsiteX0" fmla="*/ 299581 w 8895457"/>
                <a:gd name="connsiteY0" fmla="*/ 66415 h 797578"/>
                <a:gd name="connsiteX1" fmla="*/ 182021 w 8895457"/>
                <a:gd name="connsiteY1" fmla="*/ 625754 h 797578"/>
                <a:gd name="connsiteX2" fmla="*/ 57667 w 8895457"/>
                <a:gd name="connsiteY2" fmla="*/ 754148 h 797578"/>
                <a:gd name="connsiteX3" fmla="*/ 1197666 w 8895457"/>
                <a:gd name="connsiteY3" fmla="*/ 754148 h 797578"/>
                <a:gd name="connsiteX4" fmla="*/ 1892525 w 8895457"/>
                <a:gd name="connsiteY4" fmla="*/ 788136 h 797578"/>
                <a:gd name="connsiteX5" fmla="*/ 2348535 w 8895457"/>
                <a:gd name="connsiteY5" fmla="*/ 728648 h 797578"/>
                <a:gd name="connsiteX6" fmla="*/ 2826257 w 8895457"/>
                <a:gd name="connsiteY6" fmla="*/ 728648 h 797578"/>
                <a:gd name="connsiteX7" fmla="*/ 3597126 w 8895457"/>
                <a:gd name="connsiteY7" fmla="*/ 771142 h 797578"/>
                <a:gd name="connsiteX8" fmla="*/ 4476562 w 8895457"/>
                <a:gd name="connsiteY8" fmla="*/ 754148 h 797578"/>
                <a:gd name="connsiteX9" fmla="*/ 5106280 w 8895457"/>
                <a:gd name="connsiteY9" fmla="*/ 762654 h 797578"/>
                <a:gd name="connsiteX10" fmla="*/ 5942290 w 8895457"/>
                <a:gd name="connsiteY10" fmla="*/ 762654 h 797578"/>
                <a:gd name="connsiteX11" fmla="*/ 7006303 w 8895457"/>
                <a:gd name="connsiteY11" fmla="*/ 788154 h 797578"/>
                <a:gd name="connsiteX12" fmla="*/ 7755458 w 8895457"/>
                <a:gd name="connsiteY12" fmla="*/ 779648 h 797578"/>
                <a:gd name="connsiteX13" fmla="*/ 8287453 w 8895457"/>
                <a:gd name="connsiteY13" fmla="*/ 771142 h 797578"/>
                <a:gd name="connsiteX14" fmla="*/ 8765176 w 8895457"/>
                <a:gd name="connsiteY14" fmla="*/ 737154 h 797578"/>
                <a:gd name="connsiteX15" fmla="*/ 8895457 w 8895457"/>
                <a:gd name="connsiteY15" fmla="*/ 754148 h 797578"/>
                <a:gd name="connsiteX16" fmla="*/ 8895457 w 8895457"/>
                <a:gd name="connsiteY16" fmla="*/ 133791 h 797578"/>
                <a:gd name="connsiteX17" fmla="*/ 8710881 w 8895457"/>
                <a:gd name="connsiteY17" fmla="*/ 65870 h 797578"/>
                <a:gd name="connsiteX18" fmla="*/ 7896585 w 8895457"/>
                <a:gd name="connsiteY18" fmla="*/ 14889 h 797578"/>
                <a:gd name="connsiteX19" fmla="*/ 7310294 w 8895457"/>
                <a:gd name="connsiteY19" fmla="*/ 108364 h 797578"/>
                <a:gd name="connsiteX20" fmla="*/ 6409144 w 8895457"/>
                <a:gd name="connsiteY20" fmla="*/ 201839 h 797578"/>
                <a:gd name="connsiteX21" fmla="*/ 5442853 w 8895457"/>
                <a:gd name="connsiteY21" fmla="*/ 201839 h 797578"/>
                <a:gd name="connsiteX22" fmla="*/ 3716563 w 8895457"/>
                <a:gd name="connsiteY22" fmla="*/ 193333 h 797578"/>
                <a:gd name="connsiteX23" fmla="*/ 2630835 w 8895457"/>
                <a:gd name="connsiteY23" fmla="*/ 65870 h 797578"/>
                <a:gd name="connsiteX24" fmla="*/ 839403 w 8895457"/>
                <a:gd name="connsiteY24" fmla="*/ 57364 h 797578"/>
                <a:gd name="connsiteX25" fmla="*/ 299581 w 8895457"/>
                <a:gd name="connsiteY25" fmla="*/ 66415 h 797578"/>
                <a:gd name="connsiteX0" fmla="*/ 300385 w 8896261"/>
                <a:gd name="connsiteY0" fmla="*/ 66415 h 797969"/>
                <a:gd name="connsiteX1" fmla="*/ 182825 w 8896261"/>
                <a:gd name="connsiteY1" fmla="*/ 625754 h 797969"/>
                <a:gd name="connsiteX2" fmla="*/ 1198470 w 8896261"/>
                <a:gd name="connsiteY2" fmla="*/ 754148 h 797969"/>
                <a:gd name="connsiteX3" fmla="*/ 1893329 w 8896261"/>
                <a:gd name="connsiteY3" fmla="*/ 788136 h 797969"/>
                <a:gd name="connsiteX4" fmla="*/ 2349339 w 8896261"/>
                <a:gd name="connsiteY4" fmla="*/ 728648 h 797969"/>
                <a:gd name="connsiteX5" fmla="*/ 2827061 w 8896261"/>
                <a:gd name="connsiteY5" fmla="*/ 728648 h 797969"/>
                <a:gd name="connsiteX6" fmla="*/ 3597930 w 8896261"/>
                <a:gd name="connsiteY6" fmla="*/ 771142 h 797969"/>
                <a:gd name="connsiteX7" fmla="*/ 4477366 w 8896261"/>
                <a:gd name="connsiteY7" fmla="*/ 754148 h 797969"/>
                <a:gd name="connsiteX8" fmla="*/ 5107084 w 8896261"/>
                <a:gd name="connsiteY8" fmla="*/ 762654 h 797969"/>
                <a:gd name="connsiteX9" fmla="*/ 5943094 w 8896261"/>
                <a:gd name="connsiteY9" fmla="*/ 762654 h 797969"/>
                <a:gd name="connsiteX10" fmla="*/ 7007107 w 8896261"/>
                <a:gd name="connsiteY10" fmla="*/ 788154 h 797969"/>
                <a:gd name="connsiteX11" fmla="*/ 7756262 w 8896261"/>
                <a:gd name="connsiteY11" fmla="*/ 779648 h 797969"/>
                <a:gd name="connsiteX12" fmla="*/ 8288257 w 8896261"/>
                <a:gd name="connsiteY12" fmla="*/ 771142 h 797969"/>
                <a:gd name="connsiteX13" fmla="*/ 8765980 w 8896261"/>
                <a:gd name="connsiteY13" fmla="*/ 737154 h 797969"/>
                <a:gd name="connsiteX14" fmla="*/ 8896261 w 8896261"/>
                <a:gd name="connsiteY14" fmla="*/ 754148 h 797969"/>
                <a:gd name="connsiteX15" fmla="*/ 8896261 w 8896261"/>
                <a:gd name="connsiteY15" fmla="*/ 133791 h 797969"/>
                <a:gd name="connsiteX16" fmla="*/ 8711685 w 8896261"/>
                <a:gd name="connsiteY16" fmla="*/ 65870 h 797969"/>
                <a:gd name="connsiteX17" fmla="*/ 7897389 w 8896261"/>
                <a:gd name="connsiteY17" fmla="*/ 14889 h 797969"/>
                <a:gd name="connsiteX18" fmla="*/ 7311098 w 8896261"/>
                <a:gd name="connsiteY18" fmla="*/ 108364 h 797969"/>
                <a:gd name="connsiteX19" fmla="*/ 6409948 w 8896261"/>
                <a:gd name="connsiteY19" fmla="*/ 201839 h 797969"/>
                <a:gd name="connsiteX20" fmla="*/ 5443657 w 8896261"/>
                <a:gd name="connsiteY20" fmla="*/ 201839 h 797969"/>
                <a:gd name="connsiteX21" fmla="*/ 3717367 w 8896261"/>
                <a:gd name="connsiteY21" fmla="*/ 193333 h 797969"/>
                <a:gd name="connsiteX22" fmla="*/ 2631639 w 8896261"/>
                <a:gd name="connsiteY22" fmla="*/ 65870 h 797969"/>
                <a:gd name="connsiteX23" fmla="*/ 840207 w 8896261"/>
                <a:gd name="connsiteY23" fmla="*/ 57364 h 797969"/>
                <a:gd name="connsiteX24" fmla="*/ 300385 w 8896261"/>
                <a:gd name="connsiteY24" fmla="*/ 66415 h 797969"/>
                <a:gd name="connsiteX0" fmla="*/ 263649 w 8859525"/>
                <a:gd name="connsiteY0" fmla="*/ 66415 h 795901"/>
                <a:gd name="connsiteX1" fmla="*/ 238952 w 8859525"/>
                <a:gd name="connsiteY1" fmla="*/ 726571 h 795901"/>
                <a:gd name="connsiteX2" fmla="*/ 1161734 w 8859525"/>
                <a:gd name="connsiteY2" fmla="*/ 754148 h 795901"/>
                <a:gd name="connsiteX3" fmla="*/ 1856593 w 8859525"/>
                <a:gd name="connsiteY3" fmla="*/ 788136 h 795901"/>
                <a:gd name="connsiteX4" fmla="*/ 2312603 w 8859525"/>
                <a:gd name="connsiteY4" fmla="*/ 728648 h 795901"/>
                <a:gd name="connsiteX5" fmla="*/ 2790325 w 8859525"/>
                <a:gd name="connsiteY5" fmla="*/ 728648 h 795901"/>
                <a:gd name="connsiteX6" fmla="*/ 3561194 w 8859525"/>
                <a:gd name="connsiteY6" fmla="*/ 771142 h 795901"/>
                <a:gd name="connsiteX7" fmla="*/ 4440630 w 8859525"/>
                <a:gd name="connsiteY7" fmla="*/ 754148 h 795901"/>
                <a:gd name="connsiteX8" fmla="*/ 5070348 w 8859525"/>
                <a:gd name="connsiteY8" fmla="*/ 762654 h 795901"/>
                <a:gd name="connsiteX9" fmla="*/ 5906358 w 8859525"/>
                <a:gd name="connsiteY9" fmla="*/ 762654 h 795901"/>
                <a:gd name="connsiteX10" fmla="*/ 6970371 w 8859525"/>
                <a:gd name="connsiteY10" fmla="*/ 788154 h 795901"/>
                <a:gd name="connsiteX11" fmla="*/ 7719526 w 8859525"/>
                <a:gd name="connsiteY11" fmla="*/ 779648 h 795901"/>
                <a:gd name="connsiteX12" fmla="*/ 8251521 w 8859525"/>
                <a:gd name="connsiteY12" fmla="*/ 771142 h 795901"/>
                <a:gd name="connsiteX13" fmla="*/ 8729244 w 8859525"/>
                <a:gd name="connsiteY13" fmla="*/ 737154 h 795901"/>
                <a:gd name="connsiteX14" fmla="*/ 8859525 w 8859525"/>
                <a:gd name="connsiteY14" fmla="*/ 754148 h 795901"/>
                <a:gd name="connsiteX15" fmla="*/ 8859525 w 8859525"/>
                <a:gd name="connsiteY15" fmla="*/ 133791 h 795901"/>
                <a:gd name="connsiteX16" fmla="*/ 8674949 w 8859525"/>
                <a:gd name="connsiteY16" fmla="*/ 65870 h 795901"/>
                <a:gd name="connsiteX17" fmla="*/ 7860653 w 8859525"/>
                <a:gd name="connsiteY17" fmla="*/ 14889 h 795901"/>
                <a:gd name="connsiteX18" fmla="*/ 7274362 w 8859525"/>
                <a:gd name="connsiteY18" fmla="*/ 108364 h 795901"/>
                <a:gd name="connsiteX19" fmla="*/ 6373212 w 8859525"/>
                <a:gd name="connsiteY19" fmla="*/ 201839 h 795901"/>
                <a:gd name="connsiteX20" fmla="*/ 5406921 w 8859525"/>
                <a:gd name="connsiteY20" fmla="*/ 201839 h 795901"/>
                <a:gd name="connsiteX21" fmla="*/ 3680631 w 8859525"/>
                <a:gd name="connsiteY21" fmla="*/ 193333 h 795901"/>
                <a:gd name="connsiteX22" fmla="*/ 2594903 w 8859525"/>
                <a:gd name="connsiteY22" fmla="*/ 65870 h 795901"/>
                <a:gd name="connsiteX23" fmla="*/ 803471 w 8859525"/>
                <a:gd name="connsiteY23" fmla="*/ 57364 h 795901"/>
                <a:gd name="connsiteX24" fmla="*/ 263649 w 8859525"/>
                <a:gd name="connsiteY24" fmla="*/ 66415 h 795901"/>
                <a:gd name="connsiteX0" fmla="*/ 224684 w 8820560"/>
                <a:gd name="connsiteY0" fmla="*/ 66415 h 815564"/>
                <a:gd name="connsiteX1" fmla="*/ 199987 w 8820560"/>
                <a:gd name="connsiteY1" fmla="*/ 726571 h 815564"/>
                <a:gd name="connsiteX2" fmla="*/ 1122769 w 8820560"/>
                <a:gd name="connsiteY2" fmla="*/ 754148 h 815564"/>
                <a:gd name="connsiteX3" fmla="*/ 1817628 w 8820560"/>
                <a:gd name="connsiteY3" fmla="*/ 788136 h 815564"/>
                <a:gd name="connsiteX4" fmla="*/ 2273638 w 8820560"/>
                <a:gd name="connsiteY4" fmla="*/ 728648 h 815564"/>
                <a:gd name="connsiteX5" fmla="*/ 2751360 w 8820560"/>
                <a:gd name="connsiteY5" fmla="*/ 728648 h 815564"/>
                <a:gd name="connsiteX6" fmla="*/ 3522229 w 8820560"/>
                <a:gd name="connsiteY6" fmla="*/ 771142 h 815564"/>
                <a:gd name="connsiteX7" fmla="*/ 4401665 w 8820560"/>
                <a:gd name="connsiteY7" fmla="*/ 754148 h 815564"/>
                <a:gd name="connsiteX8" fmla="*/ 5031383 w 8820560"/>
                <a:gd name="connsiteY8" fmla="*/ 762654 h 815564"/>
                <a:gd name="connsiteX9" fmla="*/ 5867393 w 8820560"/>
                <a:gd name="connsiteY9" fmla="*/ 762654 h 815564"/>
                <a:gd name="connsiteX10" fmla="*/ 6931406 w 8820560"/>
                <a:gd name="connsiteY10" fmla="*/ 788154 h 815564"/>
                <a:gd name="connsiteX11" fmla="*/ 7680561 w 8820560"/>
                <a:gd name="connsiteY11" fmla="*/ 779648 h 815564"/>
                <a:gd name="connsiteX12" fmla="*/ 8212556 w 8820560"/>
                <a:gd name="connsiteY12" fmla="*/ 771142 h 815564"/>
                <a:gd name="connsiteX13" fmla="*/ 8690279 w 8820560"/>
                <a:gd name="connsiteY13" fmla="*/ 737154 h 815564"/>
                <a:gd name="connsiteX14" fmla="*/ 8820560 w 8820560"/>
                <a:gd name="connsiteY14" fmla="*/ 754148 h 815564"/>
                <a:gd name="connsiteX15" fmla="*/ 8820560 w 8820560"/>
                <a:gd name="connsiteY15" fmla="*/ 133791 h 815564"/>
                <a:gd name="connsiteX16" fmla="*/ 8635984 w 8820560"/>
                <a:gd name="connsiteY16" fmla="*/ 65870 h 815564"/>
                <a:gd name="connsiteX17" fmla="*/ 7821688 w 8820560"/>
                <a:gd name="connsiteY17" fmla="*/ 14889 h 815564"/>
                <a:gd name="connsiteX18" fmla="*/ 7235397 w 8820560"/>
                <a:gd name="connsiteY18" fmla="*/ 108364 h 815564"/>
                <a:gd name="connsiteX19" fmla="*/ 6334247 w 8820560"/>
                <a:gd name="connsiteY19" fmla="*/ 201839 h 815564"/>
                <a:gd name="connsiteX20" fmla="*/ 5367956 w 8820560"/>
                <a:gd name="connsiteY20" fmla="*/ 201839 h 815564"/>
                <a:gd name="connsiteX21" fmla="*/ 3641666 w 8820560"/>
                <a:gd name="connsiteY21" fmla="*/ 193333 h 815564"/>
                <a:gd name="connsiteX22" fmla="*/ 2555938 w 8820560"/>
                <a:gd name="connsiteY22" fmla="*/ 65870 h 815564"/>
                <a:gd name="connsiteX23" fmla="*/ 764506 w 8820560"/>
                <a:gd name="connsiteY23" fmla="*/ 57364 h 815564"/>
                <a:gd name="connsiteX24" fmla="*/ 224684 w 8820560"/>
                <a:gd name="connsiteY24" fmla="*/ 66415 h 815564"/>
                <a:gd name="connsiteX0" fmla="*/ 93047 w 8688923"/>
                <a:gd name="connsiteY0" fmla="*/ 66415 h 795903"/>
                <a:gd name="connsiteX1" fmla="*/ 71109 w 8688923"/>
                <a:gd name="connsiteY1" fmla="*/ 350379 h 795903"/>
                <a:gd name="connsiteX2" fmla="*/ 68350 w 8688923"/>
                <a:gd name="connsiteY2" fmla="*/ 726571 h 795903"/>
                <a:gd name="connsiteX3" fmla="*/ 991132 w 8688923"/>
                <a:gd name="connsiteY3" fmla="*/ 754148 h 795903"/>
                <a:gd name="connsiteX4" fmla="*/ 1685991 w 8688923"/>
                <a:gd name="connsiteY4" fmla="*/ 788136 h 795903"/>
                <a:gd name="connsiteX5" fmla="*/ 2142001 w 8688923"/>
                <a:gd name="connsiteY5" fmla="*/ 728648 h 795903"/>
                <a:gd name="connsiteX6" fmla="*/ 2619723 w 8688923"/>
                <a:gd name="connsiteY6" fmla="*/ 728648 h 795903"/>
                <a:gd name="connsiteX7" fmla="*/ 3390592 w 8688923"/>
                <a:gd name="connsiteY7" fmla="*/ 771142 h 795903"/>
                <a:gd name="connsiteX8" fmla="*/ 4270028 w 8688923"/>
                <a:gd name="connsiteY8" fmla="*/ 754148 h 795903"/>
                <a:gd name="connsiteX9" fmla="*/ 4899746 w 8688923"/>
                <a:gd name="connsiteY9" fmla="*/ 762654 h 795903"/>
                <a:gd name="connsiteX10" fmla="*/ 5735756 w 8688923"/>
                <a:gd name="connsiteY10" fmla="*/ 762654 h 795903"/>
                <a:gd name="connsiteX11" fmla="*/ 6799769 w 8688923"/>
                <a:gd name="connsiteY11" fmla="*/ 788154 h 795903"/>
                <a:gd name="connsiteX12" fmla="*/ 7548924 w 8688923"/>
                <a:gd name="connsiteY12" fmla="*/ 779648 h 795903"/>
                <a:gd name="connsiteX13" fmla="*/ 8080919 w 8688923"/>
                <a:gd name="connsiteY13" fmla="*/ 771142 h 795903"/>
                <a:gd name="connsiteX14" fmla="*/ 8558642 w 8688923"/>
                <a:gd name="connsiteY14" fmla="*/ 737154 h 795903"/>
                <a:gd name="connsiteX15" fmla="*/ 8688923 w 8688923"/>
                <a:gd name="connsiteY15" fmla="*/ 754148 h 795903"/>
                <a:gd name="connsiteX16" fmla="*/ 8688923 w 8688923"/>
                <a:gd name="connsiteY16" fmla="*/ 133791 h 795903"/>
                <a:gd name="connsiteX17" fmla="*/ 8504347 w 8688923"/>
                <a:gd name="connsiteY17" fmla="*/ 65870 h 795903"/>
                <a:gd name="connsiteX18" fmla="*/ 7690051 w 8688923"/>
                <a:gd name="connsiteY18" fmla="*/ 14889 h 795903"/>
                <a:gd name="connsiteX19" fmla="*/ 7103760 w 8688923"/>
                <a:gd name="connsiteY19" fmla="*/ 108364 h 795903"/>
                <a:gd name="connsiteX20" fmla="*/ 6202610 w 8688923"/>
                <a:gd name="connsiteY20" fmla="*/ 201839 h 795903"/>
                <a:gd name="connsiteX21" fmla="*/ 5236319 w 8688923"/>
                <a:gd name="connsiteY21" fmla="*/ 201839 h 795903"/>
                <a:gd name="connsiteX22" fmla="*/ 3510029 w 8688923"/>
                <a:gd name="connsiteY22" fmla="*/ 193333 h 795903"/>
                <a:gd name="connsiteX23" fmla="*/ 2424301 w 8688923"/>
                <a:gd name="connsiteY23" fmla="*/ 65870 h 795903"/>
                <a:gd name="connsiteX24" fmla="*/ 632869 w 8688923"/>
                <a:gd name="connsiteY24" fmla="*/ 57364 h 795903"/>
                <a:gd name="connsiteX25" fmla="*/ 93047 w 8688923"/>
                <a:gd name="connsiteY25" fmla="*/ 66415 h 795903"/>
                <a:gd name="connsiteX0" fmla="*/ 91443 w 8687319"/>
                <a:gd name="connsiteY0" fmla="*/ 66415 h 795901"/>
                <a:gd name="connsiteX1" fmla="*/ 69505 w 8687319"/>
                <a:gd name="connsiteY1" fmla="*/ 350379 h 795901"/>
                <a:gd name="connsiteX2" fmla="*/ 66746 w 8687319"/>
                <a:gd name="connsiteY2" fmla="*/ 726571 h 795901"/>
                <a:gd name="connsiteX3" fmla="*/ 989528 w 8687319"/>
                <a:gd name="connsiteY3" fmla="*/ 754148 h 795901"/>
                <a:gd name="connsiteX4" fmla="*/ 1684387 w 8687319"/>
                <a:gd name="connsiteY4" fmla="*/ 788136 h 795901"/>
                <a:gd name="connsiteX5" fmla="*/ 2140397 w 8687319"/>
                <a:gd name="connsiteY5" fmla="*/ 728648 h 795901"/>
                <a:gd name="connsiteX6" fmla="*/ 2618119 w 8687319"/>
                <a:gd name="connsiteY6" fmla="*/ 728648 h 795901"/>
                <a:gd name="connsiteX7" fmla="*/ 3388988 w 8687319"/>
                <a:gd name="connsiteY7" fmla="*/ 771142 h 795901"/>
                <a:gd name="connsiteX8" fmla="*/ 4268424 w 8687319"/>
                <a:gd name="connsiteY8" fmla="*/ 754148 h 795901"/>
                <a:gd name="connsiteX9" fmla="*/ 4898142 w 8687319"/>
                <a:gd name="connsiteY9" fmla="*/ 762654 h 795901"/>
                <a:gd name="connsiteX10" fmla="*/ 5734152 w 8687319"/>
                <a:gd name="connsiteY10" fmla="*/ 762654 h 795901"/>
                <a:gd name="connsiteX11" fmla="*/ 6798165 w 8687319"/>
                <a:gd name="connsiteY11" fmla="*/ 788154 h 795901"/>
                <a:gd name="connsiteX12" fmla="*/ 7547320 w 8687319"/>
                <a:gd name="connsiteY12" fmla="*/ 779648 h 795901"/>
                <a:gd name="connsiteX13" fmla="*/ 8079315 w 8687319"/>
                <a:gd name="connsiteY13" fmla="*/ 771142 h 795901"/>
                <a:gd name="connsiteX14" fmla="*/ 8557038 w 8687319"/>
                <a:gd name="connsiteY14" fmla="*/ 737154 h 795901"/>
                <a:gd name="connsiteX15" fmla="*/ 8687319 w 8687319"/>
                <a:gd name="connsiteY15" fmla="*/ 754148 h 795901"/>
                <a:gd name="connsiteX16" fmla="*/ 8687319 w 8687319"/>
                <a:gd name="connsiteY16" fmla="*/ 133791 h 795901"/>
                <a:gd name="connsiteX17" fmla="*/ 8502743 w 8687319"/>
                <a:gd name="connsiteY17" fmla="*/ 65870 h 795901"/>
                <a:gd name="connsiteX18" fmla="*/ 7688447 w 8687319"/>
                <a:gd name="connsiteY18" fmla="*/ 14889 h 795901"/>
                <a:gd name="connsiteX19" fmla="*/ 7102156 w 8687319"/>
                <a:gd name="connsiteY19" fmla="*/ 108364 h 795901"/>
                <a:gd name="connsiteX20" fmla="*/ 6201006 w 8687319"/>
                <a:gd name="connsiteY20" fmla="*/ 201839 h 795901"/>
                <a:gd name="connsiteX21" fmla="*/ 5234715 w 8687319"/>
                <a:gd name="connsiteY21" fmla="*/ 201839 h 795901"/>
                <a:gd name="connsiteX22" fmla="*/ 3508425 w 8687319"/>
                <a:gd name="connsiteY22" fmla="*/ 193333 h 795901"/>
                <a:gd name="connsiteX23" fmla="*/ 2422697 w 8687319"/>
                <a:gd name="connsiteY23" fmla="*/ 65870 h 795901"/>
                <a:gd name="connsiteX24" fmla="*/ 631265 w 8687319"/>
                <a:gd name="connsiteY24" fmla="*/ 57364 h 795901"/>
                <a:gd name="connsiteX25" fmla="*/ 91443 w 8687319"/>
                <a:gd name="connsiteY25" fmla="*/ 66415 h 795901"/>
                <a:gd name="connsiteX0" fmla="*/ 91443 w 8687319"/>
                <a:gd name="connsiteY0" fmla="*/ 66415 h 795903"/>
                <a:gd name="connsiteX1" fmla="*/ 69505 w 8687319"/>
                <a:gd name="connsiteY1" fmla="*/ 350379 h 795903"/>
                <a:gd name="connsiteX2" fmla="*/ 66746 w 8687319"/>
                <a:gd name="connsiteY2" fmla="*/ 726571 h 795903"/>
                <a:gd name="connsiteX3" fmla="*/ 989528 w 8687319"/>
                <a:gd name="connsiteY3" fmla="*/ 754148 h 795903"/>
                <a:gd name="connsiteX4" fmla="*/ 1684387 w 8687319"/>
                <a:gd name="connsiteY4" fmla="*/ 788136 h 795903"/>
                <a:gd name="connsiteX5" fmla="*/ 2140397 w 8687319"/>
                <a:gd name="connsiteY5" fmla="*/ 728648 h 795903"/>
                <a:gd name="connsiteX6" fmla="*/ 2618119 w 8687319"/>
                <a:gd name="connsiteY6" fmla="*/ 728648 h 795903"/>
                <a:gd name="connsiteX7" fmla="*/ 3388988 w 8687319"/>
                <a:gd name="connsiteY7" fmla="*/ 771142 h 795903"/>
                <a:gd name="connsiteX8" fmla="*/ 4268424 w 8687319"/>
                <a:gd name="connsiteY8" fmla="*/ 754148 h 795903"/>
                <a:gd name="connsiteX9" fmla="*/ 4898142 w 8687319"/>
                <a:gd name="connsiteY9" fmla="*/ 762654 h 795903"/>
                <a:gd name="connsiteX10" fmla="*/ 5734152 w 8687319"/>
                <a:gd name="connsiteY10" fmla="*/ 762654 h 795903"/>
                <a:gd name="connsiteX11" fmla="*/ 6798165 w 8687319"/>
                <a:gd name="connsiteY11" fmla="*/ 788154 h 795903"/>
                <a:gd name="connsiteX12" fmla="*/ 7547320 w 8687319"/>
                <a:gd name="connsiteY12" fmla="*/ 779648 h 795903"/>
                <a:gd name="connsiteX13" fmla="*/ 8079315 w 8687319"/>
                <a:gd name="connsiteY13" fmla="*/ 771142 h 795903"/>
                <a:gd name="connsiteX14" fmla="*/ 8557038 w 8687319"/>
                <a:gd name="connsiteY14" fmla="*/ 737154 h 795903"/>
                <a:gd name="connsiteX15" fmla="*/ 8687319 w 8687319"/>
                <a:gd name="connsiteY15" fmla="*/ 754148 h 795903"/>
                <a:gd name="connsiteX16" fmla="*/ 8687319 w 8687319"/>
                <a:gd name="connsiteY16" fmla="*/ 133791 h 795903"/>
                <a:gd name="connsiteX17" fmla="*/ 8502743 w 8687319"/>
                <a:gd name="connsiteY17" fmla="*/ 65870 h 795903"/>
                <a:gd name="connsiteX18" fmla="*/ 7688447 w 8687319"/>
                <a:gd name="connsiteY18" fmla="*/ 14889 h 795903"/>
                <a:gd name="connsiteX19" fmla="*/ 7102156 w 8687319"/>
                <a:gd name="connsiteY19" fmla="*/ 108364 h 795903"/>
                <a:gd name="connsiteX20" fmla="*/ 6201006 w 8687319"/>
                <a:gd name="connsiteY20" fmla="*/ 201839 h 795903"/>
                <a:gd name="connsiteX21" fmla="*/ 5234715 w 8687319"/>
                <a:gd name="connsiteY21" fmla="*/ 201839 h 795903"/>
                <a:gd name="connsiteX22" fmla="*/ 3508425 w 8687319"/>
                <a:gd name="connsiteY22" fmla="*/ 193333 h 795903"/>
                <a:gd name="connsiteX23" fmla="*/ 2422697 w 8687319"/>
                <a:gd name="connsiteY23" fmla="*/ 65870 h 795903"/>
                <a:gd name="connsiteX24" fmla="*/ 631265 w 8687319"/>
                <a:gd name="connsiteY24" fmla="*/ 57364 h 795903"/>
                <a:gd name="connsiteX25" fmla="*/ 91443 w 8687319"/>
                <a:gd name="connsiteY25" fmla="*/ 66415 h 795903"/>
                <a:gd name="connsiteX0" fmla="*/ 87616 w 8683492"/>
                <a:gd name="connsiteY0" fmla="*/ 66415 h 795901"/>
                <a:gd name="connsiteX1" fmla="*/ 65678 w 8683492"/>
                <a:gd name="connsiteY1" fmla="*/ 350379 h 795901"/>
                <a:gd name="connsiteX2" fmla="*/ 80340 w 8683492"/>
                <a:gd name="connsiteY2" fmla="*/ 609625 h 795901"/>
                <a:gd name="connsiteX3" fmla="*/ 62919 w 8683492"/>
                <a:gd name="connsiteY3" fmla="*/ 726571 h 795901"/>
                <a:gd name="connsiteX4" fmla="*/ 985701 w 8683492"/>
                <a:gd name="connsiteY4" fmla="*/ 754148 h 795901"/>
                <a:gd name="connsiteX5" fmla="*/ 1680560 w 8683492"/>
                <a:gd name="connsiteY5" fmla="*/ 788136 h 795901"/>
                <a:gd name="connsiteX6" fmla="*/ 2136570 w 8683492"/>
                <a:gd name="connsiteY6" fmla="*/ 728648 h 795901"/>
                <a:gd name="connsiteX7" fmla="*/ 2614292 w 8683492"/>
                <a:gd name="connsiteY7" fmla="*/ 728648 h 795901"/>
                <a:gd name="connsiteX8" fmla="*/ 3385161 w 8683492"/>
                <a:gd name="connsiteY8" fmla="*/ 771142 h 795901"/>
                <a:gd name="connsiteX9" fmla="*/ 4264597 w 8683492"/>
                <a:gd name="connsiteY9" fmla="*/ 754148 h 795901"/>
                <a:gd name="connsiteX10" fmla="*/ 4894315 w 8683492"/>
                <a:gd name="connsiteY10" fmla="*/ 762654 h 795901"/>
                <a:gd name="connsiteX11" fmla="*/ 5730325 w 8683492"/>
                <a:gd name="connsiteY11" fmla="*/ 762654 h 795901"/>
                <a:gd name="connsiteX12" fmla="*/ 6794338 w 8683492"/>
                <a:gd name="connsiteY12" fmla="*/ 788154 h 795901"/>
                <a:gd name="connsiteX13" fmla="*/ 7543493 w 8683492"/>
                <a:gd name="connsiteY13" fmla="*/ 779648 h 795901"/>
                <a:gd name="connsiteX14" fmla="*/ 8075488 w 8683492"/>
                <a:gd name="connsiteY14" fmla="*/ 771142 h 795901"/>
                <a:gd name="connsiteX15" fmla="*/ 8553211 w 8683492"/>
                <a:gd name="connsiteY15" fmla="*/ 737154 h 795901"/>
                <a:gd name="connsiteX16" fmla="*/ 8683492 w 8683492"/>
                <a:gd name="connsiteY16" fmla="*/ 754148 h 795901"/>
                <a:gd name="connsiteX17" fmla="*/ 8683492 w 8683492"/>
                <a:gd name="connsiteY17" fmla="*/ 133791 h 795901"/>
                <a:gd name="connsiteX18" fmla="*/ 8498916 w 8683492"/>
                <a:gd name="connsiteY18" fmla="*/ 65870 h 795901"/>
                <a:gd name="connsiteX19" fmla="*/ 7684620 w 8683492"/>
                <a:gd name="connsiteY19" fmla="*/ 14889 h 795901"/>
                <a:gd name="connsiteX20" fmla="*/ 7098329 w 8683492"/>
                <a:gd name="connsiteY20" fmla="*/ 108364 h 795901"/>
                <a:gd name="connsiteX21" fmla="*/ 6197179 w 8683492"/>
                <a:gd name="connsiteY21" fmla="*/ 201839 h 795901"/>
                <a:gd name="connsiteX22" fmla="*/ 5230888 w 8683492"/>
                <a:gd name="connsiteY22" fmla="*/ 201839 h 795901"/>
                <a:gd name="connsiteX23" fmla="*/ 3504598 w 8683492"/>
                <a:gd name="connsiteY23" fmla="*/ 193333 h 795901"/>
                <a:gd name="connsiteX24" fmla="*/ 2418870 w 8683492"/>
                <a:gd name="connsiteY24" fmla="*/ 65870 h 795901"/>
                <a:gd name="connsiteX25" fmla="*/ 627438 w 8683492"/>
                <a:gd name="connsiteY25" fmla="*/ 57364 h 795901"/>
                <a:gd name="connsiteX26" fmla="*/ 87616 w 8683492"/>
                <a:gd name="connsiteY26" fmla="*/ 66415 h 795901"/>
                <a:gd name="connsiteX0" fmla="*/ 84495 w 8680371"/>
                <a:gd name="connsiteY0" fmla="*/ 66415 h 795903"/>
                <a:gd name="connsiteX1" fmla="*/ 62557 w 8680371"/>
                <a:gd name="connsiteY1" fmla="*/ 350379 h 795903"/>
                <a:gd name="connsiteX2" fmla="*/ 77219 w 8680371"/>
                <a:gd name="connsiteY2" fmla="*/ 609625 h 795903"/>
                <a:gd name="connsiteX3" fmla="*/ 89436 w 8680371"/>
                <a:gd name="connsiteY3" fmla="*/ 686441 h 795903"/>
                <a:gd name="connsiteX4" fmla="*/ 59798 w 8680371"/>
                <a:gd name="connsiteY4" fmla="*/ 726571 h 795903"/>
                <a:gd name="connsiteX5" fmla="*/ 982580 w 8680371"/>
                <a:gd name="connsiteY5" fmla="*/ 754148 h 795903"/>
                <a:gd name="connsiteX6" fmla="*/ 1677439 w 8680371"/>
                <a:gd name="connsiteY6" fmla="*/ 788136 h 795903"/>
                <a:gd name="connsiteX7" fmla="*/ 2133449 w 8680371"/>
                <a:gd name="connsiteY7" fmla="*/ 728648 h 795903"/>
                <a:gd name="connsiteX8" fmla="*/ 2611171 w 8680371"/>
                <a:gd name="connsiteY8" fmla="*/ 728648 h 795903"/>
                <a:gd name="connsiteX9" fmla="*/ 3382040 w 8680371"/>
                <a:gd name="connsiteY9" fmla="*/ 771142 h 795903"/>
                <a:gd name="connsiteX10" fmla="*/ 4261476 w 8680371"/>
                <a:gd name="connsiteY10" fmla="*/ 754148 h 795903"/>
                <a:gd name="connsiteX11" fmla="*/ 4891194 w 8680371"/>
                <a:gd name="connsiteY11" fmla="*/ 762654 h 795903"/>
                <a:gd name="connsiteX12" fmla="*/ 5727204 w 8680371"/>
                <a:gd name="connsiteY12" fmla="*/ 762654 h 795903"/>
                <a:gd name="connsiteX13" fmla="*/ 6791217 w 8680371"/>
                <a:gd name="connsiteY13" fmla="*/ 788154 h 795903"/>
                <a:gd name="connsiteX14" fmla="*/ 7540372 w 8680371"/>
                <a:gd name="connsiteY14" fmla="*/ 779648 h 795903"/>
                <a:gd name="connsiteX15" fmla="*/ 8072367 w 8680371"/>
                <a:gd name="connsiteY15" fmla="*/ 771142 h 795903"/>
                <a:gd name="connsiteX16" fmla="*/ 8550090 w 8680371"/>
                <a:gd name="connsiteY16" fmla="*/ 737154 h 795903"/>
                <a:gd name="connsiteX17" fmla="*/ 8680371 w 8680371"/>
                <a:gd name="connsiteY17" fmla="*/ 754148 h 795903"/>
                <a:gd name="connsiteX18" fmla="*/ 8680371 w 8680371"/>
                <a:gd name="connsiteY18" fmla="*/ 133791 h 795903"/>
                <a:gd name="connsiteX19" fmla="*/ 8495795 w 8680371"/>
                <a:gd name="connsiteY19" fmla="*/ 65870 h 795903"/>
                <a:gd name="connsiteX20" fmla="*/ 7681499 w 8680371"/>
                <a:gd name="connsiteY20" fmla="*/ 14889 h 795903"/>
                <a:gd name="connsiteX21" fmla="*/ 7095208 w 8680371"/>
                <a:gd name="connsiteY21" fmla="*/ 108364 h 795903"/>
                <a:gd name="connsiteX22" fmla="*/ 6194058 w 8680371"/>
                <a:gd name="connsiteY22" fmla="*/ 201839 h 795903"/>
                <a:gd name="connsiteX23" fmla="*/ 5227767 w 8680371"/>
                <a:gd name="connsiteY23" fmla="*/ 201839 h 795903"/>
                <a:gd name="connsiteX24" fmla="*/ 3501477 w 8680371"/>
                <a:gd name="connsiteY24" fmla="*/ 193333 h 795903"/>
                <a:gd name="connsiteX25" fmla="*/ 2415749 w 8680371"/>
                <a:gd name="connsiteY25" fmla="*/ 65870 h 795903"/>
                <a:gd name="connsiteX26" fmla="*/ 624317 w 8680371"/>
                <a:gd name="connsiteY26" fmla="*/ 57364 h 795903"/>
                <a:gd name="connsiteX27" fmla="*/ 84495 w 8680371"/>
                <a:gd name="connsiteY27" fmla="*/ 66415 h 795903"/>
                <a:gd name="connsiteX0" fmla="*/ 58632 w 8654508"/>
                <a:gd name="connsiteY0" fmla="*/ 66415 h 847530"/>
                <a:gd name="connsiteX1" fmla="*/ 36694 w 8654508"/>
                <a:gd name="connsiteY1" fmla="*/ 350379 h 847530"/>
                <a:gd name="connsiteX2" fmla="*/ 51356 w 8654508"/>
                <a:gd name="connsiteY2" fmla="*/ 609625 h 847530"/>
                <a:gd name="connsiteX3" fmla="*/ 63573 w 8654508"/>
                <a:gd name="connsiteY3" fmla="*/ 686441 h 847530"/>
                <a:gd name="connsiteX4" fmla="*/ 99916 w 8654508"/>
                <a:gd name="connsiteY4" fmla="*/ 846591 h 847530"/>
                <a:gd name="connsiteX5" fmla="*/ 956717 w 8654508"/>
                <a:gd name="connsiteY5" fmla="*/ 754148 h 847530"/>
                <a:gd name="connsiteX6" fmla="*/ 1651576 w 8654508"/>
                <a:gd name="connsiteY6" fmla="*/ 788136 h 847530"/>
                <a:gd name="connsiteX7" fmla="*/ 2107586 w 8654508"/>
                <a:gd name="connsiteY7" fmla="*/ 728648 h 847530"/>
                <a:gd name="connsiteX8" fmla="*/ 2585308 w 8654508"/>
                <a:gd name="connsiteY8" fmla="*/ 728648 h 847530"/>
                <a:gd name="connsiteX9" fmla="*/ 3356177 w 8654508"/>
                <a:gd name="connsiteY9" fmla="*/ 771142 h 847530"/>
                <a:gd name="connsiteX10" fmla="*/ 4235613 w 8654508"/>
                <a:gd name="connsiteY10" fmla="*/ 754148 h 847530"/>
                <a:gd name="connsiteX11" fmla="*/ 4865331 w 8654508"/>
                <a:gd name="connsiteY11" fmla="*/ 762654 h 847530"/>
                <a:gd name="connsiteX12" fmla="*/ 5701341 w 8654508"/>
                <a:gd name="connsiteY12" fmla="*/ 762654 h 847530"/>
                <a:gd name="connsiteX13" fmla="*/ 6765354 w 8654508"/>
                <a:gd name="connsiteY13" fmla="*/ 788154 h 847530"/>
                <a:gd name="connsiteX14" fmla="*/ 7514509 w 8654508"/>
                <a:gd name="connsiteY14" fmla="*/ 779648 h 847530"/>
                <a:gd name="connsiteX15" fmla="*/ 8046504 w 8654508"/>
                <a:gd name="connsiteY15" fmla="*/ 771142 h 847530"/>
                <a:gd name="connsiteX16" fmla="*/ 8524227 w 8654508"/>
                <a:gd name="connsiteY16" fmla="*/ 737154 h 847530"/>
                <a:gd name="connsiteX17" fmla="*/ 8654508 w 8654508"/>
                <a:gd name="connsiteY17" fmla="*/ 754148 h 847530"/>
                <a:gd name="connsiteX18" fmla="*/ 8654508 w 8654508"/>
                <a:gd name="connsiteY18" fmla="*/ 133791 h 847530"/>
                <a:gd name="connsiteX19" fmla="*/ 8469932 w 8654508"/>
                <a:gd name="connsiteY19" fmla="*/ 65870 h 847530"/>
                <a:gd name="connsiteX20" fmla="*/ 7655636 w 8654508"/>
                <a:gd name="connsiteY20" fmla="*/ 14889 h 847530"/>
                <a:gd name="connsiteX21" fmla="*/ 7069345 w 8654508"/>
                <a:gd name="connsiteY21" fmla="*/ 108364 h 847530"/>
                <a:gd name="connsiteX22" fmla="*/ 6168195 w 8654508"/>
                <a:gd name="connsiteY22" fmla="*/ 201839 h 847530"/>
                <a:gd name="connsiteX23" fmla="*/ 5201904 w 8654508"/>
                <a:gd name="connsiteY23" fmla="*/ 201839 h 847530"/>
                <a:gd name="connsiteX24" fmla="*/ 3475614 w 8654508"/>
                <a:gd name="connsiteY24" fmla="*/ 193333 h 847530"/>
                <a:gd name="connsiteX25" fmla="*/ 2389886 w 8654508"/>
                <a:gd name="connsiteY25" fmla="*/ 65870 h 847530"/>
                <a:gd name="connsiteX26" fmla="*/ 598454 w 8654508"/>
                <a:gd name="connsiteY26" fmla="*/ 57364 h 847530"/>
                <a:gd name="connsiteX27" fmla="*/ 58632 w 8654508"/>
                <a:gd name="connsiteY27" fmla="*/ 66415 h 847530"/>
                <a:gd name="connsiteX0" fmla="*/ 54170 w 8650046"/>
                <a:gd name="connsiteY0" fmla="*/ 66415 h 847528"/>
                <a:gd name="connsiteX1" fmla="*/ 20012 w 8650046"/>
                <a:gd name="connsiteY1" fmla="*/ 139144 h 847528"/>
                <a:gd name="connsiteX2" fmla="*/ 32232 w 8650046"/>
                <a:gd name="connsiteY2" fmla="*/ 350379 h 847528"/>
                <a:gd name="connsiteX3" fmla="*/ 46894 w 8650046"/>
                <a:gd name="connsiteY3" fmla="*/ 609625 h 847528"/>
                <a:gd name="connsiteX4" fmla="*/ 59111 w 8650046"/>
                <a:gd name="connsiteY4" fmla="*/ 686441 h 847528"/>
                <a:gd name="connsiteX5" fmla="*/ 95454 w 8650046"/>
                <a:gd name="connsiteY5" fmla="*/ 846591 h 847528"/>
                <a:gd name="connsiteX6" fmla="*/ 952255 w 8650046"/>
                <a:gd name="connsiteY6" fmla="*/ 754148 h 847528"/>
                <a:gd name="connsiteX7" fmla="*/ 1647114 w 8650046"/>
                <a:gd name="connsiteY7" fmla="*/ 788136 h 847528"/>
                <a:gd name="connsiteX8" fmla="*/ 2103124 w 8650046"/>
                <a:gd name="connsiteY8" fmla="*/ 728648 h 847528"/>
                <a:gd name="connsiteX9" fmla="*/ 2580846 w 8650046"/>
                <a:gd name="connsiteY9" fmla="*/ 728648 h 847528"/>
                <a:gd name="connsiteX10" fmla="*/ 3351715 w 8650046"/>
                <a:gd name="connsiteY10" fmla="*/ 771142 h 847528"/>
                <a:gd name="connsiteX11" fmla="*/ 4231151 w 8650046"/>
                <a:gd name="connsiteY11" fmla="*/ 754148 h 847528"/>
                <a:gd name="connsiteX12" fmla="*/ 4860869 w 8650046"/>
                <a:gd name="connsiteY12" fmla="*/ 762654 h 847528"/>
                <a:gd name="connsiteX13" fmla="*/ 5696879 w 8650046"/>
                <a:gd name="connsiteY13" fmla="*/ 762654 h 847528"/>
                <a:gd name="connsiteX14" fmla="*/ 6760892 w 8650046"/>
                <a:gd name="connsiteY14" fmla="*/ 788154 h 847528"/>
                <a:gd name="connsiteX15" fmla="*/ 7510047 w 8650046"/>
                <a:gd name="connsiteY15" fmla="*/ 779648 h 847528"/>
                <a:gd name="connsiteX16" fmla="*/ 8042042 w 8650046"/>
                <a:gd name="connsiteY16" fmla="*/ 771142 h 847528"/>
                <a:gd name="connsiteX17" fmla="*/ 8519765 w 8650046"/>
                <a:gd name="connsiteY17" fmla="*/ 737154 h 847528"/>
                <a:gd name="connsiteX18" fmla="*/ 8650046 w 8650046"/>
                <a:gd name="connsiteY18" fmla="*/ 754148 h 847528"/>
                <a:gd name="connsiteX19" fmla="*/ 8650046 w 8650046"/>
                <a:gd name="connsiteY19" fmla="*/ 133791 h 847528"/>
                <a:gd name="connsiteX20" fmla="*/ 8465470 w 8650046"/>
                <a:gd name="connsiteY20" fmla="*/ 65870 h 847528"/>
                <a:gd name="connsiteX21" fmla="*/ 7651174 w 8650046"/>
                <a:gd name="connsiteY21" fmla="*/ 14889 h 847528"/>
                <a:gd name="connsiteX22" fmla="*/ 7064883 w 8650046"/>
                <a:gd name="connsiteY22" fmla="*/ 108364 h 847528"/>
                <a:gd name="connsiteX23" fmla="*/ 6163733 w 8650046"/>
                <a:gd name="connsiteY23" fmla="*/ 201839 h 847528"/>
                <a:gd name="connsiteX24" fmla="*/ 5197442 w 8650046"/>
                <a:gd name="connsiteY24" fmla="*/ 201839 h 847528"/>
                <a:gd name="connsiteX25" fmla="*/ 3471152 w 8650046"/>
                <a:gd name="connsiteY25" fmla="*/ 193333 h 847528"/>
                <a:gd name="connsiteX26" fmla="*/ 2385424 w 8650046"/>
                <a:gd name="connsiteY26" fmla="*/ 65870 h 847528"/>
                <a:gd name="connsiteX27" fmla="*/ 593992 w 8650046"/>
                <a:gd name="connsiteY27" fmla="*/ 57364 h 847528"/>
                <a:gd name="connsiteX28" fmla="*/ 54170 w 8650046"/>
                <a:gd name="connsiteY28" fmla="*/ 66415 h 847528"/>
                <a:gd name="connsiteX0" fmla="*/ 54170 w 8650046"/>
                <a:gd name="connsiteY0" fmla="*/ 66415 h 847530"/>
                <a:gd name="connsiteX1" fmla="*/ 20012 w 8650046"/>
                <a:gd name="connsiteY1" fmla="*/ 139144 h 847530"/>
                <a:gd name="connsiteX2" fmla="*/ 32232 w 8650046"/>
                <a:gd name="connsiteY2" fmla="*/ 350379 h 847530"/>
                <a:gd name="connsiteX3" fmla="*/ 46894 w 8650046"/>
                <a:gd name="connsiteY3" fmla="*/ 609625 h 847530"/>
                <a:gd name="connsiteX4" fmla="*/ 59111 w 8650046"/>
                <a:gd name="connsiteY4" fmla="*/ 686441 h 847530"/>
                <a:gd name="connsiteX5" fmla="*/ 95454 w 8650046"/>
                <a:gd name="connsiteY5" fmla="*/ 846591 h 847530"/>
                <a:gd name="connsiteX6" fmla="*/ 952255 w 8650046"/>
                <a:gd name="connsiteY6" fmla="*/ 754148 h 847530"/>
                <a:gd name="connsiteX7" fmla="*/ 1647114 w 8650046"/>
                <a:gd name="connsiteY7" fmla="*/ 788136 h 847530"/>
                <a:gd name="connsiteX8" fmla="*/ 2103124 w 8650046"/>
                <a:gd name="connsiteY8" fmla="*/ 728648 h 847530"/>
                <a:gd name="connsiteX9" fmla="*/ 2580846 w 8650046"/>
                <a:gd name="connsiteY9" fmla="*/ 728648 h 847530"/>
                <a:gd name="connsiteX10" fmla="*/ 3351715 w 8650046"/>
                <a:gd name="connsiteY10" fmla="*/ 771142 h 847530"/>
                <a:gd name="connsiteX11" fmla="*/ 4231151 w 8650046"/>
                <a:gd name="connsiteY11" fmla="*/ 754148 h 847530"/>
                <a:gd name="connsiteX12" fmla="*/ 4860869 w 8650046"/>
                <a:gd name="connsiteY12" fmla="*/ 762654 h 847530"/>
                <a:gd name="connsiteX13" fmla="*/ 5696879 w 8650046"/>
                <a:gd name="connsiteY13" fmla="*/ 762654 h 847530"/>
                <a:gd name="connsiteX14" fmla="*/ 6760892 w 8650046"/>
                <a:gd name="connsiteY14" fmla="*/ 788154 h 847530"/>
                <a:gd name="connsiteX15" fmla="*/ 7510047 w 8650046"/>
                <a:gd name="connsiteY15" fmla="*/ 779648 h 847530"/>
                <a:gd name="connsiteX16" fmla="*/ 8042042 w 8650046"/>
                <a:gd name="connsiteY16" fmla="*/ 771142 h 847530"/>
                <a:gd name="connsiteX17" fmla="*/ 8519765 w 8650046"/>
                <a:gd name="connsiteY17" fmla="*/ 737154 h 847530"/>
                <a:gd name="connsiteX18" fmla="*/ 8650046 w 8650046"/>
                <a:gd name="connsiteY18" fmla="*/ 754148 h 847530"/>
                <a:gd name="connsiteX19" fmla="*/ 8650046 w 8650046"/>
                <a:gd name="connsiteY19" fmla="*/ 133791 h 847530"/>
                <a:gd name="connsiteX20" fmla="*/ 8465470 w 8650046"/>
                <a:gd name="connsiteY20" fmla="*/ 65870 h 847530"/>
                <a:gd name="connsiteX21" fmla="*/ 7651174 w 8650046"/>
                <a:gd name="connsiteY21" fmla="*/ 14889 h 847530"/>
                <a:gd name="connsiteX22" fmla="*/ 7064883 w 8650046"/>
                <a:gd name="connsiteY22" fmla="*/ 108364 h 847530"/>
                <a:gd name="connsiteX23" fmla="*/ 6163733 w 8650046"/>
                <a:gd name="connsiteY23" fmla="*/ 201839 h 847530"/>
                <a:gd name="connsiteX24" fmla="*/ 5197442 w 8650046"/>
                <a:gd name="connsiteY24" fmla="*/ 201839 h 847530"/>
                <a:gd name="connsiteX25" fmla="*/ 3471152 w 8650046"/>
                <a:gd name="connsiteY25" fmla="*/ 193333 h 847530"/>
                <a:gd name="connsiteX26" fmla="*/ 2385424 w 8650046"/>
                <a:gd name="connsiteY26" fmla="*/ 65870 h 847530"/>
                <a:gd name="connsiteX27" fmla="*/ 593992 w 8650046"/>
                <a:gd name="connsiteY27" fmla="*/ 57364 h 847530"/>
                <a:gd name="connsiteX28" fmla="*/ 54170 w 8650046"/>
                <a:gd name="connsiteY28" fmla="*/ 66415 h 847530"/>
                <a:gd name="connsiteX0" fmla="*/ 48208 w 8644084"/>
                <a:gd name="connsiteY0" fmla="*/ 66415 h 847528"/>
                <a:gd name="connsiteX1" fmla="*/ 14050 w 8644084"/>
                <a:gd name="connsiteY1" fmla="*/ 139144 h 847528"/>
                <a:gd name="connsiteX2" fmla="*/ 26270 w 8644084"/>
                <a:gd name="connsiteY2" fmla="*/ 350379 h 847528"/>
                <a:gd name="connsiteX3" fmla="*/ 40932 w 8644084"/>
                <a:gd name="connsiteY3" fmla="*/ 609625 h 847528"/>
                <a:gd name="connsiteX4" fmla="*/ 53149 w 8644084"/>
                <a:gd name="connsiteY4" fmla="*/ 686441 h 847528"/>
                <a:gd name="connsiteX5" fmla="*/ 89492 w 8644084"/>
                <a:gd name="connsiteY5" fmla="*/ 846591 h 847528"/>
                <a:gd name="connsiteX6" fmla="*/ 946293 w 8644084"/>
                <a:gd name="connsiteY6" fmla="*/ 754148 h 847528"/>
                <a:gd name="connsiteX7" fmla="*/ 1641152 w 8644084"/>
                <a:gd name="connsiteY7" fmla="*/ 788136 h 847528"/>
                <a:gd name="connsiteX8" fmla="*/ 2097162 w 8644084"/>
                <a:gd name="connsiteY8" fmla="*/ 728648 h 847528"/>
                <a:gd name="connsiteX9" fmla="*/ 2574884 w 8644084"/>
                <a:gd name="connsiteY9" fmla="*/ 728648 h 847528"/>
                <a:gd name="connsiteX10" fmla="*/ 3345753 w 8644084"/>
                <a:gd name="connsiteY10" fmla="*/ 771142 h 847528"/>
                <a:gd name="connsiteX11" fmla="*/ 4225189 w 8644084"/>
                <a:gd name="connsiteY11" fmla="*/ 754148 h 847528"/>
                <a:gd name="connsiteX12" fmla="*/ 4854907 w 8644084"/>
                <a:gd name="connsiteY12" fmla="*/ 762654 h 847528"/>
                <a:gd name="connsiteX13" fmla="*/ 5690917 w 8644084"/>
                <a:gd name="connsiteY13" fmla="*/ 762654 h 847528"/>
                <a:gd name="connsiteX14" fmla="*/ 6754930 w 8644084"/>
                <a:gd name="connsiteY14" fmla="*/ 788154 h 847528"/>
                <a:gd name="connsiteX15" fmla="*/ 7504085 w 8644084"/>
                <a:gd name="connsiteY15" fmla="*/ 779648 h 847528"/>
                <a:gd name="connsiteX16" fmla="*/ 8036080 w 8644084"/>
                <a:gd name="connsiteY16" fmla="*/ 771142 h 847528"/>
                <a:gd name="connsiteX17" fmla="*/ 8513803 w 8644084"/>
                <a:gd name="connsiteY17" fmla="*/ 737154 h 847528"/>
                <a:gd name="connsiteX18" fmla="*/ 8644084 w 8644084"/>
                <a:gd name="connsiteY18" fmla="*/ 754148 h 847528"/>
                <a:gd name="connsiteX19" fmla="*/ 8644084 w 8644084"/>
                <a:gd name="connsiteY19" fmla="*/ 133791 h 847528"/>
                <a:gd name="connsiteX20" fmla="*/ 8459508 w 8644084"/>
                <a:gd name="connsiteY20" fmla="*/ 65870 h 847528"/>
                <a:gd name="connsiteX21" fmla="*/ 7645212 w 8644084"/>
                <a:gd name="connsiteY21" fmla="*/ 14889 h 847528"/>
                <a:gd name="connsiteX22" fmla="*/ 7058921 w 8644084"/>
                <a:gd name="connsiteY22" fmla="*/ 108364 h 847528"/>
                <a:gd name="connsiteX23" fmla="*/ 6157771 w 8644084"/>
                <a:gd name="connsiteY23" fmla="*/ 201839 h 847528"/>
                <a:gd name="connsiteX24" fmla="*/ 5191480 w 8644084"/>
                <a:gd name="connsiteY24" fmla="*/ 201839 h 847528"/>
                <a:gd name="connsiteX25" fmla="*/ 3465190 w 8644084"/>
                <a:gd name="connsiteY25" fmla="*/ 193333 h 847528"/>
                <a:gd name="connsiteX26" fmla="*/ 2379462 w 8644084"/>
                <a:gd name="connsiteY26" fmla="*/ 65870 h 847528"/>
                <a:gd name="connsiteX27" fmla="*/ 588030 w 8644084"/>
                <a:gd name="connsiteY27" fmla="*/ 57364 h 847528"/>
                <a:gd name="connsiteX28" fmla="*/ 48208 w 8644084"/>
                <a:gd name="connsiteY28" fmla="*/ 66415 h 847528"/>
                <a:gd name="connsiteX0" fmla="*/ 39893 w 8635769"/>
                <a:gd name="connsiteY0" fmla="*/ 66415 h 847530"/>
                <a:gd name="connsiteX1" fmla="*/ 5735 w 8635769"/>
                <a:gd name="connsiteY1" fmla="*/ 139144 h 847530"/>
                <a:gd name="connsiteX2" fmla="*/ 17955 w 8635769"/>
                <a:gd name="connsiteY2" fmla="*/ 350379 h 847530"/>
                <a:gd name="connsiteX3" fmla="*/ 32617 w 8635769"/>
                <a:gd name="connsiteY3" fmla="*/ 609625 h 847530"/>
                <a:gd name="connsiteX4" fmla="*/ 44834 w 8635769"/>
                <a:gd name="connsiteY4" fmla="*/ 686441 h 847530"/>
                <a:gd name="connsiteX5" fmla="*/ 81177 w 8635769"/>
                <a:gd name="connsiteY5" fmla="*/ 846591 h 847530"/>
                <a:gd name="connsiteX6" fmla="*/ 937978 w 8635769"/>
                <a:gd name="connsiteY6" fmla="*/ 754148 h 847530"/>
                <a:gd name="connsiteX7" fmla="*/ 1632837 w 8635769"/>
                <a:gd name="connsiteY7" fmla="*/ 788136 h 847530"/>
                <a:gd name="connsiteX8" fmla="*/ 2088847 w 8635769"/>
                <a:gd name="connsiteY8" fmla="*/ 728648 h 847530"/>
                <a:gd name="connsiteX9" fmla="*/ 2566569 w 8635769"/>
                <a:gd name="connsiteY9" fmla="*/ 728648 h 847530"/>
                <a:gd name="connsiteX10" fmla="*/ 3337438 w 8635769"/>
                <a:gd name="connsiteY10" fmla="*/ 771142 h 847530"/>
                <a:gd name="connsiteX11" fmla="*/ 4216874 w 8635769"/>
                <a:gd name="connsiteY11" fmla="*/ 754148 h 847530"/>
                <a:gd name="connsiteX12" fmla="*/ 4846592 w 8635769"/>
                <a:gd name="connsiteY12" fmla="*/ 762654 h 847530"/>
                <a:gd name="connsiteX13" fmla="*/ 5682602 w 8635769"/>
                <a:gd name="connsiteY13" fmla="*/ 762654 h 847530"/>
                <a:gd name="connsiteX14" fmla="*/ 6746615 w 8635769"/>
                <a:gd name="connsiteY14" fmla="*/ 788154 h 847530"/>
                <a:gd name="connsiteX15" fmla="*/ 7495770 w 8635769"/>
                <a:gd name="connsiteY15" fmla="*/ 779648 h 847530"/>
                <a:gd name="connsiteX16" fmla="*/ 8027765 w 8635769"/>
                <a:gd name="connsiteY16" fmla="*/ 771142 h 847530"/>
                <a:gd name="connsiteX17" fmla="*/ 8505488 w 8635769"/>
                <a:gd name="connsiteY17" fmla="*/ 737154 h 847530"/>
                <a:gd name="connsiteX18" fmla="*/ 8635769 w 8635769"/>
                <a:gd name="connsiteY18" fmla="*/ 754148 h 847530"/>
                <a:gd name="connsiteX19" fmla="*/ 8635769 w 8635769"/>
                <a:gd name="connsiteY19" fmla="*/ 133791 h 847530"/>
                <a:gd name="connsiteX20" fmla="*/ 8451193 w 8635769"/>
                <a:gd name="connsiteY20" fmla="*/ 65870 h 847530"/>
                <a:gd name="connsiteX21" fmla="*/ 7636897 w 8635769"/>
                <a:gd name="connsiteY21" fmla="*/ 14889 h 847530"/>
                <a:gd name="connsiteX22" fmla="*/ 7050606 w 8635769"/>
                <a:gd name="connsiteY22" fmla="*/ 108364 h 847530"/>
                <a:gd name="connsiteX23" fmla="*/ 6149456 w 8635769"/>
                <a:gd name="connsiteY23" fmla="*/ 201839 h 847530"/>
                <a:gd name="connsiteX24" fmla="*/ 5183165 w 8635769"/>
                <a:gd name="connsiteY24" fmla="*/ 201839 h 847530"/>
                <a:gd name="connsiteX25" fmla="*/ 3456875 w 8635769"/>
                <a:gd name="connsiteY25" fmla="*/ 193333 h 847530"/>
                <a:gd name="connsiteX26" fmla="*/ 2371147 w 8635769"/>
                <a:gd name="connsiteY26" fmla="*/ 65870 h 847530"/>
                <a:gd name="connsiteX27" fmla="*/ 579715 w 8635769"/>
                <a:gd name="connsiteY27" fmla="*/ 57364 h 847530"/>
                <a:gd name="connsiteX28" fmla="*/ 39893 w 8635769"/>
                <a:gd name="connsiteY28" fmla="*/ 66415 h 847530"/>
                <a:gd name="connsiteX0" fmla="*/ 39893 w 8635769"/>
                <a:gd name="connsiteY0" fmla="*/ 66415 h 847528"/>
                <a:gd name="connsiteX1" fmla="*/ 5735 w 8635769"/>
                <a:gd name="connsiteY1" fmla="*/ 139144 h 847528"/>
                <a:gd name="connsiteX2" fmla="*/ 17955 w 8635769"/>
                <a:gd name="connsiteY2" fmla="*/ 350379 h 847528"/>
                <a:gd name="connsiteX3" fmla="*/ 32617 w 8635769"/>
                <a:gd name="connsiteY3" fmla="*/ 609625 h 847528"/>
                <a:gd name="connsiteX4" fmla="*/ 44834 w 8635769"/>
                <a:gd name="connsiteY4" fmla="*/ 686441 h 847528"/>
                <a:gd name="connsiteX5" fmla="*/ 81177 w 8635769"/>
                <a:gd name="connsiteY5" fmla="*/ 846591 h 847528"/>
                <a:gd name="connsiteX6" fmla="*/ 937978 w 8635769"/>
                <a:gd name="connsiteY6" fmla="*/ 754148 h 847528"/>
                <a:gd name="connsiteX7" fmla="*/ 1632837 w 8635769"/>
                <a:gd name="connsiteY7" fmla="*/ 788136 h 847528"/>
                <a:gd name="connsiteX8" fmla="*/ 2088847 w 8635769"/>
                <a:gd name="connsiteY8" fmla="*/ 728648 h 847528"/>
                <a:gd name="connsiteX9" fmla="*/ 2566569 w 8635769"/>
                <a:gd name="connsiteY9" fmla="*/ 728648 h 847528"/>
                <a:gd name="connsiteX10" fmla="*/ 3337438 w 8635769"/>
                <a:gd name="connsiteY10" fmla="*/ 771142 h 847528"/>
                <a:gd name="connsiteX11" fmla="*/ 4216874 w 8635769"/>
                <a:gd name="connsiteY11" fmla="*/ 754148 h 847528"/>
                <a:gd name="connsiteX12" fmla="*/ 4846592 w 8635769"/>
                <a:gd name="connsiteY12" fmla="*/ 762654 h 847528"/>
                <a:gd name="connsiteX13" fmla="*/ 5682602 w 8635769"/>
                <a:gd name="connsiteY13" fmla="*/ 762654 h 847528"/>
                <a:gd name="connsiteX14" fmla="*/ 6746615 w 8635769"/>
                <a:gd name="connsiteY14" fmla="*/ 788154 h 847528"/>
                <a:gd name="connsiteX15" fmla="*/ 7495770 w 8635769"/>
                <a:gd name="connsiteY15" fmla="*/ 779648 h 847528"/>
                <a:gd name="connsiteX16" fmla="*/ 8027765 w 8635769"/>
                <a:gd name="connsiteY16" fmla="*/ 771142 h 847528"/>
                <a:gd name="connsiteX17" fmla="*/ 8505488 w 8635769"/>
                <a:gd name="connsiteY17" fmla="*/ 737154 h 847528"/>
                <a:gd name="connsiteX18" fmla="*/ 8635769 w 8635769"/>
                <a:gd name="connsiteY18" fmla="*/ 754148 h 847528"/>
                <a:gd name="connsiteX19" fmla="*/ 8635769 w 8635769"/>
                <a:gd name="connsiteY19" fmla="*/ 133791 h 847528"/>
                <a:gd name="connsiteX20" fmla="*/ 8451193 w 8635769"/>
                <a:gd name="connsiteY20" fmla="*/ 65870 h 847528"/>
                <a:gd name="connsiteX21" fmla="*/ 7636897 w 8635769"/>
                <a:gd name="connsiteY21" fmla="*/ 14889 h 847528"/>
                <a:gd name="connsiteX22" fmla="*/ 7050606 w 8635769"/>
                <a:gd name="connsiteY22" fmla="*/ 108364 h 847528"/>
                <a:gd name="connsiteX23" fmla="*/ 6149456 w 8635769"/>
                <a:gd name="connsiteY23" fmla="*/ 201839 h 847528"/>
                <a:gd name="connsiteX24" fmla="*/ 5183165 w 8635769"/>
                <a:gd name="connsiteY24" fmla="*/ 201839 h 847528"/>
                <a:gd name="connsiteX25" fmla="*/ 3456875 w 8635769"/>
                <a:gd name="connsiteY25" fmla="*/ 193333 h 847528"/>
                <a:gd name="connsiteX26" fmla="*/ 2371147 w 8635769"/>
                <a:gd name="connsiteY26" fmla="*/ 65870 h 847528"/>
                <a:gd name="connsiteX27" fmla="*/ 579715 w 8635769"/>
                <a:gd name="connsiteY27" fmla="*/ 57364 h 847528"/>
                <a:gd name="connsiteX28" fmla="*/ 39893 w 8635769"/>
                <a:gd name="connsiteY28" fmla="*/ 66415 h 847528"/>
                <a:gd name="connsiteX0" fmla="*/ 36653 w 8632529"/>
                <a:gd name="connsiteY0" fmla="*/ 66415 h 847530"/>
                <a:gd name="connsiteX1" fmla="*/ 2495 w 8632529"/>
                <a:gd name="connsiteY1" fmla="*/ 139144 h 847530"/>
                <a:gd name="connsiteX2" fmla="*/ 14715 w 8632529"/>
                <a:gd name="connsiteY2" fmla="*/ 350379 h 847530"/>
                <a:gd name="connsiteX3" fmla="*/ 29377 w 8632529"/>
                <a:gd name="connsiteY3" fmla="*/ 609625 h 847530"/>
                <a:gd name="connsiteX4" fmla="*/ 41594 w 8632529"/>
                <a:gd name="connsiteY4" fmla="*/ 686441 h 847530"/>
                <a:gd name="connsiteX5" fmla="*/ 77937 w 8632529"/>
                <a:gd name="connsiteY5" fmla="*/ 846591 h 847530"/>
                <a:gd name="connsiteX6" fmla="*/ 934738 w 8632529"/>
                <a:gd name="connsiteY6" fmla="*/ 754148 h 847530"/>
                <a:gd name="connsiteX7" fmla="*/ 1629597 w 8632529"/>
                <a:gd name="connsiteY7" fmla="*/ 788136 h 847530"/>
                <a:gd name="connsiteX8" fmla="*/ 2085607 w 8632529"/>
                <a:gd name="connsiteY8" fmla="*/ 728648 h 847530"/>
                <a:gd name="connsiteX9" fmla="*/ 2563329 w 8632529"/>
                <a:gd name="connsiteY9" fmla="*/ 728648 h 847530"/>
                <a:gd name="connsiteX10" fmla="*/ 3334198 w 8632529"/>
                <a:gd name="connsiteY10" fmla="*/ 771142 h 847530"/>
                <a:gd name="connsiteX11" fmla="*/ 4213634 w 8632529"/>
                <a:gd name="connsiteY11" fmla="*/ 754148 h 847530"/>
                <a:gd name="connsiteX12" fmla="*/ 4843352 w 8632529"/>
                <a:gd name="connsiteY12" fmla="*/ 762654 h 847530"/>
                <a:gd name="connsiteX13" fmla="*/ 5679362 w 8632529"/>
                <a:gd name="connsiteY13" fmla="*/ 762654 h 847530"/>
                <a:gd name="connsiteX14" fmla="*/ 6743375 w 8632529"/>
                <a:gd name="connsiteY14" fmla="*/ 788154 h 847530"/>
                <a:gd name="connsiteX15" fmla="*/ 7492530 w 8632529"/>
                <a:gd name="connsiteY15" fmla="*/ 779648 h 847530"/>
                <a:gd name="connsiteX16" fmla="*/ 8024525 w 8632529"/>
                <a:gd name="connsiteY16" fmla="*/ 771142 h 847530"/>
                <a:gd name="connsiteX17" fmla="*/ 8502248 w 8632529"/>
                <a:gd name="connsiteY17" fmla="*/ 737154 h 847530"/>
                <a:gd name="connsiteX18" fmla="*/ 8632529 w 8632529"/>
                <a:gd name="connsiteY18" fmla="*/ 754148 h 847530"/>
                <a:gd name="connsiteX19" fmla="*/ 8632529 w 8632529"/>
                <a:gd name="connsiteY19" fmla="*/ 133791 h 847530"/>
                <a:gd name="connsiteX20" fmla="*/ 8447953 w 8632529"/>
                <a:gd name="connsiteY20" fmla="*/ 65870 h 847530"/>
                <a:gd name="connsiteX21" fmla="*/ 7633657 w 8632529"/>
                <a:gd name="connsiteY21" fmla="*/ 14889 h 847530"/>
                <a:gd name="connsiteX22" fmla="*/ 7047366 w 8632529"/>
                <a:gd name="connsiteY22" fmla="*/ 108364 h 847530"/>
                <a:gd name="connsiteX23" fmla="*/ 6146216 w 8632529"/>
                <a:gd name="connsiteY23" fmla="*/ 201839 h 847530"/>
                <a:gd name="connsiteX24" fmla="*/ 5179925 w 8632529"/>
                <a:gd name="connsiteY24" fmla="*/ 201839 h 847530"/>
                <a:gd name="connsiteX25" fmla="*/ 3453635 w 8632529"/>
                <a:gd name="connsiteY25" fmla="*/ 193333 h 847530"/>
                <a:gd name="connsiteX26" fmla="*/ 2367907 w 8632529"/>
                <a:gd name="connsiteY26" fmla="*/ 65870 h 847530"/>
                <a:gd name="connsiteX27" fmla="*/ 576475 w 8632529"/>
                <a:gd name="connsiteY27" fmla="*/ 57364 h 847530"/>
                <a:gd name="connsiteX28" fmla="*/ 36653 w 8632529"/>
                <a:gd name="connsiteY28" fmla="*/ 66415 h 847530"/>
                <a:gd name="connsiteX0" fmla="*/ 38923 w 8634799"/>
                <a:gd name="connsiteY0" fmla="*/ 66415 h 847528"/>
                <a:gd name="connsiteX1" fmla="*/ 4765 w 8634799"/>
                <a:gd name="connsiteY1" fmla="*/ 139144 h 847528"/>
                <a:gd name="connsiteX2" fmla="*/ 16985 w 8634799"/>
                <a:gd name="connsiteY2" fmla="*/ 350379 h 847528"/>
                <a:gd name="connsiteX3" fmla="*/ 31647 w 8634799"/>
                <a:gd name="connsiteY3" fmla="*/ 609625 h 847528"/>
                <a:gd name="connsiteX4" fmla="*/ 43864 w 8634799"/>
                <a:gd name="connsiteY4" fmla="*/ 686441 h 847528"/>
                <a:gd name="connsiteX5" fmla="*/ 80207 w 8634799"/>
                <a:gd name="connsiteY5" fmla="*/ 846591 h 847528"/>
                <a:gd name="connsiteX6" fmla="*/ 937008 w 8634799"/>
                <a:gd name="connsiteY6" fmla="*/ 754148 h 847528"/>
                <a:gd name="connsiteX7" fmla="*/ 1631867 w 8634799"/>
                <a:gd name="connsiteY7" fmla="*/ 788136 h 847528"/>
                <a:gd name="connsiteX8" fmla="*/ 2087877 w 8634799"/>
                <a:gd name="connsiteY8" fmla="*/ 728648 h 847528"/>
                <a:gd name="connsiteX9" fmla="*/ 2565599 w 8634799"/>
                <a:gd name="connsiteY9" fmla="*/ 728648 h 847528"/>
                <a:gd name="connsiteX10" fmla="*/ 3336468 w 8634799"/>
                <a:gd name="connsiteY10" fmla="*/ 771142 h 847528"/>
                <a:gd name="connsiteX11" fmla="*/ 4215904 w 8634799"/>
                <a:gd name="connsiteY11" fmla="*/ 754148 h 847528"/>
                <a:gd name="connsiteX12" fmla="*/ 4845622 w 8634799"/>
                <a:gd name="connsiteY12" fmla="*/ 762654 h 847528"/>
                <a:gd name="connsiteX13" fmla="*/ 5681632 w 8634799"/>
                <a:gd name="connsiteY13" fmla="*/ 762654 h 847528"/>
                <a:gd name="connsiteX14" fmla="*/ 6745645 w 8634799"/>
                <a:gd name="connsiteY14" fmla="*/ 788154 h 847528"/>
                <a:gd name="connsiteX15" fmla="*/ 7494800 w 8634799"/>
                <a:gd name="connsiteY15" fmla="*/ 779648 h 847528"/>
                <a:gd name="connsiteX16" fmla="*/ 8026795 w 8634799"/>
                <a:gd name="connsiteY16" fmla="*/ 771142 h 847528"/>
                <a:gd name="connsiteX17" fmla="*/ 8504518 w 8634799"/>
                <a:gd name="connsiteY17" fmla="*/ 737154 h 847528"/>
                <a:gd name="connsiteX18" fmla="*/ 8634799 w 8634799"/>
                <a:gd name="connsiteY18" fmla="*/ 754148 h 847528"/>
                <a:gd name="connsiteX19" fmla="*/ 8634799 w 8634799"/>
                <a:gd name="connsiteY19" fmla="*/ 133791 h 847528"/>
                <a:gd name="connsiteX20" fmla="*/ 8450223 w 8634799"/>
                <a:gd name="connsiteY20" fmla="*/ 65870 h 847528"/>
                <a:gd name="connsiteX21" fmla="*/ 7635927 w 8634799"/>
                <a:gd name="connsiteY21" fmla="*/ 14889 h 847528"/>
                <a:gd name="connsiteX22" fmla="*/ 7049636 w 8634799"/>
                <a:gd name="connsiteY22" fmla="*/ 108364 h 847528"/>
                <a:gd name="connsiteX23" fmla="*/ 6148486 w 8634799"/>
                <a:gd name="connsiteY23" fmla="*/ 201839 h 847528"/>
                <a:gd name="connsiteX24" fmla="*/ 5182195 w 8634799"/>
                <a:gd name="connsiteY24" fmla="*/ 201839 h 847528"/>
                <a:gd name="connsiteX25" fmla="*/ 3455905 w 8634799"/>
                <a:gd name="connsiteY25" fmla="*/ 193333 h 847528"/>
                <a:gd name="connsiteX26" fmla="*/ 2370177 w 8634799"/>
                <a:gd name="connsiteY26" fmla="*/ 65870 h 847528"/>
                <a:gd name="connsiteX27" fmla="*/ 578745 w 8634799"/>
                <a:gd name="connsiteY27" fmla="*/ 57364 h 847528"/>
                <a:gd name="connsiteX28" fmla="*/ 38923 w 8634799"/>
                <a:gd name="connsiteY28" fmla="*/ 66415 h 847528"/>
                <a:gd name="connsiteX0" fmla="*/ 38923 w 8634799"/>
                <a:gd name="connsiteY0" fmla="*/ 66415 h 847530"/>
                <a:gd name="connsiteX1" fmla="*/ 4765 w 8634799"/>
                <a:gd name="connsiteY1" fmla="*/ 139144 h 847530"/>
                <a:gd name="connsiteX2" fmla="*/ 16985 w 8634799"/>
                <a:gd name="connsiteY2" fmla="*/ 350379 h 847530"/>
                <a:gd name="connsiteX3" fmla="*/ 31647 w 8634799"/>
                <a:gd name="connsiteY3" fmla="*/ 609625 h 847530"/>
                <a:gd name="connsiteX4" fmla="*/ 43864 w 8634799"/>
                <a:gd name="connsiteY4" fmla="*/ 686441 h 847530"/>
                <a:gd name="connsiteX5" fmla="*/ 80207 w 8634799"/>
                <a:gd name="connsiteY5" fmla="*/ 846591 h 847530"/>
                <a:gd name="connsiteX6" fmla="*/ 937008 w 8634799"/>
                <a:gd name="connsiteY6" fmla="*/ 754148 h 847530"/>
                <a:gd name="connsiteX7" fmla="*/ 1631867 w 8634799"/>
                <a:gd name="connsiteY7" fmla="*/ 788136 h 847530"/>
                <a:gd name="connsiteX8" fmla="*/ 2087877 w 8634799"/>
                <a:gd name="connsiteY8" fmla="*/ 728648 h 847530"/>
                <a:gd name="connsiteX9" fmla="*/ 2565599 w 8634799"/>
                <a:gd name="connsiteY9" fmla="*/ 728648 h 847530"/>
                <a:gd name="connsiteX10" fmla="*/ 3336468 w 8634799"/>
                <a:gd name="connsiteY10" fmla="*/ 771142 h 847530"/>
                <a:gd name="connsiteX11" fmla="*/ 4215904 w 8634799"/>
                <a:gd name="connsiteY11" fmla="*/ 754148 h 847530"/>
                <a:gd name="connsiteX12" fmla="*/ 4845622 w 8634799"/>
                <a:gd name="connsiteY12" fmla="*/ 762654 h 847530"/>
                <a:gd name="connsiteX13" fmla="*/ 5681632 w 8634799"/>
                <a:gd name="connsiteY13" fmla="*/ 762654 h 847530"/>
                <a:gd name="connsiteX14" fmla="*/ 6745645 w 8634799"/>
                <a:gd name="connsiteY14" fmla="*/ 788154 h 847530"/>
                <a:gd name="connsiteX15" fmla="*/ 7494800 w 8634799"/>
                <a:gd name="connsiteY15" fmla="*/ 779648 h 847530"/>
                <a:gd name="connsiteX16" fmla="*/ 8026795 w 8634799"/>
                <a:gd name="connsiteY16" fmla="*/ 771142 h 847530"/>
                <a:gd name="connsiteX17" fmla="*/ 8504518 w 8634799"/>
                <a:gd name="connsiteY17" fmla="*/ 737154 h 847530"/>
                <a:gd name="connsiteX18" fmla="*/ 8634799 w 8634799"/>
                <a:gd name="connsiteY18" fmla="*/ 754148 h 847530"/>
                <a:gd name="connsiteX19" fmla="*/ 8634799 w 8634799"/>
                <a:gd name="connsiteY19" fmla="*/ 133791 h 847530"/>
                <a:gd name="connsiteX20" fmla="*/ 8450223 w 8634799"/>
                <a:gd name="connsiteY20" fmla="*/ 65870 h 847530"/>
                <a:gd name="connsiteX21" fmla="*/ 7635927 w 8634799"/>
                <a:gd name="connsiteY21" fmla="*/ 14889 h 847530"/>
                <a:gd name="connsiteX22" fmla="*/ 7049636 w 8634799"/>
                <a:gd name="connsiteY22" fmla="*/ 108364 h 847530"/>
                <a:gd name="connsiteX23" fmla="*/ 6132068 w 8634799"/>
                <a:gd name="connsiteY23" fmla="*/ 131955 h 847530"/>
                <a:gd name="connsiteX24" fmla="*/ 5182195 w 8634799"/>
                <a:gd name="connsiteY24" fmla="*/ 201839 h 847530"/>
                <a:gd name="connsiteX25" fmla="*/ 3455905 w 8634799"/>
                <a:gd name="connsiteY25" fmla="*/ 193333 h 847530"/>
                <a:gd name="connsiteX26" fmla="*/ 2370177 w 8634799"/>
                <a:gd name="connsiteY26" fmla="*/ 65870 h 847530"/>
                <a:gd name="connsiteX27" fmla="*/ 578745 w 8634799"/>
                <a:gd name="connsiteY27" fmla="*/ 57364 h 847530"/>
                <a:gd name="connsiteX28" fmla="*/ 38923 w 8634799"/>
                <a:gd name="connsiteY28" fmla="*/ 66415 h 847530"/>
                <a:gd name="connsiteX0" fmla="*/ 38923 w 8634799"/>
                <a:gd name="connsiteY0" fmla="*/ 66415 h 847528"/>
                <a:gd name="connsiteX1" fmla="*/ 4765 w 8634799"/>
                <a:gd name="connsiteY1" fmla="*/ 139144 h 847528"/>
                <a:gd name="connsiteX2" fmla="*/ 16985 w 8634799"/>
                <a:gd name="connsiteY2" fmla="*/ 350379 h 847528"/>
                <a:gd name="connsiteX3" fmla="*/ 31647 w 8634799"/>
                <a:gd name="connsiteY3" fmla="*/ 609625 h 847528"/>
                <a:gd name="connsiteX4" fmla="*/ 43864 w 8634799"/>
                <a:gd name="connsiteY4" fmla="*/ 686441 h 847528"/>
                <a:gd name="connsiteX5" fmla="*/ 80207 w 8634799"/>
                <a:gd name="connsiteY5" fmla="*/ 846591 h 847528"/>
                <a:gd name="connsiteX6" fmla="*/ 937008 w 8634799"/>
                <a:gd name="connsiteY6" fmla="*/ 754148 h 847528"/>
                <a:gd name="connsiteX7" fmla="*/ 1631867 w 8634799"/>
                <a:gd name="connsiteY7" fmla="*/ 788136 h 847528"/>
                <a:gd name="connsiteX8" fmla="*/ 2087877 w 8634799"/>
                <a:gd name="connsiteY8" fmla="*/ 728648 h 847528"/>
                <a:gd name="connsiteX9" fmla="*/ 2565599 w 8634799"/>
                <a:gd name="connsiteY9" fmla="*/ 728648 h 847528"/>
                <a:gd name="connsiteX10" fmla="*/ 3336468 w 8634799"/>
                <a:gd name="connsiteY10" fmla="*/ 771142 h 847528"/>
                <a:gd name="connsiteX11" fmla="*/ 4215904 w 8634799"/>
                <a:gd name="connsiteY11" fmla="*/ 754148 h 847528"/>
                <a:gd name="connsiteX12" fmla="*/ 4845622 w 8634799"/>
                <a:gd name="connsiteY12" fmla="*/ 762654 h 847528"/>
                <a:gd name="connsiteX13" fmla="*/ 5681632 w 8634799"/>
                <a:gd name="connsiteY13" fmla="*/ 762654 h 847528"/>
                <a:gd name="connsiteX14" fmla="*/ 6745645 w 8634799"/>
                <a:gd name="connsiteY14" fmla="*/ 788154 h 847528"/>
                <a:gd name="connsiteX15" fmla="*/ 7494800 w 8634799"/>
                <a:gd name="connsiteY15" fmla="*/ 779648 h 847528"/>
                <a:gd name="connsiteX16" fmla="*/ 8026795 w 8634799"/>
                <a:gd name="connsiteY16" fmla="*/ 771142 h 847528"/>
                <a:gd name="connsiteX17" fmla="*/ 8504518 w 8634799"/>
                <a:gd name="connsiteY17" fmla="*/ 737154 h 847528"/>
                <a:gd name="connsiteX18" fmla="*/ 8634799 w 8634799"/>
                <a:gd name="connsiteY18" fmla="*/ 754148 h 847528"/>
                <a:gd name="connsiteX19" fmla="*/ 8634799 w 8634799"/>
                <a:gd name="connsiteY19" fmla="*/ 133791 h 847528"/>
                <a:gd name="connsiteX20" fmla="*/ 8450223 w 8634799"/>
                <a:gd name="connsiteY20" fmla="*/ 65870 h 847528"/>
                <a:gd name="connsiteX21" fmla="*/ 7635927 w 8634799"/>
                <a:gd name="connsiteY21" fmla="*/ 14889 h 847528"/>
                <a:gd name="connsiteX22" fmla="*/ 7049636 w 8634799"/>
                <a:gd name="connsiteY22" fmla="*/ 108364 h 847528"/>
                <a:gd name="connsiteX23" fmla="*/ 6132068 w 8634799"/>
                <a:gd name="connsiteY23" fmla="*/ 131955 h 847528"/>
                <a:gd name="connsiteX24" fmla="*/ 5182195 w 8634799"/>
                <a:gd name="connsiteY24" fmla="*/ 201839 h 847528"/>
                <a:gd name="connsiteX25" fmla="*/ 3455905 w 8634799"/>
                <a:gd name="connsiteY25" fmla="*/ 193333 h 847528"/>
                <a:gd name="connsiteX26" fmla="*/ 2370177 w 8634799"/>
                <a:gd name="connsiteY26" fmla="*/ 65870 h 847528"/>
                <a:gd name="connsiteX27" fmla="*/ 578745 w 8634799"/>
                <a:gd name="connsiteY27" fmla="*/ 57364 h 847528"/>
                <a:gd name="connsiteX28" fmla="*/ 38923 w 8634799"/>
                <a:gd name="connsiteY28" fmla="*/ 66415 h 847528"/>
                <a:gd name="connsiteX0" fmla="*/ 38923 w 8634799"/>
                <a:gd name="connsiteY0" fmla="*/ 66415 h 847530"/>
                <a:gd name="connsiteX1" fmla="*/ 4765 w 8634799"/>
                <a:gd name="connsiteY1" fmla="*/ 139144 h 847530"/>
                <a:gd name="connsiteX2" fmla="*/ 16985 w 8634799"/>
                <a:gd name="connsiteY2" fmla="*/ 350379 h 847530"/>
                <a:gd name="connsiteX3" fmla="*/ 31647 w 8634799"/>
                <a:gd name="connsiteY3" fmla="*/ 609625 h 847530"/>
                <a:gd name="connsiteX4" fmla="*/ 43864 w 8634799"/>
                <a:gd name="connsiteY4" fmla="*/ 686441 h 847530"/>
                <a:gd name="connsiteX5" fmla="*/ 80207 w 8634799"/>
                <a:gd name="connsiteY5" fmla="*/ 846591 h 847530"/>
                <a:gd name="connsiteX6" fmla="*/ 937008 w 8634799"/>
                <a:gd name="connsiteY6" fmla="*/ 754148 h 847530"/>
                <a:gd name="connsiteX7" fmla="*/ 1631867 w 8634799"/>
                <a:gd name="connsiteY7" fmla="*/ 788136 h 847530"/>
                <a:gd name="connsiteX8" fmla="*/ 2087877 w 8634799"/>
                <a:gd name="connsiteY8" fmla="*/ 728648 h 847530"/>
                <a:gd name="connsiteX9" fmla="*/ 2565599 w 8634799"/>
                <a:gd name="connsiteY9" fmla="*/ 728648 h 847530"/>
                <a:gd name="connsiteX10" fmla="*/ 3336468 w 8634799"/>
                <a:gd name="connsiteY10" fmla="*/ 771142 h 847530"/>
                <a:gd name="connsiteX11" fmla="*/ 4215904 w 8634799"/>
                <a:gd name="connsiteY11" fmla="*/ 754148 h 847530"/>
                <a:gd name="connsiteX12" fmla="*/ 4845622 w 8634799"/>
                <a:gd name="connsiteY12" fmla="*/ 762654 h 847530"/>
                <a:gd name="connsiteX13" fmla="*/ 5681632 w 8634799"/>
                <a:gd name="connsiteY13" fmla="*/ 762654 h 847530"/>
                <a:gd name="connsiteX14" fmla="*/ 6745645 w 8634799"/>
                <a:gd name="connsiteY14" fmla="*/ 788154 h 847530"/>
                <a:gd name="connsiteX15" fmla="*/ 7494800 w 8634799"/>
                <a:gd name="connsiteY15" fmla="*/ 779648 h 847530"/>
                <a:gd name="connsiteX16" fmla="*/ 8026795 w 8634799"/>
                <a:gd name="connsiteY16" fmla="*/ 771142 h 847530"/>
                <a:gd name="connsiteX17" fmla="*/ 8504518 w 8634799"/>
                <a:gd name="connsiteY17" fmla="*/ 737154 h 847530"/>
                <a:gd name="connsiteX18" fmla="*/ 8634799 w 8634799"/>
                <a:gd name="connsiteY18" fmla="*/ 754148 h 847530"/>
                <a:gd name="connsiteX19" fmla="*/ 8634799 w 8634799"/>
                <a:gd name="connsiteY19" fmla="*/ 133791 h 847530"/>
                <a:gd name="connsiteX20" fmla="*/ 8450223 w 8634799"/>
                <a:gd name="connsiteY20" fmla="*/ 65870 h 847530"/>
                <a:gd name="connsiteX21" fmla="*/ 7635927 w 8634799"/>
                <a:gd name="connsiteY21" fmla="*/ 14889 h 847530"/>
                <a:gd name="connsiteX22" fmla="*/ 7049636 w 8634799"/>
                <a:gd name="connsiteY22" fmla="*/ 108364 h 847530"/>
                <a:gd name="connsiteX23" fmla="*/ 6132068 w 8634799"/>
                <a:gd name="connsiteY23" fmla="*/ 131955 h 847530"/>
                <a:gd name="connsiteX24" fmla="*/ 5182195 w 8634799"/>
                <a:gd name="connsiteY24" fmla="*/ 201839 h 847530"/>
                <a:gd name="connsiteX25" fmla="*/ 3455905 w 8634799"/>
                <a:gd name="connsiteY25" fmla="*/ 193333 h 847530"/>
                <a:gd name="connsiteX26" fmla="*/ 2370177 w 8634799"/>
                <a:gd name="connsiteY26" fmla="*/ 65870 h 847530"/>
                <a:gd name="connsiteX27" fmla="*/ 578745 w 8634799"/>
                <a:gd name="connsiteY27" fmla="*/ 57364 h 847530"/>
                <a:gd name="connsiteX28" fmla="*/ 38923 w 8634799"/>
                <a:gd name="connsiteY28" fmla="*/ 66415 h 847530"/>
                <a:gd name="connsiteX0" fmla="*/ 38923 w 8634799"/>
                <a:gd name="connsiteY0" fmla="*/ 66415 h 847528"/>
                <a:gd name="connsiteX1" fmla="*/ 4765 w 8634799"/>
                <a:gd name="connsiteY1" fmla="*/ 139144 h 847528"/>
                <a:gd name="connsiteX2" fmla="*/ 16985 w 8634799"/>
                <a:gd name="connsiteY2" fmla="*/ 350379 h 847528"/>
                <a:gd name="connsiteX3" fmla="*/ 31647 w 8634799"/>
                <a:gd name="connsiteY3" fmla="*/ 609625 h 847528"/>
                <a:gd name="connsiteX4" fmla="*/ 43864 w 8634799"/>
                <a:gd name="connsiteY4" fmla="*/ 686441 h 847528"/>
                <a:gd name="connsiteX5" fmla="*/ 80207 w 8634799"/>
                <a:gd name="connsiteY5" fmla="*/ 846591 h 847528"/>
                <a:gd name="connsiteX6" fmla="*/ 937008 w 8634799"/>
                <a:gd name="connsiteY6" fmla="*/ 754148 h 847528"/>
                <a:gd name="connsiteX7" fmla="*/ 1631867 w 8634799"/>
                <a:gd name="connsiteY7" fmla="*/ 788136 h 847528"/>
                <a:gd name="connsiteX8" fmla="*/ 2087877 w 8634799"/>
                <a:gd name="connsiteY8" fmla="*/ 728648 h 847528"/>
                <a:gd name="connsiteX9" fmla="*/ 2565599 w 8634799"/>
                <a:gd name="connsiteY9" fmla="*/ 728648 h 847528"/>
                <a:gd name="connsiteX10" fmla="*/ 3336468 w 8634799"/>
                <a:gd name="connsiteY10" fmla="*/ 771142 h 847528"/>
                <a:gd name="connsiteX11" fmla="*/ 4215904 w 8634799"/>
                <a:gd name="connsiteY11" fmla="*/ 754148 h 847528"/>
                <a:gd name="connsiteX12" fmla="*/ 4845622 w 8634799"/>
                <a:gd name="connsiteY12" fmla="*/ 762654 h 847528"/>
                <a:gd name="connsiteX13" fmla="*/ 5681632 w 8634799"/>
                <a:gd name="connsiteY13" fmla="*/ 762654 h 847528"/>
                <a:gd name="connsiteX14" fmla="*/ 6745645 w 8634799"/>
                <a:gd name="connsiteY14" fmla="*/ 788154 h 847528"/>
                <a:gd name="connsiteX15" fmla="*/ 7494800 w 8634799"/>
                <a:gd name="connsiteY15" fmla="*/ 779648 h 847528"/>
                <a:gd name="connsiteX16" fmla="*/ 8026795 w 8634799"/>
                <a:gd name="connsiteY16" fmla="*/ 771142 h 847528"/>
                <a:gd name="connsiteX17" fmla="*/ 8504518 w 8634799"/>
                <a:gd name="connsiteY17" fmla="*/ 737154 h 847528"/>
                <a:gd name="connsiteX18" fmla="*/ 8634799 w 8634799"/>
                <a:gd name="connsiteY18" fmla="*/ 754148 h 847528"/>
                <a:gd name="connsiteX19" fmla="*/ 8634799 w 8634799"/>
                <a:gd name="connsiteY19" fmla="*/ 133791 h 847528"/>
                <a:gd name="connsiteX20" fmla="*/ 8450223 w 8634799"/>
                <a:gd name="connsiteY20" fmla="*/ 65870 h 847528"/>
                <a:gd name="connsiteX21" fmla="*/ 7635927 w 8634799"/>
                <a:gd name="connsiteY21" fmla="*/ 14889 h 847528"/>
                <a:gd name="connsiteX22" fmla="*/ 7049636 w 8634799"/>
                <a:gd name="connsiteY22" fmla="*/ 108364 h 847528"/>
                <a:gd name="connsiteX23" fmla="*/ 6342549 w 8634799"/>
                <a:gd name="connsiteY23" fmla="*/ 55805 h 847528"/>
                <a:gd name="connsiteX24" fmla="*/ 6132068 w 8634799"/>
                <a:gd name="connsiteY24" fmla="*/ 131955 h 847528"/>
                <a:gd name="connsiteX25" fmla="*/ 5182195 w 8634799"/>
                <a:gd name="connsiteY25" fmla="*/ 201839 h 847528"/>
                <a:gd name="connsiteX26" fmla="*/ 3455905 w 8634799"/>
                <a:gd name="connsiteY26" fmla="*/ 193333 h 847528"/>
                <a:gd name="connsiteX27" fmla="*/ 2370177 w 8634799"/>
                <a:gd name="connsiteY27" fmla="*/ 65870 h 847528"/>
                <a:gd name="connsiteX28" fmla="*/ 578745 w 8634799"/>
                <a:gd name="connsiteY28" fmla="*/ 57364 h 847528"/>
                <a:gd name="connsiteX29" fmla="*/ 38923 w 8634799"/>
                <a:gd name="connsiteY29" fmla="*/ 66415 h 847528"/>
                <a:gd name="connsiteX0" fmla="*/ 38923 w 8634799"/>
                <a:gd name="connsiteY0" fmla="*/ 66415 h 847530"/>
                <a:gd name="connsiteX1" fmla="*/ 4765 w 8634799"/>
                <a:gd name="connsiteY1" fmla="*/ 139144 h 847530"/>
                <a:gd name="connsiteX2" fmla="*/ 16985 w 8634799"/>
                <a:gd name="connsiteY2" fmla="*/ 350379 h 847530"/>
                <a:gd name="connsiteX3" fmla="*/ 31647 w 8634799"/>
                <a:gd name="connsiteY3" fmla="*/ 609625 h 847530"/>
                <a:gd name="connsiteX4" fmla="*/ 43864 w 8634799"/>
                <a:gd name="connsiteY4" fmla="*/ 686441 h 847530"/>
                <a:gd name="connsiteX5" fmla="*/ 80207 w 8634799"/>
                <a:gd name="connsiteY5" fmla="*/ 846591 h 847530"/>
                <a:gd name="connsiteX6" fmla="*/ 937008 w 8634799"/>
                <a:gd name="connsiteY6" fmla="*/ 754148 h 847530"/>
                <a:gd name="connsiteX7" fmla="*/ 1631867 w 8634799"/>
                <a:gd name="connsiteY7" fmla="*/ 788136 h 847530"/>
                <a:gd name="connsiteX8" fmla="*/ 2087877 w 8634799"/>
                <a:gd name="connsiteY8" fmla="*/ 728648 h 847530"/>
                <a:gd name="connsiteX9" fmla="*/ 2565599 w 8634799"/>
                <a:gd name="connsiteY9" fmla="*/ 728648 h 847530"/>
                <a:gd name="connsiteX10" fmla="*/ 3336468 w 8634799"/>
                <a:gd name="connsiteY10" fmla="*/ 771142 h 847530"/>
                <a:gd name="connsiteX11" fmla="*/ 4215904 w 8634799"/>
                <a:gd name="connsiteY11" fmla="*/ 754148 h 847530"/>
                <a:gd name="connsiteX12" fmla="*/ 4845622 w 8634799"/>
                <a:gd name="connsiteY12" fmla="*/ 762654 h 847530"/>
                <a:gd name="connsiteX13" fmla="*/ 5681632 w 8634799"/>
                <a:gd name="connsiteY13" fmla="*/ 762654 h 847530"/>
                <a:gd name="connsiteX14" fmla="*/ 6745645 w 8634799"/>
                <a:gd name="connsiteY14" fmla="*/ 788154 h 847530"/>
                <a:gd name="connsiteX15" fmla="*/ 7494800 w 8634799"/>
                <a:gd name="connsiteY15" fmla="*/ 779648 h 847530"/>
                <a:gd name="connsiteX16" fmla="*/ 8026795 w 8634799"/>
                <a:gd name="connsiteY16" fmla="*/ 771142 h 847530"/>
                <a:gd name="connsiteX17" fmla="*/ 8504518 w 8634799"/>
                <a:gd name="connsiteY17" fmla="*/ 737154 h 847530"/>
                <a:gd name="connsiteX18" fmla="*/ 8634799 w 8634799"/>
                <a:gd name="connsiteY18" fmla="*/ 754148 h 847530"/>
                <a:gd name="connsiteX19" fmla="*/ 8634799 w 8634799"/>
                <a:gd name="connsiteY19" fmla="*/ 133791 h 847530"/>
                <a:gd name="connsiteX20" fmla="*/ 8450223 w 8634799"/>
                <a:gd name="connsiteY20" fmla="*/ 65870 h 847530"/>
                <a:gd name="connsiteX21" fmla="*/ 7635927 w 8634799"/>
                <a:gd name="connsiteY21" fmla="*/ 14889 h 847530"/>
                <a:gd name="connsiteX22" fmla="*/ 7049636 w 8634799"/>
                <a:gd name="connsiteY22" fmla="*/ 108364 h 847530"/>
                <a:gd name="connsiteX23" fmla="*/ 6342549 w 8634799"/>
                <a:gd name="connsiteY23" fmla="*/ 55805 h 847530"/>
                <a:gd name="connsiteX24" fmla="*/ 6132068 w 8634799"/>
                <a:gd name="connsiteY24" fmla="*/ 131955 h 847530"/>
                <a:gd name="connsiteX25" fmla="*/ 5182195 w 8634799"/>
                <a:gd name="connsiteY25" fmla="*/ 201839 h 847530"/>
                <a:gd name="connsiteX26" fmla="*/ 3455905 w 8634799"/>
                <a:gd name="connsiteY26" fmla="*/ 193333 h 847530"/>
                <a:gd name="connsiteX27" fmla="*/ 2370177 w 8634799"/>
                <a:gd name="connsiteY27" fmla="*/ 65870 h 847530"/>
                <a:gd name="connsiteX28" fmla="*/ 578745 w 8634799"/>
                <a:gd name="connsiteY28" fmla="*/ 57364 h 847530"/>
                <a:gd name="connsiteX29" fmla="*/ 38923 w 8634799"/>
                <a:gd name="connsiteY29" fmla="*/ 66415 h 847530"/>
                <a:gd name="connsiteX0" fmla="*/ 38923 w 8634799"/>
                <a:gd name="connsiteY0" fmla="*/ 66415 h 847528"/>
                <a:gd name="connsiteX1" fmla="*/ 4765 w 8634799"/>
                <a:gd name="connsiteY1" fmla="*/ 139144 h 847528"/>
                <a:gd name="connsiteX2" fmla="*/ 16985 w 8634799"/>
                <a:gd name="connsiteY2" fmla="*/ 350379 h 847528"/>
                <a:gd name="connsiteX3" fmla="*/ 31647 w 8634799"/>
                <a:gd name="connsiteY3" fmla="*/ 609625 h 847528"/>
                <a:gd name="connsiteX4" fmla="*/ 43864 w 8634799"/>
                <a:gd name="connsiteY4" fmla="*/ 686441 h 847528"/>
                <a:gd name="connsiteX5" fmla="*/ 80207 w 8634799"/>
                <a:gd name="connsiteY5" fmla="*/ 846591 h 847528"/>
                <a:gd name="connsiteX6" fmla="*/ 937008 w 8634799"/>
                <a:gd name="connsiteY6" fmla="*/ 754148 h 847528"/>
                <a:gd name="connsiteX7" fmla="*/ 1631867 w 8634799"/>
                <a:gd name="connsiteY7" fmla="*/ 788136 h 847528"/>
                <a:gd name="connsiteX8" fmla="*/ 2087877 w 8634799"/>
                <a:gd name="connsiteY8" fmla="*/ 728648 h 847528"/>
                <a:gd name="connsiteX9" fmla="*/ 2565599 w 8634799"/>
                <a:gd name="connsiteY9" fmla="*/ 728648 h 847528"/>
                <a:gd name="connsiteX10" fmla="*/ 3336468 w 8634799"/>
                <a:gd name="connsiteY10" fmla="*/ 771142 h 847528"/>
                <a:gd name="connsiteX11" fmla="*/ 4215904 w 8634799"/>
                <a:gd name="connsiteY11" fmla="*/ 754148 h 847528"/>
                <a:gd name="connsiteX12" fmla="*/ 4845622 w 8634799"/>
                <a:gd name="connsiteY12" fmla="*/ 762654 h 847528"/>
                <a:gd name="connsiteX13" fmla="*/ 5681632 w 8634799"/>
                <a:gd name="connsiteY13" fmla="*/ 762654 h 847528"/>
                <a:gd name="connsiteX14" fmla="*/ 6745645 w 8634799"/>
                <a:gd name="connsiteY14" fmla="*/ 788154 h 847528"/>
                <a:gd name="connsiteX15" fmla="*/ 7494800 w 8634799"/>
                <a:gd name="connsiteY15" fmla="*/ 779648 h 847528"/>
                <a:gd name="connsiteX16" fmla="*/ 8026795 w 8634799"/>
                <a:gd name="connsiteY16" fmla="*/ 771142 h 847528"/>
                <a:gd name="connsiteX17" fmla="*/ 8504518 w 8634799"/>
                <a:gd name="connsiteY17" fmla="*/ 737154 h 847528"/>
                <a:gd name="connsiteX18" fmla="*/ 8634799 w 8634799"/>
                <a:gd name="connsiteY18" fmla="*/ 754148 h 847528"/>
                <a:gd name="connsiteX19" fmla="*/ 8634799 w 8634799"/>
                <a:gd name="connsiteY19" fmla="*/ 133791 h 847528"/>
                <a:gd name="connsiteX20" fmla="*/ 8450223 w 8634799"/>
                <a:gd name="connsiteY20" fmla="*/ 65870 h 847528"/>
                <a:gd name="connsiteX21" fmla="*/ 7635927 w 8634799"/>
                <a:gd name="connsiteY21" fmla="*/ 14889 h 847528"/>
                <a:gd name="connsiteX22" fmla="*/ 7049636 w 8634799"/>
                <a:gd name="connsiteY22" fmla="*/ 108364 h 847528"/>
                <a:gd name="connsiteX23" fmla="*/ 6342549 w 8634799"/>
                <a:gd name="connsiteY23" fmla="*/ 55805 h 847528"/>
                <a:gd name="connsiteX24" fmla="*/ 5902209 w 8634799"/>
                <a:gd name="connsiteY24" fmla="*/ 158833 h 847528"/>
                <a:gd name="connsiteX25" fmla="*/ 5182195 w 8634799"/>
                <a:gd name="connsiteY25" fmla="*/ 201839 h 847528"/>
                <a:gd name="connsiteX26" fmla="*/ 3455905 w 8634799"/>
                <a:gd name="connsiteY26" fmla="*/ 193333 h 847528"/>
                <a:gd name="connsiteX27" fmla="*/ 2370177 w 8634799"/>
                <a:gd name="connsiteY27" fmla="*/ 65870 h 847528"/>
                <a:gd name="connsiteX28" fmla="*/ 578745 w 8634799"/>
                <a:gd name="connsiteY28" fmla="*/ 57364 h 847528"/>
                <a:gd name="connsiteX29" fmla="*/ 38923 w 8634799"/>
                <a:gd name="connsiteY29" fmla="*/ 66415 h 847528"/>
                <a:gd name="connsiteX0" fmla="*/ 38923 w 8634799"/>
                <a:gd name="connsiteY0" fmla="*/ 111866 h 892981"/>
                <a:gd name="connsiteX1" fmla="*/ 4765 w 8634799"/>
                <a:gd name="connsiteY1" fmla="*/ 184595 h 892981"/>
                <a:gd name="connsiteX2" fmla="*/ 16985 w 8634799"/>
                <a:gd name="connsiteY2" fmla="*/ 395830 h 892981"/>
                <a:gd name="connsiteX3" fmla="*/ 31647 w 8634799"/>
                <a:gd name="connsiteY3" fmla="*/ 655076 h 892981"/>
                <a:gd name="connsiteX4" fmla="*/ 43864 w 8634799"/>
                <a:gd name="connsiteY4" fmla="*/ 731892 h 892981"/>
                <a:gd name="connsiteX5" fmla="*/ 80207 w 8634799"/>
                <a:gd name="connsiteY5" fmla="*/ 892042 h 892981"/>
                <a:gd name="connsiteX6" fmla="*/ 937008 w 8634799"/>
                <a:gd name="connsiteY6" fmla="*/ 799599 h 892981"/>
                <a:gd name="connsiteX7" fmla="*/ 1631867 w 8634799"/>
                <a:gd name="connsiteY7" fmla="*/ 833587 h 892981"/>
                <a:gd name="connsiteX8" fmla="*/ 2087877 w 8634799"/>
                <a:gd name="connsiteY8" fmla="*/ 774099 h 892981"/>
                <a:gd name="connsiteX9" fmla="*/ 2565599 w 8634799"/>
                <a:gd name="connsiteY9" fmla="*/ 774099 h 892981"/>
                <a:gd name="connsiteX10" fmla="*/ 3336468 w 8634799"/>
                <a:gd name="connsiteY10" fmla="*/ 816593 h 892981"/>
                <a:gd name="connsiteX11" fmla="*/ 4215904 w 8634799"/>
                <a:gd name="connsiteY11" fmla="*/ 799599 h 892981"/>
                <a:gd name="connsiteX12" fmla="*/ 4845622 w 8634799"/>
                <a:gd name="connsiteY12" fmla="*/ 808105 h 892981"/>
                <a:gd name="connsiteX13" fmla="*/ 5681632 w 8634799"/>
                <a:gd name="connsiteY13" fmla="*/ 808105 h 892981"/>
                <a:gd name="connsiteX14" fmla="*/ 6745645 w 8634799"/>
                <a:gd name="connsiteY14" fmla="*/ 833605 h 892981"/>
                <a:gd name="connsiteX15" fmla="*/ 7494800 w 8634799"/>
                <a:gd name="connsiteY15" fmla="*/ 825099 h 892981"/>
                <a:gd name="connsiteX16" fmla="*/ 8026795 w 8634799"/>
                <a:gd name="connsiteY16" fmla="*/ 816593 h 892981"/>
                <a:gd name="connsiteX17" fmla="*/ 8504518 w 8634799"/>
                <a:gd name="connsiteY17" fmla="*/ 782605 h 892981"/>
                <a:gd name="connsiteX18" fmla="*/ 8634799 w 8634799"/>
                <a:gd name="connsiteY18" fmla="*/ 799599 h 892981"/>
                <a:gd name="connsiteX19" fmla="*/ 8634799 w 8634799"/>
                <a:gd name="connsiteY19" fmla="*/ 179242 h 892981"/>
                <a:gd name="connsiteX20" fmla="*/ 8450223 w 8634799"/>
                <a:gd name="connsiteY20" fmla="*/ 111321 h 892981"/>
                <a:gd name="connsiteX21" fmla="*/ 7635927 w 8634799"/>
                <a:gd name="connsiteY21" fmla="*/ 60340 h 892981"/>
                <a:gd name="connsiteX22" fmla="*/ 7049636 w 8634799"/>
                <a:gd name="connsiteY22" fmla="*/ 153815 h 892981"/>
                <a:gd name="connsiteX23" fmla="*/ 6342549 w 8634799"/>
                <a:gd name="connsiteY23" fmla="*/ 101256 h 892981"/>
                <a:gd name="connsiteX24" fmla="*/ 5902209 w 8634799"/>
                <a:gd name="connsiteY24" fmla="*/ 204284 h 892981"/>
                <a:gd name="connsiteX25" fmla="*/ 5182195 w 8634799"/>
                <a:gd name="connsiteY25" fmla="*/ 247290 h 892981"/>
                <a:gd name="connsiteX26" fmla="*/ 3469826 w 8634799"/>
                <a:gd name="connsiteY26" fmla="*/ 5421 h 892981"/>
                <a:gd name="connsiteX27" fmla="*/ 2370177 w 8634799"/>
                <a:gd name="connsiteY27" fmla="*/ 111321 h 892981"/>
                <a:gd name="connsiteX28" fmla="*/ 578745 w 8634799"/>
                <a:gd name="connsiteY28" fmla="*/ 102815 h 892981"/>
                <a:gd name="connsiteX29" fmla="*/ 38923 w 8634799"/>
                <a:gd name="connsiteY29" fmla="*/ 111866 h 892981"/>
                <a:gd name="connsiteX0" fmla="*/ 38923 w 8634799"/>
                <a:gd name="connsiteY0" fmla="*/ 135210 h 916324"/>
                <a:gd name="connsiteX1" fmla="*/ 4765 w 8634799"/>
                <a:gd name="connsiteY1" fmla="*/ 207939 h 916324"/>
                <a:gd name="connsiteX2" fmla="*/ 16985 w 8634799"/>
                <a:gd name="connsiteY2" fmla="*/ 419174 h 916324"/>
                <a:gd name="connsiteX3" fmla="*/ 31647 w 8634799"/>
                <a:gd name="connsiteY3" fmla="*/ 678420 h 916324"/>
                <a:gd name="connsiteX4" fmla="*/ 43864 w 8634799"/>
                <a:gd name="connsiteY4" fmla="*/ 755236 h 916324"/>
                <a:gd name="connsiteX5" fmla="*/ 80207 w 8634799"/>
                <a:gd name="connsiteY5" fmla="*/ 915386 h 916324"/>
                <a:gd name="connsiteX6" fmla="*/ 937008 w 8634799"/>
                <a:gd name="connsiteY6" fmla="*/ 822943 h 916324"/>
                <a:gd name="connsiteX7" fmla="*/ 1631867 w 8634799"/>
                <a:gd name="connsiteY7" fmla="*/ 856931 h 916324"/>
                <a:gd name="connsiteX8" fmla="*/ 2087877 w 8634799"/>
                <a:gd name="connsiteY8" fmla="*/ 797443 h 916324"/>
                <a:gd name="connsiteX9" fmla="*/ 2565599 w 8634799"/>
                <a:gd name="connsiteY9" fmla="*/ 797443 h 916324"/>
                <a:gd name="connsiteX10" fmla="*/ 3336468 w 8634799"/>
                <a:gd name="connsiteY10" fmla="*/ 839937 h 916324"/>
                <a:gd name="connsiteX11" fmla="*/ 4215904 w 8634799"/>
                <a:gd name="connsiteY11" fmla="*/ 822943 h 916324"/>
                <a:gd name="connsiteX12" fmla="*/ 4845622 w 8634799"/>
                <a:gd name="connsiteY12" fmla="*/ 831449 h 916324"/>
                <a:gd name="connsiteX13" fmla="*/ 5681632 w 8634799"/>
                <a:gd name="connsiteY13" fmla="*/ 831449 h 916324"/>
                <a:gd name="connsiteX14" fmla="*/ 6745645 w 8634799"/>
                <a:gd name="connsiteY14" fmla="*/ 856949 h 916324"/>
                <a:gd name="connsiteX15" fmla="*/ 7494800 w 8634799"/>
                <a:gd name="connsiteY15" fmla="*/ 848443 h 916324"/>
                <a:gd name="connsiteX16" fmla="*/ 8026795 w 8634799"/>
                <a:gd name="connsiteY16" fmla="*/ 839937 h 916324"/>
                <a:gd name="connsiteX17" fmla="*/ 8504518 w 8634799"/>
                <a:gd name="connsiteY17" fmla="*/ 805949 h 916324"/>
                <a:gd name="connsiteX18" fmla="*/ 8634799 w 8634799"/>
                <a:gd name="connsiteY18" fmla="*/ 822943 h 916324"/>
                <a:gd name="connsiteX19" fmla="*/ 8634799 w 8634799"/>
                <a:gd name="connsiteY19" fmla="*/ 202586 h 916324"/>
                <a:gd name="connsiteX20" fmla="*/ 8450223 w 8634799"/>
                <a:gd name="connsiteY20" fmla="*/ 134665 h 916324"/>
                <a:gd name="connsiteX21" fmla="*/ 7635927 w 8634799"/>
                <a:gd name="connsiteY21" fmla="*/ 83684 h 916324"/>
                <a:gd name="connsiteX22" fmla="*/ 7049636 w 8634799"/>
                <a:gd name="connsiteY22" fmla="*/ 177159 h 916324"/>
                <a:gd name="connsiteX23" fmla="*/ 6342549 w 8634799"/>
                <a:gd name="connsiteY23" fmla="*/ 124600 h 916324"/>
                <a:gd name="connsiteX24" fmla="*/ 5902209 w 8634799"/>
                <a:gd name="connsiteY24" fmla="*/ 227628 h 916324"/>
                <a:gd name="connsiteX25" fmla="*/ 5182195 w 8634799"/>
                <a:gd name="connsiteY25" fmla="*/ 270634 h 916324"/>
                <a:gd name="connsiteX26" fmla="*/ 3469826 w 8634799"/>
                <a:gd name="connsiteY26" fmla="*/ 28765 h 916324"/>
                <a:gd name="connsiteX27" fmla="*/ 2370177 w 8634799"/>
                <a:gd name="connsiteY27" fmla="*/ 134665 h 916324"/>
                <a:gd name="connsiteX28" fmla="*/ 578745 w 8634799"/>
                <a:gd name="connsiteY28" fmla="*/ 126159 h 916324"/>
                <a:gd name="connsiteX29" fmla="*/ 38923 w 8634799"/>
                <a:gd name="connsiteY29" fmla="*/ 135210 h 916324"/>
                <a:gd name="connsiteX0" fmla="*/ 38923 w 8634799"/>
                <a:gd name="connsiteY0" fmla="*/ 128131 h 909245"/>
                <a:gd name="connsiteX1" fmla="*/ 4765 w 8634799"/>
                <a:gd name="connsiteY1" fmla="*/ 200860 h 909245"/>
                <a:gd name="connsiteX2" fmla="*/ 16985 w 8634799"/>
                <a:gd name="connsiteY2" fmla="*/ 412095 h 909245"/>
                <a:gd name="connsiteX3" fmla="*/ 31647 w 8634799"/>
                <a:gd name="connsiteY3" fmla="*/ 671341 h 909245"/>
                <a:gd name="connsiteX4" fmla="*/ 43864 w 8634799"/>
                <a:gd name="connsiteY4" fmla="*/ 748157 h 909245"/>
                <a:gd name="connsiteX5" fmla="*/ 80207 w 8634799"/>
                <a:gd name="connsiteY5" fmla="*/ 908307 h 909245"/>
                <a:gd name="connsiteX6" fmla="*/ 937008 w 8634799"/>
                <a:gd name="connsiteY6" fmla="*/ 815864 h 909245"/>
                <a:gd name="connsiteX7" fmla="*/ 1631867 w 8634799"/>
                <a:gd name="connsiteY7" fmla="*/ 849852 h 909245"/>
                <a:gd name="connsiteX8" fmla="*/ 2087877 w 8634799"/>
                <a:gd name="connsiteY8" fmla="*/ 790364 h 909245"/>
                <a:gd name="connsiteX9" fmla="*/ 2565599 w 8634799"/>
                <a:gd name="connsiteY9" fmla="*/ 790364 h 909245"/>
                <a:gd name="connsiteX10" fmla="*/ 3336468 w 8634799"/>
                <a:gd name="connsiteY10" fmla="*/ 832858 h 909245"/>
                <a:gd name="connsiteX11" fmla="*/ 4215904 w 8634799"/>
                <a:gd name="connsiteY11" fmla="*/ 815864 h 909245"/>
                <a:gd name="connsiteX12" fmla="*/ 4845622 w 8634799"/>
                <a:gd name="connsiteY12" fmla="*/ 824370 h 909245"/>
                <a:gd name="connsiteX13" fmla="*/ 5681632 w 8634799"/>
                <a:gd name="connsiteY13" fmla="*/ 824370 h 909245"/>
                <a:gd name="connsiteX14" fmla="*/ 6745645 w 8634799"/>
                <a:gd name="connsiteY14" fmla="*/ 849870 h 909245"/>
                <a:gd name="connsiteX15" fmla="*/ 7494800 w 8634799"/>
                <a:gd name="connsiteY15" fmla="*/ 841364 h 909245"/>
                <a:gd name="connsiteX16" fmla="*/ 8026795 w 8634799"/>
                <a:gd name="connsiteY16" fmla="*/ 832858 h 909245"/>
                <a:gd name="connsiteX17" fmla="*/ 8504518 w 8634799"/>
                <a:gd name="connsiteY17" fmla="*/ 798870 h 909245"/>
                <a:gd name="connsiteX18" fmla="*/ 8634799 w 8634799"/>
                <a:gd name="connsiteY18" fmla="*/ 815864 h 909245"/>
                <a:gd name="connsiteX19" fmla="*/ 8634799 w 8634799"/>
                <a:gd name="connsiteY19" fmla="*/ 195507 h 909245"/>
                <a:gd name="connsiteX20" fmla="*/ 8450223 w 8634799"/>
                <a:gd name="connsiteY20" fmla="*/ 127586 h 909245"/>
                <a:gd name="connsiteX21" fmla="*/ 7635927 w 8634799"/>
                <a:gd name="connsiteY21" fmla="*/ 76605 h 909245"/>
                <a:gd name="connsiteX22" fmla="*/ 7049636 w 8634799"/>
                <a:gd name="connsiteY22" fmla="*/ 170080 h 909245"/>
                <a:gd name="connsiteX23" fmla="*/ 6342549 w 8634799"/>
                <a:gd name="connsiteY23" fmla="*/ 117521 h 909245"/>
                <a:gd name="connsiteX24" fmla="*/ 5902209 w 8634799"/>
                <a:gd name="connsiteY24" fmla="*/ 220549 h 909245"/>
                <a:gd name="connsiteX25" fmla="*/ 5182195 w 8634799"/>
                <a:gd name="connsiteY25" fmla="*/ 263555 h 909245"/>
                <a:gd name="connsiteX26" fmla="*/ 3469826 w 8634799"/>
                <a:gd name="connsiteY26" fmla="*/ 21686 h 909245"/>
                <a:gd name="connsiteX27" fmla="*/ 2370177 w 8634799"/>
                <a:gd name="connsiteY27" fmla="*/ 127586 h 909245"/>
                <a:gd name="connsiteX28" fmla="*/ 578745 w 8634799"/>
                <a:gd name="connsiteY28" fmla="*/ 119080 h 909245"/>
                <a:gd name="connsiteX29" fmla="*/ 38923 w 8634799"/>
                <a:gd name="connsiteY29" fmla="*/ 128131 h 909245"/>
                <a:gd name="connsiteX0" fmla="*/ 38923 w 8634799"/>
                <a:gd name="connsiteY0" fmla="*/ 134331 h 915445"/>
                <a:gd name="connsiteX1" fmla="*/ 4765 w 8634799"/>
                <a:gd name="connsiteY1" fmla="*/ 207060 h 915445"/>
                <a:gd name="connsiteX2" fmla="*/ 16985 w 8634799"/>
                <a:gd name="connsiteY2" fmla="*/ 418295 h 915445"/>
                <a:gd name="connsiteX3" fmla="*/ 31647 w 8634799"/>
                <a:gd name="connsiteY3" fmla="*/ 677541 h 915445"/>
                <a:gd name="connsiteX4" fmla="*/ 43864 w 8634799"/>
                <a:gd name="connsiteY4" fmla="*/ 754357 h 915445"/>
                <a:gd name="connsiteX5" fmla="*/ 80207 w 8634799"/>
                <a:gd name="connsiteY5" fmla="*/ 914507 h 915445"/>
                <a:gd name="connsiteX6" fmla="*/ 937008 w 8634799"/>
                <a:gd name="connsiteY6" fmla="*/ 822064 h 915445"/>
                <a:gd name="connsiteX7" fmla="*/ 1631867 w 8634799"/>
                <a:gd name="connsiteY7" fmla="*/ 856052 h 915445"/>
                <a:gd name="connsiteX8" fmla="*/ 2087877 w 8634799"/>
                <a:gd name="connsiteY8" fmla="*/ 796564 h 915445"/>
                <a:gd name="connsiteX9" fmla="*/ 2565599 w 8634799"/>
                <a:gd name="connsiteY9" fmla="*/ 796564 h 915445"/>
                <a:gd name="connsiteX10" fmla="*/ 3336468 w 8634799"/>
                <a:gd name="connsiteY10" fmla="*/ 839058 h 915445"/>
                <a:gd name="connsiteX11" fmla="*/ 4215904 w 8634799"/>
                <a:gd name="connsiteY11" fmla="*/ 822064 h 915445"/>
                <a:gd name="connsiteX12" fmla="*/ 4845622 w 8634799"/>
                <a:gd name="connsiteY12" fmla="*/ 830570 h 915445"/>
                <a:gd name="connsiteX13" fmla="*/ 5681632 w 8634799"/>
                <a:gd name="connsiteY13" fmla="*/ 830570 h 915445"/>
                <a:gd name="connsiteX14" fmla="*/ 6745645 w 8634799"/>
                <a:gd name="connsiteY14" fmla="*/ 856070 h 915445"/>
                <a:gd name="connsiteX15" fmla="*/ 7494800 w 8634799"/>
                <a:gd name="connsiteY15" fmla="*/ 847564 h 915445"/>
                <a:gd name="connsiteX16" fmla="*/ 8026795 w 8634799"/>
                <a:gd name="connsiteY16" fmla="*/ 839058 h 915445"/>
                <a:gd name="connsiteX17" fmla="*/ 8504518 w 8634799"/>
                <a:gd name="connsiteY17" fmla="*/ 805070 h 915445"/>
                <a:gd name="connsiteX18" fmla="*/ 8634799 w 8634799"/>
                <a:gd name="connsiteY18" fmla="*/ 822064 h 915445"/>
                <a:gd name="connsiteX19" fmla="*/ 8634799 w 8634799"/>
                <a:gd name="connsiteY19" fmla="*/ 201707 h 915445"/>
                <a:gd name="connsiteX20" fmla="*/ 8450223 w 8634799"/>
                <a:gd name="connsiteY20" fmla="*/ 133786 h 915445"/>
                <a:gd name="connsiteX21" fmla="*/ 7635927 w 8634799"/>
                <a:gd name="connsiteY21" fmla="*/ 82805 h 915445"/>
                <a:gd name="connsiteX22" fmla="*/ 7049636 w 8634799"/>
                <a:gd name="connsiteY22" fmla="*/ 176280 h 915445"/>
                <a:gd name="connsiteX23" fmla="*/ 6342549 w 8634799"/>
                <a:gd name="connsiteY23" fmla="*/ 123721 h 915445"/>
                <a:gd name="connsiteX24" fmla="*/ 5902209 w 8634799"/>
                <a:gd name="connsiteY24" fmla="*/ 226749 h 915445"/>
                <a:gd name="connsiteX25" fmla="*/ 5182195 w 8634799"/>
                <a:gd name="connsiteY25" fmla="*/ 269755 h 915445"/>
                <a:gd name="connsiteX26" fmla="*/ 3618314 w 8634799"/>
                <a:gd name="connsiteY26" fmla="*/ 21218 h 915445"/>
                <a:gd name="connsiteX27" fmla="*/ 2370177 w 8634799"/>
                <a:gd name="connsiteY27" fmla="*/ 133786 h 915445"/>
                <a:gd name="connsiteX28" fmla="*/ 578745 w 8634799"/>
                <a:gd name="connsiteY28" fmla="*/ 125280 h 915445"/>
                <a:gd name="connsiteX29" fmla="*/ 38923 w 8634799"/>
                <a:gd name="connsiteY29" fmla="*/ 134331 h 915445"/>
                <a:gd name="connsiteX0" fmla="*/ 38923 w 8634799"/>
                <a:gd name="connsiteY0" fmla="*/ 153045 h 934159"/>
                <a:gd name="connsiteX1" fmla="*/ 4765 w 8634799"/>
                <a:gd name="connsiteY1" fmla="*/ 225774 h 934159"/>
                <a:gd name="connsiteX2" fmla="*/ 16985 w 8634799"/>
                <a:gd name="connsiteY2" fmla="*/ 437009 h 934159"/>
                <a:gd name="connsiteX3" fmla="*/ 31647 w 8634799"/>
                <a:gd name="connsiteY3" fmla="*/ 696255 h 934159"/>
                <a:gd name="connsiteX4" fmla="*/ 43864 w 8634799"/>
                <a:gd name="connsiteY4" fmla="*/ 773071 h 934159"/>
                <a:gd name="connsiteX5" fmla="*/ 80207 w 8634799"/>
                <a:gd name="connsiteY5" fmla="*/ 933221 h 934159"/>
                <a:gd name="connsiteX6" fmla="*/ 937008 w 8634799"/>
                <a:gd name="connsiteY6" fmla="*/ 840778 h 934159"/>
                <a:gd name="connsiteX7" fmla="*/ 1631867 w 8634799"/>
                <a:gd name="connsiteY7" fmla="*/ 874766 h 934159"/>
                <a:gd name="connsiteX8" fmla="*/ 2087877 w 8634799"/>
                <a:gd name="connsiteY8" fmla="*/ 815278 h 934159"/>
                <a:gd name="connsiteX9" fmla="*/ 2565599 w 8634799"/>
                <a:gd name="connsiteY9" fmla="*/ 815278 h 934159"/>
                <a:gd name="connsiteX10" fmla="*/ 3336468 w 8634799"/>
                <a:gd name="connsiteY10" fmla="*/ 857772 h 934159"/>
                <a:gd name="connsiteX11" fmla="*/ 4215904 w 8634799"/>
                <a:gd name="connsiteY11" fmla="*/ 840778 h 934159"/>
                <a:gd name="connsiteX12" fmla="*/ 4845622 w 8634799"/>
                <a:gd name="connsiteY12" fmla="*/ 849284 h 934159"/>
                <a:gd name="connsiteX13" fmla="*/ 5681632 w 8634799"/>
                <a:gd name="connsiteY13" fmla="*/ 849284 h 934159"/>
                <a:gd name="connsiteX14" fmla="*/ 6745645 w 8634799"/>
                <a:gd name="connsiteY14" fmla="*/ 874784 h 934159"/>
                <a:gd name="connsiteX15" fmla="*/ 7494800 w 8634799"/>
                <a:gd name="connsiteY15" fmla="*/ 866278 h 934159"/>
                <a:gd name="connsiteX16" fmla="*/ 8026795 w 8634799"/>
                <a:gd name="connsiteY16" fmla="*/ 857772 h 934159"/>
                <a:gd name="connsiteX17" fmla="*/ 8504518 w 8634799"/>
                <a:gd name="connsiteY17" fmla="*/ 823784 h 934159"/>
                <a:gd name="connsiteX18" fmla="*/ 8634799 w 8634799"/>
                <a:gd name="connsiteY18" fmla="*/ 840778 h 934159"/>
                <a:gd name="connsiteX19" fmla="*/ 8634799 w 8634799"/>
                <a:gd name="connsiteY19" fmla="*/ 220421 h 934159"/>
                <a:gd name="connsiteX20" fmla="*/ 8450223 w 8634799"/>
                <a:gd name="connsiteY20" fmla="*/ 152500 h 934159"/>
                <a:gd name="connsiteX21" fmla="*/ 7635927 w 8634799"/>
                <a:gd name="connsiteY21" fmla="*/ 101519 h 934159"/>
                <a:gd name="connsiteX22" fmla="*/ 7049636 w 8634799"/>
                <a:gd name="connsiteY22" fmla="*/ 194994 h 934159"/>
                <a:gd name="connsiteX23" fmla="*/ 6342549 w 8634799"/>
                <a:gd name="connsiteY23" fmla="*/ 142435 h 934159"/>
                <a:gd name="connsiteX24" fmla="*/ 5902209 w 8634799"/>
                <a:gd name="connsiteY24" fmla="*/ 245463 h 934159"/>
                <a:gd name="connsiteX25" fmla="*/ 5182195 w 8634799"/>
                <a:gd name="connsiteY25" fmla="*/ 288469 h 934159"/>
                <a:gd name="connsiteX26" fmla="*/ 3655437 w 8634799"/>
                <a:gd name="connsiteY26" fmla="*/ 19929 h 934159"/>
                <a:gd name="connsiteX27" fmla="*/ 2370177 w 8634799"/>
                <a:gd name="connsiteY27" fmla="*/ 152500 h 934159"/>
                <a:gd name="connsiteX28" fmla="*/ 578745 w 8634799"/>
                <a:gd name="connsiteY28" fmla="*/ 143994 h 934159"/>
                <a:gd name="connsiteX29" fmla="*/ 38923 w 8634799"/>
                <a:gd name="connsiteY29" fmla="*/ 153045 h 934159"/>
                <a:gd name="connsiteX0" fmla="*/ 38923 w 8634799"/>
                <a:gd name="connsiteY0" fmla="*/ 203294 h 984408"/>
                <a:gd name="connsiteX1" fmla="*/ 4765 w 8634799"/>
                <a:gd name="connsiteY1" fmla="*/ 276023 h 984408"/>
                <a:gd name="connsiteX2" fmla="*/ 16985 w 8634799"/>
                <a:gd name="connsiteY2" fmla="*/ 487258 h 984408"/>
                <a:gd name="connsiteX3" fmla="*/ 31647 w 8634799"/>
                <a:gd name="connsiteY3" fmla="*/ 746504 h 984408"/>
                <a:gd name="connsiteX4" fmla="*/ 43864 w 8634799"/>
                <a:gd name="connsiteY4" fmla="*/ 823320 h 984408"/>
                <a:gd name="connsiteX5" fmla="*/ 80207 w 8634799"/>
                <a:gd name="connsiteY5" fmla="*/ 983470 h 984408"/>
                <a:gd name="connsiteX6" fmla="*/ 937008 w 8634799"/>
                <a:gd name="connsiteY6" fmla="*/ 891027 h 984408"/>
                <a:gd name="connsiteX7" fmla="*/ 1631867 w 8634799"/>
                <a:gd name="connsiteY7" fmla="*/ 925015 h 984408"/>
                <a:gd name="connsiteX8" fmla="*/ 2087877 w 8634799"/>
                <a:gd name="connsiteY8" fmla="*/ 865527 h 984408"/>
                <a:gd name="connsiteX9" fmla="*/ 2565599 w 8634799"/>
                <a:gd name="connsiteY9" fmla="*/ 865527 h 984408"/>
                <a:gd name="connsiteX10" fmla="*/ 3336468 w 8634799"/>
                <a:gd name="connsiteY10" fmla="*/ 908021 h 984408"/>
                <a:gd name="connsiteX11" fmla="*/ 4215904 w 8634799"/>
                <a:gd name="connsiteY11" fmla="*/ 891027 h 984408"/>
                <a:gd name="connsiteX12" fmla="*/ 4845622 w 8634799"/>
                <a:gd name="connsiteY12" fmla="*/ 899533 h 984408"/>
                <a:gd name="connsiteX13" fmla="*/ 5681632 w 8634799"/>
                <a:gd name="connsiteY13" fmla="*/ 899533 h 984408"/>
                <a:gd name="connsiteX14" fmla="*/ 6745645 w 8634799"/>
                <a:gd name="connsiteY14" fmla="*/ 925033 h 984408"/>
                <a:gd name="connsiteX15" fmla="*/ 7494800 w 8634799"/>
                <a:gd name="connsiteY15" fmla="*/ 916527 h 984408"/>
                <a:gd name="connsiteX16" fmla="*/ 8026795 w 8634799"/>
                <a:gd name="connsiteY16" fmla="*/ 908021 h 984408"/>
                <a:gd name="connsiteX17" fmla="*/ 8504518 w 8634799"/>
                <a:gd name="connsiteY17" fmla="*/ 874033 h 984408"/>
                <a:gd name="connsiteX18" fmla="*/ 8634799 w 8634799"/>
                <a:gd name="connsiteY18" fmla="*/ 891027 h 984408"/>
                <a:gd name="connsiteX19" fmla="*/ 8634799 w 8634799"/>
                <a:gd name="connsiteY19" fmla="*/ 270670 h 984408"/>
                <a:gd name="connsiteX20" fmla="*/ 8450223 w 8634799"/>
                <a:gd name="connsiteY20" fmla="*/ 202749 h 984408"/>
                <a:gd name="connsiteX21" fmla="*/ 7635927 w 8634799"/>
                <a:gd name="connsiteY21" fmla="*/ 151768 h 984408"/>
                <a:gd name="connsiteX22" fmla="*/ 7049636 w 8634799"/>
                <a:gd name="connsiteY22" fmla="*/ 245243 h 984408"/>
                <a:gd name="connsiteX23" fmla="*/ 6342549 w 8634799"/>
                <a:gd name="connsiteY23" fmla="*/ 192684 h 984408"/>
                <a:gd name="connsiteX24" fmla="*/ 5902209 w 8634799"/>
                <a:gd name="connsiteY24" fmla="*/ 295712 h 984408"/>
                <a:gd name="connsiteX25" fmla="*/ 5182195 w 8634799"/>
                <a:gd name="connsiteY25" fmla="*/ 338718 h 984408"/>
                <a:gd name="connsiteX26" fmla="*/ 3655437 w 8634799"/>
                <a:gd name="connsiteY26" fmla="*/ 70178 h 984408"/>
                <a:gd name="connsiteX27" fmla="*/ 2370177 w 8634799"/>
                <a:gd name="connsiteY27" fmla="*/ 202749 h 984408"/>
                <a:gd name="connsiteX28" fmla="*/ 578745 w 8634799"/>
                <a:gd name="connsiteY28" fmla="*/ 194243 h 984408"/>
                <a:gd name="connsiteX29" fmla="*/ 38923 w 8634799"/>
                <a:gd name="connsiteY29" fmla="*/ 203294 h 984408"/>
                <a:gd name="connsiteX0" fmla="*/ 38923 w 8634799"/>
                <a:gd name="connsiteY0" fmla="*/ 146213 h 927327"/>
                <a:gd name="connsiteX1" fmla="*/ 4765 w 8634799"/>
                <a:gd name="connsiteY1" fmla="*/ 218942 h 927327"/>
                <a:gd name="connsiteX2" fmla="*/ 16985 w 8634799"/>
                <a:gd name="connsiteY2" fmla="*/ 430177 h 927327"/>
                <a:gd name="connsiteX3" fmla="*/ 31647 w 8634799"/>
                <a:gd name="connsiteY3" fmla="*/ 689423 h 927327"/>
                <a:gd name="connsiteX4" fmla="*/ 43864 w 8634799"/>
                <a:gd name="connsiteY4" fmla="*/ 766239 h 927327"/>
                <a:gd name="connsiteX5" fmla="*/ 80207 w 8634799"/>
                <a:gd name="connsiteY5" fmla="*/ 926389 h 927327"/>
                <a:gd name="connsiteX6" fmla="*/ 937008 w 8634799"/>
                <a:gd name="connsiteY6" fmla="*/ 833946 h 927327"/>
                <a:gd name="connsiteX7" fmla="*/ 1631867 w 8634799"/>
                <a:gd name="connsiteY7" fmla="*/ 867934 h 927327"/>
                <a:gd name="connsiteX8" fmla="*/ 2087877 w 8634799"/>
                <a:gd name="connsiteY8" fmla="*/ 808446 h 927327"/>
                <a:gd name="connsiteX9" fmla="*/ 2565599 w 8634799"/>
                <a:gd name="connsiteY9" fmla="*/ 808446 h 927327"/>
                <a:gd name="connsiteX10" fmla="*/ 3336468 w 8634799"/>
                <a:gd name="connsiteY10" fmla="*/ 850940 h 927327"/>
                <a:gd name="connsiteX11" fmla="*/ 4215904 w 8634799"/>
                <a:gd name="connsiteY11" fmla="*/ 833946 h 927327"/>
                <a:gd name="connsiteX12" fmla="*/ 4845622 w 8634799"/>
                <a:gd name="connsiteY12" fmla="*/ 842452 h 927327"/>
                <a:gd name="connsiteX13" fmla="*/ 5681632 w 8634799"/>
                <a:gd name="connsiteY13" fmla="*/ 842452 h 927327"/>
                <a:gd name="connsiteX14" fmla="*/ 6745645 w 8634799"/>
                <a:gd name="connsiteY14" fmla="*/ 867952 h 927327"/>
                <a:gd name="connsiteX15" fmla="*/ 7494800 w 8634799"/>
                <a:gd name="connsiteY15" fmla="*/ 859446 h 927327"/>
                <a:gd name="connsiteX16" fmla="*/ 8026795 w 8634799"/>
                <a:gd name="connsiteY16" fmla="*/ 850940 h 927327"/>
                <a:gd name="connsiteX17" fmla="*/ 8504518 w 8634799"/>
                <a:gd name="connsiteY17" fmla="*/ 816952 h 927327"/>
                <a:gd name="connsiteX18" fmla="*/ 8634799 w 8634799"/>
                <a:gd name="connsiteY18" fmla="*/ 833946 h 927327"/>
                <a:gd name="connsiteX19" fmla="*/ 8634799 w 8634799"/>
                <a:gd name="connsiteY19" fmla="*/ 213589 h 927327"/>
                <a:gd name="connsiteX20" fmla="*/ 8450223 w 8634799"/>
                <a:gd name="connsiteY20" fmla="*/ 145668 h 927327"/>
                <a:gd name="connsiteX21" fmla="*/ 7635927 w 8634799"/>
                <a:gd name="connsiteY21" fmla="*/ 94687 h 927327"/>
                <a:gd name="connsiteX22" fmla="*/ 7049636 w 8634799"/>
                <a:gd name="connsiteY22" fmla="*/ 188162 h 927327"/>
                <a:gd name="connsiteX23" fmla="*/ 6342549 w 8634799"/>
                <a:gd name="connsiteY23" fmla="*/ 135603 h 927327"/>
                <a:gd name="connsiteX24" fmla="*/ 5902209 w 8634799"/>
                <a:gd name="connsiteY24" fmla="*/ 238631 h 927327"/>
                <a:gd name="connsiteX25" fmla="*/ 5182195 w 8634799"/>
                <a:gd name="connsiteY25" fmla="*/ 281637 h 927327"/>
                <a:gd name="connsiteX26" fmla="*/ 3822487 w 8634799"/>
                <a:gd name="connsiteY26" fmla="*/ 79772 h 927327"/>
                <a:gd name="connsiteX27" fmla="*/ 2370177 w 8634799"/>
                <a:gd name="connsiteY27" fmla="*/ 145668 h 927327"/>
                <a:gd name="connsiteX28" fmla="*/ 578745 w 8634799"/>
                <a:gd name="connsiteY28" fmla="*/ 137162 h 927327"/>
                <a:gd name="connsiteX29" fmla="*/ 38923 w 8634799"/>
                <a:gd name="connsiteY29" fmla="*/ 146213 h 927327"/>
                <a:gd name="connsiteX0" fmla="*/ 38923 w 8634799"/>
                <a:gd name="connsiteY0" fmla="*/ 157240 h 938354"/>
                <a:gd name="connsiteX1" fmla="*/ 4765 w 8634799"/>
                <a:gd name="connsiteY1" fmla="*/ 229969 h 938354"/>
                <a:gd name="connsiteX2" fmla="*/ 16985 w 8634799"/>
                <a:gd name="connsiteY2" fmla="*/ 441204 h 938354"/>
                <a:gd name="connsiteX3" fmla="*/ 31647 w 8634799"/>
                <a:gd name="connsiteY3" fmla="*/ 700450 h 938354"/>
                <a:gd name="connsiteX4" fmla="*/ 43864 w 8634799"/>
                <a:gd name="connsiteY4" fmla="*/ 777266 h 938354"/>
                <a:gd name="connsiteX5" fmla="*/ 80207 w 8634799"/>
                <a:gd name="connsiteY5" fmla="*/ 937416 h 938354"/>
                <a:gd name="connsiteX6" fmla="*/ 937008 w 8634799"/>
                <a:gd name="connsiteY6" fmla="*/ 844973 h 938354"/>
                <a:gd name="connsiteX7" fmla="*/ 1631867 w 8634799"/>
                <a:gd name="connsiteY7" fmla="*/ 878961 h 938354"/>
                <a:gd name="connsiteX8" fmla="*/ 2087877 w 8634799"/>
                <a:gd name="connsiteY8" fmla="*/ 819473 h 938354"/>
                <a:gd name="connsiteX9" fmla="*/ 2565599 w 8634799"/>
                <a:gd name="connsiteY9" fmla="*/ 819473 h 938354"/>
                <a:gd name="connsiteX10" fmla="*/ 3336468 w 8634799"/>
                <a:gd name="connsiteY10" fmla="*/ 861967 h 938354"/>
                <a:gd name="connsiteX11" fmla="*/ 4215904 w 8634799"/>
                <a:gd name="connsiteY11" fmla="*/ 844973 h 938354"/>
                <a:gd name="connsiteX12" fmla="*/ 4845622 w 8634799"/>
                <a:gd name="connsiteY12" fmla="*/ 853479 h 938354"/>
                <a:gd name="connsiteX13" fmla="*/ 5681632 w 8634799"/>
                <a:gd name="connsiteY13" fmla="*/ 853479 h 938354"/>
                <a:gd name="connsiteX14" fmla="*/ 6745645 w 8634799"/>
                <a:gd name="connsiteY14" fmla="*/ 878979 h 938354"/>
                <a:gd name="connsiteX15" fmla="*/ 7494800 w 8634799"/>
                <a:gd name="connsiteY15" fmla="*/ 870473 h 938354"/>
                <a:gd name="connsiteX16" fmla="*/ 8026795 w 8634799"/>
                <a:gd name="connsiteY16" fmla="*/ 861967 h 938354"/>
                <a:gd name="connsiteX17" fmla="*/ 8504518 w 8634799"/>
                <a:gd name="connsiteY17" fmla="*/ 827979 h 938354"/>
                <a:gd name="connsiteX18" fmla="*/ 8634799 w 8634799"/>
                <a:gd name="connsiteY18" fmla="*/ 844973 h 938354"/>
                <a:gd name="connsiteX19" fmla="*/ 8634799 w 8634799"/>
                <a:gd name="connsiteY19" fmla="*/ 224616 h 938354"/>
                <a:gd name="connsiteX20" fmla="*/ 8450223 w 8634799"/>
                <a:gd name="connsiteY20" fmla="*/ 156695 h 938354"/>
                <a:gd name="connsiteX21" fmla="*/ 7635927 w 8634799"/>
                <a:gd name="connsiteY21" fmla="*/ 105714 h 938354"/>
                <a:gd name="connsiteX22" fmla="*/ 7049636 w 8634799"/>
                <a:gd name="connsiteY22" fmla="*/ 199189 h 938354"/>
                <a:gd name="connsiteX23" fmla="*/ 6342549 w 8634799"/>
                <a:gd name="connsiteY23" fmla="*/ 146630 h 938354"/>
                <a:gd name="connsiteX24" fmla="*/ 5902209 w 8634799"/>
                <a:gd name="connsiteY24" fmla="*/ 249658 h 938354"/>
                <a:gd name="connsiteX25" fmla="*/ 5182195 w 8634799"/>
                <a:gd name="connsiteY25" fmla="*/ 292664 h 938354"/>
                <a:gd name="connsiteX26" fmla="*/ 3822487 w 8634799"/>
                <a:gd name="connsiteY26" fmla="*/ 90799 h 938354"/>
                <a:gd name="connsiteX27" fmla="*/ 2370177 w 8634799"/>
                <a:gd name="connsiteY27" fmla="*/ 156695 h 938354"/>
                <a:gd name="connsiteX28" fmla="*/ 578745 w 8634799"/>
                <a:gd name="connsiteY28" fmla="*/ 148189 h 938354"/>
                <a:gd name="connsiteX29" fmla="*/ 38923 w 8634799"/>
                <a:gd name="connsiteY29" fmla="*/ 157240 h 938354"/>
                <a:gd name="connsiteX0" fmla="*/ 38923 w 12045155"/>
                <a:gd name="connsiteY0" fmla="*/ 157240 h 938354"/>
                <a:gd name="connsiteX1" fmla="*/ 4765 w 12045155"/>
                <a:gd name="connsiteY1" fmla="*/ 229969 h 938354"/>
                <a:gd name="connsiteX2" fmla="*/ 16985 w 12045155"/>
                <a:gd name="connsiteY2" fmla="*/ 441204 h 938354"/>
                <a:gd name="connsiteX3" fmla="*/ 31647 w 12045155"/>
                <a:gd name="connsiteY3" fmla="*/ 700450 h 938354"/>
                <a:gd name="connsiteX4" fmla="*/ 43864 w 12045155"/>
                <a:gd name="connsiteY4" fmla="*/ 777266 h 938354"/>
                <a:gd name="connsiteX5" fmla="*/ 80207 w 12045155"/>
                <a:gd name="connsiteY5" fmla="*/ 937416 h 938354"/>
                <a:gd name="connsiteX6" fmla="*/ 937008 w 12045155"/>
                <a:gd name="connsiteY6" fmla="*/ 844973 h 938354"/>
                <a:gd name="connsiteX7" fmla="*/ 1631867 w 12045155"/>
                <a:gd name="connsiteY7" fmla="*/ 878961 h 938354"/>
                <a:gd name="connsiteX8" fmla="*/ 2087877 w 12045155"/>
                <a:gd name="connsiteY8" fmla="*/ 819473 h 938354"/>
                <a:gd name="connsiteX9" fmla="*/ 2565599 w 12045155"/>
                <a:gd name="connsiteY9" fmla="*/ 819473 h 938354"/>
                <a:gd name="connsiteX10" fmla="*/ 3336468 w 12045155"/>
                <a:gd name="connsiteY10" fmla="*/ 861967 h 938354"/>
                <a:gd name="connsiteX11" fmla="*/ 4215904 w 12045155"/>
                <a:gd name="connsiteY11" fmla="*/ 844973 h 938354"/>
                <a:gd name="connsiteX12" fmla="*/ 4845622 w 12045155"/>
                <a:gd name="connsiteY12" fmla="*/ 853479 h 938354"/>
                <a:gd name="connsiteX13" fmla="*/ 5681632 w 12045155"/>
                <a:gd name="connsiteY13" fmla="*/ 853479 h 938354"/>
                <a:gd name="connsiteX14" fmla="*/ 6745645 w 12045155"/>
                <a:gd name="connsiteY14" fmla="*/ 878979 h 938354"/>
                <a:gd name="connsiteX15" fmla="*/ 7494800 w 12045155"/>
                <a:gd name="connsiteY15" fmla="*/ 870473 h 938354"/>
                <a:gd name="connsiteX16" fmla="*/ 8026795 w 12045155"/>
                <a:gd name="connsiteY16" fmla="*/ 861967 h 938354"/>
                <a:gd name="connsiteX17" fmla="*/ 8504518 w 12045155"/>
                <a:gd name="connsiteY17" fmla="*/ 827979 h 938354"/>
                <a:gd name="connsiteX18" fmla="*/ 12045155 w 12045155"/>
                <a:gd name="connsiteY18" fmla="*/ 699393 h 938354"/>
                <a:gd name="connsiteX19" fmla="*/ 8634799 w 12045155"/>
                <a:gd name="connsiteY19" fmla="*/ 224616 h 938354"/>
                <a:gd name="connsiteX20" fmla="*/ 8450223 w 12045155"/>
                <a:gd name="connsiteY20" fmla="*/ 156695 h 938354"/>
                <a:gd name="connsiteX21" fmla="*/ 7635927 w 12045155"/>
                <a:gd name="connsiteY21" fmla="*/ 105714 h 938354"/>
                <a:gd name="connsiteX22" fmla="*/ 7049636 w 12045155"/>
                <a:gd name="connsiteY22" fmla="*/ 199189 h 938354"/>
                <a:gd name="connsiteX23" fmla="*/ 6342549 w 12045155"/>
                <a:gd name="connsiteY23" fmla="*/ 146630 h 938354"/>
                <a:gd name="connsiteX24" fmla="*/ 5902209 w 12045155"/>
                <a:gd name="connsiteY24" fmla="*/ 249658 h 938354"/>
                <a:gd name="connsiteX25" fmla="*/ 5182195 w 12045155"/>
                <a:gd name="connsiteY25" fmla="*/ 292664 h 938354"/>
                <a:gd name="connsiteX26" fmla="*/ 3822487 w 12045155"/>
                <a:gd name="connsiteY26" fmla="*/ 90799 h 938354"/>
                <a:gd name="connsiteX27" fmla="*/ 2370177 w 12045155"/>
                <a:gd name="connsiteY27" fmla="*/ 156695 h 938354"/>
                <a:gd name="connsiteX28" fmla="*/ 578745 w 12045155"/>
                <a:gd name="connsiteY28" fmla="*/ 148189 h 938354"/>
                <a:gd name="connsiteX29" fmla="*/ 38923 w 12045155"/>
                <a:gd name="connsiteY29" fmla="*/ 157240 h 938354"/>
                <a:gd name="connsiteX0" fmla="*/ 38923 w 12045155"/>
                <a:gd name="connsiteY0" fmla="*/ 157240 h 938354"/>
                <a:gd name="connsiteX1" fmla="*/ 4765 w 12045155"/>
                <a:gd name="connsiteY1" fmla="*/ 229969 h 938354"/>
                <a:gd name="connsiteX2" fmla="*/ 16985 w 12045155"/>
                <a:gd name="connsiteY2" fmla="*/ 441204 h 938354"/>
                <a:gd name="connsiteX3" fmla="*/ 31647 w 12045155"/>
                <a:gd name="connsiteY3" fmla="*/ 700450 h 938354"/>
                <a:gd name="connsiteX4" fmla="*/ 43864 w 12045155"/>
                <a:gd name="connsiteY4" fmla="*/ 777266 h 938354"/>
                <a:gd name="connsiteX5" fmla="*/ 80207 w 12045155"/>
                <a:gd name="connsiteY5" fmla="*/ 937416 h 938354"/>
                <a:gd name="connsiteX6" fmla="*/ 937008 w 12045155"/>
                <a:gd name="connsiteY6" fmla="*/ 844973 h 938354"/>
                <a:gd name="connsiteX7" fmla="*/ 1631867 w 12045155"/>
                <a:gd name="connsiteY7" fmla="*/ 878961 h 938354"/>
                <a:gd name="connsiteX8" fmla="*/ 2087877 w 12045155"/>
                <a:gd name="connsiteY8" fmla="*/ 819473 h 938354"/>
                <a:gd name="connsiteX9" fmla="*/ 2565599 w 12045155"/>
                <a:gd name="connsiteY9" fmla="*/ 819473 h 938354"/>
                <a:gd name="connsiteX10" fmla="*/ 3336468 w 12045155"/>
                <a:gd name="connsiteY10" fmla="*/ 861967 h 938354"/>
                <a:gd name="connsiteX11" fmla="*/ 4215904 w 12045155"/>
                <a:gd name="connsiteY11" fmla="*/ 844973 h 938354"/>
                <a:gd name="connsiteX12" fmla="*/ 4845622 w 12045155"/>
                <a:gd name="connsiteY12" fmla="*/ 853479 h 938354"/>
                <a:gd name="connsiteX13" fmla="*/ 5681632 w 12045155"/>
                <a:gd name="connsiteY13" fmla="*/ 853479 h 938354"/>
                <a:gd name="connsiteX14" fmla="*/ 6745645 w 12045155"/>
                <a:gd name="connsiteY14" fmla="*/ 878979 h 938354"/>
                <a:gd name="connsiteX15" fmla="*/ 7494800 w 12045155"/>
                <a:gd name="connsiteY15" fmla="*/ 870473 h 938354"/>
                <a:gd name="connsiteX16" fmla="*/ 8026795 w 12045155"/>
                <a:gd name="connsiteY16" fmla="*/ 861967 h 938354"/>
                <a:gd name="connsiteX17" fmla="*/ 8504518 w 12045155"/>
                <a:gd name="connsiteY17" fmla="*/ 827979 h 938354"/>
                <a:gd name="connsiteX18" fmla="*/ 12045155 w 12045155"/>
                <a:gd name="connsiteY18" fmla="*/ 699393 h 938354"/>
                <a:gd name="connsiteX19" fmla="*/ 12045155 w 12045155"/>
                <a:gd name="connsiteY19" fmla="*/ 261011 h 938354"/>
                <a:gd name="connsiteX20" fmla="*/ 8450223 w 12045155"/>
                <a:gd name="connsiteY20" fmla="*/ 156695 h 938354"/>
                <a:gd name="connsiteX21" fmla="*/ 7635927 w 12045155"/>
                <a:gd name="connsiteY21" fmla="*/ 105714 h 938354"/>
                <a:gd name="connsiteX22" fmla="*/ 7049636 w 12045155"/>
                <a:gd name="connsiteY22" fmla="*/ 199189 h 938354"/>
                <a:gd name="connsiteX23" fmla="*/ 6342549 w 12045155"/>
                <a:gd name="connsiteY23" fmla="*/ 146630 h 938354"/>
                <a:gd name="connsiteX24" fmla="*/ 5902209 w 12045155"/>
                <a:gd name="connsiteY24" fmla="*/ 249658 h 938354"/>
                <a:gd name="connsiteX25" fmla="*/ 5182195 w 12045155"/>
                <a:gd name="connsiteY25" fmla="*/ 292664 h 938354"/>
                <a:gd name="connsiteX26" fmla="*/ 3822487 w 12045155"/>
                <a:gd name="connsiteY26" fmla="*/ 90799 h 938354"/>
                <a:gd name="connsiteX27" fmla="*/ 2370177 w 12045155"/>
                <a:gd name="connsiteY27" fmla="*/ 156695 h 938354"/>
                <a:gd name="connsiteX28" fmla="*/ 578745 w 12045155"/>
                <a:gd name="connsiteY28" fmla="*/ 148189 h 938354"/>
                <a:gd name="connsiteX29" fmla="*/ 38923 w 12045155"/>
                <a:gd name="connsiteY29" fmla="*/ 157240 h 938354"/>
                <a:gd name="connsiteX0" fmla="*/ 38923 w 12045155"/>
                <a:gd name="connsiteY0" fmla="*/ 157240 h 1129823"/>
                <a:gd name="connsiteX1" fmla="*/ 4765 w 12045155"/>
                <a:gd name="connsiteY1" fmla="*/ 229969 h 1129823"/>
                <a:gd name="connsiteX2" fmla="*/ 16985 w 12045155"/>
                <a:gd name="connsiteY2" fmla="*/ 441204 h 1129823"/>
                <a:gd name="connsiteX3" fmla="*/ 31647 w 12045155"/>
                <a:gd name="connsiteY3" fmla="*/ 700450 h 1129823"/>
                <a:gd name="connsiteX4" fmla="*/ 43864 w 12045155"/>
                <a:gd name="connsiteY4" fmla="*/ 777266 h 1129823"/>
                <a:gd name="connsiteX5" fmla="*/ 80207 w 12045155"/>
                <a:gd name="connsiteY5" fmla="*/ 937416 h 1129823"/>
                <a:gd name="connsiteX6" fmla="*/ 937008 w 12045155"/>
                <a:gd name="connsiteY6" fmla="*/ 844973 h 1129823"/>
                <a:gd name="connsiteX7" fmla="*/ 1631867 w 12045155"/>
                <a:gd name="connsiteY7" fmla="*/ 878961 h 1129823"/>
                <a:gd name="connsiteX8" fmla="*/ 2087877 w 12045155"/>
                <a:gd name="connsiteY8" fmla="*/ 819473 h 1129823"/>
                <a:gd name="connsiteX9" fmla="*/ 2565599 w 12045155"/>
                <a:gd name="connsiteY9" fmla="*/ 819473 h 1129823"/>
                <a:gd name="connsiteX10" fmla="*/ 3336468 w 12045155"/>
                <a:gd name="connsiteY10" fmla="*/ 861967 h 1129823"/>
                <a:gd name="connsiteX11" fmla="*/ 4215904 w 12045155"/>
                <a:gd name="connsiteY11" fmla="*/ 844973 h 1129823"/>
                <a:gd name="connsiteX12" fmla="*/ 4845622 w 12045155"/>
                <a:gd name="connsiteY12" fmla="*/ 853479 h 1129823"/>
                <a:gd name="connsiteX13" fmla="*/ 5681632 w 12045155"/>
                <a:gd name="connsiteY13" fmla="*/ 853479 h 1129823"/>
                <a:gd name="connsiteX14" fmla="*/ 6745645 w 12045155"/>
                <a:gd name="connsiteY14" fmla="*/ 878979 h 1129823"/>
                <a:gd name="connsiteX15" fmla="*/ 7494800 w 12045155"/>
                <a:gd name="connsiteY15" fmla="*/ 870473 h 1129823"/>
                <a:gd name="connsiteX16" fmla="*/ 8026795 w 12045155"/>
                <a:gd name="connsiteY16" fmla="*/ 861967 h 1129823"/>
                <a:gd name="connsiteX17" fmla="*/ 8504518 w 12045155"/>
                <a:gd name="connsiteY17" fmla="*/ 827979 h 1129823"/>
                <a:gd name="connsiteX18" fmla="*/ 11481826 w 12045155"/>
                <a:gd name="connsiteY18" fmla="*/ 1127088 h 1129823"/>
                <a:gd name="connsiteX19" fmla="*/ 12045155 w 12045155"/>
                <a:gd name="connsiteY19" fmla="*/ 699393 h 1129823"/>
                <a:gd name="connsiteX20" fmla="*/ 12045155 w 12045155"/>
                <a:gd name="connsiteY20" fmla="*/ 261011 h 1129823"/>
                <a:gd name="connsiteX21" fmla="*/ 8450223 w 12045155"/>
                <a:gd name="connsiteY21" fmla="*/ 156695 h 1129823"/>
                <a:gd name="connsiteX22" fmla="*/ 7635927 w 12045155"/>
                <a:gd name="connsiteY22" fmla="*/ 105714 h 1129823"/>
                <a:gd name="connsiteX23" fmla="*/ 7049636 w 12045155"/>
                <a:gd name="connsiteY23" fmla="*/ 199189 h 1129823"/>
                <a:gd name="connsiteX24" fmla="*/ 6342549 w 12045155"/>
                <a:gd name="connsiteY24" fmla="*/ 146630 h 1129823"/>
                <a:gd name="connsiteX25" fmla="*/ 5902209 w 12045155"/>
                <a:gd name="connsiteY25" fmla="*/ 249658 h 1129823"/>
                <a:gd name="connsiteX26" fmla="*/ 5182195 w 12045155"/>
                <a:gd name="connsiteY26" fmla="*/ 292664 h 1129823"/>
                <a:gd name="connsiteX27" fmla="*/ 3822487 w 12045155"/>
                <a:gd name="connsiteY27" fmla="*/ 90799 h 1129823"/>
                <a:gd name="connsiteX28" fmla="*/ 2370177 w 12045155"/>
                <a:gd name="connsiteY28" fmla="*/ 156695 h 1129823"/>
                <a:gd name="connsiteX29" fmla="*/ 578745 w 12045155"/>
                <a:gd name="connsiteY29" fmla="*/ 148189 h 1129823"/>
                <a:gd name="connsiteX30" fmla="*/ 38923 w 12045155"/>
                <a:gd name="connsiteY30" fmla="*/ 157240 h 1129823"/>
                <a:gd name="connsiteX0" fmla="*/ 38923 w 12045155"/>
                <a:gd name="connsiteY0" fmla="*/ 157240 h 1784983"/>
                <a:gd name="connsiteX1" fmla="*/ 4765 w 12045155"/>
                <a:gd name="connsiteY1" fmla="*/ 229969 h 1784983"/>
                <a:gd name="connsiteX2" fmla="*/ 16985 w 12045155"/>
                <a:gd name="connsiteY2" fmla="*/ 441204 h 1784983"/>
                <a:gd name="connsiteX3" fmla="*/ 31647 w 12045155"/>
                <a:gd name="connsiteY3" fmla="*/ 700450 h 1784983"/>
                <a:gd name="connsiteX4" fmla="*/ 43864 w 12045155"/>
                <a:gd name="connsiteY4" fmla="*/ 777266 h 1784983"/>
                <a:gd name="connsiteX5" fmla="*/ 80207 w 12045155"/>
                <a:gd name="connsiteY5" fmla="*/ 937416 h 1784983"/>
                <a:gd name="connsiteX6" fmla="*/ 937008 w 12045155"/>
                <a:gd name="connsiteY6" fmla="*/ 844973 h 1784983"/>
                <a:gd name="connsiteX7" fmla="*/ 1631867 w 12045155"/>
                <a:gd name="connsiteY7" fmla="*/ 878961 h 1784983"/>
                <a:gd name="connsiteX8" fmla="*/ 2087877 w 12045155"/>
                <a:gd name="connsiteY8" fmla="*/ 819473 h 1784983"/>
                <a:gd name="connsiteX9" fmla="*/ 2565599 w 12045155"/>
                <a:gd name="connsiteY9" fmla="*/ 819473 h 1784983"/>
                <a:gd name="connsiteX10" fmla="*/ 3336468 w 12045155"/>
                <a:gd name="connsiteY10" fmla="*/ 861967 h 1784983"/>
                <a:gd name="connsiteX11" fmla="*/ 4215904 w 12045155"/>
                <a:gd name="connsiteY11" fmla="*/ 844973 h 1784983"/>
                <a:gd name="connsiteX12" fmla="*/ 4845622 w 12045155"/>
                <a:gd name="connsiteY12" fmla="*/ 853479 h 1784983"/>
                <a:gd name="connsiteX13" fmla="*/ 5681632 w 12045155"/>
                <a:gd name="connsiteY13" fmla="*/ 853479 h 1784983"/>
                <a:gd name="connsiteX14" fmla="*/ 6745645 w 12045155"/>
                <a:gd name="connsiteY14" fmla="*/ 878979 h 1784983"/>
                <a:gd name="connsiteX15" fmla="*/ 7494800 w 12045155"/>
                <a:gd name="connsiteY15" fmla="*/ 870473 h 1784983"/>
                <a:gd name="connsiteX16" fmla="*/ 8026795 w 12045155"/>
                <a:gd name="connsiteY16" fmla="*/ 861967 h 1784983"/>
                <a:gd name="connsiteX17" fmla="*/ 8504518 w 12045155"/>
                <a:gd name="connsiteY17" fmla="*/ 827979 h 1784983"/>
                <a:gd name="connsiteX18" fmla="*/ 10922986 w 12045155"/>
                <a:gd name="connsiteY18" fmla="*/ 1782194 h 1784983"/>
                <a:gd name="connsiteX19" fmla="*/ 11481826 w 12045155"/>
                <a:gd name="connsiteY19" fmla="*/ 1127088 h 1784983"/>
                <a:gd name="connsiteX20" fmla="*/ 12045155 w 12045155"/>
                <a:gd name="connsiteY20" fmla="*/ 699393 h 1784983"/>
                <a:gd name="connsiteX21" fmla="*/ 12045155 w 12045155"/>
                <a:gd name="connsiteY21" fmla="*/ 261011 h 1784983"/>
                <a:gd name="connsiteX22" fmla="*/ 8450223 w 12045155"/>
                <a:gd name="connsiteY22" fmla="*/ 156695 h 1784983"/>
                <a:gd name="connsiteX23" fmla="*/ 7635927 w 12045155"/>
                <a:gd name="connsiteY23" fmla="*/ 105714 h 1784983"/>
                <a:gd name="connsiteX24" fmla="*/ 7049636 w 12045155"/>
                <a:gd name="connsiteY24" fmla="*/ 199189 h 1784983"/>
                <a:gd name="connsiteX25" fmla="*/ 6342549 w 12045155"/>
                <a:gd name="connsiteY25" fmla="*/ 146630 h 1784983"/>
                <a:gd name="connsiteX26" fmla="*/ 5902209 w 12045155"/>
                <a:gd name="connsiteY26" fmla="*/ 249658 h 1784983"/>
                <a:gd name="connsiteX27" fmla="*/ 5182195 w 12045155"/>
                <a:gd name="connsiteY27" fmla="*/ 292664 h 1784983"/>
                <a:gd name="connsiteX28" fmla="*/ 3822487 w 12045155"/>
                <a:gd name="connsiteY28" fmla="*/ 90799 h 1784983"/>
                <a:gd name="connsiteX29" fmla="*/ 2370177 w 12045155"/>
                <a:gd name="connsiteY29" fmla="*/ 156695 h 1784983"/>
                <a:gd name="connsiteX30" fmla="*/ 578745 w 12045155"/>
                <a:gd name="connsiteY30" fmla="*/ 148189 h 1784983"/>
                <a:gd name="connsiteX31" fmla="*/ 38923 w 12045155"/>
                <a:gd name="connsiteY31" fmla="*/ 157240 h 1784983"/>
                <a:gd name="connsiteX0" fmla="*/ 38923 w 12045155"/>
                <a:gd name="connsiteY0" fmla="*/ 157240 h 1848237"/>
                <a:gd name="connsiteX1" fmla="*/ 4765 w 12045155"/>
                <a:gd name="connsiteY1" fmla="*/ 229969 h 1848237"/>
                <a:gd name="connsiteX2" fmla="*/ 16985 w 12045155"/>
                <a:gd name="connsiteY2" fmla="*/ 441204 h 1848237"/>
                <a:gd name="connsiteX3" fmla="*/ 31647 w 12045155"/>
                <a:gd name="connsiteY3" fmla="*/ 700450 h 1848237"/>
                <a:gd name="connsiteX4" fmla="*/ 43864 w 12045155"/>
                <a:gd name="connsiteY4" fmla="*/ 777266 h 1848237"/>
                <a:gd name="connsiteX5" fmla="*/ 80207 w 12045155"/>
                <a:gd name="connsiteY5" fmla="*/ 937416 h 1848237"/>
                <a:gd name="connsiteX6" fmla="*/ 937008 w 12045155"/>
                <a:gd name="connsiteY6" fmla="*/ 844973 h 1848237"/>
                <a:gd name="connsiteX7" fmla="*/ 1631867 w 12045155"/>
                <a:gd name="connsiteY7" fmla="*/ 878961 h 1848237"/>
                <a:gd name="connsiteX8" fmla="*/ 2087877 w 12045155"/>
                <a:gd name="connsiteY8" fmla="*/ 819473 h 1848237"/>
                <a:gd name="connsiteX9" fmla="*/ 2565599 w 12045155"/>
                <a:gd name="connsiteY9" fmla="*/ 819473 h 1848237"/>
                <a:gd name="connsiteX10" fmla="*/ 3336468 w 12045155"/>
                <a:gd name="connsiteY10" fmla="*/ 861967 h 1848237"/>
                <a:gd name="connsiteX11" fmla="*/ 4215904 w 12045155"/>
                <a:gd name="connsiteY11" fmla="*/ 844973 h 1848237"/>
                <a:gd name="connsiteX12" fmla="*/ 4845622 w 12045155"/>
                <a:gd name="connsiteY12" fmla="*/ 853479 h 1848237"/>
                <a:gd name="connsiteX13" fmla="*/ 5681632 w 12045155"/>
                <a:gd name="connsiteY13" fmla="*/ 853479 h 1848237"/>
                <a:gd name="connsiteX14" fmla="*/ 6745645 w 12045155"/>
                <a:gd name="connsiteY14" fmla="*/ 878979 h 1848237"/>
                <a:gd name="connsiteX15" fmla="*/ 7494800 w 12045155"/>
                <a:gd name="connsiteY15" fmla="*/ 870473 h 1848237"/>
                <a:gd name="connsiteX16" fmla="*/ 8026795 w 12045155"/>
                <a:gd name="connsiteY16" fmla="*/ 861967 h 1848237"/>
                <a:gd name="connsiteX17" fmla="*/ 8504518 w 12045155"/>
                <a:gd name="connsiteY17" fmla="*/ 827979 h 1848237"/>
                <a:gd name="connsiteX18" fmla="*/ 10922986 w 12045155"/>
                <a:gd name="connsiteY18" fmla="*/ 1782194 h 1848237"/>
                <a:gd name="connsiteX19" fmla="*/ 11481826 w 12045155"/>
                <a:gd name="connsiteY19" fmla="*/ 1127088 h 1848237"/>
                <a:gd name="connsiteX20" fmla="*/ 12045155 w 12045155"/>
                <a:gd name="connsiteY20" fmla="*/ 699393 h 1848237"/>
                <a:gd name="connsiteX21" fmla="*/ 12045155 w 12045155"/>
                <a:gd name="connsiteY21" fmla="*/ 261011 h 1848237"/>
                <a:gd name="connsiteX22" fmla="*/ 8450223 w 12045155"/>
                <a:gd name="connsiteY22" fmla="*/ 156695 h 1848237"/>
                <a:gd name="connsiteX23" fmla="*/ 7635927 w 12045155"/>
                <a:gd name="connsiteY23" fmla="*/ 105714 h 1848237"/>
                <a:gd name="connsiteX24" fmla="*/ 7049636 w 12045155"/>
                <a:gd name="connsiteY24" fmla="*/ 199189 h 1848237"/>
                <a:gd name="connsiteX25" fmla="*/ 6342549 w 12045155"/>
                <a:gd name="connsiteY25" fmla="*/ 146630 h 1848237"/>
                <a:gd name="connsiteX26" fmla="*/ 5902209 w 12045155"/>
                <a:gd name="connsiteY26" fmla="*/ 249658 h 1848237"/>
                <a:gd name="connsiteX27" fmla="*/ 5182195 w 12045155"/>
                <a:gd name="connsiteY27" fmla="*/ 292664 h 1848237"/>
                <a:gd name="connsiteX28" fmla="*/ 3822487 w 12045155"/>
                <a:gd name="connsiteY28" fmla="*/ 90799 h 1848237"/>
                <a:gd name="connsiteX29" fmla="*/ 2370177 w 12045155"/>
                <a:gd name="connsiteY29" fmla="*/ 156695 h 1848237"/>
                <a:gd name="connsiteX30" fmla="*/ 578745 w 12045155"/>
                <a:gd name="connsiteY30" fmla="*/ 148189 h 1848237"/>
                <a:gd name="connsiteX31" fmla="*/ 38923 w 12045155"/>
                <a:gd name="connsiteY31" fmla="*/ 157240 h 1848237"/>
                <a:gd name="connsiteX0" fmla="*/ 38923 w 12045155"/>
                <a:gd name="connsiteY0" fmla="*/ 157240 h 2147863"/>
                <a:gd name="connsiteX1" fmla="*/ 4765 w 12045155"/>
                <a:gd name="connsiteY1" fmla="*/ 229969 h 2147863"/>
                <a:gd name="connsiteX2" fmla="*/ 16985 w 12045155"/>
                <a:gd name="connsiteY2" fmla="*/ 441204 h 2147863"/>
                <a:gd name="connsiteX3" fmla="*/ 31647 w 12045155"/>
                <a:gd name="connsiteY3" fmla="*/ 700450 h 2147863"/>
                <a:gd name="connsiteX4" fmla="*/ 43864 w 12045155"/>
                <a:gd name="connsiteY4" fmla="*/ 777266 h 2147863"/>
                <a:gd name="connsiteX5" fmla="*/ 80207 w 12045155"/>
                <a:gd name="connsiteY5" fmla="*/ 937416 h 2147863"/>
                <a:gd name="connsiteX6" fmla="*/ 937008 w 12045155"/>
                <a:gd name="connsiteY6" fmla="*/ 844973 h 2147863"/>
                <a:gd name="connsiteX7" fmla="*/ 1631867 w 12045155"/>
                <a:gd name="connsiteY7" fmla="*/ 878961 h 2147863"/>
                <a:gd name="connsiteX8" fmla="*/ 2087877 w 12045155"/>
                <a:gd name="connsiteY8" fmla="*/ 819473 h 2147863"/>
                <a:gd name="connsiteX9" fmla="*/ 2565599 w 12045155"/>
                <a:gd name="connsiteY9" fmla="*/ 819473 h 2147863"/>
                <a:gd name="connsiteX10" fmla="*/ 3336468 w 12045155"/>
                <a:gd name="connsiteY10" fmla="*/ 861967 h 2147863"/>
                <a:gd name="connsiteX11" fmla="*/ 4215904 w 12045155"/>
                <a:gd name="connsiteY11" fmla="*/ 844973 h 2147863"/>
                <a:gd name="connsiteX12" fmla="*/ 4845622 w 12045155"/>
                <a:gd name="connsiteY12" fmla="*/ 853479 h 2147863"/>
                <a:gd name="connsiteX13" fmla="*/ 5681632 w 12045155"/>
                <a:gd name="connsiteY13" fmla="*/ 853479 h 2147863"/>
                <a:gd name="connsiteX14" fmla="*/ 6745645 w 12045155"/>
                <a:gd name="connsiteY14" fmla="*/ 878979 h 2147863"/>
                <a:gd name="connsiteX15" fmla="*/ 7494800 w 12045155"/>
                <a:gd name="connsiteY15" fmla="*/ 870473 h 2147863"/>
                <a:gd name="connsiteX16" fmla="*/ 8026795 w 12045155"/>
                <a:gd name="connsiteY16" fmla="*/ 861967 h 2147863"/>
                <a:gd name="connsiteX17" fmla="*/ 8504518 w 12045155"/>
                <a:gd name="connsiteY17" fmla="*/ 827979 h 2147863"/>
                <a:gd name="connsiteX18" fmla="*/ 10177867 w 12045155"/>
                <a:gd name="connsiteY18" fmla="*/ 2109744 h 2147863"/>
                <a:gd name="connsiteX19" fmla="*/ 10922986 w 12045155"/>
                <a:gd name="connsiteY19" fmla="*/ 1782194 h 2147863"/>
                <a:gd name="connsiteX20" fmla="*/ 11481826 w 12045155"/>
                <a:gd name="connsiteY20" fmla="*/ 1127088 h 2147863"/>
                <a:gd name="connsiteX21" fmla="*/ 12045155 w 12045155"/>
                <a:gd name="connsiteY21" fmla="*/ 699393 h 2147863"/>
                <a:gd name="connsiteX22" fmla="*/ 12045155 w 12045155"/>
                <a:gd name="connsiteY22" fmla="*/ 261011 h 2147863"/>
                <a:gd name="connsiteX23" fmla="*/ 8450223 w 12045155"/>
                <a:gd name="connsiteY23" fmla="*/ 156695 h 2147863"/>
                <a:gd name="connsiteX24" fmla="*/ 7635927 w 12045155"/>
                <a:gd name="connsiteY24" fmla="*/ 105714 h 2147863"/>
                <a:gd name="connsiteX25" fmla="*/ 7049636 w 12045155"/>
                <a:gd name="connsiteY25" fmla="*/ 199189 h 2147863"/>
                <a:gd name="connsiteX26" fmla="*/ 6342549 w 12045155"/>
                <a:gd name="connsiteY26" fmla="*/ 146630 h 2147863"/>
                <a:gd name="connsiteX27" fmla="*/ 5902209 w 12045155"/>
                <a:gd name="connsiteY27" fmla="*/ 249658 h 2147863"/>
                <a:gd name="connsiteX28" fmla="*/ 5182195 w 12045155"/>
                <a:gd name="connsiteY28" fmla="*/ 292664 h 2147863"/>
                <a:gd name="connsiteX29" fmla="*/ 3822487 w 12045155"/>
                <a:gd name="connsiteY29" fmla="*/ 90799 h 2147863"/>
                <a:gd name="connsiteX30" fmla="*/ 2370177 w 12045155"/>
                <a:gd name="connsiteY30" fmla="*/ 156695 h 2147863"/>
                <a:gd name="connsiteX31" fmla="*/ 578745 w 12045155"/>
                <a:gd name="connsiteY31" fmla="*/ 148189 h 2147863"/>
                <a:gd name="connsiteX32" fmla="*/ 38923 w 12045155"/>
                <a:gd name="connsiteY32" fmla="*/ 157240 h 2147863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8450223 w 12045155"/>
                <a:gd name="connsiteY24" fmla="*/ 156695 h 2112232"/>
                <a:gd name="connsiteX25" fmla="*/ 7635927 w 12045155"/>
                <a:gd name="connsiteY25" fmla="*/ 105714 h 2112232"/>
                <a:gd name="connsiteX26" fmla="*/ 7049636 w 12045155"/>
                <a:gd name="connsiteY26" fmla="*/ 199189 h 2112232"/>
                <a:gd name="connsiteX27" fmla="*/ 6342549 w 12045155"/>
                <a:gd name="connsiteY27" fmla="*/ 146630 h 2112232"/>
                <a:gd name="connsiteX28" fmla="*/ 5902209 w 12045155"/>
                <a:gd name="connsiteY28" fmla="*/ 249658 h 2112232"/>
                <a:gd name="connsiteX29" fmla="*/ 5182195 w 12045155"/>
                <a:gd name="connsiteY29" fmla="*/ 292664 h 2112232"/>
                <a:gd name="connsiteX30" fmla="*/ 3822487 w 12045155"/>
                <a:gd name="connsiteY30" fmla="*/ 90799 h 2112232"/>
                <a:gd name="connsiteX31" fmla="*/ 2370177 w 12045155"/>
                <a:gd name="connsiteY31" fmla="*/ 156695 h 2112232"/>
                <a:gd name="connsiteX32" fmla="*/ 578745 w 12045155"/>
                <a:gd name="connsiteY32" fmla="*/ 148189 h 2112232"/>
                <a:gd name="connsiteX33" fmla="*/ 38923 w 12045155"/>
                <a:gd name="connsiteY33" fmla="*/ 157240 h 2112232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11438839 w 12045155"/>
                <a:gd name="connsiteY24" fmla="*/ 435586 h 2112232"/>
                <a:gd name="connsiteX25" fmla="*/ 8450223 w 12045155"/>
                <a:gd name="connsiteY25" fmla="*/ 156695 h 2112232"/>
                <a:gd name="connsiteX26" fmla="*/ 7635927 w 12045155"/>
                <a:gd name="connsiteY26" fmla="*/ 105714 h 2112232"/>
                <a:gd name="connsiteX27" fmla="*/ 7049636 w 12045155"/>
                <a:gd name="connsiteY27" fmla="*/ 199189 h 2112232"/>
                <a:gd name="connsiteX28" fmla="*/ 6342549 w 12045155"/>
                <a:gd name="connsiteY28" fmla="*/ 146630 h 2112232"/>
                <a:gd name="connsiteX29" fmla="*/ 5902209 w 12045155"/>
                <a:gd name="connsiteY29" fmla="*/ 249658 h 2112232"/>
                <a:gd name="connsiteX30" fmla="*/ 5182195 w 12045155"/>
                <a:gd name="connsiteY30" fmla="*/ 292664 h 2112232"/>
                <a:gd name="connsiteX31" fmla="*/ 3822487 w 12045155"/>
                <a:gd name="connsiteY31" fmla="*/ 90799 h 2112232"/>
                <a:gd name="connsiteX32" fmla="*/ 2370177 w 12045155"/>
                <a:gd name="connsiteY32" fmla="*/ 156695 h 2112232"/>
                <a:gd name="connsiteX33" fmla="*/ 578745 w 12045155"/>
                <a:gd name="connsiteY33" fmla="*/ 148189 h 2112232"/>
                <a:gd name="connsiteX34" fmla="*/ 38923 w 12045155"/>
                <a:gd name="connsiteY34" fmla="*/ 157240 h 2112232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11438839 w 12045155"/>
                <a:gd name="connsiteY24" fmla="*/ 435586 h 2112232"/>
                <a:gd name="connsiteX25" fmla="*/ 8450223 w 12045155"/>
                <a:gd name="connsiteY25" fmla="*/ 156695 h 2112232"/>
                <a:gd name="connsiteX26" fmla="*/ 7635927 w 12045155"/>
                <a:gd name="connsiteY26" fmla="*/ 105714 h 2112232"/>
                <a:gd name="connsiteX27" fmla="*/ 7049636 w 12045155"/>
                <a:gd name="connsiteY27" fmla="*/ 199189 h 2112232"/>
                <a:gd name="connsiteX28" fmla="*/ 6342549 w 12045155"/>
                <a:gd name="connsiteY28" fmla="*/ 146630 h 2112232"/>
                <a:gd name="connsiteX29" fmla="*/ 5902209 w 12045155"/>
                <a:gd name="connsiteY29" fmla="*/ 249658 h 2112232"/>
                <a:gd name="connsiteX30" fmla="*/ 5182195 w 12045155"/>
                <a:gd name="connsiteY30" fmla="*/ 292664 h 2112232"/>
                <a:gd name="connsiteX31" fmla="*/ 3822487 w 12045155"/>
                <a:gd name="connsiteY31" fmla="*/ 90799 h 2112232"/>
                <a:gd name="connsiteX32" fmla="*/ 2370177 w 12045155"/>
                <a:gd name="connsiteY32" fmla="*/ 156695 h 2112232"/>
                <a:gd name="connsiteX33" fmla="*/ 578745 w 12045155"/>
                <a:gd name="connsiteY33" fmla="*/ 148189 h 2112232"/>
                <a:gd name="connsiteX34" fmla="*/ 38923 w 12045155"/>
                <a:gd name="connsiteY34" fmla="*/ 157240 h 2112232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11438839 w 12045155"/>
                <a:gd name="connsiteY24" fmla="*/ 435586 h 2112232"/>
                <a:gd name="connsiteX25" fmla="*/ 9053022 w 12045155"/>
                <a:gd name="connsiteY25" fmla="*/ 581165 h 2112232"/>
                <a:gd name="connsiteX26" fmla="*/ 8450223 w 12045155"/>
                <a:gd name="connsiteY26" fmla="*/ 156695 h 2112232"/>
                <a:gd name="connsiteX27" fmla="*/ 7635927 w 12045155"/>
                <a:gd name="connsiteY27" fmla="*/ 105714 h 2112232"/>
                <a:gd name="connsiteX28" fmla="*/ 7049636 w 12045155"/>
                <a:gd name="connsiteY28" fmla="*/ 199189 h 2112232"/>
                <a:gd name="connsiteX29" fmla="*/ 6342549 w 12045155"/>
                <a:gd name="connsiteY29" fmla="*/ 146630 h 2112232"/>
                <a:gd name="connsiteX30" fmla="*/ 5902209 w 12045155"/>
                <a:gd name="connsiteY30" fmla="*/ 249658 h 2112232"/>
                <a:gd name="connsiteX31" fmla="*/ 5182195 w 12045155"/>
                <a:gd name="connsiteY31" fmla="*/ 292664 h 2112232"/>
                <a:gd name="connsiteX32" fmla="*/ 3822487 w 12045155"/>
                <a:gd name="connsiteY32" fmla="*/ 90799 h 2112232"/>
                <a:gd name="connsiteX33" fmla="*/ 2370177 w 12045155"/>
                <a:gd name="connsiteY33" fmla="*/ 156695 h 2112232"/>
                <a:gd name="connsiteX34" fmla="*/ 578745 w 12045155"/>
                <a:gd name="connsiteY34" fmla="*/ 148189 h 2112232"/>
                <a:gd name="connsiteX35" fmla="*/ 38923 w 12045155"/>
                <a:gd name="connsiteY35" fmla="*/ 157240 h 2112232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11438839 w 12045155"/>
                <a:gd name="connsiteY24" fmla="*/ 435586 h 2112232"/>
                <a:gd name="connsiteX25" fmla="*/ 9527677 w 12045155"/>
                <a:gd name="connsiteY25" fmla="*/ 1058846 h 2112232"/>
                <a:gd name="connsiteX26" fmla="*/ 9053022 w 12045155"/>
                <a:gd name="connsiteY26" fmla="*/ 581165 h 2112232"/>
                <a:gd name="connsiteX27" fmla="*/ 8450223 w 12045155"/>
                <a:gd name="connsiteY27" fmla="*/ 156695 h 2112232"/>
                <a:gd name="connsiteX28" fmla="*/ 7635927 w 12045155"/>
                <a:gd name="connsiteY28" fmla="*/ 105714 h 2112232"/>
                <a:gd name="connsiteX29" fmla="*/ 7049636 w 12045155"/>
                <a:gd name="connsiteY29" fmla="*/ 199189 h 2112232"/>
                <a:gd name="connsiteX30" fmla="*/ 6342549 w 12045155"/>
                <a:gd name="connsiteY30" fmla="*/ 146630 h 2112232"/>
                <a:gd name="connsiteX31" fmla="*/ 5902209 w 12045155"/>
                <a:gd name="connsiteY31" fmla="*/ 249658 h 2112232"/>
                <a:gd name="connsiteX32" fmla="*/ 5182195 w 12045155"/>
                <a:gd name="connsiteY32" fmla="*/ 292664 h 2112232"/>
                <a:gd name="connsiteX33" fmla="*/ 3822487 w 12045155"/>
                <a:gd name="connsiteY33" fmla="*/ 90799 h 2112232"/>
                <a:gd name="connsiteX34" fmla="*/ 2370177 w 12045155"/>
                <a:gd name="connsiteY34" fmla="*/ 156695 h 2112232"/>
                <a:gd name="connsiteX35" fmla="*/ 578745 w 12045155"/>
                <a:gd name="connsiteY35" fmla="*/ 148189 h 2112232"/>
                <a:gd name="connsiteX36" fmla="*/ 38923 w 12045155"/>
                <a:gd name="connsiteY36" fmla="*/ 157240 h 2112232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11438839 w 12045155"/>
                <a:gd name="connsiteY24" fmla="*/ 435586 h 2112232"/>
                <a:gd name="connsiteX25" fmla="*/ 11059114 w 12045155"/>
                <a:gd name="connsiteY25" fmla="*/ 1047471 h 2112232"/>
                <a:gd name="connsiteX26" fmla="*/ 9527677 w 12045155"/>
                <a:gd name="connsiteY26" fmla="*/ 1058846 h 2112232"/>
                <a:gd name="connsiteX27" fmla="*/ 9053022 w 12045155"/>
                <a:gd name="connsiteY27" fmla="*/ 581165 h 2112232"/>
                <a:gd name="connsiteX28" fmla="*/ 8450223 w 12045155"/>
                <a:gd name="connsiteY28" fmla="*/ 156695 h 2112232"/>
                <a:gd name="connsiteX29" fmla="*/ 7635927 w 12045155"/>
                <a:gd name="connsiteY29" fmla="*/ 105714 h 2112232"/>
                <a:gd name="connsiteX30" fmla="*/ 7049636 w 12045155"/>
                <a:gd name="connsiteY30" fmla="*/ 199189 h 2112232"/>
                <a:gd name="connsiteX31" fmla="*/ 6342549 w 12045155"/>
                <a:gd name="connsiteY31" fmla="*/ 146630 h 2112232"/>
                <a:gd name="connsiteX32" fmla="*/ 5902209 w 12045155"/>
                <a:gd name="connsiteY32" fmla="*/ 249658 h 2112232"/>
                <a:gd name="connsiteX33" fmla="*/ 5182195 w 12045155"/>
                <a:gd name="connsiteY33" fmla="*/ 292664 h 2112232"/>
                <a:gd name="connsiteX34" fmla="*/ 3822487 w 12045155"/>
                <a:gd name="connsiteY34" fmla="*/ 90799 h 2112232"/>
                <a:gd name="connsiteX35" fmla="*/ 2370177 w 12045155"/>
                <a:gd name="connsiteY35" fmla="*/ 156695 h 2112232"/>
                <a:gd name="connsiteX36" fmla="*/ 578745 w 12045155"/>
                <a:gd name="connsiteY36" fmla="*/ 148189 h 2112232"/>
                <a:gd name="connsiteX37" fmla="*/ 38923 w 12045155"/>
                <a:gd name="connsiteY37" fmla="*/ 157240 h 2112232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11438839 w 12045155"/>
                <a:gd name="connsiteY24" fmla="*/ 435586 h 2112232"/>
                <a:gd name="connsiteX25" fmla="*/ 11059114 w 12045155"/>
                <a:gd name="connsiteY25" fmla="*/ 1047471 h 2112232"/>
                <a:gd name="connsiteX26" fmla="*/ 10602369 w 12045155"/>
                <a:gd name="connsiteY26" fmla="*/ 1661632 h 2112232"/>
                <a:gd name="connsiteX27" fmla="*/ 9527677 w 12045155"/>
                <a:gd name="connsiteY27" fmla="*/ 1058846 h 2112232"/>
                <a:gd name="connsiteX28" fmla="*/ 9053022 w 12045155"/>
                <a:gd name="connsiteY28" fmla="*/ 581165 h 2112232"/>
                <a:gd name="connsiteX29" fmla="*/ 8450223 w 12045155"/>
                <a:gd name="connsiteY29" fmla="*/ 156695 h 2112232"/>
                <a:gd name="connsiteX30" fmla="*/ 7635927 w 12045155"/>
                <a:gd name="connsiteY30" fmla="*/ 105714 h 2112232"/>
                <a:gd name="connsiteX31" fmla="*/ 7049636 w 12045155"/>
                <a:gd name="connsiteY31" fmla="*/ 199189 h 2112232"/>
                <a:gd name="connsiteX32" fmla="*/ 6342549 w 12045155"/>
                <a:gd name="connsiteY32" fmla="*/ 146630 h 2112232"/>
                <a:gd name="connsiteX33" fmla="*/ 5902209 w 12045155"/>
                <a:gd name="connsiteY33" fmla="*/ 249658 h 2112232"/>
                <a:gd name="connsiteX34" fmla="*/ 5182195 w 12045155"/>
                <a:gd name="connsiteY34" fmla="*/ 292664 h 2112232"/>
                <a:gd name="connsiteX35" fmla="*/ 3822487 w 12045155"/>
                <a:gd name="connsiteY35" fmla="*/ 90799 h 2112232"/>
                <a:gd name="connsiteX36" fmla="*/ 2370177 w 12045155"/>
                <a:gd name="connsiteY36" fmla="*/ 156695 h 2112232"/>
                <a:gd name="connsiteX37" fmla="*/ 578745 w 12045155"/>
                <a:gd name="connsiteY37" fmla="*/ 148189 h 2112232"/>
                <a:gd name="connsiteX38" fmla="*/ 38923 w 12045155"/>
                <a:gd name="connsiteY38" fmla="*/ 157240 h 2112232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11438839 w 12045155"/>
                <a:gd name="connsiteY24" fmla="*/ 435586 h 2112232"/>
                <a:gd name="connsiteX25" fmla="*/ 11059114 w 12045155"/>
                <a:gd name="connsiteY25" fmla="*/ 1047471 h 2112232"/>
                <a:gd name="connsiteX26" fmla="*/ 10602369 w 12045155"/>
                <a:gd name="connsiteY26" fmla="*/ 1661632 h 2112232"/>
                <a:gd name="connsiteX27" fmla="*/ 9948599 w 12045155"/>
                <a:gd name="connsiteY27" fmla="*/ 1673007 h 2112232"/>
                <a:gd name="connsiteX28" fmla="*/ 9527677 w 12045155"/>
                <a:gd name="connsiteY28" fmla="*/ 1058846 h 2112232"/>
                <a:gd name="connsiteX29" fmla="*/ 9053022 w 12045155"/>
                <a:gd name="connsiteY29" fmla="*/ 581165 h 2112232"/>
                <a:gd name="connsiteX30" fmla="*/ 8450223 w 12045155"/>
                <a:gd name="connsiteY30" fmla="*/ 156695 h 2112232"/>
                <a:gd name="connsiteX31" fmla="*/ 7635927 w 12045155"/>
                <a:gd name="connsiteY31" fmla="*/ 105714 h 2112232"/>
                <a:gd name="connsiteX32" fmla="*/ 7049636 w 12045155"/>
                <a:gd name="connsiteY32" fmla="*/ 199189 h 2112232"/>
                <a:gd name="connsiteX33" fmla="*/ 6342549 w 12045155"/>
                <a:gd name="connsiteY33" fmla="*/ 146630 h 2112232"/>
                <a:gd name="connsiteX34" fmla="*/ 5902209 w 12045155"/>
                <a:gd name="connsiteY34" fmla="*/ 249658 h 2112232"/>
                <a:gd name="connsiteX35" fmla="*/ 5182195 w 12045155"/>
                <a:gd name="connsiteY35" fmla="*/ 292664 h 2112232"/>
                <a:gd name="connsiteX36" fmla="*/ 3822487 w 12045155"/>
                <a:gd name="connsiteY36" fmla="*/ 90799 h 2112232"/>
                <a:gd name="connsiteX37" fmla="*/ 2370177 w 12045155"/>
                <a:gd name="connsiteY37" fmla="*/ 156695 h 2112232"/>
                <a:gd name="connsiteX38" fmla="*/ 578745 w 12045155"/>
                <a:gd name="connsiteY38" fmla="*/ 148189 h 2112232"/>
                <a:gd name="connsiteX39" fmla="*/ 38923 w 12045155"/>
                <a:gd name="connsiteY39" fmla="*/ 157240 h 2112232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11438839 w 12045155"/>
                <a:gd name="connsiteY24" fmla="*/ 435586 h 2112232"/>
                <a:gd name="connsiteX25" fmla="*/ 11059114 w 12045155"/>
                <a:gd name="connsiteY25" fmla="*/ 1047471 h 2112232"/>
                <a:gd name="connsiteX26" fmla="*/ 10602369 w 12045155"/>
                <a:gd name="connsiteY26" fmla="*/ 1661632 h 2112232"/>
                <a:gd name="connsiteX27" fmla="*/ 10034574 w 12045155"/>
                <a:gd name="connsiteY27" fmla="*/ 1618415 h 2112232"/>
                <a:gd name="connsiteX28" fmla="*/ 9527677 w 12045155"/>
                <a:gd name="connsiteY28" fmla="*/ 1058846 h 2112232"/>
                <a:gd name="connsiteX29" fmla="*/ 9053022 w 12045155"/>
                <a:gd name="connsiteY29" fmla="*/ 581165 h 2112232"/>
                <a:gd name="connsiteX30" fmla="*/ 8450223 w 12045155"/>
                <a:gd name="connsiteY30" fmla="*/ 156695 h 2112232"/>
                <a:gd name="connsiteX31" fmla="*/ 7635927 w 12045155"/>
                <a:gd name="connsiteY31" fmla="*/ 105714 h 2112232"/>
                <a:gd name="connsiteX32" fmla="*/ 7049636 w 12045155"/>
                <a:gd name="connsiteY32" fmla="*/ 199189 h 2112232"/>
                <a:gd name="connsiteX33" fmla="*/ 6342549 w 12045155"/>
                <a:gd name="connsiteY33" fmla="*/ 146630 h 2112232"/>
                <a:gd name="connsiteX34" fmla="*/ 5902209 w 12045155"/>
                <a:gd name="connsiteY34" fmla="*/ 249658 h 2112232"/>
                <a:gd name="connsiteX35" fmla="*/ 5182195 w 12045155"/>
                <a:gd name="connsiteY35" fmla="*/ 292664 h 2112232"/>
                <a:gd name="connsiteX36" fmla="*/ 3822487 w 12045155"/>
                <a:gd name="connsiteY36" fmla="*/ 90799 h 2112232"/>
                <a:gd name="connsiteX37" fmla="*/ 2370177 w 12045155"/>
                <a:gd name="connsiteY37" fmla="*/ 156695 h 2112232"/>
                <a:gd name="connsiteX38" fmla="*/ 578745 w 12045155"/>
                <a:gd name="connsiteY38" fmla="*/ 148189 h 2112232"/>
                <a:gd name="connsiteX39" fmla="*/ 38923 w 12045155"/>
                <a:gd name="connsiteY39" fmla="*/ 157240 h 2112232"/>
                <a:gd name="connsiteX0" fmla="*/ 38923 w 12045155"/>
                <a:gd name="connsiteY0" fmla="*/ 157240 h 2159168"/>
                <a:gd name="connsiteX1" fmla="*/ 4765 w 12045155"/>
                <a:gd name="connsiteY1" fmla="*/ 229969 h 2159168"/>
                <a:gd name="connsiteX2" fmla="*/ 16985 w 12045155"/>
                <a:gd name="connsiteY2" fmla="*/ 441204 h 2159168"/>
                <a:gd name="connsiteX3" fmla="*/ 31647 w 12045155"/>
                <a:gd name="connsiteY3" fmla="*/ 700450 h 2159168"/>
                <a:gd name="connsiteX4" fmla="*/ 43864 w 12045155"/>
                <a:gd name="connsiteY4" fmla="*/ 777266 h 2159168"/>
                <a:gd name="connsiteX5" fmla="*/ 80207 w 12045155"/>
                <a:gd name="connsiteY5" fmla="*/ 937416 h 2159168"/>
                <a:gd name="connsiteX6" fmla="*/ 937008 w 12045155"/>
                <a:gd name="connsiteY6" fmla="*/ 844973 h 2159168"/>
                <a:gd name="connsiteX7" fmla="*/ 1631867 w 12045155"/>
                <a:gd name="connsiteY7" fmla="*/ 878961 h 2159168"/>
                <a:gd name="connsiteX8" fmla="*/ 2087877 w 12045155"/>
                <a:gd name="connsiteY8" fmla="*/ 819473 h 2159168"/>
                <a:gd name="connsiteX9" fmla="*/ 2565599 w 12045155"/>
                <a:gd name="connsiteY9" fmla="*/ 819473 h 2159168"/>
                <a:gd name="connsiteX10" fmla="*/ 3336468 w 12045155"/>
                <a:gd name="connsiteY10" fmla="*/ 861967 h 2159168"/>
                <a:gd name="connsiteX11" fmla="*/ 4215904 w 12045155"/>
                <a:gd name="connsiteY11" fmla="*/ 844973 h 2159168"/>
                <a:gd name="connsiteX12" fmla="*/ 4845622 w 12045155"/>
                <a:gd name="connsiteY12" fmla="*/ 853479 h 2159168"/>
                <a:gd name="connsiteX13" fmla="*/ 5681632 w 12045155"/>
                <a:gd name="connsiteY13" fmla="*/ 853479 h 2159168"/>
                <a:gd name="connsiteX14" fmla="*/ 6745645 w 12045155"/>
                <a:gd name="connsiteY14" fmla="*/ 878979 h 2159168"/>
                <a:gd name="connsiteX15" fmla="*/ 7494800 w 12045155"/>
                <a:gd name="connsiteY15" fmla="*/ 870473 h 2159168"/>
                <a:gd name="connsiteX16" fmla="*/ 8026795 w 12045155"/>
                <a:gd name="connsiteY16" fmla="*/ 861967 h 2159168"/>
                <a:gd name="connsiteX17" fmla="*/ 8504518 w 12045155"/>
                <a:gd name="connsiteY17" fmla="*/ 827979 h 2159168"/>
                <a:gd name="connsiteX18" fmla="*/ 9361101 w 12045155"/>
                <a:gd name="connsiteY18" fmla="*/ 2018757 h 2159168"/>
                <a:gd name="connsiteX19" fmla="*/ 10177867 w 12045155"/>
                <a:gd name="connsiteY19" fmla="*/ 2109744 h 2159168"/>
                <a:gd name="connsiteX20" fmla="*/ 10922986 w 12045155"/>
                <a:gd name="connsiteY20" fmla="*/ 1782194 h 2159168"/>
                <a:gd name="connsiteX21" fmla="*/ 11481826 w 12045155"/>
                <a:gd name="connsiteY21" fmla="*/ 1127088 h 2159168"/>
                <a:gd name="connsiteX22" fmla="*/ 12045155 w 12045155"/>
                <a:gd name="connsiteY22" fmla="*/ 699393 h 2159168"/>
                <a:gd name="connsiteX23" fmla="*/ 12045155 w 12045155"/>
                <a:gd name="connsiteY23" fmla="*/ 261011 h 2159168"/>
                <a:gd name="connsiteX24" fmla="*/ 11438839 w 12045155"/>
                <a:gd name="connsiteY24" fmla="*/ 435586 h 2159168"/>
                <a:gd name="connsiteX25" fmla="*/ 11059114 w 12045155"/>
                <a:gd name="connsiteY25" fmla="*/ 1047471 h 2159168"/>
                <a:gd name="connsiteX26" fmla="*/ 10602369 w 12045155"/>
                <a:gd name="connsiteY26" fmla="*/ 1661632 h 2159168"/>
                <a:gd name="connsiteX27" fmla="*/ 10034574 w 12045155"/>
                <a:gd name="connsiteY27" fmla="*/ 1618415 h 2159168"/>
                <a:gd name="connsiteX28" fmla="*/ 9527677 w 12045155"/>
                <a:gd name="connsiteY28" fmla="*/ 1058846 h 2159168"/>
                <a:gd name="connsiteX29" fmla="*/ 9053022 w 12045155"/>
                <a:gd name="connsiteY29" fmla="*/ 581165 h 2159168"/>
                <a:gd name="connsiteX30" fmla="*/ 8450223 w 12045155"/>
                <a:gd name="connsiteY30" fmla="*/ 156695 h 2159168"/>
                <a:gd name="connsiteX31" fmla="*/ 7635927 w 12045155"/>
                <a:gd name="connsiteY31" fmla="*/ 105714 h 2159168"/>
                <a:gd name="connsiteX32" fmla="*/ 7049636 w 12045155"/>
                <a:gd name="connsiteY32" fmla="*/ 199189 h 2159168"/>
                <a:gd name="connsiteX33" fmla="*/ 6342549 w 12045155"/>
                <a:gd name="connsiteY33" fmla="*/ 146630 h 2159168"/>
                <a:gd name="connsiteX34" fmla="*/ 5902209 w 12045155"/>
                <a:gd name="connsiteY34" fmla="*/ 249658 h 2159168"/>
                <a:gd name="connsiteX35" fmla="*/ 5182195 w 12045155"/>
                <a:gd name="connsiteY35" fmla="*/ 292664 h 2159168"/>
                <a:gd name="connsiteX36" fmla="*/ 3822487 w 12045155"/>
                <a:gd name="connsiteY36" fmla="*/ 90799 h 2159168"/>
                <a:gd name="connsiteX37" fmla="*/ 2370177 w 12045155"/>
                <a:gd name="connsiteY37" fmla="*/ 156695 h 2159168"/>
                <a:gd name="connsiteX38" fmla="*/ 578745 w 12045155"/>
                <a:gd name="connsiteY38" fmla="*/ 148189 h 2159168"/>
                <a:gd name="connsiteX39" fmla="*/ 38923 w 12045155"/>
                <a:gd name="connsiteY39" fmla="*/ 157240 h 2159168"/>
                <a:gd name="connsiteX0" fmla="*/ 38923 w 12045155"/>
                <a:gd name="connsiteY0" fmla="*/ 157240 h 2371492"/>
                <a:gd name="connsiteX1" fmla="*/ 4765 w 12045155"/>
                <a:gd name="connsiteY1" fmla="*/ 229969 h 2371492"/>
                <a:gd name="connsiteX2" fmla="*/ 16985 w 12045155"/>
                <a:gd name="connsiteY2" fmla="*/ 441204 h 2371492"/>
                <a:gd name="connsiteX3" fmla="*/ 31647 w 12045155"/>
                <a:gd name="connsiteY3" fmla="*/ 700450 h 2371492"/>
                <a:gd name="connsiteX4" fmla="*/ 43864 w 12045155"/>
                <a:gd name="connsiteY4" fmla="*/ 777266 h 2371492"/>
                <a:gd name="connsiteX5" fmla="*/ 80207 w 12045155"/>
                <a:gd name="connsiteY5" fmla="*/ 937416 h 2371492"/>
                <a:gd name="connsiteX6" fmla="*/ 937008 w 12045155"/>
                <a:gd name="connsiteY6" fmla="*/ 844973 h 2371492"/>
                <a:gd name="connsiteX7" fmla="*/ 1631867 w 12045155"/>
                <a:gd name="connsiteY7" fmla="*/ 878961 h 2371492"/>
                <a:gd name="connsiteX8" fmla="*/ 2087877 w 12045155"/>
                <a:gd name="connsiteY8" fmla="*/ 819473 h 2371492"/>
                <a:gd name="connsiteX9" fmla="*/ 2565599 w 12045155"/>
                <a:gd name="connsiteY9" fmla="*/ 819473 h 2371492"/>
                <a:gd name="connsiteX10" fmla="*/ 3336468 w 12045155"/>
                <a:gd name="connsiteY10" fmla="*/ 861967 h 2371492"/>
                <a:gd name="connsiteX11" fmla="*/ 4215904 w 12045155"/>
                <a:gd name="connsiteY11" fmla="*/ 844973 h 2371492"/>
                <a:gd name="connsiteX12" fmla="*/ 4845622 w 12045155"/>
                <a:gd name="connsiteY12" fmla="*/ 853479 h 2371492"/>
                <a:gd name="connsiteX13" fmla="*/ 5681632 w 12045155"/>
                <a:gd name="connsiteY13" fmla="*/ 853479 h 2371492"/>
                <a:gd name="connsiteX14" fmla="*/ 6745645 w 12045155"/>
                <a:gd name="connsiteY14" fmla="*/ 878979 h 2371492"/>
                <a:gd name="connsiteX15" fmla="*/ 7494800 w 12045155"/>
                <a:gd name="connsiteY15" fmla="*/ 870473 h 2371492"/>
                <a:gd name="connsiteX16" fmla="*/ 8026795 w 12045155"/>
                <a:gd name="connsiteY16" fmla="*/ 861967 h 2371492"/>
                <a:gd name="connsiteX17" fmla="*/ 8504518 w 12045155"/>
                <a:gd name="connsiteY17" fmla="*/ 827979 h 2371492"/>
                <a:gd name="connsiteX18" fmla="*/ 9361101 w 12045155"/>
                <a:gd name="connsiteY18" fmla="*/ 2018757 h 2371492"/>
                <a:gd name="connsiteX19" fmla="*/ 10249513 w 12045155"/>
                <a:gd name="connsiteY19" fmla="*/ 2364507 h 2371492"/>
                <a:gd name="connsiteX20" fmla="*/ 10922986 w 12045155"/>
                <a:gd name="connsiteY20" fmla="*/ 1782194 h 2371492"/>
                <a:gd name="connsiteX21" fmla="*/ 11481826 w 12045155"/>
                <a:gd name="connsiteY21" fmla="*/ 1127088 h 2371492"/>
                <a:gd name="connsiteX22" fmla="*/ 12045155 w 12045155"/>
                <a:gd name="connsiteY22" fmla="*/ 699393 h 2371492"/>
                <a:gd name="connsiteX23" fmla="*/ 12045155 w 12045155"/>
                <a:gd name="connsiteY23" fmla="*/ 261011 h 2371492"/>
                <a:gd name="connsiteX24" fmla="*/ 11438839 w 12045155"/>
                <a:gd name="connsiteY24" fmla="*/ 435586 h 2371492"/>
                <a:gd name="connsiteX25" fmla="*/ 11059114 w 12045155"/>
                <a:gd name="connsiteY25" fmla="*/ 1047471 h 2371492"/>
                <a:gd name="connsiteX26" fmla="*/ 10602369 w 12045155"/>
                <a:gd name="connsiteY26" fmla="*/ 1661632 h 2371492"/>
                <a:gd name="connsiteX27" fmla="*/ 10034574 w 12045155"/>
                <a:gd name="connsiteY27" fmla="*/ 1618415 h 2371492"/>
                <a:gd name="connsiteX28" fmla="*/ 9527677 w 12045155"/>
                <a:gd name="connsiteY28" fmla="*/ 1058846 h 2371492"/>
                <a:gd name="connsiteX29" fmla="*/ 9053022 w 12045155"/>
                <a:gd name="connsiteY29" fmla="*/ 581165 h 2371492"/>
                <a:gd name="connsiteX30" fmla="*/ 8450223 w 12045155"/>
                <a:gd name="connsiteY30" fmla="*/ 156695 h 2371492"/>
                <a:gd name="connsiteX31" fmla="*/ 7635927 w 12045155"/>
                <a:gd name="connsiteY31" fmla="*/ 105714 h 2371492"/>
                <a:gd name="connsiteX32" fmla="*/ 7049636 w 12045155"/>
                <a:gd name="connsiteY32" fmla="*/ 199189 h 2371492"/>
                <a:gd name="connsiteX33" fmla="*/ 6342549 w 12045155"/>
                <a:gd name="connsiteY33" fmla="*/ 146630 h 2371492"/>
                <a:gd name="connsiteX34" fmla="*/ 5902209 w 12045155"/>
                <a:gd name="connsiteY34" fmla="*/ 249658 h 2371492"/>
                <a:gd name="connsiteX35" fmla="*/ 5182195 w 12045155"/>
                <a:gd name="connsiteY35" fmla="*/ 292664 h 2371492"/>
                <a:gd name="connsiteX36" fmla="*/ 3822487 w 12045155"/>
                <a:gd name="connsiteY36" fmla="*/ 90799 h 2371492"/>
                <a:gd name="connsiteX37" fmla="*/ 2370177 w 12045155"/>
                <a:gd name="connsiteY37" fmla="*/ 156695 h 2371492"/>
                <a:gd name="connsiteX38" fmla="*/ 578745 w 12045155"/>
                <a:gd name="connsiteY38" fmla="*/ 148189 h 2371492"/>
                <a:gd name="connsiteX39" fmla="*/ 38923 w 12045155"/>
                <a:gd name="connsiteY39" fmla="*/ 157240 h 2371492"/>
                <a:gd name="connsiteX0" fmla="*/ 38923 w 12045155"/>
                <a:gd name="connsiteY0" fmla="*/ 157240 h 2365078"/>
                <a:gd name="connsiteX1" fmla="*/ 4765 w 12045155"/>
                <a:gd name="connsiteY1" fmla="*/ 229969 h 2365078"/>
                <a:gd name="connsiteX2" fmla="*/ 16985 w 12045155"/>
                <a:gd name="connsiteY2" fmla="*/ 441204 h 2365078"/>
                <a:gd name="connsiteX3" fmla="*/ 31647 w 12045155"/>
                <a:gd name="connsiteY3" fmla="*/ 700450 h 2365078"/>
                <a:gd name="connsiteX4" fmla="*/ 43864 w 12045155"/>
                <a:gd name="connsiteY4" fmla="*/ 777266 h 2365078"/>
                <a:gd name="connsiteX5" fmla="*/ 80207 w 12045155"/>
                <a:gd name="connsiteY5" fmla="*/ 937416 h 2365078"/>
                <a:gd name="connsiteX6" fmla="*/ 937008 w 12045155"/>
                <a:gd name="connsiteY6" fmla="*/ 844973 h 2365078"/>
                <a:gd name="connsiteX7" fmla="*/ 1631867 w 12045155"/>
                <a:gd name="connsiteY7" fmla="*/ 878961 h 2365078"/>
                <a:gd name="connsiteX8" fmla="*/ 2087877 w 12045155"/>
                <a:gd name="connsiteY8" fmla="*/ 819473 h 2365078"/>
                <a:gd name="connsiteX9" fmla="*/ 2565599 w 12045155"/>
                <a:gd name="connsiteY9" fmla="*/ 819473 h 2365078"/>
                <a:gd name="connsiteX10" fmla="*/ 3336468 w 12045155"/>
                <a:gd name="connsiteY10" fmla="*/ 861967 h 2365078"/>
                <a:gd name="connsiteX11" fmla="*/ 4215904 w 12045155"/>
                <a:gd name="connsiteY11" fmla="*/ 844973 h 2365078"/>
                <a:gd name="connsiteX12" fmla="*/ 4845622 w 12045155"/>
                <a:gd name="connsiteY12" fmla="*/ 853479 h 2365078"/>
                <a:gd name="connsiteX13" fmla="*/ 5681632 w 12045155"/>
                <a:gd name="connsiteY13" fmla="*/ 853479 h 2365078"/>
                <a:gd name="connsiteX14" fmla="*/ 6745645 w 12045155"/>
                <a:gd name="connsiteY14" fmla="*/ 878979 h 2365078"/>
                <a:gd name="connsiteX15" fmla="*/ 7494800 w 12045155"/>
                <a:gd name="connsiteY15" fmla="*/ 870473 h 2365078"/>
                <a:gd name="connsiteX16" fmla="*/ 8026795 w 12045155"/>
                <a:gd name="connsiteY16" fmla="*/ 861967 h 2365078"/>
                <a:gd name="connsiteX17" fmla="*/ 8504518 w 12045155"/>
                <a:gd name="connsiteY17" fmla="*/ 827979 h 2365078"/>
                <a:gd name="connsiteX18" fmla="*/ 9361101 w 12045155"/>
                <a:gd name="connsiteY18" fmla="*/ 2018757 h 2365078"/>
                <a:gd name="connsiteX19" fmla="*/ 10249513 w 12045155"/>
                <a:gd name="connsiteY19" fmla="*/ 2364507 h 2365078"/>
                <a:gd name="connsiteX20" fmla="*/ 11123596 w 12045155"/>
                <a:gd name="connsiteY20" fmla="*/ 1964167 h 2365078"/>
                <a:gd name="connsiteX21" fmla="*/ 11481826 w 12045155"/>
                <a:gd name="connsiteY21" fmla="*/ 1127088 h 2365078"/>
                <a:gd name="connsiteX22" fmla="*/ 12045155 w 12045155"/>
                <a:gd name="connsiteY22" fmla="*/ 699393 h 2365078"/>
                <a:gd name="connsiteX23" fmla="*/ 12045155 w 12045155"/>
                <a:gd name="connsiteY23" fmla="*/ 261011 h 2365078"/>
                <a:gd name="connsiteX24" fmla="*/ 11438839 w 12045155"/>
                <a:gd name="connsiteY24" fmla="*/ 435586 h 2365078"/>
                <a:gd name="connsiteX25" fmla="*/ 11059114 w 12045155"/>
                <a:gd name="connsiteY25" fmla="*/ 1047471 h 2365078"/>
                <a:gd name="connsiteX26" fmla="*/ 10602369 w 12045155"/>
                <a:gd name="connsiteY26" fmla="*/ 1661632 h 2365078"/>
                <a:gd name="connsiteX27" fmla="*/ 10034574 w 12045155"/>
                <a:gd name="connsiteY27" fmla="*/ 1618415 h 2365078"/>
                <a:gd name="connsiteX28" fmla="*/ 9527677 w 12045155"/>
                <a:gd name="connsiteY28" fmla="*/ 1058846 h 2365078"/>
                <a:gd name="connsiteX29" fmla="*/ 9053022 w 12045155"/>
                <a:gd name="connsiteY29" fmla="*/ 581165 h 2365078"/>
                <a:gd name="connsiteX30" fmla="*/ 8450223 w 12045155"/>
                <a:gd name="connsiteY30" fmla="*/ 156695 h 2365078"/>
                <a:gd name="connsiteX31" fmla="*/ 7635927 w 12045155"/>
                <a:gd name="connsiteY31" fmla="*/ 105714 h 2365078"/>
                <a:gd name="connsiteX32" fmla="*/ 7049636 w 12045155"/>
                <a:gd name="connsiteY32" fmla="*/ 199189 h 2365078"/>
                <a:gd name="connsiteX33" fmla="*/ 6342549 w 12045155"/>
                <a:gd name="connsiteY33" fmla="*/ 146630 h 2365078"/>
                <a:gd name="connsiteX34" fmla="*/ 5902209 w 12045155"/>
                <a:gd name="connsiteY34" fmla="*/ 249658 h 2365078"/>
                <a:gd name="connsiteX35" fmla="*/ 5182195 w 12045155"/>
                <a:gd name="connsiteY35" fmla="*/ 292664 h 2365078"/>
                <a:gd name="connsiteX36" fmla="*/ 3822487 w 12045155"/>
                <a:gd name="connsiteY36" fmla="*/ 90799 h 2365078"/>
                <a:gd name="connsiteX37" fmla="*/ 2370177 w 12045155"/>
                <a:gd name="connsiteY37" fmla="*/ 156695 h 2365078"/>
                <a:gd name="connsiteX38" fmla="*/ 578745 w 12045155"/>
                <a:gd name="connsiteY38" fmla="*/ 148189 h 2365078"/>
                <a:gd name="connsiteX39" fmla="*/ 38923 w 12045155"/>
                <a:gd name="connsiteY39" fmla="*/ 157240 h 2365078"/>
                <a:gd name="connsiteX0" fmla="*/ 38923 w 12045155"/>
                <a:gd name="connsiteY0" fmla="*/ 157240 h 2365078"/>
                <a:gd name="connsiteX1" fmla="*/ 4765 w 12045155"/>
                <a:gd name="connsiteY1" fmla="*/ 229969 h 2365078"/>
                <a:gd name="connsiteX2" fmla="*/ 16985 w 12045155"/>
                <a:gd name="connsiteY2" fmla="*/ 441204 h 2365078"/>
                <a:gd name="connsiteX3" fmla="*/ 31647 w 12045155"/>
                <a:gd name="connsiteY3" fmla="*/ 700450 h 2365078"/>
                <a:gd name="connsiteX4" fmla="*/ 43864 w 12045155"/>
                <a:gd name="connsiteY4" fmla="*/ 777266 h 2365078"/>
                <a:gd name="connsiteX5" fmla="*/ 80207 w 12045155"/>
                <a:gd name="connsiteY5" fmla="*/ 937416 h 2365078"/>
                <a:gd name="connsiteX6" fmla="*/ 937008 w 12045155"/>
                <a:gd name="connsiteY6" fmla="*/ 844973 h 2365078"/>
                <a:gd name="connsiteX7" fmla="*/ 1631867 w 12045155"/>
                <a:gd name="connsiteY7" fmla="*/ 878961 h 2365078"/>
                <a:gd name="connsiteX8" fmla="*/ 2087877 w 12045155"/>
                <a:gd name="connsiteY8" fmla="*/ 819473 h 2365078"/>
                <a:gd name="connsiteX9" fmla="*/ 2565599 w 12045155"/>
                <a:gd name="connsiteY9" fmla="*/ 819473 h 2365078"/>
                <a:gd name="connsiteX10" fmla="*/ 3336468 w 12045155"/>
                <a:gd name="connsiteY10" fmla="*/ 861967 h 2365078"/>
                <a:gd name="connsiteX11" fmla="*/ 4215904 w 12045155"/>
                <a:gd name="connsiteY11" fmla="*/ 844973 h 2365078"/>
                <a:gd name="connsiteX12" fmla="*/ 4845622 w 12045155"/>
                <a:gd name="connsiteY12" fmla="*/ 853479 h 2365078"/>
                <a:gd name="connsiteX13" fmla="*/ 5681632 w 12045155"/>
                <a:gd name="connsiteY13" fmla="*/ 853479 h 2365078"/>
                <a:gd name="connsiteX14" fmla="*/ 6745645 w 12045155"/>
                <a:gd name="connsiteY14" fmla="*/ 878979 h 2365078"/>
                <a:gd name="connsiteX15" fmla="*/ 7494800 w 12045155"/>
                <a:gd name="connsiteY15" fmla="*/ 870473 h 2365078"/>
                <a:gd name="connsiteX16" fmla="*/ 8026795 w 12045155"/>
                <a:gd name="connsiteY16" fmla="*/ 861967 h 2365078"/>
                <a:gd name="connsiteX17" fmla="*/ 8504518 w 12045155"/>
                <a:gd name="connsiteY17" fmla="*/ 827979 h 2365078"/>
                <a:gd name="connsiteX18" fmla="*/ 9361101 w 12045155"/>
                <a:gd name="connsiteY18" fmla="*/ 2018757 h 2365078"/>
                <a:gd name="connsiteX19" fmla="*/ 10249513 w 12045155"/>
                <a:gd name="connsiteY19" fmla="*/ 2364507 h 2365078"/>
                <a:gd name="connsiteX20" fmla="*/ 11123596 w 12045155"/>
                <a:gd name="connsiteY20" fmla="*/ 1964167 h 2365078"/>
                <a:gd name="connsiteX21" fmla="*/ 11797069 w 12045155"/>
                <a:gd name="connsiteY21" fmla="*/ 999707 h 2365078"/>
                <a:gd name="connsiteX22" fmla="*/ 12045155 w 12045155"/>
                <a:gd name="connsiteY22" fmla="*/ 699393 h 2365078"/>
                <a:gd name="connsiteX23" fmla="*/ 12045155 w 12045155"/>
                <a:gd name="connsiteY23" fmla="*/ 261011 h 2365078"/>
                <a:gd name="connsiteX24" fmla="*/ 11438839 w 12045155"/>
                <a:gd name="connsiteY24" fmla="*/ 435586 h 2365078"/>
                <a:gd name="connsiteX25" fmla="*/ 11059114 w 12045155"/>
                <a:gd name="connsiteY25" fmla="*/ 1047471 h 2365078"/>
                <a:gd name="connsiteX26" fmla="*/ 10602369 w 12045155"/>
                <a:gd name="connsiteY26" fmla="*/ 1661632 h 2365078"/>
                <a:gd name="connsiteX27" fmla="*/ 10034574 w 12045155"/>
                <a:gd name="connsiteY27" fmla="*/ 1618415 h 2365078"/>
                <a:gd name="connsiteX28" fmla="*/ 9527677 w 12045155"/>
                <a:gd name="connsiteY28" fmla="*/ 1058846 h 2365078"/>
                <a:gd name="connsiteX29" fmla="*/ 9053022 w 12045155"/>
                <a:gd name="connsiteY29" fmla="*/ 581165 h 2365078"/>
                <a:gd name="connsiteX30" fmla="*/ 8450223 w 12045155"/>
                <a:gd name="connsiteY30" fmla="*/ 156695 h 2365078"/>
                <a:gd name="connsiteX31" fmla="*/ 7635927 w 12045155"/>
                <a:gd name="connsiteY31" fmla="*/ 105714 h 2365078"/>
                <a:gd name="connsiteX32" fmla="*/ 7049636 w 12045155"/>
                <a:gd name="connsiteY32" fmla="*/ 199189 h 2365078"/>
                <a:gd name="connsiteX33" fmla="*/ 6342549 w 12045155"/>
                <a:gd name="connsiteY33" fmla="*/ 146630 h 2365078"/>
                <a:gd name="connsiteX34" fmla="*/ 5902209 w 12045155"/>
                <a:gd name="connsiteY34" fmla="*/ 249658 h 2365078"/>
                <a:gd name="connsiteX35" fmla="*/ 5182195 w 12045155"/>
                <a:gd name="connsiteY35" fmla="*/ 292664 h 2365078"/>
                <a:gd name="connsiteX36" fmla="*/ 3822487 w 12045155"/>
                <a:gd name="connsiteY36" fmla="*/ 90799 h 2365078"/>
                <a:gd name="connsiteX37" fmla="*/ 2370177 w 12045155"/>
                <a:gd name="connsiteY37" fmla="*/ 156695 h 2365078"/>
                <a:gd name="connsiteX38" fmla="*/ 578745 w 12045155"/>
                <a:gd name="connsiteY38" fmla="*/ 148189 h 2365078"/>
                <a:gd name="connsiteX39" fmla="*/ 38923 w 12045155"/>
                <a:gd name="connsiteY39" fmla="*/ 157240 h 2365078"/>
                <a:gd name="connsiteX0" fmla="*/ 38923 w 12045155"/>
                <a:gd name="connsiteY0" fmla="*/ 157240 h 2365078"/>
                <a:gd name="connsiteX1" fmla="*/ 4765 w 12045155"/>
                <a:gd name="connsiteY1" fmla="*/ 229969 h 2365078"/>
                <a:gd name="connsiteX2" fmla="*/ 16985 w 12045155"/>
                <a:gd name="connsiteY2" fmla="*/ 441204 h 2365078"/>
                <a:gd name="connsiteX3" fmla="*/ 31647 w 12045155"/>
                <a:gd name="connsiteY3" fmla="*/ 700450 h 2365078"/>
                <a:gd name="connsiteX4" fmla="*/ 43864 w 12045155"/>
                <a:gd name="connsiteY4" fmla="*/ 777266 h 2365078"/>
                <a:gd name="connsiteX5" fmla="*/ 80207 w 12045155"/>
                <a:gd name="connsiteY5" fmla="*/ 937416 h 2365078"/>
                <a:gd name="connsiteX6" fmla="*/ 937008 w 12045155"/>
                <a:gd name="connsiteY6" fmla="*/ 844973 h 2365078"/>
                <a:gd name="connsiteX7" fmla="*/ 1631867 w 12045155"/>
                <a:gd name="connsiteY7" fmla="*/ 878961 h 2365078"/>
                <a:gd name="connsiteX8" fmla="*/ 2087877 w 12045155"/>
                <a:gd name="connsiteY8" fmla="*/ 819473 h 2365078"/>
                <a:gd name="connsiteX9" fmla="*/ 2565599 w 12045155"/>
                <a:gd name="connsiteY9" fmla="*/ 819473 h 2365078"/>
                <a:gd name="connsiteX10" fmla="*/ 3336468 w 12045155"/>
                <a:gd name="connsiteY10" fmla="*/ 861967 h 2365078"/>
                <a:gd name="connsiteX11" fmla="*/ 4215904 w 12045155"/>
                <a:gd name="connsiteY11" fmla="*/ 844973 h 2365078"/>
                <a:gd name="connsiteX12" fmla="*/ 4845622 w 12045155"/>
                <a:gd name="connsiteY12" fmla="*/ 853479 h 2365078"/>
                <a:gd name="connsiteX13" fmla="*/ 5681632 w 12045155"/>
                <a:gd name="connsiteY13" fmla="*/ 853479 h 2365078"/>
                <a:gd name="connsiteX14" fmla="*/ 6745645 w 12045155"/>
                <a:gd name="connsiteY14" fmla="*/ 878979 h 2365078"/>
                <a:gd name="connsiteX15" fmla="*/ 7494800 w 12045155"/>
                <a:gd name="connsiteY15" fmla="*/ 870473 h 2365078"/>
                <a:gd name="connsiteX16" fmla="*/ 8026795 w 12045155"/>
                <a:gd name="connsiteY16" fmla="*/ 861967 h 2365078"/>
                <a:gd name="connsiteX17" fmla="*/ 8504518 w 12045155"/>
                <a:gd name="connsiteY17" fmla="*/ 827979 h 2365078"/>
                <a:gd name="connsiteX18" fmla="*/ 9361101 w 12045155"/>
                <a:gd name="connsiteY18" fmla="*/ 2018757 h 2365078"/>
                <a:gd name="connsiteX19" fmla="*/ 10249513 w 12045155"/>
                <a:gd name="connsiteY19" fmla="*/ 2364507 h 2365078"/>
                <a:gd name="connsiteX20" fmla="*/ 11123596 w 12045155"/>
                <a:gd name="connsiteY20" fmla="*/ 1964167 h 2365078"/>
                <a:gd name="connsiteX21" fmla="*/ 11266888 w 12045155"/>
                <a:gd name="connsiteY21" fmla="*/ 1582018 h 2365078"/>
                <a:gd name="connsiteX22" fmla="*/ 11797069 w 12045155"/>
                <a:gd name="connsiteY22" fmla="*/ 999707 h 2365078"/>
                <a:gd name="connsiteX23" fmla="*/ 12045155 w 12045155"/>
                <a:gd name="connsiteY23" fmla="*/ 699393 h 2365078"/>
                <a:gd name="connsiteX24" fmla="*/ 12045155 w 12045155"/>
                <a:gd name="connsiteY24" fmla="*/ 261011 h 2365078"/>
                <a:gd name="connsiteX25" fmla="*/ 11438839 w 12045155"/>
                <a:gd name="connsiteY25" fmla="*/ 435586 h 2365078"/>
                <a:gd name="connsiteX26" fmla="*/ 11059114 w 12045155"/>
                <a:gd name="connsiteY26" fmla="*/ 1047471 h 2365078"/>
                <a:gd name="connsiteX27" fmla="*/ 10602369 w 12045155"/>
                <a:gd name="connsiteY27" fmla="*/ 1661632 h 2365078"/>
                <a:gd name="connsiteX28" fmla="*/ 10034574 w 12045155"/>
                <a:gd name="connsiteY28" fmla="*/ 1618415 h 2365078"/>
                <a:gd name="connsiteX29" fmla="*/ 9527677 w 12045155"/>
                <a:gd name="connsiteY29" fmla="*/ 1058846 h 2365078"/>
                <a:gd name="connsiteX30" fmla="*/ 9053022 w 12045155"/>
                <a:gd name="connsiteY30" fmla="*/ 581165 h 2365078"/>
                <a:gd name="connsiteX31" fmla="*/ 8450223 w 12045155"/>
                <a:gd name="connsiteY31" fmla="*/ 156695 h 2365078"/>
                <a:gd name="connsiteX32" fmla="*/ 7635927 w 12045155"/>
                <a:gd name="connsiteY32" fmla="*/ 105714 h 2365078"/>
                <a:gd name="connsiteX33" fmla="*/ 7049636 w 12045155"/>
                <a:gd name="connsiteY33" fmla="*/ 199189 h 2365078"/>
                <a:gd name="connsiteX34" fmla="*/ 6342549 w 12045155"/>
                <a:gd name="connsiteY34" fmla="*/ 146630 h 2365078"/>
                <a:gd name="connsiteX35" fmla="*/ 5902209 w 12045155"/>
                <a:gd name="connsiteY35" fmla="*/ 249658 h 2365078"/>
                <a:gd name="connsiteX36" fmla="*/ 5182195 w 12045155"/>
                <a:gd name="connsiteY36" fmla="*/ 292664 h 2365078"/>
                <a:gd name="connsiteX37" fmla="*/ 3822487 w 12045155"/>
                <a:gd name="connsiteY37" fmla="*/ 90799 h 2365078"/>
                <a:gd name="connsiteX38" fmla="*/ 2370177 w 12045155"/>
                <a:gd name="connsiteY38" fmla="*/ 156695 h 2365078"/>
                <a:gd name="connsiteX39" fmla="*/ 578745 w 12045155"/>
                <a:gd name="connsiteY39" fmla="*/ 148189 h 2365078"/>
                <a:gd name="connsiteX40" fmla="*/ 38923 w 12045155"/>
                <a:gd name="connsiteY40" fmla="*/ 157240 h 2365078"/>
                <a:gd name="connsiteX0" fmla="*/ 38923 w 12045155"/>
                <a:gd name="connsiteY0" fmla="*/ 157240 h 2365078"/>
                <a:gd name="connsiteX1" fmla="*/ 4765 w 12045155"/>
                <a:gd name="connsiteY1" fmla="*/ 229969 h 2365078"/>
                <a:gd name="connsiteX2" fmla="*/ 16985 w 12045155"/>
                <a:gd name="connsiteY2" fmla="*/ 441204 h 2365078"/>
                <a:gd name="connsiteX3" fmla="*/ 31647 w 12045155"/>
                <a:gd name="connsiteY3" fmla="*/ 700450 h 2365078"/>
                <a:gd name="connsiteX4" fmla="*/ 43864 w 12045155"/>
                <a:gd name="connsiteY4" fmla="*/ 777266 h 2365078"/>
                <a:gd name="connsiteX5" fmla="*/ 80207 w 12045155"/>
                <a:gd name="connsiteY5" fmla="*/ 937416 h 2365078"/>
                <a:gd name="connsiteX6" fmla="*/ 937008 w 12045155"/>
                <a:gd name="connsiteY6" fmla="*/ 844973 h 2365078"/>
                <a:gd name="connsiteX7" fmla="*/ 1631867 w 12045155"/>
                <a:gd name="connsiteY7" fmla="*/ 878961 h 2365078"/>
                <a:gd name="connsiteX8" fmla="*/ 2087877 w 12045155"/>
                <a:gd name="connsiteY8" fmla="*/ 819473 h 2365078"/>
                <a:gd name="connsiteX9" fmla="*/ 2565599 w 12045155"/>
                <a:gd name="connsiteY9" fmla="*/ 819473 h 2365078"/>
                <a:gd name="connsiteX10" fmla="*/ 3336468 w 12045155"/>
                <a:gd name="connsiteY10" fmla="*/ 861967 h 2365078"/>
                <a:gd name="connsiteX11" fmla="*/ 4215904 w 12045155"/>
                <a:gd name="connsiteY11" fmla="*/ 844973 h 2365078"/>
                <a:gd name="connsiteX12" fmla="*/ 4845622 w 12045155"/>
                <a:gd name="connsiteY12" fmla="*/ 853479 h 2365078"/>
                <a:gd name="connsiteX13" fmla="*/ 5681632 w 12045155"/>
                <a:gd name="connsiteY13" fmla="*/ 853479 h 2365078"/>
                <a:gd name="connsiteX14" fmla="*/ 6745645 w 12045155"/>
                <a:gd name="connsiteY14" fmla="*/ 878979 h 2365078"/>
                <a:gd name="connsiteX15" fmla="*/ 7494800 w 12045155"/>
                <a:gd name="connsiteY15" fmla="*/ 870473 h 2365078"/>
                <a:gd name="connsiteX16" fmla="*/ 8026795 w 12045155"/>
                <a:gd name="connsiteY16" fmla="*/ 861967 h 2365078"/>
                <a:gd name="connsiteX17" fmla="*/ 8504518 w 12045155"/>
                <a:gd name="connsiteY17" fmla="*/ 827979 h 2365078"/>
                <a:gd name="connsiteX18" fmla="*/ 9361101 w 12045155"/>
                <a:gd name="connsiteY18" fmla="*/ 2018757 h 2365078"/>
                <a:gd name="connsiteX19" fmla="*/ 10249513 w 12045155"/>
                <a:gd name="connsiteY19" fmla="*/ 2364507 h 2365078"/>
                <a:gd name="connsiteX20" fmla="*/ 11123596 w 12045155"/>
                <a:gd name="connsiteY20" fmla="*/ 1964167 h 2365078"/>
                <a:gd name="connsiteX21" fmla="*/ 11309876 w 12045155"/>
                <a:gd name="connsiteY21" fmla="*/ 1618413 h 2365078"/>
                <a:gd name="connsiteX22" fmla="*/ 11797069 w 12045155"/>
                <a:gd name="connsiteY22" fmla="*/ 999707 h 2365078"/>
                <a:gd name="connsiteX23" fmla="*/ 12045155 w 12045155"/>
                <a:gd name="connsiteY23" fmla="*/ 699393 h 2365078"/>
                <a:gd name="connsiteX24" fmla="*/ 12045155 w 12045155"/>
                <a:gd name="connsiteY24" fmla="*/ 261011 h 2365078"/>
                <a:gd name="connsiteX25" fmla="*/ 11438839 w 12045155"/>
                <a:gd name="connsiteY25" fmla="*/ 435586 h 2365078"/>
                <a:gd name="connsiteX26" fmla="*/ 11059114 w 12045155"/>
                <a:gd name="connsiteY26" fmla="*/ 1047471 h 2365078"/>
                <a:gd name="connsiteX27" fmla="*/ 10602369 w 12045155"/>
                <a:gd name="connsiteY27" fmla="*/ 1661632 h 2365078"/>
                <a:gd name="connsiteX28" fmla="*/ 10034574 w 12045155"/>
                <a:gd name="connsiteY28" fmla="*/ 1618415 h 2365078"/>
                <a:gd name="connsiteX29" fmla="*/ 9527677 w 12045155"/>
                <a:gd name="connsiteY29" fmla="*/ 1058846 h 2365078"/>
                <a:gd name="connsiteX30" fmla="*/ 9053022 w 12045155"/>
                <a:gd name="connsiteY30" fmla="*/ 581165 h 2365078"/>
                <a:gd name="connsiteX31" fmla="*/ 8450223 w 12045155"/>
                <a:gd name="connsiteY31" fmla="*/ 156695 h 2365078"/>
                <a:gd name="connsiteX32" fmla="*/ 7635927 w 12045155"/>
                <a:gd name="connsiteY32" fmla="*/ 105714 h 2365078"/>
                <a:gd name="connsiteX33" fmla="*/ 7049636 w 12045155"/>
                <a:gd name="connsiteY33" fmla="*/ 199189 h 2365078"/>
                <a:gd name="connsiteX34" fmla="*/ 6342549 w 12045155"/>
                <a:gd name="connsiteY34" fmla="*/ 146630 h 2365078"/>
                <a:gd name="connsiteX35" fmla="*/ 5902209 w 12045155"/>
                <a:gd name="connsiteY35" fmla="*/ 249658 h 2365078"/>
                <a:gd name="connsiteX36" fmla="*/ 5182195 w 12045155"/>
                <a:gd name="connsiteY36" fmla="*/ 292664 h 2365078"/>
                <a:gd name="connsiteX37" fmla="*/ 3822487 w 12045155"/>
                <a:gd name="connsiteY37" fmla="*/ 90799 h 2365078"/>
                <a:gd name="connsiteX38" fmla="*/ 2370177 w 12045155"/>
                <a:gd name="connsiteY38" fmla="*/ 156695 h 2365078"/>
                <a:gd name="connsiteX39" fmla="*/ 578745 w 12045155"/>
                <a:gd name="connsiteY39" fmla="*/ 148189 h 2365078"/>
                <a:gd name="connsiteX40" fmla="*/ 38923 w 12045155"/>
                <a:gd name="connsiteY40" fmla="*/ 157240 h 2365078"/>
                <a:gd name="connsiteX0" fmla="*/ 38923 w 12045155"/>
                <a:gd name="connsiteY0" fmla="*/ 157240 h 2365066"/>
                <a:gd name="connsiteX1" fmla="*/ 4765 w 12045155"/>
                <a:gd name="connsiteY1" fmla="*/ 229969 h 2365066"/>
                <a:gd name="connsiteX2" fmla="*/ 16985 w 12045155"/>
                <a:gd name="connsiteY2" fmla="*/ 441204 h 2365066"/>
                <a:gd name="connsiteX3" fmla="*/ 31647 w 12045155"/>
                <a:gd name="connsiteY3" fmla="*/ 700450 h 2365066"/>
                <a:gd name="connsiteX4" fmla="*/ 43864 w 12045155"/>
                <a:gd name="connsiteY4" fmla="*/ 777266 h 2365066"/>
                <a:gd name="connsiteX5" fmla="*/ 80207 w 12045155"/>
                <a:gd name="connsiteY5" fmla="*/ 937416 h 2365066"/>
                <a:gd name="connsiteX6" fmla="*/ 937008 w 12045155"/>
                <a:gd name="connsiteY6" fmla="*/ 844973 h 2365066"/>
                <a:gd name="connsiteX7" fmla="*/ 1631867 w 12045155"/>
                <a:gd name="connsiteY7" fmla="*/ 878961 h 2365066"/>
                <a:gd name="connsiteX8" fmla="*/ 2087877 w 12045155"/>
                <a:gd name="connsiteY8" fmla="*/ 819473 h 2365066"/>
                <a:gd name="connsiteX9" fmla="*/ 2565599 w 12045155"/>
                <a:gd name="connsiteY9" fmla="*/ 819473 h 2365066"/>
                <a:gd name="connsiteX10" fmla="*/ 3336468 w 12045155"/>
                <a:gd name="connsiteY10" fmla="*/ 861967 h 2365066"/>
                <a:gd name="connsiteX11" fmla="*/ 4215904 w 12045155"/>
                <a:gd name="connsiteY11" fmla="*/ 844973 h 2365066"/>
                <a:gd name="connsiteX12" fmla="*/ 4845622 w 12045155"/>
                <a:gd name="connsiteY12" fmla="*/ 853479 h 2365066"/>
                <a:gd name="connsiteX13" fmla="*/ 5681632 w 12045155"/>
                <a:gd name="connsiteY13" fmla="*/ 853479 h 2365066"/>
                <a:gd name="connsiteX14" fmla="*/ 6745645 w 12045155"/>
                <a:gd name="connsiteY14" fmla="*/ 878979 h 2365066"/>
                <a:gd name="connsiteX15" fmla="*/ 7494800 w 12045155"/>
                <a:gd name="connsiteY15" fmla="*/ 870473 h 2365066"/>
                <a:gd name="connsiteX16" fmla="*/ 8026795 w 12045155"/>
                <a:gd name="connsiteY16" fmla="*/ 861967 h 2365066"/>
                <a:gd name="connsiteX17" fmla="*/ 8504518 w 12045155"/>
                <a:gd name="connsiteY17" fmla="*/ 827979 h 2365066"/>
                <a:gd name="connsiteX18" fmla="*/ 9361101 w 12045155"/>
                <a:gd name="connsiteY18" fmla="*/ 2018757 h 2365066"/>
                <a:gd name="connsiteX19" fmla="*/ 10249513 w 12045155"/>
                <a:gd name="connsiteY19" fmla="*/ 2364507 h 2365066"/>
                <a:gd name="connsiteX20" fmla="*/ 11195242 w 12045155"/>
                <a:gd name="connsiteY20" fmla="*/ 2091549 h 2365066"/>
                <a:gd name="connsiteX21" fmla="*/ 11309876 w 12045155"/>
                <a:gd name="connsiteY21" fmla="*/ 1618413 h 2365066"/>
                <a:gd name="connsiteX22" fmla="*/ 11797069 w 12045155"/>
                <a:gd name="connsiteY22" fmla="*/ 999707 h 2365066"/>
                <a:gd name="connsiteX23" fmla="*/ 12045155 w 12045155"/>
                <a:gd name="connsiteY23" fmla="*/ 699393 h 2365066"/>
                <a:gd name="connsiteX24" fmla="*/ 12045155 w 12045155"/>
                <a:gd name="connsiteY24" fmla="*/ 261011 h 2365066"/>
                <a:gd name="connsiteX25" fmla="*/ 11438839 w 12045155"/>
                <a:gd name="connsiteY25" fmla="*/ 435586 h 2365066"/>
                <a:gd name="connsiteX26" fmla="*/ 11059114 w 12045155"/>
                <a:gd name="connsiteY26" fmla="*/ 1047471 h 2365066"/>
                <a:gd name="connsiteX27" fmla="*/ 10602369 w 12045155"/>
                <a:gd name="connsiteY27" fmla="*/ 1661632 h 2365066"/>
                <a:gd name="connsiteX28" fmla="*/ 10034574 w 12045155"/>
                <a:gd name="connsiteY28" fmla="*/ 1618415 h 2365066"/>
                <a:gd name="connsiteX29" fmla="*/ 9527677 w 12045155"/>
                <a:gd name="connsiteY29" fmla="*/ 1058846 h 2365066"/>
                <a:gd name="connsiteX30" fmla="*/ 9053022 w 12045155"/>
                <a:gd name="connsiteY30" fmla="*/ 581165 h 2365066"/>
                <a:gd name="connsiteX31" fmla="*/ 8450223 w 12045155"/>
                <a:gd name="connsiteY31" fmla="*/ 156695 h 2365066"/>
                <a:gd name="connsiteX32" fmla="*/ 7635927 w 12045155"/>
                <a:gd name="connsiteY32" fmla="*/ 105714 h 2365066"/>
                <a:gd name="connsiteX33" fmla="*/ 7049636 w 12045155"/>
                <a:gd name="connsiteY33" fmla="*/ 199189 h 2365066"/>
                <a:gd name="connsiteX34" fmla="*/ 6342549 w 12045155"/>
                <a:gd name="connsiteY34" fmla="*/ 146630 h 2365066"/>
                <a:gd name="connsiteX35" fmla="*/ 5902209 w 12045155"/>
                <a:gd name="connsiteY35" fmla="*/ 249658 h 2365066"/>
                <a:gd name="connsiteX36" fmla="*/ 5182195 w 12045155"/>
                <a:gd name="connsiteY36" fmla="*/ 292664 h 2365066"/>
                <a:gd name="connsiteX37" fmla="*/ 3822487 w 12045155"/>
                <a:gd name="connsiteY37" fmla="*/ 90799 h 2365066"/>
                <a:gd name="connsiteX38" fmla="*/ 2370177 w 12045155"/>
                <a:gd name="connsiteY38" fmla="*/ 156695 h 2365066"/>
                <a:gd name="connsiteX39" fmla="*/ 578745 w 12045155"/>
                <a:gd name="connsiteY39" fmla="*/ 148189 h 2365066"/>
                <a:gd name="connsiteX40" fmla="*/ 38923 w 12045155"/>
                <a:gd name="connsiteY40" fmla="*/ 157240 h 2365066"/>
                <a:gd name="connsiteX0" fmla="*/ 38923 w 12045155"/>
                <a:gd name="connsiteY0" fmla="*/ 157240 h 2510409"/>
                <a:gd name="connsiteX1" fmla="*/ 4765 w 12045155"/>
                <a:gd name="connsiteY1" fmla="*/ 229969 h 2510409"/>
                <a:gd name="connsiteX2" fmla="*/ 16985 w 12045155"/>
                <a:gd name="connsiteY2" fmla="*/ 441204 h 2510409"/>
                <a:gd name="connsiteX3" fmla="*/ 31647 w 12045155"/>
                <a:gd name="connsiteY3" fmla="*/ 700450 h 2510409"/>
                <a:gd name="connsiteX4" fmla="*/ 43864 w 12045155"/>
                <a:gd name="connsiteY4" fmla="*/ 777266 h 2510409"/>
                <a:gd name="connsiteX5" fmla="*/ 80207 w 12045155"/>
                <a:gd name="connsiteY5" fmla="*/ 937416 h 2510409"/>
                <a:gd name="connsiteX6" fmla="*/ 937008 w 12045155"/>
                <a:gd name="connsiteY6" fmla="*/ 844973 h 2510409"/>
                <a:gd name="connsiteX7" fmla="*/ 1631867 w 12045155"/>
                <a:gd name="connsiteY7" fmla="*/ 878961 h 2510409"/>
                <a:gd name="connsiteX8" fmla="*/ 2087877 w 12045155"/>
                <a:gd name="connsiteY8" fmla="*/ 819473 h 2510409"/>
                <a:gd name="connsiteX9" fmla="*/ 2565599 w 12045155"/>
                <a:gd name="connsiteY9" fmla="*/ 819473 h 2510409"/>
                <a:gd name="connsiteX10" fmla="*/ 3336468 w 12045155"/>
                <a:gd name="connsiteY10" fmla="*/ 861967 h 2510409"/>
                <a:gd name="connsiteX11" fmla="*/ 4215904 w 12045155"/>
                <a:gd name="connsiteY11" fmla="*/ 844973 h 2510409"/>
                <a:gd name="connsiteX12" fmla="*/ 4845622 w 12045155"/>
                <a:gd name="connsiteY12" fmla="*/ 853479 h 2510409"/>
                <a:gd name="connsiteX13" fmla="*/ 5681632 w 12045155"/>
                <a:gd name="connsiteY13" fmla="*/ 853479 h 2510409"/>
                <a:gd name="connsiteX14" fmla="*/ 6745645 w 12045155"/>
                <a:gd name="connsiteY14" fmla="*/ 878979 h 2510409"/>
                <a:gd name="connsiteX15" fmla="*/ 7494800 w 12045155"/>
                <a:gd name="connsiteY15" fmla="*/ 870473 h 2510409"/>
                <a:gd name="connsiteX16" fmla="*/ 8026795 w 12045155"/>
                <a:gd name="connsiteY16" fmla="*/ 861967 h 2510409"/>
                <a:gd name="connsiteX17" fmla="*/ 8504518 w 12045155"/>
                <a:gd name="connsiteY17" fmla="*/ 827979 h 2510409"/>
                <a:gd name="connsiteX18" fmla="*/ 9361101 w 12045155"/>
                <a:gd name="connsiteY18" fmla="*/ 2018757 h 2510409"/>
                <a:gd name="connsiteX19" fmla="*/ 10149208 w 12045155"/>
                <a:gd name="connsiteY19" fmla="*/ 2510086 h 2510409"/>
                <a:gd name="connsiteX20" fmla="*/ 11195242 w 12045155"/>
                <a:gd name="connsiteY20" fmla="*/ 2091549 h 2510409"/>
                <a:gd name="connsiteX21" fmla="*/ 11309876 w 12045155"/>
                <a:gd name="connsiteY21" fmla="*/ 1618413 h 2510409"/>
                <a:gd name="connsiteX22" fmla="*/ 11797069 w 12045155"/>
                <a:gd name="connsiteY22" fmla="*/ 999707 h 2510409"/>
                <a:gd name="connsiteX23" fmla="*/ 12045155 w 12045155"/>
                <a:gd name="connsiteY23" fmla="*/ 699393 h 2510409"/>
                <a:gd name="connsiteX24" fmla="*/ 12045155 w 12045155"/>
                <a:gd name="connsiteY24" fmla="*/ 261011 h 2510409"/>
                <a:gd name="connsiteX25" fmla="*/ 11438839 w 12045155"/>
                <a:gd name="connsiteY25" fmla="*/ 435586 h 2510409"/>
                <a:gd name="connsiteX26" fmla="*/ 11059114 w 12045155"/>
                <a:gd name="connsiteY26" fmla="*/ 1047471 h 2510409"/>
                <a:gd name="connsiteX27" fmla="*/ 10602369 w 12045155"/>
                <a:gd name="connsiteY27" fmla="*/ 1661632 h 2510409"/>
                <a:gd name="connsiteX28" fmla="*/ 10034574 w 12045155"/>
                <a:gd name="connsiteY28" fmla="*/ 1618415 h 2510409"/>
                <a:gd name="connsiteX29" fmla="*/ 9527677 w 12045155"/>
                <a:gd name="connsiteY29" fmla="*/ 1058846 h 2510409"/>
                <a:gd name="connsiteX30" fmla="*/ 9053022 w 12045155"/>
                <a:gd name="connsiteY30" fmla="*/ 581165 h 2510409"/>
                <a:gd name="connsiteX31" fmla="*/ 8450223 w 12045155"/>
                <a:gd name="connsiteY31" fmla="*/ 156695 h 2510409"/>
                <a:gd name="connsiteX32" fmla="*/ 7635927 w 12045155"/>
                <a:gd name="connsiteY32" fmla="*/ 105714 h 2510409"/>
                <a:gd name="connsiteX33" fmla="*/ 7049636 w 12045155"/>
                <a:gd name="connsiteY33" fmla="*/ 199189 h 2510409"/>
                <a:gd name="connsiteX34" fmla="*/ 6342549 w 12045155"/>
                <a:gd name="connsiteY34" fmla="*/ 146630 h 2510409"/>
                <a:gd name="connsiteX35" fmla="*/ 5902209 w 12045155"/>
                <a:gd name="connsiteY35" fmla="*/ 249658 h 2510409"/>
                <a:gd name="connsiteX36" fmla="*/ 5182195 w 12045155"/>
                <a:gd name="connsiteY36" fmla="*/ 292664 h 2510409"/>
                <a:gd name="connsiteX37" fmla="*/ 3822487 w 12045155"/>
                <a:gd name="connsiteY37" fmla="*/ 90799 h 2510409"/>
                <a:gd name="connsiteX38" fmla="*/ 2370177 w 12045155"/>
                <a:gd name="connsiteY38" fmla="*/ 156695 h 2510409"/>
                <a:gd name="connsiteX39" fmla="*/ 578745 w 12045155"/>
                <a:gd name="connsiteY39" fmla="*/ 148189 h 2510409"/>
                <a:gd name="connsiteX40" fmla="*/ 38923 w 12045155"/>
                <a:gd name="connsiteY40" fmla="*/ 157240 h 2510409"/>
                <a:gd name="connsiteX0" fmla="*/ 38923 w 12045155"/>
                <a:gd name="connsiteY0" fmla="*/ 157240 h 2510087"/>
                <a:gd name="connsiteX1" fmla="*/ 4765 w 12045155"/>
                <a:gd name="connsiteY1" fmla="*/ 229969 h 2510087"/>
                <a:gd name="connsiteX2" fmla="*/ 16985 w 12045155"/>
                <a:gd name="connsiteY2" fmla="*/ 441204 h 2510087"/>
                <a:gd name="connsiteX3" fmla="*/ 31647 w 12045155"/>
                <a:gd name="connsiteY3" fmla="*/ 700450 h 2510087"/>
                <a:gd name="connsiteX4" fmla="*/ 43864 w 12045155"/>
                <a:gd name="connsiteY4" fmla="*/ 777266 h 2510087"/>
                <a:gd name="connsiteX5" fmla="*/ 80207 w 12045155"/>
                <a:gd name="connsiteY5" fmla="*/ 937416 h 2510087"/>
                <a:gd name="connsiteX6" fmla="*/ 937008 w 12045155"/>
                <a:gd name="connsiteY6" fmla="*/ 844973 h 2510087"/>
                <a:gd name="connsiteX7" fmla="*/ 1631867 w 12045155"/>
                <a:gd name="connsiteY7" fmla="*/ 878961 h 2510087"/>
                <a:gd name="connsiteX8" fmla="*/ 2087877 w 12045155"/>
                <a:gd name="connsiteY8" fmla="*/ 819473 h 2510087"/>
                <a:gd name="connsiteX9" fmla="*/ 2565599 w 12045155"/>
                <a:gd name="connsiteY9" fmla="*/ 819473 h 2510087"/>
                <a:gd name="connsiteX10" fmla="*/ 3336468 w 12045155"/>
                <a:gd name="connsiteY10" fmla="*/ 861967 h 2510087"/>
                <a:gd name="connsiteX11" fmla="*/ 4215904 w 12045155"/>
                <a:gd name="connsiteY11" fmla="*/ 844973 h 2510087"/>
                <a:gd name="connsiteX12" fmla="*/ 4845622 w 12045155"/>
                <a:gd name="connsiteY12" fmla="*/ 853479 h 2510087"/>
                <a:gd name="connsiteX13" fmla="*/ 5681632 w 12045155"/>
                <a:gd name="connsiteY13" fmla="*/ 853479 h 2510087"/>
                <a:gd name="connsiteX14" fmla="*/ 6745645 w 12045155"/>
                <a:gd name="connsiteY14" fmla="*/ 878979 h 2510087"/>
                <a:gd name="connsiteX15" fmla="*/ 7494800 w 12045155"/>
                <a:gd name="connsiteY15" fmla="*/ 870473 h 2510087"/>
                <a:gd name="connsiteX16" fmla="*/ 8026795 w 12045155"/>
                <a:gd name="connsiteY16" fmla="*/ 861967 h 2510087"/>
                <a:gd name="connsiteX17" fmla="*/ 8504518 w 12045155"/>
                <a:gd name="connsiteY17" fmla="*/ 827979 h 2510087"/>
                <a:gd name="connsiteX18" fmla="*/ 9217808 w 12045155"/>
                <a:gd name="connsiteY18" fmla="*/ 2091547 h 2510087"/>
                <a:gd name="connsiteX19" fmla="*/ 10149208 w 12045155"/>
                <a:gd name="connsiteY19" fmla="*/ 2510086 h 2510087"/>
                <a:gd name="connsiteX20" fmla="*/ 11195242 w 12045155"/>
                <a:gd name="connsiteY20" fmla="*/ 2091549 h 2510087"/>
                <a:gd name="connsiteX21" fmla="*/ 11309876 w 12045155"/>
                <a:gd name="connsiteY21" fmla="*/ 1618413 h 2510087"/>
                <a:gd name="connsiteX22" fmla="*/ 11797069 w 12045155"/>
                <a:gd name="connsiteY22" fmla="*/ 999707 h 2510087"/>
                <a:gd name="connsiteX23" fmla="*/ 12045155 w 12045155"/>
                <a:gd name="connsiteY23" fmla="*/ 699393 h 2510087"/>
                <a:gd name="connsiteX24" fmla="*/ 12045155 w 12045155"/>
                <a:gd name="connsiteY24" fmla="*/ 261011 h 2510087"/>
                <a:gd name="connsiteX25" fmla="*/ 11438839 w 12045155"/>
                <a:gd name="connsiteY25" fmla="*/ 435586 h 2510087"/>
                <a:gd name="connsiteX26" fmla="*/ 11059114 w 12045155"/>
                <a:gd name="connsiteY26" fmla="*/ 1047471 h 2510087"/>
                <a:gd name="connsiteX27" fmla="*/ 10602369 w 12045155"/>
                <a:gd name="connsiteY27" fmla="*/ 1661632 h 2510087"/>
                <a:gd name="connsiteX28" fmla="*/ 10034574 w 12045155"/>
                <a:gd name="connsiteY28" fmla="*/ 1618415 h 2510087"/>
                <a:gd name="connsiteX29" fmla="*/ 9527677 w 12045155"/>
                <a:gd name="connsiteY29" fmla="*/ 1058846 h 2510087"/>
                <a:gd name="connsiteX30" fmla="*/ 9053022 w 12045155"/>
                <a:gd name="connsiteY30" fmla="*/ 581165 h 2510087"/>
                <a:gd name="connsiteX31" fmla="*/ 8450223 w 12045155"/>
                <a:gd name="connsiteY31" fmla="*/ 156695 h 2510087"/>
                <a:gd name="connsiteX32" fmla="*/ 7635927 w 12045155"/>
                <a:gd name="connsiteY32" fmla="*/ 105714 h 2510087"/>
                <a:gd name="connsiteX33" fmla="*/ 7049636 w 12045155"/>
                <a:gd name="connsiteY33" fmla="*/ 199189 h 2510087"/>
                <a:gd name="connsiteX34" fmla="*/ 6342549 w 12045155"/>
                <a:gd name="connsiteY34" fmla="*/ 146630 h 2510087"/>
                <a:gd name="connsiteX35" fmla="*/ 5902209 w 12045155"/>
                <a:gd name="connsiteY35" fmla="*/ 249658 h 2510087"/>
                <a:gd name="connsiteX36" fmla="*/ 5182195 w 12045155"/>
                <a:gd name="connsiteY36" fmla="*/ 292664 h 2510087"/>
                <a:gd name="connsiteX37" fmla="*/ 3822487 w 12045155"/>
                <a:gd name="connsiteY37" fmla="*/ 90799 h 2510087"/>
                <a:gd name="connsiteX38" fmla="*/ 2370177 w 12045155"/>
                <a:gd name="connsiteY38" fmla="*/ 156695 h 2510087"/>
                <a:gd name="connsiteX39" fmla="*/ 578745 w 12045155"/>
                <a:gd name="connsiteY39" fmla="*/ 148189 h 2510087"/>
                <a:gd name="connsiteX40" fmla="*/ 38923 w 12045155"/>
                <a:gd name="connsiteY40" fmla="*/ 157240 h 2510087"/>
                <a:gd name="connsiteX0" fmla="*/ 38923 w 12045155"/>
                <a:gd name="connsiteY0" fmla="*/ 157240 h 2510087"/>
                <a:gd name="connsiteX1" fmla="*/ 4765 w 12045155"/>
                <a:gd name="connsiteY1" fmla="*/ 229969 h 2510087"/>
                <a:gd name="connsiteX2" fmla="*/ 16985 w 12045155"/>
                <a:gd name="connsiteY2" fmla="*/ 441204 h 2510087"/>
                <a:gd name="connsiteX3" fmla="*/ 31647 w 12045155"/>
                <a:gd name="connsiteY3" fmla="*/ 700450 h 2510087"/>
                <a:gd name="connsiteX4" fmla="*/ 43864 w 12045155"/>
                <a:gd name="connsiteY4" fmla="*/ 777266 h 2510087"/>
                <a:gd name="connsiteX5" fmla="*/ 80207 w 12045155"/>
                <a:gd name="connsiteY5" fmla="*/ 937416 h 2510087"/>
                <a:gd name="connsiteX6" fmla="*/ 937008 w 12045155"/>
                <a:gd name="connsiteY6" fmla="*/ 844973 h 2510087"/>
                <a:gd name="connsiteX7" fmla="*/ 1631867 w 12045155"/>
                <a:gd name="connsiteY7" fmla="*/ 878961 h 2510087"/>
                <a:gd name="connsiteX8" fmla="*/ 2087877 w 12045155"/>
                <a:gd name="connsiteY8" fmla="*/ 819473 h 2510087"/>
                <a:gd name="connsiteX9" fmla="*/ 2565599 w 12045155"/>
                <a:gd name="connsiteY9" fmla="*/ 819473 h 2510087"/>
                <a:gd name="connsiteX10" fmla="*/ 3336468 w 12045155"/>
                <a:gd name="connsiteY10" fmla="*/ 861967 h 2510087"/>
                <a:gd name="connsiteX11" fmla="*/ 4215904 w 12045155"/>
                <a:gd name="connsiteY11" fmla="*/ 844973 h 2510087"/>
                <a:gd name="connsiteX12" fmla="*/ 4845622 w 12045155"/>
                <a:gd name="connsiteY12" fmla="*/ 853479 h 2510087"/>
                <a:gd name="connsiteX13" fmla="*/ 5681632 w 12045155"/>
                <a:gd name="connsiteY13" fmla="*/ 853479 h 2510087"/>
                <a:gd name="connsiteX14" fmla="*/ 6745645 w 12045155"/>
                <a:gd name="connsiteY14" fmla="*/ 878979 h 2510087"/>
                <a:gd name="connsiteX15" fmla="*/ 7494800 w 12045155"/>
                <a:gd name="connsiteY15" fmla="*/ 870473 h 2510087"/>
                <a:gd name="connsiteX16" fmla="*/ 8026795 w 12045155"/>
                <a:gd name="connsiteY16" fmla="*/ 861967 h 2510087"/>
                <a:gd name="connsiteX17" fmla="*/ 8504518 w 12045155"/>
                <a:gd name="connsiteY17" fmla="*/ 827979 h 2510087"/>
                <a:gd name="connsiteX18" fmla="*/ 9217808 w 12045155"/>
                <a:gd name="connsiteY18" fmla="*/ 2091547 h 2510087"/>
                <a:gd name="connsiteX19" fmla="*/ 10149208 w 12045155"/>
                <a:gd name="connsiteY19" fmla="*/ 2510086 h 2510087"/>
                <a:gd name="connsiteX20" fmla="*/ 11195242 w 12045155"/>
                <a:gd name="connsiteY20" fmla="*/ 2091549 h 2510087"/>
                <a:gd name="connsiteX21" fmla="*/ 11625119 w 12045155"/>
                <a:gd name="connsiteY21" fmla="*/ 1600216 h 2510087"/>
                <a:gd name="connsiteX22" fmla="*/ 11797069 w 12045155"/>
                <a:gd name="connsiteY22" fmla="*/ 999707 h 2510087"/>
                <a:gd name="connsiteX23" fmla="*/ 12045155 w 12045155"/>
                <a:gd name="connsiteY23" fmla="*/ 699393 h 2510087"/>
                <a:gd name="connsiteX24" fmla="*/ 12045155 w 12045155"/>
                <a:gd name="connsiteY24" fmla="*/ 261011 h 2510087"/>
                <a:gd name="connsiteX25" fmla="*/ 11438839 w 12045155"/>
                <a:gd name="connsiteY25" fmla="*/ 435586 h 2510087"/>
                <a:gd name="connsiteX26" fmla="*/ 11059114 w 12045155"/>
                <a:gd name="connsiteY26" fmla="*/ 1047471 h 2510087"/>
                <a:gd name="connsiteX27" fmla="*/ 10602369 w 12045155"/>
                <a:gd name="connsiteY27" fmla="*/ 1661632 h 2510087"/>
                <a:gd name="connsiteX28" fmla="*/ 10034574 w 12045155"/>
                <a:gd name="connsiteY28" fmla="*/ 1618415 h 2510087"/>
                <a:gd name="connsiteX29" fmla="*/ 9527677 w 12045155"/>
                <a:gd name="connsiteY29" fmla="*/ 1058846 h 2510087"/>
                <a:gd name="connsiteX30" fmla="*/ 9053022 w 12045155"/>
                <a:gd name="connsiteY30" fmla="*/ 581165 h 2510087"/>
                <a:gd name="connsiteX31" fmla="*/ 8450223 w 12045155"/>
                <a:gd name="connsiteY31" fmla="*/ 156695 h 2510087"/>
                <a:gd name="connsiteX32" fmla="*/ 7635927 w 12045155"/>
                <a:gd name="connsiteY32" fmla="*/ 105714 h 2510087"/>
                <a:gd name="connsiteX33" fmla="*/ 7049636 w 12045155"/>
                <a:gd name="connsiteY33" fmla="*/ 199189 h 2510087"/>
                <a:gd name="connsiteX34" fmla="*/ 6342549 w 12045155"/>
                <a:gd name="connsiteY34" fmla="*/ 146630 h 2510087"/>
                <a:gd name="connsiteX35" fmla="*/ 5902209 w 12045155"/>
                <a:gd name="connsiteY35" fmla="*/ 249658 h 2510087"/>
                <a:gd name="connsiteX36" fmla="*/ 5182195 w 12045155"/>
                <a:gd name="connsiteY36" fmla="*/ 292664 h 2510087"/>
                <a:gd name="connsiteX37" fmla="*/ 3822487 w 12045155"/>
                <a:gd name="connsiteY37" fmla="*/ 90799 h 2510087"/>
                <a:gd name="connsiteX38" fmla="*/ 2370177 w 12045155"/>
                <a:gd name="connsiteY38" fmla="*/ 156695 h 2510087"/>
                <a:gd name="connsiteX39" fmla="*/ 578745 w 12045155"/>
                <a:gd name="connsiteY39" fmla="*/ 148189 h 2510087"/>
                <a:gd name="connsiteX40" fmla="*/ 38923 w 12045155"/>
                <a:gd name="connsiteY40" fmla="*/ 157240 h 2510087"/>
                <a:gd name="connsiteX0" fmla="*/ 38923 w 12045155"/>
                <a:gd name="connsiteY0" fmla="*/ 157240 h 2510087"/>
                <a:gd name="connsiteX1" fmla="*/ 4765 w 12045155"/>
                <a:gd name="connsiteY1" fmla="*/ 229969 h 2510087"/>
                <a:gd name="connsiteX2" fmla="*/ 16985 w 12045155"/>
                <a:gd name="connsiteY2" fmla="*/ 441204 h 2510087"/>
                <a:gd name="connsiteX3" fmla="*/ 31647 w 12045155"/>
                <a:gd name="connsiteY3" fmla="*/ 700450 h 2510087"/>
                <a:gd name="connsiteX4" fmla="*/ 43864 w 12045155"/>
                <a:gd name="connsiteY4" fmla="*/ 777266 h 2510087"/>
                <a:gd name="connsiteX5" fmla="*/ 80207 w 12045155"/>
                <a:gd name="connsiteY5" fmla="*/ 937416 h 2510087"/>
                <a:gd name="connsiteX6" fmla="*/ 937008 w 12045155"/>
                <a:gd name="connsiteY6" fmla="*/ 844973 h 2510087"/>
                <a:gd name="connsiteX7" fmla="*/ 1631867 w 12045155"/>
                <a:gd name="connsiteY7" fmla="*/ 878961 h 2510087"/>
                <a:gd name="connsiteX8" fmla="*/ 2087877 w 12045155"/>
                <a:gd name="connsiteY8" fmla="*/ 819473 h 2510087"/>
                <a:gd name="connsiteX9" fmla="*/ 2565599 w 12045155"/>
                <a:gd name="connsiteY9" fmla="*/ 819473 h 2510087"/>
                <a:gd name="connsiteX10" fmla="*/ 3336468 w 12045155"/>
                <a:gd name="connsiteY10" fmla="*/ 861967 h 2510087"/>
                <a:gd name="connsiteX11" fmla="*/ 4215904 w 12045155"/>
                <a:gd name="connsiteY11" fmla="*/ 844973 h 2510087"/>
                <a:gd name="connsiteX12" fmla="*/ 4845622 w 12045155"/>
                <a:gd name="connsiteY12" fmla="*/ 853479 h 2510087"/>
                <a:gd name="connsiteX13" fmla="*/ 5681632 w 12045155"/>
                <a:gd name="connsiteY13" fmla="*/ 853479 h 2510087"/>
                <a:gd name="connsiteX14" fmla="*/ 6745645 w 12045155"/>
                <a:gd name="connsiteY14" fmla="*/ 878979 h 2510087"/>
                <a:gd name="connsiteX15" fmla="*/ 7494800 w 12045155"/>
                <a:gd name="connsiteY15" fmla="*/ 870473 h 2510087"/>
                <a:gd name="connsiteX16" fmla="*/ 8026795 w 12045155"/>
                <a:gd name="connsiteY16" fmla="*/ 861967 h 2510087"/>
                <a:gd name="connsiteX17" fmla="*/ 8647812 w 12045155"/>
                <a:gd name="connsiteY17" fmla="*/ 1264715 h 2510087"/>
                <a:gd name="connsiteX18" fmla="*/ 9217808 w 12045155"/>
                <a:gd name="connsiteY18" fmla="*/ 2091547 h 2510087"/>
                <a:gd name="connsiteX19" fmla="*/ 10149208 w 12045155"/>
                <a:gd name="connsiteY19" fmla="*/ 2510086 h 2510087"/>
                <a:gd name="connsiteX20" fmla="*/ 11195242 w 12045155"/>
                <a:gd name="connsiteY20" fmla="*/ 2091549 h 2510087"/>
                <a:gd name="connsiteX21" fmla="*/ 11625119 w 12045155"/>
                <a:gd name="connsiteY21" fmla="*/ 1600216 h 2510087"/>
                <a:gd name="connsiteX22" fmla="*/ 11797069 w 12045155"/>
                <a:gd name="connsiteY22" fmla="*/ 999707 h 2510087"/>
                <a:gd name="connsiteX23" fmla="*/ 12045155 w 12045155"/>
                <a:gd name="connsiteY23" fmla="*/ 699393 h 2510087"/>
                <a:gd name="connsiteX24" fmla="*/ 12045155 w 12045155"/>
                <a:gd name="connsiteY24" fmla="*/ 261011 h 2510087"/>
                <a:gd name="connsiteX25" fmla="*/ 11438839 w 12045155"/>
                <a:gd name="connsiteY25" fmla="*/ 435586 h 2510087"/>
                <a:gd name="connsiteX26" fmla="*/ 11059114 w 12045155"/>
                <a:gd name="connsiteY26" fmla="*/ 1047471 h 2510087"/>
                <a:gd name="connsiteX27" fmla="*/ 10602369 w 12045155"/>
                <a:gd name="connsiteY27" fmla="*/ 1661632 h 2510087"/>
                <a:gd name="connsiteX28" fmla="*/ 10034574 w 12045155"/>
                <a:gd name="connsiteY28" fmla="*/ 1618415 h 2510087"/>
                <a:gd name="connsiteX29" fmla="*/ 9527677 w 12045155"/>
                <a:gd name="connsiteY29" fmla="*/ 1058846 h 2510087"/>
                <a:gd name="connsiteX30" fmla="*/ 9053022 w 12045155"/>
                <a:gd name="connsiteY30" fmla="*/ 581165 h 2510087"/>
                <a:gd name="connsiteX31" fmla="*/ 8450223 w 12045155"/>
                <a:gd name="connsiteY31" fmla="*/ 156695 h 2510087"/>
                <a:gd name="connsiteX32" fmla="*/ 7635927 w 12045155"/>
                <a:gd name="connsiteY32" fmla="*/ 105714 h 2510087"/>
                <a:gd name="connsiteX33" fmla="*/ 7049636 w 12045155"/>
                <a:gd name="connsiteY33" fmla="*/ 199189 h 2510087"/>
                <a:gd name="connsiteX34" fmla="*/ 6342549 w 12045155"/>
                <a:gd name="connsiteY34" fmla="*/ 146630 h 2510087"/>
                <a:gd name="connsiteX35" fmla="*/ 5902209 w 12045155"/>
                <a:gd name="connsiteY35" fmla="*/ 249658 h 2510087"/>
                <a:gd name="connsiteX36" fmla="*/ 5182195 w 12045155"/>
                <a:gd name="connsiteY36" fmla="*/ 292664 h 2510087"/>
                <a:gd name="connsiteX37" fmla="*/ 3822487 w 12045155"/>
                <a:gd name="connsiteY37" fmla="*/ 90799 h 2510087"/>
                <a:gd name="connsiteX38" fmla="*/ 2370177 w 12045155"/>
                <a:gd name="connsiteY38" fmla="*/ 156695 h 2510087"/>
                <a:gd name="connsiteX39" fmla="*/ 578745 w 12045155"/>
                <a:gd name="connsiteY39" fmla="*/ 148189 h 2510087"/>
                <a:gd name="connsiteX40" fmla="*/ 38923 w 12045155"/>
                <a:gd name="connsiteY40" fmla="*/ 157240 h 2510087"/>
                <a:gd name="connsiteX0" fmla="*/ 38923 w 12045155"/>
                <a:gd name="connsiteY0" fmla="*/ 157240 h 2510087"/>
                <a:gd name="connsiteX1" fmla="*/ 4765 w 12045155"/>
                <a:gd name="connsiteY1" fmla="*/ 229969 h 2510087"/>
                <a:gd name="connsiteX2" fmla="*/ 16985 w 12045155"/>
                <a:gd name="connsiteY2" fmla="*/ 441204 h 2510087"/>
                <a:gd name="connsiteX3" fmla="*/ 31647 w 12045155"/>
                <a:gd name="connsiteY3" fmla="*/ 700450 h 2510087"/>
                <a:gd name="connsiteX4" fmla="*/ 43864 w 12045155"/>
                <a:gd name="connsiteY4" fmla="*/ 777266 h 2510087"/>
                <a:gd name="connsiteX5" fmla="*/ 80207 w 12045155"/>
                <a:gd name="connsiteY5" fmla="*/ 937416 h 2510087"/>
                <a:gd name="connsiteX6" fmla="*/ 937008 w 12045155"/>
                <a:gd name="connsiteY6" fmla="*/ 844973 h 2510087"/>
                <a:gd name="connsiteX7" fmla="*/ 1631867 w 12045155"/>
                <a:gd name="connsiteY7" fmla="*/ 878961 h 2510087"/>
                <a:gd name="connsiteX8" fmla="*/ 2087877 w 12045155"/>
                <a:gd name="connsiteY8" fmla="*/ 819473 h 2510087"/>
                <a:gd name="connsiteX9" fmla="*/ 2565599 w 12045155"/>
                <a:gd name="connsiteY9" fmla="*/ 819473 h 2510087"/>
                <a:gd name="connsiteX10" fmla="*/ 3336468 w 12045155"/>
                <a:gd name="connsiteY10" fmla="*/ 861967 h 2510087"/>
                <a:gd name="connsiteX11" fmla="*/ 4215904 w 12045155"/>
                <a:gd name="connsiteY11" fmla="*/ 844973 h 2510087"/>
                <a:gd name="connsiteX12" fmla="*/ 4845622 w 12045155"/>
                <a:gd name="connsiteY12" fmla="*/ 853479 h 2510087"/>
                <a:gd name="connsiteX13" fmla="*/ 5681632 w 12045155"/>
                <a:gd name="connsiteY13" fmla="*/ 853479 h 2510087"/>
                <a:gd name="connsiteX14" fmla="*/ 6745645 w 12045155"/>
                <a:gd name="connsiteY14" fmla="*/ 878979 h 2510087"/>
                <a:gd name="connsiteX15" fmla="*/ 7494800 w 12045155"/>
                <a:gd name="connsiteY15" fmla="*/ 870473 h 2510087"/>
                <a:gd name="connsiteX16" fmla="*/ 8026795 w 12045155"/>
                <a:gd name="connsiteY16" fmla="*/ 861967 h 2510087"/>
                <a:gd name="connsiteX17" fmla="*/ 8647812 w 12045155"/>
                <a:gd name="connsiteY17" fmla="*/ 1264715 h 2510087"/>
                <a:gd name="connsiteX18" fmla="*/ 9217808 w 12045155"/>
                <a:gd name="connsiteY18" fmla="*/ 2091547 h 2510087"/>
                <a:gd name="connsiteX19" fmla="*/ 10149208 w 12045155"/>
                <a:gd name="connsiteY19" fmla="*/ 2510086 h 2510087"/>
                <a:gd name="connsiteX20" fmla="*/ 11195242 w 12045155"/>
                <a:gd name="connsiteY20" fmla="*/ 2091549 h 2510087"/>
                <a:gd name="connsiteX21" fmla="*/ 11486173 w 12045155"/>
                <a:gd name="connsiteY21" fmla="*/ 1445814 h 2510087"/>
                <a:gd name="connsiteX22" fmla="*/ 11797069 w 12045155"/>
                <a:gd name="connsiteY22" fmla="*/ 999707 h 2510087"/>
                <a:gd name="connsiteX23" fmla="*/ 12045155 w 12045155"/>
                <a:gd name="connsiteY23" fmla="*/ 699393 h 2510087"/>
                <a:gd name="connsiteX24" fmla="*/ 12045155 w 12045155"/>
                <a:gd name="connsiteY24" fmla="*/ 261011 h 2510087"/>
                <a:gd name="connsiteX25" fmla="*/ 11438839 w 12045155"/>
                <a:gd name="connsiteY25" fmla="*/ 435586 h 2510087"/>
                <a:gd name="connsiteX26" fmla="*/ 11059114 w 12045155"/>
                <a:gd name="connsiteY26" fmla="*/ 1047471 h 2510087"/>
                <a:gd name="connsiteX27" fmla="*/ 10602369 w 12045155"/>
                <a:gd name="connsiteY27" fmla="*/ 1661632 h 2510087"/>
                <a:gd name="connsiteX28" fmla="*/ 10034574 w 12045155"/>
                <a:gd name="connsiteY28" fmla="*/ 1618415 h 2510087"/>
                <a:gd name="connsiteX29" fmla="*/ 9527677 w 12045155"/>
                <a:gd name="connsiteY29" fmla="*/ 1058846 h 2510087"/>
                <a:gd name="connsiteX30" fmla="*/ 9053022 w 12045155"/>
                <a:gd name="connsiteY30" fmla="*/ 581165 h 2510087"/>
                <a:gd name="connsiteX31" fmla="*/ 8450223 w 12045155"/>
                <a:gd name="connsiteY31" fmla="*/ 156695 h 2510087"/>
                <a:gd name="connsiteX32" fmla="*/ 7635927 w 12045155"/>
                <a:gd name="connsiteY32" fmla="*/ 105714 h 2510087"/>
                <a:gd name="connsiteX33" fmla="*/ 7049636 w 12045155"/>
                <a:gd name="connsiteY33" fmla="*/ 199189 h 2510087"/>
                <a:gd name="connsiteX34" fmla="*/ 6342549 w 12045155"/>
                <a:gd name="connsiteY34" fmla="*/ 146630 h 2510087"/>
                <a:gd name="connsiteX35" fmla="*/ 5902209 w 12045155"/>
                <a:gd name="connsiteY35" fmla="*/ 249658 h 2510087"/>
                <a:gd name="connsiteX36" fmla="*/ 5182195 w 12045155"/>
                <a:gd name="connsiteY36" fmla="*/ 292664 h 2510087"/>
                <a:gd name="connsiteX37" fmla="*/ 3822487 w 12045155"/>
                <a:gd name="connsiteY37" fmla="*/ 90799 h 2510087"/>
                <a:gd name="connsiteX38" fmla="*/ 2370177 w 12045155"/>
                <a:gd name="connsiteY38" fmla="*/ 156695 h 2510087"/>
                <a:gd name="connsiteX39" fmla="*/ 578745 w 12045155"/>
                <a:gd name="connsiteY39" fmla="*/ 148189 h 2510087"/>
                <a:gd name="connsiteX40" fmla="*/ 38923 w 12045155"/>
                <a:gd name="connsiteY40" fmla="*/ 157240 h 2510087"/>
                <a:gd name="connsiteX0" fmla="*/ 38923 w 12045155"/>
                <a:gd name="connsiteY0" fmla="*/ 157240 h 2510087"/>
                <a:gd name="connsiteX1" fmla="*/ 4765 w 12045155"/>
                <a:gd name="connsiteY1" fmla="*/ 229969 h 2510087"/>
                <a:gd name="connsiteX2" fmla="*/ 8249783 w 12045155"/>
                <a:gd name="connsiteY2" fmla="*/ 507371 h 2510087"/>
                <a:gd name="connsiteX3" fmla="*/ 31647 w 12045155"/>
                <a:gd name="connsiteY3" fmla="*/ 700450 h 2510087"/>
                <a:gd name="connsiteX4" fmla="*/ 43864 w 12045155"/>
                <a:gd name="connsiteY4" fmla="*/ 777266 h 2510087"/>
                <a:gd name="connsiteX5" fmla="*/ 80207 w 12045155"/>
                <a:gd name="connsiteY5" fmla="*/ 937416 h 2510087"/>
                <a:gd name="connsiteX6" fmla="*/ 937008 w 12045155"/>
                <a:gd name="connsiteY6" fmla="*/ 844973 h 2510087"/>
                <a:gd name="connsiteX7" fmla="*/ 1631867 w 12045155"/>
                <a:gd name="connsiteY7" fmla="*/ 878961 h 2510087"/>
                <a:gd name="connsiteX8" fmla="*/ 2087877 w 12045155"/>
                <a:gd name="connsiteY8" fmla="*/ 819473 h 2510087"/>
                <a:gd name="connsiteX9" fmla="*/ 2565599 w 12045155"/>
                <a:gd name="connsiteY9" fmla="*/ 819473 h 2510087"/>
                <a:gd name="connsiteX10" fmla="*/ 3336468 w 12045155"/>
                <a:gd name="connsiteY10" fmla="*/ 861967 h 2510087"/>
                <a:gd name="connsiteX11" fmla="*/ 4215904 w 12045155"/>
                <a:gd name="connsiteY11" fmla="*/ 844973 h 2510087"/>
                <a:gd name="connsiteX12" fmla="*/ 4845622 w 12045155"/>
                <a:gd name="connsiteY12" fmla="*/ 853479 h 2510087"/>
                <a:gd name="connsiteX13" fmla="*/ 5681632 w 12045155"/>
                <a:gd name="connsiteY13" fmla="*/ 853479 h 2510087"/>
                <a:gd name="connsiteX14" fmla="*/ 6745645 w 12045155"/>
                <a:gd name="connsiteY14" fmla="*/ 878979 h 2510087"/>
                <a:gd name="connsiteX15" fmla="*/ 7494800 w 12045155"/>
                <a:gd name="connsiteY15" fmla="*/ 870473 h 2510087"/>
                <a:gd name="connsiteX16" fmla="*/ 8026795 w 12045155"/>
                <a:gd name="connsiteY16" fmla="*/ 861967 h 2510087"/>
                <a:gd name="connsiteX17" fmla="*/ 8647812 w 12045155"/>
                <a:gd name="connsiteY17" fmla="*/ 1264715 h 2510087"/>
                <a:gd name="connsiteX18" fmla="*/ 9217808 w 12045155"/>
                <a:gd name="connsiteY18" fmla="*/ 2091547 h 2510087"/>
                <a:gd name="connsiteX19" fmla="*/ 10149208 w 12045155"/>
                <a:gd name="connsiteY19" fmla="*/ 2510086 h 2510087"/>
                <a:gd name="connsiteX20" fmla="*/ 11195242 w 12045155"/>
                <a:gd name="connsiteY20" fmla="*/ 2091549 h 2510087"/>
                <a:gd name="connsiteX21" fmla="*/ 11486173 w 12045155"/>
                <a:gd name="connsiteY21" fmla="*/ 1445814 h 2510087"/>
                <a:gd name="connsiteX22" fmla="*/ 11797069 w 12045155"/>
                <a:gd name="connsiteY22" fmla="*/ 999707 h 2510087"/>
                <a:gd name="connsiteX23" fmla="*/ 12045155 w 12045155"/>
                <a:gd name="connsiteY23" fmla="*/ 699393 h 2510087"/>
                <a:gd name="connsiteX24" fmla="*/ 12045155 w 12045155"/>
                <a:gd name="connsiteY24" fmla="*/ 261011 h 2510087"/>
                <a:gd name="connsiteX25" fmla="*/ 11438839 w 12045155"/>
                <a:gd name="connsiteY25" fmla="*/ 435586 h 2510087"/>
                <a:gd name="connsiteX26" fmla="*/ 11059114 w 12045155"/>
                <a:gd name="connsiteY26" fmla="*/ 1047471 h 2510087"/>
                <a:gd name="connsiteX27" fmla="*/ 10602369 w 12045155"/>
                <a:gd name="connsiteY27" fmla="*/ 1661632 h 2510087"/>
                <a:gd name="connsiteX28" fmla="*/ 10034574 w 12045155"/>
                <a:gd name="connsiteY28" fmla="*/ 1618415 h 2510087"/>
                <a:gd name="connsiteX29" fmla="*/ 9527677 w 12045155"/>
                <a:gd name="connsiteY29" fmla="*/ 1058846 h 2510087"/>
                <a:gd name="connsiteX30" fmla="*/ 9053022 w 12045155"/>
                <a:gd name="connsiteY30" fmla="*/ 581165 h 2510087"/>
                <a:gd name="connsiteX31" fmla="*/ 8450223 w 12045155"/>
                <a:gd name="connsiteY31" fmla="*/ 156695 h 2510087"/>
                <a:gd name="connsiteX32" fmla="*/ 7635927 w 12045155"/>
                <a:gd name="connsiteY32" fmla="*/ 105714 h 2510087"/>
                <a:gd name="connsiteX33" fmla="*/ 7049636 w 12045155"/>
                <a:gd name="connsiteY33" fmla="*/ 199189 h 2510087"/>
                <a:gd name="connsiteX34" fmla="*/ 6342549 w 12045155"/>
                <a:gd name="connsiteY34" fmla="*/ 146630 h 2510087"/>
                <a:gd name="connsiteX35" fmla="*/ 5902209 w 12045155"/>
                <a:gd name="connsiteY35" fmla="*/ 249658 h 2510087"/>
                <a:gd name="connsiteX36" fmla="*/ 5182195 w 12045155"/>
                <a:gd name="connsiteY36" fmla="*/ 292664 h 2510087"/>
                <a:gd name="connsiteX37" fmla="*/ 3822487 w 12045155"/>
                <a:gd name="connsiteY37" fmla="*/ 90799 h 2510087"/>
                <a:gd name="connsiteX38" fmla="*/ 2370177 w 12045155"/>
                <a:gd name="connsiteY38" fmla="*/ 156695 h 2510087"/>
                <a:gd name="connsiteX39" fmla="*/ 578745 w 12045155"/>
                <a:gd name="connsiteY39" fmla="*/ 148189 h 2510087"/>
                <a:gd name="connsiteX40" fmla="*/ 38923 w 12045155"/>
                <a:gd name="connsiteY40" fmla="*/ 157240 h 2510087"/>
                <a:gd name="connsiteX0" fmla="*/ 38923 w 12045155"/>
                <a:gd name="connsiteY0" fmla="*/ 157240 h 2510087"/>
                <a:gd name="connsiteX1" fmla="*/ 4765 w 12045155"/>
                <a:gd name="connsiteY1" fmla="*/ 229969 h 2510087"/>
                <a:gd name="connsiteX2" fmla="*/ 8249783 w 12045155"/>
                <a:gd name="connsiteY2" fmla="*/ 507371 h 2510087"/>
                <a:gd name="connsiteX3" fmla="*/ 31647 w 12045155"/>
                <a:gd name="connsiteY3" fmla="*/ 700450 h 2510087"/>
                <a:gd name="connsiteX4" fmla="*/ 43864 w 12045155"/>
                <a:gd name="connsiteY4" fmla="*/ 777266 h 2510087"/>
                <a:gd name="connsiteX5" fmla="*/ 80207 w 12045155"/>
                <a:gd name="connsiteY5" fmla="*/ 937416 h 2510087"/>
                <a:gd name="connsiteX6" fmla="*/ 937008 w 12045155"/>
                <a:gd name="connsiteY6" fmla="*/ 844973 h 2510087"/>
                <a:gd name="connsiteX7" fmla="*/ 1631867 w 12045155"/>
                <a:gd name="connsiteY7" fmla="*/ 878961 h 2510087"/>
                <a:gd name="connsiteX8" fmla="*/ 2087877 w 12045155"/>
                <a:gd name="connsiteY8" fmla="*/ 819473 h 2510087"/>
                <a:gd name="connsiteX9" fmla="*/ 2565599 w 12045155"/>
                <a:gd name="connsiteY9" fmla="*/ 819473 h 2510087"/>
                <a:gd name="connsiteX10" fmla="*/ 3336468 w 12045155"/>
                <a:gd name="connsiteY10" fmla="*/ 861967 h 2510087"/>
                <a:gd name="connsiteX11" fmla="*/ 4215904 w 12045155"/>
                <a:gd name="connsiteY11" fmla="*/ 844973 h 2510087"/>
                <a:gd name="connsiteX12" fmla="*/ 4845622 w 12045155"/>
                <a:gd name="connsiteY12" fmla="*/ 853479 h 2510087"/>
                <a:gd name="connsiteX13" fmla="*/ 5681632 w 12045155"/>
                <a:gd name="connsiteY13" fmla="*/ 853479 h 2510087"/>
                <a:gd name="connsiteX14" fmla="*/ 6745645 w 12045155"/>
                <a:gd name="connsiteY14" fmla="*/ 878979 h 2510087"/>
                <a:gd name="connsiteX15" fmla="*/ 7494800 w 12045155"/>
                <a:gd name="connsiteY15" fmla="*/ 870473 h 2510087"/>
                <a:gd name="connsiteX16" fmla="*/ 8026795 w 12045155"/>
                <a:gd name="connsiteY16" fmla="*/ 861967 h 2510087"/>
                <a:gd name="connsiteX17" fmla="*/ 8647812 w 12045155"/>
                <a:gd name="connsiteY17" fmla="*/ 1264715 h 2510087"/>
                <a:gd name="connsiteX18" fmla="*/ 9217808 w 12045155"/>
                <a:gd name="connsiteY18" fmla="*/ 2091547 h 2510087"/>
                <a:gd name="connsiteX19" fmla="*/ 10149208 w 12045155"/>
                <a:gd name="connsiteY19" fmla="*/ 2510086 h 2510087"/>
                <a:gd name="connsiteX20" fmla="*/ 11195242 w 12045155"/>
                <a:gd name="connsiteY20" fmla="*/ 2091549 h 2510087"/>
                <a:gd name="connsiteX21" fmla="*/ 11486173 w 12045155"/>
                <a:gd name="connsiteY21" fmla="*/ 1445814 h 2510087"/>
                <a:gd name="connsiteX22" fmla="*/ 11797069 w 12045155"/>
                <a:gd name="connsiteY22" fmla="*/ 999707 h 2510087"/>
                <a:gd name="connsiteX23" fmla="*/ 12045155 w 12045155"/>
                <a:gd name="connsiteY23" fmla="*/ 699393 h 2510087"/>
                <a:gd name="connsiteX24" fmla="*/ 12045155 w 12045155"/>
                <a:gd name="connsiteY24" fmla="*/ 261011 h 2510087"/>
                <a:gd name="connsiteX25" fmla="*/ 11438839 w 12045155"/>
                <a:gd name="connsiteY25" fmla="*/ 435586 h 2510087"/>
                <a:gd name="connsiteX26" fmla="*/ 11059114 w 12045155"/>
                <a:gd name="connsiteY26" fmla="*/ 1047471 h 2510087"/>
                <a:gd name="connsiteX27" fmla="*/ 10602369 w 12045155"/>
                <a:gd name="connsiteY27" fmla="*/ 1661632 h 2510087"/>
                <a:gd name="connsiteX28" fmla="*/ 10034574 w 12045155"/>
                <a:gd name="connsiteY28" fmla="*/ 1618415 h 2510087"/>
                <a:gd name="connsiteX29" fmla="*/ 9527677 w 12045155"/>
                <a:gd name="connsiteY29" fmla="*/ 1058846 h 2510087"/>
                <a:gd name="connsiteX30" fmla="*/ 9053022 w 12045155"/>
                <a:gd name="connsiteY30" fmla="*/ 581165 h 2510087"/>
                <a:gd name="connsiteX31" fmla="*/ 8450223 w 12045155"/>
                <a:gd name="connsiteY31" fmla="*/ 156695 h 2510087"/>
                <a:gd name="connsiteX32" fmla="*/ 7635927 w 12045155"/>
                <a:gd name="connsiteY32" fmla="*/ 105714 h 2510087"/>
                <a:gd name="connsiteX33" fmla="*/ 7049636 w 12045155"/>
                <a:gd name="connsiteY33" fmla="*/ 199189 h 2510087"/>
                <a:gd name="connsiteX34" fmla="*/ 6342549 w 12045155"/>
                <a:gd name="connsiteY34" fmla="*/ 146630 h 2510087"/>
                <a:gd name="connsiteX35" fmla="*/ 5902209 w 12045155"/>
                <a:gd name="connsiteY35" fmla="*/ 249658 h 2510087"/>
                <a:gd name="connsiteX36" fmla="*/ 5182195 w 12045155"/>
                <a:gd name="connsiteY36" fmla="*/ 292664 h 2510087"/>
                <a:gd name="connsiteX37" fmla="*/ 3822487 w 12045155"/>
                <a:gd name="connsiteY37" fmla="*/ 90799 h 2510087"/>
                <a:gd name="connsiteX38" fmla="*/ 2370177 w 12045155"/>
                <a:gd name="connsiteY38" fmla="*/ 156695 h 2510087"/>
                <a:gd name="connsiteX39" fmla="*/ 578745 w 12045155"/>
                <a:gd name="connsiteY39" fmla="*/ 148189 h 2510087"/>
                <a:gd name="connsiteX40" fmla="*/ 38923 w 12045155"/>
                <a:gd name="connsiteY40" fmla="*/ 157240 h 2510087"/>
                <a:gd name="connsiteX0" fmla="*/ 379789 w 12386021"/>
                <a:gd name="connsiteY0" fmla="*/ 157240 h 2510087"/>
                <a:gd name="connsiteX1" fmla="*/ 345631 w 12386021"/>
                <a:gd name="connsiteY1" fmla="*/ 229969 h 2510087"/>
                <a:gd name="connsiteX2" fmla="*/ 8590649 w 12386021"/>
                <a:gd name="connsiteY2" fmla="*/ 507371 h 2510087"/>
                <a:gd name="connsiteX3" fmla="*/ 372513 w 12386021"/>
                <a:gd name="connsiteY3" fmla="*/ 700450 h 2510087"/>
                <a:gd name="connsiteX4" fmla="*/ 8652699 w 12386021"/>
                <a:gd name="connsiteY4" fmla="*/ 777261 h 2510087"/>
                <a:gd name="connsiteX5" fmla="*/ 421073 w 12386021"/>
                <a:gd name="connsiteY5" fmla="*/ 937416 h 2510087"/>
                <a:gd name="connsiteX6" fmla="*/ 1277874 w 12386021"/>
                <a:gd name="connsiteY6" fmla="*/ 844973 h 2510087"/>
                <a:gd name="connsiteX7" fmla="*/ 1972733 w 12386021"/>
                <a:gd name="connsiteY7" fmla="*/ 878961 h 2510087"/>
                <a:gd name="connsiteX8" fmla="*/ 2428743 w 12386021"/>
                <a:gd name="connsiteY8" fmla="*/ 819473 h 2510087"/>
                <a:gd name="connsiteX9" fmla="*/ 2906465 w 12386021"/>
                <a:gd name="connsiteY9" fmla="*/ 819473 h 2510087"/>
                <a:gd name="connsiteX10" fmla="*/ 3677334 w 12386021"/>
                <a:gd name="connsiteY10" fmla="*/ 861967 h 2510087"/>
                <a:gd name="connsiteX11" fmla="*/ 4556770 w 12386021"/>
                <a:gd name="connsiteY11" fmla="*/ 844973 h 2510087"/>
                <a:gd name="connsiteX12" fmla="*/ 5186488 w 12386021"/>
                <a:gd name="connsiteY12" fmla="*/ 853479 h 2510087"/>
                <a:gd name="connsiteX13" fmla="*/ 6022498 w 12386021"/>
                <a:gd name="connsiteY13" fmla="*/ 853479 h 2510087"/>
                <a:gd name="connsiteX14" fmla="*/ 7086511 w 12386021"/>
                <a:gd name="connsiteY14" fmla="*/ 878979 h 2510087"/>
                <a:gd name="connsiteX15" fmla="*/ 7835666 w 12386021"/>
                <a:gd name="connsiteY15" fmla="*/ 870473 h 2510087"/>
                <a:gd name="connsiteX16" fmla="*/ 8367661 w 12386021"/>
                <a:gd name="connsiteY16" fmla="*/ 861967 h 2510087"/>
                <a:gd name="connsiteX17" fmla="*/ 8988678 w 12386021"/>
                <a:gd name="connsiteY17" fmla="*/ 1264715 h 2510087"/>
                <a:gd name="connsiteX18" fmla="*/ 9558674 w 12386021"/>
                <a:gd name="connsiteY18" fmla="*/ 2091547 h 2510087"/>
                <a:gd name="connsiteX19" fmla="*/ 10490074 w 12386021"/>
                <a:gd name="connsiteY19" fmla="*/ 2510086 h 2510087"/>
                <a:gd name="connsiteX20" fmla="*/ 11536108 w 12386021"/>
                <a:gd name="connsiteY20" fmla="*/ 2091549 h 2510087"/>
                <a:gd name="connsiteX21" fmla="*/ 11827039 w 12386021"/>
                <a:gd name="connsiteY21" fmla="*/ 1445814 h 2510087"/>
                <a:gd name="connsiteX22" fmla="*/ 12137935 w 12386021"/>
                <a:gd name="connsiteY22" fmla="*/ 999707 h 2510087"/>
                <a:gd name="connsiteX23" fmla="*/ 12386021 w 12386021"/>
                <a:gd name="connsiteY23" fmla="*/ 699393 h 2510087"/>
                <a:gd name="connsiteX24" fmla="*/ 12386021 w 12386021"/>
                <a:gd name="connsiteY24" fmla="*/ 261011 h 2510087"/>
                <a:gd name="connsiteX25" fmla="*/ 11779705 w 12386021"/>
                <a:gd name="connsiteY25" fmla="*/ 435586 h 2510087"/>
                <a:gd name="connsiteX26" fmla="*/ 11399980 w 12386021"/>
                <a:gd name="connsiteY26" fmla="*/ 1047471 h 2510087"/>
                <a:gd name="connsiteX27" fmla="*/ 10943235 w 12386021"/>
                <a:gd name="connsiteY27" fmla="*/ 1661632 h 2510087"/>
                <a:gd name="connsiteX28" fmla="*/ 10375440 w 12386021"/>
                <a:gd name="connsiteY28" fmla="*/ 1618415 h 2510087"/>
                <a:gd name="connsiteX29" fmla="*/ 9868543 w 12386021"/>
                <a:gd name="connsiteY29" fmla="*/ 1058846 h 2510087"/>
                <a:gd name="connsiteX30" fmla="*/ 9393888 w 12386021"/>
                <a:gd name="connsiteY30" fmla="*/ 581165 h 2510087"/>
                <a:gd name="connsiteX31" fmla="*/ 8791089 w 12386021"/>
                <a:gd name="connsiteY31" fmla="*/ 156695 h 2510087"/>
                <a:gd name="connsiteX32" fmla="*/ 7976793 w 12386021"/>
                <a:gd name="connsiteY32" fmla="*/ 105714 h 2510087"/>
                <a:gd name="connsiteX33" fmla="*/ 7390502 w 12386021"/>
                <a:gd name="connsiteY33" fmla="*/ 199189 h 2510087"/>
                <a:gd name="connsiteX34" fmla="*/ 6683415 w 12386021"/>
                <a:gd name="connsiteY34" fmla="*/ 146630 h 2510087"/>
                <a:gd name="connsiteX35" fmla="*/ 6243075 w 12386021"/>
                <a:gd name="connsiteY35" fmla="*/ 249658 h 2510087"/>
                <a:gd name="connsiteX36" fmla="*/ 5523061 w 12386021"/>
                <a:gd name="connsiteY36" fmla="*/ 292664 h 2510087"/>
                <a:gd name="connsiteX37" fmla="*/ 4163353 w 12386021"/>
                <a:gd name="connsiteY37" fmla="*/ 90799 h 2510087"/>
                <a:gd name="connsiteX38" fmla="*/ 2711043 w 12386021"/>
                <a:gd name="connsiteY38" fmla="*/ 156695 h 2510087"/>
                <a:gd name="connsiteX39" fmla="*/ 919611 w 12386021"/>
                <a:gd name="connsiteY39" fmla="*/ 148189 h 2510087"/>
                <a:gd name="connsiteX40" fmla="*/ 379789 w 12386021"/>
                <a:gd name="connsiteY40" fmla="*/ 157240 h 2510087"/>
                <a:gd name="connsiteX0" fmla="*/ 379791 w 12386023"/>
                <a:gd name="connsiteY0" fmla="*/ 157240 h 2510087"/>
                <a:gd name="connsiteX1" fmla="*/ 345633 w 12386023"/>
                <a:gd name="connsiteY1" fmla="*/ 229969 h 2510087"/>
                <a:gd name="connsiteX2" fmla="*/ 8590651 w 12386023"/>
                <a:gd name="connsiteY2" fmla="*/ 507371 h 2510087"/>
                <a:gd name="connsiteX3" fmla="*/ 8697801 w 12386023"/>
                <a:gd name="connsiteY3" fmla="*/ 591261 h 2510087"/>
                <a:gd name="connsiteX4" fmla="*/ 8652701 w 12386023"/>
                <a:gd name="connsiteY4" fmla="*/ 777261 h 2510087"/>
                <a:gd name="connsiteX5" fmla="*/ 421075 w 12386023"/>
                <a:gd name="connsiteY5" fmla="*/ 937416 h 2510087"/>
                <a:gd name="connsiteX6" fmla="*/ 1277876 w 12386023"/>
                <a:gd name="connsiteY6" fmla="*/ 844973 h 2510087"/>
                <a:gd name="connsiteX7" fmla="*/ 1972735 w 12386023"/>
                <a:gd name="connsiteY7" fmla="*/ 878961 h 2510087"/>
                <a:gd name="connsiteX8" fmla="*/ 2428745 w 12386023"/>
                <a:gd name="connsiteY8" fmla="*/ 819473 h 2510087"/>
                <a:gd name="connsiteX9" fmla="*/ 2906467 w 12386023"/>
                <a:gd name="connsiteY9" fmla="*/ 819473 h 2510087"/>
                <a:gd name="connsiteX10" fmla="*/ 3677336 w 12386023"/>
                <a:gd name="connsiteY10" fmla="*/ 861967 h 2510087"/>
                <a:gd name="connsiteX11" fmla="*/ 4556772 w 12386023"/>
                <a:gd name="connsiteY11" fmla="*/ 844973 h 2510087"/>
                <a:gd name="connsiteX12" fmla="*/ 5186490 w 12386023"/>
                <a:gd name="connsiteY12" fmla="*/ 853479 h 2510087"/>
                <a:gd name="connsiteX13" fmla="*/ 6022500 w 12386023"/>
                <a:gd name="connsiteY13" fmla="*/ 853479 h 2510087"/>
                <a:gd name="connsiteX14" fmla="*/ 7086513 w 12386023"/>
                <a:gd name="connsiteY14" fmla="*/ 878979 h 2510087"/>
                <a:gd name="connsiteX15" fmla="*/ 7835668 w 12386023"/>
                <a:gd name="connsiteY15" fmla="*/ 870473 h 2510087"/>
                <a:gd name="connsiteX16" fmla="*/ 8367663 w 12386023"/>
                <a:gd name="connsiteY16" fmla="*/ 861967 h 2510087"/>
                <a:gd name="connsiteX17" fmla="*/ 8988680 w 12386023"/>
                <a:gd name="connsiteY17" fmla="*/ 1264715 h 2510087"/>
                <a:gd name="connsiteX18" fmla="*/ 9558676 w 12386023"/>
                <a:gd name="connsiteY18" fmla="*/ 2091547 h 2510087"/>
                <a:gd name="connsiteX19" fmla="*/ 10490076 w 12386023"/>
                <a:gd name="connsiteY19" fmla="*/ 2510086 h 2510087"/>
                <a:gd name="connsiteX20" fmla="*/ 11536110 w 12386023"/>
                <a:gd name="connsiteY20" fmla="*/ 2091549 h 2510087"/>
                <a:gd name="connsiteX21" fmla="*/ 11827041 w 12386023"/>
                <a:gd name="connsiteY21" fmla="*/ 1445814 h 2510087"/>
                <a:gd name="connsiteX22" fmla="*/ 12137937 w 12386023"/>
                <a:gd name="connsiteY22" fmla="*/ 999707 h 2510087"/>
                <a:gd name="connsiteX23" fmla="*/ 12386023 w 12386023"/>
                <a:gd name="connsiteY23" fmla="*/ 699393 h 2510087"/>
                <a:gd name="connsiteX24" fmla="*/ 12386023 w 12386023"/>
                <a:gd name="connsiteY24" fmla="*/ 261011 h 2510087"/>
                <a:gd name="connsiteX25" fmla="*/ 11779707 w 12386023"/>
                <a:gd name="connsiteY25" fmla="*/ 435586 h 2510087"/>
                <a:gd name="connsiteX26" fmla="*/ 11399982 w 12386023"/>
                <a:gd name="connsiteY26" fmla="*/ 1047471 h 2510087"/>
                <a:gd name="connsiteX27" fmla="*/ 10943237 w 12386023"/>
                <a:gd name="connsiteY27" fmla="*/ 1661632 h 2510087"/>
                <a:gd name="connsiteX28" fmla="*/ 10375442 w 12386023"/>
                <a:gd name="connsiteY28" fmla="*/ 1618415 h 2510087"/>
                <a:gd name="connsiteX29" fmla="*/ 9868545 w 12386023"/>
                <a:gd name="connsiteY29" fmla="*/ 1058846 h 2510087"/>
                <a:gd name="connsiteX30" fmla="*/ 9393890 w 12386023"/>
                <a:gd name="connsiteY30" fmla="*/ 581165 h 2510087"/>
                <a:gd name="connsiteX31" fmla="*/ 8791091 w 12386023"/>
                <a:gd name="connsiteY31" fmla="*/ 156695 h 2510087"/>
                <a:gd name="connsiteX32" fmla="*/ 7976795 w 12386023"/>
                <a:gd name="connsiteY32" fmla="*/ 105714 h 2510087"/>
                <a:gd name="connsiteX33" fmla="*/ 7390504 w 12386023"/>
                <a:gd name="connsiteY33" fmla="*/ 199189 h 2510087"/>
                <a:gd name="connsiteX34" fmla="*/ 6683417 w 12386023"/>
                <a:gd name="connsiteY34" fmla="*/ 146630 h 2510087"/>
                <a:gd name="connsiteX35" fmla="*/ 6243077 w 12386023"/>
                <a:gd name="connsiteY35" fmla="*/ 249658 h 2510087"/>
                <a:gd name="connsiteX36" fmla="*/ 5523063 w 12386023"/>
                <a:gd name="connsiteY36" fmla="*/ 292664 h 2510087"/>
                <a:gd name="connsiteX37" fmla="*/ 4163355 w 12386023"/>
                <a:gd name="connsiteY37" fmla="*/ 90799 h 2510087"/>
                <a:gd name="connsiteX38" fmla="*/ 2711045 w 12386023"/>
                <a:gd name="connsiteY38" fmla="*/ 156695 h 2510087"/>
                <a:gd name="connsiteX39" fmla="*/ 919613 w 12386023"/>
                <a:gd name="connsiteY39" fmla="*/ 148189 h 2510087"/>
                <a:gd name="connsiteX40" fmla="*/ 379791 w 12386023"/>
                <a:gd name="connsiteY40" fmla="*/ 157240 h 2510087"/>
                <a:gd name="connsiteX0" fmla="*/ 379791 w 12386023"/>
                <a:gd name="connsiteY0" fmla="*/ 157240 h 2510087"/>
                <a:gd name="connsiteX1" fmla="*/ 345633 w 12386023"/>
                <a:gd name="connsiteY1" fmla="*/ 229969 h 2510087"/>
                <a:gd name="connsiteX2" fmla="*/ 8676628 w 12386023"/>
                <a:gd name="connsiteY2" fmla="*/ 434581 h 2510087"/>
                <a:gd name="connsiteX3" fmla="*/ 8697801 w 12386023"/>
                <a:gd name="connsiteY3" fmla="*/ 591261 h 2510087"/>
                <a:gd name="connsiteX4" fmla="*/ 8652701 w 12386023"/>
                <a:gd name="connsiteY4" fmla="*/ 777261 h 2510087"/>
                <a:gd name="connsiteX5" fmla="*/ 421075 w 12386023"/>
                <a:gd name="connsiteY5" fmla="*/ 937416 h 2510087"/>
                <a:gd name="connsiteX6" fmla="*/ 1277876 w 12386023"/>
                <a:gd name="connsiteY6" fmla="*/ 844973 h 2510087"/>
                <a:gd name="connsiteX7" fmla="*/ 1972735 w 12386023"/>
                <a:gd name="connsiteY7" fmla="*/ 878961 h 2510087"/>
                <a:gd name="connsiteX8" fmla="*/ 2428745 w 12386023"/>
                <a:gd name="connsiteY8" fmla="*/ 819473 h 2510087"/>
                <a:gd name="connsiteX9" fmla="*/ 2906467 w 12386023"/>
                <a:gd name="connsiteY9" fmla="*/ 819473 h 2510087"/>
                <a:gd name="connsiteX10" fmla="*/ 3677336 w 12386023"/>
                <a:gd name="connsiteY10" fmla="*/ 861967 h 2510087"/>
                <a:gd name="connsiteX11" fmla="*/ 4556772 w 12386023"/>
                <a:gd name="connsiteY11" fmla="*/ 844973 h 2510087"/>
                <a:gd name="connsiteX12" fmla="*/ 5186490 w 12386023"/>
                <a:gd name="connsiteY12" fmla="*/ 853479 h 2510087"/>
                <a:gd name="connsiteX13" fmla="*/ 6022500 w 12386023"/>
                <a:gd name="connsiteY13" fmla="*/ 853479 h 2510087"/>
                <a:gd name="connsiteX14" fmla="*/ 7086513 w 12386023"/>
                <a:gd name="connsiteY14" fmla="*/ 878979 h 2510087"/>
                <a:gd name="connsiteX15" fmla="*/ 7835668 w 12386023"/>
                <a:gd name="connsiteY15" fmla="*/ 870473 h 2510087"/>
                <a:gd name="connsiteX16" fmla="*/ 8367663 w 12386023"/>
                <a:gd name="connsiteY16" fmla="*/ 861967 h 2510087"/>
                <a:gd name="connsiteX17" fmla="*/ 8988680 w 12386023"/>
                <a:gd name="connsiteY17" fmla="*/ 1264715 h 2510087"/>
                <a:gd name="connsiteX18" fmla="*/ 9558676 w 12386023"/>
                <a:gd name="connsiteY18" fmla="*/ 2091547 h 2510087"/>
                <a:gd name="connsiteX19" fmla="*/ 10490076 w 12386023"/>
                <a:gd name="connsiteY19" fmla="*/ 2510086 h 2510087"/>
                <a:gd name="connsiteX20" fmla="*/ 11536110 w 12386023"/>
                <a:gd name="connsiteY20" fmla="*/ 2091549 h 2510087"/>
                <a:gd name="connsiteX21" fmla="*/ 11827041 w 12386023"/>
                <a:gd name="connsiteY21" fmla="*/ 1445814 h 2510087"/>
                <a:gd name="connsiteX22" fmla="*/ 12137937 w 12386023"/>
                <a:gd name="connsiteY22" fmla="*/ 999707 h 2510087"/>
                <a:gd name="connsiteX23" fmla="*/ 12386023 w 12386023"/>
                <a:gd name="connsiteY23" fmla="*/ 699393 h 2510087"/>
                <a:gd name="connsiteX24" fmla="*/ 12386023 w 12386023"/>
                <a:gd name="connsiteY24" fmla="*/ 261011 h 2510087"/>
                <a:gd name="connsiteX25" fmla="*/ 11779707 w 12386023"/>
                <a:gd name="connsiteY25" fmla="*/ 435586 h 2510087"/>
                <a:gd name="connsiteX26" fmla="*/ 11399982 w 12386023"/>
                <a:gd name="connsiteY26" fmla="*/ 1047471 h 2510087"/>
                <a:gd name="connsiteX27" fmla="*/ 10943237 w 12386023"/>
                <a:gd name="connsiteY27" fmla="*/ 1661632 h 2510087"/>
                <a:gd name="connsiteX28" fmla="*/ 10375442 w 12386023"/>
                <a:gd name="connsiteY28" fmla="*/ 1618415 h 2510087"/>
                <a:gd name="connsiteX29" fmla="*/ 9868545 w 12386023"/>
                <a:gd name="connsiteY29" fmla="*/ 1058846 h 2510087"/>
                <a:gd name="connsiteX30" fmla="*/ 9393890 w 12386023"/>
                <a:gd name="connsiteY30" fmla="*/ 581165 h 2510087"/>
                <a:gd name="connsiteX31" fmla="*/ 8791091 w 12386023"/>
                <a:gd name="connsiteY31" fmla="*/ 156695 h 2510087"/>
                <a:gd name="connsiteX32" fmla="*/ 7976795 w 12386023"/>
                <a:gd name="connsiteY32" fmla="*/ 105714 h 2510087"/>
                <a:gd name="connsiteX33" fmla="*/ 7390504 w 12386023"/>
                <a:gd name="connsiteY33" fmla="*/ 199189 h 2510087"/>
                <a:gd name="connsiteX34" fmla="*/ 6683417 w 12386023"/>
                <a:gd name="connsiteY34" fmla="*/ 146630 h 2510087"/>
                <a:gd name="connsiteX35" fmla="*/ 6243077 w 12386023"/>
                <a:gd name="connsiteY35" fmla="*/ 249658 h 2510087"/>
                <a:gd name="connsiteX36" fmla="*/ 5523063 w 12386023"/>
                <a:gd name="connsiteY36" fmla="*/ 292664 h 2510087"/>
                <a:gd name="connsiteX37" fmla="*/ 4163355 w 12386023"/>
                <a:gd name="connsiteY37" fmla="*/ 90799 h 2510087"/>
                <a:gd name="connsiteX38" fmla="*/ 2711045 w 12386023"/>
                <a:gd name="connsiteY38" fmla="*/ 156695 h 2510087"/>
                <a:gd name="connsiteX39" fmla="*/ 919613 w 12386023"/>
                <a:gd name="connsiteY39" fmla="*/ 148189 h 2510087"/>
                <a:gd name="connsiteX40" fmla="*/ 379791 w 12386023"/>
                <a:gd name="connsiteY40" fmla="*/ 157240 h 2510087"/>
                <a:gd name="connsiteX0" fmla="*/ 8705072 w 12386023"/>
                <a:gd name="connsiteY0" fmla="*/ 284622 h 2510087"/>
                <a:gd name="connsiteX1" fmla="*/ 345633 w 12386023"/>
                <a:gd name="connsiteY1" fmla="*/ 229969 h 2510087"/>
                <a:gd name="connsiteX2" fmla="*/ 8676628 w 12386023"/>
                <a:gd name="connsiteY2" fmla="*/ 434581 h 2510087"/>
                <a:gd name="connsiteX3" fmla="*/ 8697801 w 12386023"/>
                <a:gd name="connsiteY3" fmla="*/ 591261 h 2510087"/>
                <a:gd name="connsiteX4" fmla="*/ 8652701 w 12386023"/>
                <a:gd name="connsiteY4" fmla="*/ 777261 h 2510087"/>
                <a:gd name="connsiteX5" fmla="*/ 421075 w 12386023"/>
                <a:gd name="connsiteY5" fmla="*/ 937416 h 2510087"/>
                <a:gd name="connsiteX6" fmla="*/ 1277876 w 12386023"/>
                <a:gd name="connsiteY6" fmla="*/ 844973 h 2510087"/>
                <a:gd name="connsiteX7" fmla="*/ 1972735 w 12386023"/>
                <a:gd name="connsiteY7" fmla="*/ 878961 h 2510087"/>
                <a:gd name="connsiteX8" fmla="*/ 2428745 w 12386023"/>
                <a:gd name="connsiteY8" fmla="*/ 819473 h 2510087"/>
                <a:gd name="connsiteX9" fmla="*/ 2906467 w 12386023"/>
                <a:gd name="connsiteY9" fmla="*/ 819473 h 2510087"/>
                <a:gd name="connsiteX10" fmla="*/ 3677336 w 12386023"/>
                <a:gd name="connsiteY10" fmla="*/ 861967 h 2510087"/>
                <a:gd name="connsiteX11" fmla="*/ 4556772 w 12386023"/>
                <a:gd name="connsiteY11" fmla="*/ 844973 h 2510087"/>
                <a:gd name="connsiteX12" fmla="*/ 5186490 w 12386023"/>
                <a:gd name="connsiteY12" fmla="*/ 853479 h 2510087"/>
                <a:gd name="connsiteX13" fmla="*/ 6022500 w 12386023"/>
                <a:gd name="connsiteY13" fmla="*/ 853479 h 2510087"/>
                <a:gd name="connsiteX14" fmla="*/ 7086513 w 12386023"/>
                <a:gd name="connsiteY14" fmla="*/ 878979 h 2510087"/>
                <a:gd name="connsiteX15" fmla="*/ 7835668 w 12386023"/>
                <a:gd name="connsiteY15" fmla="*/ 870473 h 2510087"/>
                <a:gd name="connsiteX16" fmla="*/ 8367663 w 12386023"/>
                <a:gd name="connsiteY16" fmla="*/ 861967 h 2510087"/>
                <a:gd name="connsiteX17" fmla="*/ 8988680 w 12386023"/>
                <a:gd name="connsiteY17" fmla="*/ 1264715 h 2510087"/>
                <a:gd name="connsiteX18" fmla="*/ 9558676 w 12386023"/>
                <a:gd name="connsiteY18" fmla="*/ 2091547 h 2510087"/>
                <a:gd name="connsiteX19" fmla="*/ 10490076 w 12386023"/>
                <a:gd name="connsiteY19" fmla="*/ 2510086 h 2510087"/>
                <a:gd name="connsiteX20" fmla="*/ 11536110 w 12386023"/>
                <a:gd name="connsiteY20" fmla="*/ 2091549 h 2510087"/>
                <a:gd name="connsiteX21" fmla="*/ 11827041 w 12386023"/>
                <a:gd name="connsiteY21" fmla="*/ 1445814 h 2510087"/>
                <a:gd name="connsiteX22" fmla="*/ 12137937 w 12386023"/>
                <a:gd name="connsiteY22" fmla="*/ 999707 h 2510087"/>
                <a:gd name="connsiteX23" fmla="*/ 12386023 w 12386023"/>
                <a:gd name="connsiteY23" fmla="*/ 699393 h 2510087"/>
                <a:gd name="connsiteX24" fmla="*/ 12386023 w 12386023"/>
                <a:gd name="connsiteY24" fmla="*/ 261011 h 2510087"/>
                <a:gd name="connsiteX25" fmla="*/ 11779707 w 12386023"/>
                <a:gd name="connsiteY25" fmla="*/ 435586 h 2510087"/>
                <a:gd name="connsiteX26" fmla="*/ 11399982 w 12386023"/>
                <a:gd name="connsiteY26" fmla="*/ 1047471 h 2510087"/>
                <a:gd name="connsiteX27" fmla="*/ 10943237 w 12386023"/>
                <a:gd name="connsiteY27" fmla="*/ 1661632 h 2510087"/>
                <a:gd name="connsiteX28" fmla="*/ 10375442 w 12386023"/>
                <a:gd name="connsiteY28" fmla="*/ 1618415 h 2510087"/>
                <a:gd name="connsiteX29" fmla="*/ 9868545 w 12386023"/>
                <a:gd name="connsiteY29" fmla="*/ 1058846 h 2510087"/>
                <a:gd name="connsiteX30" fmla="*/ 9393890 w 12386023"/>
                <a:gd name="connsiteY30" fmla="*/ 581165 h 2510087"/>
                <a:gd name="connsiteX31" fmla="*/ 8791091 w 12386023"/>
                <a:gd name="connsiteY31" fmla="*/ 156695 h 2510087"/>
                <a:gd name="connsiteX32" fmla="*/ 7976795 w 12386023"/>
                <a:gd name="connsiteY32" fmla="*/ 105714 h 2510087"/>
                <a:gd name="connsiteX33" fmla="*/ 7390504 w 12386023"/>
                <a:gd name="connsiteY33" fmla="*/ 199189 h 2510087"/>
                <a:gd name="connsiteX34" fmla="*/ 6683417 w 12386023"/>
                <a:gd name="connsiteY34" fmla="*/ 146630 h 2510087"/>
                <a:gd name="connsiteX35" fmla="*/ 6243077 w 12386023"/>
                <a:gd name="connsiteY35" fmla="*/ 249658 h 2510087"/>
                <a:gd name="connsiteX36" fmla="*/ 5523063 w 12386023"/>
                <a:gd name="connsiteY36" fmla="*/ 292664 h 2510087"/>
                <a:gd name="connsiteX37" fmla="*/ 4163355 w 12386023"/>
                <a:gd name="connsiteY37" fmla="*/ 90799 h 2510087"/>
                <a:gd name="connsiteX38" fmla="*/ 2711045 w 12386023"/>
                <a:gd name="connsiteY38" fmla="*/ 156695 h 2510087"/>
                <a:gd name="connsiteX39" fmla="*/ 919613 w 12386023"/>
                <a:gd name="connsiteY39" fmla="*/ 148189 h 2510087"/>
                <a:gd name="connsiteX40" fmla="*/ 8705072 w 12386023"/>
                <a:gd name="connsiteY40" fmla="*/ 284622 h 2510087"/>
                <a:gd name="connsiteX0" fmla="*/ 8705072 w 12386023"/>
                <a:gd name="connsiteY0" fmla="*/ 284622 h 2510087"/>
                <a:gd name="connsiteX1" fmla="*/ 8742561 w 12386023"/>
                <a:gd name="connsiteY1" fmla="*/ 521128 h 2510087"/>
                <a:gd name="connsiteX2" fmla="*/ 8676628 w 12386023"/>
                <a:gd name="connsiteY2" fmla="*/ 434581 h 2510087"/>
                <a:gd name="connsiteX3" fmla="*/ 8697801 w 12386023"/>
                <a:gd name="connsiteY3" fmla="*/ 591261 h 2510087"/>
                <a:gd name="connsiteX4" fmla="*/ 8652701 w 12386023"/>
                <a:gd name="connsiteY4" fmla="*/ 777261 h 2510087"/>
                <a:gd name="connsiteX5" fmla="*/ 421075 w 12386023"/>
                <a:gd name="connsiteY5" fmla="*/ 937416 h 2510087"/>
                <a:gd name="connsiteX6" fmla="*/ 1277876 w 12386023"/>
                <a:gd name="connsiteY6" fmla="*/ 844973 h 2510087"/>
                <a:gd name="connsiteX7" fmla="*/ 1972735 w 12386023"/>
                <a:gd name="connsiteY7" fmla="*/ 878961 h 2510087"/>
                <a:gd name="connsiteX8" fmla="*/ 2428745 w 12386023"/>
                <a:gd name="connsiteY8" fmla="*/ 819473 h 2510087"/>
                <a:gd name="connsiteX9" fmla="*/ 2906467 w 12386023"/>
                <a:gd name="connsiteY9" fmla="*/ 819473 h 2510087"/>
                <a:gd name="connsiteX10" fmla="*/ 3677336 w 12386023"/>
                <a:gd name="connsiteY10" fmla="*/ 861967 h 2510087"/>
                <a:gd name="connsiteX11" fmla="*/ 4556772 w 12386023"/>
                <a:gd name="connsiteY11" fmla="*/ 844973 h 2510087"/>
                <a:gd name="connsiteX12" fmla="*/ 5186490 w 12386023"/>
                <a:gd name="connsiteY12" fmla="*/ 853479 h 2510087"/>
                <a:gd name="connsiteX13" fmla="*/ 6022500 w 12386023"/>
                <a:gd name="connsiteY13" fmla="*/ 853479 h 2510087"/>
                <a:gd name="connsiteX14" fmla="*/ 7086513 w 12386023"/>
                <a:gd name="connsiteY14" fmla="*/ 878979 h 2510087"/>
                <a:gd name="connsiteX15" fmla="*/ 7835668 w 12386023"/>
                <a:gd name="connsiteY15" fmla="*/ 870473 h 2510087"/>
                <a:gd name="connsiteX16" fmla="*/ 8367663 w 12386023"/>
                <a:gd name="connsiteY16" fmla="*/ 861967 h 2510087"/>
                <a:gd name="connsiteX17" fmla="*/ 8988680 w 12386023"/>
                <a:gd name="connsiteY17" fmla="*/ 1264715 h 2510087"/>
                <a:gd name="connsiteX18" fmla="*/ 9558676 w 12386023"/>
                <a:gd name="connsiteY18" fmla="*/ 2091547 h 2510087"/>
                <a:gd name="connsiteX19" fmla="*/ 10490076 w 12386023"/>
                <a:gd name="connsiteY19" fmla="*/ 2510086 h 2510087"/>
                <a:gd name="connsiteX20" fmla="*/ 11536110 w 12386023"/>
                <a:gd name="connsiteY20" fmla="*/ 2091549 h 2510087"/>
                <a:gd name="connsiteX21" fmla="*/ 11827041 w 12386023"/>
                <a:gd name="connsiteY21" fmla="*/ 1445814 h 2510087"/>
                <a:gd name="connsiteX22" fmla="*/ 12137937 w 12386023"/>
                <a:gd name="connsiteY22" fmla="*/ 999707 h 2510087"/>
                <a:gd name="connsiteX23" fmla="*/ 12386023 w 12386023"/>
                <a:gd name="connsiteY23" fmla="*/ 699393 h 2510087"/>
                <a:gd name="connsiteX24" fmla="*/ 12386023 w 12386023"/>
                <a:gd name="connsiteY24" fmla="*/ 261011 h 2510087"/>
                <a:gd name="connsiteX25" fmla="*/ 11779707 w 12386023"/>
                <a:gd name="connsiteY25" fmla="*/ 435586 h 2510087"/>
                <a:gd name="connsiteX26" fmla="*/ 11399982 w 12386023"/>
                <a:gd name="connsiteY26" fmla="*/ 1047471 h 2510087"/>
                <a:gd name="connsiteX27" fmla="*/ 10943237 w 12386023"/>
                <a:gd name="connsiteY27" fmla="*/ 1661632 h 2510087"/>
                <a:gd name="connsiteX28" fmla="*/ 10375442 w 12386023"/>
                <a:gd name="connsiteY28" fmla="*/ 1618415 h 2510087"/>
                <a:gd name="connsiteX29" fmla="*/ 9868545 w 12386023"/>
                <a:gd name="connsiteY29" fmla="*/ 1058846 h 2510087"/>
                <a:gd name="connsiteX30" fmla="*/ 9393890 w 12386023"/>
                <a:gd name="connsiteY30" fmla="*/ 581165 h 2510087"/>
                <a:gd name="connsiteX31" fmla="*/ 8791091 w 12386023"/>
                <a:gd name="connsiteY31" fmla="*/ 156695 h 2510087"/>
                <a:gd name="connsiteX32" fmla="*/ 7976795 w 12386023"/>
                <a:gd name="connsiteY32" fmla="*/ 105714 h 2510087"/>
                <a:gd name="connsiteX33" fmla="*/ 7390504 w 12386023"/>
                <a:gd name="connsiteY33" fmla="*/ 199189 h 2510087"/>
                <a:gd name="connsiteX34" fmla="*/ 6683417 w 12386023"/>
                <a:gd name="connsiteY34" fmla="*/ 146630 h 2510087"/>
                <a:gd name="connsiteX35" fmla="*/ 6243077 w 12386023"/>
                <a:gd name="connsiteY35" fmla="*/ 249658 h 2510087"/>
                <a:gd name="connsiteX36" fmla="*/ 5523063 w 12386023"/>
                <a:gd name="connsiteY36" fmla="*/ 292664 h 2510087"/>
                <a:gd name="connsiteX37" fmla="*/ 4163355 w 12386023"/>
                <a:gd name="connsiteY37" fmla="*/ 90799 h 2510087"/>
                <a:gd name="connsiteX38" fmla="*/ 2711045 w 12386023"/>
                <a:gd name="connsiteY38" fmla="*/ 156695 h 2510087"/>
                <a:gd name="connsiteX39" fmla="*/ 919613 w 12386023"/>
                <a:gd name="connsiteY39" fmla="*/ 148189 h 2510087"/>
                <a:gd name="connsiteX40" fmla="*/ 8705072 w 12386023"/>
                <a:gd name="connsiteY40" fmla="*/ 284622 h 2510087"/>
                <a:gd name="connsiteX0" fmla="*/ 8705072 w 12386023"/>
                <a:gd name="connsiteY0" fmla="*/ 284622 h 2510087"/>
                <a:gd name="connsiteX1" fmla="*/ 8742561 w 12386023"/>
                <a:gd name="connsiteY1" fmla="*/ 521128 h 2510087"/>
                <a:gd name="connsiteX2" fmla="*/ 8676628 w 12386023"/>
                <a:gd name="connsiteY2" fmla="*/ 434581 h 2510087"/>
                <a:gd name="connsiteX3" fmla="*/ 8697801 w 12386023"/>
                <a:gd name="connsiteY3" fmla="*/ 591261 h 2510087"/>
                <a:gd name="connsiteX4" fmla="*/ 8652701 w 12386023"/>
                <a:gd name="connsiteY4" fmla="*/ 777261 h 2510087"/>
                <a:gd name="connsiteX5" fmla="*/ 421075 w 12386023"/>
                <a:gd name="connsiteY5" fmla="*/ 937416 h 2510087"/>
                <a:gd name="connsiteX6" fmla="*/ 1277876 w 12386023"/>
                <a:gd name="connsiteY6" fmla="*/ 844973 h 2510087"/>
                <a:gd name="connsiteX7" fmla="*/ 1972735 w 12386023"/>
                <a:gd name="connsiteY7" fmla="*/ 878961 h 2510087"/>
                <a:gd name="connsiteX8" fmla="*/ 2428745 w 12386023"/>
                <a:gd name="connsiteY8" fmla="*/ 819473 h 2510087"/>
                <a:gd name="connsiteX9" fmla="*/ 2906467 w 12386023"/>
                <a:gd name="connsiteY9" fmla="*/ 819473 h 2510087"/>
                <a:gd name="connsiteX10" fmla="*/ 3677336 w 12386023"/>
                <a:gd name="connsiteY10" fmla="*/ 861967 h 2510087"/>
                <a:gd name="connsiteX11" fmla="*/ 4556772 w 12386023"/>
                <a:gd name="connsiteY11" fmla="*/ 844973 h 2510087"/>
                <a:gd name="connsiteX12" fmla="*/ 5186490 w 12386023"/>
                <a:gd name="connsiteY12" fmla="*/ 853479 h 2510087"/>
                <a:gd name="connsiteX13" fmla="*/ 6022500 w 12386023"/>
                <a:gd name="connsiteY13" fmla="*/ 853479 h 2510087"/>
                <a:gd name="connsiteX14" fmla="*/ 7086513 w 12386023"/>
                <a:gd name="connsiteY14" fmla="*/ 878979 h 2510087"/>
                <a:gd name="connsiteX15" fmla="*/ 7835668 w 12386023"/>
                <a:gd name="connsiteY15" fmla="*/ 870473 h 2510087"/>
                <a:gd name="connsiteX16" fmla="*/ 8367663 w 12386023"/>
                <a:gd name="connsiteY16" fmla="*/ 861967 h 2510087"/>
                <a:gd name="connsiteX17" fmla="*/ 8988680 w 12386023"/>
                <a:gd name="connsiteY17" fmla="*/ 1264715 h 2510087"/>
                <a:gd name="connsiteX18" fmla="*/ 9558676 w 12386023"/>
                <a:gd name="connsiteY18" fmla="*/ 2091547 h 2510087"/>
                <a:gd name="connsiteX19" fmla="*/ 10490076 w 12386023"/>
                <a:gd name="connsiteY19" fmla="*/ 2510086 h 2510087"/>
                <a:gd name="connsiteX20" fmla="*/ 11536110 w 12386023"/>
                <a:gd name="connsiteY20" fmla="*/ 2091549 h 2510087"/>
                <a:gd name="connsiteX21" fmla="*/ 11827041 w 12386023"/>
                <a:gd name="connsiteY21" fmla="*/ 1445814 h 2510087"/>
                <a:gd name="connsiteX22" fmla="*/ 12137937 w 12386023"/>
                <a:gd name="connsiteY22" fmla="*/ 999707 h 2510087"/>
                <a:gd name="connsiteX23" fmla="*/ 12386023 w 12386023"/>
                <a:gd name="connsiteY23" fmla="*/ 699393 h 2510087"/>
                <a:gd name="connsiteX24" fmla="*/ 12386023 w 12386023"/>
                <a:gd name="connsiteY24" fmla="*/ 261011 h 2510087"/>
                <a:gd name="connsiteX25" fmla="*/ 11779707 w 12386023"/>
                <a:gd name="connsiteY25" fmla="*/ 435586 h 2510087"/>
                <a:gd name="connsiteX26" fmla="*/ 11399982 w 12386023"/>
                <a:gd name="connsiteY26" fmla="*/ 1047471 h 2510087"/>
                <a:gd name="connsiteX27" fmla="*/ 10943237 w 12386023"/>
                <a:gd name="connsiteY27" fmla="*/ 1661632 h 2510087"/>
                <a:gd name="connsiteX28" fmla="*/ 10375442 w 12386023"/>
                <a:gd name="connsiteY28" fmla="*/ 1618415 h 2510087"/>
                <a:gd name="connsiteX29" fmla="*/ 9868545 w 12386023"/>
                <a:gd name="connsiteY29" fmla="*/ 1058846 h 2510087"/>
                <a:gd name="connsiteX30" fmla="*/ 9393890 w 12386023"/>
                <a:gd name="connsiteY30" fmla="*/ 581165 h 2510087"/>
                <a:gd name="connsiteX31" fmla="*/ 8791091 w 12386023"/>
                <a:gd name="connsiteY31" fmla="*/ 156695 h 2510087"/>
                <a:gd name="connsiteX32" fmla="*/ 7976795 w 12386023"/>
                <a:gd name="connsiteY32" fmla="*/ 105714 h 2510087"/>
                <a:gd name="connsiteX33" fmla="*/ 7390504 w 12386023"/>
                <a:gd name="connsiteY33" fmla="*/ 199189 h 2510087"/>
                <a:gd name="connsiteX34" fmla="*/ 6683417 w 12386023"/>
                <a:gd name="connsiteY34" fmla="*/ 146630 h 2510087"/>
                <a:gd name="connsiteX35" fmla="*/ 6243077 w 12386023"/>
                <a:gd name="connsiteY35" fmla="*/ 249658 h 2510087"/>
                <a:gd name="connsiteX36" fmla="*/ 5523063 w 12386023"/>
                <a:gd name="connsiteY36" fmla="*/ 292664 h 2510087"/>
                <a:gd name="connsiteX37" fmla="*/ 4163355 w 12386023"/>
                <a:gd name="connsiteY37" fmla="*/ 90799 h 2510087"/>
                <a:gd name="connsiteX38" fmla="*/ 2711045 w 12386023"/>
                <a:gd name="connsiteY38" fmla="*/ 156695 h 2510087"/>
                <a:gd name="connsiteX39" fmla="*/ 8714713 w 12386023"/>
                <a:gd name="connsiteY39" fmla="*/ 457545 h 2510087"/>
                <a:gd name="connsiteX40" fmla="*/ 8705072 w 12386023"/>
                <a:gd name="connsiteY40" fmla="*/ 284622 h 2510087"/>
                <a:gd name="connsiteX0" fmla="*/ 8705072 w 12386023"/>
                <a:gd name="connsiteY0" fmla="*/ 215157 h 2440622"/>
                <a:gd name="connsiteX1" fmla="*/ 8742561 w 12386023"/>
                <a:gd name="connsiteY1" fmla="*/ 451663 h 2440622"/>
                <a:gd name="connsiteX2" fmla="*/ 8676628 w 12386023"/>
                <a:gd name="connsiteY2" fmla="*/ 365116 h 2440622"/>
                <a:gd name="connsiteX3" fmla="*/ 8697801 w 12386023"/>
                <a:gd name="connsiteY3" fmla="*/ 521796 h 2440622"/>
                <a:gd name="connsiteX4" fmla="*/ 8652701 w 12386023"/>
                <a:gd name="connsiteY4" fmla="*/ 707796 h 2440622"/>
                <a:gd name="connsiteX5" fmla="*/ 421075 w 12386023"/>
                <a:gd name="connsiteY5" fmla="*/ 867951 h 2440622"/>
                <a:gd name="connsiteX6" fmla="*/ 1277876 w 12386023"/>
                <a:gd name="connsiteY6" fmla="*/ 775508 h 2440622"/>
                <a:gd name="connsiteX7" fmla="*/ 1972735 w 12386023"/>
                <a:gd name="connsiteY7" fmla="*/ 809496 h 2440622"/>
                <a:gd name="connsiteX8" fmla="*/ 2428745 w 12386023"/>
                <a:gd name="connsiteY8" fmla="*/ 750008 h 2440622"/>
                <a:gd name="connsiteX9" fmla="*/ 2906467 w 12386023"/>
                <a:gd name="connsiteY9" fmla="*/ 750008 h 2440622"/>
                <a:gd name="connsiteX10" fmla="*/ 3677336 w 12386023"/>
                <a:gd name="connsiteY10" fmla="*/ 792502 h 2440622"/>
                <a:gd name="connsiteX11" fmla="*/ 4556772 w 12386023"/>
                <a:gd name="connsiteY11" fmla="*/ 775508 h 2440622"/>
                <a:gd name="connsiteX12" fmla="*/ 5186490 w 12386023"/>
                <a:gd name="connsiteY12" fmla="*/ 784014 h 2440622"/>
                <a:gd name="connsiteX13" fmla="*/ 6022500 w 12386023"/>
                <a:gd name="connsiteY13" fmla="*/ 784014 h 2440622"/>
                <a:gd name="connsiteX14" fmla="*/ 7086513 w 12386023"/>
                <a:gd name="connsiteY14" fmla="*/ 809514 h 2440622"/>
                <a:gd name="connsiteX15" fmla="*/ 7835668 w 12386023"/>
                <a:gd name="connsiteY15" fmla="*/ 801008 h 2440622"/>
                <a:gd name="connsiteX16" fmla="*/ 8367663 w 12386023"/>
                <a:gd name="connsiteY16" fmla="*/ 792502 h 2440622"/>
                <a:gd name="connsiteX17" fmla="*/ 8988680 w 12386023"/>
                <a:gd name="connsiteY17" fmla="*/ 1195250 h 2440622"/>
                <a:gd name="connsiteX18" fmla="*/ 9558676 w 12386023"/>
                <a:gd name="connsiteY18" fmla="*/ 2022082 h 2440622"/>
                <a:gd name="connsiteX19" fmla="*/ 10490076 w 12386023"/>
                <a:gd name="connsiteY19" fmla="*/ 2440621 h 2440622"/>
                <a:gd name="connsiteX20" fmla="*/ 11536110 w 12386023"/>
                <a:gd name="connsiteY20" fmla="*/ 2022084 h 2440622"/>
                <a:gd name="connsiteX21" fmla="*/ 11827041 w 12386023"/>
                <a:gd name="connsiteY21" fmla="*/ 1376349 h 2440622"/>
                <a:gd name="connsiteX22" fmla="*/ 12137937 w 12386023"/>
                <a:gd name="connsiteY22" fmla="*/ 930242 h 2440622"/>
                <a:gd name="connsiteX23" fmla="*/ 12386023 w 12386023"/>
                <a:gd name="connsiteY23" fmla="*/ 629928 h 2440622"/>
                <a:gd name="connsiteX24" fmla="*/ 12386023 w 12386023"/>
                <a:gd name="connsiteY24" fmla="*/ 191546 h 2440622"/>
                <a:gd name="connsiteX25" fmla="*/ 11779707 w 12386023"/>
                <a:gd name="connsiteY25" fmla="*/ 366121 h 2440622"/>
                <a:gd name="connsiteX26" fmla="*/ 11399982 w 12386023"/>
                <a:gd name="connsiteY26" fmla="*/ 978006 h 2440622"/>
                <a:gd name="connsiteX27" fmla="*/ 10943237 w 12386023"/>
                <a:gd name="connsiteY27" fmla="*/ 1592167 h 2440622"/>
                <a:gd name="connsiteX28" fmla="*/ 10375442 w 12386023"/>
                <a:gd name="connsiteY28" fmla="*/ 1548950 h 2440622"/>
                <a:gd name="connsiteX29" fmla="*/ 9868545 w 12386023"/>
                <a:gd name="connsiteY29" fmla="*/ 989381 h 2440622"/>
                <a:gd name="connsiteX30" fmla="*/ 9393890 w 12386023"/>
                <a:gd name="connsiteY30" fmla="*/ 511700 h 2440622"/>
                <a:gd name="connsiteX31" fmla="*/ 8791091 w 12386023"/>
                <a:gd name="connsiteY31" fmla="*/ 87230 h 2440622"/>
                <a:gd name="connsiteX32" fmla="*/ 7976795 w 12386023"/>
                <a:gd name="connsiteY32" fmla="*/ 36249 h 2440622"/>
                <a:gd name="connsiteX33" fmla="*/ 7390504 w 12386023"/>
                <a:gd name="connsiteY33" fmla="*/ 129724 h 2440622"/>
                <a:gd name="connsiteX34" fmla="*/ 6683417 w 12386023"/>
                <a:gd name="connsiteY34" fmla="*/ 77165 h 2440622"/>
                <a:gd name="connsiteX35" fmla="*/ 6243077 w 12386023"/>
                <a:gd name="connsiteY35" fmla="*/ 180193 h 2440622"/>
                <a:gd name="connsiteX36" fmla="*/ 5523063 w 12386023"/>
                <a:gd name="connsiteY36" fmla="*/ 223199 h 2440622"/>
                <a:gd name="connsiteX37" fmla="*/ 4163355 w 12386023"/>
                <a:gd name="connsiteY37" fmla="*/ 21334 h 2440622"/>
                <a:gd name="connsiteX38" fmla="*/ 9073222 w 12386023"/>
                <a:gd name="connsiteY38" fmla="*/ 815126 h 2440622"/>
                <a:gd name="connsiteX39" fmla="*/ 8714713 w 12386023"/>
                <a:gd name="connsiteY39" fmla="*/ 388080 h 2440622"/>
                <a:gd name="connsiteX40" fmla="*/ 8705072 w 12386023"/>
                <a:gd name="connsiteY40" fmla="*/ 215157 h 2440622"/>
                <a:gd name="connsiteX0" fmla="*/ 8705072 w 12386023"/>
                <a:gd name="connsiteY0" fmla="*/ 200377 h 2425842"/>
                <a:gd name="connsiteX1" fmla="*/ 8742561 w 12386023"/>
                <a:gd name="connsiteY1" fmla="*/ 436883 h 2425842"/>
                <a:gd name="connsiteX2" fmla="*/ 8676628 w 12386023"/>
                <a:gd name="connsiteY2" fmla="*/ 350336 h 2425842"/>
                <a:gd name="connsiteX3" fmla="*/ 8697801 w 12386023"/>
                <a:gd name="connsiteY3" fmla="*/ 507016 h 2425842"/>
                <a:gd name="connsiteX4" fmla="*/ 8652701 w 12386023"/>
                <a:gd name="connsiteY4" fmla="*/ 693016 h 2425842"/>
                <a:gd name="connsiteX5" fmla="*/ 421075 w 12386023"/>
                <a:gd name="connsiteY5" fmla="*/ 853171 h 2425842"/>
                <a:gd name="connsiteX6" fmla="*/ 1277876 w 12386023"/>
                <a:gd name="connsiteY6" fmla="*/ 760728 h 2425842"/>
                <a:gd name="connsiteX7" fmla="*/ 1972735 w 12386023"/>
                <a:gd name="connsiteY7" fmla="*/ 794716 h 2425842"/>
                <a:gd name="connsiteX8" fmla="*/ 2428745 w 12386023"/>
                <a:gd name="connsiteY8" fmla="*/ 735228 h 2425842"/>
                <a:gd name="connsiteX9" fmla="*/ 2906467 w 12386023"/>
                <a:gd name="connsiteY9" fmla="*/ 735228 h 2425842"/>
                <a:gd name="connsiteX10" fmla="*/ 3677336 w 12386023"/>
                <a:gd name="connsiteY10" fmla="*/ 777722 h 2425842"/>
                <a:gd name="connsiteX11" fmla="*/ 4556772 w 12386023"/>
                <a:gd name="connsiteY11" fmla="*/ 760728 h 2425842"/>
                <a:gd name="connsiteX12" fmla="*/ 5186490 w 12386023"/>
                <a:gd name="connsiteY12" fmla="*/ 769234 h 2425842"/>
                <a:gd name="connsiteX13" fmla="*/ 6022500 w 12386023"/>
                <a:gd name="connsiteY13" fmla="*/ 769234 h 2425842"/>
                <a:gd name="connsiteX14" fmla="*/ 7086513 w 12386023"/>
                <a:gd name="connsiteY14" fmla="*/ 794734 h 2425842"/>
                <a:gd name="connsiteX15" fmla="*/ 7835668 w 12386023"/>
                <a:gd name="connsiteY15" fmla="*/ 786228 h 2425842"/>
                <a:gd name="connsiteX16" fmla="*/ 8367663 w 12386023"/>
                <a:gd name="connsiteY16" fmla="*/ 777722 h 2425842"/>
                <a:gd name="connsiteX17" fmla="*/ 8988680 w 12386023"/>
                <a:gd name="connsiteY17" fmla="*/ 1180470 h 2425842"/>
                <a:gd name="connsiteX18" fmla="*/ 9558676 w 12386023"/>
                <a:gd name="connsiteY18" fmla="*/ 2007302 h 2425842"/>
                <a:gd name="connsiteX19" fmla="*/ 10490076 w 12386023"/>
                <a:gd name="connsiteY19" fmla="*/ 2425841 h 2425842"/>
                <a:gd name="connsiteX20" fmla="*/ 11536110 w 12386023"/>
                <a:gd name="connsiteY20" fmla="*/ 2007304 h 2425842"/>
                <a:gd name="connsiteX21" fmla="*/ 11827041 w 12386023"/>
                <a:gd name="connsiteY21" fmla="*/ 1361569 h 2425842"/>
                <a:gd name="connsiteX22" fmla="*/ 12137937 w 12386023"/>
                <a:gd name="connsiteY22" fmla="*/ 915462 h 2425842"/>
                <a:gd name="connsiteX23" fmla="*/ 12386023 w 12386023"/>
                <a:gd name="connsiteY23" fmla="*/ 615148 h 2425842"/>
                <a:gd name="connsiteX24" fmla="*/ 12386023 w 12386023"/>
                <a:gd name="connsiteY24" fmla="*/ 176766 h 2425842"/>
                <a:gd name="connsiteX25" fmla="*/ 11779707 w 12386023"/>
                <a:gd name="connsiteY25" fmla="*/ 351341 h 2425842"/>
                <a:gd name="connsiteX26" fmla="*/ 11399982 w 12386023"/>
                <a:gd name="connsiteY26" fmla="*/ 963226 h 2425842"/>
                <a:gd name="connsiteX27" fmla="*/ 10943237 w 12386023"/>
                <a:gd name="connsiteY27" fmla="*/ 1577387 h 2425842"/>
                <a:gd name="connsiteX28" fmla="*/ 10375442 w 12386023"/>
                <a:gd name="connsiteY28" fmla="*/ 1534170 h 2425842"/>
                <a:gd name="connsiteX29" fmla="*/ 9868545 w 12386023"/>
                <a:gd name="connsiteY29" fmla="*/ 974601 h 2425842"/>
                <a:gd name="connsiteX30" fmla="*/ 9393890 w 12386023"/>
                <a:gd name="connsiteY30" fmla="*/ 496920 h 2425842"/>
                <a:gd name="connsiteX31" fmla="*/ 8791091 w 12386023"/>
                <a:gd name="connsiteY31" fmla="*/ 72450 h 2425842"/>
                <a:gd name="connsiteX32" fmla="*/ 7976795 w 12386023"/>
                <a:gd name="connsiteY32" fmla="*/ 21469 h 2425842"/>
                <a:gd name="connsiteX33" fmla="*/ 7390504 w 12386023"/>
                <a:gd name="connsiteY33" fmla="*/ 114944 h 2425842"/>
                <a:gd name="connsiteX34" fmla="*/ 6683417 w 12386023"/>
                <a:gd name="connsiteY34" fmla="*/ 62385 h 2425842"/>
                <a:gd name="connsiteX35" fmla="*/ 6243077 w 12386023"/>
                <a:gd name="connsiteY35" fmla="*/ 165413 h 2425842"/>
                <a:gd name="connsiteX36" fmla="*/ 5523063 w 12386023"/>
                <a:gd name="connsiteY36" fmla="*/ 208419 h 2425842"/>
                <a:gd name="connsiteX37" fmla="*/ 8892001 w 12386023"/>
                <a:gd name="connsiteY37" fmla="*/ 497882 h 2425842"/>
                <a:gd name="connsiteX38" fmla="*/ 9073222 w 12386023"/>
                <a:gd name="connsiteY38" fmla="*/ 800346 h 2425842"/>
                <a:gd name="connsiteX39" fmla="*/ 8714713 w 12386023"/>
                <a:gd name="connsiteY39" fmla="*/ 373300 h 2425842"/>
                <a:gd name="connsiteX40" fmla="*/ 8705072 w 12386023"/>
                <a:gd name="connsiteY40" fmla="*/ 200377 h 2425842"/>
                <a:gd name="connsiteX0" fmla="*/ 8705072 w 12386023"/>
                <a:gd name="connsiteY0" fmla="*/ 200377 h 2425842"/>
                <a:gd name="connsiteX1" fmla="*/ 8742561 w 12386023"/>
                <a:gd name="connsiteY1" fmla="*/ 436883 h 2425842"/>
                <a:gd name="connsiteX2" fmla="*/ 8676628 w 12386023"/>
                <a:gd name="connsiteY2" fmla="*/ 350336 h 2425842"/>
                <a:gd name="connsiteX3" fmla="*/ 8697801 w 12386023"/>
                <a:gd name="connsiteY3" fmla="*/ 507016 h 2425842"/>
                <a:gd name="connsiteX4" fmla="*/ 8652701 w 12386023"/>
                <a:gd name="connsiteY4" fmla="*/ 693016 h 2425842"/>
                <a:gd name="connsiteX5" fmla="*/ 421075 w 12386023"/>
                <a:gd name="connsiteY5" fmla="*/ 853171 h 2425842"/>
                <a:gd name="connsiteX6" fmla="*/ 1277876 w 12386023"/>
                <a:gd name="connsiteY6" fmla="*/ 760728 h 2425842"/>
                <a:gd name="connsiteX7" fmla="*/ 1972735 w 12386023"/>
                <a:gd name="connsiteY7" fmla="*/ 794716 h 2425842"/>
                <a:gd name="connsiteX8" fmla="*/ 2428745 w 12386023"/>
                <a:gd name="connsiteY8" fmla="*/ 735228 h 2425842"/>
                <a:gd name="connsiteX9" fmla="*/ 2906467 w 12386023"/>
                <a:gd name="connsiteY9" fmla="*/ 735228 h 2425842"/>
                <a:gd name="connsiteX10" fmla="*/ 3677336 w 12386023"/>
                <a:gd name="connsiteY10" fmla="*/ 777722 h 2425842"/>
                <a:gd name="connsiteX11" fmla="*/ 4556772 w 12386023"/>
                <a:gd name="connsiteY11" fmla="*/ 760728 h 2425842"/>
                <a:gd name="connsiteX12" fmla="*/ 5186490 w 12386023"/>
                <a:gd name="connsiteY12" fmla="*/ 769234 h 2425842"/>
                <a:gd name="connsiteX13" fmla="*/ 6022500 w 12386023"/>
                <a:gd name="connsiteY13" fmla="*/ 769234 h 2425842"/>
                <a:gd name="connsiteX14" fmla="*/ 7086513 w 12386023"/>
                <a:gd name="connsiteY14" fmla="*/ 794734 h 2425842"/>
                <a:gd name="connsiteX15" fmla="*/ 7835668 w 12386023"/>
                <a:gd name="connsiteY15" fmla="*/ 786228 h 2425842"/>
                <a:gd name="connsiteX16" fmla="*/ 8367663 w 12386023"/>
                <a:gd name="connsiteY16" fmla="*/ 777722 h 2425842"/>
                <a:gd name="connsiteX17" fmla="*/ 8988680 w 12386023"/>
                <a:gd name="connsiteY17" fmla="*/ 1180470 h 2425842"/>
                <a:gd name="connsiteX18" fmla="*/ 9558676 w 12386023"/>
                <a:gd name="connsiteY18" fmla="*/ 2007302 h 2425842"/>
                <a:gd name="connsiteX19" fmla="*/ 10490076 w 12386023"/>
                <a:gd name="connsiteY19" fmla="*/ 2425841 h 2425842"/>
                <a:gd name="connsiteX20" fmla="*/ 11536110 w 12386023"/>
                <a:gd name="connsiteY20" fmla="*/ 2007304 h 2425842"/>
                <a:gd name="connsiteX21" fmla="*/ 11827041 w 12386023"/>
                <a:gd name="connsiteY21" fmla="*/ 1361569 h 2425842"/>
                <a:gd name="connsiteX22" fmla="*/ 12137937 w 12386023"/>
                <a:gd name="connsiteY22" fmla="*/ 915462 h 2425842"/>
                <a:gd name="connsiteX23" fmla="*/ 12386023 w 12386023"/>
                <a:gd name="connsiteY23" fmla="*/ 615148 h 2425842"/>
                <a:gd name="connsiteX24" fmla="*/ 12386023 w 12386023"/>
                <a:gd name="connsiteY24" fmla="*/ 176766 h 2425842"/>
                <a:gd name="connsiteX25" fmla="*/ 11779707 w 12386023"/>
                <a:gd name="connsiteY25" fmla="*/ 351341 h 2425842"/>
                <a:gd name="connsiteX26" fmla="*/ 11399982 w 12386023"/>
                <a:gd name="connsiteY26" fmla="*/ 963226 h 2425842"/>
                <a:gd name="connsiteX27" fmla="*/ 10943237 w 12386023"/>
                <a:gd name="connsiteY27" fmla="*/ 1577387 h 2425842"/>
                <a:gd name="connsiteX28" fmla="*/ 10375442 w 12386023"/>
                <a:gd name="connsiteY28" fmla="*/ 1534170 h 2425842"/>
                <a:gd name="connsiteX29" fmla="*/ 9868545 w 12386023"/>
                <a:gd name="connsiteY29" fmla="*/ 974601 h 2425842"/>
                <a:gd name="connsiteX30" fmla="*/ 9393890 w 12386023"/>
                <a:gd name="connsiteY30" fmla="*/ 496920 h 2425842"/>
                <a:gd name="connsiteX31" fmla="*/ 8791091 w 12386023"/>
                <a:gd name="connsiteY31" fmla="*/ 72450 h 2425842"/>
                <a:gd name="connsiteX32" fmla="*/ 7976795 w 12386023"/>
                <a:gd name="connsiteY32" fmla="*/ 21469 h 2425842"/>
                <a:gd name="connsiteX33" fmla="*/ 7390504 w 12386023"/>
                <a:gd name="connsiteY33" fmla="*/ 114944 h 2425842"/>
                <a:gd name="connsiteX34" fmla="*/ 6683417 w 12386023"/>
                <a:gd name="connsiteY34" fmla="*/ 62385 h 2425842"/>
                <a:gd name="connsiteX35" fmla="*/ 6243077 w 12386023"/>
                <a:gd name="connsiteY35" fmla="*/ 165413 h 2425842"/>
                <a:gd name="connsiteX36" fmla="*/ 9248668 w 12386023"/>
                <a:gd name="connsiteY36" fmla="*/ 535967 h 2425842"/>
                <a:gd name="connsiteX37" fmla="*/ 8892001 w 12386023"/>
                <a:gd name="connsiteY37" fmla="*/ 497882 h 2425842"/>
                <a:gd name="connsiteX38" fmla="*/ 9073222 w 12386023"/>
                <a:gd name="connsiteY38" fmla="*/ 800346 h 2425842"/>
                <a:gd name="connsiteX39" fmla="*/ 8714713 w 12386023"/>
                <a:gd name="connsiteY39" fmla="*/ 373300 h 2425842"/>
                <a:gd name="connsiteX40" fmla="*/ 8705072 w 12386023"/>
                <a:gd name="connsiteY40" fmla="*/ 200377 h 2425842"/>
                <a:gd name="connsiteX0" fmla="*/ 8705072 w 12386023"/>
                <a:gd name="connsiteY0" fmla="*/ 148058 h 2373523"/>
                <a:gd name="connsiteX1" fmla="*/ 8742561 w 12386023"/>
                <a:gd name="connsiteY1" fmla="*/ 384564 h 2373523"/>
                <a:gd name="connsiteX2" fmla="*/ 8676628 w 12386023"/>
                <a:gd name="connsiteY2" fmla="*/ 298017 h 2373523"/>
                <a:gd name="connsiteX3" fmla="*/ 8697801 w 12386023"/>
                <a:gd name="connsiteY3" fmla="*/ 454697 h 2373523"/>
                <a:gd name="connsiteX4" fmla="*/ 8652701 w 12386023"/>
                <a:gd name="connsiteY4" fmla="*/ 640697 h 2373523"/>
                <a:gd name="connsiteX5" fmla="*/ 421075 w 12386023"/>
                <a:gd name="connsiteY5" fmla="*/ 800852 h 2373523"/>
                <a:gd name="connsiteX6" fmla="*/ 1277876 w 12386023"/>
                <a:gd name="connsiteY6" fmla="*/ 708409 h 2373523"/>
                <a:gd name="connsiteX7" fmla="*/ 1972735 w 12386023"/>
                <a:gd name="connsiteY7" fmla="*/ 742397 h 2373523"/>
                <a:gd name="connsiteX8" fmla="*/ 2428745 w 12386023"/>
                <a:gd name="connsiteY8" fmla="*/ 682909 h 2373523"/>
                <a:gd name="connsiteX9" fmla="*/ 2906467 w 12386023"/>
                <a:gd name="connsiteY9" fmla="*/ 682909 h 2373523"/>
                <a:gd name="connsiteX10" fmla="*/ 3677336 w 12386023"/>
                <a:gd name="connsiteY10" fmla="*/ 725403 h 2373523"/>
                <a:gd name="connsiteX11" fmla="*/ 4556772 w 12386023"/>
                <a:gd name="connsiteY11" fmla="*/ 708409 h 2373523"/>
                <a:gd name="connsiteX12" fmla="*/ 5186490 w 12386023"/>
                <a:gd name="connsiteY12" fmla="*/ 716915 h 2373523"/>
                <a:gd name="connsiteX13" fmla="*/ 6022500 w 12386023"/>
                <a:gd name="connsiteY13" fmla="*/ 716915 h 2373523"/>
                <a:gd name="connsiteX14" fmla="*/ 7086513 w 12386023"/>
                <a:gd name="connsiteY14" fmla="*/ 742415 h 2373523"/>
                <a:gd name="connsiteX15" fmla="*/ 7835668 w 12386023"/>
                <a:gd name="connsiteY15" fmla="*/ 733909 h 2373523"/>
                <a:gd name="connsiteX16" fmla="*/ 8367663 w 12386023"/>
                <a:gd name="connsiteY16" fmla="*/ 725403 h 2373523"/>
                <a:gd name="connsiteX17" fmla="*/ 8988680 w 12386023"/>
                <a:gd name="connsiteY17" fmla="*/ 1128151 h 2373523"/>
                <a:gd name="connsiteX18" fmla="*/ 9558676 w 12386023"/>
                <a:gd name="connsiteY18" fmla="*/ 1954983 h 2373523"/>
                <a:gd name="connsiteX19" fmla="*/ 10490076 w 12386023"/>
                <a:gd name="connsiteY19" fmla="*/ 2373522 h 2373523"/>
                <a:gd name="connsiteX20" fmla="*/ 11536110 w 12386023"/>
                <a:gd name="connsiteY20" fmla="*/ 1954985 h 2373523"/>
                <a:gd name="connsiteX21" fmla="*/ 11827041 w 12386023"/>
                <a:gd name="connsiteY21" fmla="*/ 1309250 h 2373523"/>
                <a:gd name="connsiteX22" fmla="*/ 12137937 w 12386023"/>
                <a:gd name="connsiteY22" fmla="*/ 863143 h 2373523"/>
                <a:gd name="connsiteX23" fmla="*/ 12386023 w 12386023"/>
                <a:gd name="connsiteY23" fmla="*/ 562829 h 2373523"/>
                <a:gd name="connsiteX24" fmla="*/ 12386023 w 12386023"/>
                <a:gd name="connsiteY24" fmla="*/ 124447 h 2373523"/>
                <a:gd name="connsiteX25" fmla="*/ 11779707 w 12386023"/>
                <a:gd name="connsiteY25" fmla="*/ 299022 h 2373523"/>
                <a:gd name="connsiteX26" fmla="*/ 11399982 w 12386023"/>
                <a:gd name="connsiteY26" fmla="*/ 910907 h 2373523"/>
                <a:gd name="connsiteX27" fmla="*/ 10943237 w 12386023"/>
                <a:gd name="connsiteY27" fmla="*/ 1525068 h 2373523"/>
                <a:gd name="connsiteX28" fmla="*/ 10375442 w 12386023"/>
                <a:gd name="connsiteY28" fmla="*/ 1481851 h 2373523"/>
                <a:gd name="connsiteX29" fmla="*/ 9868545 w 12386023"/>
                <a:gd name="connsiteY29" fmla="*/ 922282 h 2373523"/>
                <a:gd name="connsiteX30" fmla="*/ 9393890 w 12386023"/>
                <a:gd name="connsiteY30" fmla="*/ 444601 h 2373523"/>
                <a:gd name="connsiteX31" fmla="*/ 8791091 w 12386023"/>
                <a:gd name="connsiteY31" fmla="*/ 20131 h 2373523"/>
                <a:gd name="connsiteX32" fmla="*/ 7390504 w 12386023"/>
                <a:gd name="connsiteY32" fmla="*/ 62625 h 2373523"/>
                <a:gd name="connsiteX33" fmla="*/ 6683417 w 12386023"/>
                <a:gd name="connsiteY33" fmla="*/ 10066 h 2373523"/>
                <a:gd name="connsiteX34" fmla="*/ 6243077 w 12386023"/>
                <a:gd name="connsiteY34" fmla="*/ 113094 h 2373523"/>
                <a:gd name="connsiteX35" fmla="*/ 9248668 w 12386023"/>
                <a:gd name="connsiteY35" fmla="*/ 483648 h 2373523"/>
                <a:gd name="connsiteX36" fmla="*/ 8892001 w 12386023"/>
                <a:gd name="connsiteY36" fmla="*/ 445563 h 2373523"/>
                <a:gd name="connsiteX37" fmla="*/ 9073222 w 12386023"/>
                <a:gd name="connsiteY37" fmla="*/ 748027 h 2373523"/>
                <a:gd name="connsiteX38" fmla="*/ 8714713 w 12386023"/>
                <a:gd name="connsiteY38" fmla="*/ 320981 h 2373523"/>
                <a:gd name="connsiteX39" fmla="*/ 8705072 w 12386023"/>
                <a:gd name="connsiteY39" fmla="*/ 148058 h 2373523"/>
                <a:gd name="connsiteX0" fmla="*/ 8705072 w 12386023"/>
                <a:gd name="connsiteY0" fmla="*/ 148058 h 2373523"/>
                <a:gd name="connsiteX1" fmla="*/ 8742561 w 12386023"/>
                <a:gd name="connsiteY1" fmla="*/ 384564 h 2373523"/>
                <a:gd name="connsiteX2" fmla="*/ 8676628 w 12386023"/>
                <a:gd name="connsiteY2" fmla="*/ 298017 h 2373523"/>
                <a:gd name="connsiteX3" fmla="*/ 8697801 w 12386023"/>
                <a:gd name="connsiteY3" fmla="*/ 454697 h 2373523"/>
                <a:gd name="connsiteX4" fmla="*/ 8652701 w 12386023"/>
                <a:gd name="connsiteY4" fmla="*/ 640697 h 2373523"/>
                <a:gd name="connsiteX5" fmla="*/ 421075 w 12386023"/>
                <a:gd name="connsiteY5" fmla="*/ 800852 h 2373523"/>
                <a:gd name="connsiteX6" fmla="*/ 1277876 w 12386023"/>
                <a:gd name="connsiteY6" fmla="*/ 708409 h 2373523"/>
                <a:gd name="connsiteX7" fmla="*/ 1972735 w 12386023"/>
                <a:gd name="connsiteY7" fmla="*/ 742397 h 2373523"/>
                <a:gd name="connsiteX8" fmla="*/ 2428745 w 12386023"/>
                <a:gd name="connsiteY8" fmla="*/ 682909 h 2373523"/>
                <a:gd name="connsiteX9" fmla="*/ 2906467 w 12386023"/>
                <a:gd name="connsiteY9" fmla="*/ 682909 h 2373523"/>
                <a:gd name="connsiteX10" fmla="*/ 3677336 w 12386023"/>
                <a:gd name="connsiteY10" fmla="*/ 725403 h 2373523"/>
                <a:gd name="connsiteX11" fmla="*/ 4556772 w 12386023"/>
                <a:gd name="connsiteY11" fmla="*/ 708409 h 2373523"/>
                <a:gd name="connsiteX12" fmla="*/ 5186490 w 12386023"/>
                <a:gd name="connsiteY12" fmla="*/ 716915 h 2373523"/>
                <a:gd name="connsiteX13" fmla="*/ 6022500 w 12386023"/>
                <a:gd name="connsiteY13" fmla="*/ 716915 h 2373523"/>
                <a:gd name="connsiteX14" fmla="*/ 7086513 w 12386023"/>
                <a:gd name="connsiteY14" fmla="*/ 742415 h 2373523"/>
                <a:gd name="connsiteX15" fmla="*/ 7835668 w 12386023"/>
                <a:gd name="connsiteY15" fmla="*/ 733909 h 2373523"/>
                <a:gd name="connsiteX16" fmla="*/ 8367663 w 12386023"/>
                <a:gd name="connsiteY16" fmla="*/ 725403 h 2373523"/>
                <a:gd name="connsiteX17" fmla="*/ 8988680 w 12386023"/>
                <a:gd name="connsiteY17" fmla="*/ 1128151 h 2373523"/>
                <a:gd name="connsiteX18" fmla="*/ 9558676 w 12386023"/>
                <a:gd name="connsiteY18" fmla="*/ 1954983 h 2373523"/>
                <a:gd name="connsiteX19" fmla="*/ 10490076 w 12386023"/>
                <a:gd name="connsiteY19" fmla="*/ 2373522 h 2373523"/>
                <a:gd name="connsiteX20" fmla="*/ 11536110 w 12386023"/>
                <a:gd name="connsiteY20" fmla="*/ 1954985 h 2373523"/>
                <a:gd name="connsiteX21" fmla="*/ 11827041 w 12386023"/>
                <a:gd name="connsiteY21" fmla="*/ 1309250 h 2373523"/>
                <a:gd name="connsiteX22" fmla="*/ 12137937 w 12386023"/>
                <a:gd name="connsiteY22" fmla="*/ 863143 h 2373523"/>
                <a:gd name="connsiteX23" fmla="*/ 12386023 w 12386023"/>
                <a:gd name="connsiteY23" fmla="*/ 562829 h 2373523"/>
                <a:gd name="connsiteX24" fmla="*/ 12386023 w 12386023"/>
                <a:gd name="connsiteY24" fmla="*/ 124447 h 2373523"/>
                <a:gd name="connsiteX25" fmla="*/ 11779707 w 12386023"/>
                <a:gd name="connsiteY25" fmla="*/ 299022 h 2373523"/>
                <a:gd name="connsiteX26" fmla="*/ 11399982 w 12386023"/>
                <a:gd name="connsiteY26" fmla="*/ 910907 h 2373523"/>
                <a:gd name="connsiteX27" fmla="*/ 10943237 w 12386023"/>
                <a:gd name="connsiteY27" fmla="*/ 1525068 h 2373523"/>
                <a:gd name="connsiteX28" fmla="*/ 10375442 w 12386023"/>
                <a:gd name="connsiteY28" fmla="*/ 1481851 h 2373523"/>
                <a:gd name="connsiteX29" fmla="*/ 9868545 w 12386023"/>
                <a:gd name="connsiteY29" fmla="*/ 922282 h 2373523"/>
                <a:gd name="connsiteX30" fmla="*/ 9393890 w 12386023"/>
                <a:gd name="connsiteY30" fmla="*/ 444601 h 2373523"/>
                <a:gd name="connsiteX31" fmla="*/ 8791091 w 12386023"/>
                <a:gd name="connsiteY31" fmla="*/ 20131 h 2373523"/>
                <a:gd name="connsiteX32" fmla="*/ 7390504 w 12386023"/>
                <a:gd name="connsiteY32" fmla="*/ 62625 h 2373523"/>
                <a:gd name="connsiteX33" fmla="*/ 6243077 w 12386023"/>
                <a:gd name="connsiteY33" fmla="*/ 113094 h 2373523"/>
                <a:gd name="connsiteX34" fmla="*/ 9248668 w 12386023"/>
                <a:gd name="connsiteY34" fmla="*/ 483648 h 2373523"/>
                <a:gd name="connsiteX35" fmla="*/ 8892001 w 12386023"/>
                <a:gd name="connsiteY35" fmla="*/ 445563 h 2373523"/>
                <a:gd name="connsiteX36" fmla="*/ 9073222 w 12386023"/>
                <a:gd name="connsiteY36" fmla="*/ 748027 h 2373523"/>
                <a:gd name="connsiteX37" fmla="*/ 8714713 w 12386023"/>
                <a:gd name="connsiteY37" fmla="*/ 320981 h 2373523"/>
                <a:gd name="connsiteX38" fmla="*/ 8705072 w 12386023"/>
                <a:gd name="connsiteY38" fmla="*/ 148058 h 2373523"/>
                <a:gd name="connsiteX0" fmla="*/ 8705072 w 12386023"/>
                <a:gd name="connsiteY0" fmla="*/ 148058 h 2373523"/>
                <a:gd name="connsiteX1" fmla="*/ 8742561 w 12386023"/>
                <a:gd name="connsiteY1" fmla="*/ 384564 h 2373523"/>
                <a:gd name="connsiteX2" fmla="*/ 8676628 w 12386023"/>
                <a:gd name="connsiteY2" fmla="*/ 298017 h 2373523"/>
                <a:gd name="connsiteX3" fmla="*/ 8697801 w 12386023"/>
                <a:gd name="connsiteY3" fmla="*/ 454697 h 2373523"/>
                <a:gd name="connsiteX4" fmla="*/ 8652701 w 12386023"/>
                <a:gd name="connsiteY4" fmla="*/ 640697 h 2373523"/>
                <a:gd name="connsiteX5" fmla="*/ 421075 w 12386023"/>
                <a:gd name="connsiteY5" fmla="*/ 800852 h 2373523"/>
                <a:gd name="connsiteX6" fmla="*/ 1277876 w 12386023"/>
                <a:gd name="connsiteY6" fmla="*/ 708409 h 2373523"/>
                <a:gd name="connsiteX7" fmla="*/ 1972735 w 12386023"/>
                <a:gd name="connsiteY7" fmla="*/ 742397 h 2373523"/>
                <a:gd name="connsiteX8" fmla="*/ 2428745 w 12386023"/>
                <a:gd name="connsiteY8" fmla="*/ 682909 h 2373523"/>
                <a:gd name="connsiteX9" fmla="*/ 2906467 w 12386023"/>
                <a:gd name="connsiteY9" fmla="*/ 682909 h 2373523"/>
                <a:gd name="connsiteX10" fmla="*/ 3677336 w 12386023"/>
                <a:gd name="connsiteY10" fmla="*/ 725403 h 2373523"/>
                <a:gd name="connsiteX11" fmla="*/ 4556772 w 12386023"/>
                <a:gd name="connsiteY11" fmla="*/ 708409 h 2373523"/>
                <a:gd name="connsiteX12" fmla="*/ 5186490 w 12386023"/>
                <a:gd name="connsiteY12" fmla="*/ 716915 h 2373523"/>
                <a:gd name="connsiteX13" fmla="*/ 6022500 w 12386023"/>
                <a:gd name="connsiteY13" fmla="*/ 716915 h 2373523"/>
                <a:gd name="connsiteX14" fmla="*/ 7086513 w 12386023"/>
                <a:gd name="connsiteY14" fmla="*/ 742415 h 2373523"/>
                <a:gd name="connsiteX15" fmla="*/ 7835668 w 12386023"/>
                <a:gd name="connsiteY15" fmla="*/ 733909 h 2373523"/>
                <a:gd name="connsiteX16" fmla="*/ 8367663 w 12386023"/>
                <a:gd name="connsiteY16" fmla="*/ 725403 h 2373523"/>
                <a:gd name="connsiteX17" fmla="*/ 8988680 w 12386023"/>
                <a:gd name="connsiteY17" fmla="*/ 1128151 h 2373523"/>
                <a:gd name="connsiteX18" fmla="*/ 9558676 w 12386023"/>
                <a:gd name="connsiteY18" fmla="*/ 1954983 h 2373523"/>
                <a:gd name="connsiteX19" fmla="*/ 10490076 w 12386023"/>
                <a:gd name="connsiteY19" fmla="*/ 2373522 h 2373523"/>
                <a:gd name="connsiteX20" fmla="*/ 11536110 w 12386023"/>
                <a:gd name="connsiteY20" fmla="*/ 1954985 h 2373523"/>
                <a:gd name="connsiteX21" fmla="*/ 11827041 w 12386023"/>
                <a:gd name="connsiteY21" fmla="*/ 1309250 h 2373523"/>
                <a:gd name="connsiteX22" fmla="*/ 12137937 w 12386023"/>
                <a:gd name="connsiteY22" fmla="*/ 863143 h 2373523"/>
                <a:gd name="connsiteX23" fmla="*/ 12386023 w 12386023"/>
                <a:gd name="connsiteY23" fmla="*/ 562829 h 2373523"/>
                <a:gd name="connsiteX24" fmla="*/ 12386023 w 12386023"/>
                <a:gd name="connsiteY24" fmla="*/ 124447 h 2373523"/>
                <a:gd name="connsiteX25" fmla="*/ 11779707 w 12386023"/>
                <a:gd name="connsiteY25" fmla="*/ 299022 h 2373523"/>
                <a:gd name="connsiteX26" fmla="*/ 11399982 w 12386023"/>
                <a:gd name="connsiteY26" fmla="*/ 910907 h 2373523"/>
                <a:gd name="connsiteX27" fmla="*/ 10943237 w 12386023"/>
                <a:gd name="connsiteY27" fmla="*/ 1525068 h 2373523"/>
                <a:gd name="connsiteX28" fmla="*/ 10375442 w 12386023"/>
                <a:gd name="connsiteY28" fmla="*/ 1481851 h 2373523"/>
                <a:gd name="connsiteX29" fmla="*/ 9868545 w 12386023"/>
                <a:gd name="connsiteY29" fmla="*/ 922282 h 2373523"/>
                <a:gd name="connsiteX30" fmla="*/ 9393890 w 12386023"/>
                <a:gd name="connsiteY30" fmla="*/ 444601 h 2373523"/>
                <a:gd name="connsiteX31" fmla="*/ 8791091 w 12386023"/>
                <a:gd name="connsiteY31" fmla="*/ 20131 h 2373523"/>
                <a:gd name="connsiteX32" fmla="*/ 7390504 w 12386023"/>
                <a:gd name="connsiteY32" fmla="*/ 62625 h 2373523"/>
                <a:gd name="connsiteX33" fmla="*/ 9248668 w 12386023"/>
                <a:gd name="connsiteY33" fmla="*/ 483648 h 2373523"/>
                <a:gd name="connsiteX34" fmla="*/ 8892001 w 12386023"/>
                <a:gd name="connsiteY34" fmla="*/ 445563 h 2373523"/>
                <a:gd name="connsiteX35" fmla="*/ 9073222 w 12386023"/>
                <a:gd name="connsiteY35" fmla="*/ 748027 h 2373523"/>
                <a:gd name="connsiteX36" fmla="*/ 8714713 w 12386023"/>
                <a:gd name="connsiteY36" fmla="*/ 320981 h 2373523"/>
                <a:gd name="connsiteX37" fmla="*/ 8705072 w 12386023"/>
                <a:gd name="connsiteY37" fmla="*/ 148058 h 2373523"/>
                <a:gd name="connsiteX0" fmla="*/ 8705072 w 12386023"/>
                <a:gd name="connsiteY0" fmla="*/ 148058 h 2373523"/>
                <a:gd name="connsiteX1" fmla="*/ 8742561 w 12386023"/>
                <a:gd name="connsiteY1" fmla="*/ 384564 h 2373523"/>
                <a:gd name="connsiteX2" fmla="*/ 8676628 w 12386023"/>
                <a:gd name="connsiteY2" fmla="*/ 298017 h 2373523"/>
                <a:gd name="connsiteX3" fmla="*/ 8697801 w 12386023"/>
                <a:gd name="connsiteY3" fmla="*/ 454697 h 2373523"/>
                <a:gd name="connsiteX4" fmla="*/ 8652701 w 12386023"/>
                <a:gd name="connsiteY4" fmla="*/ 640697 h 2373523"/>
                <a:gd name="connsiteX5" fmla="*/ 421075 w 12386023"/>
                <a:gd name="connsiteY5" fmla="*/ 800852 h 2373523"/>
                <a:gd name="connsiteX6" fmla="*/ 1277876 w 12386023"/>
                <a:gd name="connsiteY6" fmla="*/ 708409 h 2373523"/>
                <a:gd name="connsiteX7" fmla="*/ 1972735 w 12386023"/>
                <a:gd name="connsiteY7" fmla="*/ 742397 h 2373523"/>
                <a:gd name="connsiteX8" fmla="*/ 2428745 w 12386023"/>
                <a:gd name="connsiteY8" fmla="*/ 682909 h 2373523"/>
                <a:gd name="connsiteX9" fmla="*/ 2906467 w 12386023"/>
                <a:gd name="connsiteY9" fmla="*/ 682909 h 2373523"/>
                <a:gd name="connsiteX10" fmla="*/ 3677336 w 12386023"/>
                <a:gd name="connsiteY10" fmla="*/ 725403 h 2373523"/>
                <a:gd name="connsiteX11" fmla="*/ 4556772 w 12386023"/>
                <a:gd name="connsiteY11" fmla="*/ 708409 h 2373523"/>
                <a:gd name="connsiteX12" fmla="*/ 5186490 w 12386023"/>
                <a:gd name="connsiteY12" fmla="*/ 716915 h 2373523"/>
                <a:gd name="connsiteX13" fmla="*/ 6022500 w 12386023"/>
                <a:gd name="connsiteY13" fmla="*/ 716915 h 2373523"/>
                <a:gd name="connsiteX14" fmla="*/ 7086513 w 12386023"/>
                <a:gd name="connsiteY14" fmla="*/ 742415 h 2373523"/>
                <a:gd name="connsiteX15" fmla="*/ 7835668 w 12386023"/>
                <a:gd name="connsiteY15" fmla="*/ 733909 h 2373523"/>
                <a:gd name="connsiteX16" fmla="*/ 8367663 w 12386023"/>
                <a:gd name="connsiteY16" fmla="*/ 725403 h 2373523"/>
                <a:gd name="connsiteX17" fmla="*/ 8988680 w 12386023"/>
                <a:gd name="connsiteY17" fmla="*/ 1128151 h 2373523"/>
                <a:gd name="connsiteX18" fmla="*/ 9558676 w 12386023"/>
                <a:gd name="connsiteY18" fmla="*/ 1954983 h 2373523"/>
                <a:gd name="connsiteX19" fmla="*/ 10490076 w 12386023"/>
                <a:gd name="connsiteY19" fmla="*/ 2373522 h 2373523"/>
                <a:gd name="connsiteX20" fmla="*/ 11536110 w 12386023"/>
                <a:gd name="connsiteY20" fmla="*/ 1954985 h 2373523"/>
                <a:gd name="connsiteX21" fmla="*/ 11827041 w 12386023"/>
                <a:gd name="connsiteY21" fmla="*/ 1309250 h 2373523"/>
                <a:gd name="connsiteX22" fmla="*/ 12137937 w 12386023"/>
                <a:gd name="connsiteY22" fmla="*/ 863143 h 2373523"/>
                <a:gd name="connsiteX23" fmla="*/ 12386023 w 12386023"/>
                <a:gd name="connsiteY23" fmla="*/ 562829 h 2373523"/>
                <a:gd name="connsiteX24" fmla="*/ 12386023 w 12386023"/>
                <a:gd name="connsiteY24" fmla="*/ 124447 h 2373523"/>
                <a:gd name="connsiteX25" fmla="*/ 11779707 w 12386023"/>
                <a:gd name="connsiteY25" fmla="*/ 299022 h 2373523"/>
                <a:gd name="connsiteX26" fmla="*/ 11399982 w 12386023"/>
                <a:gd name="connsiteY26" fmla="*/ 910907 h 2373523"/>
                <a:gd name="connsiteX27" fmla="*/ 10943237 w 12386023"/>
                <a:gd name="connsiteY27" fmla="*/ 1525068 h 2373523"/>
                <a:gd name="connsiteX28" fmla="*/ 10375442 w 12386023"/>
                <a:gd name="connsiteY28" fmla="*/ 1481851 h 2373523"/>
                <a:gd name="connsiteX29" fmla="*/ 9868545 w 12386023"/>
                <a:gd name="connsiteY29" fmla="*/ 922282 h 2373523"/>
                <a:gd name="connsiteX30" fmla="*/ 9393890 w 12386023"/>
                <a:gd name="connsiteY30" fmla="*/ 444601 h 2373523"/>
                <a:gd name="connsiteX31" fmla="*/ 8791091 w 12386023"/>
                <a:gd name="connsiteY31" fmla="*/ 20131 h 2373523"/>
                <a:gd name="connsiteX32" fmla="*/ 7390504 w 12386023"/>
                <a:gd name="connsiteY32" fmla="*/ 62625 h 2373523"/>
                <a:gd name="connsiteX33" fmla="*/ 9248668 w 12386023"/>
                <a:gd name="connsiteY33" fmla="*/ 483648 h 2373523"/>
                <a:gd name="connsiteX34" fmla="*/ 8892001 w 12386023"/>
                <a:gd name="connsiteY34" fmla="*/ 445563 h 2373523"/>
                <a:gd name="connsiteX35" fmla="*/ 9073222 w 12386023"/>
                <a:gd name="connsiteY35" fmla="*/ 748027 h 2373523"/>
                <a:gd name="connsiteX36" fmla="*/ 8705072 w 12386023"/>
                <a:gd name="connsiteY36" fmla="*/ 148058 h 2373523"/>
                <a:gd name="connsiteX0" fmla="*/ 8705072 w 12386023"/>
                <a:gd name="connsiteY0" fmla="*/ 148058 h 2373523"/>
                <a:gd name="connsiteX1" fmla="*/ 8742561 w 12386023"/>
                <a:gd name="connsiteY1" fmla="*/ 384564 h 2373523"/>
                <a:gd name="connsiteX2" fmla="*/ 8697801 w 12386023"/>
                <a:gd name="connsiteY2" fmla="*/ 454697 h 2373523"/>
                <a:gd name="connsiteX3" fmla="*/ 8652701 w 12386023"/>
                <a:gd name="connsiteY3" fmla="*/ 640697 h 2373523"/>
                <a:gd name="connsiteX4" fmla="*/ 421075 w 12386023"/>
                <a:gd name="connsiteY4" fmla="*/ 800852 h 2373523"/>
                <a:gd name="connsiteX5" fmla="*/ 1277876 w 12386023"/>
                <a:gd name="connsiteY5" fmla="*/ 708409 h 2373523"/>
                <a:gd name="connsiteX6" fmla="*/ 1972735 w 12386023"/>
                <a:gd name="connsiteY6" fmla="*/ 742397 h 2373523"/>
                <a:gd name="connsiteX7" fmla="*/ 2428745 w 12386023"/>
                <a:gd name="connsiteY7" fmla="*/ 682909 h 2373523"/>
                <a:gd name="connsiteX8" fmla="*/ 2906467 w 12386023"/>
                <a:gd name="connsiteY8" fmla="*/ 682909 h 2373523"/>
                <a:gd name="connsiteX9" fmla="*/ 3677336 w 12386023"/>
                <a:gd name="connsiteY9" fmla="*/ 725403 h 2373523"/>
                <a:gd name="connsiteX10" fmla="*/ 4556772 w 12386023"/>
                <a:gd name="connsiteY10" fmla="*/ 708409 h 2373523"/>
                <a:gd name="connsiteX11" fmla="*/ 5186490 w 12386023"/>
                <a:gd name="connsiteY11" fmla="*/ 716915 h 2373523"/>
                <a:gd name="connsiteX12" fmla="*/ 6022500 w 12386023"/>
                <a:gd name="connsiteY12" fmla="*/ 716915 h 2373523"/>
                <a:gd name="connsiteX13" fmla="*/ 7086513 w 12386023"/>
                <a:gd name="connsiteY13" fmla="*/ 742415 h 2373523"/>
                <a:gd name="connsiteX14" fmla="*/ 7835668 w 12386023"/>
                <a:gd name="connsiteY14" fmla="*/ 733909 h 2373523"/>
                <a:gd name="connsiteX15" fmla="*/ 8367663 w 12386023"/>
                <a:gd name="connsiteY15" fmla="*/ 725403 h 2373523"/>
                <a:gd name="connsiteX16" fmla="*/ 8988680 w 12386023"/>
                <a:gd name="connsiteY16" fmla="*/ 1128151 h 2373523"/>
                <a:gd name="connsiteX17" fmla="*/ 9558676 w 12386023"/>
                <a:gd name="connsiteY17" fmla="*/ 1954983 h 2373523"/>
                <a:gd name="connsiteX18" fmla="*/ 10490076 w 12386023"/>
                <a:gd name="connsiteY18" fmla="*/ 2373522 h 2373523"/>
                <a:gd name="connsiteX19" fmla="*/ 11536110 w 12386023"/>
                <a:gd name="connsiteY19" fmla="*/ 1954985 h 2373523"/>
                <a:gd name="connsiteX20" fmla="*/ 11827041 w 12386023"/>
                <a:gd name="connsiteY20" fmla="*/ 1309250 h 2373523"/>
                <a:gd name="connsiteX21" fmla="*/ 12137937 w 12386023"/>
                <a:gd name="connsiteY21" fmla="*/ 863143 h 2373523"/>
                <a:gd name="connsiteX22" fmla="*/ 12386023 w 12386023"/>
                <a:gd name="connsiteY22" fmla="*/ 562829 h 2373523"/>
                <a:gd name="connsiteX23" fmla="*/ 12386023 w 12386023"/>
                <a:gd name="connsiteY23" fmla="*/ 124447 h 2373523"/>
                <a:gd name="connsiteX24" fmla="*/ 11779707 w 12386023"/>
                <a:gd name="connsiteY24" fmla="*/ 299022 h 2373523"/>
                <a:gd name="connsiteX25" fmla="*/ 11399982 w 12386023"/>
                <a:gd name="connsiteY25" fmla="*/ 910907 h 2373523"/>
                <a:gd name="connsiteX26" fmla="*/ 10943237 w 12386023"/>
                <a:gd name="connsiteY26" fmla="*/ 1525068 h 2373523"/>
                <a:gd name="connsiteX27" fmla="*/ 10375442 w 12386023"/>
                <a:gd name="connsiteY27" fmla="*/ 1481851 h 2373523"/>
                <a:gd name="connsiteX28" fmla="*/ 9868545 w 12386023"/>
                <a:gd name="connsiteY28" fmla="*/ 922282 h 2373523"/>
                <a:gd name="connsiteX29" fmla="*/ 9393890 w 12386023"/>
                <a:gd name="connsiteY29" fmla="*/ 444601 h 2373523"/>
                <a:gd name="connsiteX30" fmla="*/ 8791091 w 12386023"/>
                <a:gd name="connsiteY30" fmla="*/ 20131 h 2373523"/>
                <a:gd name="connsiteX31" fmla="*/ 7390504 w 12386023"/>
                <a:gd name="connsiteY31" fmla="*/ 62625 h 2373523"/>
                <a:gd name="connsiteX32" fmla="*/ 9248668 w 12386023"/>
                <a:gd name="connsiteY32" fmla="*/ 483648 h 2373523"/>
                <a:gd name="connsiteX33" fmla="*/ 8892001 w 12386023"/>
                <a:gd name="connsiteY33" fmla="*/ 445563 h 2373523"/>
                <a:gd name="connsiteX34" fmla="*/ 9073222 w 12386023"/>
                <a:gd name="connsiteY34" fmla="*/ 748027 h 2373523"/>
                <a:gd name="connsiteX35" fmla="*/ 8705072 w 12386023"/>
                <a:gd name="connsiteY35" fmla="*/ 148058 h 2373523"/>
                <a:gd name="connsiteX0" fmla="*/ 8705072 w 12386023"/>
                <a:gd name="connsiteY0" fmla="*/ 148058 h 2373523"/>
                <a:gd name="connsiteX1" fmla="*/ 8697801 w 12386023"/>
                <a:gd name="connsiteY1" fmla="*/ 454697 h 2373523"/>
                <a:gd name="connsiteX2" fmla="*/ 8652701 w 12386023"/>
                <a:gd name="connsiteY2" fmla="*/ 640697 h 2373523"/>
                <a:gd name="connsiteX3" fmla="*/ 421075 w 12386023"/>
                <a:gd name="connsiteY3" fmla="*/ 800852 h 2373523"/>
                <a:gd name="connsiteX4" fmla="*/ 1277876 w 12386023"/>
                <a:gd name="connsiteY4" fmla="*/ 708409 h 2373523"/>
                <a:gd name="connsiteX5" fmla="*/ 1972735 w 12386023"/>
                <a:gd name="connsiteY5" fmla="*/ 742397 h 2373523"/>
                <a:gd name="connsiteX6" fmla="*/ 2428745 w 12386023"/>
                <a:gd name="connsiteY6" fmla="*/ 682909 h 2373523"/>
                <a:gd name="connsiteX7" fmla="*/ 2906467 w 12386023"/>
                <a:gd name="connsiteY7" fmla="*/ 682909 h 2373523"/>
                <a:gd name="connsiteX8" fmla="*/ 3677336 w 12386023"/>
                <a:gd name="connsiteY8" fmla="*/ 725403 h 2373523"/>
                <a:gd name="connsiteX9" fmla="*/ 4556772 w 12386023"/>
                <a:gd name="connsiteY9" fmla="*/ 708409 h 2373523"/>
                <a:gd name="connsiteX10" fmla="*/ 5186490 w 12386023"/>
                <a:gd name="connsiteY10" fmla="*/ 716915 h 2373523"/>
                <a:gd name="connsiteX11" fmla="*/ 6022500 w 12386023"/>
                <a:gd name="connsiteY11" fmla="*/ 716915 h 2373523"/>
                <a:gd name="connsiteX12" fmla="*/ 7086513 w 12386023"/>
                <a:gd name="connsiteY12" fmla="*/ 742415 h 2373523"/>
                <a:gd name="connsiteX13" fmla="*/ 7835668 w 12386023"/>
                <a:gd name="connsiteY13" fmla="*/ 733909 h 2373523"/>
                <a:gd name="connsiteX14" fmla="*/ 8367663 w 12386023"/>
                <a:gd name="connsiteY14" fmla="*/ 725403 h 2373523"/>
                <a:gd name="connsiteX15" fmla="*/ 8988680 w 12386023"/>
                <a:gd name="connsiteY15" fmla="*/ 1128151 h 2373523"/>
                <a:gd name="connsiteX16" fmla="*/ 9558676 w 12386023"/>
                <a:gd name="connsiteY16" fmla="*/ 1954983 h 2373523"/>
                <a:gd name="connsiteX17" fmla="*/ 10490076 w 12386023"/>
                <a:gd name="connsiteY17" fmla="*/ 2373522 h 2373523"/>
                <a:gd name="connsiteX18" fmla="*/ 11536110 w 12386023"/>
                <a:gd name="connsiteY18" fmla="*/ 1954985 h 2373523"/>
                <a:gd name="connsiteX19" fmla="*/ 11827041 w 12386023"/>
                <a:gd name="connsiteY19" fmla="*/ 1309250 h 2373523"/>
                <a:gd name="connsiteX20" fmla="*/ 12137937 w 12386023"/>
                <a:gd name="connsiteY20" fmla="*/ 863143 h 2373523"/>
                <a:gd name="connsiteX21" fmla="*/ 12386023 w 12386023"/>
                <a:gd name="connsiteY21" fmla="*/ 562829 h 2373523"/>
                <a:gd name="connsiteX22" fmla="*/ 12386023 w 12386023"/>
                <a:gd name="connsiteY22" fmla="*/ 124447 h 2373523"/>
                <a:gd name="connsiteX23" fmla="*/ 11779707 w 12386023"/>
                <a:gd name="connsiteY23" fmla="*/ 299022 h 2373523"/>
                <a:gd name="connsiteX24" fmla="*/ 11399982 w 12386023"/>
                <a:gd name="connsiteY24" fmla="*/ 910907 h 2373523"/>
                <a:gd name="connsiteX25" fmla="*/ 10943237 w 12386023"/>
                <a:gd name="connsiteY25" fmla="*/ 1525068 h 2373523"/>
                <a:gd name="connsiteX26" fmla="*/ 10375442 w 12386023"/>
                <a:gd name="connsiteY26" fmla="*/ 1481851 h 2373523"/>
                <a:gd name="connsiteX27" fmla="*/ 9868545 w 12386023"/>
                <a:gd name="connsiteY27" fmla="*/ 922282 h 2373523"/>
                <a:gd name="connsiteX28" fmla="*/ 9393890 w 12386023"/>
                <a:gd name="connsiteY28" fmla="*/ 444601 h 2373523"/>
                <a:gd name="connsiteX29" fmla="*/ 8791091 w 12386023"/>
                <a:gd name="connsiteY29" fmla="*/ 20131 h 2373523"/>
                <a:gd name="connsiteX30" fmla="*/ 7390504 w 12386023"/>
                <a:gd name="connsiteY30" fmla="*/ 62625 h 2373523"/>
                <a:gd name="connsiteX31" fmla="*/ 9248668 w 12386023"/>
                <a:gd name="connsiteY31" fmla="*/ 483648 h 2373523"/>
                <a:gd name="connsiteX32" fmla="*/ 8892001 w 12386023"/>
                <a:gd name="connsiteY32" fmla="*/ 445563 h 2373523"/>
                <a:gd name="connsiteX33" fmla="*/ 9073222 w 12386023"/>
                <a:gd name="connsiteY33" fmla="*/ 748027 h 2373523"/>
                <a:gd name="connsiteX34" fmla="*/ 8705072 w 12386023"/>
                <a:gd name="connsiteY34" fmla="*/ 148058 h 2373523"/>
                <a:gd name="connsiteX0" fmla="*/ 9073222 w 12386023"/>
                <a:gd name="connsiteY0" fmla="*/ 748027 h 2373523"/>
                <a:gd name="connsiteX1" fmla="*/ 8697801 w 12386023"/>
                <a:gd name="connsiteY1" fmla="*/ 454697 h 2373523"/>
                <a:gd name="connsiteX2" fmla="*/ 8652701 w 12386023"/>
                <a:gd name="connsiteY2" fmla="*/ 640697 h 2373523"/>
                <a:gd name="connsiteX3" fmla="*/ 421075 w 12386023"/>
                <a:gd name="connsiteY3" fmla="*/ 800852 h 2373523"/>
                <a:gd name="connsiteX4" fmla="*/ 1277876 w 12386023"/>
                <a:gd name="connsiteY4" fmla="*/ 708409 h 2373523"/>
                <a:gd name="connsiteX5" fmla="*/ 1972735 w 12386023"/>
                <a:gd name="connsiteY5" fmla="*/ 742397 h 2373523"/>
                <a:gd name="connsiteX6" fmla="*/ 2428745 w 12386023"/>
                <a:gd name="connsiteY6" fmla="*/ 682909 h 2373523"/>
                <a:gd name="connsiteX7" fmla="*/ 2906467 w 12386023"/>
                <a:gd name="connsiteY7" fmla="*/ 682909 h 2373523"/>
                <a:gd name="connsiteX8" fmla="*/ 3677336 w 12386023"/>
                <a:gd name="connsiteY8" fmla="*/ 725403 h 2373523"/>
                <a:gd name="connsiteX9" fmla="*/ 4556772 w 12386023"/>
                <a:gd name="connsiteY9" fmla="*/ 708409 h 2373523"/>
                <a:gd name="connsiteX10" fmla="*/ 5186490 w 12386023"/>
                <a:gd name="connsiteY10" fmla="*/ 716915 h 2373523"/>
                <a:gd name="connsiteX11" fmla="*/ 6022500 w 12386023"/>
                <a:gd name="connsiteY11" fmla="*/ 716915 h 2373523"/>
                <a:gd name="connsiteX12" fmla="*/ 7086513 w 12386023"/>
                <a:gd name="connsiteY12" fmla="*/ 742415 h 2373523"/>
                <a:gd name="connsiteX13" fmla="*/ 7835668 w 12386023"/>
                <a:gd name="connsiteY13" fmla="*/ 733909 h 2373523"/>
                <a:gd name="connsiteX14" fmla="*/ 8367663 w 12386023"/>
                <a:gd name="connsiteY14" fmla="*/ 725403 h 2373523"/>
                <a:gd name="connsiteX15" fmla="*/ 8988680 w 12386023"/>
                <a:gd name="connsiteY15" fmla="*/ 1128151 h 2373523"/>
                <a:gd name="connsiteX16" fmla="*/ 9558676 w 12386023"/>
                <a:gd name="connsiteY16" fmla="*/ 1954983 h 2373523"/>
                <a:gd name="connsiteX17" fmla="*/ 10490076 w 12386023"/>
                <a:gd name="connsiteY17" fmla="*/ 2373522 h 2373523"/>
                <a:gd name="connsiteX18" fmla="*/ 11536110 w 12386023"/>
                <a:gd name="connsiteY18" fmla="*/ 1954985 h 2373523"/>
                <a:gd name="connsiteX19" fmla="*/ 11827041 w 12386023"/>
                <a:gd name="connsiteY19" fmla="*/ 1309250 h 2373523"/>
                <a:gd name="connsiteX20" fmla="*/ 12137937 w 12386023"/>
                <a:gd name="connsiteY20" fmla="*/ 863143 h 2373523"/>
                <a:gd name="connsiteX21" fmla="*/ 12386023 w 12386023"/>
                <a:gd name="connsiteY21" fmla="*/ 562829 h 2373523"/>
                <a:gd name="connsiteX22" fmla="*/ 12386023 w 12386023"/>
                <a:gd name="connsiteY22" fmla="*/ 124447 h 2373523"/>
                <a:gd name="connsiteX23" fmla="*/ 11779707 w 12386023"/>
                <a:gd name="connsiteY23" fmla="*/ 299022 h 2373523"/>
                <a:gd name="connsiteX24" fmla="*/ 11399982 w 12386023"/>
                <a:gd name="connsiteY24" fmla="*/ 910907 h 2373523"/>
                <a:gd name="connsiteX25" fmla="*/ 10943237 w 12386023"/>
                <a:gd name="connsiteY25" fmla="*/ 1525068 h 2373523"/>
                <a:gd name="connsiteX26" fmla="*/ 10375442 w 12386023"/>
                <a:gd name="connsiteY26" fmla="*/ 1481851 h 2373523"/>
                <a:gd name="connsiteX27" fmla="*/ 9868545 w 12386023"/>
                <a:gd name="connsiteY27" fmla="*/ 922282 h 2373523"/>
                <a:gd name="connsiteX28" fmla="*/ 9393890 w 12386023"/>
                <a:gd name="connsiteY28" fmla="*/ 444601 h 2373523"/>
                <a:gd name="connsiteX29" fmla="*/ 8791091 w 12386023"/>
                <a:gd name="connsiteY29" fmla="*/ 20131 h 2373523"/>
                <a:gd name="connsiteX30" fmla="*/ 7390504 w 12386023"/>
                <a:gd name="connsiteY30" fmla="*/ 62625 h 2373523"/>
                <a:gd name="connsiteX31" fmla="*/ 9248668 w 12386023"/>
                <a:gd name="connsiteY31" fmla="*/ 483648 h 2373523"/>
                <a:gd name="connsiteX32" fmla="*/ 8892001 w 12386023"/>
                <a:gd name="connsiteY32" fmla="*/ 445563 h 2373523"/>
                <a:gd name="connsiteX33" fmla="*/ 9073222 w 12386023"/>
                <a:gd name="connsiteY33" fmla="*/ 748027 h 2373523"/>
                <a:gd name="connsiteX0" fmla="*/ 9073222 w 12386023"/>
                <a:gd name="connsiteY0" fmla="*/ 748027 h 2373523"/>
                <a:gd name="connsiteX1" fmla="*/ 8652701 w 12386023"/>
                <a:gd name="connsiteY1" fmla="*/ 640697 h 2373523"/>
                <a:gd name="connsiteX2" fmla="*/ 421075 w 12386023"/>
                <a:gd name="connsiteY2" fmla="*/ 800852 h 2373523"/>
                <a:gd name="connsiteX3" fmla="*/ 1277876 w 12386023"/>
                <a:gd name="connsiteY3" fmla="*/ 708409 h 2373523"/>
                <a:gd name="connsiteX4" fmla="*/ 1972735 w 12386023"/>
                <a:gd name="connsiteY4" fmla="*/ 742397 h 2373523"/>
                <a:gd name="connsiteX5" fmla="*/ 2428745 w 12386023"/>
                <a:gd name="connsiteY5" fmla="*/ 682909 h 2373523"/>
                <a:gd name="connsiteX6" fmla="*/ 2906467 w 12386023"/>
                <a:gd name="connsiteY6" fmla="*/ 682909 h 2373523"/>
                <a:gd name="connsiteX7" fmla="*/ 3677336 w 12386023"/>
                <a:gd name="connsiteY7" fmla="*/ 725403 h 2373523"/>
                <a:gd name="connsiteX8" fmla="*/ 4556772 w 12386023"/>
                <a:gd name="connsiteY8" fmla="*/ 708409 h 2373523"/>
                <a:gd name="connsiteX9" fmla="*/ 5186490 w 12386023"/>
                <a:gd name="connsiteY9" fmla="*/ 716915 h 2373523"/>
                <a:gd name="connsiteX10" fmla="*/ 6022500 w 12386023"/>
                <a:gd name="connsiteY10" fmla="*/ 716915 h 2373523"/>
                <a:gd name="connsiteX11" fmla="*/ 7086513 w 12386023"/>
                <a:gd name="connsiteY11" fmla="*/ 742415 h 2373523"/>
                <a:gd name="connsiteX12" fmla="*/ 7835668 w 12386023"/>
                <a:gd name="connsiteY12" fmla="*/ 733909 h 2373523"/>
                <a:gd name="connsiteX13" fmla="*/ 8367663 w 12386023"/>
                <a:gd name="connsiteY13" fmla="*/ 725403 h 2373523"/>
                <a:gd name="connsiteX14" fmla="*/ 8988680 w 12386023"/>
                <a:gd name="connsiteY14" fmla="*/ 1128151 h 2373523"/>
                <a:gd name="connsiteX15" fmla="*/ 9558676 w 12386023"/>
                <a:gd name="connsiteY15" fmla="*/ 1954983 h 2373523"/>
                <a:gd name="connsiteX16" fmla="*/ 10490076 w 12386023"/>
                <a:gd name="connsiteY16" fmla="*/ 2373522 h 2373523"/>
                <a:gd name="connsiteX17" fmla="*/ 11536110 w 12386023"/>
                <a:gd name="connsiteY17" fmla="*/ 1954985 h 2373523"/>
                <a:gd name="connsiteX18" fmla="*/ 11827041 w 12386023"/>
                <a:gd name="connsiteY18" fmla="*/ 1309250 h 2373523"/>
                <a:gd name="connsiteX19" fmla="*/ 12137937 w 12386023"/>
                <a:gd name="connsiteY19" fmla="*/ 863143 h 2373523"/>
                <a:gd name="connsiteX20" fmla="*/ 12386023 w 12386023"/>
                <a:gd name="connsiteY20" fmla="*/ 562829 h 2373523"/>
                <a:gd name="connsiteX21" fmla="*/ 12386023 w 12386023"/>
                <a:gd name="connsiteY21" fmla="*/ 124447 h 2373523"/>
                <a:gd name="connsiteX22" fmla="*/ 11779707 w 12386023"/>
                <a:gd name="connsiteY22" fmla="*/ 299022 h 2373523"/>
                <a:gd name="connsiteX23" fmla="*/ 11399982 w 12386023"/>
                <a:gd name="connsiteY23" fmla="*/ 910907 h 2373523"/>
                <a:gd name="connsiteX24" fmla="*/ 10943237 w 12386023"/>
                <a:gd name="connsiteY24" fmla="*/ 1525068 h 2373523"/>
                <a:gd name="connsiteX25" fmla="*/ 10375442 w 12386023"/>
                <a:gd name="connsiteY25" fmla="*/ 1481851 h 2373523"/>
                <a:gd name="connsiteX26" fmla="*/ 9868545 w 12386023"/>
                <a:gd name="connsiteY26" fmla="*/ 922282 h 2373523"/>
                <a:gd name="connsiteX27" fmla="*/ 9393890 w 12386023"/>
                <a:gd name="connsiteY27" fmla="*/ 444601 h 2373523"/>
                <a:gd name="connsiteX28" fmla="*/ 8791091 w 12386023"/>
                <a:gd name="connsiteY28" fmla="*/ 20131 h 2373523"/>
                <a:gd name="connsiteX29" fmla="*/ 7390504 w 12386023"/>
                <a:gd name="connsiteY29" fmla="*/ 62625 h 2373523"/>
                <a:gd name="connsiteX30" fmla="*/ 9248668 w 12386023"/>
                <a:gd name="connsiteY30" fmla="*/ 483648 h 2373523"/>
                <a:gd name="connsiteX31" fmla="*/ 8892001 w 12386023"/>
                <a:gd name="connsiteY31" fmla="*/ 445563 h 2373523"/>
                <a:gd name="connsiteX32" fmla="*/ 9073222 w 12386023"/>
                <a:gd name="connsiteY32" fmla="*/ 748027 h 2373523"/>
                <a:gd name="connsiteX0" fmla="*/ 9102751 w 12415552"/>
                <a:gd name="connsiteY0" fmla="*/ 748027 h 2373523"/>
                <a:gd name="connsiteX1" fmla="*/ 450604 w 12415552"/>
                <a:gd name="connsiteY1" fmla="*/ 800852 h 2373523"/>
                <a:gd name="connsiteX2" fmla="*/ 1307405 w 12415552"/>
                <a:gd name="connsiteY2" fmla="*/ 708409 h 2373523"/>
                <a:gd name="connsiteX3" fmla="*/ 2002264 w 12415552"/>
                <a:gd name="connsiteY3" fmla="*/ 742397 h 2373523"/>
                <a:gd name="connsiteX4" fmla="*/ 2458274 w 12415552"/>
                <a:gd name="connsiteY4" fmla="*/ 682909 h 2373523"/>
                <a:gd name="connsiteX5" fmla="*/ 2935996 w 12415552"/>
                <a:gd name="connsiteY5" fmla="*/ 682909 h 2373523"/>
                <a:gd name="connsiteX6" fmla="*/ 3706865 w 12415552"/>
                <a:gd name="connsiteY6" fmla="*/ 725403 h 2373523"/>
                <a:gd name="connsiteX7" fmla="*/ 4586301 w 12415552"/>
                <a:gd name="connsiteY7" fmla="*/ 708409 h 2373523"/>
                <a:gd name="connsiteX8" fmla="*/ 5216019 w 12415552"/>
                <a:gd name="connsiteY8" fmla="*/ 716915 h 2373523"/>
                <a:gd name="connsiteX9" fmla="*/ 6052029 w 12415552"/>
                <a:gd name="connsiteY9" fmla="*/ 716915 h 2373523"/>
                <a:gd name="connsiteX10" fmla="*/ 7116042 w 12415552"/>
                <a:gd name="connsiteY10" fmla="*/ 742415 h 2373523"/>
                <a:gd name="connsiteX11" fmla="*/ 7865197 w 12415552"/>
                <a:gd name="connsiteY11" fmla="*/ 733909 h 2373523"/>
                <a:gd name="connsiteX12" fmla="*/ 8397192 w 12415552"/>
                <a:gd name="connsiteY12" fmla="*/ 725403 h 2373523"/>
                <a:gd name="connsiteX13" fmla="*/ 9018209 w 12415552"/>
                <a:gd name="connsiteY13" fmla="*/ 1128151 h 2373523"/>
                <a:gd name="connsiteX14" fmla="*/ 9588205 w 12415552"/>
                <a:gd name="connsiteY14" fmla="*/ 1954983 h 2373523"/>
                <a:gd name="connsiteX15" fmla="*/ 10519605 w 12415552"/>
                <a:gd name="connsiteY15" fmla="*/ 2373522 h 2373523"/>
                <a:gd name="connsiteX16" fmla="*/ 11565639 w 12415552"/>
                <a:gd name="connsiteY16" fmla="*/ 1954985 h 2373523"/>
                <a:gd name="connsiteX17" fmla="*/ 11856570 w 12415552"/>
                <a:gd name="connsiteY17" fmla="*/ 1309250 h 2373523"/>
                <a:gd name="connsiteX18" fmla="*/ 12167466 w 12415552"/>
                <a:gd name="connsiteY18" fmla="*/ 863143 h 2373523"/>
                <a:gd name="connsiteX19" fmla="*/ 12415552 w 12415552"/>
                <a:gd name="connsiteY19" fmla="*/ 562829 h 2373523"/>
                <a:gd name="connsiteX20" fmla="*/ 12415552 w 12415552"/>
                <a:gd name="connsiteY20" fmla="*/ 124447 h 2373523"/>
                <a:gd name="connsiteX21" fmla="*/ 11809236 w 12415552"/>
                <a:gd name="connsiteY21" fmla="*/ 299022 h 2373523"/>
                <a:gd name="connsiteX22" fmla="*/ 11429511 w 12415552"/>
                <a:gd name="connsiteY22" fmla="*/ 910907 h 2373523"/>
                <a:gd name="connsiteX23" fmla="*/ 10972766 w 12415552"/>
                <a:gd name="connsiteY23" fmla="*/ 1525068 h 2373523"/>
                <a:gd name="connsiteX24" fmla="*/ 10404971 w 12415552"/>
                <a:gd name="connsiteY24" fmla="*/ 1481851 h 2373523"/>
                <a:gd name="connsiteX25" fmla="*/ 9898074 w 12415552"/>
                <a:gd name="connsiteY25" fmla="*/ 922282 h 2373523"/>
                <a:gd name="connsiteX26" fmla="*/ 9423419 w 12415552"/>
                <a:gd name="connsiteY26" fmla="*/ 444601 h 2373523"/>
                <a:gd name="connsiteX27" fmla="*/ 8820620 w 12415552"/>
                <a:gd name="connsiteY27" fmla="*/ 20131 h 2373523"/>
                <a:gd name="connsiteX28" fmla="*/ 7420033 w 12415552"/>
                <a:gd name="connsiteY28" fmla="*/ 62625 h 2373523"/>
                <a:gd name="connsiteX29" fmla="*/ 9278197 w 12415552"/>
                <a:gd name="connsiteY29" fmla="*/ 483648 h 2373523"/>
                <a:gd name="connsiteX30" fmla="*/ 8921530 w 12415552"/>
                <a:gd name="connsiteY30" fmla="*/ 445563 h 2373523"/>
                <a:gd name="connsiteX31" fmla="*/ 9102751 w 12415552"/>
                <a:gd name="connsiteY31" fmla="*/ 748027 h 2373523"/>
                <a:gd name="connsiteX0" fmla="*/ 9102753 w 12415554"/>
                <a:gd name="connsiteY0" fmla="*/ 748027 h 2373523"/>
                <a:gd name="connsiteX1" fmla="*/ 450606 w 12415554"/>
                <a:gd name="connsiteY1" fmla="*/ 800852 h 2373523"/>
                <a:gd name="connsiteX2" fmla="*/ 1307407 w 12415554"/>
                <a:gd name="connsiteY2" fmla="*/ 708409 h 2373523"/>
                <a:gd name="connsiteX3" fmla="*/ 2002266 w 12415554"/>
                <a:gd name="connsiteY3" fmla="*/ 742397 h 2373523"/>
                <a:gd name="connsiteX4" fmla="*/ 2458276 w 12415554"/>
                <a:gd name="connsiteY4" fmla="*/ 682909 h 2373523"/>
                <a:gd name="connsiteX5" fmla="*/ 2935998 w 12415554"/>
                <a:gd name="connsiteY5" fmla="*/ 682909 h 2373523"/>
                <a:gd name="connsiteX6" fmla="*/ 3706867 w 12415554"/>
                <a:gd name="connsiteY6" fmla="*/ 725403 h 2373523"/>
                <a:gd name="connsiteX7" fmla="*/ 4586303 w 12415554"/>
                <a:gd name="connsiteY7" fmla="*/ 708409 h 2373523"/>
                <a:gd name="connsiteX8" fmla="*/ 5216021 w 12415554"/>
                <a:gd name="connsiteY8" fmla="*/ 716915 h 2373523"/>
                <a:gd name="connsiteX9" fmla="*/ 6052031 w 12415554"/>
                <a:gd name="connsiteY9" fmla="*/ 716915 h 2373523"/>
                <a:gd name="connsiteX10" fmla="*/ 7116044 w 12415554"/>
                <a:gd name="connsiteY10" fmla="*/ 742415 h 2373523"/>
                <a:gd name="connsiteX11" fmla="*/ 7865199 w 12415554"/>
                <a:gd name="connsiteY11" fmla="*/ 733909 h 2373523"/>
                <a:gd name="connsiteX12" fmla="*/ 8397194 w 12415554"/>
                <a:gd name="connsiteY12" fmla="*/ 725403 h 2373523"/>
                <a:gd name="connsiteX13" fmla="*/ 9018211 w 12415554"/>
                <a:gd name="connsiteY13" fmla="*/ 1128151 h 2373523"/>
                <a:gd name="connsiteX14" fmla="*/ 9588207 w 12415554"/>
                <a:gd name="connsiteY14" fmla="*/ 1954983 h 2373523"/>
                <a:gd name="connsiteX15" fmla="*/ 10519607 w 12415554"/>
                <a:gd name="connsiteY15" fmla="*/ 2373522 h 2373523"/>
                <a:gd name="connsiteX16" fmla="*/ 11565641 w 12415554"/>
                <a:gd name="connsiteY16" fmla="*/ 1954985 h 2373523"/>
                <a:gd name="connsiteX17" fmla="*/ 11856572 w 12415554"/>
                <a:gd name="connsiteY17" fmla="*/ 1309250 h 2373523"/>
                <a:gd name="connsiteX18" fmla="*/ 12167468 w 12415554"/>
                <a:gd name="connsiteY18" fmla="*/ 863143 h 2373523"/>
                <a:gd name="connsiteX19" fmla="*/ 12415554 w 12415554"/>
                <a:gd name="connsiteY19" fmla="*/ 562829 h 2373523"/>
                <a:gd name="connsiteX20" fmla="*/ 12415554 w 12415554"/>
                <a:gd name="connsiteY20" fmla="*/ 124447 h 2373523"/>
                <a:gd name="connsiteX21" fmla="*/ 11809238 w 12415554"/>
                <a:gd name="connsiteY21" fmla="*/ 299022 h 2373523"/>
                <a:gd name="connsiteX22" fmla="*/ 11429513 w 12415554"/>
                <a:gd name="connsiteY22" fmla="*/ 910907 h 2373523"/>
                <a:gd name="connsiteX23" fmla="*/ 10972768 w 12415554"/>
                <a:gd name="connsiteY23" fmla="*/ 1525068 h 2373523"/>
                <a:gd name="connsiteX24" fmla="*/ 10404973 w 12415554"/>
                <a:gd name="connsiteY24" fmla="*/ 1481851 h 2373523"/>
                <a:gd name="connsiteX25" fmla="*/ 9898076 w 12415554"/>
                <a:gd name="connsiteY25" fmla="*/ 922282 h 2373523"/>
                <a:gd name="connsiteX26" fmla="*/ 9423421 w 12415554"/>
                <a:gd name="connsiteY26" fmla="*/ 444601 h 2373523"/>
                <a:gd name="connsiteX27" fmla="*/ 8820622 w 12415554"/>
                <a:gd name="connsiteY27" fmla="*/ 20131 h 2373523"/>
                <a:gd name="connsiteX28" fmla="*/ 7420035 w 12415554"/>
                <a:gd name="connsiteY28" fmla="*/ 62625 h 2373523"/>
                <a:gd name="connsiteX29" fmla="*/ 9278199 w 12415554"/>
                <a:gd name="connsiteY29" fmla="*/ 483648 h 2373523"/>
                <a:gd name="connsiteX30" fmla="*/ 9102753 w 12415554"/>
                <a:gd name="connsiteY30" fmla="*/ 748027 h 2373523"/>
                <a:gd name="connsiteX0" fmla="*/ 9102753 w 12415554"/>
                <a:gd name="connsiteY0" fmla="*/ 748027 h 2373523"/>
                <a:gd name="connsiteX1" fmla="*/ 450606 w 12415554"/>
                <a:gd name="connsiteY1" fmla="*/ 800852 h 2373523"/>
                <a:gd name="connsiteX2" fmla="*/ 1307407 w 12415554"/>
                <a:gd name="connsiteY2" fmla="*/ 708409 h 2373523"/>
                <a:gd name="connsiteX3" fmla="*/ 2002266 w 12415554"/>
                <a:gd name="connsiteY3" fmla="*/ 742397 h 2373523"/>
                <a:gd name="connsiteX4" fmla="*/ 2458276 w 12415554"/>
                <a:gd name="connsiteY4" fmla="*/ 682909 h 2373523"/>
                <a:gd name="connsiteX5" fmla="*/ 2935998 w 12415554"/>
                <a:gd name="connsiteY5" fmla="*/ 682909 h 2373523"/>
                <a:gd name="connsiteX6" fmla="*/ 3706867 w 12415554"/>
                <a:gd name="connsiteY6" fmla="*/ 725403 h 2373523"/>
                <a:gd name="connsiteX7" fmla="*/ 4586303 w 12415554"/>
                <a:gd name="connsiteY7" fmla="*/ 708409 h 2373523"/>
                <a:gd name="connsiteX8" fmla="*/ 5216021 w 12415554"/>
                <a:gd name="connsiteY8" fmla="*/ 716915 h 2373523"/>
                <a:gd name="connsiteX9" fmla="*/ 6052031 w 12415554"/>
                <a:gd name="connsiteY9" fmla="*/ 716915 h 2373523"/>
                <a:gd name="connsiteX10" fmla="*/ 7116044 w 12415554"/>
                <a:gd name="connsiteY10" fmla="*/ 742415 h 2373523"/>
                <a:gd name="connsiteX11" fmla="*/ 7865199 w 12415554"/>
                <a:gd name="connsiteY11" fmla="*/ 733909 h 2373523"/>
                <a:gd name="connsiteX12" fmla="*/ 8397194 w 12415554"/>
                <a:gd name="connsiteY12" fmla="*/ 725403 h 2373523"/>
                <a:gd name="connsiteX13" fmla="*/ 9018211 w 12415554"/>
                <a:gd name="connsiteY13" fmla="*/ 1128151 h 2373523"/>
                <a:gd name="connsiteX14" fmla="*/ 9588207 w 12415554"/>
                <a:gd name="connsiteY14" fmla="*/ 1954983 h 2373523"/>
                <a:gd name="connsiteX15" fmla="*/ 10519607 w 12415554"/>
                <a:gd name="connsiteY15" fmla="*/ 2373522 h 2373523"/>
                <a:gd name="connsiteX16" fmla="*/ 11565641 w 12415554"/>
                <a:gd name="connsiteY16" fmla="*/ 1954985 h 2373523"/>
                <a:gd name="connsiteX17" fmla="*/ 11856572 w 12415554"/>
                <a:gd name="connsiteY17" fmla="*/ 1309250 h 2373523"/>
                <a:gd name="connsiteX18" fmla="*/ 12167468 w 12415554"/>
                <a:gd name="connsiteY18" fmla="*/ 863143 h 2373523"/>
                <a:gd name="connsiteX19" fmla="*/ 12415554 w 12415554"/>
                <a:gd name="connsiteY19" fmla="*/ 562829 h 2373523"/>
                <a:gd name="connsiteX20" fmla="*/ 12415554 w 12415554"/>
                <a:gd name="connsiteY20" fmla="*/ 124447 h 2373523"/>
                <a:gd name="connsiteX21" fmla="*/ 11809238 w 12415554"/>
                <a:gd name="connsiteY21" fmla="*/ 299022 h 2373523"/>
                <a:gd name="connsiteX22" fmla="*/ 11429513 w 12415554"/>
                <a:gd name="connsiteY22" fmla="*/ 910907 h 2373523"/>
                <a:gd name="connsiteX23" fmla="*/ 10972768 w 12415554"/>
                <a:gd name="connsiteY23" fmla="*/ 1525068 h 2373523"/>
                <a:gd name="connsiteX24" fmla="*/ 10404973 w 12415554"/>
                <a:gd name="connsiteY24" fmla="*/ 1481851 h 2373523"/>
                <a:gd name="connsiteX25" fmla="*/ 9898076 w 12415554"/>
                <a:gd name="connsiteY25" fmla="*/ 922282 h 2373523"/>
                <a:gd name="connsiteX26" fmla="*/ 9423421 w 12415554"/>
                <a:gd name="connsiteY26" fmla="*/ 444601 h 2373523"/>
                <a:gd name="connsiteX27" fmla="*/ 8820622 w 12415554"/>
                <a:gd name="connsiteY27" fmla="*/ 20131 h 2373523"/>
                <a:gd name="connsiteX28" fmla="*/ 7420035 w 12415554"/>
                <a:gd name="connsiteY28" fmla="*/ 62625 h 2373523"/>
                <a:gd name="connsiteX29" fmla="*/ 9102753 w 12415554"/>
                <a:gd name="connsiteY29" fmla="*/ 748027 h 2373523"/>
                <a:gd name="connsiteX0" fmla="*/ 7302823 w 12298342"/>
                <a:gd name="connsiteY0" fmla="*/ 62625 h 2373523"/>
                <a:gd name="connsiteX1" fmla="*/ 333394 w 12298342"/>
                <a:gd name="connsiteY1" fmla="*/ 800852 h 2373523"/>
                <a:gd name="connsiteX2" fmla="*/ 1190195 w 12298342"/>
                <a:gd name="connsiteY2" fmla="*/ 708409 h 2373523"/>
                <a:gd name="connsiteX3" fmla="*/ 1885054 w 12298342"/>
                <a:gd name="connsiteY3" fmla="*/ 742397 h 2373523"/>
                <a:gd name="connsiteX4" fmla="*/ 2341064 w 12298342"/>
                <a:gd name="connsiteY4" fmla="*/ 682909 h 2373523"/>
                <a:gd name="connsiteX5" fmla="*/ 2818786 w 12298342"/>
                <a:gd name="connsiteY5" fmla="*/ 682909 h 2373523"/>
                <a:gd name="connsiteX6" fmla="*/ 3589655 w 12298342"/>
                <a:gd name="connsiteY6" fmla="*/ 725403 h 2373523"/>
                <a:gd name="connsiteX7" fmla="*/ 4469091 w 12298342"/>
                <a:gd name="connsiteY7" fmla="*/ 708409 h 2373523"/>
                <a:gd name="connsiteX8" fmla="*/ 5098809 w 12298342"/>
                <a:gd name="connsiteY8" fmla="*/ 716915 h 2373523"/>
                <a:gd name="connsiteX9" fmla="*/ 5934819 w 12298342"/>
                <a:gd name="connsiteY9" fmla="*/ 716915 h 2373523"/>
                <a:gd name="connsiteX10" fmla="*/ 6998832 w 12298342"/>
                <a:gd name="connsiteY10" fmla="*/ 742415 h 2373523"/>
                <a:gd name="connsiteX11" fmla="*/ 7747987 w 12298342"/>
                <a:gd name="connsiteY11" fmla="*/ 733909 h 2373523"/>
                <a:gd name="connsiteX12" fmla="*/ 8279982 w 12298342"/>
                <a:gd name="connsiteY12" fmla="*/ 725403 h 2373523"/>
                <a:gd name="connsiteX13" fmla="*/ 8900999 w 12298342"/>
                <a:gd name="connsiteY13" fmla="*/ 1128151 h 2373523"/>
                <a:gd name="connsiteX14" fmla="*/ 9470995 w 12298342"/>
                <a:gd name="connsiteY14" fmla="*/ 1954983 h 2373523"/>
                <a:gd name="connsiteX15" fmla="*/ 10402395 w 12298342"/>
                <a:gd name="connsiteY15" fmla="*/ 2373522 h 2373523"/>
                <a:gd name="connsiteX16" fmla="*/ 11448429 w 12298342"/>
                <a:gd name="connsiteY16" fmla="*/ 1954985 h 2373523"/>
                <a:gd name="connsiteX17" fmla="*/ 11739360 w 12298342"/>
                <a:gd name="connsiteY17" fmla="*/ 1309250 h 2373523"/>
                <a:gd name="connsiteX18" fmla="*/ 12050256 w 12298342"/>
                <a:gd name="connsiteY18" fmla="*/ 863143 h 2373523"/>
                <a:gd name="connsiteX19" fmla="*/ 12298342 w 12298342"/>
                <a:gd name="connsiteY19" fmla="*/ 562829 h 2373523"/>
                <a:gd name="connsiteX20" fmla="*/ 12298342 w 12298342"/>
                <a:gd name="connsiteY20" fmla="*/ 124447 h 2373523"/>
                <a:gd name="connsiteX21" fmla="*/ 11692026 w 12298342"/>
                <a:gd name="connsiteY21" fmla="*/ 299022 h 2373523"/>
                <a:gd name="connsiteX22" fmla="*/ 11312301 w 12298342"/>
                <a:gd name="connsiteY22" fmla="*/ 910907 h 2373523"/>
                <a:gd name="connsiteX23" fmla="*/ 10855556 w 12298342"/>
                <a:gd name="connsiteY23" fmla="*/ 1525068 h 2373523"/>
                <a:gd name="connsiteX24" fmla="*/ 10287761 w 12298342"/>
                <a:gd name="connsiteY24" fmla="*/ 1481851 h 2373523"/>
                <a:gd name="connsiteX25" fmla="*/ 9780864 w 12298342"/>
                <a:gd name="connsiteY25" fmla="*/ 922282 h 2373523"/>
                <a:gd name="connsiteX26" fmla="*/ 9306209 w 12298342"/>
                <a:gd name="connsiteY26" fmla="*/ 444601 h 2373523"/>
                <a:gd name="connsiteX27" fmla="*/ 8703410 w 12298342"/>
                <a:gd name="connsiteY27" fmla="*/ 20131 h 2373523"/>
                <a:gd name="connsiteX28" fmla="*/ 7302823 w 12298342"/>
                <a:gd name="connsiteY28" fmla="*/ 62625 h 2373523"/>
                <a:gd name="connsiteX0" fmla="*/ 8557475 w 12379789"/>
                <a:gd name="connsiteY0" fmla="*/ 304971 h 2354282"/>
                <a:gd name="connsiteX1" fmla="*/ 414841 w 12379789"/>
                <a:gd name="connsiteY1" fmla="*/ 781611 h 2354282"/>
                <a:gd name="connsiteX2" fmla="*/ 1271642 w 12379789"/>
                <a:gd name="connsiteY2" fmla="*/ 689168 h 2354282"/>
                <a:gd name="connsiteX3" fmla="*/ 1966501 w 12379789"/>
                <a:gd name="connsiteY3" fmla="*/ 723156 h 2354282"/>
                <a:gd name="connsiteX4" fmla="*/ 2422511 w 12379789"/>
                <a:gd name="connsiteY4" fmla="*/ 663668 h 2354282"/>
                <a:gd name="connsiteX5" fmla="*/ 2900233 w 12379789"/>
                <a:gd name="connsiteY5" fmla="*/ 663668 h 2354282"/>
                <a:gd name="connsiteX6" fmla="*/ 3671102 w 12379789"/>
                <a:gd name="connsiteY6" fmla="*/ 706162 h 2354282"/>
                <a:gd name="connsiteX7" fmla="*/ 4550538 w 12379789"/>
                <a:gd name="connsiteY7" fmla="*/ 689168 h 2354282"/>
                <a:gd name="connsiteX8" fmla="*/ 5180256 w 12379789"/>
                <a:gd name="connsiteY8" fmla="*/ 697674 h 2354282"/>
                <a:gd name="connsiteX9" fmla="*/ 6016266 w 12379789"/>
                <a:gd name="connsiteY9" fmla="*/ 697674 h 2354282"/>
                <a:gd name="connsiteX10" fmla="*/ 7080279 w 12379789"/>
                <a:gd name="connsiteY10" fmla="*/ 723174 h 2354282"/>
                <a:gd name="connsiteX11" fmla="*/ 7829434 w 12379789"/>
                <a:gd name="connsiteY11" fmla="*/ 714668 h 2354282"/>
                <a:gd name="connsiteX12" fmla="*/ 8361429 w 12379789"/>
                <a:gd name="connsiteY12" fmla="*/ 706162 h 2354282"/>
                <a:gd name="connsiteX13" fmla="*/ 8982446 w 12379789"/>
                <a:gd name="connsiteY13" fmla="*/ 1108910 h 2354282"/>
                <a:gd name="connsiteX14" fmla="*/ 9552442 w 12379789"/>
                <a:gd name="connsiteY14" fmla="*/ 1935742 h 2354282"/>
                <a:gd name="connsiteX15" fmla="*/ 10483842 w 12379789"/>
                <a:gd name="connsiteY15" fmla="*/ 2354281 h 2354282"/>
                <a:gd name="connsiteX16" fmla="*/ 11529876 w 12379789"/>
                <a:gd name="connsiteY16" fmla="*/ 1935744 h 2354282"/>
                <a:gd name="connsiteX17" fmla="*/ 11820807 w 12379789"/>
                <a:gd name="connsiteY17" fmla="*/ 1290009 h 2354282"/>
                <a:gd name="connsiteX18" fmla="*/ 12131703 w 12379789"/>
                <a:gd name="connsiteY18" fmla="*/ 843902 h 2354282"/>
                <a:gd name="connsiteX19" fmla="*/ 12379789 w 12379789"/>
                <a:gd name="connsiteY19" fmla="*/ 543588 h 2354282"/>
                <a:gd name="connsiteX20" fmla="*/ 12379789 w 12379789"/>
                <a:gd name="connsiteY20" fmla="*/ 105206 h 2354282"/>
                <a:gd name="connsiteX21" fmla="*/ 11773473 w 12379789"/>
                <a:gd name="connsiteY21" fmla="*/ 279781 h 2354282"/>
                <a:gd name="connsiteX22" fmla="*/ 11393748 w 12379789"/>
                <a:gd name="connsiteY22" fmla="*/ 891666 h 2354282"/>
                <a:gd name="connsiteX23" fmla="*/ 10937003 w 12379789"/>
                <a:gd name="connsiteY23" fmla="*/ 1505827 h 2354282"/>
                <a:gd name="connsiteX24" fmla="*/ 10369208 w 12379789"/>
                <a:gd name="connsiteY24" fmla="*/ 1462610 h 2354282"/>
                <a:gd name="connsiteX25" fmla="*/ 9862311 w 12379789"/>
                <a:gd name="connsiteY25" fmla="*/ 903041 h 2354282"/>
                <a:gd name="connsiteX26" fmla="*/ 9387656 w 12379789"/>
                <a:gd name="connsiteY26" fmla="*/ 425360 h 2354282"/>
                <a:gd name="connsiteX27" fmla="*/ 8784857 w 12379789"/>
                <a:gd name="connsiteY27" fmla="*/ 890 h 2354282"/>
                <a:gd name="connsiteX28" fmla="*/ 8557475 w 12379789"/>
                <a:gd name="connsiteY28" fmla="*/ 304971 h 2354282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3671104 w 12379791"/>
                <a:gd name="connsiteY6" fmla="*/ 614077 h 2262197"/>
                <a:gd name="connsiteX7" fmla="*/ 4550540 w 12379791"/>
                <a:gd name="connsiteY7" fmla="*/ 597083 h 2262197"/>
                <a:gd name="connsiteX8" fmla="*/ 5180258 w 12379791"/>
                <a:gd name="connsiteY8" fmla="*/ 605589 h 2262197"/>
                <a:gd name="connsiteX9" fmla="*/ 6016268 w 12379791"/>
                <a:gd name="connsiteY9" fmla="*/ 605589 h 2262197"/>
                <a:gd name="connsiteX10" fmla="*/ 7080281 w 12379791"/>
                <a:gd name="connsiteY10" fmla="*/ 631089 h 2262197"/>
                <a:gd name="connsiteX11" fmla="*/ 7829436 w 12379791"/>
                <a:gd name="connsiteY11" fmla="*/ 622583 h 2262197"/>
                <a:gd name="connsiteX12" fmla="*/ 8361431 w 12379791"/>
                <a:gd name="connsiteY12" fmla="*/ 614077 h 2262197"/>
                <a:gd name="connsiteX13" fmla="*/ 8982448 w 12379791"/>
                <a:gd name="connsiteY13" fmla="*/ 1016825 h 2262197"/>
                <a:gd name="connsiteX14" fmla="*/ 9552444 w 12379791"/>
                <a:gd name="connsiteY14" fmla="*/ 1843657 h 2262197"/>
                <a:gd name="connsiteX15" fmla="*/ 10483844 w 12379791"/>
                <a:gd name="connsiteY15" fmla="*/ 2262196 h 2262197"/>
                <a:gd name="connsiteX16" fmla="*/ 11529878 w 12379791"/>
                <a:gd name="connsiteY16" fmla="*/ 1843659 h 2262197"/>
                <a:gd name="connsiteX17" fmla="*/ 11820809 w 12379791"/>
                <a:gd name="connsiteY17" fmla="*/ 1197924 h 2262197"/>
                <a:gd name="connsiteX18" fmla="*/ 12131705 w 12379791"/>
                <a:gd name="connsiteY18" fmla="*/ 751817 h 2262197"/>
                <a:gd name="connsiteX19" fmla="*/ 12379791 w 12379791"/>
                <a:gd name="connsiteY19" fmla="*/ 451503 h 2262197"/>
                <a:gd name="connsiteX20" fmla="*/ 12379791 w 12379791"/>
                <a:gd name="connsiteY20" fmla="*/ 13121 h 2262197"/>
                <a:gd name="connsiteX21" fmla="*/ 11773475 w 12379791"/>
                <a:gd name="connsiteY21" fmla="*/ 187696 h 2262197"/>
                <a:gd name="connsiteX22" fmla="*/ 11393750 w 12379791"/>
                <a:gd name="connsiteY22" fmla="*/ 799581 h 2262197"/>
                <a:gd name="connsiteX23" fmla="*/ 10937005 w 12379791"/>
                <a:gd name="connsiteY23" fmla="*/ 1413742 h 2262197"/>
                <a:gd name="connsiteX24" fmla="*/ 10369210 w 12379791"/>
                <a:gd name="connsiteY24" fmla="*/ 1370525 h 2262197"/>
                <a:gd name="connsiteX25" fmla="*/ 9862313 w 12379791"/>
                <a:gd name="connsiteY25" fmla="*/ 810956 h 2262197"/>
                <a:gd name="connsiteX26" fmla="*/ 9387658 w 12379791"/>
                <a:gd name="connsiteY26" fmla="*/ 333275 h 2262197"/>
                <a:gd name="connsiteX27" fmla="*/ 8614705 w 12379791"/>
                <a:gd name="connsiteY27" fmla="*/ 45280 h 2262197"/>
                <a:gd name="connsiteX28" fmla="*/ 8557477 w 12379791"/>
                <a:gd name="connsiteY28" fmla="*/ 212886 h 2262197"/>
                <a:gd name="connsiteX0" fmla="*/ 8557477 w 12379791"/>
                <a:gd name="connsiteY0" fmla="*/ 220165 h 2269476"/>
                <a:gd name="connsiteX1" fmla="*/ 414843 w 12379791"/>
                <a:gd name="connsiteY1" fmla="*/ 696805 h 2269476"/>
                <a:gd name="connsiteX2" fmla="*/ 1271644 w 12379791"/>
                <a:gd name="connsiteY2" fmla="*/ 604362 h 2269476"/>
                <a:gd name="connsiteX3" fmla="*/ 1966503 w 12379791"/>
                <a:gd name="connsiteY3" fmla="*/ 638350 h 2269476"/>
                <a:gd name="connsiteX4" fmla="*/ 2422513 w 12379791"/>
                <a:gd name="connsiteY4" fmla="*/ 578862 h 2269476"/>
                <a:gd name="connsiteX5" fmla="*/ 2900235 w 12379791"/>
                <a:gd name="connsiteY5" fmla="*/ 578862 h 2269476"/>
                <a:gd name="connsiteX6" fmla="*/ 3671104 w 12379791"/>
                <a:gd name="connsiteY6" fmla="*/ 621356 h 2269476"/>
                <a:gd name="connsiteX7" fmla="*/ 4550540 w 12379791"/>
                <a:gd name="connsiteY7" fmla="*/ 604362 h 2269476"/>
                <a:gd name="connsiteX8" fmla="*/ 5180258 w 12379791"/>
                <a:gd name="connsiteY8" fmla="*/ 612868 h 2269476"/>
                <a:gd name="connsiteX9" fmla="*/ 6016268 w 12379791"/>
                <a:gd name="connsiteY9" fmla="*/ 612868 h 2269476"/>
                <a:gd name="connsiteX10" fmla="*/ 7080281 w 12379791"/>
                <a:gd name="connsiteY10" fmla="*/ 638368 h 2269476"/>
                <a:gd name="connsiteX11" fmla="*/ 7829436 w 12379791"/>
                <a:gd name="connsiteY11" fmla="*/ 629862 h 2269476"/>
                <a:gd name="connsiteX12" fmla="*/ 8361431 w 12379791"/>
                <a:gd name="connsiteY12" fmla="*/ 621356 h 2269476"/>
                <a:gd name="connsiteX13" fmla="*/ 8982448 w 12379791"/>
                <a:gd name="connsiteY13" fmla="*/ 1024104 h 2269476"/>
                <a:gd name="connsiteX14" fmla="*/ 9552444 w 12379791"/>
                <a:gd name="connsiteY14" fmla="*/ 1850936 h 2269476"/>
                <a:gd name="connsiteX15" fmla="*/ 10483844 w 12379791"/>
                <a:gd name="connsiteY15" fmla="*/ 2269475 h 2269476"/>
                <a:gd name="connsiteX16" fmla="*/ 11529878 w 12379791"/>
                <a:gd name="connsiteY16" fmla="*/ 1850938 h 2269476"/>
                <a:gd name="connsiteX17" fmla="*/ 11820809 w 12379791"/>
                <a:gd name="connsiteY17" fmla="*/ 1205203 h 2269476"/>
                <a:gd name="connsiteX18" fmla="*/ 12131705 w 12379791"/>
                <a:gd name="connsiteY18" fmla="*/ 759096 h 2269476"/>
                <a:gd name="connsiteX19" fmla="*/ 12379791 w 12379791"/>
                <a:gd name="connsiteY19" fmla="*/ 458782 h 2269476"/>
                <a:gd name="connsiteX20" fmla="*/ 12379791 w 12379791"/>
                <a:gd name="connsiteY20" fmla="*/ 20400 h 2269476"/>
                <a:gd name="connsiteX21" fmla="*/ 11773475 w 12379791"/>
                <a:gd name="connsiteY21" fmla="*/ 194975 h 2269476"/>
                <a:gd name="connsiteX22" fmla="*/ 11393750 w 12379791"/>
                <a:gd name="connsiteY22" fmla="*/ 806860 h 2269476"/>
                <a:gd name="connsiteX23" fmla="*/ 10937005 w 12379791"/>
                <a:gd name="connsiteY23" fmla="*/ 1421021 h 2269476"/>
                <a:gd name="connsiteX24" fmla="*/ 10369210 w 12379791"/>
                <a:gd name="connsiteY24" fmla="*/ 1377804 h 2269476"/>
                <a:gd name="connsiteX25" fmla="*/ 9862313 w 12379791"/>
                <a:gd name="connsiteY25" fmla="*/ 818235 h 2269476"/>
                <a:gd name="connsiteX26" fmla="*/ 9387658 w 12379791"/>
                <a:gd name="connsiteY26" fmla="*/ 340554 h 2269476"/>
                <a:gd name="connsiteX27" fmla="*/ 8614705 w 12379791"/>
                <a:gd name="connsiteY27" fmla="*/ 52559 h 2269476"/>
                <a:gd name="connsiteX28" fmla="*/ 8557477 w 12379791"/>
                <a:gd name="connsiteY28" fmla="*/ 220165 h 2269476"/>
                <a:gd name="connsiteX0" fmla="*/ 8557477 w 12379791"/>
                <a:gd name="connsiteY0" fmla="*/ 220165 h 2269476"/>
                <a:gd name="connsiteX1" fmla="*/ 414843 w 12379791"/>
                <a:gd name="connsiteY1" fmla="*/ 696805 h 2269476"/>
                <a:gd name="connsiteX2" fmla="*/ 1271644 w 12379791"/>
                <a:gd name="connsiteY2" fmla="*/ 604362 h 2269476"/>
                <a:gd name="connsiteX3" fmla="*/ 1966503 w 12379791"/>
                <a:gd name="connsiteY3" fmla="*/ 638350 h 2269476"/>
                <a:gd name="connsiteX4" fmla="*/ 2422513 w 12379791"/>
                <a:gd name="connsiteY4" fmla="*/ 578862 h 2269476"/>
                <a:gd name="connsiteX5" fmla="*/ 2900235 w 12379791"/>
                <a:gd name="connsiteY5" fmla="*/ 578862 h 2269476"/>
                <a:gd name="connsiteX6" fmla="*/ 3671104 w 12379791"/>
                <a:gd name="connsiteY6" fmla="*/ 621356 h 2269476"/>
                <a:gd name="connsiteX7" fmla="*/ 4550540 w 12379791"/>
                <a:gd name="connsiteY7" fmla="*/ 604362 h 2269476"/>
                <a:gd name="connsiteX8" fmla="*/ 5180258 w 12379791"/>
                <a:gd name="connsiteY8" fmla="*/ 612868 h 2269476"/>
                <a:gd name="connsiteX9" fmla="*/ 6016268 w 12379791"/>
                <a:gd name="connsiteY9" fmla="*/ 612868 h 2269476"/>
                <a:gd name="connsiteX10" fmla="*/ 7080281 w 12379791"/>
                <a:gd name="connsiteY10" fmla="*/ 638368 h 2269476"/>
                <a:gd name="connsiteX11" fmla="*/ 7829436 w 12379791"/>
                <a:gd name="connsiteY11" fmla="*/ 629862 h 2269476"/>
                <a:gd name="connsiteX12" fmla="*/ 8361431 w 12379791"/>
                <a:gd name="connsiteY12" fmla="*/ 621356 h 2269476"/>
                <a:gd name="connsiteX13" fmla="*/ 8982448 w 12379791"/>
                <a:gd name="connsiteY13" fmla="*/ 1024104 h 2269476"/>
                <a:gd name="connsiteX14" fmla="*/ 9552444 w 12379791"/>
                <a:gd name="connsiteY14" fmla="*/ 1850936 h 2269476"/>
                <a:gd name="connsiteX15" fmla="*/ 10483844 w 12379791"/>
                <a:gd name="connsiteY15" fmla="*/ 2269475 h 2269476"/>
                <a:gd name="connsiteX16" fmla="*/ 11529878 w 12379791"/>
                <a:gd name="connsiteY16" fmla="*/ 1850938 h 2269476"/>
                <a:gd name="connsiteX17" fmla="*/ 11820809 w 12379791"/>
                <a:gd name="connsiteY17" fmla="*/ 1205203 h 2269476"/>
                <a:gd name="connsiteX18" fmla="*/ 12131705 w 12379791"/>
                <a:gd name="connsiteY18" fmla="*/ 759096 h 2269476"/>
                <a:gd name="connsiteX19" fmla="*/ 12379791 w 12379791"/>
                <a:gd name="connsiteY19" fmla="*/ 458782 h 2269476"/>
                <a:gd name="connsiteX20" fmla="*/ 12379791 w 12379791"/>
                <a:gd name="connsiteY20" fmla="*/ 20400 h 2269476"/>
                <a:gd name="connsiteX21" fmla="*/ 11773475 w 12379791"/>
                <a:gd name="connsiteY21" fmla="*/ 194975 h 2269476"/>
                <a:gd name="connsiteX22" fmla="*/ 11393750 w 12379791"/>
                <a:gd name="connsiteY22" fmla="*/ 806860 h 2269476"/>
                <a:gd name="connsiteX23" fmla="*/ 10937005 w 12379791"/>
                <a:gd name="connsiteY23" fmla="*/ 1421021 h 2269476"/>
                <a:gd name="connsiteX24" fmla="*/ 10369210 w 12379791"/>
                <a:gd name="connsiteY24" fmla="*/ 1377804 h 2269476"/>
                <a:gd name="connsiteX25" fmla="*/ 9862313 w 12379791"/>
                <a:gd name="connsiteY25" fmla="*/ 818235 h 2269476"/>
                <a:gd name="connsiteX26" fmla="*/ 9387658 w 12379791"/>
                <a:gd name="connsiteY26" fmla="*/ 340554 h 2269476"/>
                <a:gd name="connsiteX27" fmla="*/ 8614705 w 12379791"/>
                <a:gd name="connsiteY27" fmla="*/ 52559 h 2269476"/>
                <a:gd name="connsiteX28" fmla="*/ 8557477 w 12379791"/>
                <a:gd name="connsiteY28" fmla="*/ 220165 h 2269476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3671104 w 12379791"/>
                <a:gd name="connsiteY6" fmla="*/ 614077 h 2262197"/>
                <a:gd name="connsiteX7" fmla="*/ 4550540 w 12379791"/>
                <a:gd name="connsiteY7" fmla="*/ 597083 h 2262197"/>
                <a:gd name="connsiteX8" fmla="*/ 5180258 w 12379791"/>
                <a:gd name="connsiteY8" fmla="*/ 605589 h 2262197"/>
                <a:gd name="connsiteX9" fmla="*/ 6016268 w 12379791"/>
                <a:gd name="connsiteY9" fmla="*/ 605589 h 2262197"/>
                <a:gd name="connsiteX10" fmla="*/ 7080281 w 12379791"/>
                <a:gd name="connsiteY10" fmla="*/ 631089 h 2262197"/>
                <a:gd name="connsiteX11" fmla="*/ 7829436 w 12379791"/>
                <a:gd name="connsiteY11" fmla="*/ 622583 h 2262197"/>
                <a:gd name="connsiteX12" fmla="*/ 8361431 w 12379791"/>
                <a:gd name="connsiteY12" fmla="*/ 614077 h 2262197"/>
                <a:gd name="connsiteX13" fmla="*/ 8982448 w 12379791"/>
                <a:gd name="connsiteY13" fmla="*/ 1016825 h 2262197"/>
                <a:gd name="connsiteX14" fmla="*/ 9552444 w 12379791"/>
                <a:gd name="connsiteY14" fmla="*/ 1843657 h 2262197"/>
                <a:gd name="connsiteX15" fmla="*/ 10483844 w 12379791"/>
                <a:gd name="connsiteY15" fmla="*/ 2262196 h 2262197"/>
                <a:gd name="connsiteX16" fmla="*/ 11529878 w 12379791"/>
                <a:gd name="connsiteY16" fmla="*/ 1843659 h 2262197"/>
                <a:gd name="connsiteX17" fmla="*/ 11820809 w 12379791"/>
                <a:gd name="connsiteY17" fmla="*/ 1197924 h 2262197"/>
                <a:gd name="connsiteX18" fmla="*/ 12131705 w 12379791"/>
                <a:gd name="connsiteY18" fmla="*/ 751817 h 2262197"/>
                <a:gd name="connsiteX19" fmla="*/ 12379791 w 12379791"/>
                <a:gd name="connsiteY19" fmla="*/ 451503 h 2262197"/>
                <a:gd name="connsiteX20" fmla="*/ 12379791 w 12379791"/>
                <a:gd name="connsiteY20" fmla="*/ 13121 h 2262197"/>
                <a:gd name="connsiteX21" fmla="*/ 11773475 w 12379791"/>
                <a:gd name="connsiteY21" fmla="*/ 187696 h 2262197"/>
                <a:gd name="connsiteX22" fmla="*/ 11393750 w 12379791"/>
                <a:gd name="connsiteY22" fmla="*/ 799581 h 2262197"/>
                <a:gd name="connsiteX23" fmla="*/ 10937005 w 12379791"/>
                <a:gd name="connsiteY23" fmla="*/ 1413742 h 2262197"/>
                <a:gd name="connsiteX24" fmla="*/ 10369210 w 12379791"/>
                <a:gd name="connsiteY24" fmla="*/ 1370525 h 2262197"/>
                <a:gd name="connsiteX25" fmla="*/ 9862313 w 12379791"/>
                <a:gd name="connsiteY25" fmla="*/ 810956 h 2262197"/>
                <a:gd name="connsiteX26" fmla="*/ 9387658 w 12379791"/>
                <a:gd name="connsiteY26" fmla="*/ 333275 h 2262197"/>
                <a:gd name="connsiteX27" fmla="*/ 8557477 w 12379791"/>
                <a:gd name="connsiteY27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3671104 w 12379791"/>
                <a:gd name="connsiteY6" fmla="*/ 614077 h 2262197"/>
                <a:gd name="connsiteX7" fmla="*/ 4550540 w 12379791"/>
                <a:gd name="connsiteY7" fmla="*/ 597083 h 2262197"/>
                <a:gd name="connsiteX8" fmla="*/ 5180258 w 12379791"/>
                <a:gd name="connsiteY8" fmla="*/ 605589 h 2262197"/>
                <a:gd name="connsiteX9" fmla="*/ 6016268 w 12379791"/>
                <a:gd name="connsiteY9" fmla="*/ 605589 h 2262197"/>
                <a:gd name="connsiteX10" fmla="*/ 7080281 w 12379791"/>
                <a:gd name="connsiteY10" fmla="*/ 631089 h 2262197"/>
                <a:gd name="connsiteX11" fmla="*/ 7829436 w 12379791"/>
                <a:gd name="connsiteY11" fmla="*/ 622583 h 2262197"/>
                <a:gd name="connsiteX12" fmla="*/ 8361431 w 12379791"/>
                <a:gd name="connsiteY12" fmla="*/ 614077 h 2262197"/>
                <a:gd name="connsiteX13" fmla="*/ 8982448 w 12379791"/>
                <a:gd name="connsiteY13" fmla="*/ 1016825 h 2262197"/>
                <a:gd name="connsiteX14" fmla="*/ 9552444 w 12379791"/>
                <a:gd name="connsiteY14" fmla="*/ 1843657 h 2262197"/>
                <a:gd name="connsiteX15" fmla="*/ 10483844 w 12379791"/>
                <a:gd name="connsiteY15" fmla="*/ 2262196 h 2262197"/>
                <a:gd name="connsiteX16" fmla="*/ 11529878 w 12379791"/>
                <a:gd name="connsiteY16" fmla="*/ 1843659 h 2262197"/>
                <a:gd name="connsiteX17" fmla="*/ 11820809 w 12379791"/>
                <a:gd name="connsiteY17" fmla="*/ 1197924 h 2262197"/>
                <a:gd name="connsiteX18" fmla="*/ 12131705 w 12379791"/>
                <a:gd name="connsiteY18" fmla="*/ 751817 h 2262197"/>
                <a:gd name="connsiteX19" fmla="*/ 12379791 w 12379791"/>
                <a:gd name="connsiteY19" fmla="*/ 451503 h 2262197"/>
                <a:gd name="connsiteX20" fmla="*/ 12379791 w 12379791"/>
                <a:gd name="connsiteY20" fmla="*/ 13121 h 2262197"/>
                <a:gd name="connsiteX21" fmla="*/ 11773475 w 12379791"/>
                <a:gd name="connsiteY21" fmla="*/ 187696 h 2262197"/>
                <a:gd name="connsiteX22" fmla="*/ 11393750 w 12379791"/>
                <a:gd name="connsiteY22" fmla="*/ 799581 h 2262197"/>
                <a:gd name="connsiteX23" fmla="*/ 10937005 w 12379791"/>
                <a:gd name="connsiteY23" fmla="*/ 1413742 h 2262197"/>
                <a:gd name="connsiteX24" fmla="*/ 10369210 w 12379791"/>
                <a:gd name="connsiteY24" fmla="*/ 1370525 h 2262197"/>
                <a:gd name="connsiteX25" fmla="*/ 9862313 w 12379791"/>
                <a:gd name="connsiteY25" fmla="*/ 810956 h 2262197"/>
                <a:gd name="connsiteX26" fmla="*/ 9450348 w 12379791"/>
                <a:gd name="connsiteY26" fmla="*/ 299156 h 2262197"/>
                <a:gd name="connsiteX27" fmla="*/ 8557477 w 12379791"/>
                <a:gd name="connsiteY27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3671104 w 12379791"/>
                <a:gd name="connsiteY6" fmla="*/ 614077 h 2262197"/>
                <a:gd name="connsiteX7" fmla="*/ 4550540 w 12379791"/>
                <a:gd name="connsiteY7" fmla="*/ 597083 h 2262197"/>
                <a:gd name="connsiteX8" fmla="*/ 5180258 w 12379791"/>
                <a:gd name="connsiteY8" fmla="*/ 605589 h 2262197"/>
                <a:gd name="connsiteX9" fmla="*/ 6016268 w 12379791"/>
                <a:gd name="connsiteY9" fmla="*/ 605589 h 2262197"/>
                <a:gd name="connsiteX10" fmla="*/ 7080281 w 12379791"/>
                <a:gd name="connsiteY10" fmla="*/ 631089 h 2262197"/>
                <a:gd name="connsiteX11" fmla="*/ 7829436 w 12379791"/>
                <a:gd name="connsiteY11" fmla="*/ 622583 h 2262197"/>
                <a:gd name="connsiteX12" fmla="*/ 8361431 w 12379791"/>
                <a:gd name="connsiteY12" fmla="*/ 614077 h 2262197"/>
                <a:gd name="connsiteX13" fmla="*/ 8982448 w 12379791"/>
                <a:gd name="connsiteY13" fmla="*/ 1016825 h 2262197"/>
                <a:gd name="connsiteX14" fmla="*/ 9552444 w 12379791"/>
                <a:gd name="connsiteY14" fmla="*/ 1843657 h 2262197"/>
                <a:gd name="connsiteX15" fmla="*/ 10483844 w 12379791"/>
                <a:gd name="connsiteY15" fmla="*/ 2262196 h 2262197"/>
                <a:gd name="connsiteX16" fmla="*/ 11529878 w 12379791"/>
                <a:gd name="connsiteY16" fmla="*/ 1843659 h 2262197"/>
                <a:gd name="connsiteX17" fmla="*/ 11820809 w 12379791"/>
                <a:gd name="connsiteY17" fmla="*/ 1197924 h 2262197"/>
                <a:gd name="connsiteX18" fmla="*/ 12131705 w 12379791"/>
                <a:gd name="connsiteY18" fmla="*/ 751817 h 2262197"/>
                <a:gd name="connsiteX19" fmla="*/ 12379791 w 12379791"/>
                <a:gd name="connsiteY19" fmla="*/ 451503 h 2262197"/>
                <a:gd name="connsiteX20" fmla="*/ 12379791 w 12379791"/>
                <a:gd name="connsiteY20" fmla="*/ 13121 h 2262197"/>
                <a:gd name="connsiteX21" fmla="*/ 11773475 w 12379791"/>
                <a:gd name="connsiteY21" fmla="*/ 187696 h 2262197"/>
                <a:gd name="connsiteX22" fmla="*/ 11393750 w 12379791"/>
                <a:gd name="connsiteY22" fmla="*/ 799581 h 2262197"/>
                <a:gd name="connsiteX23" fmla="*/ 10937005 w 12379791"/>
                <a:gd name="connsiteY23" fmla="*/ 1413742 h 2262197"/>
                <a:gd name="connsiteX24" fmla="*/ 10369210 w 12379791"/>
                <a:gd name="connsiteY24" fmla="*/ 1370525 h 2262197"/>
                <a:gd name="connsiteX25" fmla="*/ 9862313 w 12379791"/>
                <a:gd name="connsiteY25" fmla="*/ 810956 h 2262197"/>
                <a:gd name="connsiteX26" fmla="*/ 9450348 w 12379791"/>
                <a:gd name="connsiteY26" fmla="*/ 299156 h 2262197"/>
                <a:gd name="connsiteX27" fmla="*/ 8557477 w 12379791"/>
                <a:gd name="connsiteY27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4550540 w 12379791"/>
                <a:gd name="connsiteY6" fmla="*/ 597083 h 2262197"/>
                <a:gd name="connsiteX7" fmla="*/ 5180258 w 12379791"/>
                <a:gd name="connsiteY7" fmla="*/ 605589 h 2262197"/>
                <a:gd name="connsiteX8" fmla="*/ 6016268 w 12379791"/>
                <a:gd name="connsiteY8" fmla="*/ 605589 h 2262197"/>
                <a:gd name="connsiteX9" fmla="*/ 7080281 w 12379791"/>
                <a:gd name="connsiteY9" fmla="*/ 631089 h 2262197"/>
                <a:gd name="connsiteX10" fmla="*/ 7829436 w 12379791"/>
                <a:gd name="connsiteY10" fmla="*/ 622583 h 2262197"/>
                <a:gd name="connsiteX11" fmla="*/ 8361431 w 12379791"/>
                <a:gd name="connsiteY11" fmla="*/ 614077 h 2262197"/>
                <a:gd name="connsiteX12" fmla="*/ 8982448 w 12379791"/>
                <a:gd name="connsiteY12" fmla="*/ 1016825 h 2262197"/>
                <a:gd name="connsiteX13" fmla="*/ 9552444 w 12379791"/>
                <a:gd name="connsiteY13" fmla="*/ 1843657 h 2262197"/>
                <a:gd name="connsiteX14" fmla="*/ 10483844 w 12379791"/>
                <a:gd name="connsiteY14" fmla="*/ 2262196 h 2262197"/>
                <a:gd name="connsiteX15" fmla="*/ 11529878 w 12379791"/>
                <a:gd name="connsiteY15" fmla="*/ 1843659 h 2262197"/>
                <a:gd name="connsiteX16" fmla="*/ 11820809 w 12379791"/>
                <a:gd name="connsiteY16" fmla="*/ 1197924 h 2262197"/>
                <a:gd name="connsiteX17" fmla="*/ 12131705 w 12379791"/>
                <a:gd name="connsiteY17" fmla="*/ 751817 h 2262197"/>
                <a:gd name="connsiteX18" fmla="*/ 12379791 w 12379791"/>
                <a:gd name="connsiteY18" fmla="*/ 451503 h 2262197"/>
                <a:gd name="connsiteX19" fmla="*/ 12379791 w 12379791"/>
                <a:gd name="connsiteY19" fmla="*/ 13121 h 2262197"/>
                <a:gd name="connsiteX20" fmla="*/ 11773475 w 12379791"/>
                <a:gd name="connsiteY20" fmla="*/ 187696 h 2262197"/>
                <a:gd name="connsiteX21" fmla="*/ 11393750 w 12379791"/>
                <a:gd name="connsiteY21" fmla="*/ 799581 h 2262197"/>
                <a:gd name="connsiteX22" fmla="*/ 10937005 w 12379791"/>
                <a:gd name="connsiteY22" fmla="*/ 1413742 h 2262197"/>
                <a:gd name="connsiteX23" fmla="*/ 10369210 w 12379791"/>
                <a:gd name="connsiteY23" fmla="*/ 1370525 h 2262197"/>
                <a:gd name="connsiteX24" fmla="*/ 9862313 w 12379791"/>
                <a:gd name="connsiteY24" fmla="*/ 810956 h 2262197"/>
                <a:gd name="connsiteX25" fmla="*/ 9450348 w 12379791"/>
                <a:gd name="connsiteY25" fmla="*/ 299156 h 2262197"/>
                <a:gd name="connsiteX26" fmla="*/ 8557477 w 12379791"/>
                <a:gd name="connsiteY26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5180258 w 12379791"/>
                <a:gd name="connsiteY6" fmla="*/ 605589 h 2262197"/>
                <a:gd name="connsiteX7" fmla="*/ 6016268 w 12379791"/>
                <a:gd name="connsiteY7" fmla="*/ 605589 h 2262197"/>
                <a:gd name="connsiteX8" fmla="*/ 7080281 w 12379791"/>
                <a:gd name="connsiteY8" fmla="*/ 631089 h 2262197"/>
                <a:gd name="connsiteX9" fmla="*/ 7829436 w 12379791"/>
                <a:gd name="connsiteY9" fmla="*/ 622583 h 2262197"/>
                <a:gd name="connsiteX10" fmla="*/ 8361431 w 12379791"/>
                <a:gd name="connsiteY10" fmla="*/ 614077 h 2262197"/>
                <a:gd name="connsiteX11" fmla="*/ 8982448 w 12379791"/>
                <a:gd name="connsiteY11" fmla="*/ 1016825 h 2262197"/>
                <a:gd name="connsiteX12" fmla="*/ 9552444 w 12379791"/>
                <a:gd name="connsiteY12" fmla="*/ 1843657 h 2262197"/>
                <a:gd name="connsiteX13" fmla="*/ 10483844 w 12379791"/>
                <a:gd name="connsiteY13" fmla="*/ 2262196 h 2262197"/>
                <a:gd name="connsiteX14" fmla="*/ 11529878 w 12379791"/>
                <a:gd name="connsiteY14" fmla="*/ 1843659 h 2262197"/>
                <a:gd name="connsiteX15" fmla="*/ 11820809 w 12379791"/>
                <a:gd name="connsiteY15" fmla="*/ 1197924 h 2262197"/>
                <a:gd name="connsiteX16" fmla="*/ 12131705 w 12379791"/>
                <a:gd name="connsiteY16" fmla="*/ 751817 h 2262197"/>
                <a:gd name="connsiteX17" fmla="*/ 12379791 w 12379791"/>
                <a:gd name="connsiteY17" fmla="*/ 451503 h 2262197"/>
                <a:gd name="connsiteX18" fmla="*/ 12379791 w 12379791"/>
                <a:gd name="connsiteY18" fmla="*/ 13121 h 2262197"/>
                <a:gd name="connsiteX19" fmla="*/ 11773475 w 12379791"/>
                <a:gd name="connsiteY19" fmla="*/ 187696 h 2262197"/>
                <a:gd name="connsiteX20" fmla="*/ 11393750 w 12379791"/>
                <a:gd name="connsiteY20" fmla="*/ 799581 h 2262197"/>
                <a:gd name="connsiteX21" fmla="*/ 10937005 w 12379791"/>
                <a:gd name="connsiteY21" fmla="*/ 1413742 h 2262197"/>
                <a:gd name="connsiteX22" fmla="*/ 10369210 w 12379791"/>
                <a:gd name="connsiteY22" fmla="*/ 1370525 h 2262197"/>
                <a:gd name="connsiteX23" fmla="*/ 9862313 w 12379791"/>
                <a:gd name="connsiteY23" fmla="*/ 810956 h 2262197"/>
                <a:gd name="connsiteX24" fmla="*/ 9450348 w 12379791"/>
                <a:gd name="connsiteY24" fmla="*/ 299156 h 2262197"/>
                <a:gd name="connsiteX25" fmla="*/ 8557477 w 12379791"/>
                <a:gd name="connsiteY25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6016268 w 12379791"/>
                <a:gd name="connsiteY6" fmla="*/ 605589 h 2262197"/>
                <a:gd name="connsiteX7" fmla="*/ 7080281 w 12379791"/>
                <a:gd name="connsiteY7" fmla="*/ 631089 h 2262197"/>
                <a:gd name="connsiteX8" fmla="*/ 7829436 w 12379791"/>
                <a:gd name="connsiteY8" fmla="*/ 622583 h 2262197"/>
                <a:gd name="connsiteX9" fmla="*/ 8361431 w 12379791"/>
                <a:gd name="connsiteY9" fmla="*/ 614077 h 2262197"/>
                <a:gd name="connsiteX10" fmla="*/ 8982448 w 12379791"/>
                <a:gd name="connsiteY10" fmla="*/ 1016825 h 2262197"/>
                <a:gd name="connsiteX11" fmla="*/ 9552444 w 12379791"/>
                <a:gd name="connsiteY11" fmla="*/ 1843657 h 2262197"/>
                <a:gd name="connsiteX12" fmla="*/ 10483844 w 12379791"/>
                <a:gd name="connsiteY12" fmla="*/ 2262196 h 2262197"/>
                <a:gd name="connsiteX13" fmla="*/ 11529878 w 12379791"/>
                <a:gd name="connsiteY13" fmla="*/ 1843659 h 2262197"/>
                <a:gd name="connsiteX14" fmla="*/ 11820809 w 12379791"/>
                <a:gd name="connsiteY14" fmla="*/ 1197924 h 2262197"/>
                <a:gd name="connsiteX15" fmla="*/ 12131705 w 12379791"/>
                <a:gd name="connsiteY15" fmla="*/ 751817 h 2262197"/>
                <a:gd name="connsiteX16" fmla="*/ 12379791 w 12379791"/>
                <a:gd name="connsiteY16" fmla="*/ 451503 h 2262197"/>
                <a:gd name="connsiteX17" fmla="*/ 12379791 w 12379791"/>
                <a:gd name="connsiteY17" fmla="*/ 13121 h 2262197"/>
                <a:gd name="connsiteX18" fmla="*/ 11773475 w 12379791"/>
                <a:gd name="connsiteY18" fmla="*/ 187696 h 2262197"/>
                <a:gd name="connsiteX19" fmla="*/ 11393750 w 12379791"/>
                <a:gd name="connsiteY19" fmla="*/ 799581 h 2262197"/>
                <a:gd name="connsiteX20" fmla="*/ 10937005 w 12379791"/>
                <a:gd name="connsiteY20" fmla="*/ 1413742 h 2262197"/>
                <a:gd name="connsiteX21" fmla="*/ 10369210 w 12379791"/>
                <a:gd name="connsiteY21" fmla="*/ 1370525 h 2262197"/>
                <a:gd name="connsiteX22" fmla="*/ 9862313 w 12379791"/>
                <a:gd name="connsiteY22" fmla="*/ 810956 h 2262197"/>
                <a:gd name="connsiteX23" fmla="*/ 9450348 w 12379791"/>
                <a:gd name="connsiteY23" fmla="*/ 299156 h 2262197"/>
                <a:gd name="connsiteX24" fmla="*/ 8557477 w 12379791"/>
                <a:gd name="connsiteY24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7080281 w 12379791"/>
                <a:gd name="connsiteY6" fmla="*/ 631089 h 2262197"/>
                <a:gd name="connsiteX7" fmla="*/ 7829436 w 12379791"/>
                <a:gd name="connsiteY7" fmla="*/ 622583 h 2262197"/>
                <a:gd name="connsiteX8" fmla="*/ 8361431 w 12379791"/>
                <a:gd name="connsiteY8" fmla="*/ 614077 h 2262197"/>
                <a:gd name="connsiteX9" fmla="*/ 8982448 w 12379791"/>
                <a:gd name="connsiteY9" fmla="*/ 1016825 h 2262197"/>
                <a:gd name="connsiteX10" fmla="*/ 9552444 w 12379791"/>
                <a:gd name="connsiteY10" fmla="*/ 1843657 h 2262197"/>
                <a:gd name="connsiteX11" fmla="*/ 10483844 w 12379791"/>
                <a:gd name="connsiteY11" fmla="*/ 2262196 h 2262197"/>
                <a:gd name="connsiteX12" fmla="*/ 11529878 w 12379791"/>
                <a:gd name="connsiteY12" fmla="*/ 1843659 h 2262197"/>
                <a:gd name="connsiteX13" fmla="*/ 11820809 w 12379791"/>
                <a:gd name="connsiteY13" fmla="*/ 1197924 h 2262197"/>
                <a:gd name="connsiteX14" fmla="*/ 12131705 w 12379791"/>
                <a:gd name="connsiteY14" fmla="*/ 751817 h 2262197"/>
                <a:gd name="connsiteX15" fmla="*/ 12379791 w 12379791"/>
                <a:gd name="connsiteY15" fmla="*/ 451503 h 2262197"/>
                <a:gd name="connsiteX16" fmla="*/ 12379791 w 12379791"/>
                <a:gd name="connsiteY16" fmla="*/ 13121 h 2262197"/>
                <a:gd name="connsiteX17" fmla="*/ 11773475 w 12379791"/>
                <a:gd name="connsiteY17" fmla="*/ 187696 h 2262197"/>
                <a:gd name="connsiteX18" fmla="*/ 11393750 w 12379791"/>
                <a:gd name="connsiteY18" fmla="*/ 799581 h 2262197"/>
                <a:gd name="connsiteX19" fmla="*/ 10937005 w 12379791"/>
                <a:gd name="connsiteY19" fmla="*/ 1413742 h 2262197"/>
                <a:gd name="connsiteX20" fmla="*/ 10369210 w 12379791"/>
                <a:gd name="connsiteY20" fmla="*/ 1370525 h 2262197"/>
                <a:gd name="connsiteX21" fmla="*/ 9862313 w 12379791"/>
                <a:gd name="connsiteY21" fmla="*/ 810956 h 2262197"/>
                <a:gd name="connsiteX22" fmla="*/ 9450348 w 12379791"/>
                <a:gd name="connsiteY22" fmla="*/ 299156 h 2262197"/>
                <a:gd name="connsiteX23" fmla="*/ 8557477 w 12379791"/>
                <a:gd name="connsiteY23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7829436 w 12379791"/>
                <a:gd name="connsiteY6" fmla="*/ 622583 h 2262197"/>
                <a:gd name="connsiteX7" fmla="*/ 8361431 w 12379791"/>
                <a:gd name="connsiteY7" fmla="*/ 614077 h 2262197"/>
                <a:gd name="connsiteX8" fmla="*/ 8982448 w 12379791"/>
                <a:gd name="connsiteY8" fmla="*/ 1016825 h 2262197"/>
                <a:gd name="connsiteX9" fmla="*/ 9552444 w 12379791"/>
                <a:gd name="connsiteY9" fmla="*/ 1843657 h 2262197"/>
                <a:gd name="connsiteX10" fmla="*/ 10483844 w 12379791"/>
                <a:gd name="connsiteY10" fmla="*/ 2262196 h 2262197"/>
                <a:gd name="connsiteX11" fmla="*/ 11529878 w 12379791"/>
                <a:gd name="connsiteY11" fmla="*/ 1843659 h 2262197"/>
                <a:gd name="connsiteX12" fmla="*/ 11820809 w 12379791"/>
                <a:gd name="connsiteY12" fmla="*/ 1197924 h 2262197"/>
                <a:gd name="connsiteX13" fmla="*/ 12131705 w 12379791"/>
                <a:gd name="connsiteY13" fmla="*/ 751817 h 2262197"/>
                <a:gd name="connsiteX14" fmla="*/ 12379791 w 12379791"/>
                <a:gd name="connsiteY14" fmla="*/ 451503 h 2262197"/>
                <a:gd name="connsiteX15" fmla="*/ 12379791 w 12379791"/>
                <a:gd name="connsiteY15" fmla="*/ 13121 h 2262197"/>
                <a:gd name="connsiteX16" fmla="*/ 11773475 w 12379791"/>
                <a:gd name="connsiteY16" fmla="*/ 187696 h 2262197"/>
                <a:gd name="connsiteX17" fmla="*/ 11393750 w 12379791"/>
                <a:gd name="connsiteY17" fmla="*/ 799581 h 2262197"/>
                <a:gd name="connsiteX18" fmla="*/ 10937005 w 12379791"/>
                <a:gd name="connsiteY18" fmla="*/ 1413742 h 2262197"/>
                <a:gd name="connsiteX19" fmla="*/ 10369210 w 12379791"/>
                <a:gd name="connsiteY19" fmla="*/ 1370525 h 2262197"/>
                <a:gd name="connsiteX20" fmla="*/ 9862313 w 12379791"/>
                <a:gd name="connsiteY20" fmla="*/ 810956 h 2262197"/>
                <a:gd name="connsiteX21" fmla="*/ 9450348 w 12379791"/>
                <a:gd name="connsiteY21" fmla="*/ 299156 h 2262197"/>
                <a:gd name="connsiteX22" fmla="*/ 8557477 w 12379791"/>
                <a:gd name="connsiteY22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8361431 w 12379791"/>
                <a:gd name="connsiteY6" fmla="*/ 614077 h 2262197"/>
                <a:gd name="connsiteX7" fmla="*/ 8982448 w 12379791"/>
                <a:gd name="connsiteY7" fmla="*/ 1016825 h 2262197"/>
                <a:gd name="connsiteX8" fmla="*/ 9552444 w 12379791"/>
                <a:gd name="connsiteY8" fmla="*/ 1843657 h 2262197"/>
                <a:gd name="connsiteX9" fmla="*/ 10483844 w 12379791"/>
                <a:gd name="connsiteY9" fmla="*/ 2262196 h 2262197"/>
                <a:gd name="connsiteX10" fmla="*/ 11529878 w 12379791"/>
                <a:gd name="connsiteY10" fmla="*/ 1843659 h 2262197"/>
                <a:gd name="connsiteX11" fmla="*/ 11820809 w 12379791"/>
                <a:gd name="connsiteY11" fmla="*/ 1197924 h 2262197"/>
                <a:gd name="connsiteX12" fmla="*/ 12131705 w 12379791"/>
                <a:gd name="connsiteY12" fmla="*/ 751817 h 2262197"/>
                <a:gd name="connsiteX13" fmla="*/ 12379791 w 12379791"/>
                <a:gd name="connsiteY13" fmla="*/ 451503 h 2262197"/>
                <a:gd name="connsiteX14" fmla="*/ 12379791 w 12379791"/>
                <a:gd name="connsiteY14" fmla="*/ 13121 h 2262197"/>
                <a:gd name="connsiteX15" fmla="*/ 11773475 w 12379791"/>
                <a:gd name="connsiteY15" fmla="*/ 187696 h 2262197"/>
                <a:gd name="connsiteX16" fmla="*/ 11393750 w 12379791"/>
                <a:gd name="connsiteY16" fmla="*/ 799581 h 2262197"/>
                <a:gd name="connsiteX17" fmla="*/ 10937005 w 12379791"/>
                <a:gd name="connsiteY17" fmla="*/ 1413742 h 2262197"/>
                <a:gd name="connsiteX18" fmla="*/ 10369210 w 12379791"/>
                <a:gd name="connsiteY18" fmla="*/ 1370525 h 2262197"/>
                <a:gd name="connsiteX19" fmla="*/ 9862313 w 12379791"/>
                <a:gd name="connsiteY19" fmla="*/ 810956 h 2262197"/>
                <a:gd name="connsiteX20" fmla="*/ 9450348 w 12379791"/>
                <a:gd name="connsiteY20" fmla="*/ 299156 h 2262197"/>
                <a:gd name="connsiteX21" fmla="*/ 8557477 w 12379791"/>
                <a:gd name="connsiteY21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8370387 w 12379791"/>
                <a:gd name="connsiteY6" fmla="*/ 545838 h 2262197"/>
                <a:gd name="connsiteX7" fmla="*/ 8982448 w 12379791"/>
                <a:gd name="connsiteY7" fmla="*/ 1016825 h 2262197"/>
                <a:gd name="connsiteX8" fmla="*/ 9552444 w 12379791"/>
                <a:gd name="connsiteY8" fmla="*/ 1843657 h 2262197"/>
                <a:gd name="connsiteX9" fmla="*/ 10483844 w 12379791"/>
                <a:gd name="connsiteY9" fmla="*/ 2262196 h 2262197"/>
                <a:gd name="connsiteX10" fmla="*/ 11529878 w 12379791"/>
                <a:gd name="connsiteY10" fmla="*/ 1843659 h 2262197"/>
                <a:gd name="connsiteX11" fmla="*/ 11820809 w 12379791"/>
                <a:gd name="connsiteY11" fmla="*/ 1197924 h 2262197"/>
                <a:gd name="connsiteX12" fmla="*/ 12131705 w 12379791"/>
                <a:gd name="connsiteY12" fmla="*/ 751817 h 2262197"/>
                <a:gd name="connsiteX13" fmla="*/ 12379791 w 12379791"/>
                <a:gd name="connsiteY13" fmla="*/ 451503 h 2262197"/>
                <a:gd name="connsiteX14" fmla="*/ 12379791 w 12379791"/>
                <a:gd name="connsiteY14" fmla="*/ 13121 h 2262197"/>
                <a:gd name="connsiteX15" fmla="*/ 11773475 w 12379791"/>
                <a:gd name="connsiteY15" fmla="*/ 187696 h 2262197"/>
                <a:gd name="connsiteX16" fmla="*/ 11393750 w 12379791"/>
                <a:gd name="connsiteY16" fmla="*/ 799581 h 2262197"/>
                <a:gd name="connsiteX17" fmla="*/ 10937005 w 12379791"/>
                <a:gd name="connsiteY17" fmla="*/ 1413742 h 2262197"/>
                <a:gd name="connsiteX18" fmla="*/ 10369210 w 12379791"/>
                <a:gd name="connsiteY18" fmla="*/ 1370525 h 2262197"/>
                <a:gd name="connsiteX19" fmla="*/ 9862313 w 12379791"/>
                <a:gd name="connsiteY19" fmla="*/ 810956 h 2262197"/>
                <a:gd name="connsiteX20" fmla="*/ 9450348 w 12379791"/>
                <a:gd name="connsiteY20" fmla="*/ 299156 h 2262197"/>
                <a:gd name="connsiteX21" fmla="*/ 8557477 w 12379791"/>
                <a:gd name="connsiteY21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8982448 w 12379791"/>
                <a:gd name="connsiteY6" fmla="*/ 1016825 h 2262197"/>
                <a:gd name="connsiteX7" fmla="*/ 9552444 w 12379791"/>
                <a:gd name="connsiteY7" fmla="*/ 1843657 h 2262197"/>
                <a:gd name="connsiteX8" fmla="*/ 10483844 w 12379791"/>
                <a:gd name="connsiteY8" fmla="*/ 2262196 h 2262197"/>
                <a:gd name="connsiteX9" fmla="*/ 11529878 w 12379791"/>
                <a:gd name="connsiteY9" fmla="*/ 1843659 h 2262197"/>
                <a:gd name="connsiteX10" fmla="*/ 11820809 w 12379791"/>
                <a:gd name="connsiteY10" fmla="*/ 1197924 h 2262197"/>
                <a:gd name="connsiteX11" fmla="*/ 12131705 w 12379791"/>
                <a:gd name="connsiteY11" fmla="*/ 751817 h 2262197"/>
                <a:gd name="connsiteX12" fmla="*/ 12379791 w 12379791"/>
                <a:gd name="connsiteY12" fmla="*/ 451503 h 2262197"/>
                <a:gd name="connsiteX13" fmla="*/ 12379791 w 12379791"/>
                <a:gd name="connsiteY13" fmla="*/ 13121 h 2262197"/>
                <a:gd name="connsiteX14" fmla="*/ 11773475 w 12379791"/>
                <a:gd name="connsiteY14" fmla="*/ 187696 h 2262197"/>
                <a:gd name="connsiteX15" fmla="*/ 11393750 w 12379791"/>
                <a:gd name="connsiteY15" fmla="*/ 799581 h 2262197"/>
                <a:gd name="connsiteX16" fmla="*/ 10937005 w 12379791"/>
                <a:gd name="connsiteY16" fmla="*/ 1413742 h 2262197"/>
                <a:gd name="connsiteX17" fmla="*/ 10369210 w 12379791"/>
                <a:gd name="connsiteY17" fmla="*/ 1370525 h 2262197"/>
                <a:gd name="connsiteX18" fmla="*/ 9862313 w 12379791"/>
                <a:gd name="connsiteY18" fmla="*/ 810956 h 2262197"/>
                <a:gd name="connsiteX19" fmla="*/ 9450348 w 12379791"/>
                <a:gd name="connsiteY19" fmla="*/ 299156 h 2262197"/>
                <a:gd name="connsiteX20" fmla="*/ 8557477 w 12379791"/>
                <a:gd name="connsiteY20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8622972 w 12379791"/>
                <a:gd name="connsiteY5" fmla="*/ 537465 h 2262197"/>
                <a:gd name="connsiteX6" fmla="*/ 8982448 w 12379791"/>
                <a:gd name="connsiteY6" fmla="*/ 1016825 h 2262197"/>
                <a:gd name="connsiteX7" fmla="*/ 9552444 w 12379791"/>
                <a:gd name="connsiteY7" fmla="*/ 1843657 h 2262197"/>
                <a:gd name="connsiteX8" fmla="*/ 10483844 w 12379791"/>
                <a:gd name="connsiteY8" fmla="*/ 2262196 h 2262197"/>
                <a:gd name="connsiteX9" fmla="*/ 11529878 w 12379791"/>
                <a:gd name="connsiteY9" fmla="*/ 1843659 h 2262197"/>
                <a:gd name="connsiteX10" fmla="*/ 11820809 w 12379791"/>
                <a:gd name="connsiteY10" fmla="*/ 1197924 h 2262197"/>
                <a:gd name="connsiteX11" fmla="*/ 12131705 w 12379791"/>
                <a:gd name="connsiteY11" fmla="*/ 751817 h 2262197"/>
                <a:gd name="connsiteX12" fmla="*/ 12379791 w 12379791"/>
                <a:gd name="connsiteY12" fmla="*/ 451503 h 2262197"/>
                <a:gd name="connsiteX13" fmla="*/ 12379791 w 12379791"/>
                <a:gd name="connsiteY13" fmla="*/ 13121 h 2262197"/>
                <a:gd name="connsiteX14" fmla="*/ 11773475 w 12379791"/>
                <a:gd name="connsiteY14" fmla="*/ 187696 h 2262197"/>
                <a:gd name="connsiteX15" fmla="*/ 11393750 w 12379791"/>
                <a:gd name="connsiteY15" fmla="*/ 799581 h 2262197"/>
                <a:gd name="connsiteX16" fmla="*/ 10937005 w 12379791"/>
                <a:gd name="connsiteY16" fmla="*/ 1413742 h 2262197"/>
                <a:gd name="connsiteX17" fmla="*/ 10369210 w 12379791"/>
                <a:gd name="connsiteY17" fmla="*/ 1370525 h 2262197"/>
                <a:gd name="connsiteX18" fmla="*/ 9862313 w 12379791"/>
                <a:gd name="connsiteY18" fmla="*/ 810956 h 2262197"/>
                <a:gd name="connsiteX19" fmla="*/ 9450348 w 12379791"/>
                <a:gd name="connsiteY19" fmla="*/ 299156 h 2262197"/>
                <a:gd name="connsiteX20" fmla="*/ 8557477 w 12379791"/>
                <a:gd name="connsiteY20" fmla="*/ 212886 h 2262197"/>
                <a:gd name="connsiteX0" fmla="*/ 8568147 w 12390461"/>
                <a:gd name="connsiteY0" fmla="*/ 212886 h 2262197"/>
                <a:gd name="connsiteX1" fmla="*/ 425513 w 12390461"/>
                <a:gd name="connsiteY1" fmla="*/ 689526 h 2262197"/>
                <a:gd name="connsiteX2" fmla="*/ 1282314 w 12390461"/>
                <a:gd name="connsiteY2" fmla="*/ 597083 h 2262197"/>
                <a:gd name="connsiteX3" fmla="*/ 2433183 w 12390461"/>
                <a:gd name="connsiteY3" fmla="*/ 571583 h 2262197"/>
                <a:gd name="connsiteX4" fmla="*/ 8633642 w 12390461"/>
                <a:gd name="connsiteY4" fmla="*/ 537465 h 2262197"/>
                <a:gd name="connsiteX5" fmla="*/ 8993118 w 12390461"/>
                <a:gd name="connsiteY5" fmla="*/ 1016825 h 2262197"/>
                <a:gd name="connsiteX6" fmla="*/ 9563114 w 12390461"/>
                <a:gd name="connsiteY6" fmla="*/ 1843657 h 2262197"/>
                <a:gd name="connsiteX7" fmla="*/ 10494514 w 12390461"/>
                <a:gd name="connsiteY7" fmla="*/ 2262196 h 2262197"/>
                <a:gd name="connsiteX8" fmla="*/ 11540548 w 12390461"/>
                <a:gd name="connsiteY8" fmla="*/ 1843659 h 2262197"/>
                <a:gd name="connsiteX9" fmla="*/ 11831479 w 12390461"/>
                <a:gd name="connsiteY9" fmla="*/ 1197924 h 2262197"/>
                <a:gd name="connsiteX10" fmla="*/ 12142375 w 12390461"/>
                <a:gd name="connsiteY10" fmla="*/ 751817 h 2262197"/>
                <a:gd name="connsiteX11" fmla="*/ 12390461 w 12390461"/>
                <a:gd name="connsiteY11" fmla="*/ 451503 h 2262197"/>
                <a:gd name="connsiteX12" fmla="*/ 12390461 w 12390461"/>
                <a:gd name="connsiteY12" fmla="*/ 13121 h 2262197"/>
                <a:gd name="connsiteX13" fmla="*/ 11784145 w 12390461"/>
                <a:gd name="connsiteY13" fmla="*/ 187696 h 2262197"/>
                <a:gd name="connsiteX14" fmla="*/ 11404420 w 12390461"/>
                <a:gd name="connsiteY14" fmla="*/ 799581 h 2262197"/>
                <a:gd name="connsiteX15" fmla="*/ 10947675 w 12390461"/>
                <a:gd name="connsiteY15" fmla="*/ 1413742 h 2262197"/>
                <a:gd name="connsiteX16" fmla="*/ 10379880 w 12390461"/>
                <a:gd name="connsiteY16" fmla="*/ 1370525 h 2262197"/>
                <a:gd name="connsiteX17" fmla="*/ 9872983 w 12390461"/>
                <a:gd name="connsiteY17" fmla="*/ 810956 h 2262197"/>
                <a:gd name="connsiteX18" fmla="*/ 9461018 w 12390461"/>
                <a:gd name="connsiteY18" fmla="*/ 299156 h 2262197"/>
                <a:gd name="connsiteX19" fmla="*/ 8568147 w 12390461"/>
                <a:gd name="connsiteY19" fmla="*/ 212886 h 2262197"/>
                <a:gd name="connsiteX0" fmla="*/ 8767043 w 12589357"/>
                <a:gd name="connsiteY0" fmla="*/ 212886 h 2262197"/>
                <a:gd name="connsiteX1" fmla="*/ 624409 w 12589357"/>
                <a:gd name="connsiteY1" fmla="*/ 689526 h 2262197"/>
                <a:gd name="connsiteX2" fmla="*/ 1481210 w 12589357"/>
                <a:gd name="connsiteY2" fmla="*/ 597083 h 2262197"/>
                <a:gd name="connsiteX3" fmla="*/ 8832538 w 12589357"/>
                <a:gd name="connsiteY3" fmla="*/ 537465 h 2262197"/>
                <a:gd name="connsiteX4" fmla="*/ 9192014 w 12589357"/>
                <a:gd name="connsiteY4" fmla="*/ 1016825 h 2262197"/>
                <a:gd name="connsiteX5" fmla="*/ 9762010 w 12589357"/>
                <a:gd name="connsiteY5" fmla="*/ 1843657 h 2262197"/>
                <a:gd name="connsiteX6" fmla="*/ 10693410 w 12589357"/>
                <a:gd name="connsiteY6" fmla="*/ 2262196 h 2262197"/>
                <a:gd name="connsiteX7" fmla="*/ 11739444 w 12589357"/>
                <a:gd name="connsiteY7" fmla="*/ 1843659 h 2262197"/>
                <a:gd name="connsiteX8" fmla="*/ 12030375 w 12589357"/>
                <a:gd name="connsiteY8" fmla="*/ 1197924 h 2262197"/>
                <a:gd name="connsiteX9" fmla="*/ 12341271 w 12589357"/>
                <a:gd name="connsiteY9" fmla="*/ 751817 h 2262197"/>
                <a:gd name="connsiteX10" fmla="*/ 12589357 w 12589357"/>
                <a:gd name="connsiteY10" fmla="*/ 451503 h 2262197"/>
                <a:gd name="connsiteX11" fmla="*/ 12589357 w 12589357"/>
                <a:gd name="connsiteY11" fmla="*/ 13121 h 2262197"/>
                <a:gd name="connsiteX12" fmla="*/ 11983041 w 12589357"/>
                <a:gd name="connsiteY12" fmla="*/ 187696 h 2262197"/>
                <a:gd name="connsiteX13" fmla="*/ 11603316 w 12589357"/>
                <a:gd name="connsiteY13" fmla="*/ 799581 h 2262197"/>
                <a:gd name="connsiteX14" fmla="*/ 11146571 w 12589357"/>
                <a:gd name="connsiteY14" fmla="*/ 1413742 h 2262197"/>
                <a:gd name="connsiteX15" fmla="*/ 10578776 w 12589357"/>
                <a:gd name="connsiteY15" fmla="*/ 1370525 h 2262197"/>
                <a:gd name="connsiteX16" fmla="*/ 10071879 w 12589357"/>
                <a:gd name="connsiteY16" fmla="*/ 810956 h 2262197"/>
                <a:gd name="connsiteX17" fmla="*/ 9659914 w 12589357"/>
                <a:gd name="connsiteY17" fmla="*/ 299156 h 2262197"/>
                <a:gd name="connsiteX18" fmla="*/ 8767043 w 12589357"/>
                <a:gd name="connsiteY18" fmla="*/ 212886 h 2262197"/>
                <a:gd name="connsiteX0" fmla="*/ 8142648 w 11964962"/>
                <a:gd name="connsiteY0" fmla="*/ 212886 h 2262197"/>
                <a:gd name="connsiteX1" fmla="*/ 14 w 11964962"/>
                <a:gd name="connsiteY1" fmla="*/ 689526 h 2262197"/>
                <a:gd name="connsiteX2" fmla="*/ 8208143 w 11964962"/>
                <a:gd name="connsiteY2" fmla="*/ 537465 h 2262197"/>
                <a:gd name="connsiteX3" fmla="*/ 8567619 w 11964962"/>
                <a:gd name="connsiteY3" fmla="*/ 1016825 h 2262197"/>
                <a:gd name="connsiteX4" fmla="*/ 9137615 w 11964962"/>
                <a:gd name="connsiteY4" fmla="*/ 1843657 h 2262197"/>
                <a:gd name="connsiteX5" fmla="*/ 10069015 w 11964962"/>
                <a:gd name="connsiteY5" fmla="*/ 2262196 h 2262197"/>
                <a:gd name="connsiteX6" fmla="*/ 11115049 w 11964962"/>
                <a:gd name="connsiteY6" fmla="*/ 1843659 h 2262197"/>
                <a:gd name="connsiteX7" fmla="*/ 11405980 w 11964962"/>
                <a:gd name="connsiteY7" fmla="*/ 1197924 h 2262197"/>
                <a:gd name="connsiteX8" fmla="*/ 11716876 w 11964962"/>
                <a:gd name="connsiteY8" fmla="*/ 751817 h 2262197"/>
                <a:gd name="connsiteX9" fmla="*/ 11964962 w 11964962"/>
                <a:gd name="connsiteY9" fmla="*/ 451503 h 2262197"/>
                <a:gd name="connsiteX10" fmla="*/ 11964962 w 11964962"/>
                <a:gd name="connsiteY10" fmla="*/ 13121 h 2262197"/>
                <a:gd name="connsiteX11" fmla="*/ 11358646 w 11964962"/>
                <a:gd name="connsiteY11" fmla="*/ 187696 h 2262197"/>
                <a:gd name="connsiteX12" fmla="*/ 10978921 w 11964962"/>
                <a:gd name="connsiteY12" fmla="*/ 799581 h 2262197"/>
                <a:gd name="connsiteX13" fmla="*/ 10522176 w 11964962"/>
                <a:gd name="connsiteY13" fmla="*/ 1413742 h 2262197"/>
                <a:gd name="connsiteX14" fmla="*/ 9954381 w 11964962"/>
                <a:gd name="connsiteY14" fmla="*/ 1370525 h 2262197"/>
                <a:gd name="connsiteX15" fmla="*/ 9447484 w 11964962"/>
                <a:gd name="connsiteY15" fmla="*/ 810956 h 2262197"/>
                <a:gd name="connsiteX16" fmla="*/ 9035519 w 11964962"/>
                <a:gd name="connsiteY16" fmla="*/ 299156 h 2262197"/>
                <a:gd name="connsiteX17" fmla="*/ 8142648 w 11964962"/>
                <a:gd name="connsiteY17" fmla="*/ 212886 h 2262197"/>
                <a:gd name="connsiteX0" fmla="*/ 60187 w 3882501"/>
                <a:gd name="connsiteY0" fmla="*/ 212886 h 2262197"/>
                <a:gd name="connsiteX1" fmla="*/ 125682 w 3882501"/>
                <a:gd name="connsiteY1" fmla="*/ 537465 h 2262197"/>
                <a:gd name="connsiteX2" fmla="*/ 485158 w 3882501"/>
                <a:gd name="connsiteY2" fmla="*/ 1016825 h 2262197"/>
                <a:gd name="connsiteX3" fmla="*/ 1055154 w 3882501"/>
                <a:gd name="connsiteY3" fmla="*/ 1843657 h 2262197"/>
                <a:gd name="connsiteX4" fmla="*/ 1986554 w 3882501"/>
                <a:gd name="connsiteY4" fmla="*/ 2262196 h 2262197"/>
                <a:gd name="connsiteX5" fmla="*/ 3032588 w 3882501"/>
                <a:gd name="connsiteY5" fmla="*/ 1843659 h 2262197"/>
                <a:gd name="connsiteX6" fmla="*/ 3323519 w 3882501"/>
                <a:gd name="connsiteY6" fmla="*/ 1197924 h 2262197"/>
                <a:gd name="connsiteX7" fmla="*/ 3634415 w 3882501"/>
                <a:gd name="connsiteY7" fmla="*/ 751817 h 2262197"/>
                <a:gd name="connsiteX8" fmla="*/ 3882501 w 3882501"/>
                <a:gd name="connsiteY8" fmla="*/ 451503 h 2262197"/>
                <a:gd name="connsiteX9" fmla="*/ 3882501 w 3882501"/>
                <a:gd name="connsiteY9" fmla="*/ 13121 h 2262197"/>
                <a:gd name="connsiteX10" fmla="*/ 3276185 w 3882501"/>
                <a:gd name="connsiteY10" fmla="*/ 187696 h 2262197"/>
                <a:gd name="connsiteX11" fmla="*/ 2896460 w 3882501"/>
                <a:gd name="connsiteY11" fmla="*/ 799581 h 2262197"/>
                <a:gd name="connsiteX12" fmla="*/ 2439715 w 3882501"/>
                <a:gd name="connsiteY12" fmla="*/ 1413742 h 2262197"/>
                <a:gd name="connsiteX13" fmla="*/ 1871920 w 3882501"/>
                <a:gd name="connsiteY13" fmla="*/ 1370525 h 2262197"/>
                <a:gd name="connsiteX14" fmla="*/ 1365023 w 3882501"/>
                <a:gd name="connsiteY14" fmla="*/ 810956 h 2262197"/>
                <a:gd name="connsiteX15" fmla="*/ 953058 w 3882501"/>
                <a:gd name="connsiteY15" fmla="*/ 299156 h 2262197"/>
                <a:gd name="connsiteX16" fmla="*/ 60187 w 3882501"/>
                <a:gd name="connsiteY16" fmla="*/ 212886 h 2262197"/>
                <a:gd name="connsiteX0" fmla="*/ 60187 w 3882501"/>
                <a:gd name="connsiteY0" fmla="*/ 212886 h 2262197"/>
                <a:gd name="connsiteX1" fmla="*/ 125682 w 3882501"/>
                <a:gd name="connsiteY1" fmla="*/ 537465 h 2262197"/>
                <a:gd name="connsiteX2" fmla="*/ 485158 w 3882501"/>
                <a:gd name="connsiteY2" fmla="*/ 1016825 h 2262197"/>
                <a:gd name="connsiteX3" fmla="*/ 1055154 w 3882501"/>
                <a:gd name="connsiteY3" fmla="*/ 1843657 h 2262197"/>
                <a:gd name="connsiteX4" fmla="*/ 1986554 w 3882501"/>
                <a:gd name="connsiteY4" fmla="*/ 2262196 h 2262197"/>
                <a:gd name="connsiteX5" fmla="*/ 3032588 w 3882501"/>
                <a:gd name="connsiteY5" fmla="*/ 1843659 h 2262197"/>
                <a:gd name="connsiteX6" fmla="*/ 3323519 w 3882501"/>
                <a:gd name="connsiteY6" fmla="*/ 1197924 h 2262197"/>
                <a:gd name="connsiteX7" fmla="*/ 3634415 w 3882501"/>
                <a:gd name="connsiteY7" fmla="*/ 751817 h 2262197"/>
                <a:gd name="connsiteX8" fmla="*/ 3882501 w 3882501"/>
                <a:gd name="connsiteY8" fmla="*/ 451503 h 2262197"/>
                <a:gd name="connsiteX9" fmla="*/ 3882501 w 3882501"/>
                <a:gd name="connsiteY9" fmla="*/ 13121 h 2262197"/>
                <a:gd name="connsiteX10" fmla="*/ 3276185 w 3882501"/>
                <a:gd name="connsiteY10" fmla="*/ 187696 h 2262197"/>
                <a:gd name="connsiteX11" fmla="*/ 2896460 w 3882501"/>
                <a:gd name="connsiteY11" fmla="*/ 799581 h 2262197"/>
                <a:gd name="connsiteX12" fmla="*/ 2439715 w 3882501"/>
                <a:gd name="connsiteY12" fmla="*/ 1413742 h 2262197"/>
                <a:gd name="connsiteX13" fmla="*/ 1871920 w 3882501"/>
                <a:gd name="connsiteY13" fmla="*/ 1370525 h 2262197"/>
                <a:gd name="connsiteX14" fmla="*/ 1579966 w 3882501"/>
                <a:gd name="connsiteY14" fmla="*/ 185419 h 2262197"/>
                <a:gd name="connsiteX15" fmla="*/ 953058 w 3882501"/>
                <a:gd name="connsiteY15" fmla="*/ 299156 h 2262197"/>
                <a:gd name="connsiteX16" fmla="*/ 60187 w 3882501"/>
                <a:gd name="connsiteY16" fmla="*/ 212886 h 2262197"/>
                <a:gd name="connsiteX0" fmla="*/ 62173 w 3884487"/>
                <a:gd name="connsiteY0" fmla="*/ 212886 h 2262197"/>
                <a:gd name="connsiteX1" fmla="*/ 127668 w 3884487"/>
                <a:gd name="connsiteY1" fmla="*/ 537465 h 2262197"/>
                <a:gd name="connsiteX2" fmla="*/ 487144 w 3884487"/>
                <a:gd name="connsiteY2" fmla="*/ 1016825 h 2262197"/>
                <a:gd name="connsiteX3" fmla="*/ 1057140 w 3884487"/>
                <a:gd name="connsiteY3" fmla="*/ 1843657 h 2262197"/>
                <a:gd name="connsiteX4" fmla="*/ 1988540 w 3884487"/>
                <a:gd name="connsiteY4" fmla="*/ 2262196 h 2262197"/>
                <a:gd name="connsiteX5" fmla="*/ 3034574 w 3884487"/>
                <a:gd name="connsiteY5" fmla="*/ 1843659 h 2262197"/>
                <a:gd name="connsiteX6" fmla="*/ 3325505 w 3884487"/>
                <a:gd name="connsiteY6" fmla="*/ 1197924 h 2262197"/>
                <a:gd name="connsiteX7" fmla="*/ 3636401 w 3884487"/>
                <a:gd name="connsiteY7" fmla="*/ 751817 h 2262197"/>
                <a:gd name="connsiteX8" fmla="*/ 3884487 w 3884487"/>
                <a:gd name="connsiteY8" fmla="*/ 451503 h 2262197"/>
                <a:gd name="connsiteX9" fmla="*/ 3884487 w 3884487"/>
                <a:gd name="connsiteY9" fmla="*/ 13121 h 2262197"/>
                <a:gd name="connsiteX10" fmla="*/ 3278171 w 3884487"/>
                <a:gd name="connsiteY10" fmla="*/ 187696 h 2262197"/>
                <a:gd name="connsiteX11" fmla="*/ 2898446 w 3884487"/>
                <a:gd name="connsiteY11" fmla="*/ 799581 h 2262197"/>
                <a:gd name="connsiteX12" fmla="*/ 2441701 w 3884487"/>
                <a:gd name="connsiteY12" fmla="*/ 1413742 h 2262197"/>
                <a:gd name="connsiteX13" fmla="*/ 1873906 w 3884487"/>
                <a:gd name="connsiteY13" fmla="*/ 1370525 h 2262197"/>
                <a:gd name="connsiteX14" fmla="*/ 1581952 w 3884487"/>
                <a:gd name="connsiteY14" fmla="*/ 185419 h 2262197"/>
                <a:gd name="connsiteX15" fmla="*/ 981914 w 3884487"/>
                <a:gd name="connsiteY15" fmla="*/ 94434 h 2262197"/>
                <a:gd name="connsiteX16" fmla="*/ 62173 w 3884487"/>
                <a:gd name="connsiteY16" fmla="*/ 212886 h 2262197"/>
                <a:gd name="connsiteX0" fmla="*/ 62175 w 3884485"/>
                <a:gd name="connsiteY0" fmla="*/ 30910 h 2262197"/>
                <a:gd name="connsiteX1" fmla="*/ 127666 w 3884485"/>
                <a:gd name="connsiteY1" fmla="*/ 537465 h 2262197"/>
                <a:gd name="connsiteX2" fmla="*/ 487142 w 3884485"/>
                <a:gd name="connsiteY2" fmla="*/ 1016825 h 2262197"/>
                <a:gd name="connsiteX3" fmla="*/ 1057138 w 3884485"/>
                <a:gd name="connsiteY3" fmla="*/ 1843657 h 2262197"/>
                <a:gd name="connsiteX4" fmla="*/ 1988538 w 3884485"/>
                <a:gd name="connsiteY4" fmla="*/ 2262196 h 2262197"/>
                <a:gd name="connsiteX5" fmla="*/ 3034572 w 3884485"/>
                <a:gd name="connsiteY5" fmla="*/ 1843659 h 2262197"/>
                <a:gd name="connsiteX6" fmla="*/ 3325503 w 3884485"/>
                <a:gd name="connsiteY6" fmla="*/ 1197924 h 2262197"/>
                <a:gd name="connsiteX7" fmla="*/ 3636399 w 3884485"/>
                <a:gd name="connsiteY7" fmla="*/ 751817 h 2262197"/>
                <a:gd name="connsiteX8" fmla="*/ 3884485 w 3884485"/>
                <a:gd name="connsiteY8" fmla="*/ 451503 h 2262197"/>
                <a:gd name="connsiteX9" fmla="*/ 3884485 w 3884485"/>
                <a:gd name="connsiteY9" fmla="*/ 13121 h 2262197"/>
                <a:gd name="connsiteX10" fmla="*/ 3278169 w 3884485"/>
                <a:gd name="connsiteY10" fmla="*/ 187696 h 2262197"/>
                <a:gd name="connsiteX11" fmla="*/ 2898444 w 3884485"/>
                <a:gd name="connsiteY11" fmla="*/ 799581 h 2262197"/>
                <a:gd name="connsiteX12" fmla="*/ 2441699 w 3884485"/>
                <a:gd name="connsiteY12" fmla="*/ 1413742 h 2262197"/>
                <a:gd name="connsiteX13" fmla="*/ 1873904 w 3884485"/>
                <a:gd name="connsiteY13" fmla="*/ 1370525 h 2262197"/>
                <a:gd name="connsiteX14" fmla="*/ 1581950 w 3884485"/>
                <a:gd name="connsiteY14" fmla="*/ 185419 h 2262197"/>
                <a:gd name="connsiteX15" fmla="*/ 981912 w 3884485"/>
                <a:gd name="connsiteY15" fmla="*/ 94434 h 2262197"/>
                <a:gd name="connsiteX16" fmla="*/ 62175 w 3884485"/>
                <a:gd name="connsiteY16" fmla="*/ 30910 h 2262197"/>
                <a:gd name="connsiteX0" fmla="*/ 61263 w 3883573"/>
                <a:gd name="connsiteY0" fmla="*/ 30910 h 2262197"/>
                <a:gd name="connsiteX1" fmla="*/ 126754 w 3883573"/>
                <a:gd name="connsiteY1" fmla="*/ 537465 h 2262197"/>
                <a:gd name="connsiteX2" fmla="*/ 459363 w 3883573"/>
                <a:gd name="connsiteY2" fmla="*/ 1062319 h 2262197"/>
                <a:gd name="connsiteX3" fmla="*/ 1056226 w 3883573"/>
                <a:gd name="connsiteY3" fmla="*/ 1843657 h 2262197"/>
                <a:gd name="connsiteX4" fmla="*/ 1987626 w 3883573"/>
                <a:gd name="connsiteY4" fmla="*/ 2262196 h 2262197"/>
                <a:gd name="connsiteX5" fmla="*/ 3033660 w 3883573"/>
                <a:gd name="connsiteY5" fmla="*/ 1843659 h 2262197"/>
                <a:gd name="connsiteX6" fmla="*/ 3324591 w 3883573"/>
                <a:gd name="connsiteY6" fmla="*/ 1197924 h 2262197"/>
                <a:gd name="connsiteX7" fmla="*/ 3635487 w 3883573"/>
                <a:gd name="connsiteY7" fmla="*/ 751817 h 2262197"/>
                <a:gd name="connsiteX8" fmla="*/ 3883573 w 3883573"/>
                <a:gd name="connsiteY8" fmla="*/ 451503 h 2262197"/>
                <a:gd name="connsiteX9" fmla="*/ 3883573 w 3883573"/>
                <a:gd name="connsiteY9" fmla="*/ 13121 h 2262197"/>
                <a:gd name="connsiteX10" fmla="*/ 3277257 w 3883573"/>
                <a:gd name="connsiteY10" fmla="*/ 187696 h 2262197"/>
                <a:gd name="connsiteX11" fmla="*/ 2897532 w 3883573"/>
                <a:gd name="connsiteY11" fmla="*/ 799581 h 2262197"/>
                <a:gd name="connsiteX12" fmla="*/ 2440787 w 3883573"/>
                <a:gd name="connsiteY12" fmla="*/ 1413742 h 2262197"/>
                <a:gd name="connsiteX13" fmla="*/ 1872992 w 3883573"/>
                <a:gd name="connsiteY13" fmla="*/ 1370525 h 2262197"/>
                <a:gd name="connsiteX14" fmla="*/ 1581038 w 3883573"/>
                <a:gd name="connsiteY14" fmla="*/ 185419 h 2262197"/>
                <a:gd name="connsiteX15" fmla="*/ 981000 w 3883573"/>
                <a:gd name="connsiteY15" fmla="*/ 94434 h 2262197"/>
                <a:gd name="connsiteX16" fmla="*/ 61263 w 3883573"/>
                <a:gd name="connsiteY16" fmla="*/ 30910 h 2262197"/>
                <a:gd name="connsiteX0" fmla="*/ 61263 w 3883573"/>
                <a:gd name="connsiteY0" fmla="*/ 30910 h 2277068"/>
                <a:gd name="connsiteX1" fmla="*/ 126754 w 3883573"/>
                <a:gd name="connsiteY1" fmla="*/ 537465 h 2277068"/>
                <a:gd name="connsiteX2" fmla="*/ 459363 w 3883573"/>
                <a:gd name="connsiteY2" fmla="*/ 1062319 h 2277068"/>
                <a:gd name="connsiteX3" fmla="*/ 1235346 w 3883573"/>
                <a:gd name="connsiteY3" fmla="*/ 1252241 h 2277068"/>
                <a:gd name="connsiteX4" fmla="*/ 1987626 w 3883573"/>
                <a:gd name="connsiteY4" fmla="*/ 2262196 h 2277068"/>
                <a:gd name="connsiteX5" fmla="*/ 3033660 w 3883573"/>
                <a:gd name="connsiteY5" fmla="*/ 1843659 h 2277068"/>
                <a:gd name="connsiteX6" fmla="*/ 3324591 w 3883573"/>
                <a:gd name="connsiteY6" fmla="*/ 1197924 h 2277068"/>
                <a:gd name="connsiteX7" fmla="*/ 3635487 w 3883573"/>
                <a:gd name="connsiteY7" fmla="*/ 751817 h 2277068"/>
                <a:gd name="connsiteX8" fmla="*/ 3883573 w 3883573"/>
                <a:gd name="connsiteY8" fmla="*/ 451503 h 2277068"/>
                <a:gd name="connsiteX9" fmla="*/ 3883573 w 3883573"/>
                <a:gd name="connsiteY9" fmla="*/ 13121 h 2277068"/>
                <a:gd name="connsiteX10" fmla="*/ 3277257 w 3883573"/>
                <a:gd name="connsiteY10" fmla="*/ 187696 h 2277068"/>
                <a:gd name="connsiteX11" fmla="*/ 2897532 w 3883573"/>
                <a:gd name="connsiteY11" fmla="*/ 799581 h 2277068"/>
                <a:gd name="connsiteX12" fmla="*/ 2440787 w 3883573"/>
                <a:gd name="connsiteY12" fmla="*/ 1413742 h 2277068"/>
                <a:gd name="connsiteX13" fmla="*/ 1872992 w 3883573"/>
                <a:gd name="connsiteY13" fmla="*/ 1370525 h 2277068"/>
                <a:gd name="connsiteX14" fmla="*/ 1581038 w 3883573"/>
                <a:gd name="connsiteY14" fmla="*/ 185419 h 2277068"/>
                <a:gd name="connsiteX15" fmla="*/ 981000 w 3883573"/>
                <a:gd name="connsiteY15" fmla="*/ 94434 h 2277068"/>
                <a:gd name="connsiteX16" fmla="*/ 61263 w 3883573"/>
                <a:gd name="connsiteY16" fmla="*/ 30910 h 2277068"/>
                <a:gd name="connsiteX0" fmla="*/ 61263 w 3883573"/>
                <a:gd name="connsiteY0" fmla="*/ 30910 h 2277068"/>
                <a:gd name="connsiteX1" fmla="*/ 126754 w 3883573"/>
                <a:gd name="connsiteY1" fmla="*/ 537465 h 2277068"/>
                <a:gd name="connsiteX2" fmla="*/ 459363 w 3883573"/>
                <a:gd name="connsiteY2" fmla="*/ 1062319 h 2277068"/>
                <a:gd name="connsiteX3" fmla="*/ 1235346 w 3883573"/>
                <a:gd name="connsiteY3" fmla="*/ 1252241 h 2277068"/>
                <a:gd name="connsiteX4" fmla="*/ 1987626 w 3883573"/>
                <a:gd name="connsiteY4" fmla="*/ 2262196 h 2277068"/>
                <a:gd name="connsiteX5" fmla="*/ 3033660 w 3883573"/>
                <a:gd name="connsiteY5" fmla="*/ 1843659 h 2277068"/>
                <a:gd name="connsiteX6" fmla="*/ 3324591 w 3883573"/>
                <a:gd name="connsiteY6" fmla="*/ 1197924 h 2277068"/>
                <a:gd name="connsiteX7" fmla="*/ 3635487 w 3883573"/>
                <a:gd name="connsiteY7" fmla="*/ 751817 h 2277068"/>
                <a:gd name="connsiteX8" fmla="*/ 3883573 w 3883573"/>
                <a:gd name="connsiteY8" fmla="*/ 451503 h 2277068"/>
                <a:gd name="connsiteX9" fmla="*/ 3883573 w 3883573"/>
                <a:gd name="connsiteY9" fmla="*/ 13121 h 2277068"/>
                <a:gd name="connsiteX10" fmla="*/ 3277257 w 3883573"/>
                <a:gd name="connsiteY10" fmla="*/ 187696 h 2277068"/>
                <a:gd name="connsiteX11" fmla="*/ 2897532 w 3883573"/>
                <a:gd name="connsiteY11" fmla="*/ 799581 h 2277068"/>
                <a:gd name="connsiteX12" fmla="*/ 2440787 w 3883573"/>
                <a:gd name="connsiteY12" fmla="*/ 1413742 h 2277068"/>
                <a:gd name="connsiteX13" fmla="*/ 2320781 w 3883573"/>
                <a:gd name="connsiteY13" fmla="*/ 210442 h 2277068"/>
                <a:gd name="connsiteX14" fmla="*/ 1581038 w 3883573"/>
                <a:gd name="connsiteY14" fmla="*/ 185419 h 2277068"/>
                <a:gd name="connsiteX15" fmla="*/ 981000 w 3883573"/>
                <a:gd name="connsiteY15" fmla="*/ 94434 h 2277068"/>
                <a:gd name="connsiteX16" fmla="*/ 61263 w 3883573"/>
                <a:gd name="connsiteY16" fmla="*/ 30910 h 2277068"/>
                <a:gd name="connsiteX0" fmla="*/ 61263 w 3883573"/>
                <a:gd name="connsiteY0" fmla="*/ 30910 h 2277068"/>
                <a:gd name="connsiteX1" fmla="*/ 126754 w 3883573"/>
                <a:gd name="connsiteY1" fmla="*/ 537465 h 2277068"/>
                <a:gd name="connsiteX2" fmla="*/ 459363 w 3883573"/>
                <a:gd name="connsiteY2" fmla="*/ 1062319 h 2277068"/>
                <a:gd name="connsiteX3" fmla="*/ 1235346 w 3883573"/>
                <a:gd name="connsiteY3" fmla="*/ 1252241 h 2277068"/>
                <a:gd name="connsiteX4" fmla="*/ 1987626 w 3883573"/>
                <a:gd name="connsiteY4" fmla="*/ 2262196 h 2277068"/>
                <a:gd name="connsiteX5" fmla="*/ 3033660 w 3883573"/>
                <a:gd name="connsiteY5" fmla="*/ 1843659 h 2277068"/>
                <a:gd name="connsiteX6" fmla="*/ 3324591 w 3883573"/>
                <a:gd name="connsiteY6" fmla="*/ 1197924 h 2277068"/>
                <a:gd name="connsiteX7" fmla="*/ 3635487 w 3883573"/>
                <a:gd name="connsiteY7" fmla="*/ 751817 h 2277068"/>
                <a:gd name="connsiteX8" fmla="*/ 3883573 w 3883573"/>
                <a:gd name="connsiteY8" fmla="*/ 451503 h 2277068"/>
                <a:gd name="connsiteX9" fmla="*/ 3883573 w 3883573"/>
                <a:gd name="connsiteY9" fmla="*/ 13121 h 2277068"/>
                <a:gd name="connsiteX10" fmla="*/ 3277257 w 3883573"/>
                <a:gd name="connsiteY10" fmla="*/ 187696 h 2277068"/>
                <a:gd name="connsiteX11" fmla="*/ 2897532 w 3883573"/>
                <a:gd name="connsiteY11" fmla="*/ 799581 h 2277068"/>
                <a:gd name="connsiteX12" fmla="*/ 2320781 w 3883573"/>
                <a:gd name="connsiteY12" fmla="*/ 210442 h 2277068"/>
                <a:gd name="connsiteX13" fmla="*/ 1581038 w 3883573"/>
                <a:gd name="connsiteY13" fmla="*/ 185419 h 2277068"/>
                <a:gd name="connsiteX14" fmla="*/ 981000 w 3883573"/>
                <a:gd name="connsiteY14" fmla="*/ 94434 h 2277068"/>
                <a:gd name="connsiteX15" fmla="*/ 61263 w 3883573"/>
                <a:gd name="connsiteY15" fmla="*/ 30910 h 2277068"/>
                <a:gd name="connsiteX0" fmla="*/ 61263 w 3883573"/>
                <a:gd name="connsiteY0" fmla="*/ 30910 h 2277068"/>
                <a:gd name="connsiteX1" fmla="*/ 126754 w 3883573"/>
                <a:gd name="connsiteY1" fmla="*/ 537465 h 2277068"/>
                <a:gd name="connsiteX2" fmla="*/ 459363 w 3883573"/>
                <a:gd name="connsiteY2" fmla="*/ 1062319 h 2277068"/>
                <a:gd name="connsiteX3" fmla="*/ 1235346 w 3883573"/>
                <a:gd name="connsiteY3" fmla="*/ 1252241 h 2277068"/>
                <a:gd name="connsiteX4" fmla="*/ 1987626 w 3883573"/>
                <a:gd name="connsiteY4" fmla="*/ 2262196 h 2277068"/>
                <a:gd name="connsiteX5" fmla="*/ 3033660 w 3883573"/>
                <a:gd name="connsiteY5" fmla="*/ 1843659 h 2277068"/>
                <a:gd name="connsiteX6" fmla="*/ 3324591 w 3883573"/>
                <a:gd name="connsiteY6" fmla="*/ 1197924 h 2277068"/>
                <a:gd name="connsiteX7" fmla="*/ 3635487 w 3883573"/>
                <a:gd name="connsiteY7" fmla="*/ 751817 h 2277068"/>
                <a:gd name="connsiteX8" fmla="*/ 3883573 w 3883573"/>
                <a:gd name="connsiteY8" fmla="*/ 451503 h 2277068"/>
                <a:gd name="connsiteX9" fmla="*/ 3883573 w 3883573"/>
                <a:gd name="connsiteY9" fmla="*/ 13121 h 2277068"/>
                <a:gd name="connsiteX10" fmla="*/ 3277257 w 3883573"/>
                <a:gd name="connsiteY10" fmla="*/ 187696 h 2277068"/>
                <a:gd name="connsiteX11" fmla="*/ 2790063 w 3883573"/>
                <a:gd name="connsiteY11" fmla="*/ 287779 h 2277068"/>
                <a:gd name="connsiteX12" fmla="*/ 2320781 w 3883573"/>
                <a:gd name="connsiteY12" fmla="*/ 210442 h 2277068"/>
                <a:gd name="connsiteX13" fmla="*/ 1581038 w 3883573"/>
                <a:gd name="connsiteY13" fmla="*/ 185419 h 2277068"/>
                <a:gd name="connsiteX14" fmla="*/ 981000 w 3883573"/>
                <a:gd name="connsiteY14" fmla="*/ 94434 h 2277068"/>
                <a:gd name="connsiteX15" fmla="*/ 61263 w 3883573"/>
                <a:gd name="connsiteY15" fmla="*/ 30910 h 2277068"/>
                <a:gd name="connsiteX0" fmla="*/ 61263 w 3883573"/>
                <a:gd name="connsiteY0" fmla="*/ 30910 h 1851428"/>
                <a:gd name="connsiteX1" fmla="*/ 126754 w 3883573"/>
                <a:gd name="connsiteY1" fmla="*/ 537465 h 1851428"/>
                <a:gd name="connsiteX2" fmla="*/ 459363 w 3883573"/>
                <a:gd name="connsiteY2" fmla="*/ 1062319 h 1851428"/>
                <a:gd name="connsiteX3" fmla="*/ 1235346 w 3883573"/>
                <a:gd name="connsiteY3" fmla="*/ 1252241 h 1851428"/>
                <a:gd name="connsiteX4" fmla="*/ 2023449 w 3883573"/>
                <a:gd name="connsiteY4" fmla="*/ 999753 h 1851428"/>
                <a:gd name="connsiteX5" fmla="*/ 3033660 w 3883573"/>
                <a:gd name="connsiteY5" fmla="*/ 1843659 h 1851428"/>
                <a:gd name="connsiteX6" fmla="*/ 3324591 w 3883573"/>
                <a:gd name="connsiteY6" fmla="*/ 1197924 h 1851428"/>
                <a:gd name="connsiteX7" fmla="*/ 3635487 w 3883573"/>
                <a:gd name="connsiteY7" fmla="*/ 751817 h 1851428"/>
                <a:gd name="connsiteX8" fmla="*/ 3883573 w 3883573"/>
                <a:gd name="connsiteY8" fmla="*/ 451503 h 1851428"/>
                <a:gd name="connsiteX9" fmla="*/ 3883573 w 3883573"/>
                <a:gd name="connsiteY9" fmla="*/ 13121 h 1851428"/>
                <a:gd name="connsiteX10" fmla="*/ 3277257 w 3883573"/>
                <a:gd name="connsiteY10" fmla="*/ 187696 h 1851428"/>
                <a:gd name="connsiteX11" fmla="*/ 2790063 w 3883573"/>
                <a:gd name="connsiteY11" fmla="*/ 287779 h 1851428"/>
                <a:gd name="connsiteX12" fmla="*/ 2320781 w 3883573"/>
                <a:gd name="connsiteY12" fmla="*/ 210442 h 1851428"/>
                <a:gd name="connsiteX13" fmla="*/ 1581038 w 3883573"/>
                <a:gd name="connsiteY13" fmla="*/ 185419 h 1851428"/>
                <a:gd name="connsiteX14" fmla="*/ 981000 w 3883573"/>
                <a:gd name="connsiteY14" fmla="*/ 94434 h 1851428"/>
                <a:gd name="connsiteX15" fmla="*/ 61263 w 3883573"/>
                <a:gd name="connsiteY15" fmla="*/ 30910 h 1851428"/>
                <a:gd name="connsiteX0" fmla="*/ 61263 w 3883573"/>
                <a:gd name="connsiteY0" fmla="*/ 30910 h 1847024"/>
                <a:gd name="connsiteX1" fmla="*/ 126754 w 3883573"/>
                <a:gd name="connsiteY1" fmla="*/ 537465 h 1847024"/>
                <a:gd name="connsiteX2" fmla="*/ 459363 w 3883573"/>
                <a:gd name="connsiteY2" fmla="*/ 1062319 h 1847024"/>
                <a:gd name="connsiteX3" fmla="*/ 1235346 w 3883573"/>
                <a:gd name="connsiteY3" fmla="*/ 1252241 h 1847024"/>
                <a:gd name="connsiteX4" fmla="*/ 2023449 w 3883573"/>
                <a:gd name="connsiteY4" fmla="*/ 999753 h 1847024"/>
                <a:gd name="connsiteX5" fmla="*/ 2490859 w 3883573"/>
                <a:gd name="connsiteY5" fmla="*/ 1155322 h 1847024"/>
                <a:gd name="connsiteX6" fmla="*/ 3033660 w 3883573"/>
                <a:gd name="connsiteY6" fmla="*/ 1843659 h 1847024"/>
                <a:gd name="connsiteX7" fmla="*/ 3324591 w 3883573"/>
                <a:gd name="connsiteY7" fmla="*/ 1197924 h 1847024"/>
                <a:gd name="connsiteX8" fmla="*/ 3635487 w 3883573"/>
                <a:gd name="connsiteY8" fmla="*/ 751817 h 1847024"/>
                <a:gd name="connsiteX9" fmla="*/ 3883573 w 3883573"/>
                <a:gd name="connsiteY9" fmla="*/ 451503 h 1847024"/>
                <a:gd name="connsiteX10" fmla="*/ 3883573 w 3883573"/>
                <a:gd name="connsiteY10" fmla="*/ 13121 h 1847024"/>
                <a:gd name="connsiteX11" fmla="*/ 3277257 w 3883573"/>
                <a:gd name="connsiteY11" fmla="*/ 187696 h 1847024"/>
                <a:gd name="connsiteX12" fmla="*/ 2790063 w 3883573"/>
                <a:gd name="connsiteY12" fmla="*/ 287779 h 1847024"/>
                <a:gd name="connsiteX13" fmla="*/ 2320781 w 3883573"/>
                <a:gd name="connsiteY13" fmla="*/ 210442 h 1847024"/>
                <a:gd name="connsiteX14" fmla="*/ 1581038 w 3883573"/>
                <a:gd name="connsiteY14" fmla="*/ 185419 h 1847024"/>
                <a:gd name="connsiteX15" fmla="*/ 981000 w 3883573"/>
                <a:gd name="connsiteY15" fmla="*/ 94434 h 1847024"/>
                <a:gd name="connsiteX16" fmla="*/ 61263 w 3883573"/>
                <a:gd name="connsiteY16" fmla="*/ 30910 h 1847024"/>
                <a:gd name="connsiteX0" fmla="*/ 61263 w 3883573"/>
                <a:gd name="connsiteY0" fmla="*/ 30910 h 1847024"/>
                <a:gd name="connsiteX1" fmla="*/ 126754 w 3883573"/>
                <a:gd name="connsiteY1" fmla="*/ 537465 h 1847024"/>
                <a:gd name="connsiteX2" fmla="*/ 459363 w 3883573"/>
                <a:gd name="connsiteY2" fmla="*/ 1062319 h 1847024"/>
                <a:gd name="connsiteX3" fmla="*/ 1235346 w 3883573"/>
                <a:gd name="connsiteY3" fmla="*/ 1252241 h 1847024"/>
                <a:gd name="connsiteX4" fmla="*/ 1736869 w 3883573"/>
                <a:gd name="connsiteY4" fmla="*/ 1011123 h 1847024"/>
                <a:gd name="connsiteX5" fmla="*/ 2490859 w 3883573"/>
                <a:gd name="connsiteY5" fmla="*/ 1155322 h 1847024"/>
                <a:gd name="connsiteX6" fmla="*/ 3033660 w 3883573"/>
                <a:gd name="connsiteY6" fmla="*/ 1843659 h 1847024"/>
                <a:gd name="connsiteX7" fmla="*/ 3324591 w 3883573"/>
                <a:gd name="connsiteY7" fmla="*/ 1197924 h 1847024"/>
                <a:gd name="connsiteX8" fmla="*/ 3635487 w 3883573"/>
                <a:gd name="connsiteY8" fmla="*/ 751817 h 1847024"/>
                <a:gd name="connsiteX9" fmla="*/ 3883573 w 3883573"/>
                <a:gd name="connsiteY9" fmla="*/ 451503 h 1847024"/>
                <a:gd name="connsiteX10" fmla="*/ 3883573 w 3883573"/>
                <a:gd name="connsiteY10" fmla="*/ 13121 h 1847024"/>
                <a:gd name="connsiteX11" fmla="*/ 3277257 w 3883573"/>
                <a:gd name="connsiteY11" fmla="*/ 187696 h 1847024"/>
                <a:gd name="connsiteX12" fmla="*/ 2790063 w 3883573"/>
                <a:gd name="connsiteY12" fmla="*/ 287779 h 1847024"/>
                <a:gd name="connsiteX13" fmla="*/ 2320781 w 3883573"/>
                <a:gd name="connsiteY13" fmla="*/ 210442 h 1847024"/>
                <a:gd name="connsiteX14" fmla="*/ 1581038 w 3883573"/>
                <a:gd name="connsiteY14" fmla="*/ 185419 h 1847024"/>
                <a:gd name="connsiteX15" fmla="*/ 981000 w 3883573"/>
                <a:gd name="connsiteY15" fmla="*/ 94434 h 1847024"/>
                <a:gd name="connsiteX16" fmla="*/ 61263 w 3883573"/>
                <a:gd name="connsiteY16" fmla="*/ 30910 h 1847024"/>
                <a:gd name="connsiteX0" fmla="*/ 61263 w 3883573"/>
                <a:gd name="connsiteY0" fmla="*/ 30910 h 1847024"/>
                <a:gd name="connsiteX1" fmla="*/ 126754 w 3883573"/>
                <a:gd name="connsiteY1" fmla="*/ 537465 h 1847024"/>
                <a:gd name="connsiteX2" fmla="*/ 459363 w 3883573"/>
                <a:gd name="connsiteY2" fmla="*/ 1062319 h 1847024"/>
                <a:gd name="connsiteX3" fmla="*/ 903987 w 3883573"/>
                <a:gd name="connsiteY3" fmla="*/ 1127135 h 1847024"/>
                <a:gd name="connsiteX4" fmla="*/ 1736869 w 3883573"/>
                <a:gd name="connsiteY4" fmla="*/ 1011123 h 1847024"/>
                <a:gd name="connsiteX5" fmla="*/ 2490859 w 3883573"/>
                <a:gd name="connsiteY5" fmla="*/ 1155322 h 1847024"/>
                <a:gd name="connsiteX6" fmla="*/ 3033660 w 3883573"/>
                <a:gd name="connsiteY6" fmla="*/ 1843659 h 1847024"/>
                <a:gd name="connsiteX7" fmla="*/ 3324591 w 3883573"/>
                <a:gd name="connsiteY7" fmla="*/ 1197924 h 1847024"/>
                <a:gd name="connsiteX8" fmla="*/ 3635487 w 3883573"/>
                <a:gd name="connsiteY8" fmla="*/ 751817 h 1847024"/>
                <a:gd name="connsiteX9" fmla="*/ 3883573 w 3883573"/>
                <a:gd name="connsiteY9" fmla="*/ 451503 h 1847024"/>
                <a:gd name="connsiteX10" fmla="*/ 3883573 w 3883573"/>
                <a:gd name="connsiteY10" fmla="*/ 13121 h 1847024"/>
                <a:gd name="connsiteX11" fmla="*/ 3277257 w 3883573"/>
                <a:gd name="connsiteY11" fmla="*/ 187696 h 1847024"/>
                <a:gd name="connsiteX12" fmla="*/ 2790063 w 3883573"/>
                <a:gd name="connsiteY12" fmla="*/ 287779 h 1847024"/>
                <a:gd name="connsiteX13" fmla="*/ 2320781 w 3883573"/>
                <a:gd name="connsiteY13" fmla="*/ 210442 h 1847024"/>
                <a:gd name="connsiteX14" fmla="*/ 1581038 w 3883573"/>
                <a:gd name="connsiteY14" fmla="*/ 185419 h 1847024"/>
                <a:gd name="connsiteX15" fmla="*/ 981000 w 3883573"/>
                <a:gd name="connsiteY15" fmla="*/ 94434 h 1847024"/>
                <a:gd name="connsiteX16" fmla="*/ 61263 w 3883573"/>
                <a:gd name="connsiteY16" fmla="*/ 30910 h 1847024"/>
                <a:gd name="connsiteX0" fmla="*/ 61263 w 3883573"/>
                <a:gd name="connsiteY0" fmla="*/ 30910 h 1847000"/>
                <a:gd name="connsiteX1" fmla="*/ 126754 w 3883573"/>
                <a:gd name="connsiteY1" fmla="*/ 537465 h 1847000"/>
                <a:gd name="connsiteX2" fmla="*/ 459363 w 3883573"/>
                <a:gd name="connsiteY2" fmla="*/ 1062319 h 1847000"/>
                <a:gd name="connsiteX3" fmla="*/ 903987 w 3883573"/>
                <a:gd name="connsiteY3" fmla="*/ 1127135 h 1847000"/>
                <a:gd name="connsiteX4" fmla="*/ 1736869 w 3883573"/>
                <a:gd name="connsiteY4" fmla="*/ 1011123 h 1847000"/>
                <a:gd name="connsiteX5" fmla="*/ 2069939 w 3883573"/>
                <a:gd name="connsiteY5" fmla="*/ 1166694 h 1847000"/>
                <a:gd name="connsiteX6" fmla="*/ 2490859 w 3883573"/>
                <a:gd name="connsiteY6" fmla="*/ 1155322 h 1847000"/>
                <a:gd name="connsiteX7" fmla="*/ 3033660 w 3883573"/>
                <a:gd name="connsiteY7" fmla="*/ 1843659 h 1847000"/>
                <a:gd name="connsiteX8" fmla="*/ 3324591 w 3883573"/>
                <a:gd name="connsiteY8" fmla="*/ 1197924 h 1847000"/>
                <a:gd name="connsiteX9" fmla="*/ 3635487 w 3883573"/>
                <a:gd name="connsiteY9" fmla="*/ 751817 h 1847000"/>
                <a:gd name="connsiteX10" fmla="*/ 3883573 w 3883573"/>
                <a:gd name="connsiteY10" fmla="*/ 451503 h 1847000"/>
                <a:gd name="connsiteX11" fmla="*/ 3883573 w 3883573"/>
                <a:gd name="connsiteY11" fmla="*/ 13121 h 1847000"/>
                <a:gd name="connsiteX12" fmla="*/ 3277257 w 3883573"/>
                <a:gd name="connsiteY12" fmla="*/ 187696 h 1847000"/>
                <a:gd name="connsiteX13" fmla="*/ 2790063 w 3883573"/>
                <a:gd name="connsiteY13" fmla="*/ 287779 h 1847000"/>
                <a:gd name="connsiteX14" fmla="*/ 2320781 w 3883573"/>
                <a:gd name="connsiteY14" fmla="*/ 210442 h 1847000"/>
                <a:gd name="connsiteX15" fmla="*/ 1581038 w 3883573"/>
                <a:gd name="connsiteY15" fmla="*/ 185419 h 1847000"/>
                <a:gd name="connsiteX16" fmla="*/ 981000 w 3883573"/>
                <a:gd name="connsiteY16" fmla="*/ 94434 h 1847000"/>
                <a:gd name="connsiteX17" fmla="*/ 61263 w 3883573"/>
                <a:gd name="connsiteY17" fmla="*/ 30910 h 1847000"/>
                <a:gd name="connsiteX0" fmla="*/ 61263 w 3883573"/>
                <a:gd name="connsiteY0" fmla="*/ 30910 h 1220392"/>
                <a:gd name="connsiteX1" fmla="*/ 126754 w 3883573"/>
                <a:gd name="connsiteY1" fmla="*/ 537465 h 1220392"/>
                <a:gd name="connsiteX2" fmla="*/ 459363 w 3883573"/>
                <a:gd name="connsiteY2" fmla="*/ 1062319 h 1220392"/>
                <a:gd name="connsiteX3" fmla="*/ 903987 w 3883573"/>
                <a:gd name="connsiteY3" fmla="*/ 1127135 h 1220392"/>
                <a:gd name="connsiteX4" fmla="*/ 1736869 w 3883573"/>
                <a:gd name="connsiteY4" fmla="*/ 1011123 h 1220392"/>
                <a:gd name="connsiteX5" fmla="*/ 2069939 w 3883573"/>
                <a:gd name="connsiteY5" fmla="*/ 1166694 h 1220392"/>
                <a:gd name="connsiteX6" fmla="*/ 2490859 w 3883573"/>
                <a:gd name="connsiteY6" fmla="*/ 1155322 h 1220392"/>
                <a:gd name="connsiteX7" fmla="*/ 3324591 w 3883573"/>
                <a:gd name="connsiteY7" fmla="*/ 1197924 h 1220392"/>
                <a:gd name="connsiteX8" fmla="*/ 3635487 w 3883573"/>
                <a:gd name="connsiteY8" fmla="*/ 751817 h 1220392"/>
                <a:gd name="connsiteX9" fmla="*/ 3883573 w 3883573"/>
                <a:gd name="connsiteY9" fmla="*/ 451503 h 1220392"/>
                <a:gd name="connsiteX10" fmla="*/ 3883573 w 3883573"/>
                <a:gd name="connsiteY10" fmla="*/ 13121 h 1220392"/>
                <a:gd name="connsiteX11" fmla="*/ 3277257 w 3883573"/>
                <a:gd name="connsiteY11" fmla="*/ 187696 h 1220392"/>
                <a:gd name="connsiteX12" fmla="*/ 2790063 w 3883573"/>
                <a:gd name="connsiteY12" fmla="*/ 287779 h 1220392"/>
                <a:gd name="connsiteX13" fmla="*/ 2320781 w 3883573"/>
                <a:gd name="connsiteY13" fmla="*/ 210442 h 1220392"/>
                <a:gd name="connsiteX14" fmla="*/ 1581038 w 3883573"/>
                <a:gd name="connsiteY14" fmla="*/ 185419 h 1220392"/>
                <a:gd name="connsiteX15" fmla="*/ 981000 w 3883573"/>
                <a:gd name="connsiteY15" fmla="*/ 94434 h 1220392"/>
                <a:gd name="connsiteX16" fmla="*/ 61263 w 3883573"/>
                <a:gd name="connsiteY16" fmla="*/ 30910 h 1220392"/>
                <a:gd name="connsiteX0" fmla="*/ 61263 w 3883573"/>
                <a:gd name="connsiteY0" fmla="*/ 30910 h 1174361"/>
                <a:gd name="connsiteX1" fmla="*/ 126754 w 3883573"/>
                <a:gd name="connsiteY1" fmla="*/ 537465 h 1174361"/>
                <a:gd name="connsiteX2" fmla="*/ 459363 w 3883573"/>
                <a:gd name="connsiteY2" fmla="*/ 1062319 h 1174361"/>
                <a:gd name="connsiteX3" fmla="*/ 903987 w 3883573"/>
                <a:gd name="connsiteY3" fmla="*/ 1127135 h 1174361"/>
                <a:gd name="connsiteX4" fmla="*/ 1736869 w 3883573"/>
                <a:gd name="connsiteY4" fmla="*/ 1011123 h 1174361"/>
                <a:gd name="connsiteX5" fmla="*/ 2069939 w 3883573"/>
                <a:gd name="connsiteY5" fmla="*/ 1166694 h 1174361"/>
                <a:gd name="connsiteX6" fmla="*/ 2490859 w 3883573"/>
                <a:gd name="connsiteY6" fmla="*/ 1155322 h 1174361"/>
                <a:gd name="connsiteX7" fmla="*/ 3243989 w 3883573"/>
                <a:gd name="connsiteY7" fmla="*/ 959085 h 1174361"/>
                <a:gd name="connsiteX8" fmla="*/ 3635487 w 3883573"/>
                <a:gd name="connsiteY8" fmla="*/ 751817 h 1174361"/>
                <a:gd name="connsiteX9" fmla="*/ 3883573 w 3883573"/>
                <a:gd name="connsiteY9" fmla="*/ 451503 h 1174361"/>
                <a:gd name="connsiteX10" fmla="*/ 3883573 w 3883573"/>
                <a:gd name="connsiteY10" fmla="*/ 13121 h 1174361"/>
                <a:gd name="connsiteX11" fmla="*/ 3277257 w 3883573"/>
                <a:gd name="connsiteY11" fmla="*/ 187696 h 1174361"/>
                <a:gd name="connsiteX12" fmla="*/ 2790063 w 3883573"/>
                <a:gd name="connsiteY12" fmla="*/ 287779 h 1174361"/>
                <a:gd name="connsiteX13" fmla="*/ 2320781 w 3883573"/>
                <a:gd name="connsiteY13" fmla="*/ 210442 h 1174361"/>
                <a:gd name="connsiteX14" fmla="*/ 1581038 w 3883573"/>
                <a:gd name="connsiteY14" fmla="*/ 185419 h 1174361"/>
                <a:gd name="connsiteX15" fmla="*/ 981000 w 3883573"/>
                <a:gd name="connsiteY15" fmla="*/ 94434 h 1174361"/>
                <a:gd name="connsiteX16" fmla="*/ 61263 w 3883573"/>
                <a:gd name="connsiteY16" fmla="*/ 30910 h 1174361"/>
                <a:gd name="connsiteX0" fmla="*/ 61263 w 3883573"/>
                <a:gd name="connsiteY0" fmla="*/ 30910 h 1174361"/>
                <a:gd name="connsiteX1" fmla="*/ 126754 w 3883573"/>
                <a:gd name="connsiteY1" fmla="*/ 537465 h 1174361"/>
                <a:gd name="connsiteX2" fmla="*/ 459363 w 3883573"/>
                <a:gd name="connsiteY2" fmla="*/ 1062319 h 1174361"/>
                <a:gd name="connsiteX3" fmla="*/ 903987 w 3883573"/>
                <a:gd name="connsiteY3" fmla="*/ 1127135 h 1174361"/>
                <a:gd name="connsiteX4" fmla="*/ 1736869 w 3883573"/>
                <a:gd name="connsiteY4" fmla="*/ 1011123 h 1174361"/>
                <a:gd name="connsiteX5" fmla="*/ 2069939 w 3883573"/>
                <a:gd name="connsiteY5" fmla="*/ 1166694 h 1174361"/>
                <a:gd name="connsiteX6" fmla="*/ 2490859 w 3883573"/>
                <a:gd name="connsiteY6" fmla="*/ 1155322 h 1174361"/>
                <a:gd name="connsiteX7" fmla="*/ 3360418 w 3883573"/>
                <a:gd name="connsiteY7" fmla="*/ 1050071 h 1174361"/>
                <a:gd name="connsiteX8" fmla="*/ 3635487 w 3883573"/>
                <a:gd name="connsiteY8" fmla="*/ 751817 h 1174361"/>
                <a:gd name="connsiteX9" fmla="*/ 3883573 w 3883573"/>
                <a:gd name="connsiteY9" fmla="*/ 451503 h 1174361"/>
                <a:gd name="connsiteX10" fmla="*/ 3883573 w 3883573"/>
                <a:gd name="connsiteY10" fmla="*/ 13121 h 1174361"/>
                <a:gd name="connsiteX11" fmla="*/ 3277257 w 3883573"/>
                <a:gd name="connsiteY11" fmla="*/ 187696 h 1174361"/>
                <a:gd name="connsiteX12" fmla="*/ 2790063 w 3883573"/>
                <a:gd name="connsiteY12" fmla="*/ 287779 h 1174361"/>
                <a:gd name="connsiteX13" fmla="*/ 2320781 w 3883573"/>
                <a:gd name="connsiteY13" fmla="*/ 210442 h 1174361"/>
                <a:gd name="connsiteX14" fmla="*/ 1581038 w 3883573"/>
                <a:gd name="connsiteY14" fmla="*/ 185419 h 1174361"/>
                <a:gd name="connsiteX15" fmla="*/ 981000 w 3883573"/>
                <a:gd name="connsiteY15" fmla="*/ 94434 h 1174361"/>
                <a:gd name="connsiteX16" fmla="*/ 61263 w 3883573"/>
                <a:gd name="connsiteY16" fmla="*/ 30910 h 1174361"/>
                <a:gd name="connsiteX0" fmla="*/ 61263 w 3892533"/>
                <a:gd name="connsiteY0" fmla="*/ 24870 h 1168321"/>
                <a:gd name="connsiteX1" fmla="*/ 126754 w 3892533"/>
                <a:gd name="connsiteY1" fmla="*/ 531425 h 1168321"/>
                <a:gd name="connsiteX2" fmla="*/ 459363 w 3892533"/>
                <a:gd name="connsiteY2" fmla="*/ 1056279 h 1168321"/>
                <a:gd name="connsiteX3" fmla="*/ 903987 w 3892533"/>
                <a:gd name="connsiteY3" fmla="*/ 1121095 h 1168321"/>
                <a:gd name="connsiteX4" fmla="*/ 1736869 w 3892533"/>
                <a:gd name="connsiteY4" fmla="*/ 1005083 h 1168321"/>
                <a:gd name="connsiteX5" fmla="*/ 2069939 w 3892533"/>
                <a:gd name="connsiteY5" fmla="*/ 1160654 h 1168321"/>
                <a:gd name="connsiteX6" fmla="*/ 2490859 w 3892533"/>
                <a:gd name="connsiteY6" fmla="*/ 1149282 h 1168321"/>
                <a:gd name="connsiteX7" fmla="*/ 3360418 w 3892533"/>
                <a:gd name="connsiteY7" fmla="*/ 1044031 h 1168321"/>
                <a:gd name="connsiteX8" fmla="*/ 3635487 w 3892533"/>
                <a:gd name="connsiteY8" fmla="*/ 745777 h 1168321"/>
                <a:gd name="connsiteX9" fmla="*/ 3883573 w 3892533"/>
                <a:gd name="connsiteY9" fmla="*/ 445463 h 1168321"/>
                <a:gd name="connsiteX10" fmla="*/ 3892534 w 3892533"/>
                <a:gd name="connsiteY10" fmla="*/ 166306 h 1168321"/>
                <a:gd name="connsiteX11" fmla="*/ 3277257 w 3892533"/>
                <a:gd name="connsiteY11" fmla="*/ 181656 h 1168321"/>
                <a:gd name="connsiteX12" fmla="*/ 2790063 w 3892533"/>
                <a:gd name="connsiteY12" fmla="*/ 281739 h 1168321"/>
                <a:gd name="connsiteX13" fmla="*/ 2320781 w 3892533"/>
                <a:gd name="connsiteY13" fmla="*/ 204402 h 1168321"/>
                <a:gd name="connsiteX14" fmla="*/ 1581038 w 3892533"/>
                <a:gd name="connsiteY14" fmla="*/ 179379 h 1168321"/>
                <a:gd name="connsiteX15" fmla="*/ 981000 w 3892533"/>
                <a:gd name="connsiteY15" fmla="*/ 88394 h 1168321"/>
                <a:gd name="connsiteX16" fmla="*/ 61263 w 3892533"/>
                <a:gd name="connsiteY16" fmla="*/ 24870 h 1168321"/>
                <a:gd name="connsiteX0" fmla="*/ 61263 w 3892535"/>
                <a:gd name="connsiteY0" fmla="*/ 24870 h 1280796"/>
                <a:gd name="connsiteX1" fmla="*/ 126754 w 3892535"/>
                <a:gd name="connsiteY1" fmla="*/ 531425 h 1280796"/>
                <a:gd name="connsiteX2" fmla="*/ 459363 w 3892535"/>
                <a:gd name="connsiteY2" fmla="*/ 1056279 h 1280796"/>
                <a:gd name="connsiteX3" fmla="*/ 966682 w 3892535"/>
                <a:gd name="connsiteY3" fmla="*/ 1280322 h 1280796"/>
                <a:gd name="connsiteX4" fmla="*/ 1736869 w 3892535"/>
                <a:gd name="connsiteY4" fmla="*/ 1005083 h 1280796"/>
                <a:gd name="connsiteX5" fmla="*/ 2069939 w 3892535"/>
                <a:gd name="connsiteY5" fmla="*/ 1160654 h 1280796"/>
                <a:gd name="connsiteX6" fmla="*/ 2490859 w 3892535"/>
                <a:gd name="connsiteY6" fmla="*/ 1149282 h 1280796"/>
                <a:gd name="connsiteX7" fmla="*/ 3360418 w 3892535"/>
                <a:gd name="connsiteY7" fmla="*/ 1044031 h 1280796"/>
                <a:gd name="connsiteX8" fmla="*/ 3635487 w 3892535"/>
                <a:gd name="connsiteY8" fmla="*/ 745777 h 1280796"/>
                <a:gd name="connsiteX9" fmla="*/ 3883573 w 3892535"/>
                <a:gd name="connsiteY9" fmla="*/ 445463 h 1280796"/>
                <a:gd name="connsiteX10" fmla="*/ 3892534 w 3892535"/>
                <a:gd name="connsiteY10" fmla="*/ 166306 h 1280796"/>
                <a:gd name="connsiteX11" fmla="*/ 3277257 w 3892535"/>
                <a:gd name="connsiteY11" fmla="*/ 181656 h 1280796"/>
                <a:gd name="connsiteX12" fmla="*/ 2790063 w 3892535"/>
                <a:gd name="connsiteY12" fmla="*/ 281739 h 1280796"/>
                <a:gd name="connsiteX13" fmla="*/ 2320781 w 3892535"/>
                <a:gd name="connsiteY13" fmla="*/ 204402 h 1280796"/>
                <a:gd name="connsiteX14" fmla="*/ 1581038 w 3892535"/>
                <a:gd name="connsiteY14" fmla="*/ 179379 h 1280796"/>
                <a:gd name="connsiteX15" fmla="*/ 981000 w 3892535"/>
                <a:gd name="connsiteY15" fmla="*/ 88394 h 1280796"/>
                <a:gd name="connsiteX16" fmla="*/ 61263 w 3892535"/>
                <a:gd name="connsiteY16" fmla="*/ 24870 h 1280796"/>
                <a:gd name="connsiteX0" fmla="*/ 61263 w 3892533"/>
                <a:gd name="connsiteY0" fmla="*/ 24870 h 1288550"/>
                <a:gd name="connsiteX1" fmla="*/ 126754 w 3892533"/>
                <a:gd name="connsiteY1" fmla="*/ 531425 h 1288550"/>
                <a:gd name="connsiteX2" fmla="*/ 459363 w 3892533"/>
                <a:gd name="connsiteY2" fmla="*/ 1056279 h 1288550"/>
                <a:gd name="connsiteX3" fmla="*/ 966682 w 3892533"/>
                <a:gd name="connsiteY3" fmla="*/ 1280322 h 1288550"/>
                <a:gd name="connsiteX4" fmla="*/ 1584621 w 3892533"/>
                <a:gd name="connsiteY4" fmla="*/ 1232549 h 1288550"/>
                <a:gd name="connsiteX5" fmla="*/ 2069939 w 3892533"/>
                <a:gd name="connsiteY5" fmla="*/ 1160654 h 1288550"/>
                <a:gd name="connsiteX6" fmla="*/ 2490859 w 3892533"/>
                <a:gd name="connsiteY6" fmla="*/ 1149282 h 1288550"/>
                <a:gd name="connsiteX7" fmla="*/ 3360418 w 3892533"/>
                <a:gd name="connsiteY7" fmla="*/ 1044031 h 1288550"/>
                <a:gd name="connsiteX8" fmla="*/ 3635487 w 3892533"/>
                <a:gd name="connsiteY8" fmla="*/ 745777 h 1288550"/>
                <a:gd name="connsiteX9" fmla="*/ 3883573 w 3892533"/>
                <a:gd name="connsiteY9" fmla="*/ 445463 h 1288550"/>
                <a:gd name="connsiteX10" fmla="*/ 3892534 w 3892533"/>
                <a:gd name="connsiteY10" fmla="*/ 166306 h 1288550"/>
                <a:gd name="connsiteX11" fmla="*/ 3277257 w 3892533"/>
                <a:gd name="connsiteY11" fmla="*/ 181656 h 1288550"/>
                <a:gd name="connsiteX12" fmla="*/ 2790063 w 3892533"/>
                <a:gd name="connsiteY12" fmla="*/ 281739 h 1288550"/>
                <a:gd name="connsiteX13" fmla="*/ 2320781 w 3892533"/>
                <a:gd name="connsiteY13" fmla="*/ 204402 h 1288550"/>
                <a:gd name="connsiteX14" fmla="*/ 1581038 w 3892533"/>
                <a:gd name="connsiteY14" fmla="*/ 179379 h 1288550"/>
                <a:gd name="connsiteX15" fmla="*/ 981000 w 3892533"/>
                <a:gd name="connsiteY15" fmla="*/ 88394 h 1288550"/>
                <a:gd name="connsiteX16" fmla="*/ 61263 w 3892533"/>
                <a:gd name="connsiteY16" fmla="*/ 24870 h 1288550"/>
                <a:gd name="connsiteX0" fmla="*/ 61263 w 3892535"/>
                <a:gd name="connsiteY0" fmla="*/ 24870 h 1288550"/>
                <a:gd name="connsiteX1" fmla="*/ 126754 w 3892535"/>
                <a:gd name="connsiteY1" fmla="*/ 531425 h 1288550"/>
                <a:gd name="connsiteX2" fmla="*/ 459363 w 3892535"/>
                <a:gd name="connsiteY2" fmla="*/ 1056279 h 1288550"/>
                <a:gd name="connsiteX3" fmla="*/ 966682 w 3892535"/>
                <a:gd name="connsiteY3" fmla="*/ 1280322 h 1288550"/>
                <a:gd name="connsiteX4" fmla="*/ 1584621 w 3892535"/>
                <a:gd name="connsiteY4" fmla="*/ 1232549 h 1288550"/>
                <a:gd name="connsiteX5" fmla="*/ 2069939 w 3892535"/>
                <a:gd name="connsiteY5" fmla="*/ 1160654 h 1288550"/>
                <a:gd name="connsiteX6" fmla="*/ 2338605 w 3892535"/>
                <a:gd name="connsiteY6" fmla="*/ 1285763 h 1288550"/>
                <a:gd name="connsiteX7" fmla="*/ 2490859 w 3892535"/>
                <a:gd name="connsiteY7" fmla="*/ 1149282 h 1288550"/>
                <a:gd name="connsiteX8" fmla="*/ 3360418 w 3892535"/>
                <a:gd name="connsiteY8" fmla="*/ 1044031 h 1288550"/>
                <a:gd name="connsiteX9" fmla="*/ 3635487 w 3892535"/>
                <a:gd name="connsiteY9" fmla="*/ 745777 h 1288550"/>
                <a:gd name="connsiteX10" fmla="*/ 3883573 w 3892535"/>
                <a:gd name="connsiteY10" fmla="*/ 445463 h 1288550"/>
                <a:gd name="connsiteX11" fmla="*/ 3892534 w 3892535"/>
                <a:gd name="connsiteY11" fmla="*/ 166306 h 1288550"/>
                <a:gd name="connsiteX12" fmla="*/ 3277257 w 3892535"/>
                <a:gd name="connsiteY12" fmla="*/ 181656 h 1288550"/>
                <a:gd name="connsiteX13" fmla="*/ 2790063 w 3892535"/>
                <a:gd name="connsiteY13" fmla="*/ 281739 h 1288550"/>
                <a:gd name="connsiteX14" fmla="*/ 2320781 w 3892535"/>
                <a:gd name="connsiteY14" fmla="*/ 204402 h 1288550"/>
                <a:gd name="connsiteX15" fmla="*/ 1581038 w 3892535"/>
                <a:gd name="connsiteY15" fmla="*/ 179379 h 1288550"/>
                <a:gd name="connsiteX16" fmla="*/ 981000 w 3892535"/>
                <a:gd name="connsiteY16" fmla="*/ 88394 h 1288550"/>
                <a:gd name="connsiteX17" fmla="*/ 61263 w 3892535"/>
                <a:gd name="connsiteY17" fmla="*/ 24870 h 1288550"/>
                <a:gd name="connsiteX0" fmla="*/ 61263 w 3892533"/>
                <a:gd name="connsiteY0" fmla="*/ 24870 h 1288550"/>
                <a:gd name="connsiteX1" fmla="*/ 126754 w 3892533"/>
                <a:gd name="connsiteY1" fmla="*/ 531425 h 1288550"/>
                <a:gd name="connsiteX2" fmla="*/ 459363 w 3892533"/>
                <a:gd name="connsiteY2" fmla="*/ 1056279 h 1288550"/>
                <a:gd name="connsiteX3" fmla="*/ 966682 w 3892533"/>
                <a:gd name="connsiteY3" fmla="*/ 1280322 h 1288550"/>
                <a:gd name="connsiteX4" fmla="*/ 1584621 w 3892533"/>
                <a:gd name="connsiteY4" fmla="*/ 1232549 h 1288550"/>
                <a:gd name="connsiteX5" fmla="*/ 2069939 w 3892533"/>
                <a:gd name="connsiteY5" fmla="*/ 1160654 h 1288550"/>
                <a:gd name="connsiteX6" fmla="*/ 2338605 w 3892533"/>
                <a:gd name="connsiteY6" fmla="*/ 1285763 h 1288550"/>
                <a:gd name="connsiteX7" fmla="*/ 2490859 w 3892533"/>
                <a:gd name="connsiteY7" fmla="*/ 1149282 h 1288550"/>
                <a:gd name="connsiteX8" fmla="*/ 2768487 w 3892533"/>
                <a:gd name="connsiteY8" fmla="*/ 1206147 h 1288550"/>
                <a:gd name="connsiteX9" fmla="*/ 3360418 w 3892533"/>
                <a:gd name="connsiteY9" fmla="*/ 1044031 h 1288550"/>
                <a:gd name="connsiteX10" fmla="*/ 3635487 w 3892533"/>
                <a:gd name="connsiteY10" fmla="*/ 745777 h 1288550"/>
                <a:gd name="connsiteX11" fmla="*/ 3883573 w 3892533"/>
                <a:gd name="connsiteY11" fmla="*/ 445463 h 1288550"/>
                <a:gd name="connsiteX12" fmla="*/ 3892534 w 3892533"/>
                <a:gd name="connsiteY12" fmla="*/ 166306 h 1288550"/>
                <a:gd name="connsiteX13" fmla="*/ 3277257 w 3892533"/>
                <a:gd name="connsiteY13" fmla="*/ 181656 h 1288550"/>
                <a:gd name="connsiteX14" fmla="*/ 2790063 w 3892533"/>
                <a:gd name="connsiteY14" fmla="*/ 281739 h 1288550"/>
                <a:gd name="connsiteX15" fmla="*/ 2320781 w 3892533"/>
                <a:gd name="connsiteY15" fmla="*/ 204402 h 1288550"/>
                <a:gd name="connsiteX16" fmla="*/ 1581038 w 3892533"/>
                <a:gd name="connsiteY16" fmla="*/ 179379 h 1288550"/>
                <a:gd name="connsiteX17" fmla="*/ 981000 w 3892533"/>
                <a:gd name="connsiteY17" fmla="*/ 88394 h 1288550"/>
                <a:gd name="connsiteX18" fmla="*/ 61263 w 3892533"/>
                <a:gd name="connsiteY18" fmla="*/ 24870 h 1288550"/>
                <a:gd name="connsiteX0" fmla="*/ 61263 w 3892535"/>
                <a:gd name="connsiteY0" fmla="*/ 24870 h 1289751"/>
                <a:gd name="connsiteX1" fmla="*/ 126754 w 3892535"/>
                <a:gd name="connsiteY1" fmla="*/ 531425 h 1289751"/>
                <a:gd name="connsiteX2" fmla="*/ 459363 w 3892535"/>
                <a:gd name="connsiteY2" fmla="*/ 1056279 h 1289751"/>
                <a:gd name="connsiteX3" fmla="*/ 966682 w 3892535"/>
                <a:gd name="connsiteY3" fmla="*/ 1280322 h 1289751"/>
                <a:gd name="connsiteX4" fmla="*/ 1584621 w 3892535"/>
                <a:gd name="connsiteY4" fmla="*/ 1232549 h 1289751"/>
                <a:gd name="connsiteX5" fmla="*/ 1881860 w 3892535"/>
                <a:gd name="connsiteY5" fmla="*/ 1092415 h 1289751"/>
                <a:gd name="connsiteX6" fmla="*/ 2069939 w 3892535"/>
                <a:gd name="connsiteY6" fmla="*/ 1160654 h 1289751"/>
                <a:gd name="connsiteX7" fmla="*/ 2338605 w 3892535"/>
                <a:gd name="connsiteY7" fmla="*/ 1285763 h 1289751"/>
                <a:gd name="connsiteX8" fmla="*/ 2490859 w 3892535"/>
                <a:gd name="connsiteY8" fmla="*/ 1149282 h 1289751"/>
                <a:gd name="connsiteX9" fmla="*/ 2768487 w 3892535"/>
                <a:gd name="connsiteY9" fmla="*/ 1206147 h 1289751"/>
                <a:gd name="connsiteX10" fmla="*/ 3360418 w 3892535"/>
                <a:gd name="connsiteY10" fmla="*/ 1044031 h 1289751"/>
                <a:gd name="connsiteX11" fmla="*/ 3635487 w 3892535"/>
                <a:gd name="connsiteY11" fmla="*/ 745777 h 1289751"/>
                <a:gd name="connsiteX12" fmla="*/ 3883573 w 3892535"/>
                <a:gd name="connsiteY12" fmla="*/ 445463 h 1289751"/>
                <a:gd name="connsiteX13" fmla="*/ 3892534 w 3892535"/>
                <a:gd name="connsiteY13" fmla="*/ 166306 h 1289751"/>
                <a:gd name="connsiteX14" fmla="*/ 3277257 w 3892535"/>
                <a:gd name="connsiteY14" fmla="*/ 181656 h 1289751"/>
                <a:gd name="connsiteX15" fmla="*/ 2790063 w 3892535"/>
                <a:gd name="connsiteY15" fmla="*/ 281739 h 1289751"/>
                <a:gd name="connsiteX16" fmla="*/ 2320781 w 3892535"/>
                <a:gd name="connsiteY16" fmla="*/ 204402 h 1289751"/>
                <a:gd name="connsiteX17" fmla="*/ 1581038 w 3892535"/>
                <a:gd name="connsiteY17" fmla="*/ 179379 h 1289751"/>
                <a:gd name="connsiteX18" fmla="*/ 981000 w 3892535"/>
                <a:gd name="connsiteY18" fmla="*/ 88394 h 1289751"/>
                <a:gd name="connsiteX19" fmla="*/ 61263 w 3892535"/>
                <a:gd name="connsiteY19" fmla="*/ 24870 h 1289751"/>
                <a:gd name="connsiteX0" fmla="*/ 61263 w 3892533"/>
                <a:gd name="connsiteY0" fmla="*/ 24870 h 1411420"/>
                <a:gd name="connsiteX1" fmla="*/ 126754 w 3892533"/>
                <a:gd name="connsiteY1" fmla="*/ 531425 h 1411420"/>
                <a:gd name="connsiteX2" fmla="*/ 459363 w 3892533"/>
                <a:gd name="connsiteY2" fmla="*/ 1056279 h 1411420"/>
                <a:gd name="connsiteX3" fmla="*/ 966682 w 3892533"/>
                <a:gd name="connsiteY3" fmla="*/ 1280322 h 1411420"/>
                <a:gd name="connsiteX4" fmla="*/ 1407205 w 3892533"/>
                <a:gd name="connsiteY4" fmla="*/ 1410866 h 1411420"/>
                <a:gd name="connsiteX5" fmla="*/ 1584621 w 3892533"/>
                <a:gd name="connsiteY5" fmla="*/ 1232549 h 1411420"/>
                <a:gd name="connsiteX6" fmla="*/ 1881860 w 3892533"/>
                <a:gd name="connsiteY6" fmla="*/ 1092415 h 1411420"/>
                <a:gd name="connsiteX7" fmla="*/ 2069939 w 3892533"/>
                <a:gd name="connsiteY7" fmla="*/ 1160654 h 1411420"/>
                <a:gd name="connsiteX8" fmla="*/ 2338605 w 3892533"/>
                <a:gd name="connsiteY8" fmla="*/ 1285763 h 1411420"/>
                <a:gd name="connsiteX9" fmla="*/ 2490859 w 3892533"/>
                <a:gd name="connsiteY9" fmla="*/ 1149282 h 1411420"/>
                <a:gd name="connsiteX10" fmla="*/ 2768487 w 3892533"/>
                <a:gd name="connsiteY10" fmla="*/ 1206147 h 1411420"/>
                <a:gd name="connsiteX11" fmla="*/ 3360418 w 3892533"/>
                <a:gd name="connsiteY11" fmla="*/ 1044031 h 1411420"/>
                <a:gd name="connsiteX12" fmla="*/ 3635487 w 3892533"/>
                <a:gd name="connsiteY12" fmla="*/ 745777 h 1411420"/>
                <a:gd name="connsiteX13" fmla="*/ 3883573 w 3892533"/>
                <a:gd name="connsiteY13" fmla="*/ 445463 h 1411420"/>
                <a:gd name="connsiteX14" fmla="*/ 3892534 w 3892533"/>
                <a:gd name="connsiteY14" fmla="*/ 166306 h 1411420"/>
                <a:gd name="connsiteX15" fmla="*/ 3277257 w 3892533"/>
                <a:gd name="connsiteY15" fmla="*/ 181656 h 1411420"/>
                <a:gd name="connsiteX16" fmla="*/ 2790063 w 3892533"/>
                <a:gd name="connsiteY16" fmla="*/ 281739 h 1411420"/>
                <a:gd name="connsiteX17" fmla="*/ 2320781 w 3892533"/>
                <a:gd name="connsiteY17" fmla="*/ 204402 h 1411420"/>
                <a:gd name="connsiteX18" fmla="*/ 1581038 w 3892533"/>
                <a:gd name="connsiteY18" fmla="*/ 179379 h 1411420"/>
                <a:gd name="connsiteX19" fmla="*/ 981000 w 3892533"/>
                <a:gd name="connsiteY19" fmla="*/ 88394 h 1411420"/>
                <a:gd name="connsiteX20" fmla="*/ 61263 w 3892533"/>
                <a:gd name="connsiteY20" fmla="*/ 24870 h 1411420"/>
                <a:gd name="connsiteX0" fmla="*/ 61263 w 3892534"/>
                <a:gd name="connsiteY0" fmla="*/ 24870 h 1411420"/>
                <a:gd name="connsiteX1" fmla="*/ 126754 w 3892534"/>
                <a:gd name="connsiteY1" fmla="*/ 531425 h 1411420"/>
                <a:gd name="connsiteX2" fmla="*/ 459363 w 3892534"/>
                <a:gd name="connsiteY2" fmla="*/ 1056279 h 1411420"/>
                <a:gd name="connsiteX3" fmla="*/ 966682 w 3892534"/>
                <a:gd name="connsiteY3" fmla="*/ 1280322 h 1411420"/>
                <a:gd name="connsiteX4" fmla="*/ 1407205 w 3892534"/>
                <a:gd name="connsiteY4" fmla="*/ 1410866 h 1411420"/>
                <a:gd name="connsiteX5" fmla="*/ 1584621 w 3892534"/>
                <a:gd name="connsiteY5" fmla="*/ 1232549 h 1411420"/>
                <a:gd name="connsiteX6" fmla="*/ 1881860 w 3892534"/>
                <a:gd name="connsiteY6" fmla="*/ 1092415 h 1411420"/>
                <a:gd name="connsiteX7" fmla="*/ 2069939 w 3892534"/>
                <a:gd name="connsiteY7" fmla="*/ 1160654 h 1411420"/>
                <a:gd name="connsiteX8" fmla="*/ 2338605 w 3892534"/>
                <a:gd name="connsiteY8" fmla="*/ 1285763 h 1411420"/>
                <a:gd name="connsiteX9" fmla="*/ 2490859 w 3892534"/>
                <a:gd name="connsiteY9" fmla="*/ 1149282 h 1411420"/>
                <a:gd name="connsiteX10" fmla="*/ 2768487 w 3892534"/>
                <a:gd name="connsiteY10" fmla="*/ 1206147 h 1411420"/>
                <a:gd name="connsiteX11" fmla="*/ 3360418 w 3892534"/>
                <a:gd name="connsiteY11" fmla="*/ 1044031 h 1411420"/>
                <a:gd name="connsiteX12" fmla="*/ 3635487 w 3892534"/>
                <a:gd name="connsiteY12" fmla="*/ 745777 h 1411420"/>
                <a:gd name="connsiteX13" fmla="*/ 3892534 w 3892534"/>
                <a:gd name="connsiteY13" fmla="*/ 166306 h 1411420"/>
                <a:gd name="connsiteX14" fmla="*/ 3277257 w 3892534"/>
                <a:gd name="connsiteY14" fmla="*/ 181656 h 1411420"/>
                <a:gd name="connsiteX15" fmla="*/ 2790063 w 3892534"/>
                <a:gd name="connsiteY15" fmla="*/ 281739 h 1411420"/>
                <a:gd name="connsiteX16" fmla="*/ 2320781 w 3892534"/>
                <a:gd name="connsiteY16" fmla="*/ 204402 h 1411420"/>
                <a:gd name="connsiteX17" fmla="*/ 1581038 w 3892534"/>
                <a:gd name="connsiteY17" fmla="*/ 179379 h 1411420"/>
                <a:gd name="connsiteX18" fmla="*/ 981000 w 3892534"/>
                <a:gd name="connsiteY18" fmla="*/ 88394 h 1411420"/>
                <a:gd name="connsiteX19" fmla="*/ 61263 w 3892534"/>
                <a:gd name="connsiteY19" fmla="*/ 24870 h 1411420"/>
                <a:gd name="connsiteX0" fmla="*/ 61263 w 3635487"/>
                <a:gd name="connsiteY0" fmla="*/ 24870 h 1411420"/>
                <a:gd name="connsiteX1" fmla="*/ 126754 w 3635487"/>
                <a:gd name="connsiteY1" fmla="*/ 531425 h 1411420"/>
                <a:gd name="connsiteX2" fmla="*/ 459363 w 3635487"/>
                <a:gd name="connsiteY2" fmla="*/ 1056279 h 1411420"/>
                <a:gd name="connsiteX3" fmla="*/ 966682 w 3635487"/>
                <a:gd name="connsiteY3" fmla="*/ 1280322 h 1411420"/>
                <a:gd name="connsiteX4" fmla="*/ 1407205 w 3635487"/>
                <a:gd name="connsiteY4" fmla="*/ 1410866 h 1411420"/>
                <a:gd name="connsiteX5" fmla="*/ 1584621 w 3635487"/>
                <a:gd name="connsiteY5" fmla="*/ 1232549 h 1411420"/>
                <a:gd name="connsiteX6" fmla="*/ 1881860 w 3635487"/>
                <a:gd name="connsiteY6" fmla="*/ 1092415 h 1411420"/>
                <a:gd name="connsiteX7" fmla="*/ 2069939 w 3635487"/>
                <a:gd name="connsiteY7" fmla="*/ 1160654 h 1411420"/>
                <a:gd name="connsiteX8" fmla="*/ 2338605 w 3635487"/>
                <a:gd name="connsiteY8" fmla="*/ 1285763 h 1411420"/>
                <a:gd name="connsiteX9" fmla="*/ 2490859 w 3635487"/>
                <a:gd name="connsiteY9" fmla="*/ 1149282 h 1411420"/>
                <a:gd name="connsiteX10" fmla="*/ 2768487 w 3635487"/>
                <a:gd name="connsiteY10" fmla="*/ 1206147 h 1411420"/>
                <a:gd name="connsiteX11" fmla="*/ 3360418 w 3635487"/>
                <a:gd name="connsiteY11" fmla="*/ 1044031 h 1411420"/>
                <a:gd name="connsiteX12" fmla="*/ 3635487 w 3635487"/>
                <a:gd name="connsiteY12" fmla="*/ 745777 h 1411420"/>
                <a:gd name="connsiteX13" fmla="*/ 3585596 w 3635487"/>
                <a:gd name="connsiteY13" fmla="*/ 222686 h 1411420"/>
                <a:gd name="connsiteX14" fmla="*/ 3277257 w 3635487"/>
                <a:gd name="connsiteY14" fmla="*/ 181656 h 1411420"/>
                <a:gd name="connsiteX15" fmla="*/ 2790063 w 3635487"/>
                <a:gd name="connsiteY15" fmla="*/ 281739 h 1411420"/>
                <a:gd name="connsiteX16" fmla="*/ 2320781 w 3635487"/>
                <a:gd name="connsiteY16" fmla="*/ 204402 h 1411420"/>
                <a:gd name="connsiteX17" fmla="*/ 1581038 w 3635487"/>
                <a:gd name="connsiteY17" fmla="*/ 179379 h 1411420"/>
                <a:gd name="connsiteX18" fmla="*/ 981000 w 3635487"/>
                <a:gd name="connsiteY18" fmla="*/ 88394 h 1411420"/>
                <a:gd name="connsiteX19" fmla="*/ 61263 w 3635487"/>
                <a:gd name="connsiteY19" fmla="*/ 24870 h 1411420"/>
                <a:gd name="connsiteX0" fmla="*/ 94360 w 3556971"/>
                <a:gd name="connsiteY0" fmla="*/ 63653 h 1326168"/>
                <a:gd name="connsiteX1" fmla="*/ 48238 w 3556971"/>
                <a:gd name="connsiteY1" fmla="*/ 446173 h 1326168"/>
                <a:gd name="connsiteX2" fmla="*/ 380847 w 3556971"/>
                <a:gd name="connsiteY2" fmla="*/ 971027 h 1326168"/>
                <a:gd name="connsiteX3" fmla="*/ 888166 w 3556971"/>
                <a:gd name="connsiteY3" fmla="*/ 1195070 h 1326168"/>
                <a:gd name="connsiteX4" fmla="*/ 1328689 w 3556971"/>
                <a:gd name="connsiteY4" fmla="*/ 1325614 h 1326168"/>
                <a:gd name="connsiteX5" fmla="*/ 1506105 w 3556971"/>
                <a:gd name="connsiteY5" fmla="*/ 1147297 h 1326168"/>
                <a:gd name="connsiteX6" fmla="*/ 1803344 w 3556971"/>
                <a:gd name="connsiteY6" fmla="*/ 1007163 h 1326168"/>
                <a:gd name="connsiteX7" fmla="*/ 1991423 w 3556971"/>
                <a:gd name="connsiteY7" fmla="*/ 1075402 h 1326168"/>
                <a:gd name="connsiteX8" fmla="*/ 2260089 w 3556971"/>
                <a:gd name="connsiteY8" fmla="*/ 1200511 h 1326168"/>
                <a:gd name="connsiteX9" fmla="*/ 2412343 w 3556971"/>
                <a:gd name="connsiteY9" fmla="*/ 1064030 h 1326168"/>
                <a:gd name="connsiteX10" fmla="*/ 2689971 w 3556971"/>
                <a:gd name="connsiteY10" fmla="*/ 1120895 h 1326168"/>
                <a:gd name="connsiteX11" fmla="*/ 3281902 w 3556971"/>
                <a:gd name="connsiteY11" fmla="*/ 958779 h 1326168"/>
                <a:gd name="connsiteX12" fmla="*/ 3556971 w 3556971"/>
                <a:gd name="connsiteY12" fmla="*/ 660525 h 1326168"/>
                <a:gd name="connsiteX13" fmla="*/ 3507080 w 3556971"/>
                <a:gd name="connsiteY13" fmla="*/ 137434 h 1326168"/>
                <a:gd name="connsiteX14" fmla="*/ 3198741 w 3556971"/>
                <a:gd name="connsiteY14" fmla="*/ 96404 h 1326168"/>
                <a:gd name="connsiteX15" fmla="*/ 2711547 w 3556971"/>
                <a:gd name="connsiteY15" fmla="*/ 196487 h 1326168"/>
                <a:gd name="connsiteX16" fmla="*/ 2242265 w 3556971"/>
                <a:gd name="connsiteY16" fmla="*/ 119150 h 1326168"/>
                <a:gd name="connsiteX17" fmla="*/ 1502522 w 3556971"/>
                <a:gd name="connsiteY17" fmla="*/ 94127 h 1326168"/>
                <a:gd name="connsiteX18" fmla="*/ 902484 w 3556971"/>
                <a:gd name="connsiteY18" fmla="*/ 3142 h 1326168"/>
                <a:gd name="connsiteX19" fmla="*/ 94360 w 3556971"/>
                <a:gd name="connsiteY19" fmla="*/ 63653 h 1326168"/>
                <a:gd name="connsiteX0" fmla="*/ 57946 w 3520557"/>
                <a:gd name="connsiteY0" fmla="*/ 61876 h 1324391"/>
                <a:gd name="connsiteX1" fmla="*/ 95534 w 3520557"/>
                <a:gd name="connsiteY1" fmla="*/ 354189 h 1324391"/>
                <a:gd name="connsiteX2" fmla="*/ 344433 w 3520557"/>
                <a:gd name="connsiteY2" fmla="*/ 969250 h 1324391"/>
                <a:gd name="connsiteX3" fmla="*/ 851752 w 3520557"/>
                <a:gd name="connsiteY3" fmla="*/ 1193293 h 1324391"/>
                <a:gd name="connsiteX4" fmla="*/ 1292275 w 3520557"/>
                <a:gd name="connsiteY4" fmla="*/ 1323837 h 1324391"/>
                <a:gd name="connsiteX5" fmla="*/ 1469691 w 3520557"/>
                <a:gd name="connsiteY5" fmla="*/ 1145520 h 1324391"/>
                <a:gd name="connsiteX6" fmla="*/ 1766930 w 3520557"/>
                <a:gd name="connsiteY6" fmla="*/ 1005386 h 1324391"/>
                <a:gd name="connsiteX7" fmla="*/ 1955009 w 3520557"/>
                <a:gd name="connsiteY7" fmla="*/ 1073625 h 1324391"/>
                <a:gd name="connsiteX8" fmla="*/ 2223675 w 3520557"/>
                <a:gd name="connsiteY8" fmla="*/ 1198734 h 1324391"/>
                <a:gd name="connsiteX9" fmla="*/ 2375929 w 3520557"/>
                <a:gd name="connsiteY9" fmla="*/ 1062253 h 1324391"/>
                <a:gd name="connsiteX10" fmla="*/ 2653557 w 3520557"/>
                <a:gd name="connsiteY10" fmla="*/ 1119118 h 1324391"/>
                <a:gd name="connsiteX11" fmla="*/ 3245488 w 3520557"/>
                <a:gd name="connsiteY11" fmla="*/ 957002 h 1324391"/>
                <a:gd name="connsiteX12" fmla="*/ 3520557 w 3520557"/>
                <a:gd name="connsiteY12" fmla="*/ 658748 h 1324391"/>
                <a:gd name="connsiteX13" fmla="*/ 3470666 w 3520557"/>
                <a:gd name="connsiteY13" fmla="*/ 135657 h 1324391"/>
                <a:gd name="connsiteX14" fmla="*/ 3162327 w 3520557"/>
                <a:gd name="connsiteY14" fmla="*/ 94627 h 1324391"/>
                <a:gd name="connsiteX15" fmla="*/ 2675133 w 3520557"/>
                <a:gd name="connsiteY15" fmla="*/ 194710 h 1324391"/>
                <a:gd name="connsiteX16" fmla="*/ 2205851 w 3520557"/>
                <a:gd name="connsiteY16" fmla="*/ 117373 h 1324391"/>
                <a:gd name="connsiteX17" fmla="*/ 1466108 w 3520557"/>
                <a:gd name="connsiteY17" fmla="*/ 92350 h 1324391"/>
                <a:gd name="connsiteX18" fmla="*/ 866070 w 3520557"/>
                <a:gd name="connsiteY18" fmla="*/ 1365 h 1324391"/>
                <a:gd name="connsiteX19" fmla="*/ 57946 w 3520557"/>
                <a:gd name="connsiteY19" fmla="*/ 61876 h 1324391"/>
                <a:gd name="connsiteX0" fmla="*/ 119984 w 3436101"/>
                <a:gd name="connsiteY0" fmla="*/ 39450 h 1335792"/>
                <a:gd name="connsiteX1" fmla="*/ 11078 w 3436101"/>
                <a:gd name="connsiteY1" fmla="*/ 365590 h 1335792"/>
                <a:gd name="connsiteX2" fmla="*/ 259977 w 3436101"/>
                <a:gd name="connsiteY2" fmla="*/ 980651 h 1335792"/>
                <a:gd name="connsiteX3" fmla="*/ 767296 w 3436101"/>
                <a:gd name="connsiteY3" fmla="*/ 1204694 h 1335792"/>
                <a:gd name="connsiteX4" fmla="*/ 1207819 w 3436101"/>
                <a:gd name="connsiteY4" fmla="*/ 1335238 h 1335792"/>
                <a:gd name="connsiteX5" fmla="*/ 1385235 w 3436101"/>
                <a:gd name="connsiteY5" fmla="*/ 1156921 h 1335792"/>
                <a:gd name="connsiteX6" fmla="*/ 1682474 w 3436101"/>
                <a:gd name="connsiteY6" fmla="*/ 1016787 h 1335792"/>
                <a:gd name="connsiteX7" fmla="*/ 1870553 w 3436101"/>
                <a:gd name="connsiteY7" fmla="*/ 1085026 h 1335792"/>
                <a:gd name="connsiteX8" fmla="*/ 2139219 w 3436101"/>
                <a:gd name="connsiteY8" fmla="*/ 1210135 h 1335792"/>
                <a:gd name="connsiteX9" fmla="*/ 2291473 w 3436101"/>
                <a:gd name="connsiteY9" fmla="*/ 1073654 h 1335792"/>
                <a:gd name="connsiteX10" fmla="*/ 2569101 w 3436101"/>
                <a:gd name="connsiteY10" fmla="*/ 1130519 h 1335792"/>
                <a:gd name="connsiteX11" fmla="*/ 3161032 w 3436101"/>
                <a:gd name="connsiteY11" fmla="*/ 968403 h 1335792"/>
                <a:gd name="connsiteX12" fmla="*/ 3436101 w 3436101"/>
                <a:gd name="connsiteY12" fmla="*/ 670149 h 1335792"/>
                <a:gd name="connsiteX13" fmla="*/ 3386210 w 3436101"/>
                <a:gd name="connsiteY13" fmla="*/ 147058 h 1335792"/>
                <a:gd name="connsiteX14" fmla="*/ 3077871 w 3436101"/>
                <a:gd name="connsiteY14" fmla="*/ 106028 h 1335792"/>
                <a:gd name="connsiteX15" fmla="*/ 2590677 w 3436101"/>
                <a:gd name="connsiteY15" fmla="*/ 206111 h 1335792"/>
                <a:gd name="connsiteX16" fmla="*/ 2121395 w 3436101"/>
                <a:gd name="connsiteY16" fmla="*/ 128774 h 1335792"/>
                <a:gd name="connsiteX17" fmla="*/ 1381652 w 3436101"/>
                <a:gd name="connsiteY17" fmla="*/ 103751 h 1335792"/>
                <a:gd name="connsiteX18" fmla="*/ 781614 w 3436101"/>
                <a:gd name="connsiteY18" fmla="*/ 12766 h 1335792"/>
                <a:gd name="connsiteX19" fmla="*/ 119984 w 3436101"/>
                <a:gd name="connsiteY19" fmla="*/ 39450 h 1335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436101" h="1335792">
                  <a:moveTo>
                    <a:pt x="119984" y="39450"/>
                  </a:moveTo>
                  <a:cubicBezTo>
                    <a:pt x="-8439" y="98254"/>
                    <a:pt x="-12254" y="208723"/>
                    <a:pt x="11078" y="365590"/>
                  </a:cubicBezTo>
                  <a:cubicBezTo>
                    <a:pt x="34410" y="522457"/>
                    <a:pt x="133941" y="840800"/>
                    <a:pt x="259977" y="980651"/>
                  </a:cubicBezTo>
                  <a:cubicBezTo>
                    <a:pt x="386013" y="1120502"/>
                    <a:pt x="609322" y="1145596"/>
                    <a:pt x="767296" y="1204694"/>
                  </a:cubicBezTo>
                  <a:cubicBezTo>
                    <a:pt x="925270" y="1263792"/>
                    <a:pt x="1104829" y="1343200"/>
                    <a:pt x="1207819" y="1335238"/>
                  </a:cubicBezTo>
                  <a:cubicBezTo>
                    <a:pt x="1310809" y="1327276"/>
                    <a:pt x="1306126" y="1209996"/>
                    <a:pt x="1385235" y="1156921"/>
                  </a:cubicBezTo>
                  <a:cubicBezTo>
                    <a:pt x="1464344" y="1103846"/>
                    <a:pt x="1601588" y="1028769"/>
                    <a:pt x="1682474" y="1016787"/>
                  </a:cubicBezTo>
                  <a:cubicBezTo>
                    <a:pt x="1763360" y="1004805"/>
                    <a:pt x="1794429" y="1069862"/>
                    <a:pt x="1870553" y="1085026"/>
                  </a:cubicBezTo>
                  <a:cubicBezTo>
                    <a:pt x="1946677" y="1100191"/>
                    <a:pt x="2069066" y="1212030"/>
                    <a:pt x="2139219" y="1210135"/>
                  </a:cubicBezTo>
                  <a:cubicBezTo>
                    <a:pt x="2209372" y="1208240"/>
                    <a:pt x="2219827" y="1102087"/>
                    <a:pt x="2291473" y="1073654"/>
                  </a:cubicBezTo>
                  <a:cubicBezTo>
                    <a:pt x="2363119" y="1045221"/>
                    <a:pt x="2424175" y="1148061"/>
                    <a:pt x="2569101" y="1130519"/>
                  </a:cubicBezTo>
                  <a:cubicBezTo>
                    <a:pt x="2714027" y="1112977"/>
                    <a:pt x="3016531" y="1029967"/>
                    <a:pt x="3161032" y="968403"/>
                  </a:cubicBezTo>
                  <a:cubicBezTo>
                    <a:pt x="3273278" y="807660"/>
                    <a:pt x="3339825" y="850615"/>
                    <a:pt x="3436101" y="670149"/>
                  </a:cubicBezTo>
                  <a:lnTo>
                    <a:pt x="3386210" y="147058"/>
                  </a:lnTo>
                  <a:cubicBezTo>
                    <a:pt x="3289934" y="72761"/>
                    <a:pt x="3677026" y="123414"/>
                    <a:pt x="3077871" y="106028"/>
                  </a:cubicBezTo>
                  <a:cubicBezTo>
                    <a:pt x="2867259" y="170760"/>
                    <a:pt x="2909204" y="102234"/>
                    <a:pt x="2590677" y="206111"/>
                  </a:cubicBezTo>
                  <a:cubicBezTo>
                    <a:pt x="2431264" y="209902"/>
                    <a:pt x="2322899" y="145834"/>
                    <a:pt x="2121395" y="128774"/>
                  </a:cubicBezTo>
                  <a:cubicBezTo>
                    <a:pt x="1919891" y="111714"/>
                    <a:pt x="1604949" y="123086"/>
                    <a:pt x="1381652" y="103751"/>
                  </a:cubicBezTo>
                  <a:cubicBezTo>
                    <a:pt x="1158355" y="84416"/>
                    <a:pt x="991892" y="23483"/>
                    <a:pt x="781614" y="12766"/>
                  </a:cubicBezTo>
                  <a:cubicBezTo>
                    <a:pt x="571336" y="2049"/>
                    <a:pt x="248407" y="-19354"/>
                    <a:pt x="119984" y="39450"/>
                  </a:cubicBezTo>
                  <a:close/>
                </a:path>
              </a:pathLst>
            </a:custGeom>
            <a:solidFill>
              <a:srgbClr val="E3D16D">
                <a:alpha val="80000"/>
              </a:srgbClr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600"/>
            </a:p>
          </p:txBody>
        </p:sp>
        <p:sp>
          <p:nvSpPr>
            <p:cNvPr id="3369" name="!!mucus">
              <a:extLst>
                <a:ext uri="{FF2B5EF4-FFF2-40B4-BE49-F238E27FC236}">
                  <a16:creationId xmlns:a16="http://schemas.microsoft.com/office/drawing/2014/main" id="{DC95E57D-0BF0-DD64-5F86-54749BC5BD35}"/>
                </a:ext>
              </a:extLst>
            </p:cNvPr>
            <p:cNvSpPr/>
            <p:nvPr/>
          </p:nvSpPr>
          <p:spPr>
            <a:xfrm rot="15546495">
              <a:off x="4487479" y="2792755"/>
              <a:ext cx="648636" cy="230682"/>
            </a:xfrm>
            <a:custGeom>
              <a:avLst/>
              <a:gdLst>
                <a:gd name="connsiteX0" fmla="*/ 0 w 11280654"/>
                <a:gd name="connsiteY0" fmla="*/ 91352 h 1986246"/>
                <a:gd name="connsiteX1" fmla="*/ 10868 w 11280654"/>
                <a:gd name="connsiteY1" fmla="*/ 745642 h 1986246"/>
                <a:gd name="connsiteX2" fmla="*/ 260587 w 11280654"/>
                <a:gd name="connsiteY2" fmla="*/ 915580 h 1986246"/>
                <a:gd name="connsiteX3" fmla="*/ 282300 w 11280654"/>
                <a:gd name="connsiteY3" fmla="*/ 1077031 h 1986246"/>
                <a:gd name="connsiteX4" fmla="*/ 510305 w 11280654"/>
                <a:gd name="connsiteY4" fmla="*/ 1416926 h 1986246"/>
                <a:gd name="connsiteX5" fmla="*/ 640587 w 11280654"/>
                <a:gd name="connsiteY5" fmla="*/ 1595370 h 1986246"/>
                <a:gd name="connsiteX6" fmla="*/ 694882 w 11280654"/>
                <a:gd name="connsiteY6" fmla="*/ 1790808 h 1986246"/>
                <a:gd name="connsiteX7" fmla="*/ 857746 w 11280654"/>
                <a:gd name="connsiteY7" fmla="*/ 1986246 h 1986246"/>
                <a:gd name="connsiteX8" fmla="*/ 1020610 w 11280654"/>
                <a:gd name="connsiteY8" fmla="*/ 1858784 h 1986246"/>
                <a:gd name="connsiteX9" fmla="*/ 1042324 w 11280654"/>
                <a:gd name="connsiteY9" fmla="*/ 1595370 h 1986246"/>
                <a:gd name="connsiteX10" fmla="*/ 1194319 w 11280654"/>
                <a:gd name="connsiteY10" fmla="*/ 1510401 h 1986246"/>
                <a:gd name="connsiteX11" fmla="*/ 1302887 w 11280654"/>
                <a:gd name="connsiteY11" fmla="*/ 1229994 h 1986246"/>
                <a:gd name="connsiteX12" fmla="*/ 1411455 w 11280654"/>
                <a:gd name="connsiteY12" fmla="*/ 873105 h 1986246"/>
                <a:gd name="connsiteX13" fmla="*/ 1563450 w 11280654"/>
                <a:gd name="connsiteY13" fmla="*/ 737154 h 1986246"/>
                <a:gd name="connsiteX14" fmla="*/ 1867441 w 11280654"/>
                <a:gd name="connsiteY14" fmla="*/ 737154 h 1986246"/>
                <a:gd name="connsiteX15" fmla="*/ 2442864 w 11280654"/>
                <a:gd name="connsiteY15" fmla="*/ 754148 h 1986246"/>
                <a:gd name="connsiteX16" fmla="*/ 3582863 w 11280654"/>
                <a:gd name="connsiteY16" fmla="*/ 754148 h 1986246"/>
                <a:gd name="connsiteX17" fmla="*/ 4277722 w 11280654"/>
                <a:gd name="connsiteY17" fmla="*/ 788136 h 1986246"/>
                <a:gd name="connsiteX18" fmla="*/ 4733732 w 11280654"/>
                <a:gd name="connsiteY18" fmla="*/ 728648 h 1986246"/>
                <a:gd name="connsiteX19" fmla="*/ 5211454 w 11280654"/>
                <a:gd name="connsiteY19" fmla="*/ 728648 h 1986246"/>
                <a:gd name="connsiteX20" fmla="*/ 5982323 w 11280654"/>
                <a:gd name="connsiteY20" fmla="*/ 771142 h 1986246"/>
                <a:gd name="connsiteX21" fmla="*/ 6861759 w 11280654"/>
                <a:gd name="connsiteY21" fmla="*/ 754148 h 1986246"/>
                <a:gd name="connsiteX22" fmla="*/ 7491477 w 11280654"/>
                <a:gd name="connsiteY22" fmla="*/ 762654 h 1986246"/>
                <a:gd name="connsiteX23" fmla="*/ 8327487 w 11280654"/>
                <a:gd name="connsiteY23" fmla="*/ 762654 h 1986246"/>
                <a:gd name="connsiteX24" fmla="*/ 9391500 w 11280654"/>
                <a:gd name="connsiteY24" fmla="*/ 788154 h 1986246"/>
                <a:gd name="connsiteX25" fmla="*/ 10140655 w 11280654"/>
                <a:gd name="connsiteY25" fmla="*/ 779648 h 1986246"/>
                <a:gd name="connsiteX26" fmla="*/ 10672650 w 11280654"/>
                <a:gd name="connsiteY26" fmla="*/ 771142 h 1986246"/>
                <a:gd name="connsiteX27" fmla="*/ 11150373 w 11280654"/>
                <a:gd name="connsiteY27" fmla="*/ 737154 h 1986246"/>
                <a:gd name="connsiteX28" fmla="*/ 11280654 w 11280654"/>
                <a:gd name="connsiteY28" fmla="*/ 754148 h 1986246"/>
                <a:gd name="connsiteX29" fmla="*/ 11280654 w 11280654"/>
                <a:gd name="connsiteY29" fmla="*/ 133791 h 1986246"/>
                <a:gd name="connsiteX30" fmla="*/ 11096078 w 11280654"/>
                <a:gd name="connsiteY30" fmla="*/ 65870 h 1986246"/>
                <a:gd name="connsiteX31" fmla="*/ 10281782 w 11280654"/>
                <a:gd name="connsiteY31" fmla="*/ 14889 h 1986246"/>
                <a:gd name="connsiteX32" fmla="*/ 9695491 w 11280654"/>
                <a:gd name="connsiteY32" fmla="*/ 108364 h 1986246"/>
                <a:gd name="connsiteX33" fmla="*/ 8794341 w 11280654"/>
                <a:gd name="connsiteY33" fmla="*/ 201839 h 1986246"/>
                <a:gd name="connsiteX34" fmla="*/ 7828050 w 11280654"/>
                <a:gd name="connsiteY34" fmla="*/ 201839 h 1986246"/>
                <a:gd name="connsiteX35" fmla="*/ 6101760 w 11280654"/>
                <a:gd name="connsiteY35" fmla="*/ 193333 h 1986246"/>
                <a:gd name="connsiteX36" fmla="*/ 5016032 w 11280654"/>
                <a:gd name="connsiteY36" fmla="*/ 65870 h 1986246"/>
                <a:gd name="connsiteX37" fmla="*/ 3224600 w 11280654"/>
                <a:gd name="connsiteY37" fmla="*/ 57364 h 1986246"/>
                <a:gd name="connsiteX38" fmla="*/ 2171455 w 11280654"/>
                <a:gd name="connsiteY38" fmla="*/ 82864 h 1986246"/>
                <a:gd name="connsiteX39" fmla="*/ 760023 w 11280654"/>
                <a:gd name="connsiteY39" fmla="*/ 116852 h 1986246"/>
                <a:gd name="connsiteX40" fmla="*/ 0 w 11280654"/>
                <a:gd name="connsiteY40" fmla="*/ 91352 h 1986246"/>
                <a:gd name="connsiteX0" fmla="*/ 0 w 11280654"/>
                <a:gd name="connsiteY0" fmla="*/ 91352 h 1994638"/>
                <a:gd name="connsiteX1" fmla="*/ 10868 w 11280654"/>
                <a:gd name="connsiteY1" fmla="*/ 745642 h 1994638"/>
                <a:gd name="connsiteX2" fmla="*/ 260587 w 11280654"/>
                <a:gd name="connsiteY2" fmla="*/ 915580 h 1994638"/>
                <a:gd name="connsiteX3" fmla="*/ 282300 w 11280654"/>
                <a:gd name="connsiteY3" fmla="*/ 1077031 h 1994638"/>
                <a:gd name="connsiteX4" fmla="*/ 510305 w 11280654"/>
                <a:gd name="connsiteY4" fmla="*/ 1416926 h 1994638"/>
                <a:gd name="connsiteX5" fmla="*/ 640587 w 11280654"/>
                <a:gd name="connsiteY5" fmla="*/ 1595370 h 1994638"/>
                <a:gd name="connsiteX6" fmla="*/ 694882 w 11280654"/>
                <a:gd name="connsiteY6" fmla="*/ 1790808 h 1994638"/>
                <a:gd name="connsiteX7" fmla="*/ 857746 w 11280654"/>
                <a:gd name="connsiteY7" fmla="*/ 1986246 h 1994638"/>
                <a:gd name="connsiteX8" fmla="*/ 1020610 w 11280654"/>
                <a:gd name="connsiteY8" fmla="*/ 1858784 h 1994638"/>
                <a:gd name="connsiteX9" fmla="*/ 1042324 w 11280654"/>
                <a:gd name="connsiteY9" fmla="*/ 1595370 h 1994638"/>
                <a:gd name="connsiteX10" fmla="*/ 1194319 w 11280654"/>
                <a:gd name="connsiteY10" fmla="*/ 1510401 h 1994638"/>
                <a:gd name="connsiteX11" fmla="*/ 1302887 w 11280654"/>
                <a:gd name="connsiteY11" fmla="*/ 1229994 h 1994638"/>
                <a:gd name="connsiteX12" fmla="*/ 1411455 w 11280654"/>
                <a:gd name="connsiteY12" fmla="*/ 873105 h 1994638"/>
                <a:gd name="connsiteX13" fmla="*/ 1563450 w 11280654"/>
                <a:gd name="connsiteY13" fmla="*/ 737154 h 1994638"/>
                <a:gd name="connsiteX14" fmla="*/ 1867441 w 11280654"/>
                <a:gd name="connsiteY14" fmla="*/ 737154 h 1994638"/>
                <a:gd name="connsiteX15" fmla="*/ 2442864 w 11280654"/>
                <a:gd name="connsiteY15" fmla="*/ 754148 h 1994638"/>
                <a:gd name="connsiteX16" fmla="*/ 3582863 w 11280654"/>
                <a:gd name="connsiteY16" fmla="*/ 754148 h 1994638"/>
                <a:gd name="connsiteX17" fmla="*/ 4277722 w 11280654"/>
                <a:gd name="connsiteY17" fmla="*/ 788136 h 1994638"/>
                <a:gd name="connsiteX18" fmla="*/ 4733732 w 11280654"/>
                <a:gd name="connsiteY18" fmla="*/ 728648 h 1994638"/>
                <a:gd name="connsiteX19" fmla="*/ 5211454 w 11280654"/>
                <a:gd name="connsiteY19" fmla="*/ 728648 h 1994638"/>
                <a:gd name="connsiteX20" fmla="*/ 5982323 w 11280654"/>
                <a:gd name="connsiteY20" fmla="*/ 771142 h 1994638"/>
                <a:gd name="connsiteX21" fmla="*/ 6861759 w 11280654"/>
                <a:gd name="connsiteY21" fmla="*/ 754148 h 1994638"/>
                <a:gd name="connsiteX22" fmla="*/ 7491477 w 11280654"/>
                <a:gd name="connsiteY22" fmla="*/ 762654 h 1994638"/>
                <a:gd name="connsiteX23" fmla="*/ 8327487 w 11280654"/>
                <a:gd name="connsiteY23" fmla="*/ 762654 h 1994638"/>
                <a:gd name="connsiteX24" fmla="*/ 9391500 w 11280654"/>
                <a:gd name="connsiteY24" fmla="*/ 788154 h 1994638"/>
                <a:gd name="connsiteX25" fmla="*/ 10140655 w 11280654"/>
                <a:gd name="connsiteY25" fmla="*/ 779648 h 1994638"/>
                <a:gd name="connsiteX26" fmla="*/ 10672650 w 11280654"/>
                <a:gd name="connsiteY26" fmla="*/ 771142 h 1994638"/>
                <a:gd name="connsiteX27" fmla="*/ 11150373 w 11280654"/>
                <a:gd name="connsiteY27" fmla="*/ 737154 h 1994638"/>
                <a:gd name="connsiteX28" fmla="*/ 11280654 w 11280654"/>
                <a:gd name="connsiteY28" fmla="*/ 754148 h 1994638"/>
                <a:gd name="connsiteX29" fmla="*/ 11280654 w 11280654"/>
                <a:gd name="connsiteY29" fmla="*/ 133791 h 1994638"/>
                <a:gd name="connsiteX30" fmla="*/ 11096078 w 11280654"/>
                <a:gd name="connsiteY30" fmla="*/ 65870 h 1994638"/>
                <a:gd name="connsiteX31" fmla="*/ 10281782 w 11280654"/>
                <a:gd name="connsiteY31" fmla="*/ 14889 h 1994638"/>
                <a:gd name="connsiteX32" fmla="*/ 9695491 w 11280654"/>
                <a:gd name="connsiteY32" fmla="*/ 108364 h 1994638"/>
                <a:gd name="connsiteX33" fmla="*/ 8794341 w 11280654"/>
                <a:gd name="connsiteY33" fmla="*/ 201839 h 1994638"/>
                <a:gd name="connsiteX34" fmla="*/ 7828050 w 11280654"/>
                <a:gd name="connsiteY34" fmla="*/ 201839 h 1994638"/>
                <a:gd name="connsiteX35" fmla="*/ 6101760 w 11280654"/>
                <a:gd name="connsiteY35" fmla="*/ 193333 h 1994638"/>
                <a:gd name="connsiteX36" fmla="*/ 5016032 w 11280654"/>
                <a:gd name="connsiteY36" fmla="*/ 65870 h 1994638"/>
                <a:gd name="connsiteX37" fmla="*/ 3224600 w 11280654"/>
                <a:gd name="connsiteY37" fmla="*/ 57364 h 1994638"/>
                <a:gd name="connsiteX38" fmla="*/ 2171455 w 11280654"/>
                <a:gd name="connsiteY38" fmla="*/ 82864 h 1994638"/>
                <a:gd name="connsiteX39" fmla="*/ 760023 w 11280654"/>
                <a:gd name="connsiteY39" fmla="*/ 116852 h 1994638"/>
                <a:gd name="connsiteX40" fmla="*/ 0 w 11280654"/>
                <a:gd name="connsiteY40" fmla="*/ 91352 h 1994638"/>
                <a:gd name="connsiteX0" fmla="*/ 2673914 w 11269790"/>
                <a:gd name="connsiteY0" fmla="*/ 66415 h 1994638"/>
                <a:gd name="connsiteX1" fmla="*/ 4 w 11269790"/>
                <a:gd name="connsiteY1" fmla="*/ 745642 h 1994638"/>
                <a:gd name="connsiteX2" fmla="*/ 249723 w 11269790"/>
                <a:gd name="connsiteY2" fmla="*/ 915580 h 1994638"/>
                <a:gd name="connsiteX3" fmla="*/ 271436 w 11269790"/>
                <a:gd name="connsiteY3" fmla="*/ 1077031 h 1994638"/>
                <a:gd name="connsiteX4" fmla="*/ 499441 w 11269790"/>
                <a:gd name="connsiteY4" fmla="*/ 1416926 h 1994638"/>
                <a:gd name="connsiteX5" fmla="*/ 629723 w 11269790"/>
                <a:gd name="connsiteY5" fmla="*/ 1595370 h 1994638"/>
                <a:gd name="connsiteX6" fmla="*/ 684018 w 11269790"/>
                <a:gd name="connsiteY6" fmla="*/ 1790808 h 1994638"/>
                <a:gd name="connsiteX7" fmla="*/ 846882 w 11269790"/>
                <a:gd name="connsiteY7" fmla="*/ 1986246 h 1994638"/>
                <a:gd name="connsiteX8" fmla="*/ 1009746 w 11269790"/>
                <a:gd name="connsiteY8" fmla="*/ 1858784 h 1994638"/>
                <a:gd name="connsiteX9" fmla="*/ 1031460 w 11269790"/>
                <a:gd name="connsiteY9" fmla="*/ 1595370 h 1994638"/>
                <a:gd name="connsiteX10" fmla="*/ 1183455 w 11269790"/>
                <a:gd name="connsiteY10" fmla="*/ 1510401 h 1994638"/>
                <a:gd name="connsiteX11" fmla="*/ 1292023 w 11269790"/>
                <a:gd name="connsiteY11" fmla="*/ 1229994 h 1994638"/>
                <a:gd name="connsiteX12" fmla="*/ 1400591 w 11269790"/>
                <a:gd name="connsiteY12" fmla="*/ 873105 h 1994638"/>
                <a:gd name="connsiteX13" fmla="*/ 1552586 w 11269790"/>
                <a:gd name="connsiteY13" fmla="*/ 737154 h 1994638"/>
                <a:gd name="connsiteX14" fmla="*/ 1856577 w 11269790"/>
                <a:gd name="connsiteY14" fmla="*/ 737154 h 1994638"/>
                <a:gd name="connsiteX15" fmla="*/ 2432000 w 11269790"/>
                <a:gd name="connsiteY15" fmla="*/ 754148 h 1994638"/>
                <a:gd name="connsiteX16" fmla="*/ 3571999 w 11269790"/>
                <a:gd name="connsiteY16" fmla="*/ 754148 h 1994638"/>
                <a:gd name="connsiteX17" fmla="*/ 4266858 w 11269790"/>
                <a:gd name="connsiteY17" fmla="*/ 788136 h 1994638"/>
                <a:gd name="connsiteX18" fmla="*/ 4722868 w 11269790"/>
                <a:gd name="connsiteY18" fmla="*/ 728648 h 1994638"/>
                <a:gd name="connsiteX19" fmla="*/ 5200590 w 11269790"/>
                <a:gd name="connsiteY19" fmla="*/ 728648 h 1994638"/>
                <a:gd name="connsiteX20" fmla="*/ 5971459 w 11269790"/>
                <a:gd name="connsiteY20" fmla="*/ 771142 h 1994638"/>
                <a:gd name="connsiteX21" fmla="*/ 6850895 w 11269790"/>
                <a:gd name="connsiteY21" fmla="*/ 754148 h 1994638"/>
                <a:gd name="connsiteX22" fmla="*/ 7480613 w 11269790"/>
                <a:gd name="connsiteY22" fmla="*/ 762654 h 1994638"/>
                <a:gd name="connsiteX23" fmla="*/ 8316623 w 11269790"/>
                <a:gd name="connsiteY23" fmla="*/ 762654 h 1994638"/>
                <a:gd name="connsiteX24" fmla="*/ 9380636 w 11269790"/>
                <a:gd name="connsiteY24" fmla="*/ 788154 h 1994638"/>
                <a:gd name="connsiteX25" fmla="*/ 10129791 w 11269790"/>
                <a:gd name="connsiteY25" fmla="*/ 779648 h 1994638"/>
                <a:gd name="connsiteX26" fmla="*/ 10661786 w 11269790"/>
                <a:gd name="connsiteY26" fmla="*/ 771142 h 1994638"/>
                <a:gd name="connsiteX27" fmla="*/ 11139509 w 11269790"/>
                <a:gd name="connsiteY27" fmla="*/ 737154 h 1994638"/>
                <a:gd name="connsiteX28" fmla="*/ 11269790 w 11269790"/>
                <a:gd name="connsiteY28" fmla="*/ 754148 h 1994638"/>
                <a:gd name="connsiteX29" fmla="*/ 11269790 w 11269790"/>
                <a:gd name="connsiteY29" fmla="*/ 133791 h 1994638"/>
                <a:gd name="connsiteX30" fmla="*/ 11085214 w 11269790"/>
                <a:gd name="connsiteY30" fmla="*/ 65870 h 1994638"/>
                <a:gd name="connsiteX31" fmla="*/ 10270918 w 11269790"/>
                <a:gd name="connsiteY31" fmla="*/ 14889 h 1994638"/>
                <a:gd name="connsiteX32" fmla="*/ 9684627 w 11269790"/>
                <a:gd name="connsiteY32" fmla="*/ 108364 h 1994638"/>
                <a:gd name="connsiteX33" fmla="*/ 8783477 w 11269790"/>
                <a:gd name="connsiteY33" fmla="*/ 201839 h 1994638"/>
                <a:gd name="connsiteX34" fmla="*/ 7817186 w 11269790"/>
                <a:gd name="connsiteY34" fmla="*/ 201839 h 1994638"/>
                <a:gd name="connsiteX35" fmla="*/ 6090896 w 11269790"/>
                <a:gd name="connsiteY35" fmla="*/ 193333 h 1994638"/>
                <a:gd name="connsiteX36" fmla="*/ 5005168 w 11269790"/>
                <a:gd name="connsiteY36" fmla="*/ 65870 h 1994638"/>
                <a:gd name="connsiteX37" fmla="*/ 3213736 w 11269790"/>
                <a:gd name="connsiteY37" fmla="*/ 57364 h 1994638"/>
                <a:gd name="connsiteX38" fmla="*/ 2160591 w 11269790"/>
                <a:gd name="connsiteY38" fmla="*/ 82864 h 1994638"/>
                <a:gd name="connsiteX39" fmla="*/ 749159 w 11269790"/>
                <a:gd name="connsiteY39" fmla="*/ 116852 h 1994638"/>
                <a:gd name="connsiteX40" fmla="*/ 2673914 w 11269790"/>
                <a:gd name="connsiteY40" fmla="*/ 66415 h 1994638"/>
                <a:gd name="connsiteX0" fmla="*/ 2673914 w 11269790"/>
                <a:gd name="connsiteY0" fmla="*/ 66415 h 1994638"/>
                <a:gd name="connsiteX1" fmla="*/ 4 w 11269790"/>
                <a:gd name="connsiteY1" fmla="*/ 745642 h 1994638"/>
                <a:gd name="connsiteX2" fmla="*/ 249723 w 11269790"/>
                <a:gd name="connsiteY2" fmla="*/ 915580 h 1994638"/>
                <a:gd name="connsiteX3" fmla="*/ 271436 w 11269790"/>
                <a:gd name="connsiteY3" fmla="*/ 1077031 h 1994638"/>
                <a:gd name="connsiteX4" fmla="*/ 499441 w 11269790"/>
                <a:gd name="connsiteY4" fmla="*/ 1416926 h 1994638"/>
                <a:gd name="connsiteX5" fmla="*/ 629723 w 11269790"/>
                <a:gd name="connsiteY5" fmla="*/ 1595370 h 1994638"/>
                <a:gd name="connsiteX6" fmla="*/ 684018 w 11269790"/>
                <a:gd name="connsiteY6" fmla="*/ 1790808 h 1994638"/>
                <a:gd name="connsiteX7" fmla="*/ 846882 w 11269790"/>
                <a:gd name="connsiteY7" fmla="*/ 1986246 h 1994638"/>
                <a:gd name="connsiteX8" fmla="*/ 1009746 w 11269790"/>
                <a:gd name="connsiteY8" fmla="*/ 1858784 h 1994638"/>
                <a:gd name="connsiteX9" fmla="*/ 1031460 w 11269790"/>
                <a:gd name="connsiteY9" fmla="*/ 1595370 h 1994638"/>
                <a:gd name="connsiteX10" fmla="*/ 1183455 w 11269790"/>
                <a:gd name="connsiteY10" fmla="*/ 1510401 h 1994638"/>
                <a:gd name="connsiteX11" fmla="*/ 1292023 w 11269790"/>
                <a:gd name="connsiteY11" fmla="*/ 1229994 h 1994638"/>
                <a:gd name="connsiteX12" fmla="*/ 1400591 w 11269790"/>
                <a:gd name="connsiteY12" fmla="*/ 873105 h 1994638"/>
                <a:gd name="connsiteX13" fmla="*/ 1552586 w 11269790"/>
                <a:gd name="connsiteY13" fmla="*/ 737154 h 1994638"/>
                <a:gd name="connsiteX14" fmla="*/ 1856577 w 11269790"/>
                <a:gd name="connsiteY14" fmla="*/ 737154 h 1994638"/>
                <a:gd name="connsiteX15" fmla="*/ 2432000 w 11269790"/>
                <a:gd name="connsiteY15" fmla="*/ 754148 h 1994638"/>
                <a:gd name="connsiteX16" fmla="*/ 3571999 w 11269790"/>
                <a:gd name="connsiteY16" fmla="*/ 754148 h 1994638"/>
                <a:gd name="connsiteX17" fmla="*/ 4266858 w 11269790"/>
                <a:gd name="connsiteY17" fmla="*/ 788136 h 1994638"/>
                <a:gd name="connsiteX18" fmla="*/ 4722868 w 11269790"/>
                <a:gd name="connsiteY18" fmla="*/ 728648 h 1994638"/>
                <a:gd name="connsiteX19" fmla="*/ 5200590 w 11269790"/>
                <a:gd name="connsiteY19" fmla="*/ 728648 h 1994638"/>
                <a:gd name="connsiteX20" fmla="*/ 5971459 w 11269790"/>
                <a:gd name="connsiteY20" fmla="*/ 771142 h 1994638"/>
                <a:gd name="connsiteX21" fmla="*/ 6850895 w 11269790"/>
                <a:gd name="connsiteY21" fmla="*/ 754148 h 1994638"/>
                <a:gd name="connsiteX22" fmla="*/ 7480613 w 11269790"/>
                <a:gd name="connsiteY22" fmla="*/ 762654 h 1994638"/>
                <a:gd name="connsiteX23" fmla="*/ 8316623 w 11269790"/>
                <a:gd name="connsiteY23" fmla="*/ 762654 h 1994638"/>
                <a:gd name="connsiteX24" fmla="*/ 9380636 w 11269790"/>
                <a:gd name="connsiteY24" fmla="*/ 788154 h 1994638"/>
                <a:gd name="connsiteX25" fmla="*/ 10129791 w 11269790"/>
                <a:gd name="connsiteY25" fmla="*/ 779648 h 1994638"/>
                <a:gd name="connsiteX26" fmla="*/ 10661786 w 11269790"/>
                <a:gd name="connsiteY26" fmla="*/ 771142 h 1994638"/>
                <a:gd name="connsiteX27" fmla="*/ 11139509 w 11269790"/>
                <a:gd name="connsiteY27" fmla="*/ 737154 h 1994638"/>
                <a:gd name="connsiteX28" fmla="*/ 11269790 w 11269790"/>
                <a:gd name="connsiteY28" fmla="*/ 754148 h 1994638"/>
                <a:gd name="connsiteX29" fmla="*/ 11269790 w 11269790"/>
                <a:gd name="connsiteY29" fmla="*/ 133791 h 1994638"/>
                <a:gd name="connsiteX30" fmla="*/ 11085214 w 11269790"/>
                <a:gd name="connsiteY30" fmla="*/ 65870 h 1994638"/>
                <a:gd name="connsiteX31" fmla="*/ 10270918 w 11269790"/>
                <a:gd name="connsiteY31" fmla="*/ 14889 h 1994638"/>
                <a:gd name="connsiteX32" fmla="*/ 9684627 w 11269790"/>
                <a:gd name="connsiteY32" fmla="*/ 108364 h 1994638"/>
                <a:gd name="connsiteX33" fmla="*/ 8783477 w 11269790"/>
                <a:gd name="connsiteY33" fmla="*/ 201839 h 1994638"/>
                <a:gd name="connsiteX34" fmla="*/ 7817186 w 11269790"/>
                <a:gd name="connsiteY34" fmla="*/ 201839 h 1994638"/>
                <a:gd name="connsiteX35" fmla="*/ 6090896 w 11269790"/>
                <a:gd name="connsiteY35" fmla="*/ 193333 h 1994638"/>
                <a:gd name="connsiteX36" fmla="*/ 5005168 w 11269790"/>
                <a:gd name="connsiteY36" fmla="*/ 65870 h 1994638"/>
                <a:gd name="connsiteX37" fmla="*/ 3213736 w 11269790"/>
                <a:gd name="connsiteY37" fmla="*/ 57364 h 1994638"/>
                <a:gd name="connsiteX38" fmla="*/ 2160591 w 11269790"/>
                <a:gd name="connsiteY38" fmla="*/ 82864 h 1994638"/>
                <a:gd name="connsiteX39" fmla="*/ 2673914 w 11269790"/>
                <a:gd name="connsiteY39" fmla="*/ 66415 h 1994638"/>
                <a:gd name="connsiteX0" fmla="*/ 2673914 w 11269790"/>
                <a:gd name="connsiteY0" fmla="*/ 66415 h 1994638"/>
                <a:gd name="connsiteX1" fmla="*/ 4 w 11269790"/>
                <a:gd name="connsiteY1" fmla="*/ 745642 h 1994638"/>
                <a:gd name="connsiteX2" fmla="*/ 249723 w 11269790"/>
                <a:gd name="connsiteY2" fmla="*/ 915580 h 1994638"/>
                <a:gd name="connsiteX3" fmla="*/ 271436 w 11269790"/>
                <a:gd name="connsiteY3" fmla="*/ 1077031 h 1994638"/>
                <a:gd name="connsiteX4" fmla="*/ 499441 w 11269790"/>
                <a:gd name="connsiteY4" fmla="*/ 1416926 h 1994638"/>
                <a:gd name="connsiteX5" fmla="*/ 629723 w 11269790"/>
                <a:gd name="connsiteY5" fmla="*/ 1595370 h 1994638"/>
                <a:gd name="connsiteX6" fmla="*/ 684018 w 11269790"/>
                <a:gd name="connsiteY6" fmla="*/ 1790808 h 1994638"/>
                <a:gd name="connsiteX7" fmla="*/ 846882 w 11269790"/>
                <a:gd name="connsiteY7" fmla="*/ 1986246 h 1994638"/>
                <a:gd name="connsiteX8" fmla="*/ 1009746 w 11269790"/>
                <a:gd name="connsiteY8" fmla="*/ 1858784 h 1994638"/>
                <a:gd name="connsiteX9" fmla="*/ 1031460 w 11269790"/>
                <a:gd name="connsiteY9" fmla="*/ 1595370 h 1994638"/>
                <a:gd name="connsiteX10" fmla="*/ 1183455 w 11269790"/>
                <a:gd name="connsiteY10" fmla="*/ 1510401 h 1994638"/>
                <a:gd name="connsiteX11" fmla="*/ 1292023 w 11269790"/>
                <a:gd name="connsiteY11" fmla="*/ 1229994 h 1994638"/>
                <a:gd name="connsiteX12" fmla="*/ 1400591 w 11269790"/>
                <a:gd name="connsiteY12" fmla="*/ 873105 h 1994638"/>
                <a:gd name="connsiteX13" fmla="*/ 1552586 w 11269790"/>
                <a:gd name="connsiteY13" fmla="*/ 737154 h 1994638"/>
                <a:gd name="connsiteX14" fmla="*/ 1856577 w 11269790"/>
                <a:gd name="connsiteY14" fmla="*/ 737154 h 1994638"/>
                <a:gd name="connsiteX15" fmla="*/ 2432000 w 11269790"/>
                <a:gd name="connsiteY15" fmla="*/ 754148 h 1994638"/>
                <a:gd name="connsiteX16" fmla="*/ 3571999 w 11269790"/>
                <a:gd name="connsiteY16" fmla="*/ 754148 h 1994638"/>
                <a:gd name="connsiteX17" fmla="*/ 4266858 w 11269790"/>
                <a:gd name="connsiteY17" fmla="*/ 788136 h 1994638"/>
                <a:gd name="connsiteX18" fmla="*/ 4722868 w 11269790"/>
                <a:gd name="connsiteY18" fmla="*/ 728648 h 1994638"/>
                <a:gd name="connsiteX19" fmla="*/ 5200590 w 11269790"/>
                <a:gd name="connsiteY19" fmla="*/ 728648 h 1994638"/>
                <a:gd name="connsiteX20" fmla="*/ 5971459 w 11269790"/>
                <a:gd name="connsiteY20" fmla="*/ 771142 h 1994638"/>
                <a:gd name="connsiteX21" fmla="*/ 6850895 w 11269790"/>
                <a:gd name="connsiteY21" fmla="*/ 754148 h 1994638"/>
                <a:gd name="connsiteX22" fmla="*/ 7480613 w 11269790"/>
                <a:gd name="connsiteY22" fmla="*/ 762654 h 1994638"/>
                <a:gd name="connsiteX23" fmla="*/ 8316623 w 11269790"/>
                <a:gd name="connsiteY23" fmla="*/ 762654 h 1994638"/>
                <a:gd name="connsiteX24" fmla="*/ 9380636 w 11269790"/>
                <a:gd name="connsiteY24" fmla="*/ 788154 h 1994638"/>
                <a:gd name="connsiteX25" fmla="*/ 10129791 w 11269790"/>
                <a:gd name="connsiteY25" fmla="*/ 779648 h 1994638"/>
                <a:gd name="connsiteX26" fmla="*/ 10661786 w 11269790"/>
                <a:gd name="connsiteY26" fmla="*/ 771142 h 1994638"/>
                <a:gd name="connsiteX27" fmla="*/ 11139509 w 11269790"/>
                <a:gd name="connsiteY27" fmla="*/ 737154 h 1994638"/>
                <a:gd name="connsiteX28" fmla="*/ 11269790 w 11269790"/>
                <a:gd name="connsiteY28" fmla="*/ 754148 h 1994638"/>
                <a:gd name="connsiteX29" fmla="*/ 11269790 w 11269790"/>
                <a:gd name="connsiteY29" fmla="*/ 133791 h 1994638"/>
                <a:gd name="connsiteX30" fmla="*/ 11085214 w 11269790"/>
                <a:gd name="connsiteY30" fmla="*/ 65870 h 1994638"/>
                <a:gd name="connsiteX31" fmla="*/ 10270918 w 11269790"/>
                <a:gd name="connsiteY31" fmla="*/ 14889 h 1994638"/>
                <a:gd name="connsiteX32" fmla="*/ 9684627 w 11269790"/>
                <a:gd name="connsiteY32" fmla="*/ 108364 h 1994638"/>
                <a:gd name="connsiteX33" fmla="*/ 8783477 w 11269790"/>
                <a:gd name="connsiteY33" fmla="*/ 201839 h 1994638"/>
                <a:gd name="connsiteX34" fmla="*/ 7817186 w 11269790"/>
                <a:gd name="connsiteY34" fmla="*/ 201839 h 1994638"/>
                <a:gd name="connsiteX35" fmla="*/ 6090896 w 11269790"/>
                <a:gd name="connsiteY35" fmla="*/ 193333 h 1994638"/>
                <a:gd name="connsiteX36" fmla="*/ 5005168 w 11269790"/>
                <a:gd name="connsiteY36" fmla="*/ 65870 h 1994638"/>
                <a:gd name="connsiteX37" fmla="*/ 3213736 w 11269790"/>
                <a:gd name="connsiteY37" fmla="*/ 57364 h 1994638"/>
                <a:gd name="connsiteX38" fmla="*/ 2673914 w 11269790"/>
                <a:gd name="connsiteY38" fmla="*/ 66415 h 1994638"/>
                <a:gd name="connsiteX0" fmla="*/ 2598674 w 11194550"/>
                <a:gd name="connsiteY0" fmla="*/ 66415 h 1994638"/>
                <a:gd name="connsiteX1" fmla="*/ 174483 w 11194550"/>
                <a:gd name="connsiteY1" fmla="*/ 915580 h 1994638"/>
                <a:gd name="connsiteX2" fmla="*/ 196196 w 11194550"/>
                <a:gd name="connsiteY2" fmla="*/ 1077031 h 1994638"/>
                <a:gd name="connsiteX3" fmla="*/ 424201 w 11194550"/>
                <a:gd name="connsiteY3" fmla="*/ 1416926 h 1994638"/>
                <a:gd name="connsiteX4" fmla="*/ 554483 w 11194550"/>
                <a:gd name="connsiteY4" fmla="*/ 1595370 h 1994638"/>
                <a:gd name="connsiteX5" fmla="*/ 608778 w 11194550"/>
                <a:gd name="connsiteY5" fmla="*/ 1790808 h 1994638"/>
                <a:gd name="connsiteX6" fmla="*/ 771642 w 11194550"/>
                <a:gd name="connsiteY6" fmla="*/ 1986246 h 1994638"/>
                <a:gd name="connsiteX7" fmla="*/ 934506 w 11194550"/>
                <a:gd name="connsiteY7" fmla="*/ 1858784 h 1994638"/>
                <a:gd name="connsiteX8" fmla="*/ 956220 w 11194550"/>
                <a:gd name="connsiteY8" fmla="*/ 1595370 h 1994638"/>
                <a:gd name="connsiteX9" fmla="*/ 1108215 w 11194550"/>
                <a:gd name="connsiteY9" fmla="*/ 1510401 h 1994638"/>
                <a:gd name="connsiteX10" fmla="*/ 1216783 w 11194550"/>
                <a:gd name="connsiteY10" fmla="*/ 1229994 h 1994638"/>
                <a:gd name="connsiteX11" fmla="*/ 1325351 w 11194550"/>
                <a:gd name="connsiteY11" fmla="*/ 873105 h 1994638"/>
                <a:gd name="connsiteX12" fmla="*/ 1477346 w 11194550"/>
                <a:gd name="connsiteY12" fmla="*/ 737154 h 1994638"/>
                <a:gd name="connsiteX13" fmla="*/ 1781337 w 11194550"/>
                <a:gd name="connsiteY13" fmla="*/ 737154 h 1994638"/>
                <a:gd name="connsiteX14" fmla="*/ 2356760 w 11194550"/>
                <a:gd name="connsiteY14" fmla="*/ 754148 h 1994638"/>
                <a:gd name="connsiteX15" fmla="*/ 3496759 w 11194550"/>
                <a:gd name="connsiteY15" fmla="*/ 754148 h 1994638"/>
                <a:gd name="connsiteX16" fmla="*/ 4191618 w 11194550"/>
                <a:gd name="connsiteY16" fmla="*/ 788136 h 1994638"/>
                <a:gd name="connsiteX17" fmla="*/ 4647628 w 11194550"/>
                <a:gd name="connsiteY17" fmla="*/ 728648 h 1994638"/>
                <a:gd name="connsiteX18" fmla="*/ 5125350 w 11194550"/>
                <a:gd name="connsiteY18" fmla="*/ 728648 h 1994638"/>
                <a:gd name="connsiteX19" fmla="*/ 5896219 w 11194550"/>
                <a:gd name="connsiteY19" fmla="*/ 771142 h 1994638"/>
                <a:gd name="connsiteX20" fmla="*/ 6775655 w 11194550"/>
                <a:gd name="connsiteY20" fmla="*/ 754148 h 1994638"/>
                <a:gd name="connsiteX21" fmla="*/ 7405373 w 11194550"/>
                <a:gd name="connsiteY21" fmla="*/ 762654 h 1994638"/>
                <a:gd name="connsiteX22" fmla="*/ 8241383 w 11194550"/>
                <a:gd name="connsiteY22" fmla="*/ 762654 h 1994638"/>
                <a:gd name="connsiteX23" fmla="*/ 9305396 w 11194550"/>
                <a:gd name="connsiteY23" fmla="*/ 788154 h 1994638"/>
                <a:gd name="connsiteX24" fmla="*/ 10054551 w 11194550"/>
                <a:gd name="connsiteY24" fmla="*/ 779648 h 1994638"/>
                <a:gd name="connsiteX25" fmla="*/ 10586546 w 11194550"/>
                <a:gd name="connsiteY25" fmla="*/ 771142 h 1994638"/>
                <a:gd name="connsiteX26" fmla="*/ 11064269 w 11194550"/>
                <a:gd name="connsiteY26" fmla="*/ 737154 h 1994638"/>
                <a:gd name="connsiteX27" fmla="*/ 11194550 w 11194550"/>
                <a:gd name="connsiteY27" fmla="*/ 754148 h 1994638"/>
                <a:gd name="connsiteX28" fmla="*/ 11194550 w 11194550"/>
                <a:gd name="connsiteY28" fmla="*/ 133791 h 1994638"/>
                <a:gd name="connsiteX29" fmla="*/ 11009974 w 11194550"/>
                <a:gd name="connsiteY29" fmla="*/ 65870 h 1994638"/>
                <a:gd name="connsiteX30" fmla="*/ 10195678 w 11194550"/>
                <a:gd name="connsiteY30" fmla="*/ 14889 h 1994638"/>
                <a:gd name="connsiteX31" fmla="*/ 9609387 w 11194550"/>
                <a:gd name="connsiteY31" fmla="*/ 108364 h 1994638"/>
                <a:gd name="connsiteX32" fmla="*/ 8708237 w 11194550"/>
                <a:gd name="connsiteY32" fmla="*/ 201839 h 1994638"/>
                <a:gd name="connsiteX33" fmla="*/ 7741946 w 11194550"/>
                <a:gd name="connsiteY33" fmla="*/ 201839 h 1994638"/>
                <a:gd name="connsiteX34" fmla="*/ 6015656 w 11194550"/>
                <a:gd name="connsiteY34" fmla="*/ 193333 h 1994638"/>
                <a:gd name="connsiteX35" fmla="*/ 4929928 w 11194550"/>
                <a:gd name="connsiteY35" fmla="*/ 65870 h 1994638"/>
                <a:gd name="connsiteX36" fmla="*/ 3138496 w 11194550"/>
                <a:gd name="connsiteY36" fmla="*/ 57364 h 1994638"/>
                <a:gd name="connsiteX37" fmla="*/ 2598674 w 11194550"/>
                <a:gd name="connsiteY37" fmla="*/ 66415 h 1994638"/>
                <a:gd name="connsiteX0" fmla="*/ 2523012 w 11118888"/>
                <a:gd name="connsiteY0" fmla="*/ 66415 h 1994638"/>
                <a:gd name="connsiteX1" fmla="*/ 2391070 w 11118888"/>
                <a:gd name="connsiteY1" fmla="*/ 622730 h 1994638"/>
                <a:gd name="connsiteX2" fmla="*/ 120534 w 11118888"/>
                <a:gd name="connsiteY2" fmla="*/ 1077031 h 1994638"/>
                <a:gd name="connsiteX3" fmla="*/ 348539 w 11118888"/>
                <a:gd name="connsiteY3" fmla="*/ 1416926 h 1994638"/>
                <a:gd name="connsiteX4" fmla="*/ 478821 w 11118888"/>
                <a:gd name="connsiteY4" fmla="*/ 1595370 h 1994638"/>
                <a:gd name="connsiteX5" fmla="*/ 533116 w 11118888"/>
                <a:gd name="connsiteY5" fmla="*/ 1790808 h 1994638"/>
                <a:gd name="connsiteX6" fmla="*/ 695980 w 11118888"/>
                <a:gd name="connsiteY6" fmla="*/ 1986246 h 1994638"/>
                <a:gd name="connsiteX7" fmla="*/ 858844 w 11118888"/>
                <a:gd name="connsiteY7" fmla="*/ 1858784 h 1994638"/>
                <a:gd name="connsiteX8" fmla="*/ 880558 w 11118888"/>
                <a:gd name="connsiteY8" fmla="*/ 1595370 h 1994638"/>
                <a:gd name="connsiteX9" fmla="*/ 1032553 w 11118888"/>
                <a:gd name="connsiteY9" fmla="*/ 1510401 h 1994638"/>
                <a:gd name="connsiteX10" fmla="*/ 1141121 w 11118888"/>
                <a:gd name="connsiteY10" fmla="*/ 1229994 h 1994638"/>
                <a:gd name="connsiteX11" fmla="*/ 1249689 w 11118888"/>
                <a:gd name="connsiteY11" fmla="*/ 873105 h 1994638"/>
                <a:gd name="connsiteX12" fmla="*/ 1401684 w 11118888"/>
                <a:gd name="connsiteY12" fmla="*/ 737154 h 1994638"/>
                <a:gd name="connsiteX13" fmla="*/ 1705675 w 11118888"/>
                <a:gd name="connsiteY13" fmla="*/ 737154 h 1994638"/>
                <a:gd name="connsiteX14" fmla="*/ 2281098 w 11118888"/>
                <a:gd name="connsiteY14" fmla="*/ 754148 h 1994638"/>
                <a:gd name="connsiteX15" fmla="*/ 3421097 w 11118888"/>
                <a:gd name="connsiteY15" fmla="*/ 754148 h 1994638"/>
                <a:gd name="connsiteX16" fmla="*/ 4115956 w 11118888"/>
                <a:gd name="connsiteY16" fmla="*/ 788136 h 1994638"/>
                <a:gd name="connsiteX17" fmla="*/ 4571966 w 11118888"/>
                <a:gd name="connsiteY17" fmla="*/ 728648 h 1994638"/>
                <a:gd name="connsiteX18" fmla="*/ 5049688 w 11118888"/>
                <a:gd name="connsiteY18" fmla="*/ 728648 h 1994638"/>
                <a:gd name="connsiteX19" fmla="*/ 5820557 w 11118888"/>
                <a:gd name="connsiteY19" fmla="*/ 771142 h 1994638"/>
                <a:gd name="connsiteX20" fmla="*/ 6699993 w 11118888"/>
                <a:gd name="connsiteY20" fmla="*/ 754148 h 1994638"/>
                <a:gd name="connsiteX21" fmla="*/ 7329711 w 11118888"/>
                <a:gd name="connsiteY21" fmla="*/ 762654 h 1994638"/>
                <a:gd name="connsiteX22" fmla="*/ 8165721 w 11118888"/>
                <a:gd name="connsiteY22" fmla="*/ 762654 h 1994638"/>
                <a:gd name="connsiteX23" fmla="*/ 9229734 w 11118888"/>
                <a:gd name="connsiteY23" fmla="*/ 788154 h 1994638"/>
                <a:gd name="connsiteX24" fmla="*/ 9978889 w 11118888"/>
                <a:gd name="connsiteY24" fmla="*/ 779648 h 1994638"/>
                <a:gd name="connsiteX25" fmla="*/ 10510884 w 11118888"/>
                <a:gd name="connsiteY25" fmla="*/ 771142 h 1994638"/>
                <a:gd name="connsiteX26" fmla="*/ 10988607 w 11118888"/>
                <a:gd name="connsiteY26" fmla="*/ 737154 h 1994638"/>
                <a:gd name="connsiteX27" fmla="*/ 11118888 w 11118888"/>
                <a:gd name="connsiteY27" fmla="*/ 754148 h 1994638"/>
                <a:gd name="connsiteX28" fmla="*/ 11118888 w 11118888"/>
                <a:gd name="connsiteY28" fmla="*/ 133791 h 1994638"/>
                <a:gd name="connsiteX29" fmla="*/ 10934312 w 11118888"/>
                <a:gd name="connsiteY29" fmla="*/ 65870 h 1994638"/>
                <a:gd name="connsiteX30" fmla="*/ 10120016 w 11118888"/>
                <a:gd name="connsiteY30" fmla="*/ 14889 h 1994638"/>
                <a:gd name="connsiteX31" fmla="*/ 9533725 w 11118888"/>
                <a:gd name="connsiteY31" fmla="*/ 108364 h 1994638"/>
                <a:gd name="connsiteX32" fmla="*/ 8632575 w 11118888"/>
                <a:gd name="connsiteY32" fmla="*/ 201839 h 1994638"/>
                <a:gd name="connsiteX33" fmla="*/ 7666284 w 11118888"/>
                <a:gd name="connsiteY33" fmla="*/ 201839 h 1994638"/>
                <a:gd name="connsiteX34" fmla="*/ 5939994 w 11118888"/>
                <a:gd name="connsiteY34" fmla="*/ 193333 h 1994638"/>
                <a:gd name="connsiteX35" fmla="*/ 4854266 w 11118888"/>
                <a:gd name="connsiteY35" fmla="*/ 65870 h 1994638"/>
                <a:gd name="connsiteX36" fmla="*/ 3062834 w 11118888"/>
                <a:gd name="connsiteY36" fmla="*/ 57364 h 1994638"/>
                <a:gd name="connsiteX37" fmla="*/ 2523012 w 11118888"/>
                <a:gd name="connsiteY37" fmla="*/ 66415 h 1994638"/>
                <a:gd name="connsiteX0" fmla="*/ 2523012 w 11118888"/>
                <a:gd name="connsiteY0" fmla="*/ 66415 h 1994638"/>
                <a:gd name="connsiteX1" fmla="*/ 2391070 w 11118888"/>
                <a:gd name="connsiteY1" fmla="*/ 622730 h 1994638"/>
                <a:gd name="connsiteX2" fmla="*/ 120534 w 11118888"/>
                <a:gd name="connsiteY2" fmla="*/ 1077031 h 1994638"/>
                <a:gd name="connsiteX3" fmla="*/ 348539 w 11118888"/>
                <a:gd name="connsiteY3" fmla="*/ 1416926 h 1994638"/>
                <a:gd name="connsiteX4" fmla="*/ 478821 w 11118888"/>
                <a:gd name="connsiteY4" fmla="*/ 1595370 h 1994638"/>
                <a:gd name="connsiteX5" fmla="*/ 533116 w 11118888"/>
                <a:gd name="connsiteY5" fmla="*/ 1790808 h 1994638"/>
                <a:gd name="connsiteX6" fmla="*/ 695980 w 11118888"/>
                <a:gd name="connsiteY6" fmla="*/ 1986246 h 1994638"/>
                <a:gd name="connsiteX7" fmla="*/ 858844 w 11118888"/>
                <a:gd name="connsiteY7" fmla="*/ 1858784 h 1994638"/>
                <a:gd name="connsiteX8" fmla="*/ 880558 w 11118888"/>
                <a:gd name="connsiteY8" fmla="*/ 1595370 h 1994638"/>
                <a:gd name="connsiteX9" fmla="*/ 1032553 w 11118888"/>
                <a:gd name="connsiteY9" fmla="*/ 1510401 h 1994638"/>
                <a:gd name="connsiteX10" fmla="*/ 1141121 w 11118888"/>
                <a:gd name="connsiteY10" fmla="*/ 1229994 h 1994638"/>
                <a:gd name="connsiteX11" fmla="*/ 1249689 w 11118888"/>
                <a:gd name="connsiteY11" fmla="*/ 873105 h 1994638"/>
                <a:gd name="connsiteX12" fmla="*/ 1401684 w 11118888"/>
                <a:gd name="connsiteY12" fmla="*/ 737154 h 1994638"/>
                <a:gd name="connsiteX13" fmla="*/ 1705675 w 11118888"/>
                <a:gd name="connsiteY13" fmla="*/ 737154 h 1994638"/>
                <a:gd name="connsiteX14" fmla="*/ 2281098 w 11118888"/>
                <a:gd name="connsiteY14" fmla="*/ 754148 h 1994638"/>
                <a:gd name="connsiteX15" fmla="*/ 3421097 w 11118888"/>
                <a:gd name="connsiteY15" fmla="*/ 754148 h 1994638"/>
                <a:gd name="connsiteX16" fmla="*/ 4115956 w 11118888"/>
                <a:gd name="connsiteY16" fmla="*/ 788136 h 1994638"/>
                <a:gd name="connsiteX17" fmla="*/ 4571966 w 11118888"/>
                <a:gd name="connsiteY17" fmla="*/ 728648 h 1994638"/>
                <a:gd name="connsiteX18" fmla="*/ 5049688 w 11118888"/>
                <a:gd name="connsiteY18" fmla="*/ 728648 h 1994638"/>
                <a:gd name="connsiteX19" fmla="*/ 5820557 w 11118888"/>
                <a:gd name="connsiteY19" fmla="*/ 771142 h 1994638"/>
                <a:gd name="connsiteX20" fmla="*/ 6699993 w 11118888"/>
                <a:gd name="connsiteY20" fmla="*/ 754148 h 1994638"/>
                <a:gd name="connsiteX21" fmla="*/ 7329711 w 11118888"/>
                <a:gd name="connsiteY21" fmla="*/ 762654 h 1994638"/>
                <a:gd name="connsiteX22" fmla="*/ 8165721 w 11118888"/>
                <a:gd name="connsiteY22" fmla="*/ 762654 h 1994638"/>
                <a:gd name="connsiteX23" fmla="*/ 9229734 w 11118888"/>
                <a:gd name="connsiteY23" fmla="*/ 788154 h 1994638"/>
                <a:gd name="connsiteX24" fmla="*/ 9978889 w 11118888"/>
                <a:gd name="connsiteY24" fmla="*/ 779648 h 1994638"/>
                <a:gd name="connsiteX25" fmla="*/ 10510884 w 11118888"/>
                <a:gd name="connsiteY25" fmla="*/ 771142 h 1994638"/>
                <a:gd name="connsiteX26" fmla="*/ 10988607 w 11118888"/>
                <a:gd name="connsiteY26" fmla="*/ 737154 h 1994638"/>
                <a:gd name="connsiteX27" fmla="*/ 11118888 w 11118888"/>
                <a:gd name="connsiteY27" fmla="*/ 754148 h 1994638"/>
                <a:gd name="connsiteX28" fmla="*/ 11118888 w 11118888"/>
                <a:gd name="connsiteY28" fmla="*/ 133791 h 1994638"/>
                <a:gd name="connsiteX29" fmla="*/ 10934312 w 11118888"/>
                <a:gd name="connsiteY29" fmla="*/ 65870 h 1994638"/>
                <a:gd name="connsiteX30" fmla="*/ 10120016 w 11118888"/>
                <a:gd name="connsiteY30" fmla="*/ 14889 h 1994638"/>
                <a:gd name="connsiteX31" fmla="*/ 9533725 w 11118888"/>
                <a:gd name="connsiteY31" fmla="*/ 108364 h 1994638"/>
                <a:gd name="connsiteX32" fmla="*/ 8632575 w 11118888"/>
                <a:gd name="connsiteY32" fmla="*/ 201839 h 1994638"/>
                <a:gd name="connsiteX33" fmla="*/ 7666284 w 11118888"/>
                <a:gd name="connsiteY33" fmla="*/ 201839 h 1994638"/>
                <a:gd name="connsiteX34" fmla="*/ 5939994 w 11118888"/>
                <a:gd name="connsiteY34" fmla="*/ 193333 h 1994638"/>
                <a:gd name="connsiteX35" fmla="*/ 4854266 w 11118888"/>
                <a:gd name="connsiteY35" fmla="*/ 65870 h 1994638"/>
                <a:gd name="connsiteX36" fmla="*/ 3062834 w 11118888"/>
                <a:gd name="connsiteY36" fmla="*/ 57364 h 1994638"/>
                <a:gd name="connsiteX37" fmla="*/ 2523012 w 11118888"/>
                <a:gd name="connsiteY37" fmla="*/ 66415 h 1994638"/>
                <a:gd name="connsiteX0" fmla="*/ 2532379 w 11128255"/>
                <a:gd name="connsiteY0" fmla="*/ 66415 h 1994638"/>
                <a:gd name="connsiteX1" fmla="*/ 129901 w 11128255"/>
                <a:gd name="connsiteY1" fmla="*/ 1077031 h 1994638"/>
                <a:gd name="connsiteX2" fmla="*/ 357906 w 11128255"/>
                <a:gd name="connsiteY2" fmla="*/ 1416926 h 1994638"/>
                <a:gd name="connsiteX3" fmla="*/ 488188 w 11128255"/>
                <a:gd name="connsiteY3" fmla="*/ 1595370 h 1994638"/>
                <a:gd name="connsiteX4" fmla="*/ 542483 w 11128255"/>
                <a:gd name="connsiteY4" fmla="*/ 1790808 h 1994638"/>
                <a:gd name="connsiteX5" fmla="*/ 705347 w 11128255"/>
                <a:gd name="connsiteY5" fmla="*/ 1986246 h 1994638"/>
                <a:gd name="connsiteX6" fmla="*/ 868211 w 11128255"/>
                <a:gd name="connsiteY6" fmla="*/ 1858784 h 1994638"/>
                <a:gd name="connsiteX7" fmla="*/ 889925 w 11128255"/>
                <a:gd name="connsiteY7" fmla="*/ 1595370 h 1994638"/>
                <a:gd name="connsiteX8" fmla="*/ 1041920 w 11128255"/>
                <a:gd name="connsiteY8" fmla="*/ 1510401 h 1994638"/>
                <a:gd name="connsiteX9" fmla="*/ 1150488 w 11128255"/>
                <a:gd name="connsiteY9" fmla="*/ 1229994 h 1994638"/>
                <a:gd name="connsiteX10" fmla="*/ 1259056 w 11128255"/>
                <a:gd name="connsiteY10" fmla="*/ 873105 h 1994638"/>
                <a:gd name="connsiteX11" fmla="*/ 1411051 w 11128255"/>
                <a:gd name="connsiteY11" fmla="*/ 737154 h 1994638"/>
                <a:gd name="connsiteX12" fmla="*/ 1715042 w 11128255"/>
                <a:gd name="connsiteY12" fmla="*/ 737154 h 1994638"/>
                <a:gd name="connsiteX13" fmla="*/ 2290465 w 11128255"/>
                <a:gd name="connsiteY13" fmla="*/ 754148 h 1994638"/>
                <a:gd name="connsiteX14" fmla="*/ 3430464 w 11128255"/>
                <a:gd name="connsiteY14" fmla="*/ 754148 h 1994638"/>
                <a:gd name="connsiteX15" fmla="*/ 4125323 w 11128255"/>
                <a:gd name="connsiteY15" fmla="*/ 788136 h 1994638"/>
                <a:gd name="connsiteX16" fmla="*/ 4581333 w 11128255"/>
                <a:gd name="connsiteY16" fmla="*/ 728648 h 1994638"/>
                <a:gd name="connsiteX17" fmla="*/ 5059055 w 11128255"/>
                <a:gd name="connsiteY17" fmla="*/ 728648 h 1994638"/>
                <a:gd name="connsiteX18" fmla="*/ 5829924 w 11128255"/>
                <a:gd name="connsiteY18" fmla="*/ 771142 h 1994638"/>
                <a:gd name="connsiteX19" fmla="*/ 6709360 w 11128255"/>
                <a:gd name="connsiteY19" fmla="*/ 754148 h 1994638"/>
                <a:gd name="connsiteX20" fmla="*/ 7339078 w 11128255"/>
                <a:gd name="connsiteY20" fmla="*/ 762654 h 1994638"/>
                <a:gd name="connsiteX21" fmla="*/ 8175088 w 11128255"/>
                <a:gd name="connsiteY21" fmla="*/ 762654 h 1994638"/>
                <a:gd name="connsiteX22" fmla="*/ 9239101 w 11128255"/>
                <a:gd name="connsiteY22" fmla="*/ 788154 h 1994638"/>
                <a:gd name="connsiteX23" fmla="*/ 9988256 w 11128255"/>
                <a:gd name="connsiteY23" fmla="*/ 779648 h 1994638"/>
                <a:gd name="connsiteX24" fmla="*/ 10520251 w 11128255"/>
                <a:gd name="connsiteY24" fmla="*/ 771142 h 1994638"/>
                <a:gd name="connsiteX25" fmla="*/ 10997974 w 11128255"/>
                <a:gd name="connsiteY25" fmla="*/ 737154 h 1994638"/>
                <a:gd name="connsiteX26" fmla="*/ 11128255 w 11128255"/>
                <a:gd name="connsiteY26" fmla="*/ 754148 h 1994638"/>
                <a:gd name="connsiteX27" fmla="*/ 11128255 w 11128255"/>
                <a:gd name="connsiteY27" fmla="*/ 133791 h 1994638"/>
                <a:gd name="connsiteX28" fmla="*/ 10943679 w 11128255"/>
                <a:gd name="connsiteY28" fmla="*/ 65870 h 1994638"/>
                <a:gd name="connsiteX29" fmla="*/ 10129383 w 11128255"/>
                <a:gd name="connsiteY29" fmla="*/ 14889 h 1994638"/>
                <a:gd name="connsiteX30" fmla="*/ 9543092 w 11128255"/>
                <a:gd name="connsiteY30" fmla="*/ 108364 h 1994638"/>
                <a:gd name="connsiteX31" fmla="*/ 8641942 w 11128255"/>
                <a:gd name="connsiteY31" fmla="*/ 201839 h 1994638"/>
                <a:gd name="connsiteX32" fmla="*/ 7675651 w 11128255"/>
                <a:gd name="connsiteY32" fmla="*/ 201839 h 1994638"/>
                <a:gd name="connsiteX33" fmla="*/ 5949361 w 11128255"/>
                <a:gd name="connsiteY33" fmla="*/ 193333 h 1994638"/>
                <a:gd name="connsiteX34" fmla="*/ 4863633 w 11128255"/>
                <a:gd name="connsiteY34" fmla="*/ 65870 h 1994638"/>
                <a:gd name="connsiteX35" fmla="*/ 3072201 w 11128255"/>
                <a:gd name="connsiteY35" fmla="*/ 57364 h 1994638"/>
                <a:gd name="connsiteX36" fmla="*/ 2532379 w 11128255"/>
                <a:gd name="connsiteY36" fmla="*/ 66415 h 1994638"/>
                <a:gd name="connsiteX0" fmla="*/ 2290884 w 10886760"/>
                <a:gd name="connsiteY0" fmla="*/ 66415 h 1994638"/>
                <a:gd name="connsiteX1" fmla="*/ 2173324 w 10886760"/>
                <a:gd name="connsiteY1" fmla="*/ 625754 h 1994638"/>
                <a:gd name="connsiteX2" fmla="*/ 116411 w 10886760"/>
                <a:gd name="connsiteY2" fmla="*/ 1416926 h 1994638"/>
                <a:gd name="connsiteX3" fmla="*/ 246693 w 10886760"/>
                <a:gd name="connsiteY3" fmla="*/ 1595370 h 1994638"/>
                <a:gd name="connsiteX4" fmla="*/ 300988 w 10886760"/>
                <a:gd name="connsiteY4" fmla="*/ 1790808 h 1994638"/>
                <a:gd name="connsiteX5" fmla="*/ 463852 w 10886760"/>
                <a:gd name="connsiteY5" fmla="*/ 1986246 h 1994638"/>
                <a:gd name="connsiteX6" fmla="*/ 626716 w 10886760"/>
                <a:gd name="connsiteY6" fmla="*/ 1858784 h 1994638"/>
                <a:gd name="connsiteX7" fmla="*/ 648430 w 10886760"/>
                <a:gd name="connsiteY7" fmla="*/ 1595370 h 1994638"/>
                <a:gd name="connsiteX8" fmla="*/ 800425 w 10886760"/>
                <a:gd name="connsiteY8" fmla="*/ 1510401 h 1994638"/>
                <a:gd name="connsiteX9" fmla="*/ 908993 w 10886760"/>
                <a:gd name="connsiteY9" fmla="*/ 1229994 h 1994638"/>
                <a:gd name="connsiteX10" fmla="*/ 1017561 w 10886760"/>
                <a:gd name="connsiteY10" fmla="*/ 873105 h 1994638"/>
                <a:gd name="connsiteX11" fmla="*/ 1169556 w 10886760"/>
                <a:gd name="connsiteY11" fmla="*/ 737154 h 1994638"/>
                <a:gd name="connsiteX12" fmla="*/ 1473547 w 10886760"/>
                <a:gd name="connsiteY12" fmla="*/ 737154 h 1994638"/>
                <a:gd name="connsiteX13" fmla="*/ 2048970 w 10886760"/>
                <a:gd name="connsiteY13" fmla="*/ 754148 h 1994638"/>
                <a:gd name="connsiteX14" fmla="*/ 3188969 w 10886760"/>
                <a:gd name="connsiteY14" fmla="*/ 754148 h 1994638"/>
                <a:gd name="connsiteX15" fmla="*/ 3883828 w 10886760"/>
                <a:gd name="connsiteY15" fmla="*/ 788136 h 1994638"/>
                <a:gd name="connsiteX16" fmla="*/ 4339838 w 10886760"/>
                <a:gd name="connsiteY16" fmla="*/ 728648 h 1994638"/>
                <a:gd name="connsiteX17" fmla="*/ 4817560 w 10886760"/>
                <a:gd name="connsiteY17" fmla="*/ 728648 h 1994638"/>
                <a:gd name="connsiteX18" fmla="*/ 5588429 w 10886760"/>
                <a:gd name="connsiteY18" fmla="*/ 771142 h 1994638"/>
                <a:gd name="connsiteX19" fmla="*/ 6467865 w 10886760"/>
                <a:gd name="connsiteY19" fmla="*/ 754148 h 1994638"/>
                <a:gd name="connsiteX20" fmla="*/ 7097583 w 10886760"/>
                <a:gd name="connsiteY20" fmla="*/ 762654 h 1994638"/>
                <a:gd name="connsiteX21" fmla="*/ 7933593 w 10886760"/>
                <a:gd name="connsiteY21" fmla="*/ 762654 h 1994638"/>
                <a:gd name="connsiteX22" fmla="*/ 8997606 w 10886760"/>
                <a:gd name="connsiteY22" fmla="*/ 788154 h 1994638"/>
                <a:gd name="connsiteX23" fmla="*/ 9746761 w 10886760"/>
                <a:gd name="connsiteY23" fmla="*/ 779648 h 1994638"/>
                <a:gd name="connsiteX24" fmla="*/ 10278756 w 10886760"/>
                <a:gd name="connsiteY24" fmla="*/ 771142 h 1994638"/>
                <a:gd name="connsiteX25" fmla="*/ 10756479 w 10886760"/>
                <a:gd name="connsiteY25" fmla="*/ 737154 h 1994638"/>
                <a:gd name="connsiteX26" fmla="*/ 10886760 w 10886760"/>
                <a:gd name="connsiteY26" fmla="*/ 754148 h 1994638"/>
                <a:gd name="connsiteX27" fmla="*/ 10886760 w 10886760"/>
                <a:gd name="connsiteY27" fmla="*/ 133791 h 1994638"/>
                <a:gd name="connsiteX28" fmla="*/ 10702184 w 10886760"/>
                <a:gd name="connsiteY28" fmla="*/ 65870 h 1994638"/>
                <a:gd name="connsiteX29" fmla="*/ 9887888 w 10886760"/>
                <a:gd name="connsiteY29" fmla="*/ 14889 h 1994638"/>
                <a:gd name="connsiteX30" fmla="*/ 9301597 w 10886760"/>
                <a:gd name="connsiteY30" fmla="*/ 108364 h 1994638"/>
                <a:gd name="connsiteX31" fmla="*/ 8400447 w 10886760"/>
                <a:gd name="connsiteY31" fmla="*/ 201839 h 1994638"/>
                <a:gd name="connsiteX32" fmla="*/ 7434156 w 10886760"/>
                <a:gd name="connsiteY32" fmla="*/ 201839 h 1994638"/>
                <a:gd name="connsiteX33" fmla="*/ 5707866 w 10886760"/>
                <a:gd name="connsiteY33" fmla="*/ 193333 h 1994638"/>
                <a:gd name="connsiteX34" fmla="*/ 4622138 w 10886760"/>
                <a:gd name="connsiteY34" fmla="*/ 65870 h 1994638"/>
                <a:gd name="connsiteX35" fmla="*/ 2830706 w 10886760"/>
                <a:gd name="connsiteY35" fmla="*/ 57364 h 1994638"/>
                <a:gd name="connsiteX36" fmla="*/ 2290884 w 10886760"/>
                <a:gd name="connsiteY36" fmla="*/ 66415 h 1994638"/>
                <a:gd name="connsiteX0" fmla="*/ 2179017 w 10774893"/>
                <a:gd name="connsiteY0" fmla="*/ 66415 h 1994638"/>
                <a:gd name="connsiteX1" fmla="*/ 2061457 w 10774893"/>
                <a:gd name="connsiteY1" fmla="*/ 625754 h 1994638"/>
                <a:gd name="connsiteX2" fmla="*/ 134826 w 10774893"/>
                <a:gd name="connsiteY2" fmla="*/ 1595370 h 1994638"/>
                <a:gd name="connsiteX3" fmla="*/ 189121 w 10774893"/>
                <a:gd name="connsiteY3" fmla="*/ 1790808 h 1994638"/>
                <a:gd name="connsiteX4" fmla="*/ 351985 w 10774893"/>
                <a:gd name="connsiteY4" fmla="*/ 1986246 h 1994638"/>
                <a:gd name="connsiteX5" fmla="*/ 514849 w 10774893"/>
                <a:gd name="connsiteY5" fmla="*/ 1858784 h 1994638"/>
                <a:gd name="connsiteX6" fmla="*/ 536563 w 10774893"/>
                <a:gd name="connsiteY6" fmla="*/ 1595370 h 1994638"/>
                <a:gd name="connsiteX7" fmla="*/ 688558 w 10774893"/>
                <a:gd name="connsiteY7" fmla="*/ 1510401 h 1994638"/>
                <a:gd name="connsiteX8" fmla="*/ 797126 w 10774893"/>
                <a:gd name="connsiteY8" fmla="*/ 1229994 h 1994638"/>
                <a:gd name="connsiteX9" fmla="*/ 905694 w 10774893"/>
                <a:gd name="connsiteY9" fmla="*/ 873105 h 1994638"/>
                <a:gd name="connsiteX10" fmla="*/ 1057689 w 10774893"/>
                <a:gd name="connsiteY10" fmla="*/ 737154 h 1994638"/>
                <a:gd name="connsiteX11" fmla="*/ 1361680 w 10774893"/>
                <a:gd name="connsiteY11" fmla="*/ 737154 h 1994638"/>
                <a:gd name="connsiteX12" fmla="*/ 1937103 w 10774893"/>
                <a:gd name="connsiteY12" fmla="*/ 754148 h 1994638"/>
                <a:gd name="connsiteX13" fmla="*/ 3077102 w 10774893"/>
                <a:gd name="connsiteY13" fmla="*/ 754148 h 1994638"/>
                <a:gd name="connsiteX14" fmla="*/ 3771961 w 10774893"/>
                <a:gd name="connsiteY14" fmla="*/ 788136 h 1994638"/>
                <a:gd name="connsiteX15" fmla="*/ 4227971 w 10774893"/>
                <a:gd name="connsiteY15" fmla="*/ 728648 h 1994638"/>
                <a:gd name="connsiteX16" fmla="*/ 4705693 w 10774893"/>
                <a:gd name="connsiteY16" fmla="*/ 728648 h 1994638"/>
                <a:gd name="connsiteX17" fmla="*/ 5476562 w 10774893"/>
                <a:gd name="connsiteY17" fmla="*/ 771142 h 1994638"/>
                <a:gd name="connsiteX18" fmla="*/ 6355998 w 10774893"/>
                <a:gd name="connsiteY18" fmla="*/ 754148 h 1994638"/>
                <a:gd name="connsiteX19" fmla="*/ 6985716 w 10774893"/>
                <a:gd name="connsiteY19" fmla="*/ 762654 h 1994638"/>
                <a:gd name="connsiteX20" fmla="*/ 7821726 w 10774893"/>
                <a:gd name="connsiteY20" fmla="*/ 762654 h 1994638"/>
                <a:gd name="connsiteX21" fmla="*/ 8885739 w 10774893"/>
                <a:gd name="connsiteY21" fmla="*/ 788154 h 1994638"/>
                <a:gd name="connsiteX22" fmla="*/ 9634894 w 10774893"/>
                <a:gd name="connsiteY22" fmla="*/ 779648 h 1994638"/>
                <a:gd name="connsiteX23" fmla="*/ 10166889 w 10774893"/>
                <a:gd name="connsiteY23" fmla="*/ 771142 h 1994638"/>
                <a:gd name="connsiteX24" fmla="*/ 10644612 w 10774893"/>
                <a:gd name="connsiteY24" fmla="*/ 737154 h 1994638"/>
                <a:gd name="connsiteX25" fmla="*/ 10774893 w 10774893"/>
                <a:gd name="connsiteY25" fmla="*/ 754148 h 1994638"/>
                <a:gd name="connsiteX26" fmla="*/ 10774893 w 10774893"/>
                <a:gd name="connsiteY26" fmla="*/ 133791 h 1994638"/>
                <a:gd name="connsiteX27" fmla="*/ 10590317 w 10774893"/>
                <a:gd name="connsiteY27" fmla="*/ 65870 h 1994638"/>
                <a:gd name="connsiteX28" fmla="*/ 9776021 w 10774893"/>
                <a:gd name="connsiteY28" fmla="*/ 14889 h 1994638"/>
                <a:gd name="connsiteX29" fmla="*/ 9189730 w 10774893"/>
                <a:gd name="connsiteY29" fmla="*/ 108364 h 1994638"/>
                <a:gd name="connsiteX30" fmla="*/ 8288580 w 10774893"/>
                <a:gd name="connsiteY30" fmla="*/ 201839 h 1994638"/>
                <a:gd name="connsiteX31" fmla="*/ 7322289 w 10774893"/>
                <a:gd name="connsiteY31" fmla="*/ 201839 h 1994638"/>
                <a:gd name="connsiteX32" fmla="*/ 5595999 w 10774893"/>
                <a:gd name="connsiteY32" fmla="*/ 193333 h 1994638"/>
                <a:gd name="connsiteX33" fmla="*/ 4510271 w 10774893"/>
                <a:gd name="connsiteY33" fmla="*/ 65870 h 1994638"/>
                <a:gd name="connsiteX34" fmla="*/ 2718839 w 10774893"/>
                <a:gd name="connsiteY34" fmla="*/ 57364 h 1994638"/>
                <a:gd name="connsiteX35" fmla="*/ 2179017 w 10774893"/>
                <a:gd name="connsiteY35" fmla="*/ 66415 h 1994638"/>
                <a:gd name="connsiteX0" fmla="*/ 2100767 w 10696643"/>
                <a:gd name="connsiteY0" fmla="*/ 66415 h 2006207"/>
                <a:gd name="connsiteX1" fmla="*/ 1983207 w 10696643"/>
                <a:gd name="connsiteY1" fmla="*/ 625754 h 2006207"/>
                <a:gd name="connsiteX2" fmla="*/ 110871 w 10696643"/>
                <a:gd name="connsiteY2" fmla="*/ 1790808 h 2006207"/>
                <a:gd name="connsiteX3" fmla="*/ 273735 w 10696643"/>
                <a:gd name="connsiteY3" fmla="*/ 1986246 h 2006207"/>
                <a:gd name="connsiteX4" fmla="*/ 436599 w 10696643"/>
                <a:gd name="connsiteY4" fmla="*/ 1858784 h 2006207"/>
                <a:gd name="connsiteX5" fmla="*/ 458313 w 10696643"/>
                <a:gd name="connsiteY5" fmla="*/ 1595370 h 2006207"/>
                <a:gd name="connsiteX6" fmla="*/ 610308 w 10696643"/>
                <a:gd name="connsiteY6" fmla="*/ 1510401 h 2006207"/>
                <a:gd name="connsiteX7" fmla="*/ 718876 w 10696643"/>
                <a:gd name="connsiteY7" fmla="*/ 1229994 h 2006207"/>
                <a:gd name="connsiteX8" fmla="*/ 827444 w 10696643"/>
                <a:gd name="connsiteY8" fmla="*/ 873105 h 2006207"/>
                <a:gd name="connsiteX9" fmla="*/ 979439 w 10696643"/>
                <a:gd name="connsiteY9" fmla="*/ 737154 h 2006207"/>
                <a:gd name="connsiteX10" fmla="*/ 1283430 w 10696643"/>
                <a:gd name="connsiteY10" fmla="*/ 737154 h 2006207"/>
                <a:gd name="connsiteX11" fmla="*/ 1858853 w 10696643"/>
                <a:gd name="connsiteY11" fmla="*/ 754148 h 2006207"/>
                <a:gd name="connsiteX12" fmla="*/ 2998852 w 10696643"/>
                <a:gd name="connsiteY12" fmla="*/ 754148 h 2006207"/>
                <a:gd name="connsiteX13" fmla="*/ 3693711 w 10696643"/>
                <a:gd name="connsiteY13" fmla="*/ 788136 h 2006207"/>
                <a:gd name="connsiteX14" fmla="*/ 4149721 w 10696643"/>
                <a:gd name="connsiteY14" fmla="*/ 728648 h 2006207"/>
                <a:gd name="connsiteX15" fmla="*/ 4627443 w 10696643"/>
                <a:gd name="connsiteY15" fmla="*/ 728648 h 2006207"/>
                <a:gd name="connsiteX16" fmla="*/ 5398312 w 10696643"/>
                <a:gd name="connsiteY16" fmla="*/ 771142 h 2006207"/>
                <a:gd name="connsiteX17" fmla="*/ 6277748 w 10696643"/>
                <a:gd name="connsiteY17" fmla="*/ 754148 h 2006207"/>
                <a:gd name="connsiteX18" fmla="*/ 6907466 w 10696643"/>
                <a:gd name="connsiteY18" fmla="*/ 762654 h 2006207"/>
                <a:gd name="connsiteX19" fmla="*/ 7743476 w 10696643"/>
                <a:gd name="connsiteY19" fmla="*/ 762654 h 2006207"/>
                <a:gd name="connsiteX20" fmla="*/ 8807489 w 10696643"/>
                <a:gd name="connsiteY20" fmla="*/ 788154 h 2006207"/>
                <a:gd name="connsiteX21" fmla="*/ 9556644 w 10696643"/>
                <a:gd name="connsiteY21" fmla="*/ 779648 h 2006207"/>
                <a:gd name="connsiteX22" fmla="*/ 10088639 w 10696643"/>
                <a:gd name="connsiteY22" fmla="*/ 771142 h 2006207"/>
                <a:gd name="connsiteX23" fmla="*/ 10566362 w 10696643"/>
                <a:gd name="connsiteY23" fmla="*/ 737154 h 2006207"/>
                <a:gd name="connsiteX24" fmla="*/ 10696643 w 10696643"/>
                <a:gd name="connsiteY24" fmla="*/ 754148 h 2006207"/>
                <a:gd name="connsiteX25" fmla="*/ 10696643 w 10696643"/>
                <a:gd name="connsiteY25" fmla="*/ 133791 h 2006207"/>
                <a:gd name="connsiteX26" fmla="*/ 10512067 w 10696643"/>
                <a:gd name="connsiteY26" fmla="*/ 65870 h 2006207"/>
                <a:gd name="connsiteX27" fmla="*/ 9697771 w 10696643"/>
                <a:gd name="connsiteY27" fmla="*/ 14889 h 2006207"/>
                <a:gd name="connsiteX28" fmla="*/ 9111480 w 10696643"/>
                <a:gd name="connsiteY28" fmla="*/ 108364 h 2006207"/>
                <a:gd name="connsiteX29" fmla="*/ 8210330 w 10696643"/>
                <a:gd name="connsiteY29" fmla="*/ 201839 h 2006207"/>
                <a:gd name="connsiteX30" fmla="*/ 7244039 w 10696643"/>
                <a:gd name="connsiteY30" fmla="*/ 201839 h 2006207"/>
                <a:gd name="connsiteX31" fmla="*/ 5517749 w 10696643"/>
                <a:gd name="connsiteY31" fmla="*/ 193333 h 2006207"/>
                <a:gd name="connsiteX32" fmla="*/ 4432021 w 10696643"/>
                <a:gd name="connsiteY32" fmla="*/ 65870 h 2006207"/>
                <a:gd name="connsiteX33" fmla="*/ 2640589 w 10696643"/>
                <a:gd name="connsiteY33" fmla="*/ 57364 h 2006207"/>
                <a:gd name="connsiteX34" fmla="*/ 2100767 w 10696643"/>
                <a:gd name="connsiteY34" fmla="*/ 66415 h 2006207"/>
                <a:gd name="connsiteX0" fmla="*/ 1827032 w 10422908"/>
                <a:gd name="connsiteY0" fmla="*/ 66415 h 1986245"/>
                <a:gd name="connsiteX1" fmla="*/ 1709472 w 10422908"/>
                <a:gd name="connsiteY1" fmla="*/ 625754 h 1986245"/>
                <a:gd name="connsiteX2" fmla="*/ 0 w 10422908"/>
                <a:gd name="connsiteY2" fmla="*/ 1986246 h 1986245"/>
                <a:gd name="connsiteX3" fmla="*/ 162864 w 10422908"/>
                <a:gd name="connsiteY3" fmla="*/ 1858784 h 1986245"/>
                <a:gd name="connsiteX4" fmla="*/ 184578 w 10422908"/>
                <a:gd name="connsiteY4" fmla="*/ 1595370 h 1986245"/>
                <a:gd name="connsiteX5" fmla="*/ 336573 w 10422908"/>
                <a:gd name="connsiteY5" fmla="*/ 1510401 h 1986245"/>
                <a:gd name="connsiteX6" fmla="*/ 445141 w 10422908"/>
                <a:gd name="connsiteY6" fmla="*/ 1229994 h 1986245"/>
                <a:gd name="connsiteX7" fmla="*/ 553709 w 10422908"/>
                <a:gd name="connsiteY7" fmla="*/ 873105 h 1986245"/>
                <a:gd name="connsiteX8" fmla="*/ 705704 w 10422908"/>
                <a:gd name="connsiteY8" fmla="*/ 737154 h 1986245"/>
                <a:gd name="connsiteX9" fmla="*/ 1009695 w 10422908"/>
                <a:gd name="connsiteY9" fmla="*/ 737154 h 1986245"/>
                <a:gd name="connsiteX10" fmla="*/ 1585118 w 10422908"/>
                <a:gd name="connsiteY10" fmla="*/ 754148 h 1986245"/>
                <a:gd name="connsiteX11" fmla="*/ 2725117 w 10422908"/>
                <a:gd name="connsiteY11" fmla="*/ 754148 h 1986245"/>
                <a:gd name="connsiteX12" fmla="*/ 3419976 w 10422908"/>
                <a:gd name="connsiteY12" fmla="*/ 788136 h 1986245"/>
                <a:gd name="connsiteX13" fmla="*/ 3875986 w 10422908"/>
                <a:gd name="connsiteY13" fmla="*/ 728648 h 1986245"/>
                <a:gd name="connsiteX14" fmla="*/ 4353708 w 10422908"/>
                <a:gd name="connsiteY14" fmla="*/ 728648 h 1986245"/>
                <a:gd name="connsiteX15" fmla="*/ 5124577 w 10422908"/>
                <a:gd name="connsiteY15" fmla="*/ 771142 h 1986245"/>
                <a:gd name="connsiteX16" fmla="*/ 6004013 w 10422908"/>
                <a:gd name="connsiteY16" fmla="*/ 754148 h 1986245"/>
                <a:gd name="connsiteX17" fmla="*/ 6633731 w 10422908"/>
                <a:gd name="connsiteY17" fmla="*/ 762654 h 1986245"/>
                <a:gd name="connsiteX18" fmla="*/ 7469741 w 10422908"/>
                <a:gd name="connsiteY18" fmla="*/ 762654 h 1986245"/>
                <a:gd name="connsiteX19" fmla="*/ 8533754 w 10422908"/>
                <a:gd name="connsiteY19" fmla="*/ 788154 h 1986245"/>
                <a:gd name="connsiteX20" fmla="*/ 9282909 w 10422908"/>
                <a:gd name="connsiteY20" fmla="*/ 779648 h 1986245"/>
                <a:gd name="connsiteX21" fmla="*/ 9814904 w 10422908"/>
                <a:gd name="connsiteY21" fmla="*/ 771142 h 1986245"/>
                <a:gd name="connsiteX22" fmla="*/ 10292627 w 10422908"/>
                <a:gd name="connsiteY22" fmla="*/ 737154 h 1986245"/>
                <a:gd name="connsiteX23" fmla="*/ 10422908 w 10422908"/>
                <a:gd name="connsiteY23" fmla="*/ 754148 h 1986245"/>
                <a:gd name="connsiteX24" fmla="*/ 10422908 w 10422908"/>
                <a:gd name="connsiteY24" fmla="*/ 133791 h 1986245"/>
                <a:gd name="connsiteX25" fmla="*/ 10238332 w 10422908"/>
                <a:gd name="connsiteY25" fmla="*/ 65870 h 1986245"/>
                <a:gd name="connsiteX26" fmla="*/ 9424036 w 10422908"/>
                <a:gd name="connsiteY26" fmla="*/ 14889 h 1986245"/>
                <a:gd name="connsiteX27" fmla="*/ 8837745 w 10422908"/>
                <a:gd name="connsiteY27" fmla="*/ 108364 h 1986245"/>
                <a:gd name="connsiteX28" fmla="*/ 7936595 w 10422908"/>
                <a:gd name="connsiteY28" fmla="*/ 201839 h 1986245"/>
                <a:gd name="connsiteX29" fmla="*/ 6970304 w 10422908"/>
                <a:gd name="connsiteY29" fmla="*/ 201839 h 1986245"/>
                <a:gd name="connsiteX30" fmla="*/ 5244014 w 10422908"/>
                <a:gd name="connsiteY30" fmla="*/ 193333 h 1986245"/>
                <a:gd name="connsiteX31" fmla="*/ 4158286 w 10422908"/>
                <a:gd name="connsiteY31" fmla="*/ 65870 h 1986245"/>
                <a:gd name="connsiteX32" fmla="*/ 2366854 w 10422908"/>
                <a:gd name="connsiteY32" fmla="*/ 57364 h 1986245"/>
                <a:gd name="connsiteX33" fmla="*/ 1827032 w 10422908"/>
                <a:gd name="connsiteY33" fmla="*/ 66415 h 1986245"/>
                <a:gd name="connsiteX0" fmla="*/ 1786453 w 10382329"/>
                <a:gd name="connsiteY0" fmla="*/ 66415 h 1901488"/>
                <a:gd name="connsiteX1" fmla="*/ 1668893 w 10382329"/>
                <a:gd name="connsiteY1" fmla="*/ 625754 h 1901488"/>
                <a:gd name="connsiteX2" fmla="*/ 122285 w 10382329"/>
                <a:gd name="connsiteY2" fmla="*/ 1858784 h 1901488"/>
                <a:gd name="connsiteX3" fmla="*/ 143999 w 10382329"/>
                <a:gd name="connsiteY3" fmla="*/ 1595370 h 1901488"/>
                <a:gd name="connsiteX4" fmla="*/ 295994 w 10382329"/>
                <a:gd name="connsiteY4" fmla="*/ 1510401 h 1901488"/>
                <a:gd name="connsiteX5" fmla="*/ 404562 w 10382329"/>
                <a:gd name="connsiteY5" fmla="*/ 1229994 h 1901488"/>
                <a:gd name="connsiteX6" fmla="*/ 513130 w 10382329"/>
                <a:gd name="connsiteY6" fmla="*/ 873105 h 1901488"/>
                <a:gd name="connsiteX7" fmla="*/ 665125 w 10382329"/>
                <a:gd name="connsiteY7" fmla="*/ 737154 h 1901488"/>
                <a:gd name="connsiteX8" fmla="*/ 969116 w 10382329"/>
                <a:gd name="connsiteY8" fmla="*/ 737154 h 1901488"/>
                <a:gd name="connsiteX9" fmla="*/ 1544539 w 10382329"/>
                <a:gd name="connsiteY9" fmla="*/ 754148 h 1901488"/>
                <a:gd name="connsiteX10" fmla="*/ 2684538 w 10382329"/>
                <a:gd name="connsiteY10" fmla="*/ 754148 h 1901488"/>
                <a:gd name="connsiteX11" fmla="*/ 3379397 w 10382329"/>
                <a:gd name="connsiteY11" fmla="*/ 788136 h 1901488"/>
                <a:gd name="connsiteX12" fmla="*/ 3835407 w 10382329"/>
                <a:gd name="connsiteY12" fmla="*/ 728648 h 1901488"/>
                <a:gd name="connsiteX13" fmla="*/ 4313129 w 10382329"/>
                <a:gd name="connsiteY13" fmla="*/ 728648 h 1901488"/>
                <a:gd name="connsiteX14" fmla="*/ 5083998 w 10382329"/>
                <a:gd name="connsiteY14" fmla="*/ 771142 h 1901488"/>
                <a:gd name="connsiteX15" fmla="*/ 5963434 w 10382329"/>
                <a:gd name="connsiteY15" fmla="*/ 754148 h 1901488"/>
                <a:gd name="connsiteX16" fmla="*/ 6593152 w 10382329"/>
                <a:gd name="connsiteY16" fmla="*/ 762654 h 1901488"/>
                <a:gd name="connsiteX17" fmla="*/ 7429162 w 10382329"/>
                <a:gd name="connsiteY17" fmla="*/ 762654 h 1901488"/>
                <a:gd name="connsiteX18" fmla="*/ 8493175 w 10382329"/>
                <a:gd name="connsiteY18" fmla="*/ 788154 h 1901488"/>
                <a:gd name="connsiteX19" fmla="*/ 9242330 w 10382329"/>
                <a:gd name="connsiteY19" fmla="*/ 779648 h 1901488"/>
                <a:gd name="connsiteX20" fmla="*/ 9774325 w 10382329"/>
                <a:gd name="connsiteY20" fmla="*/ 771142 h 1901488"/>
                <a:gd name="connsiteX21" fmla="*/ 10252048 w 10382329"/>
                <a:gd name="connsiteY21" fmla="*/ 737154 h 1901488"/>
                <a:gd name="connsiteX22" fmla="*/ 10382329 w 10382329"/>
                <a:gd name="connsiteY22" fmla="*/ 754148 h 1901488"/>
                <a:gd name="connsiteX23" fmla="*/ 10382329 w 10382329"/>
                <a:gd name="connsiteY23" fmla="*/ 133791 h 1901488"/>
                <a:gd name="connsiteX24" fmla="*/ 10197753 w 10382329"/>
                <a:gd name="connsiteY24" fmla="*/ 65870 h 1901488"/>
                <a:gd name="connsiteX25" fmla="*/ 9383457 w 10382329"/>
                <a:gd name="connsiteY25" fmla="*/ 14889 h 1901488"/>
                <a:gd name="connsiteX26" fmla="*/ 8797166 w 10382329"/>
                <a:gd name="connsiteY26" fmla="*/ 108364 h 1901488"/>
                <a:gd name="connsiteX27" fmla="*/ 7896016 w 10382329"/>
                <a:gd name="connsiteY27" fmla="*/ 201839 h 1901488"/>
                <a:gd name="connsiteX28" fmla="*/ 6929725 w 10382329"/>
                <a:gd name="connsiteY28" fmla="*/ 201839 h 1901488"/>
                <a:gd name="connsiteX29" fmla="*/ 5203435 w 10382329"/>
                <a:gd name="connsiteY29" fmla="*/ 193333 h 1901488"/>
                <a:gd name="connsiteX30" fmla="*/ 4117707 w 10382329"/>
                <a:gd name="connsiteY30" fmla="*/ 65870 h 1901488"/>
                <a:gd name="connsiteX31" fmla="*/ 2326275 w 10382329"/>
                <a:gd name="connsiteY31" fmla="*/ 57364 h 1901488"/>
                <a:gd name="connsiteX32" fmla="*/ 1786453 w 10382329"/>
                <a:gd name="connsiteY32" fmla="*/ 66415 h 1901488"/>
                <a:gd name="connsiteX0" fmla="*/ 1724759 w 10320635"/>
                <a:gd name="connsiteY0" fmla="*/ 66415 h 1652063"/>
                <a:gd name="connsiteX1" fmla="*/ 1607199 w 10320635"/>
                <a:gd name="connsiteY1" fmla="*/ 625754 h 1652063"/>
                <a:gd name="connsiteX2" fmla="*/ 82305 w 10320635"/>
                <a:gd name="connsiteY2" fmla="*/ 1595370 h 1652063"/>
                <a:gd name="connsiteX3" fmla="*/ 234300 w 10320635"/>
                <a:gd name="connsiteY3" fmla="*/ 1510401 h 1652063"/>
                <a:gd name="connsiteX4" fmla="*/ 342868 w 10320635"/>
                <a:gd name="connsiteY4" fmla="*/ 1229994 h 1652063"/>
                <a:gd name="connsiteX5" fmla="*/ 451436 w 10320635"/>
                <a:gd name="connsiteY5" fmla="*/ 873105 h 1652063"/>
                <a:gd name="connsiteX6" fmla="*/ 603431 w 10320635"/>
                <a:gd name="connsiteY6" fmla="*/ 737154 h 1652063"/>
                <a:gd name="connsiteX7" fmla="*/ 907422 w 10320635"/>
                <a:gd name="connsiteY7" fmla="*/ 737154 h 1652063"/>
                <a:gd name="connsiteX8" fmla="*/ 1482845 w 10320635"/>
                <a:gd name="connsiteY8" fmla="*/ 754148 h 1652063"/>
                <a:gd name="connsiteX9" fmla="*/ 2622844 w 10320635"/>
                <a:gd name="connsiteY9" fmla="*/ 754148 h 1652063"/>
                <a:gd name="connsiteX10" fmla="*/ 3317703 w 10320635"/>
                <a:gd name="connsiteY10" fmla="*/ 788136 h 1652063"/>
                <a:gd name="connsiteX11" fmla="*/ 3773713 w 10320635"/>
                <a:gd name="connsiteY11" fmla="*/ 728648 h 1652063"/>
                <a:gd name="connsiteX12" fmla="*/ 4251435 w 10320635"/>
                <a:gd name="connsiteY12" fmla="*/ 728648 h 1652063"/>
                <a:gd name="connsiteX13" fmla="*/ 5022304 w 10320635"/>
                <a:gd name="connsiteY13" fmla="*/ 771142 h 1652063"/>
                <a:gd name="connsiteX14" fmla="*/ 5901740 w 10320635"/>
                <a:gd name="connsiteY14" fmla="*/ 754148 h 1652063"/>
                <a:gd name="connsiteX15" fmla="*/ 6531458 w 10320635"/>
                <a:gd name="connsiteY15" fmla="*/ 762654 h 1652063"/>
                <a:gd name="connsiteX16" fmla="*/ 7367468 w 10320635"/>
                <a:gd name="connsiteY16" fmla="*/ 762654 h 1652063"/>
                <a:gd name="connsiteX17" fmla="*/ 8431481 w 10320635"/>
                <a:gd name="connsiteY17" fmla="*/ 788154 h 1652063"/>
                <a:gd name="connsiteX18" fmla="*/ 9180636 w 10320635"/>
                <a:gd name="connsiteY18" fmla="*/ 779648 h 1652063"/>
                <a:gd name="connsiteX19" fmla="*/ 9712631 w 10320635"/>
                <a:gd name="connsiteY19" fmla="*/ 771142 h 1652063"/>
                <a:gd name="connsiteX20" fmla="*/ 10190354 w 10320635"/>
                <a:gd name="connsiteY20" fmla="*/ 737154 h 1652063"/>
                <a:gd name="connsiteX21" fmla="*/ 10320635 w 10320635"/>
                <a:gd name="connsiteY21" fmla="*/ 754148 h 1652063"/>
                <a:gd name="connsiteX22" fmla="*/ 10320635 w 10320635"/>
                <a:gd name="connsiteY22" fmla="*/ 133791 h 1652063"/>
                <a:gd name="connsiteX23" fmla="*/ 10136059 w 10320635"/>
                <a:gd name="connsiteY23" fmla="*/ 65870 h 1652063"/>
                <a:gd name="connsiteX24" fmla="*/ 9321763 w 10320635"/>
                <a:gd name="connsiteY24" fmla="*/ 14889 h 1652063"/>
                <a:gd name="connsiteX25" fmla="*/ 8735472 w 10320635"/>
                <a:gd name="connsiteY25" fmla="*/ 108364 h 1652063"/>
                <a:gd name="connsiteX26" fmla="*/ 7834322 w 10320635"/>
                <a:gd name="connsiteY26" fmla="*/ 201839 h 1652063"/>
                <a:gd name="connsiteX27" fmla="*/ 6868031 w 10320635"/>
                <a:gd name="connsiteY27" fmla="*/ 201839 h 1652063"/>
                <a:gd name="connsiteX28" fmla="*/ 5141741 w 10320635"/>
                <a:gd name="connsiteY28" fmla="*/ 193333 h 1652063"/>
                <a:gd name="connsiteX29" fmla="*/ 4056013 w 10320635"/>
                <a:gd name="connsiteY29" fmla="*/ 65870 h 1652063"/>
                <a:gd name="connsiteX30" fmla="*/ 2264581 w 10320635"/>
                <a:gd name="connsiteY30" fmla="*/ 57364 h 1652063"/>
                <a:gd name="connsiteX31" fmla="*/ 1724759 w 10320635"/>
                <a:gd name="connsiteY31" fmla="*/ 66415 h 1652063"/>
                <a:gd name="connsiteX0" fmla="*/ 1567192 w 10163068"/>
                <a:gd name="connsiteY0" fmla="*/ 66415 h 1535484"/>
                <a:gd name="connsiteX1" fmla="*/ 1449632 w 10163068"/>
                <a:gd name="connsiteY1" fmla="*/ 625754 h 1535484"/>
                <a:gd name="connsiteX2" fmla="*/ 76733 w 10163068"/>
                <a:gd name="connsiteY2" fmla="*/ 1510401 h 1535484"/>
                <a:gd name="connsiteX3" fmla="*/ 185301 w 10163068"/>
                <a:gd name="connsiteY3" fmla="*/ 1229994 h 1535484"/>
                <a:gd name="connsiteX4" fmla="*/ 293869 w 10163068"/>
                <a:gd name="connsiteY4" fmla="*/ 873105 h 1535484"/>
                <a:gd name="connsiteX5" fmla="*/ 445864 w 10163068"/>
                <a:gd name="connsiteY5" fmla="*/ 737154 h 1535484"/>
                <a:gd name="connsiteX6" fmla="*/ 749855 w 10163068"/>
                <a:gd name="connsiteY6" fmla="*/ 737154 h 1535484"/>
                <a:gd name="connsiteX7" fmla="*/ 1325278 w 10163068"/>
                <a:gd name="connsiteY7" fmla="*/ 754148 h 1535484"/>
                <a:gd name="connsiteX8" fmla="*/ 2465277 w 10163068"/>
                <a:gd name="connsiteY8" fmla="*/ 754148 h 1535484"/>
                <a:gd name="connsiteX9" fmla="*/ 3160136 w 10163068"/>
                <a:gd name="connsiteY9" fmla="*/ 788136 h 1535484"/>
                <a:gd name="connsiteX10" fmla="*/ 3616146 w 10163068"/>
                <a:gd name="connsiteY10" fmla="*/ 728648 h 1535484"/>
                <a:gd name="connsiteX11" fmla="*/ 4093868 w 10163068"/>
                <a:gd name="connsiteY11" fmla="*/ 728648 h 1535484"/>
                <a:gd name="connsiteX12" fmla="*/ 4864737 w 10163068"/>
                <a:gd name="connsiteY12" fmla="*/ 771142 h 1535484"/>
                <a:gd name="connsiteX13" fmla="*/ 5744173 w 10163068"/>
                <a:gd name="connsiteY13" fmla="*/ 754148 h 1535484"/>
                <a:gd name="connsiteX14" fmla="*/ 6373891 w 10163068"/>
                <a:gd name="connsiteY14" fmla="*/ 762654 h 1535484"/>
                <a:gd name="connsiteX15" fmla="*/ 7209901 w 10163068"/>
                <a:gd name="connsiteY15" fmla="*/ 762654 h 1535484"/>
                <a:gd name="connsiteX16" fmla="*/ 8273914 w 10163068"/>
                <a:gd name="connsiteY16" fmla="*/ 788154 h 1535484"/>
                <a:gd name="connsiteX17" fmla="*/ 9023069 w 10163068"/>
                <a:gd name="connsiteY17" fmla="*/ 779648 h 1535484"/>
                <a:gd name="connsiteX18" fmla="*/ 9555064 w 10163068"/>
                <a:gd name="connsiteY18" fmla="*/ 771142 h 1535484"/>
                <a:gd name="connsiteX19" fmla="*/ 10032787 w 10163068"/>
                <a:gd name="connsiteY19" fmla="*/ 737154 h 1535484"/>
                <a:gd name="connsiteX20" fmla="*/ 10163068 w 10163068"/>
                <a:gd name="connsiteY20" fmla="*/ 754148 h 1535484"/>
                <a:gd name="connsiteX21" fmla="*/ 10163068 w 10163068"/>
                <a:gd name="connsiteY21" fmla="*/ 133791 h 1535484"/>
                <a:gd name="connsiteX22" fmla="*/ 9978492 w 10163068"/>
                <a:gd name="connsiteY22" fmla="*/ 65870 h 1535484"/>
                <a:gd name="connsiteX23" fmla="*/ 9164196 w 10163068"/>
                <a:gd name="connsiteY23" fmla="*/ 14889 h 1535484"/>
                <a:gd name="connsiteX24" fmla="*/ 8577905 w 10163068"/>
                <a:gd name="connsiteY24" fmla="*/ 108364 h 1535484"/>
                <a:gd name="connsiteX25" fmla="*/ 7676755 w 10163068"/>
                <a:gd name="connsiteY25" fmla="*/ 201839 h 1535484"/>
                <a:gd name="connsiteX26" fmla="*/ 6710464 w 10163068"/>
                <a:gd name="connsiteY26" fmla="*/ 201839 h 1535484"/>
                <a:gd name="connsiteX27" fmla="*/ 4984174 w 10163068"/>
                <a:gd name="connsiteY27" fmla="*/ 193333 h 1535484"/>
                <a:gd name="connsiteX28" fmla="*/ 3898446 w 10163068"/>
                <a:gd name="connsiteY28" fmla="*/ 65870 h 1535484"/>
                <a:gd name="connsiteX29" fmla="*/ 2107014 w 10163068"/>
                <a:gd name="connsiteY29" fmla="*/ 57364 h 1535484"/>
                <a:gd name="connsiteX30" fmla="*/ 1567192 w 10163068"/>
                <a:gd name="connsiteY30" fmla="*/ 66415 h 1535484"/>
                <a:gd name="connsiteX0" fmla="*/ 1453651 w 10049527"/>
                <a:gd name="connsiteY0" fmla="*/ 66415 h 1233597"/>
                <a:gd name="connsiteX1" fmla="*/ 1336091 w 10049527"/>
                <a:gd name="connsiteY1" fmla="*/ 625754 h 1233597"/>
                <a:gd name="connsiteX2" fmla="*/ 71760 w 10049527"/>
                <a:gd name="connsiteY2" fmla="*/ 1229994 h 1233597"/>
                <a:gd name="connsiteX3" fmla="*/ 180328 w 10049527"/>
                <a:gd name="connsiteY3" fmla="*/ 873105 h 1233597"/>
                <a:gd name="connsiteX4" fmla="*/ 332323 w 10049527"/>
                <a:gd name="connsiteY4" fmla="*/ 737154 h 1233597"/>
                <a:gd name="connsiteX5" fmla="*/ 636314 w 10049527"/>
                <a:gd name="connsiteY5" fmla="*/ 737154 h 1233597"/>
                <a:gd name="connsiteX6" fmla="*/ 1211737 w 10049527"/>
                <a:gd name="connsiteY6" fmla="*/ 754148 h 1233597"/>
                <a:gd name="connsiteX7" fmla="*/ 2351736 w 10049527"/>
                <a:gd name="connsiteY7" fmla="*/ 754148 h 1233597"/>
                <a:gd name="connsiteX8" fmla="*/ 3046595 w 10049527"/>
                <a:gd name="connsiteY8" fmla="*/ 788136 h 1233597"/>
                <a:gd name="connsiteX9" fmla="*/ 3502605 w 10049527"/>
                <a:gd name="connsiteY9" fmla="*/ 728648 h 1233597"/>
                <a:gd name="connsiteX10" fmla="*/ 3980327 w 10049527"/>
                <a:gd name="connsiteY10" fmla="*/ 728648 h 1233597"/>
                <a:gd name="connsiteX11" fmla="*/ 4751196 w 10049527"/>
                <a:gd name="connsiteY11" fmla="*/ 771142 h 1233597"/>
                <a:gd name="connsiteX12" fmla="*/ 5630632 w 10049527"/>
                <a:gd name="connsiteY12" fmla="*/ 754148 h 1233597"/>
                <a:gd name="connsiteX13" fmla="*/ 6260350 w 10049527"/>
                <a:gd name="connsiteY13" fmla="*/ 762654 h 1233597"/>
                <a:gd name="connsiteX14" fmla="*/ 7096360 w 10049527"/>
                <a:gd name="connsiteY14" fmla="*/ 762654 h 1233597"/>
                <a:gd name="connsiteX15" fmla="*/ 8160373 w 10049527"/>
                <a:gd name="connsiteY15" fmla="*/ 788154 h 1233597"/>
                <a:gd name="connsiteX16" fmla="*/ 8909528 w 10049527"/>
                <a:gd name="connsiteY16" fmla="*/ 779648 h 1233597"/>
                <a:gd name="connsiteX17" fmla="*/ 9441523 w 10049527"/>
                <a:gd name="connsiteY17" fmla="*/ 771142 h 1233597"/>
                <a:gd name="connsiteX18" fmla="*/ 9919246 w 10049527"/>
                <a:gd name="connsiteY18" fmla="*/ 737154 h 1233597"/>
                <a:gd name="connsiteX19" fmla="*/ 10049527 w 10049527"/>
                <a:gd name="connsiteY19" fmla="*/ 754148 h 1233597"/>
                <a:gd name="connsiteX20" fmla="*/ 10049527 w 10049527"/>
                <a:gd name="connsiteY20" fmla="*/ 133791 h 1233597"/>
                <a:gd name="connsiteX21" fmla="*/ 9864951 w 10049527"/>
                <a:gd name="connsiteY21" fmla="*/ 65870 h 1233597"/>
                <a:gd name="connsiteX22" fmla="*/ 9050655 w 10049527"/>
                <a:gd name="connsiteY22" fmla="*/ 14889 h 1233597"/>
                <a:gd name="connsiteX23" fmla="*/ 8464364 w 10049527"/>
                <a:gd name="connsiteY23" fmla="*/ 108364 h 1233597"/>
                <a:gd name="connsiteX24" fmla="*/ 7563214 w 10049527"/>
                <a:gd name="connsiteY24" fmla="*/ 201839 h 1233597"/>
                <a:gd name="connsiteX25" fmla="*/ 6596923 w 10049527"/>
                <a:gd name="connsiteY25" fmla="*/ 201839 h 1233597"/>
                <a:gd name="connsiteX26" fmla="*/ 4870633 w 10049527"/>
                <a:gd name="connsiteY26" fmla="*/ 193333 h 1233597"/>
                <a:gd name="connsiteX27" fmla="*/ 3784905 w 10049527"/>
                <a:gd name="connsiteY27" fmla="*/ 65870 h 1233597"/>
                <a:gd name="connsiteX28" fmla="*/ 1993473 w 10049527"/>
                <a:gd name="connsiteY28" fmla="*/ 57364 h 1233597"/>
                <a:gd name="connsiteX29" fmla="*/ 1453651 w 10049527"/>
                <a:gd name="connsiteY29" fmla="*/ 66415 h 1233597"/>
                <a:gd name="connsiteX0" fmla="*/ 1428093 w 10023969"/>
                <a:gd name="connsiteY0" fmla="*/ 66415 h 1230579"/>
                <a:gd name="connsiteX1" fmla="*/ 1310533 w 10023969"/>
                <a:gd name="connsiteY1" fmla="*/ 625754 h 1230579"/>
                <a:gd name="connsiteX2" fmla="*/ 46202 w 10023969"/>
                <a:gd name="connsiteY2" fmla="*/ 1229994 h 1230579"/>
                <a:gd name="connsiteX3" fmla="*/ 306765 w 10023969"/>
                <a:gd name="connsiteY3" fmla="*/ 737154 h 1230579"/>
                <a:gd name="connsiteX4" fmla="*/ 610756 w 10023969"/>
                <a:gd name="connsiteY4" fmla="*/ 737154 h 1230579"/>
                <a:gd name="connsiteX5" fmla="*/ 1186179 w 10023969"/>
                <a:gd name="connsiteY5" fmla="*/ 754148 h 1230579"/>
                <a:gd name="connsiteX6" fmla="*/ 2326178 w 10023969"/>
                <a:gd name="connsiteY6" fmla="*/ 754148 h 1230579"/>
                <a:gd name="connsiteX7" fmla="*/ 3021037 w 10023969"/>
                <a:gd name="connsiteY7" fmla="*/ 788136 h 1230579"/>
                <a:gd name="connsiteX8" fmla="*/ 3477047 w 10023969"/>
                <a:gd name="connsiteY8" fmla="*/ 728648 h 1230579"/>
                <a:gd name="connsiteX9" fmla="*/ 3954769 w 10023969"/>
                <a:gd name="connsiteY9" fmla="*/ 728648 h 1230579"/>
                <a:gd name="connsiteX10" fmla="*/ 4725638 w 10023969"/>
                <a:gd name="connsiteY10" fmla="*/ 771142 h 1230579"/>
                <a:gd name="connsiteX11" fmla="*/ 5605074 w 10023969"/>
                <a:gd name="connsiteY11" fmla="*/ 754148 h 1230579"/>
                <a:gd name="connsiteX12" fmla="*/ 6234792 w 10023969"/>
                <a:gd name="connsiteY12" fmla="*/ 762654 h 1230579"/>
                <a:gd name="connsiteX13" fmla="*/ 7070802 w 10023969"/>
                <a:gd name="connsiteY13" fmla="*/ 762654 h 1230579"/>
                <a:gd name="connsiteX14" fmla="*/ 8134815 w 10023969"/>
                <a:gd name="connsiteY14" fmla="*/ 788154 h 1230579"/>
                <a:gd name="connsiteX15" fmla="*/ 8883970 w 10023969"/>
                <a:gd name="connsiteY15" fmla="*/ 779648 h 1230579"/>
                <a:gd name="connsiteX16" fmla="*/ 9415965 w 10023969"/>
                <a:gd name="connsiteY16" fmla="*/ 771142 h 1230579"/>
                <a:gd name="connsiteX17" fmla="*/ 9893688 w 10023969"/>
                <a:gd name="connsiteY17" fmla="*/ 737154 h 1230579"/>
                <a:gd name="connsiteX18" fmla="*/ 10023969 w 10023969"/>
                <a:gd name="connsiteY18" fmla="*/ 754148 h 1230579"/>
                <a:gd name="connsiteX19" fmla="*/ 10023969 w 10023969"/>
                <a:gd name="connsiteY19" fmla="*/ 133791 h 1230579"/>
                <a:gd name="connsiteX20" fmla="*/ 9839393 w 10023969"/>
                <a:gd name="connsiteY20" fmla="*/ 65870 h 1230579"/>
                <a:gd name="connsiteX21" fmla="*/ 9025097 w 10023969"/>
                <a:gd name="connsiteY21" fmla="*/ 14889 h 1230579"/>
                <a:gd name="connsiteX22" fmla="*/ 8438806 w 10023969"/>
                <a:gd name="connsiteY22" fmla="*/ 108364 h 1230579"/>
                <a:gd name="connsiteX23" fmla="*/ 7537656 w 10023969"/>
                <a:gd name="connsiteY23" fmla="*/ 201839 h 1230579"/>
                <a:gd name="connsiteX24" fmla="*/ 6571365 w 10023969"/>
                <a:gd name="connsiteY24" fmla="*/ 201839 h 1230579"/>
                <a:gd name="connsiteX25" fmla="*/ 4845075 w 10023969"/>
                <a:gd name="connsiteY25" fmla="*/ 193333 h 1230579"/>
                <a:gd name="connsiteX26" fmla="*/ 3759347 w 10023969"/>
                <a:gd name="connsiteY26" fmla="*/ 65870 h 1230579"/>
                <a:gd name="connsiteX27" fmla="*/ 1967915 w 10023969"/>
                <a:gd name="connsiteY27" fmla="*/ 57364 h 1230579"/>
                <a:gd name="connsiteX28" fmla="*/ 1428093 w 10023969"/>
                <a:gd name="connsiteY28" fmla="*/ 66415 h 1230579"/>
                <a:gd name="connsiteX0" fmla="*/ 1143230 w 9739106"/>
                <a:gd name="connsiteY0" fmla="*/ 66415 h 797578"/>
                <a:gd name="connsiteX1" fmla="*/ 1025670 w 9739106"/>
                <a:gd name="connsiteY1" fmla="*/ 625754 h 797578"/>
                <a:gd name="connsiteX2" fmla="*/ 21902 w 9739106"/>
                <a:gd name="connsiteY2" fmla="*/ 737154 h 797578"/>
                <a:gd name="connsiteX3" fmla="*/ 325893 w 9739106"/>
                <a:gd name="connsiteY3" fmla="*/ 737154 h 797578"/>
                <a:gd name="connsiteX4" fmla="*/ 901316 w 9739106"/>
                <a:gd name="connsiteY4" fmla="*/ 754148 h 797578"/>
                <a:gd name="connsiteX5" fmla="*/ 2041315 w 9739106"/>
                <a:gd name="connsiteY5" fmla="*/ 754148 h 797578"/>
                <a:gd name="connsiteX6" fmla="*/ 2736174 w 9739106"/>
                <a:gd name="connsiteY6" fmla="*/ 788136 h 797578"/>
                <a:gd name="connsiteX7" fmla="*/ 3192184 w 9739106"/>
                <a:gd name="connsiteY7" fmla="*/ 728648 h 797578"/>
                <a:gd name="connsiteX8" fmla="*/ 3669906 w 9739106"/>
                <a:gd name="connsiteY8" fmla="*/ 728648 h 797578"/>
                <a:gd name="connsiteX9" fmla="*/ 4440775 w 9739106"/>
                <a:gd name="connsiteY9" fmla="*/ 771142 h 797578"/>
                <a:gd name="connsiteX10" fmla="*/ 5320211 w 9739106"/>
                <a:gd name="connsiteY10" fmla="*/ 754148 h 797578"/>
                <a:gd name="connsiteX11" fmla="*/ 5949929 w 9739106"/>
                <a:gd name="connsiteY11" fmla="*/ 762654 h 797578"/>
                <a:gd name="connsiteX12" fmla="*/ 6785939 w 9739106"/>
                <a:gd name="connsiteY12" fmla="*/ 762654 h 797578"/>
                <a:gd name="connsiteX13" fmla="*/ 7849952 w 9739106"/>
                <a:gd name="connsiteY13" fmla="*/ 788154 h 797578"/>
                <a:gd name="connsiteX14" fmla="*/ 8599107 w 9739106"/>
                <a:gd name="connsiteY14" fmla="*/ 779648 h 797578"/>
                <a:gd name="connsiteX15" fmla="*/ 9131102 w 9739106"/>
                <a:gd name="connsiteY15" fmla="*/ 771142 h 797578"/>
                <a:gd name="connsiteX16" fmla="*/ 9608825 w 9739106"/>
                <a:gd name="connsiteY16" fmla="*/ 737154 h 797578"/>
                <a:gd name="connsiteX17" fmla="*/ 9739106 w 9739106"/>
                <a:gd name="connsiteY17" fmla="*/ 754148 h 797578"/>
                <a:gd name="connsiteX18" fmla="*/ 9739106 w 9739106"/>
                <a:gd name="connsiteY18" fmla="*/ 133791 h 797578"/>
                <a:gd name="connsiteX19" fmla="*/ 9554530 w 9739106"/>
                <a:gd name="connsiteY19" fmla="*/ 65870 h 797578"/>
                <a:gd name="connsiteX20" fmla="*/ 8740234 w 9739106"/>
                <a:gd name="connsiteY20" fmla="*/ 14889 h 797578"/>
                <a:gd name="connsiteX21" fmla="*/ 8153943 w 9739106"/>
                <a:gd name="connsiteY21" fmla="*/ 108364 h 797578"/>
                <a:gd name="connsiteX22" fmla="*/ 7252793 w 9739106"/>
                <a:gd name="connsiteY22" fmla="*/ 201839 h 797578"/>
                <a:gd name="connsiteX23" fmla="*/ 6286502 w 9739106"/>
                <a:gd name="connsiteY23" fmla="*/ 201839 h 797578"/>
                <a:gd name="connsiteX24" fmla="*/ 4560212 w 9739106"/>
                <a:gd name="connsiteY24" fmla="*/ 193333 h 797578"/>
                <a:gd name="connsiteX25" fmla="*/ 3474484 w 9739106"/>
                <a:gd name="connsiteY25" fmla="*/ 65870 h 797578"/>
                <a:gd name="connsiteX26" fmla="*/ 1683052 w 9739106"/>
                <a:gd name="connsiteY26" fmla="*/ 57364 h 797578"/>
                <a:gd name="connsiteX27" fmla="*/ 1143230 w 9739106"/>
                <a:gd name="connsiteY27" fmla="*/ 66415 h 797578"/>
                <a:gd name="connsiteX0" fmla="*/ 817337 w 9413213"/>
                <a:gd name="connsiteY0" fmla="*/ 66415 h 797576"/>
                <a:gd name="connsiteX1" fmla="*/ 699777 w 9413213"/>
                <a:gd name="connsiteY1" fmla="*/ 625754 h 797576"/>
                <a:gd name="connsiteX2" fmla="*/ 0 w 9413213"/>
                <a:gd name="connsiteY2" fmla="*/ 737154 h 797576"/>
                <a:gd name="connsiteX3" fmla="*/ 575423 w 9413213"/>
                <a:gd name="connsiteY3" fmla="*/ 754148 h 797576"/>
                <a:gd name="connsiteX4" fmla="*/ 1715422 w 9413213"/>
                <a:gd name="connsiteY4" fmla="*/ 754148 h 797576"/>
                <a:gd name="connsiteX5" fmla="*/ 2410281 w 9413213"/>
                <a:gd name="connsiteY5" fmla="*/ 788136 h 797576"/>
                <a:gd name="connsiteX6" fmla="*/ 2866291 w 9413213"/>
                <a:gd name="connsiteY6" fmla="*/ 728648 h 797576"/>
                <a:gd name="connsiteX7" fmla="*/ 3344013 w 9413213"/>
                <a:gd name="connsiteY7" fmla="*/ 728648 h 797576"/>
                <a:gd name="connsiteX8" fmla="*/ 4114882 w 9413213"/>
                <a:gd name="connsiteY8" fmla="*/ 771142 h 797576"/>
                <a:gd name="connsiteX9" fmla="*/ 4994318 w 9413213"/>
                <a:gd name="connsiteY9" fmla="*/ 754148 h 797576"/>
                <a:gd name="connsiteX10" fmla="*/ 5624036 w 9413213"/>
                <a:gd name="connsiteY10" fmla="*/ 762654 h 797576"/>
                <a:gd name="connsiteX11" fmla="*/ 6460046 w 9413213"/>
                <a:gd name="connsiteY11" fmla="*/ 762654 h 797576"/>
                <a:gd name="connsiteX12" fmla="*/ 7524059 w 9413213"/>
                <a:gd name="connsiteY12" fmla="*/ 788154 h 797576"/>
                <a:gd name="connsiteX13" fmla="*/ 8273214 w 9413213"/>
                <a:gd name="connsiteY13" fmla="*/ 779648 h 797576"/>
                <a:gd name="connsiteX14" fmla="*/ 8805209 w 9413213"/>
                <a:gd name="connsiteY14" fmla="*/ 771142 h 797576"/>
                <a:gd name="connsiteX15" fmla="*/ 9282932 w 9413213"/>
                <a:gd name="connsiteY15" fmla="*/ 737154 h 797576"/>
                <a:gd name="connsiteX16" fmla="*/ 9413213 w 9413213"/>
                <a:gd name="connsiteY16" fmla="*/ 754148 h 797576"/>
                <a:gd name="connsiteX17" fmla="*/ 9413213 w 9413213"/>
                <a:gd name="connsiteY17" fmla="*/ 133791 h 797576"/>
                <a:gd name="connsiteX18" fmla="*/ 9228637 w 9413213"/>
                <a:gd name="connsiteY18" fmla="*/ 65870 h 797576"/>
                <a:gd name="connsiteX19" fmla="*/ 8414341 w 9413213"/>
                <a:gd name="connsiteY19" fmla="*/ 14889 h 797576"/>
                <a:gd name="connsiteX20" fmla="*/ 7828050 w 9413213"/>
                <a:gd name="connsiteY20" fmla="*/ 108364 h 797576"/>
                <a:gd name="connsiteX21" fmla="*/ 6926900 w 9413213"/>
                <a:gd name="connsiteY21" fmla="*/ 201839 h 797576"/>
                <a:gd name="connsiteX22" fmla="*/ 5960609 w 9413213"/>
                <a:gd name="connsiteY22" fmla="*/ 201839 h 797576"/>
                <a:gd name="connsiteX23" fmla="*/ 4234319 w 9413213"/>
                <a:gd name="connsiteY23" fmla="*/ 193333 h 797576"/>
                <a:gd name="connsiteX24" fmla="*/ 3148591 w 9413213"/>
                <a:gd name="connsiteY24" fmla="*/ 65870 h 797576"/>
                <a:gd name="connsiteX25" fmla="*/ 1357159 w 9413213"/>
                <a:gd name="connsiteY25" fmla="*/ 57364 h 797576"/>
                <a:gd name="connsiteX26" fmla="*/ 817337 w 9413213"/>
                <a:gd name="connsiteY26" fmla="*/ 66415 h 797576"/>
                <a:gd name="connsiteX0" fmla="*/ 299581 w 8895457"/>
                <a:gd name="connsiteY0" fmla="*/ 66415 h 797578"/>
                <a:gd name="connsiteX1" fmla="*/ 182021 w 8895457"/>
                <a:gd name="connsiteY1" fmla="*/ 625754 h 797578"/>
                <a:gd name="connsiteX2" fmla="*/ 57667 w 8895457"/>
                <a:gd name="connsiteY2" fmla="*/ 754148 h 797578"/>
                <a:gd name="connsiteX3" fmla="*/ 1197666 w 8895457"/>
                <a:gd name="connsiteY3" fmla="*/ 754148 h 797578"/>
                <a:gd name="connsiteX4" fmla="*/ 1892525 w 8895457"/>
                <a:gd name="connsiteY4" fmla="*/ 788136 h 797578"/>
                <a:gd name="connsiteX5" fmla="*/ 2348535 w 8895457"/>
                <a:gd name="connsiteY5" fmla="*/ 728648 h 797578"/>
                <a:gd name="connsiteX6" fmla="*/ 2826257 w 8895457"/>
                <a:gd name="connsiteY6" fmla="*/ 728648 h 797578"/>
                <a:gd name="connsiteX7" fmla="*/ 3597126 w 8895457"/>
                <a:gd name="connsiteY7" fmla="*/ 771142 h 797578"/>
                <a:gd name="connsiteX8" fmla="*/ 4476562 w 8895457"/>
                <a:gd name="connsiteY8" fmla="*/ 754148 h 797578"/>
                <a:gd name="connsiteX9" fmla="*/ 5106280 w 8895457"/>
                <a:gd name="connsiteY9" fmla="*/ 762654 h 797578"/>
                <a:gd name="connsiteX10" fmla="*/ 5942290 w 8895457"/>
                <a:gd name="connsiteY10" fmla="*/ 762654 h 797578"/>
                <a:gd name="connsiteX11" fmla="*/ 7006303 w 8895457"/>
                <a:gd name="connsiteY11" fmla="*/ 788154 h 797578"/>
                <a:gd name="connsiteX12" fmla="*/ 7755458 w 8895457"/>
                <a:gd name="connsiteY12" fmla="*/ 779648 h 797578"/>
                <a:gd name="connsiteX13" fmla="*/ 8287453 w 8895457"/>
                <a:gd name="connsiteY13" fmla="*/ 771142 h 797578"/>
                <a:gd name="connsiteX14" fmla="*/ 8765176 w 8895457"/>
                <a:gd name="connsiteY14" fmla="*/ 737154 h 797578"/>
                <a:gd name="connsiteX15" fmla="*/ 8895457 w 8895457"/>
                <a:gd name="connsiteY15" fmla="*/ 754148 h 797578"/>
                <a:gd name="connsiteX16" fmla="*/ 8895457 w 8895457"/>
                <a:gd name="connsiteY16" fmla="*/ 133791 h 797578"/>
                <a:gd name="connsiteX17" fmla="*/ 8710881 w 8895457"/>
                <a:gd name="connsiteY17" fmla="*/ 65870 h 797578"/>
                <a:gd name="connsiteX18" fmla="*/ 7896585 w 8895457"/>
                <a:gd name="connsiteY18" fmla="*/ 14889 h 797578"/>
                <a:gd name="connsiteX19" fmla="*/ 7310294 w 8895457"/>
                <a:gd name="connsiteY19" fmla="*/ 108364 h 797578"/>
                <a:gd name="connsiteX20" fmla="*/ 6409144 w 8895457"/>
                <a:gd name="connsiteY20" fmla="*/ 201839 h 797578"/>
                <a:gd name="connsiteX21" fmla="*/ 5442853 w 8895457"/>
                <a:gd name="connsiteY21" fmla="*/ 201839 h 797578"/>
                <a:gd name="connsiteX22" fmla="*/ 3716563 w 8895457"/>
                <a:gd name="connsiteY22" fmla="*/ 193333 h 797578"/>
                <a:gd name="connsiteX23" fmla="*/ 2630835 w 8895457"/>
                <a:gd name="connsiteY23" fmla="*/ 65870 h 797578"/>
                <a:gd name="connsiteX24" fmla="*/ 839403 w 8895457"/>
                <a:gd name="connsiteY24" fmla="*/ 57364 h 797578"/>
                <a:gd name="connsiteX25" fmla="*/ 299581 w 8895457"/>
                <a:gd name="connsiteY25" fmla="*/ 66415 h 797578"/>
                <a:gd name="connsiteX0" fmla="*/ 300385 w 8896261"/>
                <a:gd name="connsiteY0" fmla="*/ 66415 h 797969"/>
                <a:gd name="connsiteX1" fmla="*/ 182825 w 8896261"/>
                <a:gd name="connsiteY1" fmla="*/ 625754 h 797969"/>
                <a:gd name="connsiteX2" fmla="*/ 1198470 w 8896261"/>
                <a:gd name="connsiteY2" fmla="*/ 754148 h 797969"/>
                <a:gd name="connsiteX3" fmla="*/ 1893329 w 8896261"/>
                <a:gd name="connsiteY3" fmla="*/ 788136 h 797969"/>
                <a:gd name="connsiteX4" fmla="*/ 2349339 w 8896261"/>
                <a:gd name="connsiteY4" fmla="*/ 728648 h 797969"/>
                <a:gd name="connsiteX5" fmla="*/ 2827061 w 8896261"/>
                <a:gd name="connsiteY5" fmla="*/ 728648 h 797969"/>
                <a:gd name="connsiteX6" fmla="*/ 3597930 w 8896261"/>
                <a:gd name="connsiteY6" fmla="*/ 771142 h 797969"/>
                <a:gd name="connsiteX7" fmla="*/ 4477366 w 8896261"/>
                <a:gd name="connsiteY7" fmla="*/ 754148 h 797969"/>
                <a:gd name="connsiteX8" fmla="*/ 5107084 w 8896261"/>
                <a:gd name="connsiteY8" fmla="*/ 762654 h 797969"/>
                <a:gd name="connsiteX9" fmla="*/ 5943094 w 8896261"/>
                <a:gd name="connsiteY9" fmla="*/ 762654 h 797969"/>
                <a:gd name="connsiteX10" fmla="*/ 7007107 w 8896261"/>
                <a:gd name="connsiteY10" fmla="*/ 788154 h 797969"/>
                <a:gd name="connsiteX11" fmla="*/ 7756262 w 8896261"/>
                <a:gd name="connsiteY11" fmla="*/ 779648 h 797969"/>
                <a:gd name="connsiteX12" fmla="*/ 8288257 w 8896261"/>
                <a:gd name="connsiteY12" fmla="*/ 771142 h 797969"/>
                <a:gd name="connsiteX13" fmla="*/ 8765980 w 8896261"/>
                <a:gd name="connsiteY13" fmla="*/ 737154 h 797969"/>
                <a:gd name="connsiteX14" fmla="*/ 8896261 w 8896261"/>
                <a:gd name="connsiteY14" fmla="*/ 754148 h 797969"/>
                <a:gd name="connsiteX15" fmla="*/ 8896261 w 8896261"/>
                <a:gd name="connsiteY15" fmla="*/ 133791 h 797969"/>
                <a:gd name="connsiteX16" fmla="*/ 8711685 w 8896261"/>
                <a:gd name="connsiteY16" fmla="*/ 65870 h 797969"/>
                <a:gd name="connsiteX17" fmla="*/ 7897389 w 8896261"/>
                <a:gd name="connsiteY17" fmla="*/ 14889 h 797969"/>
                <a:gd name="connsiteX18" fmla="*/ 7311098 w 8896261"/>
                <a:gd name="connsiteY18" fmla="*/ 108364 h 797969"/>
                <a:gd name="connsiteX19" fmla="*/ 6409948 w 8896261"/>
                <a:gd name="connsiteY19" fmla="*/ 201839 h 797969"/>
                <a:gd name="connsiteX20" fmla="*/ 5443657 w 8896261"/>
                <a:gd name="connsiteY20" fmla="*/ 201839 h 797969"/>
                <a:gd name="connsiteX21" fmla="*/ 3717367 w 8896261"/>
                <a:gd name="connsiteY21" fmla="*/ 193333 h 797969"/>
                <a:gd name="connsiteX22" fmla="*/ 2631639 w 8896261"/>
                <a:gd name="connsiteY22" fmla="*/ 65870 h 797969"/>
                <a:gd name="connsiteX23" fmla="*/ 840207 w 8896261"/>
                <a:gd name="connsiteY23" fmla="*/ 57364 h 797969"/>
                <a:gd name="connsiteX24" fmla="*/ 300385 w 8896261"/>
                <a:gd name="connsiteY24" fmla="*/ 66415 h 797969"/>
                <a:gd name="connsiteX0" fmla="*/ 263649 w 8859525"/>
                <a:gd name="connsiteY0" fmla="*/ 66415 h 795901"/>
                <a:gd name="connsiteX1" fmla="*/ 238952 w 8859525"/>
                <a:gd name="connsiteY1" fmla="*/ 726571 h 795901"/>
                <a:gd name="connsiteX2" fmla="*/ 1161734 w 8859525"/>
                <a:gd name="connsiteY2" fmla="*/ 754148 h 795901"/>
                <a:gd name="connsiteX3" fmla="*/ 1856593 w 8859525"/>
                <a:gd name="connsiteY3" fmla="*/ 788136 h 795901"/>
                <a:gd name="connsiteX4" fmla="*/ 2312603 w 8859525"/>
                <a:gd name="connsiteY4" fmla="*/ 728648 h 795901"/>
                <a:gd name="connsiteX5" fmla="*/ 2790325 w 8859525"/>
                <a:gd name="connsiteY5" fmla="*/ 728648 h 795901"/>
                <a:gd name="connsiteX6" fmla="*/ 3561194 w 8859525"/>
                <a:gd name="connsiteY6" fmla="*/ 771142 h 795901"/>
                <a:gd name="connsiteX7" fmla="*/ 4440630 w 8859525"/>
                <a:gd name="connsiteY7" fmla="*/ 754148 h 795901"/>
                <a:gd name="connsiteX8" fmla="*/ 5070348 w 8859525"/>
                <a:gd name="connsiteY8" fmla="*/ 762654 h 795901"/>
                <a:gd name="connsiteX9" fmla="*/ 5906358 w 8859525"/>
                <a:gd name="connsiteY9" fmla="*/ 762654 h 795901"/>
                <a:gd name="connsiteX10" fmla="*/ 6970371 w 8859525"/>
                <a:gd name="connsiteY10" fmla="*/ 788154 h 795901"/>
                <a:gd name="connsiteX11" fmla="*/ 7719526 w 8859525"/>
                <a:gd name="connsiteY11" fmla="*/ 779648 h 795901"/>
                <a:gd name="connsiteX12" fmla="*/ 8251521 w 8859525"/>
                <a:gd name="connsiteY12" fmla="*/ 771142 h 795901"/>
                <a:gd name="connsiteX13" fmla="*/ 8729244 w 8859525"/>
                <a:gd name="connsiteY13" fmla="*/ 737154 h 795901"/>
                <a:gd name="connsiteX14" fmla="*/ 8859525 w 8859525"/>
                <a:gd name="connsiteY14" fmla="*/ 754148 h 795901"/>
                <a:gd name="connsiteX15" fmla="*/ 8859525 w 8859525"/>
                <a:gd name="connsiteY15" fmla="*/ 133791 h 795901"/>
                <a:gd name="connsiteX16" fmla="*/ 8674949 w 8859525"/>
                <a:gd name="connsiteY16" fmla="*/ 65870 h 795901"/>
                <a:gd name="connsiteX17" fmla="*/ 7860653 w 8859525"/>
                <a:gd name="connsiteY17" fmla="*/ 14889 h 795901"/>
                <a:gd name="connsiteX18" fmla="*/ 7274362 w 8859525"/>
                <a:gd name="connsiteY18" fmla="*/ 108364 h 795901"/>
                <a:gd name="connsiteX19" fmla="*/ 6373212 w 8859525"/>
                <a:gd name="connsiteY19" fmla="*/ 201839 h 795901"/>
                <a:gd name="connsiteX20" fmla="*/ 5406921 w 8859525"/>
                <a:gd name="connsiteY20" fmla="*/ 201839 h 795901"/>
                <a:gd name="connsiteX21" fmla="*/ 3680631 w 8859525"/>
                <a:gd name="connsiteY21" fmla="*/ 193333 h 795901"/>
                <a:gd name="connsiteX22" fmla="*/ 2594903 w 8859525"/>
                <a:gd name="connsiteY22" fmla="*/ 65870 h 795901"/>
                <a:gd name="connsiteX23" fmla="*/ 803471 w 8859525"/>
                <a:gd name="connsiteY23" fmla="*/ 57364 h 795901"/>
                <a:gd name="connsiteX24" fmla="*/ 263649 w 8859525"/>
                <a:gd name="connsiteY24" fmla="*/ 66415 h 795901"/>
                <a:gd name="connsiteX0" fmla="*/ 224684 w 8820560"/>
                <a:gd name="connsiteY0" fmla="*/ 66415 h 815564"/>
                <a:gd name="connsiteX1" fmla="*/ 199987 w 8820560"/>
                <a:gd name="connsiteY1" fmla="*/ 726571 h 815564"/>
                <a:gd name="connsiteX2" fmla="*/ 1122769 w 8820560"/>
                <a:gd name="connsiteY2" fmla="*/ 754148 h 815564"/>
                <a:gd name="connsiteX3" fmla="*/ 1817628 w 8820560"/>
                <a:gd name="connsiteY3" fmla="*/ 788136 h 815564"/>
                <a:gd name="connsiteX4" fmla="*/ 2273638 w 8820560"/>
                <a:gd name="connsiteY4" fmla="*/ 728648 h 815564"/>
                <a:gd name="connsiteX5" fmla="*/ 2751360 w 8820560"/>
                <a:gd name="connsiteY5" fmla="*/ 728648 h 815564"/>
                <a:gd name="connsiteX6" fmla="*/ 3522229 w 8820560"/>
                <a:gd name="connsiteY6" fmla="*/ 771142 h 815564"/>
                <a:gd name="connsiteX7" fmla="*/ 4401665 w 8820560"/>
                <a:gd name="connsiteY7" fmla="*/ 754148 h 815564"/>
                <a:gd name="connsiteX8" fmla="*/ 5031383 w 8820560"/>
                <a:gd name="connsiteY8" fmla="*/ 762654 h 815564"/>
                <a:gd name="connsiteX9" fmla="*/ 5867393 w 8820560"/>
                <a:gd name="connsiteY9" fmla="*/ 762654 h 815564"/>
                <a:gd name="connsiteX10" fmla="*/ 6931406 w 8820560"/>
                <a:gd name="connsiteY10" fmla="*/ 788154 h 815564"/>
                <a:gd name="connsiteX11" fmla="*/ 7680561 w 8820560"/>
                <a:gd name="connsiteY11" fmla="*/ 779648 h 815564"/>
                <a:gd name="connsiteX12" fmla="*/ 8212556 w 8820560"/>
                <a:gd name="connsiteY12" fmla="*/ 771142 h 815564"/>
                <a:gd name="connsiteX13" fmla="*/ 8690279 w 8820560"/>
                <a:gd name="connsiteY13" fmla="*/ 737154 h 815564"/>
                <a:gd name="connsiteX14" fmla="*/ 8820560 w 8820560"/>
                <a:gd name="connsiteY14" fmla="*/ 754148 h 815564"/>
                <a:gd name="connsiteX15" fmla="*/ 8820560 w 8820560"/>
                <a:gd name="connsiteY15" fmla="*/ 133791 h 815564"/>
                <a:gd name="connsiteX16" fmla="*/ 8635984 w 8820560"/>
                <a:gd name="connsiteY16" fmla="*/ 65870 h 815564"/>
                <a:gd name="connsiteX17" fmla="*/ 7821688 w 8820560"/>
                <a:gd name="connsiteY17" fmla="*/ 14889 h 815564"/>
                <a:gd name="connsiteX18" fmla="*/ 7235397 w 8820560"/>
                <a:gd name="connsiteY18" fmla="*/ 108364 h 815564"/>
                <a:gd name="connsiteX19" fmla="*/ 6334247 w 8820560"/>
                <a:gd name="connsiteY19" fmla="*/ 201839 h 815564"/>
                <a:gd name="connsiteX20" fmla="*/ 5367956 w 8820560"/>
                <a:gd name="connsiteY20" fmla="*/ 201839 h 815564"/>
                <a:gd name="connsiteX21" fmla="*/ 3641666 w 8820560"/>
                <a:gd name="connsiteY21" fmla="*/ 193333 h 815564"/>
                <a:gd name="connsiteX22" fmla="*/ 2555938 w 8820560"/>
                <a:gd name="connsiteY22" fmla="*/ 65870 h 815564"/>
                <a:gd name="connsiteX23" fmla="*/ 764506 w 8820560"/>
                <a:gd name="connsiteY23" fmla="*/ 57364 h 815564"/>
                <a:gd name="connsiteX24" fmla="*/ 224684 w 8820560"/>
                <a:gd name="connsiteY24" fmla="*/ 66415 h 815564"/>
                <a:gd name="connsiteX0" fmla="*/ 93047 w 8688923"/>
                <a:gd name="connsiteY0" fmla="*/ 66415 h 795903"/>
                <a:gd name="connsiteX1" fmla="*/ 71109 w 8688923"/>
                <a:gd name="connsiteY1" fmla="*/ 350379 h 795903"/>
                <a:gd name="connsiteX2" fmla="*/ 68350 w 8688923"/>
                <a:gd name="connsiteY2" fmla="*/ 726571 h 795903"/>
                <a:gd name="connsiteX3" fmla="*/ 991132 w 8688923"/>
                <a:gd name="connsiteY3" fmla="*/ 754148 h 795903"/>
                <a:gd name="connsiteX4" fmla="*/ 1685991 w 8688923"/>
                <a:gd name="connsiteY4" fmla="*/ 788136 h 795903"/>
                <a:gd name="connsiteX5" fmla="*/ 2142001 w 8688923"/>
                <a:gd name="connsiteY5" fmla="*/ 728648 h 795903"/>
                <a:gd name="connsiteX6" fmla="*/ 2619723 w 8688923"/>
                <a:gd name="connsiteY6" fmla="*/ 728648 h 795903"/>
                <a:gd name="connsiteX7" fmla="*/ 3390592 w 8688923"/>
                <a:gd name="connsiteY7" fmla="*/ 771142 h 795903"/>
                <a:gd name="connsiteX8" fmla="*/ 4270028 w 8688923"/>
                <a:gd name="connsiteY8" fmla="*/ 754148 h 795903"/>
                <a:gd name="connsiteX9" fmla="*/ 4899746 w 8688923"/>
                <a:gd name="connsiteY9" fmla="*/ 762654 h 795903"/>
                <a:gd name="connsiteX10" fmla="*/ 5735756 w 8688923"/>
                <a:gd name="connsiteY10" fmla="*/ 762654 h 795903"/>
                <a:gd name="connsiteX11" fmla="*/ 6799769 w 8688923"/>
                <a:gd name="connsiteY11" fmla="*/ 788154 h 795903"/>
                <a:gd name="connsiteX12" fmla="*/ 7548924 w 8688923"/>
                <a:gd name="connsiteY12" fmla="*/ 779648 h 795903"/>
                <a:gd name="connsiteX13" fmla="*/ 8080919 w 8688923"/>
                <a:gd name="connsiteY13" fmla="*/ 771142 h 795903"/>
                <a:gd name="connsiteX14" fmla="*/ 8558642 w 8688923"/>
                <a:gd name="connsiteY14" fmla="*/ 737154 h 795903"/>
                <a:gd name="connsiteX15" fmla="*/ 8688923 w 8688923"/>
                <a:gd name="connsiteY15" fmla="*/ 754148 h 795903"/>
                <a:gd name="connsiteX16" fmla="*/ 8688923 w 8688923"/>
                <a:gd name="connsiteY16" fmla="*/ 133791 h 795903"/>
                <a:gd name="connsiteX17" fmla="*/ 8504347 w 8688923"/>
                <a:gd name="connsiteY17" fmla="*/ 65870 h 795903"/>
                <a:gd name="connsiteX18" fmla="*/ 7690051 w 8688923"/>
                <a:gd name="connsiteY18" fmla="*/ 14889 h 795903"/>
                <a:gd name="connsiteX19" fmla="*/ 7103760 w 8688923"/>
                <a:gd name="connsiteY19" fmla="*/ 108364 h 795903"/>
                <a:gd name="connsiteX20" fmla="*/ 6202610 w 8688923"/>
                <a:gd name="connsiteY20" fmla="*/ 201839 h 795903"/>
                <a:gd name="connsiteX21" fmla="*/ 5236319 w 8688923"/>
                <a:gd name="connsiteY21" fmla="*/ 201839 h 795903"/>
                <a:gd name="connsiteX22" fmla="*/ 3510029 w 8688923"/>
                <a:gd name="connsiteY22" fmla="*/ 193333 h 795903"/>
                <a:gd name="connsiteX23" fmla="*/ 2424301 w 8688923"/>
                <a:gd name="connsiteY23" fmla="*/ 65870 h 795903"/>
                <a:gd name="connsiteX24" fmla="*/ 632869 w 8688923"/>
                <a:gd name="connsiteY24" fmla="*/ 57364 h 795903"/>
                <a:gd name="connsiteX25" fmla="*/ 93047 w 8688923"/>
                <a:gd name="connsiteY25" fmla="*/ 66415 h 795903"/>
                <a:gd name="connsiteX0" fmla="*/ 91443 w 8687319"/>
                <a:gd name="connsiteY0" fmla="*/ 66415 h 795901"/>
                <a:gd name="connsiteX1" fmla="*/ 69505 w 8687319"/>
                <a:gd name="connsiteY1" fmla="*/ 350379 h 795901"/>
                <a:gd name="connsiteX2" fmla="*/ 66746 w 8687319"/>
                <a:gd name="connsiteY2" fmla="*/ 726571 h 795901"/>
                <a:gd name="connsiteX3" fmla="*/ 989528 w 8687319"/>
                <a:gd name="connsiteY3" fmla="*/ 754148 h 795901"/>
                <a:gd name="connsiteX4" fmla="*/ 1684387 w 8687319"/>
                <a:gd name="connsiteY4" fmla="*/ 788136 h 795901"/>
                <a:gd name="connsiteX5" fmla="*/ 2140397 w 8687319"/>
                <a:gd name="connsiteY5" fmla="*/ 728648 h 795901"/>
                <a:gd name="connsiteX6" fmla="*/ 2618119 w 8687319"/>
                <a:gd name="connsiteY6" fmla="*/ 728648 h 795901"/>
                <a:gd name="connsiteX7" fmla="*/ 3388988 w 8687319"/>
                <a:gd name="connsiteY7" fmla="*/ 771142 h 795901"/>
                <a:gd name="connsiteX8" fmla="*/ 4268424 w 8687319"/>
                <a:gd name="connsiteY8" fmla="*/ 754148 h 795901"/>
                <a:gd name="connsiteX9" fmla="*/ 4898142 w 8687319"/>
                <a:gd name="connsiteY9" fmla="*/ 762654 h 795901"/>
                <a:gd name="connsiteX10" fmla="*/ 5734152 w 8687319"/>
                <a:gd name="connsiteY10" fmla="*/ 762654 h 795901"/>
                <a:gd name="connsiteX11" fmla="*/ 6798165 w 8687319"/>
                <a:gd name="connsiteY11" fmla="*/ 788154 h 795901"/>
                <a:gd name="connsiteX12" fmla="*/ 7547320 w 8687319"/>
                <a:gd name="connsiteY12" fmla="*/ 779648 h 795901"/>
                <a:gd name="connsiteX13" fmla="*/ 8079315 w 8687319"/>
                <a:gd name="connsiteY13" fmla="*/ 771142 h 795901"/>
                <a:gd name="connsiteX14" fmla="*/ 8557038 w 8687319"/>
                <a:gd name="connsiteY14" fmla="*/ 737154 h 795901"/>
                <a:gd name="connsiteX15" fmla="*/ 8687319 w 8687319"/>
                <a:gd name="connsiteY15" fmla="*/ 754148 h 795901"/>
                <a:gd name="connsiteX16" fmla="*/ 8687319 w 8687319"/>
                <a:gd name="connsiteY16" fmla="*/ 133791 h 795901"/>
                <a:gd name="connsiteX17" fmla="*/ 8502743 w 8687319"/>
                <a:gd name="connsiteY17" fmla="*/ 65870 h 795901"/>
                <a:gd name="connsiteX18" fmla="*/ 7688447 w 8687319"/>
                <a:gd name="connsiteY18" fmla="*/ 14889 h 795901"/>
                <a:gd name="connsiteX19" fmla="*/ 7102156 w 8687319"/>
                <a:gd name="connsiteY19" fmla="*/ 108364 h 795901"/>
                <a:gd name="connsiteX20" fmla="*/ 6201006 w 8687319"/>
                <a:gd name="connsiteY20" fmla="*/ 201839 h 795901"/>
                <a:gd name="connsiteX21" fmla="*/ 5234715 w 8687319"/>
                <a:gd name="connsiteY21" fmla="*/ 201839 h 795901"/>
                <a:gd name="connsiteX22" fmla="*/ 3508425 w 8687319"/>
                <a:gd name="connsiteY22" fmla="*/ 193333 h 795901"/>
                <a:gd name="connsiteX23" fmla="*/ 2422697 w 8687319"/>
                <a:gd name="connsiteY23" fmla="*/ 65870 h 795901"/>
                <a:gd name="connsiteX24" fmla="*/ 631265 w 8687319"/>
                <a:gd name="connsiteY24" fmla="*/ 57364 h 795901"/>
                <a:gd name="connsiteX25" fmla="*/ 91443 w 8687319"/>
                <a:gd name="connsiteY25" fmla="*/ 66415 h 795901"/>
                <a:gd name="connsiteX0" fmla="*/ 91443 w 8687319"/>
                <a:gd name="connsiteY0" fmla="*/ 66415 h 795903"/>
                <a:gd name="connsiteX1" fmla="*/ 69505 w 8687319"/>
                <a:gd name="connsiteY1" fmla="*/ 350379 h 795903"/>
                <a:gd name="connsiteX2" fmla="*/ 66746 w 8687319"/>
                <a:gd name="connsiteY2" fmla="*/ 726571 h 795903"/>
                <a:gd name="connsiteX3" fmla="*/ 989528 w 8687319"/>
                <a:gd name="connsiteY3" fmla="*/ 754148 h 795903"/>
                <a:gd name="connsiteX4" fmla="*/ 1684387 w 8687319"/>
                <a:gd name="connsiteY4" fmla="*/ 788136 h 795903"/>
                <a:gd name="connsiteX5" fmla="*/ 2140397 w 8687319"/>
                <a:gd name="connsiteY5" fmla="*/ 728648 h 795903"/>
                <a:gd name="connsiteX6" fmla="*/ 2618119 w 8687319"/>
                <a:gd name="connsiteY6" fmla="*/ 728648 h 795903"/>
                <a:gd name="connsiteX7" fmla="*/ 3388988 w 8687319"/>
                <a:gd name="connsiteY7" fmla="*/ 771142 h 795903"/>
                <a:gd name="connsiteX8" fmla="*/ 4268424 w 8687319"/>
                <a:gd name="connsiteY8" fmla="*/ 754148 h 795903"/>
                <a:gd name="connsiteX9" fmla="*/ 4898142 w 8687319"/>
                <a:gd name="connsiteY9" fmla="*/ 762654 h 795903"/>
                <a:gd name="connsiteX10" fmla="*/ 5734152 w 8687319"/>
                <a:gd name="connsiteY10" fmla="*/ 762654 h 795903"/>
                <a:gd name="connsiteX11" fmla="*/ 6798165 w 8687319"/>
                <a:gd name="connsiteY11" fmla="*/ 788154 h 795903"/>
                <a:gd name="connsiteX12" fmla="*/ 7547320 w 8687319"/>
                <a:gd name="connsiteY12" fmla="*/ 779648 h 795903"/>
                <a:gd name="connsiteX13" fmla="*/ 8079315 w 8687319"/>
                <a:gd name="connsiteY13" fmla="*/ 771142 h 795903"/>
                <a:gd name="connsiteX14" fmla="*/ 8557038 w 8687319"/>
                <a:gd name="connsiteY14" fmla="*/ 737154 h 795903"/>
                <a:gd name="connsiteX15" fmla="*/ 8687319 w 8687319"/>
                <a:gd name="connsiteY15" fmla="*/ 754148 h 795903"/>
                <a:gd name="connsiteX16" fmla="*/ 8687319 w 8687319"/>
                <a:gd name="connsiteY16" fmla="*/ 133791 h 795903"/>
                <a:gd name="connsiteX17" fmla="*/ 8502743 w 8687319"/>
                <a:gd name="connsiteY17" fmla="*/ 65870 h 795903"/>
                <a:gd name="connsiteX18" fmla="*/ 7688447 w 8687319"/>
                <a:gd name="connsiteY18" fmla="*/ 14889 h 795903"/>
                <a:gd name="connsiteX19" fmla="*/ 7102156 w 8687319"/>
                <a:gd name="connsiteY19" fmla="*/ 108364 h 795903"/>
                <a:gd name="connsiteX20" fmla="*/ 6201006 w 8687319"/>
                <a:gd name="connsiteY20" fmla="*/ 201839 h 795903"/>
                <a:gd name="connsiteX21" fmla="*/ 5234715 w 8687319"/>
                <a:gd name="connsiteY21" fmla="*/ 201839 h 795903"/>
                <a:gd name="connsiteX22" fmla="*/ 3508425 w 8687319"/>
                <a:gd name="connsiteY22" fmla="*/ 193333 h 795903"/>
                <a:gd name="connsiteX23" fmla="*/ 2422697 w 8687319"/>
                <a:gd name="connsiteY23" fmla="*/ 65870 h 795903"/>
                <a:gd name="connsiteX24" fmla="*/ 631265 w 8687319"/>
                <a:gd name="connsiteY24" fmla="*/ 57364 h 795903"/>
                <a:gd name="connsiteX25" fmla="*/ 91443 w 8687319"/>
                <a:gd name="connsiteY25" fmla="*/ 66415 h 795903"/>
                <a:gd name="connsiteX0" fmla="*/ 87616 w 8683492"/>
                <a:gd name="connsiteY0" fmla="*/ 66415 h 795901"/>
                <a:gd name="connsiteX1" fmla="*/ 65678 w 8683492"/>
                <a:gd name="connsiteY1" fmla="*/ 350379 h 795901"/>
                <a:gd name="connsiteX2" fmla="*/ 80340 w 8683492"/>
                <a:gd name="connsiteY2" fmla="*/ 609625 h 795901"/>
                <a:gd name="connsiteX3" fmla="*/ 62919 w 8683492"/>
                <a:gd name="connsiteY3" fmla="*/ 726571 h 795901"/>
                <a:gd name="connsiteX4" fmla="*/ 985701 w 8683492"/>
                <a:gd name="connsiteY4" fmla="*/ 754148 h 795901"/>
                <a:gd name="connsiteX5" fmla="*/ 1680560 w 8683492"/>
                <a:gd name="connsiteY5" fmla="*/ 788136 h 795901"/>
                <a:gd name="connsiteX6" fmla="*/ 2136570 w 8683492"/>
                <a:gd name="connsiteY6" fmla="*/ 728648 h 795901"/>
                <a:gd name="connsiteX7" fmla="*/ 2614292 w 8683492"/>
                <a:gd name="connsiteY7" fmla="*/ 728648 h 795901"/>
                <a:gd name="connsiteX8" fmla="*/ 3385161 w 8683492"/>
                <a:gd name="connsiteY8" fmla="*/ 771142 h 795901"/>
                <a:gd name="connsiteX9" fmla="*/ 4264597 w 8683492"/>
                <a:gd name="connsiteY9" fmla="*/ 754148 h 795901"/>
                <a:gd name="connsiteX10" fmla="*/ 4894315 w 8683492"/>
                <a:gd name="connsiteY10" fmla="*/ 762654 h 795901"/>
                <a:gd name="connsiteX11" fmla="*/ 5730325 w 8683492"/>
                <a:gd name="connsiteY11" fmla="*/ 762654 h 795901"/>
                <a:gd name="connsiteX12" fmla="*/ 6794338 w 8683492"/>
                <a:gd name="connsiteY12" fmla="*/ 788154 h 795901"/>
                <a:gd name="connsiteX13" fmla="*/ 7543493 w 8683492"/>
                <a:gd name="connsiteY13" fmla="*/ 779648 h 795901"/>
                <a:gd name="connsiteX14" fmla="*/ 8075488 w 8683492"/>
                <a:gd name="connsiteY14" fmla="*/ 771142 h 795901"/>
                <a:gd name="connsiteX15" fmla="*/ 8553211 w 8683492"/>
                <a:gd name="connsiteY15" fmla="*/ 737154 h 795901"/>
                <a:gd name="connsiteX16" fmla="*/ 8683492 w 8683492"/>
                <a:gd name="connsiteY16" fmla="*/ 754148 h 795901"/>
                <a:gd name="connsiteX17" fmla="*/ 8683492 w 8683492"/>
                <a:gd name="connsiteY17" fmla="*/ 133791 h 795901"/>
                <a:gd name="connsiteX18" fmla="*/ 8498916 w 8683492"/>
                <a:gd name="connsiteY18" fmla="*/ 65870 h 795901"/>
                <a:gd name="connsiteX19" fmla="*/ 7684620 w 8683492"/>
                <a:gd name="connsiteY19" fmla="*/ 14889 h 795901"/>
                <a:gd name="connsiteX20" fmla="*/ 7098329 w 8683492"/>
                <a:gd name="connsiteY20" fmla="*/ 108364 h 795901"/>
                <a:gd name="connsiteX21" fmla="*/ 6197179 w 8683492"/>
                <a:gd name="connsiteY21" fmla="*/ 201839 h 795901"/>
                <a:gd name="connsiteX22" fmla="*/ 5230888 w 8683492"/>
                <a:gd name="connsiteY22" fmla="*/ 201839 h 795901"/>
                <a:gd name="connsiteX23" fmla="*/ 3504598 w 8683492"/>
                <a:gd name="connsiteY23" fmla="*/ 193333 h 795901"/>
                <a:gd name="connsiteX24" fmla="*/ 2418870 w 8683492"/>
                <a:gd name="connsiteY24" fmla="*/ 65870 h 795901"/>
                <a:gd name="connsiteX25" fmla="*/ 627438 w 8683492"/>
                <a:gd name="connsiteY25" fmla="*/ 57364 h 795901"/>
                <a:gd name="connsiteX26" fmla="*/ 87616 w 8683492"/>
                <a:gd name="connsiteY26" fmla="*/ 66415 h 795901"/>
                <a:gd name="connsiteX0" fmla="*/ 84495 w 8680371"/>
                <a:gd name="connsiteY0" fmla="*/ 66415 h 795903"/>
                <a:gd name="connsiteX1" fmla="*/ 62557 w 8680371"/>
                <a:gd name="connsiteY1" fmla="*/ 350379 h 795903"/>
                <a:gd name="connsiteX2" fmla="*/ 77219 w 8680371"/>
                <a:gd name="connsiteY2" fmla="*/ 609625 h 795903"/>
                <a:gd name="connsiteX3" fmla="*/ 89436 w 8680371"/>
                <a:gd name="connsiteY3" fmla="*/ 686441 h 795903"/>
                <a:gd name="connsiteX4" fmla="*/ 59798 w 8680371"/>
                <a:gd name="connsiteY4" fmla="*/ 726571 h 795903"/>
                <a:gd name="connsiteX5" fmla="*/ 982580 w 8680371"/>
                <a:gd name="connsiteY5" fmla="*/ 754148 h 795903"/>
                <a:gd name="connsiteX6" fmla="*/ 1677439 w 8680371"/>
                <a:gd name="connsiteY6" fmla="*/ 788136 h 795903"/>
                <a:gd name="connsiteX7" fmla="*/ 2133449 w 8680371"/>
                <a:gd name="connsiteY7" fmla="*/ 728648 h 795903"/>
                <a:gd name="connsiteX8" fmla="*/ 2611171 w 8680371"/>
                <a:gd name="connsiteY8" fmla="*/ 728648 h 795903"/>
                <a:gd name="connsiteX9" fmla="*/ 3382040 w 8680371"/>
                <a:gd name="connsiteY9" fmla="*/ 771142 h 795903"/>
                <a:gd name="connsiteX10" fmla="*/ 4261476 w 8680371"/>
                <a:gd name="connsiteY10" fmla="*/ 754148 h 795903"/>
                <a:gd name="connsiteX11" fmla="*/ 4891194 w 8680371"/>
                <a:gd name="connsiteY11" fmla="*/ 762654 h 795903"/>
                <a:gd name="connsiteX12" fmla="*/ 5727204 w 8680371"/>
                <a:gd name="connsiteY12" fmla="*/ 762654 h 795903"/>
                <a:gd name="connsiteX13" fmla="*/ 6791217 w 8680371"/>
                <a:gd name="connsiteY13" fmla="*/ 788154 h 795903"/>
                <a:gd name="connsiteX14" fmla="*/ 7540372 w 8680371"/>
                <a:gd name="connsiteY14" fmla="*/ 779648 h 795903"/>
                <a:gd name="connsiteX15" fmla="*/ 8072367 w 8680371"/>
                <a:gd name="connsiteY15" fmla="*/ 771142 h 795903"/>
                <a:gd name="connsiteX16" fmla="*/ 8550090 w 8680371"/>
                <a:gd name="connsiteY16" fmla="*/ 737154 h 795903"/>
                <a:gd name="connsiteX17" fmla="*/ 8680371 w 8680371"/>
                <a:gd name="connsiteY17" fmla="*/ 754148 h 795903"/>
                <a:gd name="connsiteX18" fmla="*/ 8680371 w 8680371"/>
                <a:gd name="connsiteY18" fmla="*/ 133791 h 795903"/>
                <a:gd name="connsiteX19" fmla="*/ 8495795 w 8680371"/>
                <a:gd name="connsiteY19" fmla="*/ 65870 h 795903"/>
                <a:gd name="connsiteX20" fmla="*/ 7681499 w 8680371"/>
                <a:gd name="connsiteY20" fmla="*/ 14889 h 795903"/>
                <a:gd name="connsiteX21" fmla="*/ 7095208 w 8680371"/>
                <a:gd name="connsiteY21" fmla="*/ 108364 h 795903"/>
                <a:gd name="connsiteX22" fmla="*/ 6194058 w 8680371"/>
                <a:gd name="connsiteY22" fmla="*/ 201839 h 795903"/>
                <a:gd name="connsiteX23" fmla="*/ 5227767 w 8680371"/>
                <a:gd name="connsiteY23" fmla="*/ 201839 h 795903"/>
                <a:gd name="connsiteX24" fmla="*/ 3501477 w 8680371"/>
                <a:gd name="connsiteY24" fmla="*/ 193333 h 795903"/>
                <a:gd name="connsiteX25" fmla="*/ 2415749 w 8680371"/>
                <a:gd name="connsiteY25" fmla="*/ 65870 h 795903"/>
                <a:gd name="connsiteX26" fmla="*/ 624317 w 8680371"/>
                <a:gd name="connsiteY26" fmla="*/ 57364 h 795903"/>
                <a:gd name="connsiteX27" fmla="*/ 84495 w 8680371"/>
                <a:gd name="connsiteY27" fmla="*/ 66415 h 795903"/>
                <a:gd name="connsiteX0" fmla="*/ 58632 w 8654508"/>
                <a:gd name="connsiteY0" fmla="*/ 66415 h 847530"/>
                <a:gd name="connsiteX1" fmla="*/ 36694 w 8654508"/>
                <a:gd name="connsiteY1" fmla="*/ 350379 h 847530"/>
                <a:gd name="connsiteX2" fmla="*/ 51356 w 8654508"/>
                <a:gd name="connsiteY2" fmla="*/ 609625 h 847530"/>
                <a:gd name="connsiteX3" fmla="*/ 63573 w 8654508"/>
                <a:gd name="connsiteY3" fmla="*/ 686441 h 847530"/>
                <a:gd name="connsiteX4" fmla="*/ 99916 w 8654508"/>
                <a:gd name="connsiteY4" fmla="*/ 846591 h 847530"/>
                <a:gd name="connsiteX5" fmla="*/ 956717 w 8654508"/>
                <a:gd name="connsiteY5" fmla="*/ 754148 h 847530"/>
                <a:gd name="connsiteX6" fmla="*/ 1651576 w 8654508"/>
                <a:gd name="connsiteY6" fmla="*/ 788136 h 847530"/>
                <a:gd name="connsiteX7" fmla="*/ 2107586 w 8654508"/>
                <a:gd name="connsiteY7" fmla="*/ 728648 h 847530"/>
                <a:gd name="connsiteX8" fmla="*/ 2585308 w 8654508"/>
                <a:gd name="connsiteY8" fmla="*/ 728648 h 847530"/>
                <a:gd name="connsiteX9" fmla="*/ 3356177 w 8654508"/>
                <a:gd name="connsiteY9" fmla="*/ 771142 h 847530"/>
                <a:gd name="connsiteX10" fmla="*/ 4235613 w 8654508"/>
                <a:gd name="connsiteY10" fmla="*/ 754148 h 847530"/>
                <a:gd name="connsiteX11" fmla="*/ 4865331 w 8654508"/>
                <a:gd name="connsiteY11" fmla="*/ 762654 h 847530"/>
                <a:gd name="connsiteX12" fmla="*/ 5701341 w 8654508"/>
                <a:gd name="connsiteY12" fmla="*/ 762654 h 847530"/>
                <a:gd name="connsiteX13" fmla="*/ 6765354 w 8654508"/>
                <a:gd name="connsiteY13" fmla="*/ 788154 h 847530"/>
                <a:gd name="connsiteX14" fmla="*/ 7514509 w 8654508"/>
                <a:gd name="connsiteY14" fmla="*/ 779648 h 847530"/>
                <a:gd name="connsiteX15" fmla="*/ 8046504 w 8654508"/>
                <a:gd name="connsiteY15" fmla="*/ 771142 h 847530"/>
                <a:gd name="connsiteX16" fmla="*/ 8524227 w 8654508"/>
                <a:gd name="connsiteY16" fmla="*/ 737154 h 847530"/>
                <a:gd name="connsiteX17" fmla="*/ 8654508 w 8654508"/>
                <a:gd name="connsiteY17" fmla="*/ 754148 h 847530"/>
                <a:gd name="connsiteX18" fmla="*/ 8654508 w 8654508"/>
                <a:gd name="connsiteY18" fmla="*/ 133791 h 847530"/>
                <a:gd name="connsiteX19" fmla="*/ 8469932 w 8654508"/>
                <a:gd name="connsiteY19" fmla="*/ 65870 h 847530"/>
                <a:gd name="connsiteX20" fmla="*/ 7655636 w 8654508"/>
                <a:gd name="connsiteY20" fmla="*/ 14889 h 847530"/>
                <a:gd name="connsiteX21" fmla="*/ 7069345 w 8654508"/>
                <a:gd name="connsiteY21" fmla="*/ 108364 h 847530"/>
                <a:gd name="connsiteX22" fmla="*/ 6168195 w 8654508"/>
                <a:gd name="connsiteY22" fmla="*/ 201839 h 847530"/>
                <a:gd name="connsiteX23" fmla="*/ 5201904 w 8654508"/>
                <a:gd name="connsiteY23" fmla="*/ 201839 h 847530"/>
                <a:gd name="connsiteX24" fmla="*/ 3475614 w 8654508"/>
                <a:gd name="connsiteY24" fmla="*/ 193333 h 847530"/>
                <a:gd name="connsiteX25" fmla="*/ 2389886 w 8654508"/>
                <a:gd name="connsiteY25" fmla="*/ 65870 h 847530"/>
                <a:gd name="connsiteX26" fmla="*/ 598454 w 8654508"/>
                <a:gd name="connsiteY26" fmla="*/ 57364 h 847530"/>
                <a:gd name="connsiteX27" fmla="*/ 58632 w 8654508"/>
                <a:gd name="connsiteY27" fmla="*/ 66415 h 847530"/>
                <a:gd name="connsiteX0" fmla="*/ 54170 w 8650046"/>
                <a:gd name="connsiteY0" fmla="*/ 66415 h 847528"/>
                <a:gd name="connsiteX1" fmla="*/ 20012 w 8650046"/>
                <a:gd name="connsiteY1" fmla="*/ 139144 h 847528"/>
                <a:gd name="connsiteX2" fmla="*/ 32232 w 8650046"/>
                <a:gd name="connsiteY2" fmla="*/ 350379 h 847528"/>
                <a:gd name="connsiteX3" fmla="*/ 46894 w 8650046"/>
                <a:gd name="connsiteY3" fmla="*/ 609625 h 847528"/>
                <a:gd name="connsiteX4" fmla="*/ 59111 w 8650046"/>
                <a:gd name="connsiteY4" fmla="*/ 686441 h 847528"/>
                <a:gd name="connsiteX5" fmla="*/ 95454 w 8650046"/>
                <a:gd name="connsiteY5" fmla="*/ 846591 h 847528"/>
                <a:gd name="connsiteX6" fmla="*/ 952255 w 8650046"/>
                <a:gd name="connsiteY6" fmla="*/ 754148 h 847528"/>
                <a:gd name="connsiteX7" fmla="*/ 1647114 w 8650046"/>
                <a:gd name="connsiteY7" fmla="*/ 788136 h 847528"/>
                <a:gd name="connsiteX8" fmla="*/ 2103124 w 8650046"/>
                <a:gd name="connsiteY8" fmla="*/ 728648 h 847528"/>
                <a:gd name="connsiteX9" fmla="*/ 2580846 w 8650046"/>
                <a:gd name="connsiteY9" fmla="*/ 728648 h 847528"/>
                <a:gd name="connsiteX10" fmla="*/ 3351715 w 8650046"/>
                <a:gd name="connsiteY10" fmla="*/ 771142 h 847528"/>
                <a:gd name="connsiteX11" fmla="*/ 4231151 w 8650046"/>
                <a:gd name="connsiteY11" fmla="*/ 754148 h 847528"/>
                <a:gd name="connsiteX12" fmla="*/ 4860869 w 8650046"/>
                <a:gd name="connsiteY12" fmla="*/ 762654 h 847528"/>
                <a:gd name="connsiteX13" fmla="*/ 5696879 w 8650046"/>
                <a:gd name="connsiteY13" fmla="*/ 762654 h 847528"/>
                <a:gd name="connsiteX14" fmla="*/ 6760892 w 8650046"/>
                <a:gd name="connsiteY14" fmla="*/ 788154 h 847528"/>
                <a:gd name="connsiteX15" fmla="*/ 7510047 w 8650046"/>
                <a:gd name="connsiteY15" fmla="*/ 779648 h 847528"/>
                <a:gd name="connsiteX16" fmla="*/ 8042042 w 8650046"/>
                <a:gd name="connsiteY16" fmla="*/ 771142 h 847528"/>
                <a:gd name="connsiteX17" fmla="*/ 8519765 w 8650046"/>
                <a:gd name="connsiteY17" fmla="*/ 737154 h 847528"/>
                <a:gd name="connsiteX18" fmla="*/ 8650046 w 8650046"/>
                <a:gd name="connsiteY18" fmla="*/ 754148 h 847528"/>
                <a:gd name="connsiteX19" fmla="*/ 8650046 w 8650046"/>
                <a:gd name="connsiteY19" fmla="*/ 133791 h 847528"/>
                <a:gd name="connsiteX20" fmla="*/ 8465470 w 8650046"/>
                <a:gd name="connsiteY20" fmla="*/ 65870 h 847528"/>
                <a:gd name="connsiteX21" fmla="*/ 7651174 w 8650046"/>
                <a:gd name="connsiteY21" fmla="*/ 14889 h 847528"/>
                <a:gd name="connsiteX22" fmla="*/ 7064883 w 8650046"/>
                <a:gd name="connsiteY22" fmla="*/ 108364 h 847528"/>
                <a:gd name="connsiteX23" fmla="*/ 6163733 w 8650046"/>
                <a:gd name="connsiteY23" fmla="*/ 201839 h 847528"/>
                <a:gd name="connsiteX24" fmla="*/ 5197442 w 8650046"/>
                <a:gd name="connsiteY24" fmla="*/ 201839 h 847528"/>
                <a:gd name="connsiteX25" fmla="*/ 3471152 w 8650046"/>
                <a:gd name="connsiteY25" fmla="*/ 193333 h 847528"/>
                <a:gd name="connsiteX26" fmla="*/ 2385424 w 8650046"/>
                <a:gd name="connsiteY26" fmla="*/ 65870 h 847528"/>
                <a:gd name="connsiteX27" fmla="*/ 593992 w 8650046"/>
                <a:gd name="connsiteY27" fmla="*/ 57364 h 847528"/>
                <a:gd name="connsiteX28" fmla="*/ 54170 w 8650046"/>
                <a:gd name="connsiteY28" fmla="*/ 66415 h 847528"/>
                <a:gd name="connsiteX0" fmla="*/ 54170 w 8650046"/>
                <a:gd name="connsiteY0" fmla="*/ 66415 h 847530"/>
                <a:gd name="connsiteX1" fmla="*/ 20012 w 8650046"/>
                <a:gd name="connsiteY1" fmla="*/ 139144 h 847530"/>
                <a:gd name="connsiteX2" fmla="*/ 32232 w 8650046"/>
                <a:gd name="connsiteY2" fmla="*/ 350379 h 847530"/>
                <a:gd name="connsiteX3" fmla="*/ 46894 w 8650046"/>
                <a:gd name="connsiteY3" fmla="*/ 609625 h 847530"/>
                <a:gd name="connsiteX4" fmla="*/ 59111 w 8650046"/>
                <a:gd name="connsiteY4" fmla="*/ 686441 h 847530"/>
                <a:gd name="connsiteX5" fmla="*/ 95454 w 8650046"/>
                <a:gd name="connsiteY5" fmla="*/ 846591 h 847530"/>
                <a:gd name="connsiteX6" fmla="*/ 952255 w 8650046"/>
                <a:gd name="connsiteY6" fmla="*/ 754148 h 847530"/>
                <a:gd name="connsiteX7" fmla="*/ 1647114 w 8650046"/>
                <a:gd name="connsiteY7" fmla="*/ 788136 h 847530"/>
                <a:gd name="connsiteX8" fmla="*/ 2103124 w 8650046"/>
                <a:gd name="connsiteY8" fmla="*/ 728648 h 847530"/>
                <a:gd name="connsiteX9" fmla="*/ 2580846 w 8650046"/>
                <a:gd name="connsiteY9" fmla="*/ 728648 h 847530"/>
                <a:gd name="connsiteX10" fmla="*/ 3351715 w 8650046"/>
                <a:gd name="connsiteY10" fmla="*/ 771142 h 847530"/>
                <a:gd name="connsiteX11" fmla="*/ 4231151 w 8650046"/>
                <a:gd name="connsiteY11" fmla="*/ 754148 h 847530"/>
                <a:gd name="connsiteX12" fmla="*/ 4860869 w 8650046"/>
                <a:gd name="connsiteY12" fmla="*/ 762654 h 847530"/>
                <a:gd name="connsiteX13" fmla="*/ 5696879 w 8650046"/>
                <a:gd name="connsiteY13" fmla="*/ 762654 h 847530"/>
                <a:gd name="connsiteX14" fmla="*/ 6760892 w 8650046"/>
                <a:gd name="connsiteY14" fmla="*/ 788154 h 847530"/>
                <a:gd name="connsiteX15" fmla="*/ 7510047 w 8650046"/>
                <a:gd name="connsiteY15" fmla="*/ 779648 h 847530"/>
                <a:gd name="connsiteX16" fmla="*/ 8042042 w 8650046"/>
                <a:gd name="connsiteY16" fmla="*/ 771142 h 847530"/>
                <a:gd name="connsiteX17" fmla="*/ 8519765 w 8650046"/>
                <a:gd name="connsiteY17" fmla="*/ 737154 h 847530"/>
                <a:gd name="connsiteX18" fmla="*/ 8650046 w 8650046"/>
                <a:gd name="connsiteY18" fmla="*/ 754148 h 847530"/>
                <a:gd name="connsiteX19" fmla="*/ 8650046 w 8650046"/>
                <a:gd name="connsiteY19" fmla="*/ 133791 h 847530"/>
                <a:gd name="connsiteX20" fmla="*/ 8465470 w 8650046"/>
                <a:gd name="connsiteY20" fmla="*/ 65870 h 847530"/>
                <a:gd name="connsiteX21" fmla="*/ 7651174 w 8650046"/>
                <a:gd name="connsiteY21" fmla="*/ 14889 h 847530"/>
                <a:gd name="connsiteX22" fmla="*/ 7064883 w 8650046"/>
                <a:gd name="connsiteY22" fmla="*/ 108364 h 847530"/>
                <a:gd name="connsiteX23" fmla="*/ 6163733 w 8650046"/>
                <a:gd name="connsiteY23" fmla="*/ 201839 h 847530"/>
                <a:gd name="connsiteX24" fmla="*/ 5197442 w 8650046"/>
                <a:gd name="connsiteY24" fmla="*/ 201839 h 847530"/>
                <a:gd name="connsiteX25" fmla="*/ 3471152 w 8650046"/>
                <a:gd name="connsiteY25" fmla="*/ 193333 h 847530"/>
                <a:gd name="connsiteX26" fmla="*/ 2385424 w 8650046"/>
                <a:gd name="connsiteY26" fmla="*/ 65870 h 847530"/>
                <a:gd name="connsiteX27" fmla="*/ 593992 w 8650046"/>
                <a:gd name="connsiteY27" fmla="*/ 57364 h 847530"/>
                <a:gd name="connsiteX28" fmla="*/ 54170 w 8650046"/>
                <a:gd name="connsiteY28" fmla="*/ 66415 h 847530"/>
                <a:gd name="connsiteX0" fmla="*/ 48208 w 8644084"/>
                <a:gd name="connsiteY0" fmla="*/ 66415 h 847528"/>
                <a:gd name="connsiteX1" fmla="*/ 14050 w 8644084"/>
                <a:gd name="connsiteY1" fmla="*/ 139144 h 847528"/>
                <a:gd name="connsiteX2" fmla="*/ 26270 w 8644084"/>
                <a:gd name="connsiteY2" fmla="*/ 350379 h 847528"/>
                <a:gd name="connsiteX3" fmla="*/ 40932 w 8644084"/>
                <a:gd name="connsiteY3" fmla="*/ 609625 h 847528"/>
                <a:gd name="connsiteX4" fmla="*/ 53149 w 8644084"/>
                <a:gd name="connsiteY4" fmla="*/ 686441 h 847528"/>
                <a:gd name="connsiteX5" fmla="*/ 89492 w 8644084"/>
                <a:gd name="connsiteY5" fmla="*/ 846591 h 847528"/>
                <a:gd name="connsiteX6" fmla="*/ 946293 w 8644084"/>
                <a:gd name="connsiteY6" fmla="*/ 754148 h 847528"/>
                <a:gd name="connsiteX7" fmla="*/ 1641152 w 8644084"/>
                <a:gd name="connsiteY7" fmla="*/ 788136 h 847528"/>
                <a:gd name="connsiteX8" fmla="*/ 2097162 w 8644084"/>
                <a:gd name="connsiteY8" fmla="*/ 728648 h 847528"/>
                <a:gd name="connsiteX9" fmla="*/ 2574884 w 8644084"/>
                <a:gd name="connsiteY9" fmla="*/ 728648 h 847528"/>
                <a:gd name="connsiteX10" fmla="*/ 3345753 w 8644084"/>
                <a:gd name="connsiteY10" fmla="*/ 771142 h 847528"/>
                <a:gd name="connsiteX11" fmla="*/ 4225189 w 8644084"/>
                <a:gd name="connsiteY11" fmla="*/ 754148 h 847528"/>
                <a:gd name="connsiteX12" fmla="*/ 4854907 w 8644084"/>
                <a:gd name="connsiteY12" fmla="*/ 762654 h 847528"/>
                <a:gd name="connsiteX13" fmla="*/ 5690917 w 8644084"/>
                <a:gd name="connsiteY13" fmla="*/ 762654 h 847528"/>
                <a:gd name="connsiteX14" fmla="*/ 6754930 w 8644084"/>
                <a:gd name="connsiteY14" fmla="*/ 788154 h 847528"/>
                <a:gd name="connsiteX15" fmla="*/ 7504085 w 8644084"/>
                <a:gd name="connsiteY15" fmla="*/ 779648 h 847528"/>
                <a:gd name="connsiteX16" fmla="*/ 8036080 w 8644084"/>
                <a:gd name="connsiteY16" fmla="*/ 771142 h 847528"/>
                <a:gd name="connsiteX17" fmla="*/ 8513803 w 8644084"/>
                <a:gd name="connsiteY17" fmla="*/ 737154 h 847528"/>
                <a:gd name="connsiteX18" fmla="*/ 8644084 w 8644084"/>
                <a:gd name="connsiteY18" fmla="*/ 754148 h 847528"/>
                <a:gd name="connsiteX19" fmla="*/ 8644084 w 8644084"/>
                <a:gd name="connsiteY19" fmla="*/ 133791 h 847528"/>
                <a:gd name="connsiteX20" fmla="*/ 8459508 w 8644084"/>
                <a:gd name="connsiteY20" fmla="*/ 65870 h 847528"/>
                <a:gd name="connsiteX21" fmla="*/ 7645212 w 8644084"/>
                <a:gd name="connsiteY21" fmla="*/ 14889 h 847528"/>
                <a:gd name="connsiteX22" fmla="*/ 7058921 w 8644084"/>
                <a:gd name="connsiteY22" fmla="*/ 108364 h 847528"/>
                <a:gd name="connsiteX23" fmla="*/ 6157771 w 8644084"/>
                <a:gd name="connsiteY23" fmla="*/ 201839 h 847528"/>
                <a:gd name="connsiteX24" fmla="*/ 5191480 w 8644084"/>
                <a:gd name="connsiteY24" fmla="*/ 201839 h 847528"/>
                <a:gd name="connsiteX25" fmla="*/ 3465190 w 8644084"/>
                <a:gd name="connsiteY25" fmla="*/ 193333 h 847528"/>
                <a:gd name="connsiteX26" fmla="*/ 2379462 w 8644084"/>
                <a:gd name="connsiteY26" fmla="*/ 65870 h 847528"/>
                <a:gd name="connsiteX27" fmla="*/ 588030 w 8644084"/>
                <a:gd name="connsiteY27" fmla="*/ 57364 h 847528"/>
                <a:gd name="connsiteX28" fmla="*/ 48208 w 8644084"/>
                <a:gd name="connsiteY28" fmla="*/ 66415 h 847528"/>
                <a:gd name="connsiteX0" fmla="*/ 39893 w 8635769"/>
                <a:gd name="connsiteY0" fmla="*/ 66415 h 847530"/>
                <a:gd name="connsiteX1" fmla="*/ 5735 w 8635769"/>
                <a:gd name="connsiteY1" fmla="*/ 139144 h 847530"/>
                <a:gd name="connsiteX2" fmla="*/ 17955 w 8635769"/>
                <a:gd name="connsiteY2" fmla="*/ 350379 h 847530"/>
                <a:gd name="connsiteX3" fmla="*/ 32617 w 8635769"/>
                <a:gd name="connsiteY3" fmla="*/ 609625 h 847530"/>
                <a:gd name="connsiteX4" fmla="*/ 44834 w 8635769"/>
                <a:gd name="connsiteY4" fmla="*/ 686441 h 847530"/>
                <a:gd name="connsiteX5" fmla="*/ 81177 w 8635769"/>
                <a:gd name="connsiteY5" fmla="*/ 846591 h 847530"/>
                <a:gd name="connsiteX6" fmla="*/ 937978 w 8635769"/>
                <a:gd name="connsiteY6" fmla="*/ 754148 h 847530"/>
                <a:gd name="connsiteX7" fmla="*/ 1632837 w 8635769"/>
                <a:gd name="connsiteY7" fmla="*/ 788136 h 847530"/>
                <a:gd name="connsiteX8" fmla="*/ 2088847 w 8635769"/>
                <a:gd name="connsiteY8" fmla="*/ 728648 h 847530"/>
                <a:gd name="connsiteX9" fmla="*/ 2566569 w 8635769"/>
                <a:gd name="connsiteY9" fmla="*/ 728648 h 847530"/>
                <a:gd name="connsiteX10" fmla="*/ 3337438 w 8635769"/>
                <a:gd name="connsiteY10" fmla="*/ 771142 h 847530"/>
                <a:gd name="connsiteX11" fmla="*/ 4216874 w 8635769"/>
                <a:gd name="connsiteY11" fmla="*/ 754148 h 847530"/>
                <a:gd name="connsiteX12" fmla="*/ 4846592 w 8635769"/>
                <a:gd name="connsiteY12" fmla="*/ 762654 h 847530"/>
                <a:gd name="connsiteX13" fmla="*/ 5682602 w 8635769"/>
                <a:gd name="connsiteY13" fmla="*/ 762654 h 847530"/>
                <a:gd name="connsiteX14" fmla="*/ 6746615 w 8635769"/>
                <a:gd name="connsiteY14" fmla="*/ 788154 h 847530"/>
                <a:gd name="connsiteX15" fmla="*/ 7495770 w 8635769"/>
                <a:gd name="connsiteY15" fmla="*/ 779648 h 847530"/>
                <a:gd name="connsiteX16" fmla="*/ 8027765 w 8635769"/>
                <a:gd name="connsiteY16" fmla="*/ 771142 h 847530"/>
                <a:gd name="connsiteX17" fmla="*/ 8505488 w 8635769"/>
                <a:gd name="connsiteY17" fmla="*/ 737154 h 847530"/>
                <a:gd name="connsiteX18" fmla="*/ 8635769 w 8635769"/>
                <a:gd name="connsiteY18" fmla="*/ 754148 h 847530"/>
                <a:gd name="connsiteX19" fmla="*/ 8635769 w 8635769"/>
                <a:gd name="connsiteY19" fmla="*/ 133791 h 847530"/>
                <a:gd name="connsiteX20" fmla="*/ 8451193 w 8635769"/>
                <a:gd name="connsiteY20" fmla="*/ 65870 h 847530"/>
                <a:gd name="connsiteX21" fmla="*/ 7636897 w 8635769"/>
                <a:gd name="connsiteY21" fmla="*/ 14889 h 847530"/>
                <a:gd name="connsiteX22" fmla="*/ 7050606 w 8635769"/>
                <a:gd name="connsiteY22" fmla="*/ 108364 h 847530"/>
                <a:gd name="connsiteX23" fmla="*/ 6149456 w 8635769"/>
                <a:gd name="connsiteY23" fmla="*/ 201839 h 847530"/>
                <a:gd name="connsiteX24" fmla="*/ 5183165 w 8635769"/>
                <a:gd name="connsiteY24" fmla="*/ 201839 h 847530"/>
                <a:gd name="connsiteX25" fmla="*/ 3456875 w 8635769"/>
                <a:gd name="connsiteY25" fmla="*/ 193333 h 847530"/>
                <a:gd name="connsiteX26" fmla="*/ 2371147 w 8635769"/>
                <a:gd name="connsiteY26" fmla="*/ 65870 h 847530"/>
                <a:gd name="connsiteX27" fmla="*/ 579715 w 8635769"/>
                <a:gd name="connsiteY27" fmla="*/ 57364 h 847530"/>
                <a:gd name="connsiteX28" fmla="*/ 39893 w 8635769"/>
                <a:gd name="connsiteY28" fmla="*/ 66415 h 847530"/>
                <a:gd name="connsiteX0" fmla="*/ 39893 w 8635769"/>
                <a:gd name="connsiteY0" fmla="*/ 66415 h 847528"/>
                <a:gd name="connsiteX1" fmla="*/ 5735 w 8635769"/>
                <a:gd name="connsiteY1" fmla="*/ 139144 h 847528"/>
                <a:gd name="connsiteX2" fmla="*/ 17955 w 8635769"/>
                <a:gd name="connsiteY2" fmla="*/ 350379 h 847528"/>
                <a:gd name="connsiteX3" fmla="*/ 32617 w 8635769"/>
                <a:gd name="connsiteY3" fmla="*/ 609625 h 847528"/>
                <a:gd name="connsiteX4" fmla="*/ 44834 w 8635769"/>
                <a:gd name="connsiteY4" fmla="*/ 686441 h 847528"/>
                <a:gd name="connsiteX5" fmla="*/ 81177 w 8635769"/>
                <a:gd name="connsiteY5" fmla="*/ 846591 h 847528"/>
                <a:gd name="connsiteX6" fmla="*/ 937978 w 8635769"/>
                <a:gd name="connsiteY6" fmla="*/ 754148 h 847528"/>
                <a:gd name="connsiteX7" fmla="*/ 1632837 w 8635769"/>
                <a:gd name="connsiteY7" fmla="*/ 788136 h 847528"/>
                <a:gd name="connsiteX8" fmla="*/ 2088847 w 8635769"/>
                <a:gd name="connsiteY8" fmla="*/ 728648 h 847528"/>
                <a:gd name="connsiteX9" fmla="*/ 2566569 w 8635769"/>
                <a:gd name="connsiteY9" fmla="*/ 728648 h 847528"/>
                <a:gd name="connsiteX10" fmla="*/ 3337438 w 8635769"/>
                <a:gd name="connsiteY10" fmla="*/ 771142 h 847528"/>
                <a:gd name="connsiteX11" fmla="*/ 4216874 w 8635769"/>
                <a:gd name="connsiteY11" fmla="*/ 754148 h 847528"/>
                <a:gd name="connsiteX12" fmla="*/ 4846592 w 8635769"/>
                <a:gd name="connsiteY12" fmla="*/ 762654 h 847528"/>
                <a:gd name="connsiteX13" fmla="*/ 5682602 w 8635769"/>
                <a:gd name="connsiteY13" fmla="*/ 762654 h 847528"/>
                <a:gd name="connsiteX14" fmla="*/ 6746615 w 8635769"/>
                <a:gd name="connsiteY14" fmla="*/ 788154 h 847528"/>
                <a:gd name="connsiteX15" fmla="*/ 7495770 w 8635769"/>
                <a:gd name="connsiteY15" fmla="*/ 779648 h 847528"/>
                <a:gd name="connsiteX16" fmla="*/ 8027765 w 8635769"/>
                <a:gd name="connsiteY16" fmla="*/ 771142 h 847528"/>
                <a:gd name="connsiteX17" fmla="*/ 8505488 w 8635769"/>
                <a:gd name="connsiteY17" fmla="*/ 737154 h 847528"/>
                <a:gd name="connsiteX18" fmla="*/ 8635769 w 8635769"/>
                <a:gd name="connsiteY18" fmla="*/ 754148 h 847528"/>
                <a:gd name="connsiteX19" fmla="*/ 8635769 w 8635769"/>
                <a:gd name="connsiteY19" fmla="*/ 133791 h 847528"/>
                <a:gd name="connsiteX20" fmla="*/ 8451193 w 8635769"/>
                <a:gd name="connsiteY20" fmla="*/ 65870 h 847528"/>
                <a:gd name="connsiteX21" fmla="*/ 7636897 w 8635769"/>
                <a:gd name="connsiteY21" fmla="*/ 14889 h 847528"/>
                <a:gd name="connsiteX22" fmla="*/ 7050606 w 8635769"/>
                <a:gd name="connsiteY22" fmla="*/ 108364 h 847528"/>
                <a:gd name="connsiteX23" fmla="*/ 6149456 w 8635769"/>
                <a:gd name="connsiteY23" fmla="*/ 201839 h 847528"/>
                <a:gd name="connsiteX24" fmla="*/ 5183165 w 8635769"/>
                <a:gd name="connsiteY24" fmla="*/ 201839 h 847528"/>
                <a:gd name="connsiteX25" fmla="*/ 3456875 w 8635769"/>
                <a:gd name="connsiteY25" fmla="*/ 193333 h 847528"/>
                <a:gd name="connsiteX26" fmla="*/ 2371147 w 8635769"/>
                <a:gd name="connsiteY26" fmla="*/ 65870 h 847528"/>
                <a:gd name="connsiteX27" fmla="*/ 579715 w 8635769"/>
                <a:gd name="connsiteY27" fmla="*/ 57364 h 847528"/>
                <a:gd name="connsiteX28" fmla="*/ 39893 w 8635769"/>
                <a:gd name="connsiteY28" fmla="*/ 66415 h 847528"/>
                <a:gd name="connsiteX0" fmla="*/ 36653 w 8632529"/>
                <a:gd name="connsiteY0" fmla="*/ 66415 h 847530"/>
                <a:gd name="connsiteX1" fmla="*/ 2495 w 8632529"/>
                <a:gd name="connsiteY1" fmla="*/ 139144 h 847530"/>
                <a:gd name="connsiteX2" fmla="*/ 14715 w 8632529"/>
                <a:gd name="connsiteY2" fmla="*/ 350379 h 847530"/>
                <a:gd name="connsiteX3" fmla="*/ 29377 w 8632529"/>
                <a:gd name="connsiteY3" fmla="*/ 609625 h 847530"/>
                <a:gd name="connsiteX4" fmla="*/ 41594 w 8632529"/>
                <a:gd name="connsiteY4" fmla="*/ 686441 h 847530"/>
                <a:gd name="connsiteX5" fmla="*/ 77937 w 8632529"/>
                <a:gd name="connsiteY5" fmla="*/ 846591 h 847530"/>
                <a:gd name="connsiteX6" fmla="*/ 934738 w 8632529"/>
                <a:gd name="connsiteY6" fmla="*/ 754148 h 847530"/>
                <a:gd name="connsiteX7" fmla="*/ 1629597 w 8632529"/>
                <a:gd name="connsiteY7" fmla="*/ 788136 h 847530"/>
                <a:gd name="connsiteX8" fmla="*/ 2085607 w 8632529"/>
                <a:gd name="connsiteY8" fmla="*/ 728648 h 847530"/>
                <a:gd name="connsiteX9" fmla="*/ 2563329 w 8632529"/>
                <a:gd name="connsiteY9" fmla="*/ 728648 h 847530"/>
                <a:gd name="connsiteX10" fmla="*/ 3334198 w 8632529"/>
                <a:gd name="connsiteY10" fmla="*/ 771142 h 847530"/>
                <a:gd name="connsiteX11" fmla="*/ 4213634 w 8632529"/>
                <a:gd name="connsiteY11" fmla="*/ 754148 h 847530"/>
                <a:gd name="connsiteX12" fmla="*/ 4843352 w 8632529"/>
                <a:gd name="connsiteY12" fmla="*/ 762654 h 847530"/>
                <a:gd name="connsiteX13" fmla="*/ 5679362 w 8632529"/>
                <a:gd name="connsiteY13" fmla="*/ 762654 h 847530"/>
                <a:gd name="connsiteX14" fmla="*/ 6743375 w 8632529"/>
                <a:gd name="connsiteY14" fmla="*/ 788154 h 847530"/>
                <a:gd name="connsiteX15" fmla="*/ 7492530 w 8632529"/>
                <a:gd name="connsiteY15" fmla="*/ 779648 h 847530"/>
                <a:gd name="connsiteX16" fmla="*/ 8024525 w 8632529"/>
                <a:gd name="connsiteY16" fmla="*/ 771142 h 847530"/>
                <a:gd name="connsiteX17" fmla="*/ 8502248 w 8632529"/>
                <a:gd name="connsiteY17" fmla="*/ 737154 h 847530"/>
                <a:gd name="connsiteX18" fmla="*/ 8632529 w 8632529"/>
                <a:gd name="connsiteY18" fmla="*/ 754148 h 847530"/>
                <a:gd name="connsiteX19" fmla="*/ 8632529 w 8632529"/>
                <a:gd name="connsiteY19" fmla="*/ 133791 h 847530"/>
                <a:gd name="connsiteX20" fmla="*/ 8447953 w 8632529"/>
                <a:gd name="connsiteY20" fmla="*/ 65870 h 847530"/>
                <a:gd name="connsiteX21" fmla="*/ 7633657 w 8632529"/>
                <a:gd name="connsiteY21" fmla="*/ 14889 h 847530"/>
                <a:gd name="connsiteX22" fmla="*/ 7047366 w 8632529"/>
                <a:gd name="connsiteY22" fmla="*/ 108364 h 847530"/>
                <a:gd name="connsiteX23" fmla="*/ 6146216 w 8632529"/>
                <a:gd name="connsiteY23" fmla="*/ 201839 h 847530"/>
                <a:gd name="connsiteX24" fmla="*/ 5179925 w 8632529"/>
                <a:gd name="connsiteY24" fmla="*/ 201839 h 847530"/>
                <a:gd name="connsiteX25" fmla="*/ 3453635 w 8632529"/>
                <a:gd name="connsiteY25" fmla="*/ 193333 h 847530"/>
                <a:gd name="connsiteX26" fmla="*/ 2367907 w 8632529"/>
                <a:gd name="connsiteY26" fmla="*/ 65870 h 847530"/>
                <a:gd name="connsiteX27" fmla="*/ 576475 w 8632529"/>
                <a:gd name="connsiteY27" fmla="*/ 57364 h 847530"/>
                <a:gd name="connsiteX28" fmla="*/ 36653 w 8632529"/>
                <a:gd name="connsiteY28" fmla="*/ 66415 h 847530"/>
                <a:gd name="connsiteX0" fmla="*/ 38923 w 8634799"/>
                <a:gd name="connsiteY0" fmla="*/ 66415 h 847528"/>
                <a:gd name="connsiteX1" fmla="*/ 4765 w 8634799"/>
                <a:gd name="connsiteY1" fmla="*/ 139144 h 847528"/>
                <a:gd name="connsiteX2" fmla="*/ 16985 w 8634799"/>
                <a:gd name="connsiteY2" fmla="*/ 350379 h 847528"/>
                <a:gd name="connsiteX3" fmla="*/ 31647 w 8634799"/>
                <a:gd name="connsiteY3" fmla="*/ 609625 h 847528"/>
                <a:gd name="connsiteX4" fmla="*/ 43864 w 8634799"/>
                <a:gd name="connsiteY4" fmla="*/ 686441 h 847528"/>
                <a:gd name="connsiteX5" fmla="*/ 80207 w 8634799"/>
                <a:gd name="connsiteY5" fmla="*/ 846591 h 847528"/>
                <a:gd name="connsiteX6" fmla="*/ 937008 w 8634799"/>
                <a:gd name="connsiteY6" fmla="*/ 754148 h 847528"/>
                <a:gd name="connsiteX7" fmla="*/ 1631867 w 8634799"/>
                <a:gd name="connsiteY7" fmla="*/ 788136 h 847528"/>
                <a:gd name="connsiteX8" fmla="*/ 2087877 w 8634799"/>
                <a:gd name="connsiteY8" fmla="*/ 728648 h 847528"/>
                <a:gd name="connsiteX9" fmla="*/ 2565599 w 8634799"/>
                <a:gd name="connsiteY9" fmla="*/ 728648 h 847528"/>
                <a:gd name="connsiteX10" fmla="*/ 3336468 w 8634799"/>
                <a:gd name="connsiteY10" fmla="*/ 771142 h 847528"/>
                <a:gd name="connsiteX11" fmla="*/ 4215904 w 8634799"/>
                <a:gd name="connsiteY11" fmla="*/ 754148 h 847528"/>
                <a:gd name="connsiteX12" fmla="*/ 4845622 w 8634799"/>
                <a:gd name="connsiteY12" fmla="*/ 762654 h 847528"/>
                <a:gd name="connsiteX13" fmla="*/ 5681632 w 8634799"/>
                <a:gd name="connsiteY13" fmla="*/ 762654 h 847528"/>
                <a:gd name="connsiteX14" fmla="*/ 6745645 w 8634799"/>
                <a:gd name="connsiteY14" fmla="*/ 788154 h 847528"/>
                <a:gd name="connsiteX15" fmla="*/ 7494800 w 8634799"/>
                <a:gd name="connsiteY15" fmla="*/ 779648 h 847528"/>
                <a:gd name="connsiteX16" fmla="*/ 8026795 w 8634799"/>
                <a:gd name="connsiteY16" fmla="*/ 771142 h 847528"/>
                <a:gd name="connsiteX17" fmla="*/ 8504518 w 8634799"/>
                <a:gd name="connsiteY17" fmla="*/ 737154 h 847528"/>
                <a:gd name="connsiteX18" fmla="*/ 8634799 w 8634799"/>
                <a:gd name="connsiteY18" fmla="*/ 754148 h 847528"/>
                <a:gd name="connsiteX19" fmla="*/ 8634799 w 8634799"/>
                <a:gd name="connsiteY19" fmla="*/ 133791 h 847528"/>
                <a:gd name="connsiteX20" fmla="*/ 8450223 w 8634799"/>
                <a:gd name="connsiteY20" fmla="*/ 65870 h 847528"/>
                <a:gd name="connsiteX21" fmla="*/ 7635927 w 8634799"/>
                <a:gd name="connsiteY21" fmla="*/ 14889 h 847528"/>
                <a:gd name="connsiteX22" fmla="*/ 7049636 w 8634799"/>
                <a:gd name="connsiteY22" fmla="*/ 108364 h 847528"/>
                <a:gd name="connsiteX23" fmla="*/ 6148486 w 8634799"/>
                <a:gd name="connsiteY23" fmla="*/ 201839 h 847528"/>
                <a:gd name="connsiteX24" fmla="*/ 5182195 w 8634799"/>
                <a:gd name="connsiteY24" fmla="*/ 201839 h 847528"/>
                <a:gd name="connsiteX25" fmla="*/ 3455905 w 8634799"/>
                <a:gd name="connsiteY25" fmla="*/ 193333 h 847528"/>
                <a:gd name="connsiteX26" fmla="*/ 2370177 w 8634799"/>
                <a:gd name="connsiteY26" fmla="*/ 65870 h 847528"/>
                <a:gd name="connsiteX27" fmla="*/ 578745 w 8634799"/>
                <a:gd name="connsiteY27" fmla="*/ 57364 h 847528"/>
                <a:gd name="connsiteX28" fmla="*/ 38923 w 8634799"/>
                <a:gd name="connsiteY28" fmla="*/ 66415 h 847528"/>
                <a:gd name="connsiteX0" fmla="*/ 38923 w 8634799"/>
                <a:gd name="connsiteY0" fmla="*/ 66415 h 847530"/>
                <a:gd name="connsiteX1" fmla="*/ 4765 w 8634799"/>
                <a:gd name="connsiteY1" fmla="*/ 139144 h 847530"/>
                <a:gd name="connsiteX2" fmla="*/ 16985 w 8634799"/>
                <a:gd name="connsiteY2" fmla="*/ 350379 h 847530"/>
                <a:gd name="connsiteX3" fmla="*/ 31647 w 8634799"/>
                <a:gd name="connsiteY3" fmla="*/ 609625 h 847530"/>
                <a:gd name="connsiteX4" fmla="*/ 43864 w 8634799"/>
                <a:gd name="connsiteY4" fmla="*/ 686441 h 847530"/>
                <a:gd name="connsiteX5" fmla="*/ 80207 w 8634799"/>
                <a:gd name="connsiteY5" fmla="*/ 846591 h 847530"/>
                <a:gd name="connsiteX6" fmla="*/ 937008 w 8634799"/>
                <a:gd name="connsiteY6" fmla="*/ 754148 h 847530"/>
                <a:gd name="connsiteX7" fmla="*/ 1631867 w 8634799"/>
                <a:gd name="connsiteY7" fmla="*/ 788136 h 847530"/>
                <a:gd name="connsiteX8" fmla="*/ 2087877 w 8634799"/>
                <a:gd name="connsiteY8" fmla="*/ 728648 h 847530"/>
                <a:gd name="connsiteX9" fmla="*/ 2565599 w 8634799"/>
                <a:gd name="connsiteY9" fmla="*/ 728648 h 847530"/>
                <a:gd name="connsiteX10" fmla="*/ 3336468 w 8634799"/>
                <a:gd name="connsiteY10" fmla="*/ 771142 h 847530"/>
                <a:gd name="connsiteX11" fmla="*/ 4215904 w 8634799"/>
                <a:gd name="connsiteY11" fmla="*/ 754148 h 847530"/>
                <a:gd name="connsiteX12" fmla="*/ 4845622 w 8634799"/>
                <a:gd name="connsiteY12" fmla="*/ 762654 h 847530"/>
                <a:gd name="connsiteX13" fmla="*/ 5681632 w 8634799"/>
                <a:gd name="connsiteY13" fmla="*/ 762654 h 847530"/>
                <a:gd name="connsiteX14" fmla="*/ 6745645 w 8634799"/>
                <a:gd name="connsiteY14" fmla="*/ 788154 h 847530"/>
                <a:gd name="connsiteX15" fmla="*/ 7494800 w 8634799"/>
                <a:gd name="connsiteY15" fmla="*/ 779648 h 847530"/>
                <a:gd name="connsiteX16" fmla="*/ 8026795 w 8634799"/>
                <a:gd name="connsiteY16" fmla="*/ 771142 h 847530"/>
                <a:gd name="connsiteX17" fmla="*/ 8504518 w 8634799"/>
                <a:gd name="connsiteY17" fmla="*/ 737154 h 847530"/>
                <a:gd name="connsiteX18" fmla="*/ 8634799 w 8634799"/>
                <a:gd name="connsiteY18" fmla="*/ 754148 h 847530"/>
                <a:gd name="connsiteX19" fmla="*/ 8634799 w 8634799"/>
                <a:gd name="connsiteY19" fmla="*/ 133791 h 847530"/>
                <a:gd name="connsiteX20" fmla="*/ 8450223 w 8634799"/>
                <a:gd name="connsiteY20" fmla="*/ 65870 h 847530"/>
                <a:gd name="connsiteX21" fmla="*/ 7635927 w 8634799"/>
                <a:gd name="connsiteY21" fmla="*/ 14889 h 847530"/>
                <a:gd name="connsiteX22" fmla="*/ 7049636 w 8634799"/>
                <a:gd name="connsiteY22" fmla="*/ 108364 h 847530"/>
                <a:gd name="connsiteX23" fmla="*/ 6132068 w 8634799"/>
                <a:gd name="connsiteY23" fmla="*/ 131955 h 847530"/>
                <a:gd name="connsiteX24" fmla="*/ 5182195 w 8634799"/>
                <a:gd name="connsiteY24" fmla="*/ 201839 h 847530"/>
                <a:gd name="connsiteX25" fmla="*/ 3455905 w 8634799"/>
                <a:gd name="connsiteY25" fmla="*/ 193333 h 847530"/>
                <a:gd name="connsiteX26" fmla="*/ 2370177 w 8634799"/>
                <a:gd name="connsiteY26" fmla="*/ 65870 h 847530"/>
                <a:gd name="connsiteX27" fmla="*/ 578745 w 8634799"/>
                <a:gd name="connsiteY27" fmla="*/ 57364 h 847530"/>
                <a:gd name="connsiteX28" fmla="*/ 38923 w 8634799"/>
                <a:gd name="connsiteY28" fmla="*/ 66415 h 847530"/>
                <a:gd name="connsiteX0" fmla="*/ 38923 w 8634799"/>
                <a:gd name="connsiteY0" fmla="*/ 66415 h 847528"/>
                <a:gd name="connsiteX1" fmla="*/ 4765 w 8634799"/>
                <a:gd name="connsiteY1" fmla="*/ 139144 h 847528"/>
                <a:gd name="connsiteX2" fmla="*/ 16985 w 8634799"/>
                <a:gd name="connsiteY2" fmla="*/ 350379 h 847528"/>
                <a:gd name="connsiteX3" fmla="*/ 31647 w 8634799"/>
                <a:gd name="connsiteY3" fmla="*/ 609625 h 847528"/>
                <a:gd name="connsiteX4" fmla="*/ 43864 w 8634799"/>
                <a:gd name="connsiteY4" fmla="*/ 686441 h 847528"/>
                <a:gd name="connsiteX5" fmla="*/ 80207 w 8634799"/>
                <a:gd name="connsiteY5" fmla="*/ 846591 h 847528"/>
                <a:gd name="connsiteX6" fmla="*/ 937008 w 8634799"/>
                <a:gd name="connsiteY6" fmla="*/ 754148 h 847528"/>
                <a:gd name="connsiteX7" fmla="*/ 1631867 w 8634799"/>
                <a:gd name="connsiteY7" fmla="*/ 788136 h 847528"/>
                <a:gd name="connsiteX8" fmla="*/ 2087877 w 8634799"/>
                <a:gd name="connsiteY8" fmla="*/ 728648 h 847528"/>
                <a:gd name="connsiteX9" fmla="*/ 2565599 w 8634799"/>
                <a:gd name="connsiteY9" fmla="*/ 728648 h 847528"/>
                <a:gd name="connsiteX10" fmla="*/ 3336468 w 8634799"/>
                <a:gd name="connsiteY10" fmla="*/ 771142 h 847528"/>
                <a:gd name="connsiteX11" fmla="*/ 4215904 w 8634799"/>
                <a:gd name="connsiteY11" fmla="*/ 754148 h 847528"/>
                <a:gd name="connsiteX12" fmla="*/ 4845622 w 8634799"/>
                <a:gd name="connsiteY12" fmla="*/ 762654 h 847528"/>
                <a:gd name="connsiteX13" fmla="*/ 5681632 w 8634799"/>
                <a:gd name="connsiteY13" fmla="*/ 762654 h 847528"/>
                <a:gd name="connsiteX14" fmla="*/ 6745645 w 8634799"/>
                <a:gd name="connsiteY14" fmla="*/ 788154 h 847528"/>
                <a:gd name="connsiteX15" fmla="*/ 7494800 w 8634799"/>
                <a:gd name="connsiteY15" fmla="*/ 779648 h 847528"/>
                <a:gd name="connsiteX16" fmla="*/ 8026795 w 8634799"/>
                <a:gd name="connsiteY16" fmla="*/ 771142 h 847528"/>
                <a:gd name="connsiteX17" fmla="*/ 8504518 w 8634799"/>
                <a:gd name="connsiteY17" fmla="*/ 737154 h 847528"/>
                <a:gd name="connsiteX18" fmla="*/ 8634799 w 8634799"/>
                <a:gd name="connsiteY18" fmla="*/ 754148 h 847528"/>
                <a:gd name="connsiteX19" fmla="*/ 8634799 w 8634799"/>
                <a:gd name="connsiteY19" fmla="*/ 133791 h 847528"/>
                <a:gd name="connsiteX20" fmla="*/ 8450223 w 8634799"/>
                <a:gd name="connsiteY20" fmla="*/ 65870 h 847528"/>
                <a:gd name="connsiteX21" fmla="*/ 7635927 w 8634799"/>
                <a:gd name="connsiteY21" fmla="*/ 14889 h 847528"/>
                <a:gd name="connsiteX22" fmla="*/ 7049636 w 8634799"/>
                <a:gd name="connsiteY22" fmla="*/ 108364 h 847528"/>
                <a:gd name="connsiteX23" fmla="*/ 6132068 w 8634799"/>
                <a:gd name="connsiteY23" fmla="*/ 131955 h 847528"/>
                <a:gd name="connsiteX24" fmla="*/ 5182195 w 8634799"/>
                <a:gd name="connsiteY24" fmla="*/ 201839 h 847528"/>
                <a:gd name="connsiteX25" fmla="*/ 3455905 w 8634799"/>
                <a:gd name="connsiteY25" fmla="*/ 193333 h 847528"/>
                <a:gd name="connsiteX26" fmla="*/ 2370177 w 8634799"/>
                <a:gd name="connsiteY26" fmla="*/ 65870 h 847528"/>
                <a:gd name="connsiteX27" fmla="*/ 578745 w 8634799"/>
                <a:gd name="connsiteY27" fmla="*/ 57364 h 847528"/>
                <a:gd name="connsiteX28" fmla="*/ 38923 w 8634799"/>
                <a:gd name="connsiteY28" fmla="*/ 66415 h 847528"/>
                <a:gd name="connsiteX0" fmla="*/ 38923 w 8634799"/>
                <a:gd name="connsiteY0" fmla="*/ 66415 h 847530"/>
                <a:gd name="connsiteX1" fmla="*/ 4765 w 8634799"/>
                <a:gd name="connsiteY1" fmla="*/ 139144 h 847530"/>
                <a:gd name="connsiteX2" fmla="*/ 16985 w 8634799"/>
                <a:gd name="connsiteY2" fmla="*/ 350379 h 847530"/>
                <a:gd name="connsiteX3" fmla="*/ 31647 w 8634799"/>
                <a:gd name="connsiteY3" fmla="*/ 609625 h 847530"/>
                <a:gd name="connsiteX4" fmla="*/ 43864 w 8634799"/>
                <a:gd name="connsiteY4" fmla="*/ 686441 h 847530"/>
                <a:gd name="connsiteX5" fmla="*/ 80207 w 8634799"/>
                <a:gd name="connsiteY5" fmla="*/ 846591 h 847530"/>
                <a:gd name="connsiteX6" fmla="*/ 937008 w 8634799"/>
                <a:gd name="connsiteY6" fmla="*/ 754148 h 847530"/>
                <a:gd name="connsiteX7" fmla="*/ 1631867 w 8634799"/>
                <a:gd name="connsiteY7" fmla="*/ 788136 h 847530"/>
                <a:gd name="connsiteX8" fmla="*/ 2087877 w 8634799"/>
                <a:gd name="connsiteY8" fmla="*/ 728648 h 847530"/>
                <a:gd name="connsiteX9" fmla="*/ 2565599 w 8634799"/>
                <a:gd name="connsiteY9" fmla="*/ 728648 h 847530"/>
                <a:gd name="connsiteX10" fmla="*/ 3336468 w 8634799"/>
                <a:gd name="connsiteY10" fmla="*/ 771142 h 847530"/>
                <a:gd name="connsiteX11" fmla="*/ 4215904 w 8634799"/>
                <a:gd name="connsiteY11" fmla="*/ 754148 h 847530"/>
                <a:gd name="connsiteX12" fmla="*/ 4845622 w 8634799"/>
                <a:gd name="connsiteY12" fmla="*/ 762654 h 847530"/>
                <a:gd name="connsiteX13" fmla="*/ 5681632 w 8634799"/>
                <a:gd name="connsiteY13" fmla="*/ 762654 h 847530"/>
                <a:gd name="connsiteX14" fmla="*/ 6745645 w 8634799"/>
                <a:gd name="connsiteY14" fmla="*/ 788154 h 847530"/>
                <a:gd name="connsiteX15" fmla="*/ 7494800 w 8634799"/>
                <a:gd name="connsiteY15" fmla="*/ 779648 h 847530"/>
                <a:gd name="connsiteX16" fmla="*/ 8026795 w 8634799"/>
                <a:gd name="connsiteY16" fmla="*/ 771142 h 847530"/>
                <a:gd name="connsiteX17" fmla="*/ 8504518 w 8634799"/>
                <a:gd name="connsiteY17" fmla="*/ 737154 h 847530"/>
                <a:gd name="connsiteX18" fmla="*/ 8634799 w 8634799"/>
                <a:gd name="connsiteY18" fmla="*/ 754148 h 847530"/>
                <a:gd name="connsiteX19" fmla="*/ 8634799 w 8634799"/>
                <a:gd name="connsiteY19" fmla="*/ 133791 h 847530"/>
                <a:gd name="connsiteX20" fmla="*/ 8450223 w 8634799"/>
                <a:gd name="connsiteY20" fmla="*/ 65870 h 847530"/>
                <a:gd name="connsiteX21" fmla="*/ 7635927 w 8634799"/>
                <a:gd name="connsiteY21" fmla="*/ 14889 h 847530"/>
                <a:gd name="connsiteX22" fmla="*/ 7049636 w 8634799"/>
                <a:gd name="connsiteY22" fmla="*/ 108364 h 847530"/>
                <a:gd name="connsiteX23" fmla="*/ 6132068 w 8634799"/>
                <a:gd name="connsiteY23" fmla="*/ 131955 h 847530"/>
                <a:gd name="connsiteX24" fmla="*/ 5182195 w 8634799"/>
                <a:gd name="connsiteY24" fmla="*/ 201839 h 847530"/>
                <a:gd name="connsiteX25" fmla="*/ 3455905 w 8634799"/>
                <a:gd name="connsiteY25" fmla="*/ 193333 h 847530"/>
                <a:gd name="connsiteX26" fmla="*/ 2370177 w 8634799"/>
                <a:gd name="connsiteY26" fmla="*/ 65870 h 847530"/>
                <a:gd name="connsiteX27" fmla="*/ 578745 w 8634799"/>
                <a:gd name="connsiteY27" fmla="*/ 57364 h 847530"/>
                <a:gd name="connsiteX28" fmla="*/ 38923 w 8634799"/>
                <a:gd name="connsiteY28" fmla="*/ 66415 h 847530"/>
                <a:gd name="connsiteX0" fmla="*/ 38923 w 8634799"/>
                <a:gd name="connsiteY0" fmla="*/ 66415 h 847528"/>
                <a:gd name="connsiteX1" fmla="*/ 4765 w 8634799"/>
                <a:gd name="connsiteY1" fmla="*/ 139144 h 847528"/>
                <a:gd name="connsiteX2" fmla="*/ 16985 w 8634799"/>
                <a:gd name="connsiteY2" fmla="*/ 350379 h 847528"/>
                <a:gd name="connsiteX3" fmla="*/ 31647 w 8634799"/>
                <a:gd name="connsiteY3" fmla="*/ 609625 h 847528"/>
                <a:gd name="connsiteX4" fmla="*/ 43864 w 8634799"/>
                <a:gd name="connsiteY4" fmla="*/ 686441 h 847528"/>
                <a:gd name="connsiteX5" fmla="*/ 80207 w 8634799"/>
                <a:gd name="connsiteY5" fmla="*/ 846591 h 847528"/>
                <a:gd name="connsiteX6" fmla="*/ 937008 w 8634799"/>
                <a:gd name="connsiteY6" fmla="*/ 754148 h 847528"/>
                <a:gd name="connsiteX7" fmla="*/ 1631867 w 8634799"/>
                <a:gd name="connsiteY7" fmla="*/ 788136 h 847528"/>
                <a:gd name="connsiteX8" fmla="*/ 2087877 w 8634799"/>
                <a:gd name="connsiteY8" fmla="*/ 728648 h 847528"/>
                <a:gd name="connsiteX9" fmla="*/ 2565599 w 8634799"/>
                <a:gd name="connsiteY9" fmla="*/ 728648 h 847528"/>
                <a:gd name="connsiteX10" fmla="*/ 3336468 w 8634799"/>
                <a:gd name="connsiteY10" fmla="*/ 771142 h 847528"/>
                <a:gd name="connsiteX11" fmla="*/ 4215904 w 8634799"/>
                <a:gd name="connsiteY11" fmla="*/ 754148 h 847528"/>
                <a:gd name="connsiteX12" fmla="*/ 4845622 w 8634799"/>
                <a:gd name="connsiteY12" fmla="*/ 762654 h 847528"/>
                <a:gd name="connsiteX13" fmla="*/ 5681632 w 8634799"/>
                <a:gd name="connsiteY13" fmla="*/ 762654 h 847528"/>
                <a:gd name="connsiteX14" fmla="*/ 6745645 w 8634799"/>
                <a:gd name="connsiteY14" fmla="*/ 788154 h 847528"/>
                <a:gd name="connsiteX15" fmla="*/ 7494800 w 8634799"/>
                <a:gd name="connsiteY15" fmla="*/ 779648 h 847528"/>
                <a:gd name="connsiteX16" fmla="*/ 8026795 w 8634799"/>
                <a:gd name="connsiteY16" fmla="*/ 771142 h 847528"/>
                <a:gd name="connsiteX17" fmla="*/ 8504518 w 8634799"/>
                <a:gd name="connsiteY17" fmla="*/ 737154 h 847528"/>
                <a:gd name="connsiteX18" fmla="*/ 8634799 w 8634799"/>
                <a:gd name="connsiteY18" fmla="*/ 754148 h 847528"/>
                <a:gd name="connsiteX19" fmla="*/ 8634799 w 8634799"/>
                <a:gd name="connsiteY19" fmla="*/ 133791 h 847528"/>
                <a:gd name="connsiteX20" fmla="*/ 8450223 w 8634799"/>
                <a:gd name="connsiteY20" fmla="*/ 65870 h 847528"/>
                <a:gd name="connsiteX21" fmla="*/ 7635927 w 8634799"/>
                <a:gd name="connsiteY21" fmla="*/ 14889 h 847528"/>
                <a:gd name="connsiteX22" fmla="*/ 7049636 w 8634799"/>
                <a:gd name="connsiteY22" fmla="*/ 108364 h 847528"/>
                <a:gd name="connsiteX23" fmla="*/ 6342549 w 8634799"/>
                <a:gd name="connsiteY23" fmla="*/ 55805 h 847528"/>
                <a:gd name="connsiteX24" fmla="*/ 6132068 w 8634799"/>
                <a:gd name="connsiteY24" fmla="*/ 131955 h 847528"/>
                <a:gd name="connsiteX25" fmla="*/ 5182195 w 8634799"/>
                <a:gd name="connsiteY25" fmla="*/ 201839 h 847528"/>
                <a:gd name="connsiteX26" fmla="*/ 3455905 w 8634799"/>
                <a:gd name="connsiteY26" fmla="*/ 193333 h 847528"/>
                <a:gd name="connsiteX27" fmla="*/ 2370177 w 8634799"/>
                <a:gd name="connsiteY27" fmla="*/ 65870 h 847528"/>
                <a:gd name="connsiteX28" fmla="*/ 578745 w 8634799"/>
                <a:gd name="connsiteY28" fmla="*/ 57364 h 847528"/>
                <a:gd name="connsiteX29" fmla="*/ 38923 w 8634799"/>
                <a:gd name="connsiteY29" fmla="*/ 66415 h 847528"/>
                <a:gd name="connsiteX0" fmla="*/ 38923 w 8634799"/>
                <a:gd name="connsiteY0" fmla="*/ 66415 h 847530"/>
                <a:gd name="connsiteX1" fmla="*/ 4765 w 8634799"/>
                <a:gd name="connsiteY1" fmla="*/ 139144 h 847530"/>
                <a:gd name="connsiteX2" fmla="*/ 16985 w 8634799"/>
                <a:gd name="connsiteY2" fmla="*/ 350379 h 847530"/>
                <a:gd name="connsiteX3" fmla="*/ 31647 w 8634799"/>
                <a:gd name="connsiteY3" fmla="*/ 609625 h 847530"/>
                <a:gd name="connsiteX4" fmla="*/ 43864 w 8634799"/>
                <a:gd name="connsiteY4" fmla="*/ 686441 h 847530"/>
                <a:gd name="connsiteX5" fmla="*/ 80207 w 8634799"/>
                <a:gd name="connsiteY5" fmla="*/ 846591 h 847530"/>
                <a:gd name="connsiteX6" fmla="*/ 937008 w 8634799"/>
                <a:gd name="connsiteY6" fmla="*/ 754148 h 847530"/>
                <a:gd name="connsiteX7" fmla="*/ 1631867 w 8634799"/>
                <a:gd name="connsiteY7" fmla="*/ 788136 h 847530"/>
                <a:gd name="connsiteX8" fmla="*/ 2087877 w 8634799"/>
                <a:gd name="connsiteY8" fmla="*/ 728648 h 847530"/>
                <a:gd name="connsiteX9" fmla="*/ 2565599 w 8634799"/>
                <a:gd name="connsiteY9" fmla="*/ 728648 h 847530"/>
                <a:gd name="connsiteX10" fmla="*/ 3336468 w 8634799"/>
                <a:gd name="connsiteY10" fmla="*/ 771142 h 847530"/>
                <a:gd name="connsiteX11" fmla="*/ 4215904 w 8634799"/>
                <a:gd name="connsiteY11" fmla="*/ 754148 h 847530"/>
                <a:gd name="connsiteX12" fmla="*/ 4845622 w 8634799"/>
                <a:gd name="connsiteY12" fmla="*/ 762654 h 847530"/>
                <a:gd name="connsiteX13" fmla="*/ 5681632 w 8634799"/>
                <a:gd name="connsiteY13" fmla="*/ 762654 h 847530"/>
                <a:gd name="connsiteX14" fmla="*/ 6745645 w 8634799"/>
                <a:gd name="connsiteY14" fmla="*/ 788154 h 847530"/>
                <a:gd name="connsiteX15" fmla="*/ 7494800 w 8634799"/>
                <a:gd name="connsiteY15" fmla="*/ 779648 h 847530"/>
                <a:gd name="connsiteX16" fmla="*/ 8026795 w 8634799"/>
                <a:gd name="connsiteY16" fmla="*/ 771142 h 847530"/>
                <a:gd name="connsiteX17" fmla="*/ 8504518 w 8634799"/>
                <a:gd name="connsiteY17" fmla="*/ 737154 h 847530"/>
                <a:gd name="connsiteX18" fmla="*/ 8634799 w 8634799"/>
                <a:gd name="connsiteY18" fmla="*/ 754148 h 847530"/>
                <a:gd name="connsiteX19" fmla="*/ 8634799 w 8634799"/>
                <a:gd name="connsiteY19" fmla="*/ 133791 h 847530"/>
                <a:gd name="connsiteX20" fmla="*/ 8450223 w 8634799"/>
                <a:gd name="connsiteY20" fmla="*/ 65870 h 847530"/>
                <a:gd name="connsiteX21" fmla="*/ 7635927 w 8634799"/>
                <a:gd name="connsiteY21" fmla="*/ 14889 h 847530"/>
                <a:gd name="connsiteX22" fmla="*/ 7049636 w 8634799"/>
                <a:gd name="connsiteY22" fmla="*/ 108364 h 847530"/>
                <a:gd name="connsiteX23" fmla="*/ 6342549 w 8634799"/>
                <a:gd name="connsiteY23" fmla="*/ 55805 h 847530"/>
                <a:gd name="connsiteX24" fmla="*/ 6132068 w 8634799"/>
                <a:gd name="connsiteY24" fmla="*/ 131955 h 847530"/>
                <a:gd name="connsiteX25" fmla="*/ 5182195 w 8634799"/>
                <a:gd name="connsiteY25" fmla="*/ 201839 h 847530"/>
                <a:gd name="connsiteX26" fmla="*/ 3455905 w 8634799"/>
                <a:gd name="connsiteY26" fmla="*/ 193333 h 847530"/>
                <a:gd name="connsiteX27" fmla="*/ 2370177 w 8634799"/>
                <a:gd name="connsiteY27" fmla="*/ 65870 h 847530"/>
                <a:gd name="connsiteX28" fmla="*/ 578745 w 8634799"/>
                <a:gd name="connsiteY28" fmla="*/ 57364 h 847530"/>
                <a:gd name="connsiteX29" fmla="*/ 38923 w 8634799"/>
                <a:gd name="connsiteY29" fmla="*/ 66415 h 847530"/>
                <a:gd name="connsiteX0" fmla="*/ 38923 w 8634799"/>
                <a:gd name="connsiteY0" fmla="*/ 66415 h 847528"/>
                <a:gd name="connsiteX1" fmla="*/ 4765 w 8634799"/>
                <a:gd name="connsiteY1" fmla="*/ 139144 h 847528"/>
                <a:gd name="connsiteX2" fmla="*/ 16985 w 8634799"/>
                <a:gd name="connsiteY2" fmla="*/ 350379 h 847528"/>
                <a:gd name="connsiteX3" fmla="*/ 31647 w 8634799"/>
                <a:gd name="connsiteY3" fmla="*/ 609625 h 847528"/>
                <a:gd name="connsiteX4" fmla="*/ 43864 w 8634799"/>
                <a:gd name="connsiteY4" fmla="*/ 686441 h 847528"/>
                <a:gd name="connsiteX5" fmla="*/ 80207 w 8634799"/>
                <a:gd name="connsiteY5" fmla="*/ 846591 h 847528"/>
                <a:gd name="connsiteX6" fmla="*/ 937008 w 8634799"/>
                <a:gd name="connsiteY6" fmla="*/ 754148 h 847528"/>
                <a:gd name="connsiteX7" fmla="*/ 1631867 w 8634799"/>
                <a:gd name="connsiteY7" fmla="*/ 788136 h 847528"/>
                <a:gd name="connsiteX8" fmla="*/ 2087877 w 8634799"/>
                <a:gd name="connsiteY8" fmla="*/ 728648 h 847528"/>
                <a:gd name="connsiteX9" fmla="*/ 2565599 w 8634799"/>
                <a:gd name="connsiteY9" fmla="*/ 728648 h 847528"/>
                <a:gd name="connsiteX10" fmla="*/ 3336468 w 8634799"/>
                <a:gd name="connsiteY10" fmla="*/ 771142 h 847528"/>
                <a:gd name="connsiteX11" fmla="*/ 4215904 w 8634799"/>
                <a:gd name="connsiteY11" fmla="*/ 754148 h 847528"/>
                <a:gd name="connsiteX12" fmla="*/ 4845622 w 8634799"/>
                <a:gd name="connsiteY12" fmla="*/ 762654 h 847528"/>
                <a:gd name="connsiteX13" fmla="*/ 5681632 w 8634799"/>
                <a:gd name="connsiteY13" fmla="*/ 762654 h 847528"/>
                <a:gd name="connsiteX14" fmla="*/ 6745645 w 8634799"/>
                <a:gd name="connsiteY14" fmla="*/ 788154 h 847528"/>
                <a:gd name="connsiteX15" fmla="*/ 7494800 w 8634799"/>
                <a:gd name="connsiteY15" fmla="*/ 779648 h 847528"/>
                <a:gd name="connsiteX16" fmla="*/ 8026795 w 8634799"/>
                <a:gd name="connsiteY16" fmla="*/ 771142 h 847528"/>
                <a:gd name="connsiteX17" fmla="*/ 8504518 w 8634799"/>
                <a:gd name="connsiteY17" fmla="*/ 737154 h 847528"/>
                <a:gd name="connsiteX18" fmla="*/ 8634799 w 8634799"/>
                <a:gd name="connsiteY18" fmla="*/ 754148 h 847528"/>
                <a:gd name="connsiteX19" fmla="*/ 8634799 w 8634799"/>
                <a:gd name="connsiteY19" fmla="*/ 133791 h 847528"/>
                <a:gd name="connsiteX20" fmla="*/ 8450223 w 8634799"/>
                <a:gd name="connsiteY20" fmla="*/ 65870 h 847528"/>
                <a:gd name="connsiteX21" fmla="*/ 7635927 w 8634799"/>
                <a:gd name="connsiteY21" fmla="*/ 14889 h 847528"/>
                <a:gd name="connsiteX22" fmla="*/ 7049636 w 8634799"/>
                <a:gd name="connsiteY22" fmla="*/ 108364 h 847528"/>
                <a:gd name="connsiteX23" fmla="*/ 6342549 w 8634799"/>
                <a:gd name="connsiteY23" fmla="*/ 55805 h 847528"/>
                <a:gd name="connsiteX24" fmla="*/ 5902209 w 8634799"/>
                <a:gd name="connsiteY24" fmla="*/ 158833 h 847528"/>
                <a:gd name="connsiteX25" fmla="*/ 5182195 w 8634799"/>
                <a:gd name="connsiteY25" fmla="*/ 201839 h 847528"/>
                <a:gd name="connsiteX26" fmla="*/ 3455905 w 8634799"/>
                <a:gd name="connsiteY26" fmla="*/ 193333 h 847528"/>
                <a:gd name="connsiteX27" fmla="*/ 2370177 w 8634799"/>
                <a:gd name="connsiteY27" fmla="*/ 65870 h 847528"/>
                <a:gd name="connsiteX28" fmla="*/ 578745 w 8634799"/>
                <a:gd name="connsiteY28" fmla="*/ 57364 h 847528"/>
                <a:gd name="connsiteX29" fmla="*/ 38923 w 8634799"/>
                <a:gd name="connsiteY29" fmla="*/ 66415 h 847528"/>
                <a:gd name="connsiteX0" fmla="*/ 38923 w 8634799"/>
                <a:gd name="connsiteY0" fmla="*/ 111866 h 892981"/>
                <a:gd name="connsiteX1" fmla="*/ 4765 w 8634799"/>
                <a:gd name="connsiteY1" fmla="*/ 184595 h 892981"/>
                <a:gd name="connsiteX2" fmla="*/ 16985 w 8634799"/>
                <a:gd name="connsiteY2" fmla="*/ 395830 h 892981"/>
                <a:gd name="connsiteX3" fmla="*/ 31647 w 8634799"/>
                <a:gd name="connsiteY3" fmla="*/ 655076 h 892981"/>
                <a:gd name="connsiteX4" fmla="*/ 43864 w 8634799"/>
                <a:gd name="connsiteY4" fmla="*/ 731892 h 892981"/>
                <a:gd name="connsiteX5" fmla="*/ 80207 w 8634799"/>
                <a:gd name="connsiteY5" fmla="*/ 892042 h 892981"/>
                <a:gd name="connsiteX6" fmla="*/ 937008 w 8634799"/>
                <a:gd name="connsiteY6" fmla="*/ 799599 h 892981"/>
                <a:gd name="connsiteX7" fmla="*/ 1631867 w 8634799"/>
                <a:gd name="connsiteY7" fmla="*/ 833587 h 892981"/>
                <a:gd name="connsiteX8" fmla="*/ 2087877 w 8634799"/>
                <a:gd name="connsiteY8" fmla="*/ 774099 h 892981"/>
                <a:gd name="connsiteX9" fmla="*/ 2565599 w 8634799"/>
                <a:gd name="connsiteY9" fmla="*/ 774099 h 892981"/>
                <a:gd name="connsiteX10" fmla="*/ 3336468 w 8634799"/>
                <a:gd name="connsiteY10" fmla="*/ 816593 h 892981"/>
                <a:gd name="connsiteX11" fmla="*/ 4215904 w 8634799"/>
                <a:gd name="connsiteY11" fmla="*/ 799599 h 892981"/>
                <a:gd name="connsiteX12" fmla="*/ 4845622 w 8634799"/>
                <a:gd name="connsiteY12" fmla="*/ 808105 h 892981"/>
                <a:gd name="connsiteX13" fmla="*/ 5681632 w 8634799"/>
                <a:gd name="connsiteY13" fmla="*/ 808105 h 892981"/>
                <a:gd name="connsiteX14" fmla="*/ 6745645 w 8634799"/>
                <a:gd name="connsiteY14" fmla="*/ 833605 h 892981"/>
                <a:gd name="connsiteX15" fmla="*/ 7494800 w 8634799"/>
                <a:gd name="connsiteY15" fmla="*/ 825099 h 892981"/>
                <a:gd name="connsiteX16" fmla="*/ 8026795 w 8634799"/>
                <a:gd name="connsiteY16" fmla="*/ 816593 h 892981"/>
                <a:gd name="connsiteX17" fmla="*/ 8504518 w 8634799"/>
                <a:gd name="connsiteY17" fmla="*/ 782605 h 892981"/>
                <a:gd name="connsiteX18" fmla="*/ 8634799 w 8634799"/>
                <a:gd name="connsiteY18" fmla="*/ 799599 h 892981"/>
                <a:gd name="connsiteX19" fmla="*/ 8634799 w 8634799"/>
                <a:gd name="connsiteY19" fmla="*/ 179242 h 892981"/>
                <a:gd name="connsiteX20" fmla="*/ 8450223 w 8634799"/>
                <a:gd name="connsiteY20" fmla="*/ 111321 h 892981"/>
                <a:gd name="connsiteX21" fmla="*/ 7635927 w 8634799"/>
                <a:gd name="connsiteY21" fmla="*/ 60340 h 892981"/>
                <a:gd name="connsiteX22" fmla="*/ 7049636 w 8634799"/>
                <a:gd name="connsiteY22" fmla="*/ 153815 h 892981"/>
                <a:gd name="connsiteX23" fmla="*/ 6342549 w 8634799"/>
                <a:gd name="connsiteY23" fmla="*/ 101256 h 892981"/>
                <a:gd name="connsiteX24" fmla="*/ 5902209 w 8634799"/>
                <a:gd name="connsiteY24" fmla="*/ 204284 h 892981"/>
                <a:gd name="connsiteX25" fmla="*/ 5182195 w 8634799"/>
                <a:gd name="connsiteY25" fmla="*/ 247290 h 892981"/>
                <a:gd name="connsiteX26" fmla="*/ 3469826 w 8634799"/>
                <a:gd name="connsiteY26" fmla="*/ 5421 h 892981"/>
                <a:gd name="connsiteX27" fmla="*/ 2370177 w 8634799"/>
                <a:gd name="connsiteY27" fmla="*/ 111321 h 892981"/>
                <a:gd name="connsiteX28" fmla="*/ 578745 w 8634799"/>
                <a:gd name="connsiteY28" fmla="*/ 102815 h 892981"/>
                <a:gd name="connsiteX29" fmla="*/ 38923 w 8634799"/>
                <a:gd name="connsiteY29" fmla="*/ 111866 h 892981"/>
                <a:gd name="connsiteX0" fmla="*/ 38923 w 8634799"/>
                <a:gd name="connsiteY0" fmla="*/ 135210 h 916324"/>
                <a:gd name="connsiteX1" fmla="*/ 4765 w 8634799"/>
                <a:gd name="connsiteY1" fmla="*/ 207939 h 916324"/>
                <a:gd name="connsiteX2" fmla="*/ 16985 w 8634799"/>
                <a:gd name="connsiteY2" fmla="*/ 419174 h 916324"/>
                <a:gd name="connsiteX3" fmla="*/ 31647 w 8634799"/>
                <a:gd name="connsiteY3" fmla="*/ 678420 h 916324"/>
                <a:gd name="connsiteX4" fmla="*/ 43864 w 8634799"/>
                <a:gd name="connsiteY4" fmla="*/ 755236 h 916324"/>
                <a:gd name="connsiteX5" fmla="*/ 80207 w 8634799"/>
                <a:gd name="connsiteY5" fmla="*/ 915386 h 916324"/>
                <a:gd name="connsiteX6" fmla="*/ 937008 w 8634799"/>
                <a:gd name="connsiteY6" fmla="*/ 822943 h 916324"/>
                <a:gd name="connsiteX7" fmla="*/ 1631867 w 8634799"/>
                <a:gd name="connsiteY7" fmla="*/ 856931 h 916324"/>
                <a:gd name="connsiteX8" fmla="*/ 2087877 w 8634799"/>
                <a:gd name="connsiteY8" fmla="*/ 797443 h 916324"/>
                <a:gd name="connsiteX9" fmla="*/ 2565599 w 8634799"/>
                <a:gd name="connsiteY9" fmla="*/ 797443 h 916324"/>
                <a:gd name="connsiteX10" fmla="*/ 3336468 w 8634799"/>
                <a:gd name="connsiteY10" fmla="*/ 839937 h 916324"/>
                <a:gd name="connsiteX11" fmla="*/ 4215904 w 8634799"/>
                <a:gd name="connsiteY11" fmla="*/ 822943 h 916324"/>
                <a:gd name="connsiteX12" fmla="*/ 4845622 w 8634799"/>
                <a:gd name="connsiteY12" fmla="*/ 831449 h 916324"/>
                <a:gd name="connsiteX13" fmla="*/ 5681632 w 8634799"/>
                <a:gd name="connsiteY13" fmla="*/ 831449 h 916324"/>
                <a:gd name="connsiteX14" fmla="*/ 6745645 w 8634799"/>
                <a:gd name="connsiteY14" fmla="*/ 856949 h 916324"/>
                <a:gd name="connsiteX15" fmla="*/ 7494800 w 8634799"/>
                <a:gd name="connsiteY15" fmla="*/ 848443 h 916324"/>
                <a:gd name="connsiteX16" fmla="*/ 8026795 w 8634799"/>
                <a:gd name="connsiteY16" fmla="*/ 839937 h 916324"/>
                <a:gd name="connsiteX17" fmla="*/ 8504518 w 8634799"/>
                <a:gd name="connsiteY17" fmla="*/ 805949 h 916324"/>
                <a:gd name="connsiteX18" fmla="*/ 8634799 w 8634799"/>
                <a:gd name="connsiteY18" fmla="*/ 822943 h 916324"/>
                <a:gd name="connsiteX19" fmla="*/ 8634799 w 8634799"/>
                <a:gd name="connsiteY19" fmla="*/ 202586 h 916324"/>
                <a:gd name="connsiteX20" fmla="*/ 8450223 w 8634799"/>
                <a:gd name="connsiteY20" fmla="*/ 134665 h 916324"/>
                <a:gd name="connsiteX21" fmla="*/ 7635927 w 8634799"/>
                <a:gd name="connsiteY21" fmla="*/ 83684 h 916324"/>
                <a:gd name="connsiteX22" fmla="*/ 7049636 w 8634799"/>
                <a:gd name="connsiteY22" fmla="*/ 177159 h 916324"/>
                <a:gd name="connsiteX23" fmla="*/ 6342549 w 8634799"/>
                <a:gd name="connsiteY23" fmla="*/ 124600 h 916324"/>
                <a:gd name="connsiteX24" fmla="*/ 5902209 w 8634799"/>
                <a:gd name="connsiteY24" fmla="*/ 227628 h 916324"/>
                <a:gd name="connsiteX25" fmla="*/ 5182195 w 8634799"/>
                <a:gd name="connsiteY25" fmla="*/ 270634 h 916324"/>
                <a:gd name="connsiteX26" fmla="*/ 3469826 w 8634799"/>
                <a:gd name="connsiteY26" fmla="*/ 28765 h 916324"/>
                <a:gd name="connsiteX27" fmla="*/ 2370177 w 8634799"/>
                <a:gd name="connsiteY27" fmla="*/ 134665 h 916324"/>
                <a:gd name="connsiteX28" fmla="*/ 578745 w 8634799"/>
                <a:gd name="connsiteY28" fmla="*/ 126159 h 916324"/>
                <a:gd name="connsiteX29" fmla="*/ 38923 w 8634799"/>
                <a:gd name="connsiteY29" fmla="*/ 135210 h 916324"/>
                <a:gd name="connsiteX0" fmla="*/ 38923 w 8634799"/>
                <a:gd name="connsiteY0" fmla="*/ 128131 h 909245"/>
                <a:gd name="connsiteX1" fmla="*/ 4765 w 8634799"/>
                <a:gd name="connsiteY1" fmla="*/ 200860 h 909245"/>
                <a:gd name="connsiteX2" fmla="*/ 16985 w 8634799"/>
                <a:gd name="connsiteY2" fmla="*/ 412095 h 909245"/>
                <a:gd name="connsiteX3" fmla="*/ 31647 w 8634799"/>
                <a:gd name="connsiteY3" fmla="*/ 671341 h 909245"/>
                <a:gd name="connsiteX4" fmla="*/ 43864 w 8634799"/>
                <a:gd name="connsiteY4" fmla="*/ 748157 h 909245"/>
                <a:gd name="connsiteX5" fmla="*/ 80207 w 8634799"/>
                <a:gd name="connsiteY5" fmla="*/ 908307 h 909245"/>
                <a:gd name="connsiteX6" fmla="*/ 937008 w 8634799"/>
                <a:gd name="connsiteY6" fmla="*/ 815864 h 909245"/>
                <a:gd name="connsiteX7" fmla="*/ 1631867 w 8634799"/>
                <a:gd name="connsiteY7" fmla="*/ 849852 h 909245"/>
                <a:gd name="connsiteX8" fmla="*/ 2087877 w 8634799"/>
                <a:gd name="connsiteY8" fmla="*/ 790364 h 909245"/>
                <a:gd name="connsiteX9" fmla="*/ 2565599 w 8634799"/>
                <a:gd name="connsiteY9" fmla="*/ 790364 h 909245"/>
                <a:gd name="connsiteX10" fmla="*/ 3336468 w 8634799"/>
                <a:gd name="connsiteY10" fmla="*/ 832858 h 909245"/>
                <a:gd name="connsiteX11" fmla="*/ 4215904 w 8634799"/>
                <a:gd name="connsiteY11" fmla="*/ 815864 h 909245"/>
                <a:gd name="connsiteX12" fmla="*/ 4845622 w 8634799"/>
                <a:gd name="connsiteY12" fmla="*/ 824370 h 909245"/>
                <a:gd name="connsiteX13" fmla="*/ 5681632 w 8634799"/>
                <a:gd name="connsiteY13" fmla="*/ 824370 h 909245"/>
                <a:gd name="connsiteX14" fmla="*/ 6745645 w 8634799"/>
                <a:gd name="connsiteY14" fmla="*/ 849870 h 909245"/>
                <a:gd name="connsiteX15" fmla="*/ 7494800 w 8634799"/>
                <a:gd name="connsiteY15" fmla="*/ 841364 h 909245"/>
                <a:gd name="connsiteX16" fmla="*/ 8026795 w 8634799"/>
                <a:gd name="connsiteY16" fmla="*/ 832858 h 909245"/>
                <a:gd name="connsiteX17" fmla="*/ 8504518 w 8634799"/>
                <a:gd name="connsiteY17" fmla="*/ 798870 h 909245"/>
                <a:gd name="connsiteX18" fmla="*/ 8634799 w 8634799"/>
                <a:gd name="connsiteY18" fmla="*/ 815864 h 909245"/>
                <a:gd name="connsiteX19" fmla="*/ 8634799 w 8634799"/>
                <a:gd name="connsiteY19" fmla="*/ 195507 h 909245"/>
                <a:gd name="connsiteX20" fmla="*/ 8450223 w 8634799"/>
                <a:gd name="connsiteY20" fmla="*/ 127586 h 909245"/>
                <a:gd name="connsiteX21" fmla="*/ 7635927 w 8634799"/>
                <a:gd name="connsiteY21" fmla="*/ 76605 h 909245"/>
                <a:gd name="connsiteX22" fmla="*/ 7049636 w 8634799"/>
                <a:gd name="connsiteY22" fmla="*/ 170080 h 909245"/>
                <a:gd name="connsiteX23" fmla="*/ 6342549 w 8634799"/>
                <a:gd name="connsiteY23" fmla="*/ 117521 h 909245"/>
                <a:gd name="connsiteX24" fmla="*/ 5902209 w 8634799"/>
                <a:gd name="connsiteY24" fmla="*/ 220549 h 909245"/>
                <a:gd name="connsiteX25" fmla="*/ 5182195 w 8634799"/>
                <a:gd name="connsiteY25" fmla="*/ 263555 h 909245"/>
                <a:gd name="connsiteX26" fmla="*/ 3469826 w 8634799"/>
                <a:gd name="connsiteY26" fmla="*/ 21686 h 909245"/>
                <a:gd name="connsiteX27" fmla="*/ 2370177 w 8634799"/>
                <a:gd name="connsiteY27" fmla="*/ 127586 h 909245"/>
                <a:gd name="connsiteX28" fmla="*/ 578745 w 8634799"/>
                <a:gd name="connsiteY28" fmla="*/ 119080 h 909245"/>
                <a:gd name="connsiteX29" fmla="*/ 38923 w 8634799"/>
                <a:gd name="connsiteY29" fmla="*/ 128131 h 909245"/>
                <a:gd name="connsiteX0" fmla="*/ 38923 w 8634799"/>
                <a:gd name="connsiteY0" fmla="*/ 134331 h 915445"/>
                <a:gd name="connsiteX1" fmla="*/ 4765 w 8634799"/>
                <a:gd name="connsiteY1" fmla="*/ 207060 h 915445"/>
                <a:gd name="connsiteX2" fmla="*/ 16985 w 8634799"/>
                <a:gd name="connsiteY2" fmla="*/ 418295 h 915445"/>
                <a:gd name="connsiteX3" fmla="*/ 31647 w 8634799"/>
                <a:gd name="connsiteY3" fmla="*/ 677541 h 915445"/>
                <a:gd name="connsiteX4" fmla="*/ 43864 w 8634799"/>
                <a:gd name="connsiteY4" fmla="*/ 754357 h 915445"/>
                <a:gd name="connsiteX5" fmla="*/ 80207 w 8634799"/>
                <a:gd name="connsiteY5" fmla="*/ 914507 h 915445"/>
                <a:gd name="connsiteX6" fmla="*/ 937008 w 8634799"/>
                <a:gd name="connsiteY6" fmla="*/ 822064 h 915445"/>
                <a:gd name="connsiteX7" fmla="*/ 1631867 w 8634799"/>
                <a:gd name="connsiteY7" fmla="*/ 856052 h 915445"/>
                <a:gd name="connsiteX8" fmla="*/ 2087877 w 8634799"/>
                <a:gd name="connsiteY8" fmla="*/ 796564 h 915445"/>
                <a:gd name="connsiteX9" fmla="*/ 2565599 w 8634799"/>
                <a:gd name="connsiteY9" fmla="*/ 796564 h 915445"/>
                <a:gd name="connsiteX10" fmla="*/ 3336468 w 8634799"/>
                <a:gd name="connsiteY10" fmla="*/ 839058 h 915445"/>
                <a:gd name="connsiteX11" fmla="*/ 4215904 w 8634799"/>
                <a:gd name="connsiteY11" fmla="*/ 822064 h 915445"/>
                <a:gd name="connsiteX12" fmla="*/ 4845622 w 8634799"/>
                <a:gd name="connsiteY12" fmla="*/ 830570 h 915445"/>
                <a:gd name="connsiteX13" fmla="*/ 5681632 w 8634799"/>
                <a:gd name="connsiteY13" fmla="*/ 830570 h 915445"/>
                <a:gd name="connsiteX14" fmla="*/ 6745645 w 8634799"/>
                <a:gd name="connsiteY14" fmla="*/ 856070 h 915445"/>
                <a:gd name="connsiteX15" fmla="*/ 7494800 w 8634799"/>
                <a:gd name="connsiteY15" fmla="*/ 847564 h 915445"/>
                <a:gd name="connsiteX16" fmla="*/ 8026795 w 8634799"/>
                <a:gd name="connsiteY16" fmla="*/ 839058 h 915445"/>
                <a:gd name="connsiteX17" fmla="*/ 8504518 w 8634799"/>
                <a:gd name="connsiteY17" fmla="*/ 805070 h 915445"/>
                <a:gd name="connsiteX18" fmla="*/ 8634799 w 8634799"/>
                <a:gd name="connsiteY18" fmla="*/ 822064 h 915445"/>
                <a:gd name="connsiteX19" fmla="*/ 8634799 w 8634799"/>
                <a:gd name="connsiteY19" fmla="*/ 201707 h 915445"/>
                <a:gd name="connsiteX20" fmla="*/ 8450223 w 8634799"/>
                <a:gd name="connsiteY20" fmla="*/ 133786 h 915445"/>
                <a:gd name="connsiteX21" fmla="*/ 7635927 w 8634799"/>
                <a:gd name="connsiteY21" fmla="*/ 82805 h 915445"/>
                <a:gd name="connsiteX22" fmla="*/ 7049636 w 8634799"/>
                <a:gd name="connsiteY22" fmla="*/ 176280 h 915445"/>
                <a:gd name="connsiteX23" fmla="*/ 6342549 w 8634799"/>
                <a:gd name="connsiteY23" fmla="*/ 123721 h 915445"/>
                <a:gd name="connsiteX24" fmla="*/ 5902209 w 8634799"/>
                <a:gd name="connsiteY24" fmla="*/ 226749 h 915445"/>
                <a:gd name="connsiteX25" fmla="*/ 5182195 w 8634799"/>
                <a:gd name="connsiteY25" fmla="*/ 269755 h 915445"/>
                <a:gd name="connsiteX26" fmla="*/ 3618314 w 8634799"/>
                <a:gd name="connsiteY26" fmla="*/ 21218 h 915445"/>
                <a:gd name="connsiteX27" fmla="*/ 2370177 w 8634799"/>
                <a:gd name="connsiteY27" fmla="*/ 133786 h 915445"/>
                <a:gd name="connsiteX28" fmla="*/ 578745 w 8634799"/>
                <a:gd name="connsiteY28" fmla="*/ 125280 h 915445"/>
                <a:gd name="connsiteX29" fmla="*/ 38923 w 8634799"/>
                <a:gd name="connsiteY29" fmla="*/ 134331 h 915445"/>
                <a:gd name="connsiteX0" fmla="*/ 38923 w 8634799"/>
                <a:gd name="connsiteY0" fmla="*/ 153045 h 934159"/>
                <a:gd name="connsiteX1" fmla="*/ 4765 w 8634799"/>
                <a:gd name="connsiteY1" fmla="*/ 225774 h 934159"/>
                <a:gd name="connsiteX2" fmla="*/ 16985 w 8634799"/>
                <a:gd name="connsiteY2" fmla="*/ 437009 h 934159"/>
                <a:gd name="connsiteX3" fmla="*/ 31647 w 8634799"/>
                <a:gd name="connsiteY3" fmla="*/ 696255 h 934159"/>
                <a:gd name="connsiteX4" fmla="*/ 43864 w 8634799"/>
                <a:gd name="connsiteY4" fmla="*/ 773071 h 934159"/>
                <a:gd name="connsiteX5" fmla="*/ 80207 w 8634799"/>
                <a:gd name="connsiteY5" fmla="*/ 933221 h 934159"/>
                <a:gd name="connsiteX6" fmla="*/ 937008 w 8634799"/>
                <a:gd name="connsiteY6" fmla="*/ 840778 h 934159"/>
                <a:gd name="connsiteX7" fmla="*/ 1631867 w 8634799"/>
                <a:gd name="connsiteY7" fmla="*/ 874766 h 934159"/>
                <a:gd name="connsiteX8" fmla="*/ 2087877 w 8634799"/>
                <a:gd name="connsiteY8" fmla="*/ 815278 h 934159"/>
                <a:gd name="connsiteX9" fmla="*/ 2565599 w 8634799"/>
                <a:gd name="connsiteY9" fmla="*/ 815278 h 934159"/>
                <a:gd name="connsiteX10" fmla="*/ 3336468 w 8634799"/>
                <a:gd name="connsiteY10" fmla="*/ 857772 h 934159"/>
                <a:gd name="connsiteX11" fmla="*/ 4215904 w 8634799"/>
                <a:gd name="connsiteY11" fmla="*/ 840778 h 934159"/>
                <a:gd name="connsiteX12" fmla="*/ 4845622 w 8634799"/>
                <a:gd name="connsiteY12" fmla="*/ 849284 h 934159"/>
                <a:gd name="connsiteX13" fmla="*/ 5681632 w 8634799"/>
                <a:gd name="connsiteY13" fmla="*/ 849284 h 934159"/>
                <a:gd name="connsiteX14" fmla="*/ 6745645 w 8634799"/>
                <a:gd name="connsiteY14" fmla="*/ 874784 h 934159"/>
                <a:gd name="connsiteX15" fmla="*/ 7494800 w 8634799"/>
                <a:gd name="connsiteY15" fmla="*/ 866278 h 934159"/>
                <a:gd name="connsiteX16" fmla="*/ 8026795 w 8634799"/>
                <a:gd name="connsiteY16" fmla="*/ 857772 h 934159"/>
                <a:gd name="connsiteX17" fmla="*/ 8504518 w 8634799"/>
                <a:gd name="connsiteY17" fmla="*/ 823784 h 934159"/>
                <a:gd name="connsiteX18" fmla="*/ 8634799 w 8634799"/>
                <a:gd name="connsiteY18" fmla="*/ 840778 h 934159"/>
                <a:gd name="connsiteX19" fmla="*/ 8634799 w 8634799"/>
                <a:gd name="connsiteY19" fmla="*/ 220421 h 934159"/>
                <a:gd name="connsiteX20" fmla="*/ 8450223 w 8634799"/>
                <a:gd name="connsiteY20" fmla="*/ 152500 h 934159"/>
                <a:gd name="connsiteX21" fmla="*/ 7635927 w 8634799"/>
                <a:gd name="connsiteY21" fmla="*/ 101519 h 934159"/>
                <a:gd name="connsiteX22" fmla="*/ 7049636 w 8634799"/>
                <a:gd name="connsiteY22" fmla="*/ 194994 h 934159"/>
                <a:gd name="connsiteX23" fmla="*/ 6342549 w 8634799"/>
                <a:gd name="connsiteY23" fmla="*/ 142435 h 934159"/>
                <a:gd name="connsiteX24" fmla="*/ 5902209 w 8634799"/>
                <a:gd name="connsiteY24" fmla="*/ 245463 h 934159"/>
                <a:gd name="connsiteX25" fmla="*/ 5182195 w 8634799"/>
                <a:gd name="connsiteY25" fmla="*/ 288469 h 934159"/>
                <a:gd name="connsiteX26" fmla="*/ 3655437 w 8634799"/>
                <a:gd name="connsiteY26" fmla="*/ 19929 h 934159"/>
                <a:gd name="connsiteX27" fmla="*/ 2370177 w 8634799"/>
                <a:gd name="connsiteY27" fmla="*/ 152500 h 934159"/>
                <a:gd name="connsiteX28" fmla="*/ 578745 w 8634799"/>
                <a:gd name="connsiteY28" fmla="*/ 143994 h 934159"/>
                <a:gd name="connsiteX29" fmla="*/ 38923 w 8634799"/>
                <a:gd name="connsiteY29" fmla="*/ 153045 h 934159"/>
                <a:gd name="connsiteX0" fmla="*/ 38923 w 8634799"/>
                <a:gd name="connsiteY0" fmla="*/ 203294 h 984408"/>
                <a:gd name="connsiteX1" fmla="*/ 4765 w 8634799"/>
                <a:gd name="connsiteY1" fmla="*/ 276023 h 984408"/>
                <a:gd name="connsiteX2" fmla="*/ 16985 w 8634799"/>
                <a:gd name="connsiteY2" fmla="*/ 487258 h 984408"/>
                <a:gd name="connsiteX3" fmla="*/ 31647 w 8634799"/>
                <a:gd name="connsiteY3" fmla="*/ 746504 h 984408"/>
                <a:gd name="connsiteX4" fmla="*/ 43864 w 8634799"/>
                <a:gd name="connsiteY4" fmla="*/ 823320 h 984408"/>
                <a:gd name="connsiteX5" fmla="*/ 80207 w 8634799"/>
                <a:gd name="connsiteY5" fmla="*/ 983470 h 984408"/>
                <a:gd name="connsiteX6" fmla="*/ 937008 w 8634799"/>
                <a:gd name="connsiteY6" fmla="*/ 891027 h 984408"/>
                <a:gd name="connsiteX7" fmla="*/ 1631867 w 8634799"/>
                <a:gd name="connsiteY7" fmla="*/ 925015 h 984408"/>
                <a:gd name="connsiteX8" fmla="*/ 2087877 w 8634799"/>
                <a:gd name="connsiteY8" fmla="*/ 865527 h 984408"/>
                <a:gd name="connsiteX9" fmla="*/ 2565599 w 8634799"/>
                <a:gd name="connsiteY9" fmla="*/ 865527 h 984408"/>
                <a:gd name="connsiteX10" fmla="*/ 3336468 w 8634799"/>
                <a:gd name="connsiteY10" fmla="*/ 908021 h 984408"/>
                <a:gd name="connsiteX11" fmla="*/ 4215904 w 8634799"/>
                <a:gd name="connsiteY11" fmla="*/ 891027 h 984408"/>
                <a:gd name="connsiteX12" fmla="*/ 4845622 w 8634799"/>
                <a:gd name="connsiteY12" fmla="*/ 899533 h 984408"/>
                <a:gd name="connsiteX13" fmla="*/ 5681632 w 8634799"/>
                <a:gd name="connsiteY13" fmla="*/ 899533 h 984408"/>
                <a:gd name="connsiteX14" fmla="*/ 6745645 w 8634799"/>
                <a:gd name="connsiteY14" fmla="*/ 925033 h 984408"/>
                <a:gd name="connsiteX15" fmla="*/ 7494800 w 8634799"/>
                <a:gd name="connsiteY15" fmla="*/ 916527 h 984408"/>
                <a:gd name="connsiteX16" fmla="*/ 8026795 w 8634799"/>
                <a:gd name="connsiteY16" fmla="*/ 908021 h 984408"/>
                <a:gd name="connsiteX17" fmla="*/ 8504518 w 8634799"/>
                <a:gd name="connsiteY17" fmla="*/ 874033 h 984408"/>
                <a:gd name="connsiteX18" fmla="*/ 8634799 w 8634799"/>
                <a:gd name="connsiteY18" fmla="*/ 891027 h 984408"/>
                <a:gd name="connsiteX19" fmla="*/ 8634799 w 8634799"/>
                <a:gd name="connsiteY19" fmla="*/ 270670 h 984408"/>
                <a:gd name="connsiteX20" fmla="*/ 8450223 w 8634799"/>
                <a:gd name="connsiteY20" fmla="*/ 202749 h 984408"/>
                <a:gd name="connsiteX21" fmla="*/ 7635927 w 8634799"/>
                <a:gd name="connsiteY21" fmla="*/ 151768 h 984408"/>
                <a:gd name="connsiteX22" fmla="*/ 7049636 w 8634799"/>
                <a:gd name="connsiteY22" fmla="*/ 245243 h 984408"/>
                <a:gd name="connsiteX23" fmla="*/ 6342549 w 8634799"/>
                <a:gd name="connsiteY23" fmla="*/ 192684 h 984408"/>
                <a:gd name="connsiteX24" fmla="*/ 5902209 w 8634799"/>
                <a:gd name="connsiteY24" fmla="*/ 295712 h 984408"/>
                <a:gd name="connsiteX25" fmla="*/ 5182195 w 8634799"/>
                <a:gd name="connsiteY25" fmla="*/ 338718 h 984408"/>
                <a:gd name="connsiteX26" fmla="*/ 3655437 w 8634799"/>
                <a:gd name="connsiteY26" fmla="*/ 70178 h 984408"/>
                <a:gd name="connsiteX27" fmla="*/ 2370177 w 8634799"/>
                <a:gd name="connsiteY27" fmla="*/ 202749 h 984408"/>
                <a:gd name="connsiteX28" fmla="*/ 578745 w 8634799"/>
                <a:gd name="connsiteY28" fmla="*/ 194243 h 984408"/>
                <a:gd name="connsiteX29" fmla="*/ 38923 w 8634799"/>
                <a:gd name="connsiteY29" fmla="*/ 203294 h 984408"/>
                <a:gd name="connsiteX0" fmla="*/ 38923 w 8634799"/>
                <a:gd name="connsiteY0" fmla="*/ 146213 h 927327"/>
                <a:gd name="connsiteX1" fmla="*/ 4765 w 8634799"/>
                <a:gd name="connsiteY1" fmla="*/ 218942 h 927327"/>
                <a:gd name="connsiteX2" fmla="*/ 16985 w 8634799"/>
                <a:gd name="connsiteY2" fmla="*/ 430177 h 927327"/>
                <a:gd name="connsiteX3" fmla="*/ 31647 w 8634799"/>
                <a:gd name="connsiteY3" fmla="*/ 689423 h 927327"/>
                <a:gd name="connsiteX4" fmla="*/ 43864 w 8634799"/>
                <a:gd name="connsiteY4" fmla="*/ 766239 h 927327"/>
                <a:gd name="connsiteX5" fmla="*/ 80207 w 8634799"/>
                <a:gd name="connsiteY5" fmla="*/ 926389 h 927327"/>
                <a:gd name="connsiteX6" fmla="*/ 937008 w 8634799"/>
                <a:gd name="connsiteY6" fmla="*/ 833946 h 927327"/>
                <a:gd name="connsiteX7" fmla="*/ 1631867 w 8634799"/>
                <a:gd name="connsiteY7" fmla="*/ 867934 h 927327"/>
                <a:gd name="connsiteX8" fmla="*/ 2087877 w 8634799"/>
                <a:gd name="connsiteY8" fmla="*/ 808446 h 927327"/>
                <a:gd name="connsiteX9" fmla="*/ 2565599 w 8634799"/>
                <a:gd name="connsiteY9" fmla="*/ 808446 h 927327"/>
                <a:gd name="connsiteX10" fmla="*/ 3336468 w 8634799"/>
                <a:gd name="connsiteY10" fmla="*/ 850940 h 927327"/>
                <a:gd name="connsiteX11" fmla="*/ 4215904 w 8634799"/>
                <a:gd name="connsiteY11" fmla="*/ 833946 h 927327"/>
                <a:gd name="connsiteX12" fmla="*/ 4845622 w 8634799"/>
                <a:gd name="connsiteY12" fmla="*/ 842452 h 927327"/>
                <a:gd name="connsiteX13" fmla="*/ 5681632 w 8634799"/>
                <a:gd name="connsiteY13" fmla="*/ 842452 h 927327"/>
                <a:gd name="connsiteX14" fmla="*/ 6745645 w 8634799"/>
                <a:gd name="connsiteY14" fmla="*/ 867952 h 927327"/>
                <a:gd name="connsiteX15" fmla="*/ 7494800 w 8634799"/>
                <a:gd name="connsiteY15" fmla="*/ 859446 h 927327"/>
                <a:gd name="connsiteX16" fmla="*/ 8026795 w 8634799"/>
                <a:gd name="connsiteY16" fmla="*/ 850940 h 927327"/>
                <a:gd name="connsiteX17" fmla="*/ 8504518 w 8634799"/>
                <a:gd name="connsiteY17" fmla="*/ 816952 h 927327"/>
                <a:gd name="connsiteX18" fmla="*/ 8634799 w 8634799"/>
                <a:gd name="connsiteY18" fmla="*/ 833946 h 927327"/>
                <a:gd name="connsiteX19" fmla="*/ 8634799 w 8634799"/>
                <a:gd name="connsiteY19" fmla="*/ 213589 h 927327"/>
                <a:gd name="connsiteX20" fmla="*/ 8450223 w 8634799"/>
                <a:gd name="connsiteY20" fmla="*/ 145668 h 927327"/>
                <a:gd name="connsiteX21" fmla="*/ 7635927 w 8634799"/>
                <a:gd name="connsiteY21" fmla="*/ 94687 h 927327"/>
                <a:gd name="connsiteX22" fmla="*/ 7049636 w 8634799"/>
                <a:gd name="connsiteY22" fmla="*/ 188162 h 927327"/>
                <a:gd name="connsiteX23" fmla="*/ 6342549 w 8634799"/>
                <a:gd name="connsiteY23" fmla="*/ 135603 h 927327"/>
                <a:gd name="connsiteX24" fmla="*/ 5902209 w 8634799"/>
                <a:gd name="connsiteY24" fmla="*/ 238631 h 927327"/>
                <a:gd name="connsiteX25" fmla="*/ 5182195 w 8634799"/>
                <a:gd name="connsiteY25" fmla="*/ 281637 h 927327"/>
                <a:gd name="connsiteX26" fmla="*/ 3822487 w 8634799"/>
                <a:gd name="connsiteY26" fmla="*/ 79772 h 927327"/>
                <a:gd name="connsiteX27" fmla="*/ 2370177 w 8634799"/>
                <a:gd name="connsiteY27" fmla="*/ 145668 h 927327"/>
                <a:gd name="connsiteX28" fmla="*/ 578745 w 8634799"/>
                <a:gd name="connsiteY28" fmla="*/ 137162 h 927327"/>
                <a:gd name="connsiteX29" fmla="*/ 38923 w 8634799"/>
                <a:gd name="connsiteY29" fmla="*/ 146213 h 927327"/>
                <a:gd name="connsiteX0" fmla="*/ 38923 w 8634799"/>
                <a:gd name="connsiteY0" fmla="*/ 157240 h 938354"/>
                <a:gd name="connsiteX1" fmla="*/ 4765 w 8634799"/>
                <a:gd name="connsiteY1" fmla="*/ 229969 h 938354"/>
                <a:gd name="connsiteX2" fmla="*/ 16985 w 8634799"/>
                <a:gd name="connsiteY2" fmla="*/ 441204 h 938354"/>
                <a:gd name="connsiteX3" fmla="*/ 31647 w 8634799"/>
                <a:gd name="connsiteY3" fmla="*/ 700450 h 938354"/>
                <a:gd name="connsiteX4" fmla="*/ 43864 w 8634799"/>
                <a:gd name="connsiteY4" fmla="*/ 777266 h 938354"/>
                <a:gd name="connsiteX5" fmla="*/ 80207 w 8634799"/>
                <a:gd name="connsiteY5" fmla="*/ 937416 h 938354"/>
                <a:gd name="connsiteX6" fmla="*/ 937008 w 8634799"/>
                <a:gd name="connsiteY6" fmla="*/ 844973 h 938354"/>
                <a:gd name="connsiteX7" fmla="*/ 1631867 w 8634799"/>
                <a:gd name="connsiteY7" fmla="*/ 878961 h 938354"/>
                <a:gd name="connsiteX8" fmla="*/ 2087877 w 8634799"/>
                <a:gd name="connsiteY8" fmla="*/ 819473 h 938354"/>
                <a:gd name="connsiteX9" fmla="*/ 2565599 w 8634799"/>
                <a:gd name="connsiteY9" fmla="*/ 819473 h 938354"/>
                <a:gd name="connsiteX10" fmla="*/ 3336468 w 8634799"/>
                <a:gd name="connsiteY10" fmla="*/ 861967 h 938354"/>
                <a:gd name="connsiteX11" fmla="*/ 4215904 w 8634799"/>
                <a:gd name="connsiteY11" fmla="*/ 844973 h 938354"/>
                <a:gd name="connsiteX12" fmla="*/ 4845622 w 8634799"/>
                <a:gd name="connsiteY12" fmla="*/ 853479 h 938354"/>
                <a:gd name="connsiteX13" fmla="*/ 5681632 w 8634799"/>
                <a:gd name="connsiteY13" fmla="*/ 853479 h 938354"/>
                <a:gd name="connsiteX14" fmla="*/ 6745645 w 8634799"/>
                <a:gd name="connsiteY14" fmla="*/ 878979 h 938354"/>
                <a:gd name="connsiteX15" fmla="*/ 7494800 w 8634799"/>
                <a:gd name="connsiteY15" fmla="*/ 870473 h 938354"/>
                <a:gd name="connsiteX16" fmla="*/ 8026795 w 8634799"/>
                <a:gd name="connsiteY16" fmla="*/ 861967 h 938354"/>
                <a:gd name="connsiteX17" fmla="*/ 8504518 w 8634799"/>
                <a:gd name="connsiteY17" fmla="*/ 827979 h 938354"/>
                <a:gd name="connsiteX18" fmla="*/ 8634799 w 8634799"/>
                <a:gd name="connsiteY18" fmla="*/ 844973 h 938354"/>
                <a:gd name="connsiteX19" fmla="*/ 8634799 w 8634799"/>
                <a:gd name="connsiteY19" fmla="*/ 224616 h 938354"/>
                <a:gd name="connsiteX20" fmla="*/ 8450223 w 8634799"/>
                <a:gd name="connsiteY20" fmla="*/ 156695 h 938354"/>
                <a:gd name="connsiteX21" fmla="*/ 7635927 w 8634799"/>
                <a:gd name="connsiteY21" fmla="*/ 105714 h 938354"/>
                <a:gd name="connsiteX22" fmla="*/ 7049636 w 8634799"/>
                <a:gd name="connsiteY22" fmla="*/ 199189 h 938354"/>
                <a:gd name="connsiteX23" fmla="*/ 6342549 w 8634799"/>
                <a:gd name="connsiteY23" fmla="*/ 146630 h 938354"/>
                <a:gd name="connsiteX24" fmla="*/ 5902209 w 8634799"/>
                <a:gd name="connsiteY24" fmla="*/ 249658 h 938354"/>
                <a:gd name="connsiteX25" fmla="*/ 5182195 w 8634799"/>
                <a:gd name="connsiteY25" fmla="*/ 292664 h 938354"/>
                <a:gd name="connsiteX26" fmla="*/ 3822487 w 8634799"/>
                <a:gd name="connsiteY26" fmla="*/ 90799 h 938354"/>
                <a:gd name="connsiteX27" fmla="*/ 2370177 w 8634799"/>
                <a:gd name="connsiteY27" fmla="*/ 156695 h 938354"/>
                <a:gd name="connsiteX28" fmla="*/ 578745 w 8634799"/>
                <a:gd name="connsiteY28" fmla="*/ 148189 h 938354"/>
                <a:gd name="connsiteX29" fmla="*/ 38923 w 8634799"/>
                <a:gd name="connsiteY29" fmla="*/ 157240 h 938354"/>
                <a:gd name="connsiteX0" fmla="*/ 38923 w 12045155"/>
                <a:gd name="connsiteY0" fmla="*/ 157240 h 938354"/>
                <a:gd name="connsiteX1" fmla="*/ 4765 w 12045155"/>
                <a:gd name="connsiteY1" fmla="*/ 229969 h 938354"/>
                <a:gd name="connsiteX2" fmla="*/ 16985 w 12045155"/>
                <a:gd name="connsiteY2" fmla="*/ 441204 h 938354"/>
                <a:gd name="connsiteX3" fmla="*/ 31647 w 12045155"/>
                <a:gd name="connsiteY3" fmla="*/ 700450 h 938354"/>
                <a:gd name="connsiteX4" fmla="*/ 43864 w 12045155"/>
                <a:gd name="connsiteY4" fmla="*/ 777266 h 938354"/>
                <a:gd name="connsiteX5" fmla="*/ 80207 w 12045155"/>
                <a:gd name="connsiteY5" fmla="*/ 937416 h 938354"/>
                <a:gd name="connsiteX6" fmla="*/ 937008 w 12045155"/>
                <a:gd name="connsiteY6" fmla="*/ 844973 h 938354"/>
                <a:gd name="connsiteX7" fmla="*/ 1631867 w 12045155"/>
                <a:gd name="connsiteY7" fmla="*/ 878961 h 938354"/>
                <a:gd name="connsiteX8" fmla="*/ 2087877 w 12045155"/>
                <a:gd name="connsiteY8" fmla="*/ 819473 h 938354"/>
                <a:gd name="connsiteX9" fmla="*/ 2565599 w 12045155"/>
                <a:gd name="connsiteY9" fmla="*/ 819473 h 938354"/>
                <a:gd name="connsiteX10" fmla="*/ 3336468 w 12045155"/>
                <a:gd name="connsiteY10" fmla="*/ 861967 h 938354"/>
                <a:gd name="connsiteX11" fmla="*/ 4215904 w 12045155"/>
                <a:gd name="connsiteY11" fmla="*/ 844973 h 938354"/>
                <a:gd name="connsiteX12" fmla="*/ 4845622 w 12045155"/>
                <a:gd name="connsiteY12" fmla="*/ 853479 h 938354"/>
                <a:gd name="connsiteX13" fmla="*/ 5681632 w 12045155"/>
                <a:gd name="connsiteY13" fmla="*/ 853479 h 938354"/>
                <a:gd name="connsiteX14" fmla="*/ 6745645 w 12045155"/>
                <a:gd name="connsiteY14" fmla="*/ 878979 h 938354"/>
                <a:gd name="connsiteX15" fmla="*/ 7494800 w 12045155"/>
                <a:gd name="connsiteY15" fmla="*/ 870473 h 938354"/>
                <a:gd name="connsiteX16" fmla="*/ 8026795 w 12045155"/>
                <a:gd name="connsiteY16" fmla="*/ 861967 h 938354"/>
                <a:gd name="connsiteX17" fmla="*/ 8504518 w 12045155"/>
                <a:gd name="connsiteY17" fmla="*/ 827979 h 938354"/>
                <a:gd name="connsiteX18" fmla="*/ 12045155 w 12045155"/>
                <a:gd name="connsiteY18" fmla="*/ 699393 h 938354"/>
                <a:gd name="connsiteX19" fmla="*/ 8634799 w 12045155"/>
                <a:gd name="connsiteY19" fmla="*/ 224616 h 938354"/>
                <a:gd name="connsiteX20" fmla="*/ 8450223 w 12045155"/>
                <a:gd name="connsiteY20" fmla="*/ 156695 h 938354"/>
                <a:gd name="connsiteX21" fmla="*/ 7635927 w 12045155"/>
                <a:gd name="connsiteY21" fmla="*/ 105714 h 938354"/>
                <a:gd name="connsiteX22" fmla="*/ 7049636 w 12045155"/>
                <a:gd name="connsiteY22" fmla="*/ 199189 h 938354"/>
                <a:gd name="connsiteX23" fmla="*/ 6342549 w 12045155"/>
                <a:gd name="connsiteY23" fmla="*/ 146630 h 938354"/>
                <a:gd name="connsiteX24" fmla="*/ 5902209 w 12045155"/>
                <a:gd name="connsiteY24" fmla="*/ 249658 h 938354"/>
                <a:gd name="connsiteX25" fmla="*/ 5182195 w 12045155"/>
                <a:gd name="connsiteY25" fmla="*/ 292664 h 938354"/>
                <a:gd name="connsiteX26" fmla="*/ 3822487 w 12045155"/>
                <a:gd name="connsiteY26" fmla="*/ 90799 h 938354"/>
                <a:gd name="connsiteX27" fmla="*/ 2370177 w 12045155"/>
                <a:gd name="connsiteY27" fmla="*/ 156695 h 938354"/>
                <a:gd name="connsiteX28" fmla="*/ 578745 w 12045155"/>
                <a:gd name="connsiteY28" fmla="*/ 148189 h 938354"/>
                <a:gd name="connsiteX29" fmla="*/ 38923 w 12045155"/>
                <a:gd name="connsiteY29" fmla="*/ 157240 h 938354"/>
                <a:gd name="connsiteX0" fmla="*/ 38923 w 12045155"/>
                <a:gd name="connsiteY0" fmla="*/ 157240 h 938354"/>
                <a:gd name="connsiteX1" fmla="*/ 4765 w 12045155"/>
                <a:gd name="connsiteY1" fmla="*/ 229969 h 938354"/>
                <a:gd name="connsiteX2" fmla="*/ 16985 w 12045155"/>
                <a:gd name="connsiteY2" fmla="*/ 441204 h 938354"/>
                <a:gd name="connsiteX3" fmla="*/ 31647 w 12045155"/>
                <a:gd name="connsiteY3" fmla="*/ 700450 h 938354"/>
                <a:gd name="connsiteX4" fmla="*/ 43864 w 12045155"/>
                <a:gd name="connsiteY4" fmla="*/ 777266 h 938354"/>
                <a:gd name="connsiteX5" fmla="*/ 80207 w 12045155"/>
                <a:gd name="connsiteY5" fmla="*/ 937416 h 938354"/>
                <a:gd name="connsiteX6" fmla="*/ 937008 w 12045155"/>
                <a:gd name="connsiteY6" fmla="*/ 844973 h 938354"/>
                <a:gd name="connsiteX7" fmla="*/ 1631867 w 12045155"/>
                <a:gd name="connsiteY7" fmla="*/ 878961 h 938354"/>
                <a:gd name="connsiteX8" fmla="*/ 2087877 w 12045155"/>
                <a:gd name="connsiteY8" fmla="*/ 819473 h 938354"/>
                <a:gd name="connsiteX9" fmla="*/ 2565599 w 12045155"/>
                <a:gd name="connsiteY9" fmla="*/ 819473 h 938354"/>
                <a:gd name="connsiteX10" fmla="*/ 3336468 w 12045155"/>
                <a:gd name="connsiteY10" fmla="*/ 861967 h 938354"/>
                <a:gd name="connsiteX11" fmla="*/ 4215904 w 12045155"/>
                <a:gd name="connsiteY11" fmla="*/ 844973 h 938354"/>
                <a:gd name="connsiteX12" fmla="*/ 4845622 w 12045155"/>
                <a:gd name="connsiteY12" fmla="*/ 853479 h 938354"/>
                <a:gd name="connsiteX13" fmla="*/ 5681632 w 12045155"/>
                <a:gd name="connsiteY13" fmla="*/ 853479 h 938354"/>
                <a:gd name="connsiteX14" fmla="*/ 6745645 w 12045155"/>
                <a:gd name="connsiteY14" fmla="*/ 878979 h 938354"/>
                <a:gd name="connsiteX15" fmla="*/ 7494800 w 12045155"/>
                <a:gd name="connsiteY15" fmla="*/ 870473 h 938354"/>
                <a:gd name="connsiteX16" fmla="*/ 8026795 w 12045155"/>
                <a:gd name="connsiteY16" fmla="*/ 861967 h 938354"/>
                <a:gd name="connsiteX17" fmla="*/ 8504518 w 12045155"/>
                <a:gd name="connsiteY17" fmla="*/ 827979 h 938354"/>
                <a:gd name="connsiteX18" fmla="*/ 12045155 w 12045155"/>
                <a:gd name="connsiteY18" fmla="*/ 699393 h 938354"/>
                <a:gd name="connsiteX19" fmla="*/ 12045155 w 12045155"/>
                <a:gd name="connsiteY19" fmla="*/ 261011 h 938354"/>
                <a:gd name="connsiteX20" fmla="*/ 8450223 w 12045155"/>
                <a:gd name="connsiteY20" fmla="*/ 156695 h 938354"/>
                <a:gd name="connsiteX21" fmla="*/ 7635927 w 12045155"/>
                <a:gd name="connsiteY21" fmla="*/ 105714 h 938354"/>
                <a:gd name="connsiteX22" fmla="*/ 7049636 w 12045155"/>
                <a:gd name="connsiteY22" fmla="*/ 199189 h 938354"/>
                <a:gd name="connsiteX23" fmla="*/ 6342549 w 12045155"/>
                <a:gd name="connsiteY23" fmla="*/ 146630 h 938354"/>
                <a:gd name="connsiteX24" fmla="*/ 5902209 w 12045155"/>
                <a:gd name="connsiteY24" fmla="*/ 249658 h 938354"/>
                <a:gd name="connsiteX25" fmla="*/ 5182195 w 12045155"/>
                <a:gd name="connsiteY25" fmla="*/ 292664 h 938354"/>
                <a:gd name="connsiteX26" fmla="*/ 3822487 w 12045155"/>
                <a:gd name="connsiteY26" fmla="*/ 90799 h 938354"/>
                <a:gd name="connsiteX27" fmla="*/ 2370177 w 12045155"/>
                <a:gd name="connsiteY27" fmla="*/ 156695 h 938354"/>
                <a:gd name="connsiteX28" fmla="*/ 578745 w 12045155"/>
                <a:gd name="connsiteY28" fmla="*/ 148189 h 938354"/>
                <a:gd name="connsiteX29" fmla="*/ 38923 w 12045155"/>
                <a:gd name="connsiteY29" fmla="*/ 157240 h 938354"/>
                <a:gd name="connsiteX0" fmla="*/ 38923 w 12045155"/>
                <a:gd name="connsiteY0" fmla="*/ 157240 h 1129823"/>
                <a:gd name="connsiteX1" fmla="*/ 4765 w 12045155"/>
                <a:gd name="connsiteY1" fmla="*/ 229969 h 1129823"/>
                <a:gd name="connsiteX2" fmla="*/ 16985 w 12045155"/>
                <a:gd name="connsiteY2" fmla="*/ 441204 h 1129823"/>
                <a:gd name="connsiteX3" fmla="*/ 31647 w 12045155"/>
                <a:gd name="connsiteY3" fmla="*/ 700450 h 1129823"/>
                <a:gd name="connsiteX4" fmla="*/ 43864 w 12045155"/>
                <a:gd name="connsiteY4" fmla="*/ 777266 h 1129823"/>
                <a:gd name="connsiteX5" fmla="*/ 80207 w 12045155"/>
                <a:gd name="connsiteY5" fmla="*/ 937416 h 1129823"/>
                <a:gd name="connsiteX6" fmla="*/ 937008 w 12045155"/>
                <a:gd name="connsiteY6" fmla="*/ 844973 h 1129823"/>
                <a:gd name="connsiteX7" fmla="*/ 1631867 w 12045155"/>
                <a:gd name="connsiteY7" fmla="*/ 878961 h 1129823"/>
                <a:gd name="connsiteX8" fmla="*/ 2087877 w 12045155"/>
                <a:gd name="connsiteY8" fmla="*/ 819473 h 1129823"/>
                <a:gd name="connsiteX9" fmla="*/ 2565599 w 12045155"/>
                <a:gd name="connsiteY9" fmla="*/ 819473 h 1129823"/>
                <a:gd name="connsiteX10" fmla="*/ 3336468 w 12045155"/>
                <a:gd name="connsiteY10" fmla="*/ 861967 h 1129823"/>
                <a:gd name="connsiteX11" fmla="*/ 4215904 w 12045155"/>
                <a:gd name="connsiteY11" fmla="*/ 844973 h 1129823"/>
                <a:gd name="connsiteX12" fmla="*/ 4845622 w 12045155"/>
                <a:gd name="connsiteY12" fmla="*/ 853479 h 1129823"/>
                <a:gd name="connsiteX13" fmla="*/ 5681632 w 12045155"/>
                <a:gd name="connsiteY13" fmla="*/ 853479 h 1129823"/>
                <a:gd name="connsiteX14" fmla="*/ 6745645 w 12045155"/>
                <a:gd name="connsiteY14" fmla="*/ 878979 h 1129823"/>
                <a:gd name="connsiteX15" fmla="*/ 7494800 w 12045155"/>
                <a:gd name="connsiteY15" fmla="*/ 870473 h 1129823"/>
                <a:gd name="connsiteX16" fmla="*/ 8026795 w 12045155"/>
                <a:gd name="connsiteY16" fmla="*/ 861967 h 1129823"/>
                <a:gd name="connsiteX17" fmla="*/ 8504518 w 12045155"/>
                <a:gd name="connsiteY17" fmla="*/ 827979 h 1129823"/>
                <a:gd name="connsiteX18" fmla="*/ 11481826 w 12045155"/>
                <a:gd name="connsiteY18" fmla="*/ 1127088 h 1129823"/>
                <a:gd name="connsiteX19" fmla="*/ 12045155 w 12045155"/>
                <a:gd name="connsiteY19" fmla="*/ 699393 h 1129823"/>
                <a:gd name="connsiteX20" fmla="*/ 12045155 w 12045155"/>
                <a:gd name="connsiteY20" fmla="*/ 261011 h 1129823"/>
                <a:gd name="connsiteX21" fmla="*/ 8450223 w 12045155"/>
                <a:gd name="connsiteY21" fmla="*/ 156695 h 1129823"/>
                <a:gd name="connsiteX22" fmla="*/ 7635927 w 12045155"/>
                <a:gd name="connsiteY22" fmla="*/ 105714 h 1129823"/>
                <a:gd name="connsiteX23" fmla="*/ 7049636 w 12045155"/>
                <a:gd name="connsiteY23" fmla="*/ 199189 h 1129823"/>
                <a:gd name="connsiteX24" fmla="*/ 6342549 w 12045155"/>
                <a:gd name="connsiteY24" fmla="*/ 146630 h 1129823"/>
                <a:gd name="connsiteX25" fmla="*/ 5902209 w 12045155"/>
                <a:gd name="connsiteY25" fmla="*/ 249658 h 1129823"/>
                <a:gd name="connsiteX26" fmla="*/ 5182195 w 12045155"/>
                <a:gd name="connsiteY26" fmla="*/ 292664 h 1129823"/>
                <a:gd name="connsiteX27" fmla="*/ 3822487 w 12045155"/>
                <a:gd name="connsiteY27" fmla="*/ 90799 h 1129823"/>
                <a:gd name="connsiteX28" fmla="*/ 2370177 w 12045155"/>
                <a:gd name="connsiteY28" fmla="*/ 156695 h 1129823"/>
                <a:gd name="connsiteX29" fmla="*/ 578745 w 12045155"/>
                <a:gd name="connsiteY29" fmla="*/ 148189 h 1129823"/>
                <a:gd name="connsiteX30" fmla="*/ 38923 w 12045155"/>
                <a:gd name="connsiteY30" fmla="*/ 157240 h 1129823"/>
                <a:gd name="connsiteX0" fmla="*/ 38923 w 12045155"/>
                <a:gd name="connsiteY0" fmla="*/ 157240 h 1784983"/>
                <a:gd name="connsiteX1" fmla="*/ 4765 w 12045155"/>
                <a:gd name="connsiteY1" fmla="*/ 229969 h 1784983"/>
                <a:gd name="connsiteX2" fmla="*/ 16985 w 12045155"/>
                <a:gd name="connsiteY2" fmla="*/ 441204 h 1784983"/>
                <a:gd name="connsiteX3" fmla="*/ 31647 w 12045155"/>
                <a:gd name="connsiteY3" fmla="*/ 700450 h 1784983"/>
                <a:gd name="connsiteX4" fmla="*/ 43864 w 12045155"/>
                <a:gd name="connsiteY4" fmla="*/ 777266 h 1784983"/>
                <a:gd name="connsiteX5" fmla="*/ 80207 w 12045155"/>
                <a:gd name="connsiteY5" fmla="*/ 937416 h 1784983"/>
                <a:gd name="connsiteX6" fmla="*/ 937008 w 12045155"/>
                <a:gd name="connsiteY6" fmla="*/ 844973 h 1784983"/>
                <a:gd name="connsiteX7" fmla="*/ 1631867 w 12045155"/>
                <a:gd name="connsiteY7" fmla="*/ 878961 h 1784983"/>
                <a:gd name="connsiteX8" fmla="*/ 2087877 w 12045155"/>
                <a:gd name="connsiteY8" fmla="*/ 819473 h 1784983"/>
                <a:gd name="connsiteX9" fmla="*/ 2565599 w 12045155"/>
                <a:gd name="connsiteY9" fmla="*/ 819473 h 1784983"/>
                <a:gd name="connsiteX10" fmla="*/ 3336468 w 12045155"/>
                <a:gd name="connsiteY10" fmla="*/ 861967 h 1784983"/>
                <a:gd name="connsiteX11" fmla="*/ 4215904 w 12045155"/>
                <a:gd name="connsiteY11" fmla="*/ 844973 h 1784983"/>
                <a:gd name="connsiteX12" fmla="*/ 4845622 w 12045155"/>
                <a:gd name="connsiteY12" fmla="*/ 853479 h 1784983"/>
                <a:gd name="connsiteX13" fmla="*/ 5681632 w 12045155"/>
                <a:gd name="connsiteY13" fmla="*/ 853479 h 1784983"/>
                <a:gd name="connsiteX14" fmla="*/ 6745645 w 12045155"/>
                <a:gd name="connsiteY14" fmla="*/ 878979 h 1784983"/>
                <a:gd name="connsiteX15" fmla="*/ 7494800 w 12045155"/>
                <a:gd name="connsiteY15" fmla="*/ 870473 h 1784983"/>
                <a:gd name="connsiteX16" fmla="*/ 8026795 w 12045155"/>
                <a:gd name="connsiteY16" fmla="*/ 861967 h 1784983"/>
                <a:gd name="connsiteX17" fmla="*/ 8504518 w 12045155"/>
                <a:gd name="connsiteY17" fmla="*/ 827979 h 1784983"/>
                <a:gd name="connsiteX18" fmla="*/ 10922986 w 12045155"/>
                <a:gd name="connsiteY18" fmla="*/ 1782194 h 1784983"/>
                <a:gd name="connsiteX19" fmla="*/ 11481826 w 12045155"/>
                <a:gd name="connsiteY19" fmla="*/ 1127088 h 1784983"/>
                <a:gd name="connsiteX20" fmla="*/ 12045155 w 12045155"/>
                <a:gd name="connsiteY20" fmla="*/ 699393 h 1784983"/>
                <a:gd name="connsiteX21" fmla="*/ 12045155 w 12045155"/>
                <a:gd name="connsiteY21" fmla="*/ 261011 h 1784983"/>
                <a:gd name="connsiteX22" fmla="*/ 8450223 w 12045155"/>
                <a:gd name="connsiteY22" fmla="*/ 156695 h 1784983"/>
                <a:gd name="connsiteX23" fmla="*/ 7635927 w 12045155"/>
                <a:gd name="connsiteY23" fmla="*/ 105714 h 1784983"/>
                <a:gd name="connsiteX24" fmla="*/ 7049636 w 12045155"/>
                <a:gd name="connsiteY24" fmla="*/ 199189 h 1784983"/>
                <a:gd name="connsiteX25" fmla="*/ 6342549 w 12045155"/>
                <a:gd name="connsiteY25" fmla="*/ 146630 h 1784983"/>
                <a:gd name="connsiteX26" fmla="*/ 5902209 w 12045155"/>
                <a:gd name="connsiteY26" fmla="*/ 249658 h 1784983"/>
                <a:gd name="connsiteX27" fmla="*/ 5182195 w 12045155"/>
                <a:gd name="connsiteY27" fmla="*/ 292664 h 1784983"/>
                <a:gd name="connsiteX28" fmla="*/ 3822487 w 12045155"/>
                <a:gd name="connsiteY28" fmla="*/ 90799 h 1784983"/>
                <a:gd name="connsiteX29" fmla="*/ 2370177 w 12045155"/>
                <a:gd name="connsiteY29" fmla="*/ 156695 h 1784983"/>
                <a:gd name="connsiteX30" fmla="*/ 578745 w 12045155"/>
                <a:gd name="connsiteY30" fmla="*/ 148189 h 1784983"/>
                <a:gd name="connsiteX31" fmla="*/ 38923 w 12045155"/>
                <a:gd name="connsiteY31" fmla="*/ 157240 h 1784983"/>
                <a:gd name="connsiteX0" fmla="*/ 38923 w 12045155"/>
                <a:gd name="connsiteY0" fmla="*/ 157240 h 1848237"/>
                <a:gd name="connsiteX1" fmla="*/ 4765 w 12045155"/>
                <a:gd name="connsiteY1" fmla="*/ 229969 h 1848237"/>
                <a:gd name="connsiteX2" fmla="*/ 16985 w 12045155"/>
                <a:gd name="connsiteY2" fmla="*/ 441204 h 1848237"/>
                <a:gd name="connsiteX3" fmla="*/ 31647 w 12045155"/>
                <a:gd name="connsiteY3" fmla="*/ 700450 h 1848237"/>
                <a:gd name="connsiteX4" fmla="*/ 43864 w 12045155"/>
                <a:gd name="connsiteY4" fmla="*/ 777266 h 1848237"/>
                <a:gd name="connsiteX5" fmla="*/ 80207 w 12045155"/>
                <a:gd name="connsiteY5" fmla="*/ 937416 h 1848237"/>
                <a:gd name="connsiteX6" fmla="*/ 937008 w 12045155"/>
                <a:gd name="connsiteY6" fmla="*/ 844973 h 1848237"/>
                <a:gd name="connsiteX7" fmla="*/ 1631867 w 12045155"/>
                <a:gd name="connsiteY7" fmla="*/ 878961 h 1848237"/>
                <a:gd name="connsiteX8" fmla="*/ 2087877 w 12045155"/>
                <a:gd name="connsiteY8" fmla="*/ 819473 h 1848237"/>
                <a:gd name="connsiteX9" fmla="*/ 2565599 w 12045155"/>
                <a:gd name="connsiteY9" fmla="*/ 819473 h 1848237"/>
                <a:gd name="connsiteX10" fmla="*/ 3336468 w 12045155"/>
                <a:gd name="connsiteY10" fmla="*/ 861967 h 1848237"/>
                <a:gd name="connsiteX11" fmla="*/ 4215904 w 12045155"/>
                <a:gd name="connsiteY11" fmla="*/ 844973 h 1848237"/>
                <a:gd name="connsiteX12" fmla="*/ 4845622 w 12045155"/>
                <a:gd name="connsiteY12" fmla="*/ 853479 h 1848237"/>
                <a:gd name="connsiteX13" fmla="*/ 5681632 w 12045155"/>
                <a:gd name="connsiteY13" fmla="*/ 853479 h 1848237"/>
                <a:gd name="connsiteX14" fmla="*/ 6745645 w 12045155"/>
                <a:gd name="connsiteY14" fmla="*/ 878979 h 1848237"/>
                <a:gd name="connsiteX15" fmla="*/ 7494800 w 12045155"/>
                <a:gd name="connsiteY15" fmla="*/ 870473 h 1848237"/>
                <a:gd name="connsiteX16" fmla="*/ 8026795 w 12045155"/>
                <a:gd name="connsiteY16" fmla="*/ 861967 h 1848237"/>
                <a:gd name="connsiteX17" fmla="*/ 8504518 w 12045155"/>
                <a:gd name="connsiteY17" fmla="*/ 827979 h 1848237"/>
                <a:gd name="connsiteX18" fmla="*/ 10922986 w 12045155"/>
                <a:gd name="connsiteY18" fmla="*/ 1782194 h 1848237"/>
                <a:gd name="connsiteX19" fmla="*/ 11481826 w 12045155"/>
                <a:gd name="connsiteY19" fmla="*/ 1127088 h 1848237"/>
                <a:gd name="connsiteX20" fmla="*/ 12045155 w 12045155"/>
                <a:gd name="connsiteY20" fmla="*/ 699393 h 1848237"/>
                <a:gd name="connsiteX21" fmla="*/ 12045155 w 12045155"/>
                <a:gd name="connsiteY21" fmla="*/ 261011 h 1848237"/>
                <a:gd name="connsiteX22" fmla="*/ 8450223 w 12045155"/>
                <a:gd name="connsiteY22" fmla="*/ 156695 h 1848237"/>
                <a:gd name="connsiteX23" fmla="*/ 7635927 w 12045155"/>
                <a:gd name="connsiteY23" fmla="*/ 105714 h 1848237"/>
                <a:gd name="connsiteX24" fmla="*/ 7049636 w 12045155"/>
                <a:gd name="connsiteY24" fmla="*/ 199189 h 1848237"/>
                <a:gd name="connsiteX25" fmla="*/ 6342549 w 12045155"/>
                <a:gd name="connsiteY25" fmla="*/ 146630 h 1848237"/>
                <a:gd name="connsiteX26" fmla="*/ 5902209 w 12045155"/>
                <a:gd name="connsiteY26" fmla="*/ 249658 h 1848237"/>
                <a:gd name="connsiteX27" fmla="*/ 5182195 w 12045155"/>
                <a:gd name="connsiteY27" fmla="*/ 292664 h 1848237"/>
                <a:gd name="connsiteX28" fmla="*/ 3822487 w 12045155"/>
                <a:gd name="connsiteY28" fmla="*/ 90799 h 1848237"/>
                <a:gd name="connsiteX29" fmla="*/ 2370177 w 12045155"/>
                <a:gd name="connsiteY29" fmla="*/ 156695 h 1848237"/>
                <a:gd name="connsiteX30" fmla="*/ 578745 w 12045155"/>
                <a:gd name="connsiteY30" fmla="*/ 148189 h 1848237"/>
                <a:gd name="connsiteX31" fmla="*/ 38923 w 12045155"/>
                <a:gd name="connsiteY31" fmla="*/ 157240 h 1848237"/>
                <a:gd name="connsiteX0" fmla="*/ 38923 w 12045155"/>
                <a:gd name="connsiteY0" fmla="*/ 157240 h 2147863"/>
                <a:gd name="connsiteX1" fmla="*/ 4765 w 12045155"/>
                <a:gd name="connsiteY1" fmla="*/ 229969 h 2147863"/>
                <a:gd name="connsiteX2" fmla="*/ 16985 w 12045155"/>
                <a:gd name="connsiteY2" fmla="*/ 441204 h 2147863"/>
                <a:gd name="connsiteX3" fmla="*/ 31647 w 12045155"/>
                <a:gd name="connsiteY3" fmla="*/ 700450 h 2147863"/>
                <a:gd name="connsiteX4" fmla="*/ 43864 w 12045155"/>
                <a:gd name="connsiteY4" fmla="*/ 777266 h 2147863"/>
                <a:gd name="connsiteX5" fmla="*/ 80207 w 12045155"/>
                <a:gd name="connsiteY5" fmla="*/ 937416 h 2147863"/>
                <a:gd name="connsiteX6" fmla="*/ 937008 w 12045155"/>
                <a:gd name="connsiteY6" fmla="*/ 844973 h 2147863"/>
                <a:gd name="connsiteX7" fmla="*/ 1631867 w 12045155"/>
                <a:gd name="connsiteY7" fmla="*/ 878961 h 2147863"/>
                <a:gd name="connsiteX8" fmla="*/ 2087877 w 12045155"/>
                <a:gd name="connsiteY8" fmla="*/ 819473 h 2147863"/>
                <a:gd name="connsiteX9" fmla="*/ 2565599 w 12045155"/>
                <a:gd name="connsiteY9" fmla="*/ 819473 h 2147863"/>
                <a:gd name="connsiteX10" fmla="*/ 3336468 w 12045155"/>
                <a:gd name="connsiteY10" fmla="*/ 861967 h 2147863"/>
                <a:gd name="connsiteX11" fmla="*/ 4215904 w 12045155"/>
                <a:gd name="connsiteY11" fmla="*/ 844973 h 2147863"/>
                <a:gd name="connsiteX12" fmla="*/ 4845622 w 12045155"/>
                <a:gd name="connsiteY12" fmla="*/ 853479 h 2147863"/>
                <a:gd name="connsiteX13" fmla="*/ 5681632 w 12045155"/>
                <a:gd name="connsiteY13" fmla="*/ 853479 h 2147863"/>
                <a:gd name="connsiteX14" fmla="*/ 6745645 w 12045155"/>
                <a:gd name="connsiteY14" fmla="*/ 878979 h 2147863"/>
                <a:gd name="connsiteX15" fmla="*/ 7494800 w 12045155"/>
                <a:gd name="connsiteY15" fmla="*/ 870473 h 2147863"/>
                <a:gd name="connsiteX16" fmla="*/ 8026795 w 12045155"/>
                <a:gd name="connsiteY16" fmla="*/ 861967 h 2147863"/>
                <a:gd name="connsiteX17" fmla="*/ 8504518 w 12045155"/>
                <a:gd name="connsiteY17" fmla="*/ 827979 h 2147863"/>
                <a:gd name="connsiteX18" fmla="*/ 10177867 w 12045155"/>
                <a:gd name="connsiteY18" fmla="*/ 2109744 h 2147863"/>
                <a:gd name="connsiteX19" fmla="*/ 10922986 w 12045155"/>
                <a:gd name="connsiteY19" fmla="*/ 1782194 h 2147863"/>
                <a:gd name="connsiteX20" fmla="*/ 11481826 w 12045155"/>
                <a:gd name="connsiteY20" fmla="*/ 1127088 h 2147863"/>
                <a:gd name="connsiteX21" fmla="*/ 12045155 w 12045155"/>
                <a:gd name="connsiteY21" fmla="*/ 699393 h 2147863"/>
                <a:gd name="connsiteX22" fmla="*/ 12045155 w 12045155"/>
                <a:gd name="connsiteY22" fmla="*/ 261011 h 2147863"/>
                <a:gd name="connsiteX23" fmla="*/ 8450223 w 12045155"/>
                <a:gd name="connsiteY23" fmla="*/ 156695 h 2147863"/>
                <a:gd name="connsiteX24" fmla="*/ 7635927 w 12045155"/>
                <a:gd name="connsiteY24" fmla="*/ 105714 h 2147863"/>
                <a:gd name="connsiteX25" fmla="*/ 7049636 w 12045155"/>
                <a:gd name="connsiteY25" fmla="*/ 199189 h 2147863"/>
                <a:gd name="connsiteX26" fmla="*/ 6342549 w 12045155"/>
                <a:gd name="connsiteY26" fmla="*/ 146630 h 2147863"/>
                <a:gd name="connsiteX27" fmla="*/ 5902209 w 12045155"/>
                <a:gd name="connsiteY27" fmla="*/ 249658 h 2147863"/>
                <a:gd name="connsiteX28" fmla="*/ 5182195 w 12045155"/>
                <a:gd name="connsiteY28" fmla="*/ 292664 h 2147863"/>
                <a:gd name="connsiteX29" fmla="*/ 3822487 w 12045155"/>
                <a:gd name="connsiteY29" fmla="*/ 90799 h 2147863"/>
                <a:gd name="connsiteX30" fmla="*/ 2370177 w 12045155"/>
                <a:gd name="connsiteY30" fmla="*/ 156695 h 2147863"/>
                <a:gd name="connsiteX31" fmla="*/ 578745 w 12045155"/>
                <a:gd name="connsiteY31" fmla="*/ 148189 h 2147863"/>
                <a:gd name="connsiteX32" fmla="*/ 38923 w 12045155"/>
                <a:gd name="connsiteY32" fmla="*/ 157240 h 2147863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8450223 w 12045155"/>
                <a:gd name="connsiteY24" fmla="*/ 156695 h 2112232"/>
                <a:gd name="connsiteX25" fmla="*/ 7635927 w 12045155"/>
                <a:gd name="connsiteY25" fmla="*/ 105714 h 2112232"/>
                <a:gd name="connsiteX26" fmla="*/ 7049636 w 12045155"/>
                <a:gd name="connsiteY26" fmla="*/ 199189 h 2112232"/>
                <a:gd name="connsiteX27" fmla="*/ 6342549 w 12045155"/>
                <a:gd name="connsiteY27" fmla="*/ 146630 h 2112232"/>
                <a:gd name="connsiteX28" fmla="*/ 5902209 w 12045155"/>
                <a:gd name="connsiteY28" fmla="*/ 249658 h 2112232"/>
                <a:gd name="connsiteX29" fmla="*/ 5182195 w 12045155"/>
                <a:gd name="connsiteY29" fmla="*/ 292664 h 2112232"/>
                <a:gd name="connsiteX30" fmla="*/ 3822487 w 12045155"/>
                <a:gd name="connsiteY30" fmla="*/ 90799 h 2112232"/>
                <a:gd name="connsiteX31" fmla="*/ 2370177 w 12045155"/>
                <a:gd name="connsiteY31" fmla="*/ 156695 h 2112232"/>
                <a:gd name="connsiteX32" fmla="*/ 578745 w 12045155"/>
                <a:gd name="connsiteY32" fmla="*/ 148189 h 2112232"/>
                <a:gd name="connsiteX33" fmla="*/ 38923 w 12045155"/>
                <a:gd name="connsiteY33" fmla="*/ 157240 h 2112232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11438839 w 12045155"/>
                <a:gd name="connsiteY24" fmla="*/ 435586 h 2112232"/>
                <a:gd name="connsiteX25" fmla="*/ 8450223 w 12045155"/>
                <a:gd name="connsiteY25" fmla="*/ 156695 h 2112232"/>
                <a:gd name="connsiteX26" fmla="*/ 7635927 w 12045155"/>
                <a:gd name="connsiteY26" fmla="*/ 105714 h 2112232"/>
                <a:gd name="connsiteX27" fmla="*/ 7049636 w 12045155"/>
                <a:gd name="connsiteY27" fmla="*/ 199189 h 2112232"/>
                <a:gd name="connsiteX28" fmla="*/ 6342549 w 12045155"/>
                <a:gd name="connsiteY28" fmla="*/ 146630 h 2112232"/>
                <a:gd name="connsiteX29" fmla="*/ 5902209 w 12045155"/>
                <a:gd name="connsiteY29" fmla="*/ 249658 h 2112232"/>
                <a:gd name="connsiteX30" fmla="*/ 5182195 w 12045155"/>
                <a:gd name="connsiteY30" fmla="*/ 292664 h 2112232"/>
                <a:gd name="connsiteX31" fmla="*/ 3822487 w 12045155"/>
                <a:gd name="connsiteY31" fmla="*/ 90799 h 2112232"/>
                <a:gd name="connsiteX32" fmla="*/ 2370177 w 12045155"/>
                <a:gd name="connsiteY32" fmla="*/ 156695 h 2112232"/>
                <a:gd name="connsiteX33" fmla="*/ 578745 w 12045155"/>
                <a:gd name="connsiteY33" fmla="*/ 148189 h 2112232"/>
                <a:gd name="connsiteX34" fmla="*/ 38923 w 12045155"/>
                <a:gd name="connsiteY34" fmla="*/ 157240 h 2112232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11438839 w 12045155"/>
                <a:gd name="connsiteY24" fmla="*/ 435586 h 2112232"/>
                <a:gd name="connsiteX25" fmla="*/ 8450223 w 12045155"/>
                <a:gd name="connsiteY25" fmla="*/ 156695 h 2112232"/>
                <a:gd name="connsiteX26" fmla="*/ 7635927 w 12045155"/>
                <a:gd name="connsiteY26" fmla="*/ 105714 h 2112232"/>
                <a:gd name="connsiteX27" fmla="*/ 7049636 w 12045155"/>
                <a:gd name="connsiteY27" fmla="*/ 199189 h 2112232"/>
                <a:gd name="connsiteX28" fmla="*/ 6342549 w 12045155"/>
                <a:gd name="connsiteY28" fmla="*/ 146630 h 2112232"/>
                <a:gd name="connsiteX29" fmla="*/ 5902209 w 12045155"/>
                <a:gd name="connsiteY29" fmla="*/ 249658 h 2112232"/>
                <a:gd name="connsiteX30" fmla="*/ 5182195 w 12045155"/>
                <a:gd name="connsiteY30" fmla="*/ 292664 h 2112232"/>
                <a:gd name="connsiteX31" fmla="*/ 3822487 w 12045155"/>
                <a:gd name="connsiteY31" fmla="*/ 90799 h 2112232"/>
                <a:gd name="connsiteX32" fmla="*/ 2370177 w 12045155"/>
                <a:gd name="connsiteY32" fmla="*/ 156695 h 2112232"/>
                <a:gd name="connsiteX33" fmla="*/ 578745 w 12045155"/>
                <a:gd name="connsiteY33" fmla="*/ 148189 h 2112232"/>
                <a:gd name="connsiteX34" fmla="*/ 38923 w 12045155"/>
                <a:gd name="connsiteY34" fmla="*/ 157240 h 2112232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11438839 w 12045155"/>
                <a:gd name="connsiteY24" fmla="*/ 435586 h 2112232"/>
                <a:gd name="connsiteX25" fmla="*/ 9053022 w 12045155"/>
                <a:gd name="connsiteY25" fmla="*/ 581165 h 2112232"/>
                <a:gd name="connsiteX26" fmla="*/ 8450223 w 12045155"/>
                <a:gd name="connsiteY26" fmla="*/ 156695 h 2112232"/>
                <a:gd name="connsiteX27" fmla="*/ 7635927 w 12045155"/>
                <a:gd name="connsiteY27" fmla="*/ 105714 h 2112232"/>
                <a:gd name="connsiteX28" fmla="*/ 7049636 w 12045155"/>
                <a:gd name="connsiteY28" fmla="*/ 199189 h 2112232"/>
                <a:gd name="connsiteX29" fmla="*/ 6342549 w 12045155"/>
                <a:gd name="connsiteY29" fmla="*/ 146630 h 2112232"/>
                <a:gd name="connsiteX30" fmla="*/ 5902209 w 12045155"/>
                <a:gd name="connsiteY30" fmla="*/ 249658 h 2112232"/>
                <a:gd name="connsiteX31" fmla="*/ 5182195 w 12045155"/>
                <a:gd name="connsiteY31" fmla="*/ 292664 h 2112232"/>
                <a:gd name="connsiteX32" fmla="*/ 3822487 w 12045155"/>
                <a:gd name="connsiteY32" fmla="*/ 90799 h 2112232"/>
                <a:gd name="connsiteX33" fmla="*/ 2370177 w 12045155"/>
                <a:gd name="connsiteY33" fmla="*/ 156695 h 2112232"/>
                <a:gd name="connsiteX34" fmla="*/ 578745 w 12045155"/>
                <a:gd name="connsiteY34" fmla="*/ 148189 h 2112232"/>
                <a:gd name="connsiteX35" fmla="*/ 38923 w 12045155"/>
                <a:gd name="connsiteY35" fmla="*/ 157240 h 2112232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11438839 w 12045155"/>
                <a:gd name="connsiteY24" fmla="*/ 435586 h 2112232"/>
                <a:gd name="connsiteX25" fmla="*/ 9527677 w 12045155"/>
                <a:gd name="connsiteY25" fmla="*/ 1058846 h 2112232"/>
                <a:gd name="connsiteX26" fmla="*/ 9053022 w 12045155"/>
                <a:gd name="connsiteY26" fmla="*/ 581165 h 2112232"/>
                <a:gd name="connsiteX27" fmla="*/ 8450223 w 12045155"/>
                <a:gd name="connsiteY27" fmla="*/ 156695 h 2112232"/>
                <a:gd name="connsiteX28" fmla="*/ 7635927 w 12045155"/>
                <a:gd name="connsiteY28" fmla="*/ 105714 h 2112232"/>
                <a:gd name="connsiteX29" fmla="*/ 7049636 w 12045155"/>
                <a:gd name="connsiteY29" fmla="*/ 199189 h 2112232"/>
                <a:gd name="connsiteX30" fmla="*/ 6342549 w 12045155"/>
                <a:gd name="connsiteY30" fmla="*/ 146630 h 2112232"/>
                <a:gd name="connsiteX31" fmla="*/ 5902209 w 12045155"/>
                <a:gd name="connsiteY31" fmla="*/ 249658 h 2112232"/>
                <a:gd name="connsiteX32" fmla="*/ 5182195 w 12045155"/>
                <a:gd name="connsiteY32" fmla="*/ 292664 h 2112232"/>
                <a:gd name="connsiteX33" fmla="*/ 3822487 w 12045155"/>
                <a:gd name="connsiteY33" fmla="*/ 90799 h 2112232"/>
                <a:gd name="connsiteX34" fmla="*/ 2370177 w 12045155"/>
                <a:gd name="connsiteY34" fmla="*/ 156695 h 2112232"/>
                <a:gd name="connsiteX35" fmla="*/ 578745 w 12045155"/>
                <a:gd name="connsiteY35" fmla="*/ 148189 h 2112232"/>
                <a:gd name="connsiteX36" fmla="*/ 38923 w 12045155"/>
                <a:gd name="connsiteY36" fmla="*/ 157240 h 2112232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11438839 w 12045155"/>
                <a:gd name="connsiteY24" fmla="*/ 435586 h 2112232"/>
                <a:gd name="connsiteX25" fmla="*/ 11059114 w 12045155"/>
                <a:gd name="connsiteY25" fmla="*/ 1047471 h 2112232"/>
                <a:gd name="connsiteX26" fmla="*/ 9527677 w 12045155"/>
                <a:gd name="connsiteY26" fmla="*/ 1058846 h 2112232"/>
                <a:gd name="connsiteX27" fmla="*/ 9053022 w 12045155"/>
                <a:gd name="connsiteY27" fmla="*/ 581165 h 2112232"/>
                <a:gd name="connsiteX28" fmla="*/ 8450223 w 12045155"/>
                <a:gd name="connsiteY28" fmla="*/ 156695 h 2112232"/>
                <a:gd name="connsiteX29" fmla="*/ 7635927 w 12045155"/>
                <a:gd name="connsiteY29" fmla="*/ 105714 h 2112232"/>
                <a:gd name="connsiteX30" fmla="*/ 7049636 w 12045155"/>
                <a:gd name="connsiteY30" fmla="*/ 199189 h 2112232"/>
                <a:gd name="connsiteX31" fmla="*/ 6342549 w 12045155"/>
                <a:gd name="connsiteY31" fmla="*/ 146630 h 2112232"/>
                <a:gd name="connsiteX32" fmla="*/ 5902209 w 12045155"/>
                <a:gd name="connsiteY32" fmla="*/ 249658 h 2112232"/>
                <a:gd name="connsiteX33" fmla="*/ 5182195 w 12045155"/>
                <a:gd name="connsiteY33" fmla="*/ 292664 h 2112232"/>
                <a:gd name="connsiteX34" fmla="*/ 3822487 w 12045155"/>
                <a:gd name="connsiteY34" fmla="*/ 90799 h 2112232"/>
                <a:gd name="connsiteX35" fmla="*/ 2370177 w 12045155"/>
                <a:gd name="connsiteY35" fmla="*/ 156695 h 2112232"/>
                <a:gd name="connsiteX36" fmla="*/ 578745 w 12045155"/>
                <a:gd name="connsiteY36" fmla="*/ 148189 h 2112232"/>
                <a:gd name="connsiteX37" fmla="*/ 38923 w 12045155"/>
                <a:gd name="connsiteY37" fmla="*/ 157240 h 2112232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11438839 w 12045155"/>
                <a:gd name="connsiteY24" fmla="*/ 435586 h 2112232"/>
                <a:gd name="connsiteX25" fmla="*/ 11059114 w 12045155"/>
                <a:gd name="connsiteY25" fmla="*/ 1047471 h 2112232"/>
                <a:gd name="connsiteX26" fmla="*/ 10602369 w 12045155"/>
                <a:gd name="connsiteY26" fmla="*/ 1661632 h 2112232"/>
                <a:gd name="connsiteX27" fmla="*/ 9527677 w 12045155"/>
                <a:gd name="connsiteY27" fmla="*/ 1058846 h 2112232"/>
                <a:gd name="connsiteX28" fmla="*/ 9053022 w 12045155"/>
                <a:gd name="connsiteY28" fmla="*/ 581165 h 2112232"/>
                <a:gd name="connsiteX29" fmla="*/ 8450223 w 12045155"/>
                <a:gd name="connsiteY29" fmla="*/ 156695 h 2112232"/>
                <a:gd name="connsiteX30" fmla="*/ 7635927 w 12045155"/>
                <a:gd name="connsiteY30" fmla="*/ 105714 h 2112232"/>
                <a:gd name="connsiteX31" fmla="*/ 7049636 w 12045155"/>
                <a:gd name="connsiteY31" fmla="*/ 199189 h 2112232"/>
                <a:gd name="connsiteX32" fmla="*/ 6342549 w 12045155"/>
                <a:gd name="connsiteY32" fmla="*/ 146630 h 2112232"/>
                <a:gd name="connsiteX33" fmla="*/ 5902209 w 12045155"/>
                <a:gd name="connsiteY33" fmla="*/ 249658 h 2112232"/>
                <a:gd name="connsiteX34" fmla="*/ 5182195 w 12045155"/>
                <a:gd name="connsiteY34" fmla="*/ 292664 h 2112232"/>
                <a:gd name="connsiteX35" fmla="*/ 3822487 w 12045155"/>
                <a:gd name="connsiteY35" fmla="*/ 90799 h 2112232"/>
                <a:gd name="connsiteX36" fmla="*/ 2370177 w 12045155"/>
                <a:gd name="connsiteY36" fmla="*/ 156695 h 2112232"/>
                <a:gd name="connsiteX37" fmla="*/ 578745 w 12045155"/>
                <a:gd name="connsiteY37" fmla="*/ 148189 h 2112232"/>
                <a:gd name="connsiteX38" fmla="*/ 38923 w 12045155"/>
                <a:gd name="connsiteY38" fmla="*/ 157240 h 2112232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11438839 w 12045155"/>
                <a:gd name="connsiteY24" fmla="*/ 435586 h 2112232"/>
                <a:gd name="connsiteX25" fmla="*/ 11059114 w 12045155"/>
                <a:gd name="connsiteY25" fmla="*/ 1047471 h 2112232"/>
                <a:gd name="connsiteX26" fmla="*/ 10602369 w 12045155"/>
                <a:gd name="connsiteY26" fmla="*/ 1661632 h 2112232"/>
                <a:gd name="connsiteX27" fmla="*/ 9948599 w 12045155"/>
                <a:gd name="connsiteY27" fmla="*/ 1673007 h 2112232"/>
                <a:gd name="connsiteX28" fmla="*/ 9527677 w 12045155"/>
                <a:gd name="connsiteY28" fmla="*/ 1058846 h 2112232"/>
                <a:gd name="connsiteX29" fmla="*/ 9053022 w 12045155"/>
                <a:gd name="connsiteY29" fmla="*/ 581165 h 2112232"/>
                <a:gd name="connsiteX30" fmla="*/ 8450223 w 12045155"/>
                <a:gd name="connsiteY30" fmla="*/ 156695 h 2112232"/>
                <a:gd name="connsiteX31" fmla="*/ 7635927 w 12045155"/>
                <a:gd name="connsiteY31" fmla="*/ 105714 h 2112232"/>
                <a:gd name="connsiteX32" fmla="*/ 7049636 w 12045155"/>
                <a:gd name="connsiteY32" fmla="*/ 199189 h 2112232"/>
                <a:gd name="connsiteX33" fmla="*/ 6342549 w 12045155"/>
                <a:gd name="connsiteY33" fmla="*/ 146630 h 2112232"/>
                <a:gd name="connsiteX34" fmla="*/ 5902209 w 12045155"/>
                <a:gd name="connsiteY34" fmla="*/ 249658 h 2112232"/>
                <a:gd name="connsiteX35" fmla="*/ 5182195 w 12045155"/>
                <a:gd name="connsiteY35" fmla="*/ 292664 h 2112232"/>
                <a:gd name="connsiteX36" fmla="*/ 3822487 w 12045155"/>
                <a:gd name="connsiteY36" fmla="*/ 90799 h 2112232"/>
                <a:gd name="connsiteX37" fmla="*/ 2370177 w 12045155"/>
                <a:gd name="connsiteY37" fmla="*/ 156695 h 2112232"/>
                <a:gd name="connsiteX38" fmla="*/ 578745 w 12045155"/>
                <a:gd name="connsiteY38" fmla="*/ 148189 h 2112232"/>
                <a:gd name="connsiteX39" fmla="*/ 38923 w 12045155"/>
                <a:gd name="connsiteY39" fmla="*/ 157240 h 2112232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11438839 w 12045155"/>
                <a:gd name="connsiteY24" fmla="*/ 435586 h 2112232"/>
                <a:gd name="connsiteX25" fmla="*/ 11059114 w 12045155"/>
                <a:gd name="connsiteY25" fmla="*/ 1047471 h 2112232"/>
                <a:gd name="connsiteX26" fmla="*/ 10602369 w 12045155"/>
                <a:gd name="connsiteY26" fmla="*/ 1661632 h 2112232"/>
                <a:gd name="connsiteX27" fmla="*/ 10034574 w 12045155"/>
                <a:gd name="connsiteY27" fmla="*/ 1618415 h 2112232"/>
                <a:gd name="connsiteX28" fmla="*/ 9527677 w 12045155"/>
                <a:gd name="connsiteY28" fmla="*/ 1058846 h 2112232"/>
                <a:gd name="connsiteX29" fmla="*/ 9053022 w 12045155"/>
                <a:gd name="connsiteY29" fmla="*/ 581165 h 2112232"/>
                <a:gd name="connsiteX30" fmla="*/ 8450223 w 12045155"/>
                <a:gd name="connsiteY30" fmla="*/ 156695 h 2112232"/>
                <a:gd name="connsiteX31" fmla="*/ 7635927 w 12045155"/>
                <a:gd name="connsiteY31" fmla="*/ 105714 h 2112232"/>
                <a:gd name="connsiteX32" fmla="*/ 7049636 w 12045155"/>
                <a:gd name="connsiteY32" fmla="*/ 199189 h 2112232"/>
                <a:gd name="connsiteX33" fmla="*/ 6342549 w 12045155"/>
                <a:gd name="connsiteY33" fmla="*/ 146630 h 2112232"/>
                <a:gd name="connsiteX34" fmla="*/ 5902209 w 12045155"/>
                <a:gd name="connsiteY34" fmla="*/ 249658 h 2112232"/>
                <a:gd name="connsiteX35" fmla="*/ 5182195 w 12045155"/>
                <a:gd name="connsiteY35" fmla="*/ 292664 h 2112232"/>
                <a:gd name="connsiteX36" fmla="*/ 3822487 w 12045155"/>
                <a:gd name="connsiteY36" fmla="*/ 90799 h 2112232"/>
                <a:gd name="connsiteX37" fmla="*/ 2370177 w 12045155"/>
                <a:gd name="connsiteY37" fmla="*/ 156695 h 2112232"/>
                <a:gd name="connsiteX38" fmla="*/ 578745 w 12045155"/>
                <a:gd name="connsiteY38" fmla="*/ 148189 h 2112232"/>
                <a:gd name="connsiteX39" fmla="*/ 38923 w 12045155"/>
                <a:gd name="connsiteY39" fmla="*/ 157240 h 2112232"/>
                <a:gd name="connsiteX0" fmla="*/ 38923 w 12045155"/>
                <a:gd name="connsiteY0" fmla="*/ 157240 h 2159168"/>
                <a:gd name="connsiteX1" fmla="*/ 4765 w 12045155"/>
                <a:gd name="connsiteY1" fmla="*/ 229969 h 2159168"/>
                <a:gd name="connsiteX2" fmla="*/ 16985 w 12045155"/>
                <a:gd name="connsiteY2" fmla="*/ 441204 h 2159168"/>
                <a:gd name="connsiteX3" fmla="*/ 31647 w 12045155"/>
                <a:gd name="connsiteY3" fmla="*/ 700450 h 2159168"/>
                <a:gd name="connsiteX4" fmla="*/ 43864 w 12045155"/>
                <a:gd name="connsiteY4" fmla="*/ 777266 h 2159168"/>
                <a:gd name="connsiteX5" fmla="*/ 80207 w 12045155"/>
                <a:gd name="connsiteY5" fmla="*/ 937416 h 2159168"/>
                <a:gd name="connsiteX6" fmla="*/ 937008 w 12045155"/>
                <a:gd name="connsiteY6" fmla="*/ 844973 h 2159168"/>
                <a:gd name="connsiteX7" fmla="*/ 1631867 w 12045155"/>
                <a:gd name="connsiteY7" fmla="*/ 878961 h 2159168"/>
                <a:gd name="connsiteX8" fmla="*/ 2087877 w 12045155"/>
                <a:gd name="connsiteY8" fmla="*/ 819473 h 2159168"/>
                <a:gd name="connsiteX9" fmla="*/ 2565599 w 12045155"/>
                <a:gd name="connsiteY9" fmla="*/ 819473 h 2159168"/>
                <a:gd name="connsiteX10" fmla="*/ 3336468 w 12045155"/>
                <a:gd name="connsiteY10" fmla="*/ 861967 h 2159168"/>
                <a:gd name="connsiteX11" fmla="*/ 4215904 w 12045155"/>
                <a:gd name="connsiteY11" fmla="*/ 844973 h 2159168"/>
                <a:gd name="connsiteX12" fmla="*/ 4845622 w 12045155"/>
                <a:gd name="connsiteY12" fmla="*/ 853479 h 2159168"/>
                <a:gd name="connsiteX13" fmla="*/ 5681632 w 12045155"/>
                <a:gd name="connsiteY13" fmla="*/ 853479 h 2159168"/>
                <a:gd name="connsiteX14" fmla="*/ 6745645 w 12045155"/>
                <a:gd name="connsiteY14" fmla="*/ 878979 h 2159168"/>
                <a:gd name="connsiteX15" fmla="*/ 7494800 w 12045155"/>
                <a:gd name="connsiteY15" fmla="*/ 870473 h 2159168"/>
                <a:gd name="connsiteX16" fmla="*/ 8026795 w 12045155"/>
                <a:gd name="connsiteY16" fmla="*/ 861967 h 2159168"/>
                <a:gd name="connsiteX17" fmla="*/ 8504518 w 12045155"/>
                <a:gd name="connsiteY17" fmla="*/ 827979 h 2159168"/>
                <a:gd name="connsiteX18" fmla="*/ 9361101 w 12045155"/>
                <a:gd name="connsiteY18" fmla="*/ 2018757 h 2159168"/>
                <a:gd name="connsiteX19" fmla="*/ 10177867 w 12045155"/>
                <a:gd name="connsiteY19" fmla="*/ 2109744 h 2159168"/>
                <a:gd name="connsiteX20" fmla="*/ 10922986 w 12045155"/>
                <a:gd name="connsiteY20" fmla="*/ 1782194 h 2159168"/>
                <a:gd name="connsiteX21" fmla="*/ 11481826 w 12045155"/>
                <a:gd name="connsiteY21" fmla="*/ 1127088 h 2159168"/>
                <a:gd name="connsiteX22" fmla="*/ 12045155 w 12045155"/>
                <a:gd name="connsiteY22" fmla="*/ 699393 h 2159168"/>
                <a:gd name="connsiteX23" fmla="*/ 12045155 w 12045155"/>
                <a:gd name="connsiteY23" fmla="*/ 261011 h 2159168"/>
                <a:gd name="connsiteX24" fmla="*/ 11438839 w 12045155"/>
                <a:gd name="connsiteY24" fmla="*/ 435586 h 2159168"/>
                <a:gd name="connsiteX25" fmla="*/ 11059114 w 12045155"/>
                <a:gd name="connsiteY25" fmla="*/ 1047471 h 2159168"/>
                <a:gd name="connsiteX26" fmla="*/ 10602369 w 12045155"/>
                <a:gd name="connsiteY26" fmla="*/ 1661632 h 2159168"/>
                <a:gd name="connsiteX27" fmla="*/ 10034574 w 12045155"/>
                <a:gd name="connsiteY27" fmla="*/ 1618415 h 2159168"/>
                <a:gd name="connsiteX28" fmla="*/ 9527677 w 12045155"/>
                <a:gd name="connsiteY28" fmla="*/ 1058846 h 2159168"/>
                <a:gd name="connsiteX29" fmla="*/ 9053022 w 12045155"/>
                <a:gd name="connsiteY29" fmla="*/ 581165 h 2159168"/>
                <a:gd name="connsiteX30" fmla="*/ 8450223 w 12045155"/>
                <a:gd name="connsiteY30" fmla="*/ 156695 h 2159168"/>
                <a:gd name="connsiteX31" fmla="*/ 7635927 w 12045155"/>
                <a:gd name="connsiteY31" fmla="*/ 105714 h 2159168"/>
                <a:gd name="connsiteX32" fmla="*/ 7049636 w 12045155"/>
                <a:gd name="connsiteY32" fmla="*/ 199189 h 2159168"/>
                <a:gd name="connsiteX33" fmla="*/ 6342549 w 12045155"/>
                <a:gd name="connsiteY33" fmla="*/ 146630 h 2159168"/>
                <a:gd name="connsiteX34" fmla="*/ 5902209 w 12045155"/>
                <a:gd name="connsiteY34" fmla="*/ 249658 h 2159168"/>
                <a:gd name="connsiteX35" fmla="*/ 5182195 w 12045155"/>
                <a:gd name="connsiteY35" fmla="*/ 292664 h 2159168"/>
                <a:gd name="connsiteX36" fmla="*/ 3822487 w 12045155"/>
                <a:gd name="connsiteY36" fmla="*/ 90799 h 2159168"/>
                <a:gd name="connsiteX37" fmla="*/ 2370177 w 12045155"/>
                <a:gd name="connsiteY37" fmla="*/ 156695 h 2159168"/>
                <a:gd name="connsiteX38" fmla="*/ 578745 w 12045155"/>
                <a:gd name="connsiteY38" fmla="*/ 148189 h 2159168"/>
                <a:gd name="connsiteX39" fmla="*/ 38923 w 12045155"/>
                <a:gd name="connsiteY39" fmla="*/ 157240 h 2159168"/>
                <a:gd name="connsiteX0" fmla="*/ 38923 w 12045155"/>
                <a:gd name="connsiteY0" fmla="*/ 157240 h 2371492"/>
                <a:gd name="connsiteX1" fmla="*/ 4765 w 12045155"/>
                <a:gd name="connsiteY1" fmla="*/ 229969 h 2371492"/>
                <a:gd name="connsiteX2" fmla="*/ 16985 w 12045155"/>
                <a:gd name="connsiteY2" fmla="*/ 441204 h 2371492"/>
                <a:gd name="connsiteX3" fmla="*/ 31647 w 12045155"/>
                <a:gd name="connsiteY3" fmla="*/ 700450 h 2371492"/>
                <a:gd name="connsiteX4" fmla="*/ 43864 w 12045155"/>
                <a:gd name="connsiteY4" fmla="*/ 777266 h 2371492"/>
                <a:gd name="connsiteX5" fmla="*/ 80207 w 12045155"/>
                <a:gd name="connsiteY5" fmla="*/ 937416 h 2371492"/>
                <a:gd name="connsiteX6" fmla="*/ 937008 w 12045155"/>
                <a:gd name="connsiteY6" fmla="*/ 844973 h 2371492"/>
                <a:gd name="connsiteX7" fmla="*/ 1631867 w 12045155"/>
                <a:gd name="connsiteY7" fmla="*/ 878961 h 2371492"/>
                <a:gd name="connsiteX8" fmla="*/ 2087877 w 12045155"/>
                <a:gd name="connsiteY8" fmla="*/ 819473 h 2371492"/>
                <a:gd name="connsiteX9" fmla="*/ 2565599 w 12045155"/>
                <a:gd name="connsiteY9" fmla="*/ 819473 h 2371492"/>
                <a:gd name="connsiteX10" fmla="*/ 3336468 w 12045155"/>
                <a:gd name="connsiteY10" fmla="*/ 861967 h 2371492"/>
                <a:gd name="connsiteX11" fmla="*/ 4215904 w 12045155"/>
                <a:gd name="connsiteY11" fmla="*/ 844973 h 2371492"/>
                <a:gd name="connsiteX12" fmla="*/ 4845622 w 12045155"/>
                <a:gd name="connsiteY12" fmla="*/ 853479 h 2371492"/>
                <a:gd name="connsiteX13" fmla="*/ 5681632 w 12045155"/>
                <a:gd name="connsiteY13" fmla="*/ 853479 h 2371492"/>
                <a:gd name="connsiteX14" fmla="*/ 6745645 w 12045155"/>
                <a:gd name="connsiteY14" fmla="*/ 878979 h 2371492"/>
                <a:gd name="connsiteX15" fmla="*/ 7494800 w 12045155"/>
                <a:gd name="connsiteY15" fmla="*/ 870473 h 2371492"/>
                <a:gd name="connsiteX16" fmla="*/ 8026795 w 12045155"/>
                <a:gd name="connsiteY16" fmla="*/ 861967 h 2371492"/>
                <a:gd name="connsiteX17" fmla="*/ 8504518 w 12045155"/>
                <a:gd name="connsiteY17" fmla="*/ 827979 h 2371492"/>
                <a:gd name="connsiteX18" fmla="*/ 9361101 w 12045155"/>
                <a:gd name="connsiteY18" fmla="*/ 2018757 h 2371492"/>
                <a:gd name="connsiteX19" fmla="*/ 10249513 w 12045155"/>
                <a:gd name="connsiteY19" fmla="*/ 2364507 h 2371492"/>
                <a:gd name="connsiteX20" fmla="*/ 10922986 w 12045155"/>
                <a:gd name="connsiteY20" fmla="*/ 1782194 h 2371492"/>
                <a:gd name="connsiteX21" fmla="*/ 11481826 w 12045155"/>
                <a:gd name="connsiteY21" fmla="*/ 1127088 h 2371492"/>
                <a:gd name="connsiteX22" fmla="*/ 12045155 w 12045155"/>
                <a:gd name="connsiteY22" fmla="*/ 699393 h 2371492"/>
                <a:gd name="connsiteX23" fmla="*/ 12045155 w 12045155"/>
                <a:gd name="connsiteY23" fmla="*/ 261011 h 2371492"/>
                <a:gd name="connsiteX24" fmla="*/ 11438839 w 12045155"/>
                <a:gd name="connsiteY24" fmla="*/ 435586 h 2371492"/>
                <a:gd name="connsiteX25" fmla="*/ 11059114 w 12045155"/>
                <a:gd name="connsiteY25" fmla="*/ 1047471 h 2371492"/>
                <a:gd name="connsiteX26" fmla="*/ 10602369 w 12045155"/>
                <a:gd name="connsiteY26" fmla="*/ 1661632 h 2371492"/>
                <a:gd name="connsiteX27" fmla="*/ 10034574 w 12045155"/>
                <a:gd name="connsiteY27" fmla="*/ 1618415 h 2371492"/>
                <a:gd name="connsiteX28" fmla="*/ 9527677 w 12045155"/>
                <a:gd name="connsiteY28" fmla="*/ 1058846 h 2371492"/>
                <a:gd name="connsiteX29" fmla="*/ 9053022 w 12045155"/>
                <a:gd name="connsiteY29" fmla="*/ 581165 h 2371492"/>
                <a:gd name="connsiteX30" fmla="*/ 8450223 w 12045155"/>
                <a:gd name="connsiteY30" fmla="*/ 156695 h 2371492"/>
                <a:gd name="connsiteX31" fmla="*/ 7635927 w 12045155"/>
                <a:gd name="connsiteY31" fmla="*/ 105714 h 2371492"/>
                <a:gd name="connsiteX32" fmla="*/ 7049636 w 12045155"/>
                <a:gd name="connsiteY32" fmla="*/ 199189 h 2371492"/>
                <a:gd name="connsiteX33" fmla="*/ 6342549 w 12045155"/>
                <a:gd name="connsiteY33" fmla="*/ 146630 h 2371492"/>
                <a:gd name="connsiteX34" fmla="*/ 5902209 w 12045155"/>
                <a:gd name="connsiteY34" fmla="*/ 249658 h 2371492"/>
                <a:gd name="connsiteX35" fmla="*/ 5182195 w 12045155"/>
                <a:gd name="connsiteY35" fmla="*/ 292664 h 2371492"/>
                <a:gd name="connsiteX36" fmla="*/ 3822487 w 12045155"/>
                <a:gd name="connsiteY36" fmla="*/ 90799 h 2371492"/>
                <a:gd name="connsiteX37" fmla="*/ 2370177 w 12045155"/>
                <a:gd name="connsiteY37" fmla="*/ 156695 h 2371492"/>
                <a:gd name="connsiteX38" fmla="*/ 578745 w 12045155"/>
                <a:gd name="connsiteY38" fmla="*/ 148189 h 2371492"/>
                <a:gd name="connsiteX39" fmla="*/ 38923 w 12045155"/>
                <a:gd name="connsiteY39" fmla="*/ 157240 h 2371492"/>
                <a:gd name="connsiteX0" fmla="*/ 38923 w 12045155"/>
                <a:gd name="connsiteY0" fmla="*/ 157240 h 2365078"/>
                <a:gd name="connsiteX1" fmla="*/ 4765 w 12045155"/>
                <a:gd name="connsiteY1" fmla="*/ 229969 h 2365078"/>
                <a:gd name="connsiteX2" fmla="*/ 16985 w 12045155"/>
                <a:gd name="connsiteY2" fmla="*/ 441204 h 2365078"/>
                <a:gd name="connsiteX3" fmla="*/ 31647 w 12045155"/>
                <a:gd name="connsiteY3" fmla="*/ 700450 h 2365078"/>
                <a:gd name="connsiteX4" fmla="*/ 43864 w 12045155"/>
                <a:gd name="connsiteY4" fmla="*/ 777266 h 2365078"/>
                <a:gd name="connsiteX5" fmla="*/ 80207 w 12045155"/>
                <a:gd name="connsiteY5" fmla="*/ 937416 h 2365078"/>
                <a:gd name="connsiteX6" fmla="*/ 937008 w 12045155"/>
                <a:gd name="connsiteY6" fmla="*/ 844973 h 2365078"/>
                <a:gd name="connsiteX7" fmla="*/ 1631867 w 12045155"/>
                <a:gd name="connsiteY7" fmla="*/ 878961 h 2365078"/>
                <a:gd name="connsiteX8" fmla="*/ 2087877 w 12045155"/>
                <a:gd name="connsiteY8" fmla="*/ 819473 h 2365078"/>
                <a:gd name="connsiteX9" fmla="*/ 2565599 w 12045155"/>
                <a:gd name="connsiteY9" fmla="*/ 819473 h 2365078"/>
                <a:gd name="connsiteX10" fmla="*/ 3336468 w 12045155"/>
                <a:gd name="connsiteY10" fmla="*/ 861967 h 2365078"/>
                <a:gd name="connsiteX11" fmla="*/ 4215904 w 12045155"/>
                <a:gd name="connsiteY11" fmla="*/ 844973 h 2365078"/>
                <a:gd name="connsiteX12" fmla="*/ 4845622 w 12045155"/>
                <a:gd name="connsiteY12" fmla="*/ 853479 h 2365078"/>
                <a:gd name="connsiteX13" fmla="*/ 5681632 w 12045155"/>
                <a:gd name="connsiteY13" fmla="*/ 853479 h 2365078"/>
                <a:gd name="connsiteX14" fmla="*/ 6745645 w 12045155"/>
                <a:gd name="connsiteY14" fmla="*/ 878979 h 2365078"/>
                <a:gd name="connsiteX15" fmla="*/ 7494800 w 12045155"/>
                <a:gd name="connsiteY15" fmla="*/ 870473 h 2365078"/>
                <a:gd name="connsiteX16" fmla="*/ 8026795 w 12045155"/>
                <a:gd name="connsiteY16" fmla="*/ 861967 h 2365078"/>
                <a:gd name="connsiteX17" fmla="*/ 8504518 w 12045155"/>
                <a:gd name="connsiteY17" fmla="*/ 827979 h 2365078"/>
                <a:gd name="connsiteX18" fmla="*/ 9361101 w 12045155"/>
                <a:gd name="connsiteY18" fmla="*/ 2018757 h 2365078"/>
                <a:gd name="connsiteX19" fmla="*/ 10249513 w 12045155"/>
                <a:gd name="connsiteY19" fmla="*/ 2364507 h 2365078"/>
                <a:gd name="connsiteX20" fmla="*/ 11123596 w 12045155"/>
                <a:gd name="connsiteY20" fmla="*/ 1964167 h 2365078"/>
                <a:gd name="connsiteX21" fmla="*/ 11481826 w 12045155"/>
                <a:gd name="connsiteY21" fmla="*/ 1127088 h 2365078"/>
                <a:gd name="connsiteX22" fmla="*/ 12045155 w 12045155"/>
                <a:gd name="connsiteY22" fmla="*/ 699393 h 2365078"/>
                <a:gd name="connsiteX23" fmla="*/ 12045155 w 12045155"/>
                <a:gd name="connsiteY23" fmla="*/ 261011 h 2365078"/>
                <a:gd name="connsiteX24" fmla="*/ 11438839 w 12045155"/>
                <a:gd name="connsiteY24" fmla="*/ 435586 h 2365078"/>
                <a:gd name="connsiteX25" fmla="*/ 11059114 w 12045155"/>
                <a:gd name="connsiteY25" fmla="*/ 1047471 h 2365078"/>
                <a:gd name="connsiteX26" fmla="*/ 10602369 w 12045155"/>
                <a:gd name="connsiteY26" fmla="*/ 1661632 h 2365078"/>
                <a:gd name="connsiteX27" fmla="*/ 10034574 w 12045155"/>
                <a:gd name="connsiteY27" fmla="*/ 1618415 h 2365078"/>
                <a:gd name="connsiteX28" fmla="*/ 9527677 w 12045155"/>
                <a:gd name="connsiteY28" fmla="*/ 1058846 h 2365078"/>
                <a:gd name="connsiteX29" fmla="*/ 9053022 w 12045155"/>
                <a:gd name="connsiteY29" fmla="*/ 581165 h 2365078"/>
                <a:gd name="connsiteX30" fmla="*/ 8450223 w 12045155"/>
                <a:gd name="connsiteY30" fmla="*/ 156695 h 2365078"/>
                <a:gd name="connsiteX31" fmla="*/ 7635927 w 12045155"/>
                <a:gd name="connsiteY31" fmla="*/ 105714 h 2365078"/>
                <a:gd name="connsiteX32" fmla="*/ 7049636 w 12045155"/>
                <a:gd name="connsiteY32" fmla="*/ 199189 h 2365078"/>
                <a:gd name="connsiteX33" fmla="*/ 6342549 w 12045155"/>
                <a:gd name="connsiteY33" fmla="*/ 146630 h 2365078"/>
                <a:gd name="connsiteX34" fmla="*/ 5902209 w 12045155"/>
                <a:gd name="connsiteY34" fmla="*/ 249658 h 2365078"/>
                <a:gd name="connsiteX35" fmla="*/ 5182195 w 12045155"/>
                <a:gd name="connsiteY35" fmla="*/ 292664 h 2365078"/>
                <a:gd name="connsiteX36" fmla="*/ 3822487 w 12045155"/>
                <a:gd name="connsiteY36" fmla="*/ 90799 h 2365078"/>
                <a:gd name="connsiteX37" fmla="*/ 2370177 w 12045155"/>
                <a:gd name="connsiteY37" fmla="*/ 156695 h 2365078"/>
                <a:gd name="connsiteX38" fmla="*/ 578745 w 12045155"/>
                <a:gd name="connsiteY38" fmla="*/ 148189 h 2365078"/>
                <a:gd name="connsiteX39" fmla="*/ 38923 w 12045155"/>
                <a:gd name="connsiteY39" fmla="*/ 157240 h 2365078"/>
                <a:gd name="connsiteX0" fmla="*/ 38923 w 12045155"/>
                <a:gd name="connsiteY0" fmla="*/ 157240 h 2365078"/>
                <a:gd name="connsiteX1" fmla="*/ 4765 w 12045155"/>
                <a:gd name="connsiteY1" fmla="*/ 229969 h 2365078"/>
                <a:gd name="connsiteX2" fmla="*/ 16985 w 12045155"/>
                <a:gd name="connsiteY2" fmla="*/ 441204 h 2365078"/>
                <a:gd name="connsiteX3" fmla="*/ 31647 w 12045155"/>
                <a:gd name="connsiteY3" fmla="*/ 700450 h 2365078"/>
                <a:gd name="connsiteX4" fmla="*/ 43864 w 12045155"/>
                <a:gd name="connsiteY4" fmla="*/ 777266 h 2365078"/>
                <a:gd name="connsiteX5" fmla="*/ 80207 w 12045155"/>
                <a:gd name="connsiteY5" fmla="*/ 937416 h 2365078"/>
                <a:gd name="connsiteX6" fmla="*/ 937008 w 12045155"/>
                <a:gd name="connsiteY6" fmla="*/ 844973 h 2365078"/>
                <a:gd name="connsiteX7" fmla="*/ 1631867 w 12045155"/>
                <a:gd name="connsiteY7" fmla="*/ 878961 h 2365078"/>
                <a:gd name="connsiteX8" fmla="*/ 2087877 w 12045155"/>
                <a:gd name="connsiteY8" fmla="*/ 819473 h 2365078"/>
                <a:gd name="connsiteX9" fmla="*/ 2565599 w 12045155"/>
                <a:gd name="connsiteY9" fmla="*/ 819473 h 2365078"/>
                <a:gd name="connsiteX10" fmla="*/ 3336468 w 12045155"/>
                <a:gd name="connsiteY10" fmla="*/ 861967 h 2365078"/>
                <a:gd name="connsiteX11" fmla="*/ 4215904 w 12045155"/>
                <a:gd name="connsiteY11" fmla="*/ 844973 h 2365078"/>
                <a:gd name="connsiteX12" fmla="*/ 4845622 w 12045155"/>
                <a:gd name="connsiteY12" fmla="*/ 853479 h 2365078"/>
                <a:gd name="connsiteX13" fmla="*/ 5681632 w 12045155"/>
                <a:gd name="connsiteY13" fmla="*/ 853479 h 2365078"/>
                <a:gd name="connsiteX14" fmla="*/ 6745645 w 12045155"/>
                <a:gd name="connsiteY14" fmla="*/ 878979 h 2365078"/>
                <a:gd name="connsiteX15" fmla="*/ 7494800 w 12045155"/>
                <a:gd name="connsiteY15" fmla="*/ 870473 h 2365078"/>
                <a:gd name="connsiteX16" fmla="*/ 8026795 w 12045155"/>
                <a:gd name="connsiteY16" fmla="*/ 861967 h 2365078"/>
                <a:gd name="connsiteX17" fmla="*/ 8504518 w 12045155"/>
                <a:gd name="connsiteY17" fmla="*/ 827979 h 2365078"/>
                <a:gd name="connsiteX18" fmla="*/ 9361101 w 12045155"/>
                <a:gd name="connsiteY18" fmla="*/ 2018757 h 2365078"/>
                <a:gd name="connsiteX19" fmla="*/ 10249513 w 12045155"/>
                <a:gd name="connsiteY19" fmla="*/ 2364507 h 2365078"/>
                <a:gd name="connsiteX20" fmla="*/ 11123596 w 12045155"/>
                <a:gd name="connsiteY20" fmla="*/ 1964167 h 2365078"/>
                <a:gd name="connsiteX21" fmla="*/ 11797069 w 12045155"/>
                <a:gd name="connsiteY21" fmla="*/ 999707 h 2365078"/>
                <a:gd name="connsiteX22" fmla="*/ 12045155 w 12045155"/>
                <a:gd name="connsiteY22" fmla="*/ 699393 h 2365078"/>
                <a:gd name="connsiteX23" fmla="*/ 12045155 w 12045155"/>
                <a:gd name="connsiteY23" fmla="*/ 261011 h 2365078"/>
                <a:gd name="connsiteX24" fmla="*/ 11438839 w 12045155"/>
                <a:gd name="connsiteY24" fmla="*/ 435586 h 2365078"/>
                <a:gd name="connsiteX25" fmla="*/ 11059114 w 12045155"/>
                <a:gd name="connsiteY25" fmla="*/ 1047471 h 2365078"/>
                <a:gd name="connsiteX26" fmla="*/ 10602369 w 12045155"/>
                <a:gd name="connsiteY26" fmla="*/ 1661632 h 2365078"/>
                <a:gd name="connsiteX27" fmla="*/ 10034574 w 12045155"/>
                <a:gd name="connsiteY27" fmla="*/ 1618415 h 2365078"/>
                <a:gd name="connsiteX28" fmla="*/ 9527677 w 12045155"/>
                <a:gd name="connsiteY28" fmla="*/ 1058846 h 2365078"/>
                <a:gd name="connsiteX29" fmla="*/ 9053022 w 12045155"/>
                <a:gd name="connsiteY29" fmla="*/ 581165 h 2365078"/>
                <a:gd name="connsiteX30" fmla="*/ 8450223 w 12045155"/>
                <a:gd name="connsiteY30" fmla="*/ 156695 h 2365078"/>
                <a:gd name="connsiteX31" fmla="*/ 7635927 w 12045155"/>
                <a:gd name="connsiteY31" fmla="*/ 105714 h 2365078"/>
                <a:gd name="connsiteX32" fmla="*/ 7049636 w 12045155"/>
                <a:gd name="connsiteY32" fmla="*/ 199189 h 2365078"/>
                <a:gd name="connsiteX33" fmla="*/ 6342549 w 12045155"/>
                <a:gd name="connsiteY33" fmla="*/ 146630 h 2365078"/>
                <a:gd name="connsiteX34" fmla="*/ 5902209 w 12045155"/>
                <a:gd name="connsiteY34" fmla="*/ 249658 h 2365078"/>
                <a:gd name="connsiteX35" fmla="*/ 5182195 w 12045155"/>
                <a:gd name="connsiteY35" fmla="*/ 292664 h 2365078"/>
                <a:gd name="connsiteX36" fmla="*/ 3822487 w 12045155"/>
                <a:gd name="connsiteY36" fmla="*/ 90799 h 2365078"/>
                <a:gd name="connsiteX37" fmla="*/ 2370177 w 12045155"/>
                <a:gd name="connsiteY37" fmla="*/ 156695 h 2365078"/>
                <a:gd name="connsiteX38" fmla="*/ 578745 w 12045155"/>
                <a:gd name="connsiteY38" fmla="*/ 148189 h 2365078"/>
                <a:gd name="connsiteX39" fmla="*/ 38923 w 12045155"/>
                <a:gd name="connsiteY39" fmla="*/ 157240 h 2365078"/>
                <a:gd name="connsiteX0" fmla="*/ 38923 w 12045155"/>
                <a:gd name="connsiteY0" fmla="*/ 157240 h 2365078"/>
                <a:gd name="connsiteX1" fmla="*/ 4765 w 12045155"/>
                <a:gd name="connsiteY1" fmla="*/ 229969 h 2365078"/>
                <a:gd name="connsiteX2" fmla="*/ 16985 w 12045155"/>
                <a:gd name="connsiteY2" fmla="*/ 441204 h 2365078"/>
                <a:gd name="connsiteX3" fmla="*/ 31647 w 12045155"/>
                <a:gd name="connsiteY3" fmla="*/ 700450 h 2365078"/>
                <a:gd name="connsiteX4" fmla="*/ 43864 w 12045155"/>
                <a:gd name="connsiteY4" fmla="*/ 777266 h 2365078"/>
                <a:gd name="connsiteX5" fmla="*/ 80207 w 12045155"/>
                <a:gd name="connsiteY5" fmla="*/ 937416 h 2365078"/>
                <a:gd name="connsiteX6" fmla="*/ 937008 w 12045155"/>
                <a:gd name="connsiteY6" fmla="*/ 844973 h 2365078"/>
                <a:gd name="connsiteX7" fmla="*/ 1631867 w 12045155"/>
                <a:gd name="connsiteY7" fmla="*/ 878961 h 2365078"/>
                <a:gd name="connsiteX8" fmla="*/ 2087877 w 12045155"/>
                <a:gd name="connsiteY8" fmla="*/ 819473 h 2365078"/>
                <a:gd name="connsiteX9" fmla="*/ 2565599 w 12045155"/>
                <a:gd name="connsiteY9" fmla="*/ 819473 h 2365078"/>
                <a:gd name="connsiteX10" fmla="*/ 3336468 w 12045155"/>
                <a:gd name="connsiteY10" fmla="*/ 861967 h 2365078"/>
                <a:gd name="connsiteX11" fmla="*/ 4215904 w 12045155"/>
                <a:gd name="connsiteY11" fmla="*/ 844973 h 2365078"/>
                <a:gd name="connsiteX12" fmla="*/ 4845622 w 12045155"/>
                <a:gd name="connsiteY12" fmla="*/ 853479 h 2365078"/>
                <a:gd name="connsiteX13" fmla="*/ 5681632 w 12045155"/>
                <a:gd name="connsiteY13" fmla="*/ 853479 h 2365078"/>
                <a:gd name="connsiteX14" fmla="*/ 6745645 w 12045155"/>
                <a:gd name="connsiteY14" fmla="*/ 878979 h 2365078"/>
                <a:gd name="connsiteX15" fmla="*/ 7494800 w 12045155"/>
                <a:gd name="connsiteY15" fmla="*/ 870473 h 2365078"/>
                <a:gd name="connsiteX16" fmla="*/ 8026795 w 12045155"/>
                <a:gd name="connsiteY16" fmla="*/ 861967 h 2365078"/>
                <a:gd name="connsiteX17" fmla="*/ 8504518 w 12045155"/>
                <a:gd name="connsiteY17" fmla="*/ 827979 h 2365078"/>
                <a:gd name="connsiteX18" fmla="*/ 9361101 w 12045155"/>
                <a:gd name="connsiteY18" fmla="*/ 2018757 h 2365078"/>
                <a:gd name="connsiteX19" fmla="*/ 10249513 w 12045155"/>
                <a:gd name="connsiteY19" fmla="*/ 2364507 h 2365078"/>
                <a:gd name="connsiteX20" fmla="*/ 11123596 w 12045155"/>
                <a:gd name="connsiteY20" fmla="*/ 1964167 h 2365078"/>
                <a:gd name="connsiteX21" fmla="*/ 11266888 w 12045155"/>
                <a:gd name="connsiteY21" fmla="*/ 1582018 h 2365078"/>
                <a:gd name="connsiteX22" fmla="*/ 11797069 w 12045155"/>
                <a:gd name="connsiteY22" fmla="*/ 999707 h 2365078"/>
                <a:gd name="connsiteX23" fmla="*/ 12045155 w 12045155"/>
                <a:gd name="connsiteY23" fmla="*/ 699393 h 2365078"/>
                <a:gd name="connsiteX24" fmla="*/ 12045155 w 12045155"/>
                <a:gd name="connsiteY24" fmla="*/ 261011 h 2365078"/>
                <a:gd name="connsiteX25" fmla="*/ 11438839 w 12045155"/>
                <a:gd name="connsiteY25" fmla="*/ 435586 h 2365078"/>
                <a:gd name="connsiteX26" fmla="*/ 11059114 w 12045155"/>
                <a:gd name="connsiteY26" fmla="*/ 1047471 h 2365078"/>
                <a:gd name="connsiteX27" fmla="*/ 10602369 w 12045155"/>
                <a:gd name="connsiteY27" fmla="*/ 1661632 h 2365078"/>
                <a:gd name="connsiteX28" fmla="*/ 10034574 w 12045155"/>
                <a:gd name="connsiteY28" fmla="*/ 1618415 h 2365078"/>
                <a:gd name="connsiteX29" fmla="*/ 9527677 w 12045155"/>
                <a:gd name="connsiteY29" fmla="*/ 1058846 h 2365078"/>
                <a:gd name="connsiteX30" fmla="*/ 9053022 w 12045155"/>
                <a:gd name="connsiteY30" fmla="*/ 581165 h 2365078"/>
                <a:gd name="connsiteX31" fmla="*/ 8450223 w 12045155"/>
                <a:gd name="connsiteY31" fmla="*/ 156695 h 2365078"/>
                <a:gd name="connsiteX32" fmla="*/ 7635927 w 12045155"/>
                <a:gd name="connsiteY32" fmla="*/ 105714 h 2365078"/>
                <a:gd name="connsiteX33" fmla="*/ 7049636 w 12045155"/>
                <a:gd name="connsiteY33" fmla="*/ 199189 h 2365078"/>
                <a:gd name="connsiteX34" fmla="*/ 6342549 w 12045155"/>
                <a:gd name="connsiteY34" fmla="*/ 146630 h 2365078"/>
                <a:gd name="connsiteX35" fmla="*/ 5902209 w 12045155"/>
                <a:gd name="connsiteY35" fmla="*/ 249658 h 2365078"/>
                <a:gd name="connsiteX36" fmla="*/ 5182195 w 12045155"/>
                <a:gd name="connsiteY36" fmla="*/ 292664 h 2365078"/>
                <a:gd name="connsiteX37" fmla="*/ 3822487 w 12045155"/>
                <a:gd name="connsiteY37" fmla="*/ 90799 h 2365078"/>
                <a:gd name="connsiteX38" fmla="*/ 2370177 w 12045155"/>
                <a:gd name="connsiteY38" fmla="*/ 156695 h 2365078"/>
                <a:gd name="connsiteX39" fmla="*/ 578745 w 12045155"/>
                <a:gd name="connsiteY39" fmla="*/ 148189 h 2365078"/>
                <a:gd name="connsiteX40" fmla="*/ 38923 w 12045155"/>
                <a:gd name="connsiteY40" fmla="*/ 157240 h 2365078"/>
                <a:gd name="connsiteX0" fmla="*/ 38923 w 12045155"/>
                <a:gd name="connsiteY0" fmla="*/ 157240 h 2365078"/>
                <a:gd name="connsiteX1" fmla="*/ 4765 w 12045155"/>
                <a:gd name="connsiteY1" fmla="*/ 229969 h 2365078"/>
                <a:gd name="connsiteX2" fmla="*/ 16985 w 12045155"/>
                <a:gd name="connsiteY2" fmla="*/ 441204 h 2365078"/>
                <a:gd name="connsiteX3" fmla="*/ 31647 w 12045155"/>
                <a:gd name="connsiteY3" fmla="*/ 700450 h 2365078"/>
                <a:gd name="connsiteX4" fmla="*/ 43864 w 12045155"/>
                <a:gd name="connsiteY4" fmla="*/ 777266 h 2365078"/>
                <a:gd name="connsiteX5" fmla="*/ 80207 w 12045155"/>
                <a:gd name="connsiteY5" fmla="*/ 937416 h 2365078"/>
                <a:gd name="connsiteX6" fmla="*/ 937008 w 12045155"/>
                <a:gd name="connsiteY6" fmla="*/ 844973 h 2365078"/>
                <a:gd name="connsiteX7" fmla="*/ 1631867 w 12045155"/>
                <a:gd name="connsiteY7" fmla="*/ 878961 h 2365078"/>
                <a:gd name="connsiteX8" fmla="*/ 2087877 w 12045155"/>
                <a:gd name="connsiteY8" fmla="*/ 819473 h 2365078"/>
                <a:gd name="connsiteX9" fmla="*/ 2565599 w 12045155"/>
                <a:gd name="connsiteY9" fmla="*/ 819473 h 2365078"/>
                <a:gd name="connsiteX10" fmla="*/ 3336468 w 12045155"/>
                <a:gd name="connsiteY10" fmla="*/ 861967 h 2365078"/>
                <a:gd name="connsiteX11" fmla="*/ 4215904 w 12045155"/>
                <a:gd name="connsiteY11" fmla="*/ 844973 h 2365078"/>
                <a:gd name="connsiteX12" fmla="*/ 4845622 w 12045155"/>
                <a:gd name="connsiteY12" fmla="*/ 853479 h 2365078"/>
                <a:gd name="connsiteX13" fmla="*/ 5681632 w 12045155"/>
                <a:gd name="connsiteY13" fmla="*/ 853479 h 2365078"/>
                <a:gd name="connsiteX14" fmla="*/ 6745645 w 12045155"/>
                <a:gd name="connsiteY14" fmla="*/ 878979 h 2365078"/>
                <a:gd name="connsiteX15" fmla="*/ 7494800 w 12045155"/>
                <a:gd name="connsiteY15" fmla="*/ 870473 h 2365078"/>
                <a:gd name="connsiteX16" fmla="*/ 8026795 w 12045155"/>
                <a:gd name="connsiteY16" fmla="*/ 861967 h 2365078"/>
                <a:gd name="connsiteX17" fmla="*/ 8504518 w 12045155"/>
                <a:gd name="connsiteY17" fmla="*/ 827979 h 2365078"/>
                <a:gd name="connsiteX18" fmla="*/ 9361101 w 12045155"/>
                <a:gd name="connsiteY18" fmla="*/ 2018757 h 2365078"/>
                <a:gd name="connsiteX19" fmla="*/ 10249513 w 12045155"/>
                <a:gd name="connsiteY19" fmla="*/ 2364507 h 2365078"/>
                <a:gd name="connsiteX20" fmla="*/ 11123596 w 12045155"/>
                <a:gd name="connsiteY20" fmla="*/ 1964167 h 2365078"/>
                <a:gd name="connsiteX21" fmla="*/ 11309876 w 12045155"/>
                <a:gd name="connsiteY21" fmla="*/ 1618413 h 2365078"/>
                <a:gd name="connsiteX22" fmla="*/ 11797069 w 12045155"/>
                <a:gd name="connsiteY22" fmla="*/ 999707 h 2365078"/>
                <a:gd name="connsiteX23" fmla="*/ 12045155 w 12045155"/>
                <a:gd name="connsiteY23" fmla="*/ 699393 h 2365078"/>
                <a:gd name="connsiteX24" fmla="*/ 12045155 w 12045155"/>
                <a:gd name="connsiteY24" fmla="*/ 261011 h 2365078"/>
                <a:gd name="connsiteX25" fmla="*/ 11438839 w 12045155"/>
                <a:gd name="connsiteY25" fmla="*/ 435586 h 2365078"/>
                <a:gd name="connsiteX26" fmla="*/ 11059114 w 12045155"/>
                <a:gd name="connsiteY26" fmla="*/ 1047471 h 2365078"/>
                <a:gd name="connsiteX27" fmla="*/ 10602369 w 12045155"/>
                <a:gd name="connsiteY27" fmla="*/ 1661632 h 2365078"/>
                <a:gd name="connsiteX28" fmla="*/ 10034574 w 12045155"/>
                <a:gd name="connsiteY28" fmla="*/ 1618415 h 2365078"/>
                <a:gd name="connsiteX29" fmla="*/ 9527677 w 12045155"/>
                <a:gd name="connsiteY29" fmla="*/ 1058846 h 2365078"/>
                <a:gd name="connsiteX30" fmla="*/ 9053022 w 12045155"/>
                <a:gd name="connsiteY30" fmla="*/ 581165 h 2365078"/>
                <a:gd name="connsiteX31" fmla="*/ 8450223 w 12045155"/>
                <a:gd name="connsiteY31" fmla="*/ 156695 h 2365078"/>
                <a:gd name="connsiteX32" fmla="*/ 7635927 w 12045155"/>
                <a:gd name="connsiteY32" fmla="*/ 105714 h 2365078"/>
                <a:gd name="connsiteX33" fmla="*/ 7049636 w 12045155"/>
                <a:gd name="connsiteY33" fmla="*/ 199189 h 2365078"/>
                <a:gd name="connsiteX34" fmla="*/ 6342549 w 12045155"/>
                <a:gd name="connsiteY34" fmla="*/ 146630 h 2365078"/>
                <a:gd name="connsiteX35" fmla="*/ 5902209 w 12045155"/>
                <a:gd name="connsiteY35" fmla="*/ 249658 h 2365078"/>
                <a:gd name="connsiteX36" fmla="*/ 5182195 w 12045155"/>
                <a:gd name="connsiteY36" fmla="*/ 292664 h 2365078"/>
                <a:gd name="connsiteX37" fmla="*/ 3822487 w 12045155"/>
                <a:gd name="connsiteY37" fmla="*/ 90799 h 2365078"/>
                <a:gd name="connsiteX38" fmla="*/ 2370177 w 12045155"/>
                <a:gd name="connsiteY38" fmla="*/ 156695 h 2365078"/>
                <a:gd name="connsiteX39" fmla="*/ 578745 w 12045155"/>
                <a:gd name="connsiteY39" fmla="*/ 148189 h 2365078"/>
                <a:gd name="connsiteX40" fmla="*/ 38923 w 12045155"/>
                <a:gd name="connsiteY40" fmla="*/ 157240 h 2365078"/>
                <a:gd name="connsiteX0" fmla="*/ 38923 w 12045155"/>
                <a:gd name="connsiteY0" fmla="*/ 157240 h 2365066"/>
                <a:gd name="connsiteX1" fmla="*/ 4765 w 12045155"/>
                <a:gd name="connsiteY1" fmla="*/ 229969 h 2365066"/>
                <a:gd name="connsiteX2" fmla="*/ 16985 w 12045155"/>
                <a:gd name="connsiteY2" fmla="*/ 441204 h 2365066"/>
                <a:gd name="connsiteX3" fmla="*/ 31647 w 12045155"/>
                <a:gd name="connsiteY3" fmla="*/ 700450 h 2365066"/>
                <a:gd name="connsiteX4" fmla="*/ 43864 w 12045155"/>
                <a:gd name="connsiteY4" fmla="*/ 777266 h 2365066"/>
                <a:gd name="connsiteX5" fmla="*/ 80207 w 12045155"/>
                <a:gd name="connsiteY5" fmla="*/ 937416 h 2365066"/>
                <a:gd name="connsiteX6" fmla="*/ 937008 w 12045155"/>
                <a:gd name="connsiteY6" fmla="*/ 844973 h 2365066"/>
                <a:gd name="connsiteX7" fmla="*/ 1631867 w 12045155"/>
                <a:gd name="connsiteY7" fmla="*/ 878961 h 2365066"/>
                <a:gd name="connsiteX8" fmla="*/ 2087877 w 12045155"/>
                <a:gd name="connsiteY8" fmla="*/ 819473 h 2365066"/>
                <a:gd name="connsiteX9" fmla="*/ 2565599 w 12045155"/>
                <a:gd name="connsiteY9" fmla="*/ 819473 h 2365066"/>
                <a:gd name="connsiteX10" fmla="*/ 3336468 w 12045155"/>
                <a:gd name="connsiteY10" fmla="*/ 861967 h 2365066"/>
                <a:gd name="connsiteX11" fmla="*/ 4215904 w 12045155"/>
                <a:gd name="connsiteY11" fmla="*/ 844973 h 2365066"/>
                <a:gd name="connsiteX12" fmla="*/ 4845622 w 12045155"/>
                <a:gd name="connsiteY12" fmla="*/ 853479 h 2365066"/>
                <a:gd name="connsiteX13" fmla="*/ 5681632 w 12045155"/>
                <a:gd name="connsiteY13" fmla="*/ 853479 h 2365066"/>
                <a:gd name="connsiteX14" fmla="*/ 6745645 w 12045155"/>
                <a:gd name="connsiteY14" fmla="*/ 878979 h 2365066"/>
                <a:gd name="connsiteX15" fmla="*/ 7494800 w 12045155"/>
                <a:gd name="connsiteY15" fmla="*/ 870473 h 2365066"/>
                <a:gd name="connsiteX16" fmla="*/ 8026795 w 12045155"/>
                <a:gd name="connsiteY16" fmla="*/ 861967 h 2365066"/>
                <a:gd name="connsiteX17" fmla="*/ 8504518 w 12045155"/>
                <a:gd name="connsiteY17" fmla="*/ 827979 h 2365066"/>
                <a:gd name="connsiteX18" fmla="*/ 9361101 w 12045155"/>
                <a:gd name="connsiteY18" fmla="*/ 2018757 h 2365066"/>
                <a:gd name="connsiteX19" fmla="*/ 10249513 w 12045155"/>
                <a:gd name="connsiteY19" fmla="*/ 2364507 h 2365066"/>
                <a:gd name="connsiteX20" fmla="*/ 11195242 w 12045155"/>
                <a:gd name="connsiteY20" fmla="*/ 2091549 h 2365066"/>
                <a:gd name="connsiteX21" fmla="*/ 11309876 w 12045155"/>
                <a:gd name="connsiteY21" fmla="*/ 1618413 h 2365066"/>
                <a:gd name="connsiteX22" fmla="*/ 11797069 w 12045155"/>
                <a:gd name="connsiteY22" fmla="*/ 999707 h 2365066"/>
                <a:gd name="connsiteX23" fmla="*/ 12045155 w 12045155"/>
                <a:gd name="connsiteY23" fmla="*/ 699393 h 2365066"/>
                <a:gd name="connsiteX24" fmla="*/ 12045155 w 12045155"/>
                <a:gd name="connsiteY24" fmla="*/ 261011 h 2365066"/>
                <a:gd name="connsiteX25" fmla="*/ 11438839 w 12045155"/>
                <a:gd name="connsiteY25" fmla="*/ 435586 h 2365066"/>
                <a:gd name="connsiteX26" fmla="*/ 11059114 w 12045155"/>
                <a:gd name="connsiteY26" fmla="*/ 1047471 h 2365066"/>
                <a:gd name="connsiteX27" fmla="*/ 10602369 w 12045155"/>
                <a:gd name="connsiteY27" fmla="*/ 1661632 h 2365066"/>
                <a:gd name="connsiteX28" fmla="*/ 10034574 w 12045155"/>
                <a:gd name="connsiteY28" fmla="*/ 1618415 h 2365066"/>
                <a:gd name="connsiteX29" fmla="*/ 9527677 w 12045155"/>
                <a:gd name="connsiteY29" fmla="*/ 1058846 h 2365066"/>
                <a:gd name="connsiteX30" fmla="*/ 9053022 w 12045155"/>
                <a:gd name="connsiteY30" fmla="*/ 581165 h 2365066"/>
                <a:gd name="connsiteX31" fmla="*/ 8450223 w 12045155"/>
                <a:gd name="connsiteY31" fmla="*/ 156695 h 2365066"/>
                <a:gd name="connsiteX32" fmla="*/ 7635927 w 12045155"/>
                <a:gd name="connsiteY32" fmla="*/ 105714 h 2365066"/>
                <a:gd name="connsiteX33" fmla="*/ 7049636 w 12045155"/>
                <a:gd name="connsiteY33" fmla="*/ 199189 h 2365066"/>
                <a:gd name="connsiteX34" fmla="*/ 6342549 w 12045155"/>
                <a:gd name="connsiteY34" fmla="*/ 146630 h 2365066"/>
                <a:gd name="connsiteX35" fmla="*/ 5902209 w 12045155"/>
                <a:gd name="connsiteY35" fmla="*/ 249658 h 2365066"/>
                <a:gd name="connsiteX36" fmla="*/ 5182195 w 12045155"/>
                <a:gd name="connsiteY36" fmla="*/ 292664 h 2365066"/>
                <a:gd name="connsiteX37" fmla="*/ 3822487 w 12045155"/>
                <a:gd name="connsiteY37" fmla="*/ 90799 h 2365066"/>
                <a:gd name="connsiteX38" fmla="*/ 2370177 w 12045155"/>
                <a:gd name="connsiteY38" fmla="*/ 156695 h 2365066"/>
                <a:gd name="connsiteX39" fmla="*/ 578745 w 12045155"/>
                <a:gd name="connsiteY39" fmla="*/ 148189 h 2365066"/>
                <a:gd name="connsiteX40" fmla="*/ 38923 w 12045155"/>
                <a:gd name="connsiteY40" fmla="*/ 157240 h 2365066"/>
                <a:gd name="connsiteX0" fmla="*/ 38923 w 12045155"/>
                <a:gd name="connsiteY0" fmla="*/ 157240 h 2510409"/>
                <a:gd name="connsiteX1" fmla="*/ 4765 w 12045155"/>
                <a:gd name="connsiteY1" fmla="*/ 229969 h 2510409"/>
                <a:gd name="connsiteX2" fmla="*/ 16985 w 12045155"/>
                <a:gd name="connsiteY2" fmla="*/ 441204 h 2510409"/>
                <a:gd name="connsiteX3" fmla="*/ 31647 w 12045155"/>
                <a:gd name="connsiteY3" fmla="*/ 700450 h 2510409"/>
                <a:gd name="connsiteX4" fmla="*/ 43864 w 12045155"/>
                <a:gd name="connsiteY4" fmla="*/ 777266 h 2510409"/>
                <a:gd name="connsiteX5" fmla="*/ 80207 w 12045155"/>
                <a:gd name="connsiteY5" fmla="*/ 937416 h 2510409"/>
                <a:gd name="connsiteX6" fmla="*/ 937008 w 12045155"/>
                <a:gd name="connsiteY6" fmla="*/ 844973 h 2510409"/>
                <a:gd name="connsiteX7" fmla="*/ 1631867 w 12045155"/>
                <a:gd name="connsiteY7" fmla="*/ 878961 h 2510409"/>
                <a:gd name="connsiteX8" fmla="*/ 2087877 w 12045155"/>
                <a:gd name="connsiteY8" fmla="*/ 819473 h 2510409"/>
                <a:gd name="connsiteX9" fmla="*/ 2565599 w 12045155"/>
                <a:gd name="connsiteY9" fmla="*/ 819473 h 2510409"/>
                <a:gd name="connsiteX10" fmla="*/ 3336468 w 12045155"/>
                <a:gd name="connsiteY10" fmla="*/ 861967 h 2510409"/>
                <a:gd name="connsiteX11" fmla="*/ 4215904 w 12045155"/>
                <a:gd name="connsiteY11" fmla="*/ 844973 h 2510409"/>
                <a:gd name="connsiteX12" fmla="*/ 4845622 w 12045155"/>
                <a:gd name="connsiteY12" fmla="*/ 853479 h 2510409"/>
                <a:gd name="connsiteX13" fmla="*/ 5681632 w 12045155"/>
                <a:gd name="connsiteY13" fmla="*/ 853479 h 2510409"/>
                <a:gd name="connsiteX14" fmla="*/ 6745645 w 12045155"/>
                <a:gd name="connsiteY14" fmla="*/ 878979 h 2510409"/>
                <a:gd name="connsiteX15" fmla="*/ 7494800 w 12045155"/>
                <a:gd name="connsiteY15" fmla="*/ 870473 h 2510409"/>
                <a:gd name="connsiteX16" fmla="*/ 8026795 w 12045155"/>
                <a:gd name="connsiteY16" fmla="*/ 861967 h 2510409"/>
                <a:gd name="connsiteX17" fmla="*/ 8504518 w 12045155"/>
                <a:gd name="connsiteY17" fmla="*/ 827979 h 2510409"/>
                <a:gd name="connsiteX18" fmla="*/ 9361101 w 12045155"/>
                <a:gd name="connsiteY18" fmla="*/ 2018757 h 2510409"/>
                <a:gd name="connsiteX19" fmla="*/ 10149208 w 12045155"/>
                <a:gd name="connsiteY19" fmla="*/ 2510086 h 2510409"/>
                <a:gd name="connsiteX20" fmla="*/ 11195242 w 12045155"/>
                <a:gd name="connsiteY20" fmla="*/ 2091549 h 2510409"/>
                <a:gd name="connsiteX21" fmla="*/ 11309876 w 12045155"/>
                <a:gd name="connsiteY21" fmla="*/ 1618413 h 2510409"/>
                <a:gd name="connsiteX22" fmla="*/ 11797069 w 12045155"/>
                <a:gd name="connsiteY22" fmla="*/ 999707 h 2510409"/>
                <a:gd name="connsiteX23" fmla="*/ 12045155 w 12045155"/>
                <a:gd name="connsiteY23" fmla="*/ 699393 h 2510409"/>
                <a:gd name="connsiteX24" fmla="*/ 12045155 w 12045155"/>
                <a:gd name="connsiteY24" fmla="*/ 261011 h 2510409"/>
                <a:gd name="connsiteX25" fmla="*/ 11438839 w 12045155"/>
                <a:gd name="connsiteY25" fmla="*/ 435586 h 2510409"/>
                <a:gd name="connsiteX26" fmla="*/ 11059114 w 12045155"/>
                <a:gd name="connsiteY26" fmla="*/ 1047471 h 2510409"/>
                <a:gd name="connsiteX27" fmla="*/ 10602369 w 12045155"/>
                <a:gd name="connsiteY27" fmla="*/ 1661632 h 2510409"/>
                <a:gd name="connsiteX28" fmla="*/ 10034574 w 12045155"/>
                <a:gd name="connsiteY28" fmla="*/ 1618415 h 2510409"/>
                <a:gd name="connsiteX29" fmla="*/ 9527677 w 12045155"/>
                <a:gd name="connsiteY29" fmla="*/ 1058846 h 2510409"/>
                <a:gd name="connsiteX30" fmla="*/ 9053022 w 12045155"/>
                <a:gd name="connsiteY30" fmla="*/ 581165 h 2510409"/>
                <a:gd name="connsiteX31" fmla="*/ 8450223 w 12045155"/>
                <a:gd name="connsiteY31" fmla="*/ 156695 h 2510409"/>
                <a:gd name="connsiteX32" fmla="*/ 7635927 w 12045155"/>
                <a:gd name="connsiteY32" fmla="*/ 105714 h 2510409"/>
                <a:gd name="connsiteX33" fmla="*/ 7049636 w 12045155"/>
                <a:gd name="connsiteY33" fmla="*/ 199189 h 2510409"/>
                <a:gd name="connsiteX34" fmla="*/ 6342549 w 12045155"/>
                <a:gd name="connsiteY34" fmla="*/ 146630 h 2510409"/>
                <a:gd name="connsiteX35" fmla="*/ 5902209 w 12045155"/>
                <a:gd name="connsiteY35" fmla="*/ 249658 h 2510409"/>
                <a:gd name="connsiteX36" fmla="*/ 5182195 w 12045155"/>
                <a:gd name="connsiteY36" fmla="*/ 292664 h 2510409"/>
                <a:gd name="connsiteX37" fmla="*/ 3822487 w 12045155"/>
                <a:gd name="connsiteY37" fmla="*/ 90799 h 2510409"/>
                <a:gd name="connsiteX38" fmla="*/ 2370177 w 12045155"/>
                <a:gd name="connsiteY38" fmla="*/ 156695 h 2510409"/>
                <a:gd name="connsiteX39" fmla="*/ 578745 w 12045155"/>
                <a:gd name="connsiteY39" fmla="*/ 148189 h 2510409"/>
                <a:gd name="connsiteX40" fmla="*/ 38923 w 12045155"/>
                <a:gd name="connsiteY40" fmla="*/ 157240 h 2510409"/>
                <a:gd name="connsiteX0" fmla="*/ 38923 w 12045155"/>
                <a:gd name="connsiteY0" fmla="*/ 157240 h 2510087"/>
                <a:gd name="connsiteX1" fmla="*/ 4765 w 12045155"/>
                <a:gd name="connsiteY1" fmla="*/ 229969 h 2510087"/>
                <a:gd name="connsiteX2" fmla="*/ 16985 w 12045155"/>
                <a:gd name="connsiteY2" fmla="*/ 441204 h 2510087"/>
                <a:gd name="connsiteX3" fmla="*/ 31647 w 12045155"/>
                <a:gd name="connsiteY3" fmla="*/ 700450 h 2510087"/>
                <a:gd name="connsiteX4" fmla="*/ 43864 w 12045155"/>
                <a:gd name="connsiteY4" fmla="*/ 777266 h 2510087"/>
                <a:gd name="connsiteX5" fmla="*/ 80207 w 12045155"/>
                <a:gd name="connsiteY5" fmla="*/ 937416 h 2510087"/>
                <a:gd name="connsiteX6" fmla="*/ 937008 w 12045155"/>
                <a:gd name="connsiteY6" fmla="*/ 844973 h 2510087"/>
                <a:gd name="connsiteX7" fmla="*/ 1631867 w 12045155"/>
                <a:gd name="connsiteY7" fmla="*/ 878961 h 2510087"/>
                <a:gd name="connsiteX8" fmla="*/ 2087877 w 12045155"/>
                <a:gd name="connsiteY8" fmla="*/ 819473 h 2510087"/>
                <a:gd name="connsiteX9" fmla="*/ 2565599 w 12045155"/>
                <a:gd name="connsiteY9" fmla="*/ 819473 h 2510087"/>
                <a:gd name="connsiteX10" fmla="*/ 3336468 w 12045155"/>
                <a:gd name="connsiteY10" fmla="*/ 861967 h 2510087"/>
                <a:gd name="connsiteX11" fmla="*/ 4215904 w 12045155"/>
                <a:gd name="connsiteY11" fmla="*/ 844973 h 2510087"/>
                <a:gd name="connsiteX12" fmla="*/ 4845622 w 12045155"/>
                <a:gd name="connsiteY12" fmla="*/ 853479 h 2510087"/>
                <a:gd name="connsiteX13" fmla="*/ 5681632 w 12045155"/>
                <a:gd name="connsiteY13" fmla="*/ 853479 h 2510087"/>
                <a:gd name="connsiteX14" fmla="*/ 6745645 w 12045155"/>
                <a:gd name="connsiteY14" fmla="*/ 878979 h 2510087"/>
                <a:gd name="connsiteX15" fmla="*/ 7494800 w 12045155"/>
                <a:gd name="connsiteY15" fmla="*/ 870473 h 2510087"/>
                <a:gd name="connsiteX16" fmla="*/ 8026795 w 12045155"/>
                <a:gd name="connsiteY16" fmla="*/ 861967 h 2510087"/>
                <a:gd name="connsiteX17" fmla="*/ 8504518 w 12045155"/>
                <a:gd name="connsiteY17" fmla="*/ 827979 h 2510087"/>
                <a:gd name="connsiteX18" fmla="*/ 9217808 w 12045155"/>
                <a:gd name="connsiteY18" fmla="*/ 2091547 h 2510087"/>
                <a:gd name="connsiteX19" fmla="*/ 10149208 w 12045155"/>
                <a:gd name="connsiteY19" fmla="*/ 2510086 h 2510087"/>
                <a:gd name="connsiteX20" fmla="*/ 11195242 w 12045155"/>
                <a:gd name="connsiteY20" fmla="*/ 2091549 h 2510087"/>
                <a:gd name="connsiteX21" fmla="*/ 11309876 w 12045155"/>
                <a:gd name="connsiteY21" fmla="*/ 1618413 h 2510087"/>
                <a:gd name="connsiteX22" fmla="*/ 11797069 w 12045155"/>
                <a:gd name="connsiteY22" fmla="*/ 999707 h 2510087"/>
                <a:gd name="connsiteX23" fmla="*/ 12045155 w 12045155"/>
                <a:gd name="connsiteY23" fmla="*/ 699393 h 2510087"/>
                <a:gd name="connsiteX24" fmla="*/ 12045155 w 12045155"/>
                <a:gd name="connsiteY24" fmla="*/ 261011 h 2510087"/>
                <a:gd name="connsiteX25" fmla="*/ 11438839 w 12045155"/>
                <a:gd name="connsiteY25" fmla="*/ 435586 h 2510087"/>
                <a:gd name="connsiteX26" fmla="*/ 11059114 w 12045155"/>
                <a:gd name="connsiteY26" fmla="*/ 1047471 h 2510087"/>
                <a:gd name="connsiteX27" fmla="*/ 10602369 w 12045155"/>
                <a:gd name="connsiteY27" fmla="*/ 1661632 h 2510087"/>
                <a:gd name="connsiteX28" fmla="*/ 10034574 w 12045155"/>
                <a:gd name="connsiteY28" fmla="*/ 1618415 h 2510087"/>
                <a:gd name="connsiteX29" fmla="*/ 9527677 w 12045155"/>
                <a:gd name="connsiteY29" fmla="*/ 1058846 h 2510087"/>
                <a:gd name="connsiteX30" fmla="*/ 9053022 w 12045155"/>
                <a:gd name="connsiteY30" fmla="*/ 581165 h 2510087"/>
                <a:gd name="connsiteX31" fmla="*/ 8450223 w 12045155"/>
                <a:gd name="connsiteY31" fmla="*/ 156695 h 2510087"/>
                <a:gd name="connsiteX32" fmla="*/ 7635927 w 12045155"/>
                <a:gd name="connsiteY32" fmla="*/ 105714 h 2510087"/>
                <a:gd name="connsiteX33" fmla="*/ 7049636 w 12045155"/>
                <a:gd name="connsiteY33" fmla="*/ 199189 h 2510087"/>
                <a:gd name="connsiteX34" fmla="*/ 6342549 w 12045155"/>
                <a:gd name="connsiteY34" fmla="*/ 146630 h 2510087"/>
                <a:gd name="connsiteX35" fmla="*/ 5902209 w 12045155"/>
                <a:gd name="connsiteY35" fmla="*/ 249658 h 2510087"/>
                <a:gd name="connsiteX36" fmla="*/ 5182195 w 12045155"/>
                <a:gd name="connsiteY36" fmla="*/ 292664 h 2510087"/>
                <a:gd name="connsiteX37" fmla="*/ 3822487 w 12045155"/>
                <a:gd name="connsiteY37" fmla="*/ 90799 h 2510087"/>
                <a:gd name="connsiteX38" fmla="*/ 2370177 w 12045155"/>
                <a:gd name="connsiteY38" fmla="*/ 156695 h 2510087"/>
                <a:gd name="connsiteX39" fmla="*/ 578745 w 12045155"/>
                <a:gd name="connsiteY39" fmla="*/ 148189 h 2510087"/>
                <a:gd name="connsiteX40" fmla="*/ 38923 w 12045155"/>
                <a:gd name="connsiteY40" fmla="*/ 157240 h 2510087"/>
                <a:gd name="connsiteX0" fmla="*/ 38923 w 12045155"/>
                <a:gd name="connsiteY0" fmla="*/ 157240 h 2510087"/>
                <a:gd name="connsiteX1" fmla="*/ 4765 w 12045155"/>
                <a:gd name="connsiteY1" fmla="*/ 229969 h 2510087"/>
                <a:gd name="connsiteX2" fmla="*/ 16985 w 12045155"/>
                <a:gd name="connsiteY2" fmla="*/ 441204 h 2510087"/>
                <a:gd name="connsiteX3" fmla="*/ 31647 w 12045155"/>
                <a:gd name="connsiteY3" fmla="*/ 700450 h 2510087"/>
                <a:gd name="connsiteX4" fmla="*/ 43864 w 12045155"/>
                <a:gd name="connsiteY4" fmla="*/ 777266 h 2510087"/>
                <a:gd name="connsiteX5" fmla="*/ 80207 w 12045155"/>
                <a:gd name="connsiteY5" fmla="*/ 937416 h 2510087"/>
                <a:gd name="connsiteX6" fmla="*/ 937008 w 12045155"/>
                <a:gd name="connsiteY6" fmla="*/ 844973 h 2510087"/>
                <a:gd name="connsiteX7" fmla="*/ 1631867 w 12045155"/>
                <a:gd name="connsiteY7" fmla="*/ 878961 h 2510087"/>
                <a:gd name="connsiteX8" fmla="*/ 2087877 w 12045155"/>
                <a:gd name="connsiteY8" fmla="*/ 819473 h 2510087"/>
                <a:gd name="connsiteX9" fmla="*/ 2565599 w 12045155"/>
                <a:gd name="connsiteY9" fmla="*/ 819473 h 2510087"/>
                <a:gd name="connsiteX10" fmla="*/ 3336468 w 12045155"/>
                <a:gd name="connsiteY10" fmla="*/ 861967 h 2510087"/>
                <a:gd name="connsiteX11" fmla="*/ 4215904 w 12045155"/>
                <a:gd name="connsiteY11" fmla="*/ 844973 h 2510087"/>
                <a:gd name="connsiteX12" fmla="*/ 4845622 w 12045155"/>
                <a:gd name="connsiteY12" fmla="*/ 853479 h 2510087"/>
                <a:gd name="connsiteX13" fmla="*/ 5681632 w 12045155"/>
                <a:gd name="connsiteY13" fmla="*/ 853479 h 2510087"/>
                <a:gd name="connsiteX14" fmla="*/ 6745645 w 12045155"/>
                <a:gd name="connsiteY14" fmla="*/ 878979 h 2510087"/>
                <a:gd name="connsiteX15" fmla="*/ 7494800 w 12045155"/>
                <a:gd name="connsiteY15" fmla="*/ 870473 h 2510087"/>
                <a:gd name="connsiteX16" fmla="*/ 8026795 w 12045155"/>
                <a:gd name="connsiteY16" fmla="*/ 861967 h 2510087"/>
                <a:gd name="connsiteX17" fmla="*/ 8504518 w 12045155"/>
                <a:gd name="connsiteY17" fmla="*/ 827979 h 2510087"/>
                <a:gd name="connsiteX18" fmla="*/ 9217808 w 12045155"/>
                <a:gd name="connsiteY18" fmla="*/ 2091547 h 2510087"/>
                <a:gd name="connsiteX19" fmla="*/ 10149208 w 12045155"/>
                <a:gd name="connsiteY19" fmla="*/ 2510086 h 2510087"/>
                <a:gd name="connsiteX20" fmla="*/ 11195242 w 12045155"/>
                <a:gd name="connsiteY20" fmla="*/ 2091549 h 2510087"/>
                <a:gd name="connsiteX21" fmla="*/ 11625119 w 12045155"/>
                <a:gd name="connsiteY21" fmla="*/ 1600216 h 2510087"/>
                <a:gd name="connsiteX22" fmla="*/ 11797069 w 12045155"/>
                <a:gd name="connsiteY22" fmla="*/ 999707 h 2510087"/>
                <a:gd name="connsiteX23" fmla="*/ 12045155 w 12045155"/>
                <a:gd name="connsiteY23" fmla="*/ 699393 h 2510087"/>
                <a:gd name="connsiteX24" fmla="*/ 12045155 w 12045155"/>
                <a:gd name="connsiteY24" fmla="*/ 261011 h 2510087"/>
                <a:gd name="connsiteX25" fmla="*/ 11438839 w 12045155"/>
                <a:gd name="connsiteY25" fmla="*/ 435586 h 2510087"/>
                <a:gd name="connsiteX26" fmla="*/ 11059114 w 12045155"/>
                <a:gd name="connsiteY26" fmla="*/ 1047471 h 2510087"/>
                <a:gd name="connsiteX27" fmla="*/ 10602369 w 12045155"/>
                <a:gd name="connsiteY27" fmla="*/ 1661632 h 2510087"/>
                <a:gd name="connsiteX28" fmla="*/ 10034574 w 12045155"/>
                <a:gd name="connsiteY28" fmla="*/ 1618415 h 2510087"/>
                <a:gd name="connsiteX29" fmla="*/ 9527677 w 12045155"/>
                <a:gd name="connsiteY29" fmla="*/ 1058846 h 2510087"/>
                <a:gd name="connsiteX30" fmla="*/ 9053022 w 12045155"/>
                <a:gd name="connsiteY30" fmla="*/ 581165 h 2510087"/>
                <a:gd name="connsiteX31" fmla="*/ 8450223 w 12045155"/>
                <a:gd name="connsiteY31" fmla="*/ 156695 h 2510087"/>
                <a:gd name="connsiteX32" fmla="*/ 7635927 w 12045155"/>
                <a:gd name="connsiteY32" fmla="*/ 105714 h 2510087"/>
                <a:gd name="connsiteX33" fmla="*/ 7049636 w 12045155"/>
                <a:gd name="connsiteY33" fmla="*/ 199189 h 2510087"/>
                <a:gd name="connsiteX34" fmla="*/ 6342549 w 12045155"/>
                <a:gd name="connsiteY34" fmla="*/ 146630 h 2510087"/>
                <a:gd name="connsiteX35" fmla="*/ 5902209 w 12045155"/>
                <a:gd name="connsiteY35" fmla="*/ 249658 h 2510087"/>
                <a:gd name="connsiteX36" fmla="*/ 5182195 w 12045155"/>
                <a:gd name="connsiteY36" fmla="*/ 292664 h 2510087"/>
                <a:gd name="connsiteX37" fmla="*/ 3822487 w 12045155"/>
                <a:gd name="connsiteY37" fmla="*/ 90799 h 2510087"/>
                <a:gd name="connsiteX38" fmla="*/ 2370177 w 12045155"/>
                <a:gd name="connsiteY38" fmla="*/ 156695 h 2510087"/>
                <a:gd name="connsiteX39" fmla="*/ 578745 w 12045155"/>
                <a:gd name="connsiteY39" fmla="*/ 148189 h 2510087"/>
                <a:gd name="connsiteX40" fmla="*/ 38923 w 12045155"/>
                <a:gd name="connsiteY40" fmla="*/ 157240 h 2510087"/>
                <a:gd name="connsiteX0" fmla="*/ 38923 w 12045155"/>
                <a:gd name="connsiteY0" fmla="*/ 157240 h 2510087"/>
                <a:gd name="connsiteX1" fmla="*/ 4765 w 12045155"/>
                <a:gd name="connsiteY1" fmla="*/ 229969 h 2510087"/>
                <a:gd name="connsiteX2" fmla="*/ 16985 w 12045155"/>
                <a:gd name="connsiteY2" fmla="*/ 441204 h 2510087"/>
                <a:gd name="connsiteX3" fmla="*/ 31647 w 12045155"/>
                <a:gd name="connsiteY3" fmla="*/ 700450 h 2510087"/>
                <a:gd name="connsiteX4" fmla="*/ 43864 w 12045155"/>
                <a:gd name="connsiteY4" fmla="*/ 777266 h 2510087"/>
                <a:gd name="connsiteX5" fmla="*/ 80207 w 12045155"/>
                <a:gd name="connsiteY5" fmla="*/ 937416 h 2510087"/>
                <a:gd name="connsiteX6" fmla="*/ 937008 w 12045155"/>
                <a:gd name="connsiteY6" fmla="*/ 844973 h 2510087"/>
                <a:gd name="connsiteX7" fmla="*/ 1631867 w 12045155"/>
                <a:gd name="connsiteY7" fmla="*/ 878961 h 2510087"/>
                <a:gd name="connsiteX8" fmla="*/ 2087877 w 12045155"/>
                <a:gd name="connsiteY8" fmla="*/ 819473 h 2510087"/>
                <a:gd name="connsiteX9" fmla="*/ 2565599 w 12045155"/>
                <a:gd name="connsiteY9" fmla="*/ 819473 h 2510087"/>
                <a:gd name="connsiteX10" fmla="*/ 3336468 w 12045155"/>
                <a:gd name="connsiteY10" fmla="*/ 861967 h 2510087"/>
                <a:gd name="connsiteX11" fmla="*/ 4215904 w 12045155"/>
                <a:gd name="connsiteY11" fmla="*/ 844973 h 2510087"/>
                <a:gd name="connsiteX12" fmla="*/ 4845622 w 12045155"/>
                <a:gd name="connsiteY12" fmla="*/ 853479 h 2510087"/>
                <a:gd name="connsiteX13" fmla="*/ 5681632 w 12045155"/>
                <a:gd name="connsiteY13" fmla="*/ 853479 h 2510087"/>
                <a:gd name="connsiteX14" fmla="*/ 6745645 w 12045155"/>
                <a:gd name="connsiteY14" fmla="*/ 878979 h 2510087"/>
                <a:gd name="connsiteX15" fmla="*/ 7494800 w 12045155"/>
                <a:gd name="connsiteY15" fmla="*/ 870473 h 2510087"/>
                <a:gd name="connsiteX16" fmla="*/ 8026795 w 12045155"/>
                <a:gd name="connsiteY16" fmla="*/ 861967 h 2510087"/>
                <a:gd name="connsiteX17" fmla="*/ 8647812 w 12045155"/>
                <a:gd name="connsiteY17" fmla="*/ 1264715 h 2510087"/>
                <a:gd name="connsiteX18" fmla="*/ 9217808 w 12045155"/>
                <a:gd name="connsiteY18" fmla="*/ 2091547 h 2510087"/>
                <a:gd name="connsiteX19" fmla="*/ 10149208 w 12045155"/>
                <a:gd name="connsiteY19" fmla="*/ 2510086 h 2510087"/>
                <a:gd name="connsiteX20" fmla="*/ 11195242 w 12045155"/>
                <a:gd name="connsiteY20" fmla="*/ 2091549 h 2510087"/>
                <a:gd name="connsiteX21" fmla="*/ 11625119 w 12045155"/>
                <a:gd name="connsiteY21" fmla="*/ 1600216 h 2510087"/>
                <a:gd name="connsiteX22" fmla="*/ 11797069 w 12045155"/>
                <a:gd name="connsiteY22" fmla="*/ 999707 h 2510087"/>
                <a:gd name="connsiteX23" fmla="*/ 12045155 w 12045155"/>
                <a:gd name="connsiteY23" fmla="*/ 699393 h 2510087"/>
                <a:gd name="connsiteX24" fmla="*/ 12045155 w 12045155"/>
                <a:gd name="connsiteY24" fmla="*/ 261011 h 2510087"/>
                <a:gd name="connsiteX25" fmla="*/ 11438839 w 12045155"/>
                <a:gd name="connsiteY25" fmla="*/ 435586 h 2510087"/>
                <a:gd name="connsiteX26" fmla="*/ 11059114 w 12045155"/>
                <a:gd name="connsiteY26" fmla="*/ 1047471 h 2510087"/>
                <a:gd name="connsiteX27" fmla="*/ 10602369 w 12045155"/>
                <a:gd name="connsiteY27" fmla="*/ 1661632 h 2510087"/>
                <a:gd name="connsiteX28" fmla="*/ 10034574 w 12045155"/>
                <a:gd name="connsiteY28" fmla="*/ 1618415 h 2510087"/>
                <a:gd name="connsiteX29" fmla="*/ 9527677 w 12045155"/>
                <a:gd name="connsiteY29" fmla="*/ 1058846 h 2510087"/>
                <a:gd name="connsiteX30" fmla="*/ 9053022 w 12045155"/>
                <a:gd name="connsiteY30" fmla="*/ 581165 h 2510087"/>
                <a:gd name="connsiteX31" fmla="*/ 8450223 w 12045155"/>
                <a:gd name="connsiteY31" fmla="*/ 156695 h 2510087"/>
                <a:gd name="connsiteX32" fmla="*/ 7635927 w 12045155"/>
                <a:gd name="connsiteY32" fmla="*/ 105714 h 2510087"/>
                <a:gd name="connsiteX33" fmla="*/ 7049636 w 12045155"/>
                <a:gd name="connsiteY33" fmla="*/ 199189 h 2510087"/>
                <a:gd name="connsiteX34" fmla="*/ 6342549 w 12045155"/>
                <a:gd name="connsiteY34" fmla="*/ 146630 h 2510087"/>
                <a:gd name="connsiteX35" fmla="*/ 5902209 w 12045155"/>
                <a:gd name="connsiteY35" fmla="*/ 249658 h 2510087"/>
                <a:gd name="connsiteX36" fmla="*/ 5182195 w 12045155"/>
                <a:gd name="connsiteY36" fmla="*/ 292664 h 2510087"/>
                <a:gd name="connsiteX37" fmla="*/ 3822487 w 12045155"/>
                <a:gd name="connsiteY37" fmla="*/ 90799 h 2510087"/>
                <a:gd name="connsiteX38" fmla="*/ 2370177 w 12045155"/>
                <a:gd name="connsiteY38" fmla="*/ 156695 h 2510087"/>
                <a:gd name="connsiteX39" fmla="*/ 578745 w 12045155"/>
                <a:gd name="connsiteY39" fmla="*/ 148189 h 2510087"/>
                <a:gd name="connsiteX40" fmla="*/ 38923 w 12045155"/>
                <a:gd name="connsiteY40" fmla="*/ 157240 h 2510087"/>
                <a:gd name="connsiteX0" fmla="*/ 38923 w 12045155"/>
                <a:gd name="connsiteY0" fmla="*/ 157240 h 2510087"/>
                <a:gd name="connsiteX1" fmla="*/ 4765 w 12045155"/>
                <a:gd name="connsiteY1" fmla="*/ 229969 h 2510087"/>
                <a:gd name="connsiteX2" fmla="*/ 16985 w 12045155"/>
                <a:gd name="connsiteY2" fmla="*/ 441204 h 2510087"/>
                <a:gd name="connsiteX3" fmla="*/ 31647 w 12045155"/>
                <a:gd name="connsiteY3" fmla="*/ 700450 h 2510087"/>
                <a:gd name="connsiteX4" fmla="*/ 43864 w 12045155"/>
                <a:gd name="connsiteY4" fmla="*/ 777266 h 2510087"/>
                <a:gd name="connsiteX5" fmla="*/ 80207 w 12045155"/>
                <a:gd name="connsiteY5" fmla="*/ 937416 h 2510087"/>
                <a:gd name="connsiteX6" fmla="*/ 937008 w 12045155"/>
                <a:gd name="connsiteY6" fmla="*/ 844973 h 2510087"/>
                <a:gd name="connsiteX7" fmla="*/ 1631867 w 12045155"/>
                <a:gd name="connsiteY7" fmla="*/ 878961 h 2510087"/>
                <a:gd name="connsiteX8" fmla="*/ 2087877 w 12045155"/>
                <a:gd name="connsiteY8" fmla="*/ 819473 h 2510087"/>
                <a:gd name="connsiteX9" fmla="*/ 2565599 w 12045155"/>
                <a:gd name="connsiteY9" fmla="*/ 819473 h 2510087"/>
                <a:gd name="connsiteX10" fmla="*/ 3336468 w 12045155"/>
                <a:gd name="connsiteY10" fmla="*/ 861967 h 2510087"/>
                <a:gd name="connsiteX11" fmla="*/ 4215904 w 12045155"/>
                <a:gd name="connsiteY11" fmla="*/ 844973 h 2510087"/>
                <a:gd name="connsiteX12" fmla="*/ 4845622 w 12045155"/>
                <a:gd name="connsiteY12" fmla="*/ 853479 h 2510087"/>
                <a:gd name="connsiteX13" fmla="*/ 5681632 w 12045155"/>
                <a:gd name="connsiteY13" fmla="*/ 853479 h 2510087"/>
                <a:gd name="connsiteX14" fmla="*/ 6745645 w 12045155"/>
                <a:gd name="connsiteY14" fmla="*/ 878979 h 2510087"/>
                <a:gd name="connsiteX15" fmla="*/ 7494800 w 12045155"/>
                <a:gd name="connsiteY15" fmla="*/ 870473 h 2510087"/>
                <a:gd name="connsiteX16" fmla="*/ 8026795 w 12045155"/>
                <a:gd name="connsiteY16" fmla="*/ 861967 h 2510087"/>
                <a:gd name="connsiteX17" fmla="*/ 8647812 w 12045155"/>
                <a:gd name="connsiteY17" fmla="*/ 1264715 h 2510087"/>
                <a:gd name="connsiteX18" fmla="*/ 9217808 w 12045155"/>
                <a:gd name="connsiteY18" fmla="*/ 2091547 h 2510087"/>
                <a:gd name="connsiteX19" fmla="*/ 10149208 w 12045155"/>
                <a:gd name="connsiteY19" fmla="*/ 2510086 h 2510087"/>
                <a:gd name="connsiteX20" fmla="*/ 11195242 w 12045155"/>
                <a:gd name="connsiteY20" fmla="*/ 2091549 h 2510087"/>
                <a:gd name="connsiteX21" fmla="*/ 11486173 w 12045155"/>
                <a:gd name="connsiteY21" fmla="*/ 1445814 h 2510087"/>
                <a:gd name="connsiteX22" fmla="*/ 11797069 w 12045155"/>
                <a:gd name="connsiteY22" fmla="*/ 999707 h 2510087"/>
                <a:gd name="connsiteX23" fmla="*/ 12045155 w 12045155"/>
                <a:gd name="connsiteY23" fmla="*/ 699393 h 2510087"/>
                <a:gd name="connsiteX24" fmla="*/ 12045155 w 12045155"/>
                <a:gd name="connsiteY24" fmla="*/ 261011 h 2510087"/>
                <a:gd name="connsiteX25" fmla="*/ 11438839 w 12045155"/>
                <a:gd name="connsiteY25" fmla="*/ 435586 h 2510087"/>
                <a:gd name="connsiteX26" fmla="*/ 11059114 w 12045155"/>
                <a:gd name="connsiteY26" fmla="*/ 1047471 h 2510087"/>
                <a:gd name="connsiteX27" fmla="*/ 10602369 w 12045155"/>
                <a:gd name="connsiteY27" fmla="*/ 1661632 h 2510087"/>
                <a:gd name="connsiteX28" fmla="*/ 10034574 w 12045155"/>
                <a:gd name="connsiteY28" fmla="*/ 1618415 h 2510087"/>
                <a:gd name="connsiteX29" fmla="*/ 9527677 w 12045155"/>
                <a:gd name="connsiteY29" fmla="*/ 1058846 h 2510087"/>
                <a:gd name="connsiteX30" fmla="*/ 9053022 w 12045155"/>
                <a:gd name="connsiteY30" fmla="*/ 581165 h 2510087"/>
                <a:gd name="connsiteX31" fmla="*/ 8450223 w 12045155"/>
                <a:gd name="connsiteY31" fmla="*/ 156695 h 2510087"/>
                <a:gd name="connsiteX32" fmla="*/ 7635927 w 12045155"/>
                <a:gd name="connsiteY32" fmla="*/ 105714 h 2510087"/>
                <a:gd name="connsiteX33" fmla="*/ 7049636 w 12045155"/>
                <a:gd name="connsiteY33" fmla="*/ 199189 h 2510087"/>
                <a:gd name="connsiteX34" fmla="*/ 6342549 w 12045155"/>
                <a:gd name="connsiteY34" fmla="*/ 146630 h 2510087"/>
                <a:gd name="connsiteX35" fmla="*/ 5902209 w 12045155"/>
                <a:gd name="connsiteY35" fmla="*/ 249658 h 2510087"/>
                <a:gd name="connsiteX36" fmla="*/ 5182195 w 12045155"/>
                <a:gd name="connsiteY36" fmla="*/ 292664 h 2510087"/>
                <a:gd name="connsiteX37" fmla="*/ 3822487 w 12045155"/>
                <a:gd name="connsiteY37" fmla="*/ 90799 h 2510087"/>
                <a:gd name="connsiteX38" fmla="*/ 2370177 w 12045155"/>
                <a:gd name="connsiteY38" fmla="*/ 156695 h 2510087"/>
                <a:gd name="connsiteX39" fmla="*/ 578745 w 12045155"/>
                <a:gd name="connsiteY39" fmla="*/ 148189 h 2510087"/>
                <a:gd name="connsiteX40" fmla="*/ 38923 w 12045155"/>
                <a:gd name="connsiteY40" fmla="*/ 157240 h 2510087"/>
                <a:gd name="connsiteX0" fmla="*/ 38923 w 12045155"/>
                <a:gd name="connsiteY0" fmla="*/ 157240 h 2510087"/>
                <a:gd name="connsiteX1" fmla="*/ 4765 w 12045155"/>
                <a:gd name="connsiteY1" fmla="*/ 229969 h 2510087"/>
                <a:gd name="connsiteX2" fmla="*/ 8249783 w 12045155"/>
                <a:gd name="connsiteY2" fmla="*/ 507371 h 2510087"/>
                <a:gd name="connsiteX3" fmla="*/ 31647 w 12045155"/>
                <a:gd name="connsiteY3" fmla="*/ 700450 h 2510087"/>
                <a:gd name="connsiteX4" fmla="*/ 43864 w 12045155"/>
                <a:gd name="connsiteY4" fmla="*/ 777266 h 2510087"/>
                <a:gd name="connsiteX5" fmla="*/ 80207 w 12045155"/>
                <a:gd name="connsiteY5" fmla="*/ 937416 h 2510087"/>
                <a:gd name="connsiteX6" fmla="*/ 937008 w 12045155"/>
                <a:gd name="connsiteY6" fmla="*/ 844973 h 2510087"/>
                <a:gd name="connsiteX7" fmla="*/ 1631867 w 12045155"/>
                <a:gd name="connsiteY7" fmla="*/ 878961 h 2510087"/>
                <a:gd name="connsiteX8" fmla="*/ 2087877 w 12045155"/>
                <a:gd name="connsiteY8" fmla="*/ 819473 h 2510087"/>
                <a:gd name="connsiteX9" fmla="*/ 2565599 w 12045155"/>
                <a:gd name="connsiteY9" fmla="*/ 819473 h 2510087"/>
                <a:gd name="connsiteX10" fmla="*/ 3336468 w 12045155"/>
                <a:gd name="connsiteY10" fmla="*/ 861967 h 2510087"/>
                <a:gd name="connsiteX11" fmla="*/ 4215904 w 12045155"/>
                <a:gd name="connsiteY11" fmla="*/ 844973 h 2510087"/>
                <a:gd name="connsiteX12" fmla="*/ 4845622 w 12045155"/>
                <a:gd name="connsiteY12" fmla="*/ 853479 h 2510087"/>
                <a:gd name="connsiteX13" fmla="*/ 5681632 w 12045155"/>
                <a:gd name="connsiteY13" fmla="*/ 853479 h 2510087"/>
                <a:gd name="connsiteX14" fmla="*/ 6745645 w 12045155"/>
                <a:gd name="connsiteY14" fmla="*/ 878979 h 2510087"/>
                <a:gd name="connsiteX15" fmla="*/ 7494800 w 12045155"/>
                <a:gd name="connsiteY15" fmla="*/ 870473 h 2510087"/>
                <a:gd name="connsiteX16" fmla="*/ 8026795 w 12045155"/>
                <a:gd name="connsiteY16" fmla="*/ 861967 h 2510087"/>
                <a:gd name="connsiteX17" fmla="*/ 8647812 w 12045155"/>
                <a:gd name="connsiteY17" fmla="*/ 1264715 h 2510087"/>
                <a:gd name="connsiteX18" fmla="*/ 9217808 w 12045155"/>
                <a:gd name="connsiteY18" fmla="*/ 2091547 h 2510087"/>
                <a:gd name="connsiteX19" fmla="*/ 10149208 w 12045155"/>
                <a:gd name="connsiteY19" fmla="*/ 2510086 h 2510087"/>
                <a:gd name="connsiteX20" fmla="*/ 11195242 w 12045155"/>
                <a:gd name="connsiteY20" fmla="*/ 2091549 h 2510087"/>
                <a:gd name="connsiteX21" fmla="*/ 11486173 w 12045155"/>
                <a:gd name="connsiteY21" fmla="*/ 1445814 h 2510087"/>
                <a:gd name="connsiteX22" fmla="*/ 11797069 w 12045155"/>
                <a:gd name="connsiteY22" fmla="*/ 999707 h 2510087"/>
                <a:gd name="connsiteX23" fmla="*/ 12045155 w 12045155"/>
                <a:gd name="connsiteY23" fmla="*/ 699393 h 2510087"/>
                <a:gd name="connsiteX24" fmla="*/ 12045155 w 12045155"/>
                <a:gd name="connsiteY24" fmla="*/ 261011 h 2510087"/>
                <a:gd name="connsiteX25" fmla="*/ 11438839 w 12045155"/>
                <a:gd name="connsiteY25" fmla="*/ 435586 h 2510087"/>
                <a:gd name="connsiteX26" fmla="*/ 11059114 w 12045155"/>
                <a:gd name="connsiteY26" fmla="*/ 1047471 h 2510087"/>
                <a:gd name="connsiteX27" fmla="*/ 10602369 w 12045155"/>
                <a:gd name="connsiteY27" fmla="*/ 1661632 h 2510087"/>
                <a:gd name="connsiteX28" fmla="*/ 10034574 w 12045155"/>
                <a:gd name="connsiteY28" fmla="*/ 1618415 h 2510087"/>
                <a:gd name="connsiteX29" fmla="*/ 9527677 w 12045155"/>
                <a:gd name="connsiteY29" fmla="*/ 1058846 h 2510087"/>
                <a:gd name="connsiteX30" fmla="*/ 9053022 w 12045155"/>
                <a:gd name="connsiteY30" fmla="*/ 581165 h 2510087"/>
                <a:gd name="connsiteX31" fmla="*/ 8450223 w 12045155"/>
                <a:gd name="connsiteY31" fmla="*/ 156695 h 2510087"/>
                <a:gd name="connsiteX32" fmla="*/ 7635927 w 12045155"/>
                <a:gd name="connsiteY32" fmla="*/ 105714 h 2510087"/>
                <a:gd name="connsiteX33" fmla="*/ 7049636 w 12045155"/>
                <a:gd name="connsiteY33" fmla="*/ 199189 h 2510087"/>
                <a:gd name="connsiteX34" fmla="*/ 6342549 w 12045155"/>
                <a:gd name="connsiteY34" fmla="*/ 146630 h 2510087"/>
                <a:gd name="connsiteX35" fmla="*/ 5902209 w 12045155"/>
                <a:gd name="connsiteY35" fmla="*/ 249658 h 2510087"/>
                <a:gd name="connsiteX36" fmla="*/ 5182195 w 12045155"/>
                <a:gd name="connsiteY36" fmla="*/ 292664 h 2510087"/>
                <a:gd name="connsiteX37" fmla="*/ 3822487 w 12045155"/>
                <a:gd name="connsiteY37" fmla="*/ 90799 h 2510087"/>
                <a:gd name="connsiteX38" fmla="*/ 2370177 w 12045155"/>
                <a:gd name="connsiteY38" fmla="*/ 156695 h 2510087"/>
                <a:gd name="connsiteX39" fmla="*/ 578745 w 12045155"/>
                <a:gd name="connsiteY39" fmla="*/ 148189 h 2510087"/>
                <a:gd name="connsiteX40" fmla="*/ 38923 w 12045155"/>
                <a:gd name="connsiteY40" fmla="*/ 157240 h 2510087"/>
                <a:gd name="connsiteX0" fmla="*/ 38923 w 12045155"/>
                <a:gd name="connsiteY0" fmla="*/ 157240 h 2510087"/>
                <a:gd name="connsiteX1" fmla="*/ 4765 w 12045155"/>
                <a:gd name="connsiteY1" fmla="*/ 229969 h 2510087"/>
                <a:gd name="connsiteX2" fmla="*/ 8249783 w 12045155"/>
                <a:gd name="connsiteY2" fmla="*/ 507371 h 2510087"/>
                <a:gd name="connsiteX3" fmla="*/ 31647 w 12045155"/>
                <a:gd name="connsiteY3" fmla="*/ 700450 h 2510087"/>
                <a:gd name="connsiteX4" fmla="*/ 43864 w 12045155"/>
                <a:gd name="connsiteY4" fmla="*/ 777266 h 2510087"/>
                <a:gd name="connsiteX5" fmla="*/ 80207 w 12045155"/>
                <a:gd name="connsiteY5" fmla="*/ 937416 h 2510087"/>
                <a:gd name="connsiteX6" fmla="*/ 937008 w 12045155"/>
                <a:gd name="connsiteY6" fmla="*/ 844973 h 2510087"/>
                <a:gd name="connsiteX7" fmla="*/ 1631867 w 12045155"/>
                <a:gd name="connsiteY7" fmla="*/ 878961 h 2510087"/>
                <a:gd name="connsiteX8" fmla="*/ 2087877 w 12045155"/>
                <a:gd name="connsiteY8" fmla="*/ 819473 h 2510087"/>
                <a:gd name="connsiteX9" fmla="*/ 2565599 w 12045155"/>
                <a:gd name="connsiteY9" fmla="*/ 819473 h 2510087"/>
                <a:gd name="connsiteX10" fmla="*/ 3336468 w 12045155"/>
                <a:gd name="connsiteY10" fmla="*/ 861967 h 2510087"/>
                <a:gd name="connsiteX11" fmla="*/ 4215904 w 12045155"/>
                <a:gd name="connsiteY11" fmla="*/ 844973 h 2510087"/>
                <a:gd name="connsiteX12" fmla="*/ 4845622 w 12045155"/>
                <a:gd name="connsiteY12" fmla="*/ 853479 h 2510087"/>
                <a:gd name="connsiteX13" fmla="*/ 5681632 w 12045155"/>
                <a:gd name="connsiteY13" fmla="*/ 853479 h 2510087"/>
                <a:gd name="connsiteX14" fmla="*/ 6745645 w 12045155"/>
                <a:gd name="connsiteY14" fmla="*/ 878979 h 2510087"/>
                <a:gd name="connsiteX15" fmla="*/ 7494800 w 12045155"/>
                <a:gd name="connsiteY15" fmla="*/ 870473 h 2510087"/>
                <a:gd name="connsiteX16" fmla="*/ 8026795 w 12045155"/>
                <a:gd name="connsiteY16" fmla="*/ 861967 h 2510087"/>
                <a:gd name="connsiteX17" fmla="*/ 8647812 w 12045155"/>
                <a:gd name="connsiteY17" fmla="*/ 1264715 h 2510087"/>
                <a:gd name="connsiteX18" fmla="*/ 9217808 w 12045155"/>
                <a:gd name="connsiteY18" fmla="*/ 2091547 h 2510087"/>
                <a:gd name="connsiteX19" fmla="*/ 10149208 w 12045155"/>
                <a:gd name="connsiteY19" fmla="*/ 2510086 h 2510087"/>
                <a:gd name="connsiteX20" fmla="*/ 11195242 w 12045155"/>
                <a:gd name="connsiteY20" fmla="*/ 2091549 h 2510087"/>
                <a:gd name="connsiteX21" fmla="*/ 11486173 w 12045155"/>
                <a:gd name="connsiteY21" fmla="*/ 1445814 h 2510087"/>
                <a:gd name="connsiteX22" fmla="*/ 11797069 w 12045155"/>
                <a:gd name="connsiteY22" fmla="*/ 999707 h 2510087"/>
                <a:gd name="connsiteX23" fmla="*/ 12045155 w 12045155"/>
                <a:gd name="connsiteY23" fmla="*/ 699393 h 2510087"/>
                <a:gd name="connsiteX24" fmla="*/ 12045155 w 12045155"/>
                <a:gd name="connsiteY24" fmla="*/ 261011 h 2510087"/>
                <a:gd name="connsiteX25" fmla="*/ 11438839 w 12045155"/>
                <a:gd name="connsiteY25" fmla="*/ 435586 h 2510087"/>
                <a:gd name="connsiteX26" fmla="*/ 11059114 w 12045155"/>
                <a:gd name="connsiteY26" fmla="*/ 1047471 h 2510087"/>
                <a:gd name="connsiteX27" fmla="*/ 10602369 w 12045155"/>
                <a:gd name="connsiteY27" fmla="*/ 1661632 h 2510087"/>
                <a:gd name="connsiteX28" fmla="*/ 10034574 w 12045155"/>
                <a:gd name="connsiteY28" fmla="*/ 1618415 h 2510087"/>
                <a:gd name="connsiteX29" fmla="*/ 9527677 w 12045155"/>
                <a:gd name="connsiteY29" fmla="*/ 1058846 h 2510087"/>
                <a:gd name="connsiteX30" fmla="*/ 9053022 w 12045155"/>
                <a:gd name="connsiteY30" fmla="*/ 581165 h 2510087"/>
                <a:gd name="connsiteX31" fmla="*/ 8450223 w 12045155"/>
                <a:gd name="connsiteY31" fmla="*/ 156695 h 2510087"/>
                <a:gd name="connsiteX32" fmla="*/ 7635927 w 12045155"/>
                <a:gd name="connsiteY32" fmla="*/ 105714 h 2510087"/>
                <a:gd name="connsiteX33" fmla="*/ 7049636 w 12045155"/>
                <a:gd name="connsiteY33" fmla="*/ 199189 h 2510087"/>
                <a:gd name="connsiteX34" fmla="*/ 6342549 w 12045155"/>
                <a:gd name="connsiteY34" fmla="*/ 146630 h 2510087"/>
                <a:gd name="connsiteX35" fmla="*/ 5902209 w 12045155"/>
                <a:gd name="connsiteY35" fmla="*/ 249658 h 2510087"/>
                <a:gd name="connsiteX36" fmla="*/ 5182195 w 12045155"/>
                <a:gd name="connsiteY36" fmla="*/ 292664 h 2510087"/>
                <a:gd name="connsiteX37" fmla="*/ 3822487 w 12045155"/>
                <a:gd name="connsiteY37" fmla="*/ 90799 h 2510087"/>
                <a:gd name="connsiteX38" fmla="*/ 2370177 w 12045155"/>
                <a:gd name="connsiteY38" fmla="*/ 156695 h 2510087"/>
                <a:gd name="connsiteX39" fmla="*/ 578745 w 12045155"/>
                <a:gd name="connsiteY39" fmla="*/ 148189 h 2510087"/>
                <a:gd name="connsiteX40" fmla="*/ 38923 w 12045155"/>
                <a:gd name="connsiteY40" fmla="*/ 157240 h 2510087"/>
                <a:gd name="connsiteX0" fmla="*/ 379789 w 12386021"/>
                <a:gd name="connsiteY0" fmla="*/ 157240 h 2510087"/>
                <a:gd name="connsiteX1" fmla="*/ 345631 w 12386021"/>
                <a:gd name="connsiteY1" fmla="*/ 229969 h 2510087"/>
                <a:gd name="connsiteX2" fmla="*/ 8590649 w 12386021"/>
                <a:gd name="connsiteY2" fmla="*/ 507371 h 2510087"/>
                <a:gd name="connsiteX3" fmla="*/ 372513 w 12386021"/>
                <a:gd name="connsiteY3" fmla="*/ 700450 h 2510087"/>
                <a:gd name="connsiteX4" fmla="*/ 8652699 w 12386021"/>
                <a:gd name="connsiteY4" fmla="*/ 777261 h 2510087"/>
                <a:gd name="connsiteX5" fmla="*/ 421073 w 12386021"/>
                <a:gd name="connsiteY5" fmla="*/ 937416 h 2510087"/>
                <a:gd name="connsiteX6" fmla="*/ 1277874 w 12386021"/>
                <a:gd name="connsiteY6" fmla="*/ 844973 h 2510087"/>
                <a:gd name="connsiteX7" fmla="*/ 1972733 w 12386021"/>
                <a:gd name="connsiteY7" fmla="*/ 878961 h 2510087"/>
                <a:gd name="connsiteX8" fmla="*/ 2428743 w 12386021"/>
                <a:gd name="connsiteY8" fmla="*/ 819473 h 2510087"/>
                <a:gd name="connsiteX9" fmla="*/ 2906465 w 12386021"/>
                <a:gd name="connsiteY9" fmla="*/ 819473 h 2510087"/>
                <a:gd name="connsiteX10" fmla="*/ 3677334 w 12386021"/>
                <a:gd name="connsiteY10" fmla="*/ 861967 h 2510087"/>
                <a:gd name="connsiteX11" fmla="*/ 4556770 w 12386021"/>
                <a:gd name="connsiteY11" fmla="*/ 844973 h 2510087"/>
                <a:gd name="connsiteX12" fmla="*/ 5186488 w 12386021"/>
                <a:gd name="connsiteY12" fmla="*/ 853479 h 2510087"/>
                <a:gd name="connsiteX13" fmla="*/ 6022498 w 12386021"/>
                <a:gd name="connsiteY13" fmla="*/ 853479 h 2510087"/>
                <a:gd name="connsiteX14" fmla="*/ 7086511 w 12386021"/>
                <a:gd name="connsiteY14" fmla="*/ 878979 h 2510087"/>
                <a:gd name="connsiteX15" fmla="*/ 7835666 w 12386021"/>
                <a:gd name="connsiteY15" fmla="*/ 870473 h 2510087"/>
                <a:gd name="connsiteX16" fmla="*/ 8367661 w 12386021"/>
                <a:gd name="connsiteY16" fmla="*/ 861967 h 2510087"/>
                <a:gd name="connsiteX17" fmla="*/ 8988678 w 12386021"/>
                <a:gd name="connsiteY17" fmla="*/ 1264715 h 2510087"/>
                <a:gd name="connsiteX18" fmla="*/ 9558674 w 12386021"/>
                <a:gd name="connsiteY18" fmla="*/ 2091547 h 2510087"/>
                <a:gd name="connsiteX19" fmla="*/ 10490074 w 12386021"/>
                <a:gd name="connsiteY19" fmla="*/ 2510086 h 2510087"/>
                <a:gd name="connsiteX20" fmla="*/ 11536108 w 12386021"/>
                <a:gd name="connsiteY20" fmla="*/ 2091549 h 2510087"/>
                <a:gd name="connsiteX21" fmla="*/ 11827039 w 12386021"/>
                <a:gd name="connsiteY21" fmla="*/ 1445814 h 2510087"/>
                <a:gd name="connsiteX22" fmla="*/ 12137935 w 12386021"/>
                <a:gd name="connsiteY22" fmla="*/ 999707 h 2510087"/>
                <a:gd name="connsiteX23" fmla="*/ 12386021 w 12386021"/>
                <a:gd name="connsiteY23" fmla="*/ 699393 h 2510087"/>
                <a:gd name="connsiteX24" fmla="*/ 12386021 w 12386021"/>
                <a:gd name="connsiteY24" fmla="*/ 261011 h 2510087"/>
                <a:gd name="connsiteX25" fmla="*/ 11779705 w 12386021"/>
                <a:gd name="connsiteY25" fmla="*/ 435586 h 2510087"/>
                <a:gd name="connsiteX26" fmla="*/ 11399980 w 12386021"/>
                <a:gd name="connsiteY26" fmla="*/ 1047471 h 2510087"/>
                <a:gd name="connsiteX27" fmla="*/ 10943235 w 12386021"/>
                <a:gd name="connsiteY27" fmla="*/ 1661632 h 2510087"/>
                <a:gd name="connsiteX28" fmla="*/ 10375440 w 12386021"/>
                <a:gd name="connsiteY28" fmla="*/ 1618415 h 2510087"/>
                <a:gd name="connsiteX29" fmla="*/ 9868543 w 12386021"/>
                <a:gd name="connsiteY29" fmla="*/ 1058846 h 2510087"/>
                <a:gd name="connsiteX30" fmla="*/ 9393888 w 12386021"/>
                <a:gd name="connsiteY30" fmla="*/ 581165 h 2510087"/>
                <a:gd name="connsiteX31" fmla="*/ 8791089 w 12386021"/>
                <a:gd name="connsiteY31" fmla="*/ 156695 h 2510087"/>
                <a:gd name="connsiteX32" fmla="*/ 7976793 w 12386021"/>
                <a:gd name="connsiteY32" fmla="*/ 105714 h 2510087"/>
                <a:gd name="connsiteX33" fmla="*/ 7390502 w 12386021"/>
                <a:gd name="connsiteY33" fmla="*/ 199189 h 2510087"/>
                <a:gd name="connsiteX34" fmla="*/ 6683415 w 12386021"/>
                <a:gd name="connsiteY34" fmla="*/ 146630 h 2510087"/>
                <a:gd name="connsiteX35" fmla="*/ 6243075 w 12386021"/>
                <a:gd name="connsiteY35" fmla="*/ 249658 h 2510087"/>
                <a:gd name="connsiteX36" fmla="*/ 5523061 w 12386021"/>
                <a:gd name="connsiteY36" fmla="*/ 292664 h 2510087"/>
                <a:gd name="connsiteX37" fmla="*/ 4163353 w 12386021"/>
                <a:gd name="connsiteY37" fmla="*/ 90799 h 2510087"/>
                <a:gd name="connsiteX38" fmla="*/ 2711043 w 12386021"/>
                <a:gd name="connsiteY38" fmla="*/ 156695 h 2510087"/>
                <a:gd name="connsiteX39" fmla="*/ 919611 w 12386021"/>
                <a:gd name="connsiteY39" fmla="*/ 148189 h 2510087"/>
                <a:gd name="connsiteX40" fmla="*/ 379789 w 12386021"/>
                <a:gd name="connsiteY40" fmla="*/ 157240 h 2510087"/>
                <a:gd name="connsiteX0" fmla="*/ 379791 w 12386023"/>
                <a:gd name="connsiteY0" fmla="*/ 157240 h 2510087"/>
                <a:gd name="connsiteX1" fmla="*/ 345633 w 12386023"/>
                <a:gd name="connsiteY1" fmla="*/ 229969 h 2510087"/>
                <a:gd name="connsiteX2" fmla="*/ 8590651 w 12386023"/>
                <a:gd name="connsiteY2" fmla="*/ 507371 h 2510087"/>
                <a:gd name="connsiteX3" fmla="*/ 8697801 w 12386023"/>
                <a:gd name="connsiteY3" fmla="*/ 591261 h 2510087"/>
                <a:gd name="connsiteX4" fmla="*/ 8652701 w 12386023"/>
                <a:gd name="connsiteY4" fmla="*/ 777261 h 2510087"/>
                <a:gd name="connsiteX5" fmla="*/ 421075 w 12386023"/>
                <a:gd name="connsiteY5" fmla="*/ 937416 h 2510087"/>
                <a:gd name="connsiteX6" fmla="*/ 1277876 w 12386023"/>
                <a:gd name="connsiteY6" fmla="*/ 844973 h 2510087"/>
                <a:gd name="connsiteX7" fmla="*/ 1972735 w 12386023"/>
                <a:gd name="connsiteY7" fmla="*/ 878961 h 2510087"/>
                <a:gd name="connsiteX8" fmla="*/ 2428745 w 12386023"/>
                <a:gd name="connsiteY8" fmla="*/ 819473 h 2510087"/>
                <a:gd name="connsiteX9" fmla="*/ 2906467 w 12386023"/>
                <a:gd name="connsiteY9" fmla="*/ 819473 h 2510087"/>
                <a:gd name="connsiteX10" fmla="*/ 3677336 w 12386023"/>
                <a:gd name="connsiteY10" fmla="*/ 861967 h 2510087"/>
                <a:gd name="connsiteX11" fmla="*/ 4556772 w 12386023"/>
                <a:gd name="connsiteY11" fmla="*/ 844973 h 2510087"/>
                <a:gd name="connsiteX12" fmla="*/ 5186490 w 12386023"/>
                <a:gd name="connsiteY12" fmla="*/ 853479 h 2510087"/>
                <a:gd name="connsiteX13" fmla="*/ 6022500 w 12386023"/>
                <a:gd name="connsiteY13" fmla="*/ 853479 h 2510087"/>
                <a:gd name="connsiteX14" fmla="*/ 7086513 w 12386023"/>
                <a:gd name="connsiteY14" fmla="*/ 878979 h 2510087"/>
                <a:gd name="connsiteX15" fmla="*/ 7835668 w 12386023"/>
                <a:gd name="connsiteY15" fmla="*/ 870473 h 2510087"/>
                <a:gd name="connsiteX16" fmla="*/ 8367663 w 12386023"/>
                <a:gd name="connsiteY16" fmla="*/ 861967 h 2510087"/>
                <a:gd name="connsiteX17" fmla="*/ 8988680 w 12386023"/>
                <a:gd name="connsiteY17" fmla="*/ 1264715 h 2510087"/>
                <a:gd name="connsiteX18" fmla="*/ 9558676 w 12386023"/>
                <a:gd name="connsiteY18" fmla="*/ 2091547 h 2510087"/>
                <a:gd name="connsiteX19" fmla="*/ 10490076 w 12386023"/>
                <a:gd name="connsiteY19" fmla="*/ 2510086 h 2510087"/>
                <a:gd name="connsiteX20" fmla="*/ 11536110 w 12386023"/>
                <a:gd name="connsiteY20" fmla="*/ 2091549 h 2510087"/>
                <a:gd name="connsiteX21" fmla="*/ 11827041 w 12386023"/>
                <a:gd name="connsiteY21" fmla="*/ 1445814 h 2510087"/>
                <a:gd name="connsiteX22" fmla="*/ 12137937 w 12386023"/>
                <a:gd name="connsiteY22" fmla="*/ 999707 h 2510087"/>
                <a:gd name="connsiteX23" fmla="*/ 12386023 w 12386023"/>
                <a:gd name="connsiteY23" fmla="*/ 699393 h 2510087"/>
                <a:gd name="connsiteX24" fmla="*/ 12386023 w 12386023"/>
                <a:gd name="connsiteY24" fmla="*/ 261011 h 2510087"/>
                <a:gd name="connsiteX25" fmla="*/ 11779707 w 12386023"/>
                <a:gd name="connsiteY25" fmla="*/ 435586 h 2510087"/>
                <a:gd name="connsiteX26" fmla="*/ 11399982 w 12386023"/>
                <a:gd name="connsiteY26" fmla="*/ 1047471 h 2510087"/>
                <a:gd name="connsiteX27" fmla="*/ 10943237 w 12386023"/>
                <a:gd name="connsiteY27" fmla="*/ 1661632 h 2510087"/>
                <a:gd name="connsiteX28" fmla="*/ 10375442 w 12386023"/>
                <a:gd name="connsiteY28" fmla="*/ 1618415 h 2510087"/>
                <a:gd name="connsiteX29" fmla="*/ 9868545 w 12386023"/>
                <a:gd name="connsiteY29" fmla="*/ 1058846 h 2510087"/>
                <a:gd name="connsiteX30" fmla="*/ 9393890 w 12386023"/>
                <a:gd name="connsiteY30" fmla="*/ 581165 h 2510087"/>
                <a:gd name="connsiteX31" fmla="*/ 8791091 w 12386023"/>
                <a:gd name="connsiteY31" fmla="*/ 156695 h 2510087"/>
                <a:gd name="connsiteX32" fmla="*/ 7976795 w 12386023"/>
                <a:gd name="connsiteY32" fmla="*/ 105714 h 2510087"/>
                <a:gd name="connsiteX33" fmla="*/ 7390504 w 12386023"/>
                <a:gd name="connsiteY33" fmla="*/ 199189 h 2510087"/>
                <a:gd name="connsiteX34" fmla="*/ 6683417 w 12386023"/>
                <a:gd name="connsiteY34" fmla="*/ 146630 h 2510087"/>
                <a:gd name="connsiteX35" fmla="*/ 6243077 w 12386023"/>
                <a:gd name="connsiteY35" fmla="*/ 249658 h 2510087"/>
                <a:gd name="connsiteX36" fmla="*/ 5523063 w 12386023"/>
                <a:gd name="connsiteY36" fmla="*/ 292664 h 2510087"/>
                <a:gd name="connsiteX37" fmla="*/ 4163355 w 12386023"/>
                <a:gd name="connsiteY37" fmla="*/ 90799 h 2510087"/>
                <a:gd name="connsiteX38" fmla="*/ 2711045 w 12386023"/>
                <a:gd name="connsiteY38" fmla="*/ 156695 h 2510087"/>
                <a:gd name="connsiteX39" fmla="*/ 919613 w 12386023"/>
                <a:gd name="connsiteY39" fmla="*/ 148189 h 2510087"/>
                <a:gd name="connsiteX40" fmla="*/ 379791 w 12386023"/>
                <a:gd name="connsiteY40" fmla="*/ 157240 h 2510087"/>
                <a:gd name="connsiteX0" fmla="*/ 379791 w 12386023"/>
                <a:gd name="connsiteY0" fmla="*/ 157240 h 2510087"/>
                <a:gd name="connsiteX1" fmla="*/ 345633 w 12386023"/>
                <a:gd name="connsiteY1" fmla="*/ 229969 h 2510087"/>
                <a:gd name="connsiteX2" fmla="*/ 8676628 w 12386023"/>
                <a:gd name="connsiteY2" fmla="*/ 434581 h 2510087"/>
                <a:gd name="connsiteX3" fmla="*/ 8697801 w 12386023"/>
                <a:gd name="connsiteY3" fmla="*/ 591261 h 2510087"/>
                <a:gd name="connsiteX4" fmla="*/ 8652701 w 12386023"/>
                <a:gd name="connsiteY4" fmla="*/ 777261 h 2510087"/>
                <a:gd name="connsiteX5" fmla="*/ 421075 w 12386023"/>
                <a:gd name="connsiteY5" fmla="*/ 937416 h 2510087"/>
                <a:gd name="connsiteX6" fmla="*/ 1277876 w 12386023"/>
                <a:gd name="connsiteY6" fmla="*/ 844973 h 2510087"/>
                <a:gd name="connsiteX7" fmla="*/ 1972735 w 12386023"/>
                <a:gd name="connsiteY7" fmla="*/ 878961 h 2510087"/>
                <a:gd name="connsiteX8" fmla="*/ 2428745 w 12386023"/>
                <a:gd name="connsiteY8" fmla="*/ 819473 h 2510087"/>
                <a:gd name="connsiteX9" fmla="*/ 2906467 w 12386023"/>
                <a:gd name="connsiteY9" fmla="*/ 819473 h 2510087"/>
                <a:gd name="connsiteX10" fmla="*/ 3677336 w 12386023"/>
                <a:gd name="connsiteY10" fmla="*/ 861967 h 2510087"/>
                <a:gd name="connsiteX11" fmla="*/ 4556772 w 12386023"/>
                <a:gd name="connsiteY11" fmla="*/ 844973 h 2510087"/>
                <a:gd name="connsiteX12" fmla="*/ 5186490 w 12386023"/>
                <a:gd name="connsiteY12" fmla="*/ 853479 h 2510087"/>
                <a:gd name="connsiteX13" fmla="*/ 6022500 w 12386023"/>
                <a:gd name="connsiteY13" fmla="*/ 853479 h 2510087"/>
                <a:gd name="connsiteX14" fmla="*/ 7086513 w 12386023"/>
                <a:gd name="connsiteY14" fmla="*/ 878979 h 2510087"/>
                <a:gd name="connsiteX15" fmla="*/ 7835668 w 12386023"/>
                <a:gd name="connsiteY15" fmla="*/ 870473 h 2510087"/>
                <a:gd name="connsiteX16" fmla="*/ 8367663 w 12386023"/>
                <a:gd name="connsiteY16" fmla="*/ 861967 h 2510087"/>
                <a:gd name="connsiteX17" fmla="*/ 8988680 w 12386023"/>
                <a:gd name="connsiteY17" fmla="*/ 1264715 h 2510087"/>
                <a:gd name="connsiteX18" fmla="*/ 9558676 w 12386023"/>
                <a:gd name="connsiteY18" fmla="*/ 2091547 h 2510087"/>
                <a:gd name="connsiteX19" fmla="*/ 10490076 w 12386023"/>
                <a:gd name="connsiteY19" fmla="*/ 2510086 h 2510087"/>
                <a:gd name="connsiteX20" fmla="*/ 11536110 w 12386023"/>
                <a:gd name="connsiteY20" fmla="*/ 2091549 h 2510087"/>
                <a:gd name="connsiteX21" fmla="*/ 11827041 w 12386023"/>
                <a:gd name="connsiteY21" fmla="*/ 1445814 h 2510087"/>
                <a:gd name="connsiteX22" fmla="*/ 12137937 w 12386023"/>
                <a:gd name="connsiteY22" fmla="*/ 999707 h 2510087"/>
                <a:gd name="connsiteX23" fmla="*/ 12386023 w 12386023"/>
                <a:gd name="connsiteY23" fmla="*/ 699393 h 2510087"/>
                <a:gd name="connsiteX24" fmla="*/ 12386023 w 12386023"/>
                <a:gd name="connsiteY24" fmla="*/ 261011 h 2510087"/>
                <a:gd name="connsiteX25" fmla="*/ 11779707 w 12386023"/>
                <a:gd name="connsiteY25" fmla="*/ 435586 h 2510087"/>
                <a:gd name="connsiteX26" fmla="*/ 11399982 w 12386023"/>
                <a:gd name="connsiteY26" fmla="*/ 1047471 h 2510087"/>
                <a:gd name="connsiteX27" fmla="*/ 10943237 w 12386023"/>
                <a:gd name="connsiteY27" fmla="*/ 1661632 h 2510087"/>
                <a:gd name="connsiteX28" fmla="*/ 10375442 w 12386023"/>
                <a:gd name="connsiteY28" fmla="*/ 1618415 h 2510087"/>
                <a:gd name="connsiteX29" fmla="*/ 9868545 w 12386023"/>
                <a:gd name="connsiteY29" fmla="*/ 1058846 h 2510087"/>
                <a:gd name="connsiteX30" fmla="*/ 9393890 w 12386023"/>
                <a:gd name="connsiteY30" fmla="*/ 581165 h 2510087"/>
                <a:gd name="connsiteX31" fmla="*/ 8791091 w 12386023"/>
                <a:gd name="connsiteY31" fmla="*/ 156695 h 2510087"/>
                <a:gd name="connsiteX32" fmla="*/ 7976795 w 12386023"/>
                <a:gd name="connsiteY32" fmla="*/ 105714 h 2510087"/>
                <a:gd name="connsiteX33" fmla="*/ 7390504 w 12386023"/>
                <a:gd name="connsiteY33" fmla="*/ 199189 h 2510087"/>
                <a:gd name="connsiteX34" fmla="*/ 6683417 w 12386023"/>
                <a:gd name="connsiteY34" fmla="*/ 146630 h 2510087"/>
                <a:gd name="connsiteX35" fmla="*/ 6243077 w 12386023"/>
                <a:gd name="connsiteY35" fmla="*/ 249658 h 2510087"/>
                <a:gd name="connsiteX36" fmla="*/ 5523063 w 12386023"/>
                <a:gd name="connsiteY36" fmla="*/ 292664 h 2510087"/>
                <a:gd name="connsiteX37" fmla="*/ 4163355 w 12386023"/>
                <a:gd name="connsiteY37" fmla="*/ 90799 h 2510087"/>
                <a:gd name="connsiteX38" fmla="*/ 2711045 w 12386023"/>
                <a:gd name="connsiteY38" fmla="*/ 156695 h 2510087"/>
                <a:gd name="connsiteX39" fmla="*/ 919613 w 12386023"/>
                <a:gd name="connsiteY39" fmla="*/ 148189 h 2510087"/>
                <a:gd name="connsiteX40" fmla="*/ 379791 w 12386023"/>
                <a:gd name="connsiteY40" fmla="*/ 157240 h 2510087"/>
                <a:gd name="connsiteX0" fmla="*/ 8705072 w 12386023"/>
                <a:gd name="connsiteY0" fmla="*/ 284622 h 2510087"/>
                <a:gd name="connsiteX1" fmla="*/ 345633 w 12386023"/>
                <a:gd name="connsiteY1" fmla="*/ 229969 h 2510087"/>
                <a:gd name="connsiteX2" fmla="*/ 8676628 w 12386023"/>
                <a:gd name="connsiteY2" fmla="*/ 434581 h 2510087"/>
                <a:gd name="connsiteX3" fmla="*/ 8697801 w 12386023"/>
                <a:gd name="connsiteY3" fmla="*/ 591261 h 2510087"/>
                <a:gd name="connsiteX4" fmla="*/ 8652701 w 12386023"/>
                <a:gd name="connsiteY4" fmla="*/ 777261 h 2510087"/>
                <a:gd name="connsiteX5" fmla="*/ 421075 w 12386023"/>
                <a:gd name="connsiteY5" fmla="*/ 937416 h 2510087"/>
                <a:gd name="connsiteX6" fmla="*/ 1277876 w 12386023"/>
                <a:gd name="connsiteY6" fmla="*/ 844973 h 2510087"/>
                <a:gd name="connsiteX7" fmla="*/ 1972735 w 12386023"/>
                <a:gd name="connsiteY7" fmla="*/ 878961 h 2510087"/>
                <a:gd name="connsiteX8" fmla="*/ 2428745 w 12386023"/>
                <a:gd name="connsiteY8" fmla="*/ 819473 h 2510087"/>
                <a:gd name="connsiteX9" fmla="*/ 2906467 w 12386023"/>
                <a:gd name="connsiteY9" fmla="*/ 819473 h 2510087"/>
                <a:gd name="connsiteX10" fmla="*/ 3677336 w 12386023"/>
                <a:gd name="connsiteY10" fmla="*/ 861967 h 2510087"/>
                <a:gd name="connsiteX11" fmla="*/ 4556772 w 12386023"/>
                <a:gd name="connsiteY11" fmla="*/ 844973 h 2510087"/>
                <a:gd name="connsiteX12" fmla="*/ 5186490 w 12386023"/>
                <a:gd name="connsiteY12" fmla="*/ 853479 h 2510087"/>
                <a:gd name="connsiteX13" fmla="*/ 6022500 w 12386023"/>
                <a:gd name="connsiteY13" fmla="*/ 853479 h 2510087"/>
                <a:gd name="connsiteX14" fmla="*/ 7086513 w 12386023"/>
                <a:gd name="connsiteY14" fmla="*/ 878979 h 2510087"/>
                <a:gd name="connsiteX15" fmla="*/ 7835668 w 12386023"/>
                <a:gd name="connsiteY15" fmla="*/ 870473 h 2510087"/>
                <a:gd name="connsiteX16" fmla="*/ 8367663 w 12386023"/>
                <a:gd name="connsiteY16" fmla="*/ 861967 h 2510087"/>
                <a:gd name="connsiteX17" fmla="*/ 8988680 w 12386023"/>
                <a:gd name="connsiteY17" fmla="*/ 1264715 h 2510087"/>
                <a:gd name="connsiteX18" fmla="*/ 9558676 w 12386023"/>
                <a:gd name="connsiteY18" fmla="*/ 2091547 h 2510087"/>
                <a:gd name="connsiteX19" fmla="*/ 10490076 w 12386023"/>
                <a:gd name="connsiteY19" fmla="*/ 2510086 h 2510087"/>
                <a:gd name="connsiteX20" fmla="*/ 11536110 w 12386023"/>
                <a:gd name="connsiteY20" fmla="*/ 2091549 h 2510087"/>
                <a:gd name="connsiteX21" fmla="*/ 11827041 w 12386023"/>
                <a:gd name="connsiteY21" fmla="*/ 1445814 h 2510087"/>
                <a:gd name="connsiteX22" fmla="*/ 12137937 w 12386023"/>
                <a:gd name="connsiteY22" fmla="*/ 999707 h 2510087"/>
                <a:gd name="connsiteX23" fmla="*/ 12386023 w 12386023"/>
                <a:gd name="connsiteY23" fmla="*/ 699393 h 2510087"/>
                <a:gd name="connsiteX24" fmla="*/ 12386023 w 12386023"/>
                <a:gd name="connsiteY24" fmla="*/ 261011 h 2510087"/>
                <a:gd name="connsiteX25" fmla="*/ 11779707 w 12386023"/>
                <a:gd name="connsiteY25" fmla="*/ 435586 h 2510087"/>
                <a:gd name="connsiteX26" fmla="*/ 11399982 w 12386023"/>
                <a:gd name="connsiteY26" fmla="*/ 1047471 h 2510087"/>
                <a:gd name="connsiteX27" fmla="*/ 10943237 w 12386023"/>
                <a:gd name="connsiteY27" fmla="*/ 1661632 h 2510087"/>
                <a:gd name="connsiteX28" fmla="*/ 10375442 w 12386023"/>
                <a:gd name="connsiteY28" fmla="*/ 1618415 h 2510087"/>
                <a:gd name="connsiteX29" fmla="*/ 9868545 w 12386023"/>
                <a:gd name="connsiteY29" fmla="*/ 1058846 h 2510087"/>
                <a:gd name="connsiteX30" fmla="*/ 9393890 w 12386023"/>
                <a:gd name="connsiteY30" fmla="*/ 581165 h 2510087"/>
                <a:gd name="connsiteX31" fmla="*/ 8791091 w 12386023"/>
                <a:gd name="connsiteY31" fmla="*/ 156695 h 2510087"/>
                <a:gd name="connsiteX32" fmla="*/ 7976795 w 12386023"/>
                <a:gd name="connsiteY32" fmla="*/ 105714 h 2510087"/>
                <a:gd name="connsiteX33" fmla="*/ 7390504 w 12386023"/>
                <a:gd name="connsiteY33" fmla="*/ 199189 h 2510087"/>
                <a:gd name="connsiteX34" fmla="*/ 6683417 w 12386023"/>
                <a:gd name="connsiteY34" fmla="*/ 146630 h 2510087"/>
                <a:gd name="connsiteX35" fmla="*/ 6243077 w 12386023"/>
                <a:gd name="connsiteY35" fmla="*/ 249658 h 2510087"/>
                <a:gd name="connsiteX36" fmla="*/ 5523063 w 12386023"/>
                <a:gd name="connsiteY36" fmla="*/ 292664 h 2510087"/>
                <a:gd name="connsiteX37" fmla="*/ 4163355 w 12386023"/>
                <a:gd name="connsiteY37" fmla="*/ 90799 h 2510087"/>
                <a:gd name="connsiteX38" fmla="*/ 2711045 w 12386023"/>
                <a:gd name="connsiteY38" fmla="*/ 156695 h 2510087"/>
                <a:gd name="connsiteX39" fmla="*/ 919613 w 12386023"/>
                <a:gd name="connsiteY39" fmla="*/ 148189 h 2510087"/>
                <a:gd name="connsiteX40" fmla="*/ 8705072 w 12386023"/>
                <a:gd name="connsiteY40" fmla="*/ 284622 h 2510087"/>
                <a:gd name="connsiteX0" fmla="*/ 8705072 w 12386023"/>
                <a:gd name="connsiteY0" fmla="*/ 284622 h 2510087"/>
                <a:gd name="connsiteX1" fmla="*/ 8742561 w 12386023"/>
                <a:gd name="connsiteY1" fmla="*/ 521128 h 2510087"/>
                <a:gd name="connsiteX2" fmla="*/ 8676628 w 12386023"/>
                <a:gd name="connsiteY2" fmla="*/ 434581 h 2510087"/>
                <a:gd name="connsiteX3" fmla="*/ 8697801 w 12386023"/>
                <a:gd name="connsiteY3" fmla="*/ 591261 h 2510087"/>
                <a:gd name="connsiteX4" fmla="*/ 8652701 w 12386023"/>
                <a:gd name="connsiteY4" fmla="*/ 777261 h 2510087"/>
                <a:gd name="connsiteX5" fmla="*/ 421075 w 12386023"/>
                <a:gd name="connsiteY5" fmla="*/ 937416 h 2510087"/>
                <a:gd name="connsiteX6" fmla="*/ 1277876 w 12386023"/>
                <a:gd name="connsiteY6" fmla="*/ 844973 h 2510087"/>
                <a:gd name="connsiteX7" fmla="*/ 1972735 w 12386023"/>
                <a:gd name="connsiteY7" fmla="*/ 878961 h 2510087"/>
                <a:gd name="connsiteX8" fmla="*/ 2428745 w 12386023"/>
                <a:gd name="connsiteY8" fmla="*/ 819473 h 2510087"/>
                <a:gd name="connsiteX9" fmla="*/ 2906467 w 12386023"/>
                <a:gd name="connsiteY9" fmla="*/ 819473 h 2510087"/>
                <a:gd name="connsiteX10" fmla="*/ 3677336 w 12386023"/>
                <a:gd name="connsiteY10" fmla="*/ 861967 h 2510087"/>
                <a:gd name="connsiteX11" fmla="*/ 4556772 w 12386023"/>
                <a:gd name="connsiteY11" fmla="*/ 844973 h 2510087"/>
                <a:gd name="connsiteX12" fmla="*/ 5186490 w 12386023"/>
                <a:gd name="connsiteY12" fmla="*/ 853479 h 2510087"/>
                <a:gd name="connsiteX13" fmla="*/ 6022500 w 12386023"/>
                <a:gd name="connsiteY13" fmla="*/ 853479 h 2510087"/>
                <a:gd name="connsiteX14" fmla="*/ 7086513 w 12386023"/>
                <a:gd name="connsiteY14" fmla="*/ 878979 h 2510087"/>
                <a:gd name="connsiteX15" fmla="*/ 7835668 w 12386023"/>
                <a:gd name="connsiteY15" fmla="*/ 870473 h 2510087"/>
                <a:gd name="connsiteX16" fmla="*/ 8367663 w 12386023"/>
                <a:gd name="connsiteY16" fmla="*/ 861967 h 2510087"/>
                <a:gd name="connsiteX17" fmla="*/ 8988680 w 12386023"/>
                <a:gd name="connsiteY17" fmla="*/ 1264715 h 2510087"/>
                <a:gd name="connsiteX18" fmla="*/ 9558676 w 12386023"/>
                <a:gd name="connsiteY18" fmla="*/ 2091547 h 2510087"/>
                <a:gd name="connsiteX19" fmla="*/ 10490076 w 12386023"/>
                <a:gd name="connsiteY19" fmla="*/ 2510086 h 2510087"/>
                <a:gd name="connsiteX20" fmla="*/ 11536110 w 12386023"/>
                <a:gd name="connsiteY20" fmla="*/ 2091549 h 2510087"/>
                <a:gd name="connsiteX21" fmla="*/ 11827041 w 12386023"/>
                <a:gd name="connsiteY21" fmla="*/ 1445814 h 2510087"/>
                <a:gd name="connsiteX22" fmla="*/ 12137937 w 12386023"/>
                <a:gd name="connsiteY22" fmla="*/ 999707 h 2510087"/>
                <a:gd name="connsiteX23" fmla="*/ 12386023 w 12386023"/>
                <a:gd name="connsiteY23" fmla="*/ 699393 h 2510087"/>
                <a:gd name="connsiteX24" fmla="*/ 12386023 w 12386023"/>
                <a:gd name="connsiteY24" fmla="*/ 261011 h 2510087"/>
                <a:gd name="connsiteX25" fmla="*/ 11779707 w 12386023"/>
                <a:gd name="connsiteY25" fmla="*/ 435586 h 2510087"/>
                <a:gd name="connsiteX26" fmla="*/ 11399982 w 12386023"/>
                <a:gd name="connsiteY26" fmla="*/ 1047471 h 2510087"/>
                <a:gd name="connsiteX27" fmla="*/ 10943237 w 12386023"/>
                <a:gd name="connsiteY27" fmla="*/ 1661632 h 2510087"/>
                <a:gd name="connsiteX28" fmla="*/ 10375442 w 12386023"/>
                <a:gd name="connsiteY28" fmla="*/ 1618415 h 2510087"/>
                <a:gd name="connsiteX29" fmla="*/ 9868545 w 12386023"/>
                <a:gd name="connsiteY29" fmla="*/ 1058846 h 2510087"/>
                <a:gd name="connsiteX30" fmla="*/ 9393890 w 12386023"/>
                <a:gd name="connsiteY30" fmla="*/ 581165 h 2510087"/>
                <a:gd name="connsiteX31" fmla="*/ 8791091 w 12386023"/>
                <a:gd name="connsiteY31" fmla="*/ 156695 h 2510087"/>
                <a:gd name="connsiteX32" fmla="*/ 7976795 w 12386023"/>
                <a:gd name="connsiteY32" fmla="*/ 105714 h 2510087"/>
                <a:gd name="connsiteX33" fmla="*/ 7390504 w 12386023"/>
                <a:gd name="connsiteY33" fmla="*/ 199189 h 2510087"/>
                <a:gd name="connsiteX34" fmla="*/ 6683417 w 12386023"/>
                <a:gd name="connsiteY34" fmla="*/ 146630 h 2510087"/>
                <a:gd name="connsiteX35" fmla="*/ 6243077 w 12386023"/>
                <a:gd name="connsiteY35" fmla="*/ 249658 h 2510087"/>
                <a:gd name="connsiteX36" fmla="*/ 5523063 w 12386023"/>
                <a:gd name="connsiteY36" fmla="*/ 292664 h 2510087"/>
                <a:gd name="connsiteX37" fmla="*/ 4163355 w 12386023"/>
                <a:gd name="connsiteY37" fmla="*/ 90799 h 2510087"/>
                <a:gd name="connsiteX38" fmla="*/ 2711045 w 12386023"/>
                <a:gd name="connsiteY38" fmla="*/ 156695 h 2510087"/>
                <a:gd name="connsiteX39" fmla="*/ 919613 w 12386023"/>
                <a:gd name="connsiteY39" fmla="*/ 148189 h 2510087"/>
                <a:gd name="connsiteX40" fmla="*/ 8705072 w 12386023"/>
                <a:gd name="connsiteY40" fmla="*/ 284622 h 2510087"/>
                <a:gd name="connsiteX0" fmla="*/ 8705072 w 12386023"/>
                <a:gd name="connsiteY0" fmla="*/ 284622 h 2510087"/>
                <a:gd name="connsiteX1" fmla="*/ 8742561 w 12386023"/>
                <a:gd name="connsiteY1" fmla="*/ 521128 h 2510087"/>
                <a:gd name="connsiteX2" fmla="*/ 8676628 w 12386023"/>
                <a:gd name="connsiteY2" fmla="*/ 434581 h 2510087"/>
                <a:gd name="connsiteX3" fmla="*/ 8697801 w 12386023"/>
                <a:gd name="connsiteY3" fmla="*/ 591261 h 2510087"/>
                <a:gd name="connsiteX4" fmla="*/ 8652701 w 12386023"/>
                <a:gd name="connsiteY4" fmla="*/ 777261 h 2510087"/>
                <a:gd name="connsiteX5" fmla="*/ 421075 w 12386023"/>
                <a:gd name="connsiteY5" fmla="*/ 937416 h 2510087"/>
                <a:gd name="connsiteX6" fmla="*/ 1277876 w 12386023"/>
                <a:gd name="connsiteY6" fmla="*/ 844973 h 2510087"/>
                <a:gd name="connsiteX7" fmla="*/ 1972735 w 12386023"/>
                <a:gd name="connsiteY7" fmla="*/ 878961 h 2510087"/>
                <a:gd name="connsiteX8" fmla="*/ 2428745 w 12386023"/>
                <a:gd name="connsiteY8" fmla="*/ 819473 h 2510087"/>
                <a:gd name="connsiteX9" fmla="*/ 2906467 w 12386023"/>
                <a:gd name="connsiteY9" fmla="*/ 819473 h 2510087"/>
                <a:gd name="connsiteX10" fmla="*/ 3677336 w 12386023"/>
                <a:gd name="connsiteY10" fmla="*/ 861967 h 2510087"/>
                <a:gd name="connsiteX11" fmla="*/ 4556772 w 12386023"/>
                <a:gd name="connsiteY11" fmla="*/ 844973 h 2510087"/>
                <a:gd name="connsiteX12" fmla="*/ 5186490 w 12386023"/>
                <a:gd name="connsiteY12" fmla="*/ 853479 h 2510087"/>
                <a:gd name="connsiteX13" fmla="*/ 6022500 w 12386023"/>
                <a:gd name="connsiteY13" fmla="*/ 853479 h 2510087"/>
                <a:gd name="connsiteX14" fmla="*/ 7086513 w 12386023"/>
                <a:gd name="connsiteY14" fmla="*/ 878979 h 2510087"/>
                <a:gd name="connsiteX15" fmla="*/ 7835668 w 12386023"/>
                <a:gd name="connsiteY15" fmla="*/ 870473 h 2510087"/>
                <a:gd name="connsiteX16" fmla="*/ 8367663 w 12386023"/>
                <a:gd name="connsiteY16" fmla="*/ 861967 h 2510087"/>
                <a:gd name="connsiteX17" fmla="*/ 8988680 w 12386023"/>
                <a:gd name="connsiteY17" fmla="*/ 1264715 h 2510087"/>
                <a:gd name="connsiteX18" fmla="*/ 9558676 w 12386023"/>
                <a:gd name="connsiteY18" fmla="*/ 2091547 h 2510087"/>
                <a:gd name="connsiteX19" fmla="*/ 10490076 w 12386023"/>
                <a:gd name="connsiteY19" fmla="*/ 2510086 h 2510087"/>
                <a:gd name="connsiteX20" fmla="*/ 11536110 w 12386023"/>
                <a:gd name="connsiteY20" fmla="*/ 2091549 h 2510087"/>
                <a:gd name="connsiteX21" fmla="*/ 11827041 w 12386023"/>
                <a:gd name="connsiteY21" fmla="*/ 1445814 h 2510087"/>
                <a:gd name="connsiteX22" fmla="*/ 12137937 w 12386023"/>
                <a:gd name="connsiteY22" fmla="*/ 999707 h 2510087"/>
                <a:gd name="connsiteX23" fmla="*/ 12386023 w 12386023"/>
                <a:gd name="connsiteY23" fmla="*/ 699393 h 2510087"/>
                <a:gd name="connsiteX24" fmla="*/ 12386023 w 12386023"/>
                <a:gd name="connsiteY24" fmla="*/ 261011 h 2510087"/>
                <a:gd name="connsiteX25" fmla="*/ 11779707 w 12386023"/>
                <a:gd name="connsiteY25" fmla="*/ 435586 h 2510087"/>
                <a:gd name="connsiteX26" fmla="*/ 11399982 w 12386023"/>
                <a:gd name="connsiteY26" fmla="*/ 1047471 h 2510087"/>
                <a:gd name="connsiteX27" fmla="*/ 10943237 w 12386023"/>
                <a:gd name="connsiteY27" fmla="*/ 1661632 h 2510087"/>
                <a:gd name="connsiteX28" fmla="*/ 10375442 w 12386023"/>
                <a:gd name="connsiteY28" fmla="*/ 1618415 h 2510087"/>
                <a:gd name="connsiteX29" fmla="*/ 9868545 w 12386023"/>
                <a:gd name="connsiteY29" fmla="*/ 1058846 h 2510087"/>
                <a:gd name="connsiteX30" fmla="*/ 9393890 w 12386023"/>
                <a:gd name="connsiteY30" fmla="*/ 581165 h 2510087"/>
                <a:gd name="connsiteX31" fmla="*/ 8791091 w 12386023"/>
                <a:gd name="connsiteY31" fmla="*/ 156695 h 2510087"/>
                <a:gd name="connsiteX32" fmla="*/ 7976795 w 12386023"/>
                <a:gd name="connsiteY32" fmla="*/ 105714 h 2510087"/>
                <a:gd name="connsiteX33" fmla="*/ 7390504 w 12386023"/>
                <a:gd name="connsiteY33" fmla="*/ 199189 h 2510087"/>
                <a:gd name="connsiteX34" fmla="*/ 6683417 w 12386023"/>
                <a:gd name="connsiteY34" fmla="*/ 146630 h 2510087"/>
                <a:gd name="connsiteX35" fmla="*/ 6243077 w 12386023"/>
                <a:gd name="connsiteY35" fmla="*/ 249658 h 2510087"/>
                <a:gd name="connsiteX36" fmla="*/ 5523063 w 12386023"/>
                <a:gd name="connsiteY36" fmla="*/ 292664 h 2510087"/>
                <a:gd name="connsiteX37" fmla="*/ 4163355 w 12386023"/>
                <a:gd name="connsiteY37" fmla="*/ 90799 h 2510087"/>
                <a:gd name="connsiteX38" fmla="*/ 2711045 w 12386023"/>
                <a:gd name="connsiteY38" fmla="*/ 156695 h 2510087"/>
                <a:gd name="connsiteX39" fmla="*/ 8714713 w 12386023"/>
                <a:gd name="connsiteY39" fmla="*/ 457545 h 2510087"/>
                <a:gd name="connsiteX40" fmla="*/ 8705072 w 12386023"/>
                <a:gd name="connsiteY40" fmla="*/ 284622 h 2510087"/>
                <a:gd name="connsiteX0" fmla="*/ 8705072 w 12386023"/>
                <a:gd name="connsiteY0" fmla="*/ 215157 h 2440622"/>
                <a:gd name="connsiteX1" fmla="*/ 8742561 w 12386023"/>
                <a:gd name="connsiteY1" fmla="*/ 451663 h 2440622"/>
                <a:gd name="connsiteX2" fmla="*/ 8676628 w 12386023"/>
                <a:gd name="connsiteY2" fmla="*/ 365116 h 2440622"/>
                <a:gd name="connsiteX3" fmla="*/ 8697801 w 12386023"/>
                <a:gd name="connsiteY3" fmla="*/ 521796 h 2440622"/>
                <a:gd name="connsiteX4" fmla="*/ 8652701 w 12386023"/>
                <a:gd name="connsiteY4" fmla="*/ 707796 h 2440622"/>
                <a:gd name="connsiteX5" fmla="*/ 421075 w 12386023"/>
                <a:gd name="connsiteY5" fmla="*/ 867951 h 2440622"/>
                <a:gd name="connsiteX6" fmla="*/ 1277876 w 12386023"/>
                <a:gd name="connsiteY6" fmla="*/ 775508 h 2440622"/>
                <a:gd name="connsiteX7" fmla="*/ 1972735 w 12386023"/>
                <a:gd name="connsiteY7" fmla="*/ 809496 h 2440622"/>
                <a:gd name="connsiteX8" fmla="*/ 2428745 w 12386023"/>
                <a:gd name="connsiteY8" fmla="*/ 750008 h 2440622"/>
                <a:gd name="connsiteX9" fmla="*/ 2906467 w 12386023"/>
                <a:gd name="connsiteY9" fmla="*/ 750008 h 2440622"/>
                <a:gd name="connsiteX10" fmla="*/ 3677336 w 12386023"/>
                <a:gd name="connsiteY10" fmla="*/ 792502 h 2440622"/>
                <a:gd name="connsiteX11" fmla="*/ 4556772 w 12386023"/>
                <a:gd name="connsiteY11" fmla="*/ 775508 h 2440622"/>
                <a:gd name="connsiteX12" fmla="*/ 5186490 w 12386023"/>
                <a:gd name="connsiteY12" fmla="*/ 784014 h 2440622"/>
                <a:gd name="connsiteX13" fmla="*/ 6022500 w 12386023"/>
                <a:gd name="connsiteY13" fmla="*/ 784014 h 2440622"/>
                <a:gd name="connsiteX14" fmla="*/ 7086513 w 12386023"/>
                <a:gd name="connsiteY14" fmla="*/ 809514 h 2440622"/>
                <a:gd name="connsiteX15" fmla="*/ 7835668 w 12386023"/>
                <a:gd name="connsiteY15" fmla="*/ 801008 h 2440622"/>
                <a:gd name="connsiteX16" fmla="*/ 8367663 w 12386023"/>
                <a:gd name="connsiteY16" fmla="*/ 792502 h 2440622"/>
                <a:gd name="connsiteX17" fmla="*/ 8988680 w 12386023"/>
                <a:gd name="connsiteY17" fmla="*/ 1195250 h 2440622"/>
                <a:gd name="connsiteX18" fmla="*/ 9558676 w 12386023"/>
                <a:gd name="connsiteY18" fmla="*/ 2022082 h 2440622"/>
                <a:gd name="connsiteX19" fmla="*/ 10490076 w 12386023"/>
                <a:gd name="connsiteY19" fmla="*/ 2440621 h 2440622"/>
                <a:gd name="connsiteX20" fmla="*/ 11536110 w 12386023"/>
                <a:gd name="connsiteY20" fmla="*/ 2022084 h 2440622"/>
                <a:gd name="connsiteX21" fmla="*/ 11827041 w 12386023"/>
                <a:gd name="connsiteY21" fmla="*/ 1376349 h 2440622"/>
                <a:gd name="connsiteX22" fmla="*/ 12137937 w 12386023"/>
                <a:gd name="connsiteY22" fmla="*/ 930242 h 2440622"/>
                <a:gd name="connsiteX23" fmla="*/ 12386023 w 12386023"/>
                <a:gd name="connsiteY23" fmla="*/ 629928 h 2440622"/>
                <a:gd name="connsiteX24" fmla="*/ 12386023 w 12386023"/>
                <a:gd name="connsiteY24" fmla="*/ 191546 h 2440622"/>
                <a:gd name="connsiteX25" fmla="*/ 11779707 w 12386023"/>
                <a:gd name="connsiteY25" fmla="*/ 366121 h 2440622"/>
                <a:gd name="connsiteX26" fmla="*/ 11399982 w 12386023"/>
                <a:gd name="connsiteY26" fmla="*/ 978006 h 2440622"/>
                <a:gd name="connsiteX27" fmla="*/ 10943237 w 12386023"/>
                <a:gd name="connsiteY27" fmla="*/ 1592167 h 2440622"/>
                <a:gd name="connsiteX28" fmla="*/ 10375442 w 12386023"/>
                <a:gd name="connsiteY28" fmla="*/ 1548950 h 2440622"/>
                <a:gd name="connsiteX29" fmla="*/ 9868545 w 12386023"/>
                <a:gd name="connsiteY29" fmla="*/ 989381 h 2440622"/>
                <a:gd name="connsiteX30" fmla="*/ 9393890 w 12386023"/>
                <a:gd name="connsiteY30" fmla="*/ 511700 h 2440622"/>
                <a:gd name="connsiteX31" fmla="*/ 8791091 w 12386023"/>
                <a:gd name="connsiteY31" fmla="*/ 87230 h 2440622"/>
                <a:gd name="connsiteX32" fmla="*/ 7976795 w 12386023"/>
                <a:gd name="connsiteY32" fmla="*/ 36249 h 2440622"/>
                <a:gd name="connsiteX33" fmla="*/ 7390504 w 12386023"/>
                <a:gd name="connsiteY33" fmla="*/ 129724 h 2440622"/>
                <a:gd name="connsiteX34" fmla="*/ 6683417 w 12386023"/>
                <a:gd name="connsiteY34" fmla="*/ 77165 h 2440622"/>
                <a:gd name="connsiteX35" fmla="*/ 6243077 w 12386023"/>
                <a:gd name="connsiteY35" fmla="*/ 180193 h 2440622"/>
                <a:gd name="connsiteX36" fmla="*/ 5523063 w 12386023"/>
                <a:gd name="connsiteY36" fmla="*/ 223199 h 2440622"/>
                <a:gd name="connsiteX37" fmla="*/ 4163355 w 12386023"/>
                <a:gd name="connsiteY37" fmla="*/ 21334 h 2440622"/>
                <a:gd name="connsiteX38" fmla="*/ 9073222 w 12386023"/>
                <a:gd name="connsiteY38" fmla="*/ 815126 h 2440622"/>
                <a:gd name="connsiteX39" fmla="*/ 8714713 w 12386023"/>
                <a:gd name="connsiteY39" fmla="*/ 388080 h 2440622"/>
                <a:gd name="connsiteX40" fmla="*/ 8705072 w 12386023"/>
                <a:gd name="connsiteY40" fmla="*/ 215157 h 2440622"/>
                <a:gd name="connsiteX0" fmla="*/ 8705072 w 12386023"/>
                <a:gd name="connsiteY0" fmla="*/ 200377 h 2425842"/>
                <a:gd name="connsiteX1" fmla="*/ 8742561 w 12386023"/>
                <a:gd name="connsiteY1" fmla="*/ 436883 h 2425842"/>
                <a:gd name="connsiteX2" fmla="*/ 8676628 w 12386023"/>
                <a:gd name="connsiteY2" fmla="*/ 350336 h 2425842"/>
                <a:gd name="connsiteX3" fmla="*/ 8697801 w 12386023"/>
                <a:gd name="connsiteY3" fmla="*/ 507016 h 2425842"/>
                <a:gd name="connsiteX4" fmla="*/ 8652701 w 12386023"/>
                <a:gd name="connsiteY4" fmla="*/ 693016 h 2425842"/>
                <a:gd name="connsiteX5" fmla="*/ 421075 w 12386023"/>
                <a:gd name="connsiteY5" fmla="*/ 853171 h 2425842"/>
                <a:gd name="connsiteX6" fmla="*/ 1277876 w 12386023"/>
                <a:gd name="connsiteY6" fmla="*/ 760728 h 2425842"/>
                <a:gd name="connsiteX7" fmla="*/ 1972735 w 12386023"/>
                <a:gd name="connsiteY7" fmla="*/ 794716 h 2425842"/>
                <a:gd name="connsiteX8" fmla="*/ 2428745 w 12386023"/>
                <a:gd name="connsiteY8" fmla="*/ 735228 h 2425842"/>
                <a:gd name="connsiteX9" fmla="*/ 2906467 w 12386023"/>
                <a:gd name="connsiteY9" fmla="*/ 735228 h 2425842"/>
                <a:gd name="connsiteX10" fmla="*/ 3677336 w 12386023"/>
                <a:gd name="connsiteY10" fmla="*/ 777722 h 2425842"/>
                <a:gd name="connsiteX11" fmla="*/ 4556772 w 12386023"/>
                <a:gd name="connsiteY11" fmla="*/ 760728 h 2425842"/>
                <a:gd name="connsiteX12" fmla="*/ 5186490 w 12386023"/>
                <a:gd name="connsiteY12" fmla="*/ 769234 h 2425842"/>
                <a:gd name="connsiteX13" fmla="*/ 6022500 w 12386023"/>
                <a:gd name="connsiteY13" fmla="*/ 769234 h 2425842"/>
                <a:gd name="connsiteX14" fmla="*/ 7086513 w 12386023"/>
                <a:gd name="connsiteY14" fmla="*/ 794734 h 2425842"/>
                <a:gd name="connsiteX15" fmla="*/ 7835668 w 12386023"/>
                <a:gd name="connsiteY15" fmla="*/ 786228 h 2425842"/>
                <a:gd name="connsiteX16" fmla="*/ 8367663 w 12386023"/>
                <a:gd name="connsiteY16" fmla="*/ 777722 h 2425842"/>
                <a:gd name="connsiteX17" fmla="*/ 8988680 w 12386023"/>
                <a:gd name="connsiteY17" fmla="*/ 1180470 h 2425842"/>
                <a:gd name="connsiteX18" fmla="*/ 9558676 w 12386023"/>
                <a:gd name="connsiteY18" fmla="*/ 2007302 h 2425842"/>
                <a:gd name="connsiteX19" fmla="*/ 10490076 w 12386023"/>
                <a:gd name="connsiteY19" fmla="*/ 2425841 h 2425842"/>
                <a:gd name="connsiteX20" fmla="*/ 11536110 w 12386023"/>
                <a:gd name="connsiteY20" fmla="*/ 2007304 h 2425842"/>
                <a:gd name="connsiteX21" fmla="*/ 11827041 w 12386023"/>
                <a:gd name="connsiteY21" fmla="*/ 1361569 h 2425842"/>
                <a:gd name="connsiteX22" fmla="*/ 12137937 w 12386023"/>
                <a:gd name="connsiteY22" fmla="*/ 915462 h 2425842"/>
                <a:gd name="connsiteX23" fmla="*/ 12386023 w 12386023"/>
                <a:gd name="connsiteY23" fmla="*/ 615148 h 2425842"/>
                <a:gd name="connsiteX24" fmla="*/ 12386023 w 12386023"/>
                <a:gd name="connsiteY24" fmla="*/ 176766 h 2425842"/>
                <a:gd name="connsiteX25" fmla="*/ 11779707 w 12386023"/>
                <a:gd name="connsiteY25" fmla="*/ 351341 h 2425842"/>
                <a:gd name="connsiteX26" fmla="*/ 11399982 w 12386023"/>
                <a:gd name="connsiteY26" fmla="*/ 963226 h 2425842"/>
                <a:gd name="connsiteX27" fmla="*/ 10943237 w 12386023"/>
                <a:gd name="connsiteY27" fmla="*/ 1577387 h 2425842"/>
                <a:gd name="connsiteX28" fmla="*/ 10375442 w 12386023"/>
                <a:gd name="connsiteY28" fmla="*/ 1534170 h 2425842"/>
                <a:gd name="connsiteX29" fmla="*/ 9868545 w 12386023"/>
                <a:gd name="connsiteY29" fmla="*/ 974601 h 2425842"/>
                <a:gd name="connsiteX30" fmla="*/ 9393890 w 12386023"/>
                <a:gd name="connsiteY30" fmla="*/ 496920 h 2425842"/>
                <a:gd name="connsiteX31" fmla="*/ 8791091 w 12386023"/>
                <a:gd name="connsiteY31" fmla="*/ 72450 h 2425842"/>
                <a:gd name="connsiteX32" fmla="*/ 7976795 w 12386023"/>
                <a:gd name="connsiteY32" fmla="*/ 21469 h 2425842"/>
                <a:gd name="connsiteX33" fmla="*/ 7390504 w 12386023"/>
                <a:gd name="connsiteY33" fmla="*/ 114944 h 2425842"/>
                <a:gd name="connsiteX34" fmla="*/ 6683417 w 12386023"/>
                <a:gd name="connsiteY34" fmla="*/ 62385 h 2425842"/>
                <a:gd name="connsiteX35" fmla="*/ 6243077 w 12386023"/>
                <a:gd name="connsiteY35" fmla="*/ 165413 h 2425842"/>
                <a:gd name="connsiteX36" fmla="*/ 5523063 w 12386023"/>
                <a:gd name="connsiteY36" fmla="*/ 208419 h 2425842"/>
                <a:gd name="connsiteX37" fmla="*/ 8892001 w 12386023"/>
                <a:gd name="connsiteY37" fmla="*/ 497882 h 2425842"/>
                <a:gd name="connsiteX38" fmla="*/ 9073222 w 12386023"/>
                <a:gd name="connsiteY38" fmla="*/ 800346 h 2425842"/>
                <a:gd name="connsiteX39" fmla="*/ 8714713 w 12386023"/>
                <a:gd name="connsiteY39" fmla="*/ 373300 h 2425842"/>
                <a:gd name="connsiteX40" fmla="*/ 8705072 w 12386023"/>
                <a:gd name="connsiteY40" fmla="*/ 200377 h 2425842"/>
                <a:gd name="connsiteX0" fmla="*/ 8705072 w 12386023"/>
                <a:gd name="connsiteY0" fmla="*/ 200377 h 2425842"/>
                <a:gd name="connsiteX1" fmla="*/ 8742561 w 12386023"/>
                <a:gd name="connsiteY1" fmla="*/ 436883 h 2425842"/>
                <a:gd name="connsiteX2" fmla="*/ 8676628 w 12386023"/>
                <a:gd name="connsiteY2" fmla="*/ 350336 h 2425842"/>
                <a:gd name="connsiteX3" fmla="*/ 8697801 w 12386023"/>
                <a:gd name="connsiteY3" fmla="*/ 507016 h 2425842"/>
                <a:gd name="connsiteX4" fmla="*/ 8652701 w 12386023"/>
                <a:gd name="connsiteY4" fmla="*/ 693016 h 2425842"/>
                <a:gd name="connsiteX5" fmla="*/ 421075 w 12386023"/>
                <a:gd name="connsiteY5" fmla="*/ 853171 h 2425842"/>
                <a:gd name="connsiteX6" fmla="*/ 1277876 w 12386023"/>
                <a:gd name="connsiteY6" fmla="*/ 760728 h 2425842"/>
                <a:gd name="connsiteX7" fmla="*/ 1972735 w 12386023"/>
                <a:gd name="connsiteY7" fmla="*/ 794716 h 2425842"/>
                <a:gd name="connsiteX8" fmla="*/ 2428745 w 12386023"/>
                <a:gd name="connsiteY8" fmla="*/ 735228 h 2425842"/>
                <a:gd name="connsiteX9" fmla="*/ 2906467 w 12386023"/>
                <a:gd name="connsiteY9" fmla="*/ 735228 h 2425842"/>
                <a:gd name="connsiteX10" fmla="*/ 3677336 w 12386023"/>
                <a:gd name="connsiteY10" fmla="*/ 777722 h 2425842"/>
                <a:gd name="connsiteX11" fmla="*/ 4556772 w 12386023"/>
                <a:gd name="connsiteY11" fmla="*/ 760728 h 2425842"/>
                <a:gd name="connsiteX12" fmla="*/ 5186490 w 12386023"/>
                <a:gd name="connsiteY12" fmla="*/ 769234 h 2425842"/>
                <a:gd name="connsiteX13" fmla="*/ 6022500 w 12386023"/>
                <a:gd name="connsiteY13" fmla="*/ 769234 h 2425842"/>
                <a:gd name="connsiteX14" fmla="*/ 7086513 w 12386023"/>
                <a:gd name="connsiteY14" fmla="*/ 794734 h 2425842"/>
                <a:gd name="connsiteX15" fmla="*/ 7835668 w 12386023"/>
                <a:gd name="connsiteY15" fmla="*/ 786228 h 2425842"/>
                <a:gd name="connsiteX16" fmla="*/ 8367663 w 12386023"/>
                <a:gd name="connsiteY16" fmla="*/ 777722 h 2425842"/>
                <a:gd name="connsiteX17" fmla="*/ 8988680 w 12386023"/>
                <a:gd name="connsiteY17" fmla="*/ 1180470 h 2425842"/>
                <a:gd name="connsiteX18" fmla="*/ 9558676 w 12386023"/>
                <a:gd name="connsiteY18" fmla="*/ 2007302 h 2425842"/>
                <a:gd name="connsiteX19" fmla="*/ 10490076 w 12386023"/>
                <a:gd name="connsiteY19" fmla="*/ 2425841 h 2425842"/>
                <a:gd name="connsiteX20" fmla="*/ 11536110 w 12386023"/>
                <a:gd name="connsiteY20" fmla="*/ 2007304 h 2425842"/>
                <a:gd name="connsiteX21" fmla="*/ 11827041 w 12386023"/>
                <a:gd name="connsiteY21" fmla="*/ 1361569 h 2425842"/>
                <a:gd name="connsiteX22" fmla="*/ 12137937 w 12386023"/>
                <a:gd name="connsiteY22" fmla="*/ 915462 h 2425842"/>
                <a:gd name="connsiteX23" fmla="*/ 12386023 w 12386023"/>
                <a:gd name="connsiteY23" fmla="*/ 615148 h 2425842"/>
                <a:gd name="connsiteX24" fmla="*/ 12386023 w 12386023"/>
                <a:gd name="connsiteY24" fmla="*/ 176766 h 2425842"/>
                <a:gd name="connsiteX25" fmla="*/ 11779707 w 12386023"/>
                <a:gd name="connsiteY25" fmla="*/ 351341 h 2425842"/>
                <a:gd name="connsiteX26" fmla="*/ 11399982 w 12386023"/>
                <a:gd name="connsiteY26" fmla="*/ 963226 h 2425842"/>
                <a:gd name="connsiteX27" fmla="*/ 10943237 w 12386023"/>
                <a:gd name="connsiteY27" fmla="*/ 1577387 h 2425842"/>
                <a:gd name="connsiteX28" fmla="*/ 10375442 w 12386023"/>
                <a:gd name="connsiteY28" fmla="*/ 1534170 h 2425842"/>
                <a:gd name="connsiteX29" fmla="*/ 9868545 w 12386023"/>
                <a:gd name="connsiteY29" fmla="*/ 974601 h 2425842"/>
                <a:gd name="connsiteX30" fmla="*/ 9393890 w 12386023"/>
                <a:gd name="connsiteY30" fmla="*/ 496920 h 2425842"/>
                <a:gd name="connsiteX31" fmla="*/ 8791091 w 12386023"/>
                <a:gd name="connsiteY31" fmla="*/ 72450 h 2425842"/>
                <a:gd name="connsiteX32" fmla="*/ 7976795 w 12386023"/>
                <a:gd name="connsiteY32" fmla="*/ 21469 h 2425842"/>
                <a:gd name="connsiteX33" fmla="*/ 7390504 w 12386023"/>
                <a:gd name="connsiteY33" fmla="*/ 114944 h 2425842"/>
                <a:gd name="connsiteX34" fmla="*/ 6683417 w 12386023"/>
                <a:gd name="connsiteY34" fmla="*/ 62385 h 2425842"/>
                <a:gd name="connsiteX35" fmla="*/ 6243077 w 12386023"/>
                <a:gd name="connsiteY35" fmla="*/ 165413 h 2425842"/>
                <a:gd name="connsiteX36" fmla="*/ 9248668 w 12386023"/>
                <a:gd name="connsiteY36" fmla="*/ 535967 h 2425842"/>
                <a:gd name="connsiteX37" fmla="*/ 8892001 w 12386023"/>
                <a:gd name="connsiteY37" fmla="*/ 497882 h 2425842"/>
                <a:gd name="connsiteX38" fmla="*/ 9073222 w 12386023"/>
                <a:gd name="connsiteY38" fmla="*/ 800346 h 2425842"/>
                <a:gd name="connsiteX39" fmla="*/ 8714713 w 12386023"/>
                <a:gd name="connsiteY39" fmla="*/ 373300 h 2425842"/>
                <a:gd name="connsiteX40" fmla="*/ 8705072 w 12386023"/>
                <a:gd name="connsiteY40" fmla="*/ 200377 h 2425842"/>
                <a:gd name="connsiteX0" fmla="*/ 8705072 w 12386023"/>
                <a:gd name="connsiteY0" fmla="*/ 148058 h 2373523"/>
                <a:gd name="connsiteX1" fmla="*/ 8742561 w 12386023"/>
                <a:gd name="connsiteY1" fmla="*/ 384564 h 2373523"/>
                <a:gd name="connsiteX2" fmla="*/ 8676628 w 12386023"/>
                <a:gd name="connsiteY2" fmla="*/ 298017 h 2373523"/>
                <a:gd name="connsiteX3" fmla="*/ 8697801 w 12386023"/>
                <a:gd name="connsiteY3" fmla="*/ 454697 h 2373523"/>
                <a:gd name="connsiteX4" fmla="*/ 8652701 w 12386023"/>
                <a:gd name="connsiteY4" fmla="*/ 640697 h 2373523"/>
                <a:gd name="connsiteX5" fmla="*/ 421075 w 12386023"/>
                <a:gd name="connsiteY5" fmla="*/ 800852 h 2373523"/>
                <a:gd name="connsiteX6" fmla="*/ 1277876 w 12386023"/>
                <a:gd name="connsiteY6" fmla="*/ 708409 h 2373523"/>
                <a:gd name="connsiteX7" fmla="*/ 1972735 w 12386023"/>
                <a:gd name="connsiteY7" fmla="*/ 742397 h 2373523"/>
                <a:gd name="connsiteX8" fmla="*/ 2428745 w 12386023"/>
                <a:gd name="connsiteY8" fmla="*/ 682909 h 2373523"/>
                <a:gd name="connsiteX9" fmla="*/ 2906467 w 12386023"/>
                <a:gd name="connsiteY9" fmla="*/ 682909 h 2373523"/>
                <a:gd name="connsiteX10" fmla="*/ 3677336 w 12386023"/>
                <a:gd name="connsiteY10" fmla="*/ 725403 h 2373523"/>
                <a:gd name="connsiteX11" fmla="*/ 4556772 w 12386023"/>
                <a:gd name="connsiteY11" fmla="*/ 708409 h 2373523"/>
                <a:gd name="connsiteX12" fmla="*/ 5186490 w 12386023"/>
                <a:gd name="connsiteY12" fmla="*/ 716915 h 2373523"/>
                <a:gd name="connsiteX13" fmla="*/ 6022500 w 12386023"/>
                <a:gd name="connsiteY13" fmla="*/ 716915 h 2373523"/>
                <a:gd name="connsiteX14" fmla="*/ 7086513 w 12386023"/>
                <a:gd name="connsiteY14" fmla="*/ 742415 h 2373523"/>
                <a:gd name="connsiteX15" fmla="*/ 7835668 w 12386023"/>
                <a:gd name="connsiteY15" fmla="*/ 733909 h 2373523"/>
                <a:gd name="connsiteX16" fmla="*/ 8367663 w 12386023"/>
                <a:gd name="connsiteY16" fmla="*/ 725403 h 2373523"/>
                <a:gd name="connsiteX17" fmla="*/ 8988680 w 12386023"/>
                <a:gd name="connsiteY17" fmla="*/ 1128151 h 2373523"/>
                <a:gd name="connsiteX18" fmla="*/ 9558676 w 12386023"/>
                <a:gd name="connsiteY18" fmla="*/ 1954983 h 2373523"/>
                <a:gd name="connsiteX19" fmla="*/ 10490076 w 12386023"/>
                <a:gd name="connsiteY19" fmla="*/ 2373522 h 2373523"/>
                <a:gd name="connsiteX20" fmla="*/ 11536110 w 12386023"/>
                <a:gd name="connsiteY20" fmla="*/ 1954985 h 2373523"/>
                <a:gd name="connsiteX21" fmla="*/ 11827041 w 12386023"/>
                <a:gd name="connsiteY21" fmla="*/ 1309250 h 2373523"/>
                <a:gd name="connsiteX22" fmla="*/ 12137937 w 12386023"/>
                <a:gd name="connsiteY22" fmla="*/ 863143 h 2373523"/>
                <a:gd name="connsiteX23" fmla="*/ 12386023 w 12386023"/>
                <a:gd name="connsiteY23" fmla="*/ 562829 h 2373523"/>
                <a:gd name="connsiteX24" fmla="*/ 12386023 w 12386023"/>
                <a:gd name="connsiteY24" fmla="*/ 124447 h 2373523"/>
                <a:gd name="connsiteX25" fmla="*/ 11779707 w 12386023"/>
                <a:gd name="connsiteY25" fmla="*/ 299022 h 2373523"/>
                <a:gd name="connsiteX26" fmla="*/ 11399982 w 12386023"/>
                <a:gd name="connsiteY26" fmla="*/ 910907 h 2373523"/>
                <a:gd name="connsiteX27" fmla="*/ 10943237 w 12386023"/>
                <a:gd name="connsiteY27" fmla="*/ 1525068 h 2373523"/>
                <a:gd name="connsiteX28" fmla="*/ 10375442 w 12386023"/>
                <a:gd name="connsiteY28" fmla="*/ 1481851 h 2373523"/>
                <a:gd name="connsiteX29" fmla="*/ 9868545 w 12386023"/>
                <a:gd name="connsiteY29" fmla="*/ 922282 h 2373523"/>
                <a:gd name="connsiteX30" fmla="*/ 9393890 w 12386023"/>
                <a:gd name="connsiteY30" fmla="*/ 444601 h 2373523"/>
                <a:gd name="connsiteX31" fmla="*/ 8791091 w 12386023"/>
                <a:gd name="connsiteY31" fmla="*/ 20131 h 2373523"/>
                <a:gd name="connsiteX32" fmla="*/ 7390504 w 12386023"/>
                <a:gd name="connsiteY32" fmla="*/ 62625 h 2373523"/>
                <a:gd name="connsiteX33" fmla="*/ 6683417 w 12386023"/>
                <a:gd name="connsiteY33" fmla="*/ 10066 h 2373523"/>
                <a:gd name="connsiteX34" fmla="*/ 6243077 w 12386023"/>
                <a:gd name="connsiteY34" fmla="*/ 113094 h 2373523"/>
                <a:gd name="connsiteX35" fmla="*/ 9248668 w 12386023"/>
                <a:gd name="connsiteY35" fmla="*/ 483648 h 2373523"/>
                <a:gd name="connsiteX36" fmla="*/ 8892001 w 12386023"/>
                <a:gd name="connsiteY36" fmla="*/ 445563 h 2373523"/>
                <a:gd name="connsiteX37" fmla="*/ 9073222 w 12386023"/>
                <a:gd name="connsiteY37" fmla="*/ 748027 h 2373523"/>
                <a:gd name="connsiteX38" fmla="*/ 8714713 w 12386023"/>
                <a:gd name="connsiteY38" fmla="*/ 320981 h 2373523"/>
                <a:gd name="connsiteX39" fmla="*/ 8705072 w 12386023"/>
                <a:gd name="connsiteY39" fmla="*/ 148058 h 2373523"/>
                <a:gd name="connsiteX0" fmla="*/ 8705072 w 12386023"/>
                <a:gd name="connsiteY0" fmla="*/ 148058 h 2373523"/>
                <a:gd name="connsiteX1" fmla="*/ 8742561 w 12386023"/>
                <a:gd name="connsiteY1" fmla="*/ 384564 h 2373523"/>
                <a:gd name="connsiteX2" fmla="*/ 8676628 w 12386023"/>
                <a:gd name="connsiteY2" fmla="*/ 298017 h 2373523"/>
                <a:gd name="connsiteX3" fmla="*/ 8697801 w 12386023"/>
                <a:gd name="connsiteY3" fmla="*/ 454697 h 2373523"/>
                <a:gd name="connsiteX4" fmla="*/ 8652701 w 12386023"/>
                <a:gd name="connsiteY4" fmla="*/ 640697 h 2373523"/>
                <a:gd name="connsiteX5" fmla="*/ 421075 w 12386023"/>
                <a:gd name="connsiteY5" fmla="*/ 800852 h 2373523"/>
                <a:gd name="connsiteX6" fmla="*/ 1277876 w 12386023"/>
                <a:gd name="connsiteY6" fmla="*/ 708409 h 2373523"/>
                <a:gd name="connsiteX7" fmla="*/ 1972735 w 12386023"/>
                <a:gd name="connsiteY7" fmla="*/ 742397 h 2373523"/>
                <a:gd name="connsiteX8" fmla="*/ 2428745 w 12386023"/>
                <a:gd name="connsiteY8" fmla="*/ 682909 h 2373523"/>
                <a:gd name="connsiteX9" fmla="*/ 2906467 w 12386023"/>
                <a:gd name="connsiteY9" fmla="*/ 682909 h 2373523"/>
                <a:gd name="connsiteX10" fmla="*/ 3677336 w 12386023"/>
                <a:gd name="connsiteY10" fmla="*/ 725403 h 2373523"/>
                <a:gd name="connsiteX11" fmla="*/ 4556772 w 12386023"/>
                <a:gd name="connsiteY11" fmla="*/ 708409 h 2373523"/>
                <a:gd name="connsiteX12" fmla="*/ 5186490 w 12386023"/>
                <a:gd name="connsiteY12" fmla="*/ 716915 h 2373523"/>
                <a:gd name="connsiteX13" fmla="*/ 6022500 w 12386023"/>
                <a:gd name="connsiteY13" fmla="*/ 716915 h 2373523"/>
                <a:gd name="connsiteX14" fmla="*/ 7086513 w 12386023"/>
                <a:gd name="connsiteY14" fmla="*/ 742415 h 2373523"/>
                <a:gd name="connsiteX15" fmla="*/ 7835668 w 12386023"/>
                <a:gd name="connsiteY15" fmla="*/ 733909 h 2373523"/>
                <a:gd name="connsiteX16" fmla="*/ 8367663 w 12386023"/>
                <a:gd name="connsiteY16" fmla="*/ 725403 h 2373523"/>
                <a:gd name="connsiteX17" fmla="*/ 8988680 w 12386023"/>
                <a:gd name="connsiteY17" fmla="*/ 1128151 h 2373523"/>
                <a:gd name="connsiteX18" fmla="*/ 9558676 w 12386023"/>
                <a:gd name="connsiteY18" fmla="*/ 1954983 h 2373523"/>
                <a:gd name="connsiteX19" fmla="*/ 10490076 w 12386023"/>
                <a:gd name="connsiteY19" fmla="*/ 2373522 h 2373523"/>
                <a:gd name="connsiteX20" fmla="*/ 11536110 w 12386023"/>
                <a:gd name="connsiteY20" fmla="*/ 1954985 h 2373523"/>
                <a:gd name="connsiteX21" fmla="*/ 11827041 w 12386023"/>
                <a:gd name="connsiteY21" fmla="*/ 1309250 h 2373523"/>
                <a:gd name="connsiteX22" fmla="*/ 12137937 w 12386023"/>
                <a:gd name="connsiteY22" fmla="*/ 863143 h 2373523"/>
                <a:gd name="connsiteX23" fmla="*/ 12386023 w 12386023"/>
                <a:gd name="connsiteY23" fmla="*/ 562829 h 2373523"/>
                <a:gd name="connsiteX24" fmla="*/ 12386023 w 12386023"/>
                <a:gd name="connsiteY24" fmla="*/ 124447 h 2373523"/>
                <a:gd name="connsiteX25" fmla="*/ 11779707 w 12386023"/>
                <a:gd name="connsiteY25" fmla="*/ 299022 h 2373523"/>
                <a:gd name="connsiteX26" fmla="*/ 11399982 w 12386023"/>
                <a:gd name="connsiteY26" fmla="*/ 910907 h 2373523"/>
                <a:gd name="connsiteX27" fmla="*/ 10943237 w 12386023"/>
                <a:gd name="connsiteY27" fmla="*/ 1525068 h 2373523"/>
                <a:gd name="connsiteX28" fmla="*/ 10375442 w 12386023"/>
                <a:gd name="connsiteY28" fmla="*/ 1481851 h 2373523"/>
                <a:gd name="connsiteX29" fmla="*/ 9868545 w 12386023"/>
                <a:gd name="connsiteY29" fmla="*/ 922282 h 2373523"/>
                <a:gd name="connsiteX30" fmla="*/ 9393890 w 12386023"/>
                <a:gd name="connsiteY30" fmla="*/ 444601 h 2373523"/>
                <a:gd name="connsiteX31" fmla="*/ 8791091 w 12386023"/>
                <a:gd name="connsiteY31" fmla="*/ 20131 h 2373523"/>
                <a:gd name="connsiteX32" fmla="*/ 7390504 w 12386023"/>
                <a:gd name="connsiteY32" fmla="*/ 62625 h 2373523"/>
                <a:gd name="connsiteX33" fmla="*/ 6243077 w 12386023"/>
                <a:gd name="connsiteY33" fmla="*/ 113094 h 2373523"/>
                <a:gd name="connsiteX34" fmla="*/ 9248668 w 12386023"/>
                <a:gd name="connsiteY34" fmla="*/ 483648 h 2373523"/>
                <a:gd name="connsiteX35" fmla="*/ 8892001 w 12386023"/>
                <a:gd name="connsiteY35" fmla="*/ 445563 h 2373523"/>
                <a:gd name="connsiteX36" fmla="*/ 9073222 w 12386023"/>
                <a:gd name="connsiteY36" fmla="*/ 748027 h 2373523"/>
                <a:gd name="connsiteX37" fmla="*/ 8714713 w 12386023"/>
                <a:gd name="connsiteY37" fmla="*/ 320981 h 2373523"/>
                <a:gd name="connsiteX38" fmla="*/ 8705072 w 12386023"/>
                <a:gd name="connsiteY38" fmla="*/ 148058 h 2373523"/>
                <a:gd name="connsiteX0" fmla="*/ 8705072 w 12386023"/>
                <a:gd name="connsiteY0" fmla="*/ 148058 h 2373523"/>
                <a:gd name="connsiteX1" fmla="*/ 8742561 w 12386023"/>
                <a:gd name="connsiteY1" fmla="*/ 384564 h 2373523"/>
                <a:gd name="connsiteX2" fmla="*/ 8676628 w 12386023"/>
                <a:gd name="connsiteY2" fmla="*/ 298017 h 2373523"/>
                <a:gd name="connsiteX3" fmla="*/ 8697801 w 12386023"/>
                <a:gd name="connsiteY3" fmla="*/ 454697 h 2373523"/>
                <a:gd name="connsiteX4" fmla="*/ 8652701 w 12386023"/>
                <a:gd name="connsiteY4" fmla="*/ 640697 h 2373523"/>
                <a:gd name="connsiteX5" fmla="*/ 421075 w 12386023"/>
                <a:gd name="connsiteY5" fmla="*/ 800852 h 2373523"/>
                <a:gd name="connsiteX6" fmla="*/ 1277876 w 12386023"/>
                <a:gd name="connsiteY6" fmla="*/ 708409 h 2373523"/>
                <a:gd name="connsiteX7" fmla="*/ 1972735 w 12386023"/>
                <a:gd name="connsiteY7" fmla="*/ 742397 h 2373523"/>
                <a:gd name="connsiteX8" fmla="*/ 2428745 w 12386023"/>
                <a:gd name="connsiteY8" fmla="*/ 682909 h 2373523"/>
                <a:gd name="connsiteX9" fmla="*/ 2906467 w 12386023"/>
                <a:gd name="connsiteY9" fmla="*/ 682909 h 2373523"/>
                <a:gd name="connsiteX10" fmla="*/ 3677336 w 12386023"/>
                <a:gd name="connsiteY10" fmla="*/ 725403 h 2373523"/>
                <a:gd name="connsiteX11" fmla="*/ 4556772 w 12386023"/>
                <a:gd name="connsiteY11" fmla="*/ 708409 h 2373523"/>
                <a:gd name="connsiteX12" fmla="*/ 5186490 w 12386023"/>
                <a:gd name="connsiteY12" fmla="*/ 716915 h 2373523"/>
                <a:gd name="connsiteX13" fmla="*/ 6022500 w 12386023"/>
                <a:gd name="connsiteY13" fmla="*/ 716915 h 2373523"/>
                <a:gd name="connsiteX14" fmla="*/ 7086513 w 12386023"/>
                <a:gd name="connsiteY14" fmla="*/ 742415 h 2373523"/>
                <a:gd name="connsiteX15" fmla="*/ 7835668 w 12386023"/>
                <a:gd name="connsiteY15" fmla="*/ 733909 h 2373523"/>
                <a:gd name="connsiteX16" fmla="*/ 8367663 w 12386023"/>
                <a:gd name="connsiteY16" fmla="*/ 725403 h 2373523"/>
                <a:gd name="connsiteX17" fmla="*/ 8988680 w 12386023"/>
                <a:gd name="connsiteY17" fmla="*/ 1128151 h 2373523"/>
                <a:gd name="connsiteX18" fmla="*/ 9558676 w 12386023"/>
                <a:gd name="connsiteY18" fmla="*/ 1954983 h 2373523"/>
                <a:gd name="connsiteX19" fmla="*/ 10490076 w 12386023"/>
                <a:gd name="connsiteY19" fmla="*/ 2373522 h 2373523"/>
                <a:gd name="connsiteX20" fmla="*/ 11536110 w 12386023"/>
                <a:gd name="connsiteY20" fmla="*/ 1954985 h 2373523"/>
                <a:gd name="connsiteX21" fmla="*/ 11827041 w 12386023"/>
                <a:gd name="connsiteY21" fmla="*/ 1309250 h 2373523"/>
                <a:gd name="connsiteX22" fmla="*/ 12137937 w 12386023"/>
                <a:gd name="connsiteY22" fmla="*/ 863143 h 2373523"/>
                <a:gd name="connsiteX23" fmla="*/ 12386023 w 12386023"/>
                <a:gd name="connsiteY23" fmla="*/ 562829 h 2373523"/>
                <a:gd name="connsiteX24" fmla="*/ 12386023 w 12386023"/>
                <a:gd name="connsiteY24" fmla="*/ 124447 h 2373523"/>
                <a:gd name="connsiteX25" fmla="*/ 11779707 w 12386023"/>
                <a:gd name="connsiteY25" fmla="*/ 299022 h 2373523"/>
                <a:gd name="connsiteX26" fmla="*/ 11399982 w 12386023"/>
                <a:gd name="connsiteY26" fmla="*/ 910907 h 2373523"/>
                <a:gd name="connsiteX27" fmla="*/ 10943237 w 12386023"/>
                <a:gd name="connsiteY27" fmla="*/ 1525068 h 2373523"/>
                <a:gd name="connsiteX28" fmla="*/ 10375442 w 12386023"/>
                <a:gd name="connsiteY28" fmla="*/ 1481851 h 2373523"/>
                <a:gd name="connsiteX29" fmla="*/ 9868545 w 12386023"/>
                <a:gd name="connsiteY29" fmla="*/ 922282 h 2373523"/>
                <a:gd name="connsiteX30" fmla="*/ 9393890 w 12386023"/>
                <a:gd name="connsiteY30" fmla="*/ 444601 h 2373523"/>
                <a:gd name="connsiteX31" fmla="*/ 8791091 w 12386023"/>
                <a:gd name="connsiteY31" fmla="*/ 20131 h 2373523"/>
                <a:gd name="connsiteX32" fmla="*/ 7390504 w 12386023"/>
                <a:gd name="connsiteY32" fmla="*/ 62625 h 2373523"/>
                <a:gd name="connsiteX33" fmla="*/ 9248668 w 12386023"/>
                <a:gd name="connsiteY33" fmla="*/ 483648 h 2373523"/>
                <a:gd name="connsiteX34" fmla="*/ 8892001 w 12386023"/>
                <a:gd name="connsiteY34" fmla="*/ 445563 h 2373523"/>
                <a:gd name="connsiteX35" fmla="*/ 9073222 w 12386023"/>
                <a:gd name="connsiteY35" fmla="*/ 748027 h 2373523"/>
                <a:gd name="connsiteX36" fmla="*/ 8714713 w 12386023"/>
                <a:gd name="connsiteY36" fmla="*/ 320981 h 2373523"/>
                <a:gd name="connsiteX37" fmla="*/ 8705072 w 12386023"/>
                <a:gd name="connsiteY37" fmla="*/ 148058 h 2373523"/>
                <a:gd name="connsiteX0" fmla="*/ 8705072 w 12386023"/>
                <a:gd name="connsiteY0" fmla="*/ 148058 h 2373523"/>
                <a:gd name="connsiteX1" fmla="*/ 8742561 w 12386023"/>
                <a:gd name="connsiteY1" fmla="*/ 384564 h 2373523"/>
                <a:gd name="connsiteX2" fmla="*/ 8676628 w 12386023"/>
                <a:gd name="connsiteY2" fmla="*/ 298017 h 2373523"/>
                <a:gd name="connsiteX3" fmla="*/ 8697801 w 12386023"/>
                <a:gd name="connsiteY3" fmla="*/ 454697 h 2373523"/>
                <a:gd name="connsiteX4" fmla="*/ 8652701 w 12386023"/>
                <a:gd name="connsiteY4" fmla="*/ 640697 h 2373523"/>
                <a:gd name="connsiteX5" fmla="*/ 421075 w 12386023"/>
                <a:gd name="connsiteY5" fmla="*/ 800852 h 2373523"/>
                <a:gd name="connsiteX6" fmla="*/ 1277876 w 12386023"/>
                <a:gd name="connsiteY6" fmla="*/ 708409 h 2373523"/>
                <a:gd name="connsiteX7" fmla="*/ 1972735 w 12386023"/>
                <a:gd name="connsiteY7" fmla="*/ 742397 h 2373523"/>
                <a:gd name="connsiteX8" fmla="*/ 2428745 w 12386023"/>
                <a:gd name="connsiteY8" fmla="*/ 682909 h 2373523"/>
                <a:gd name="connsiteX9" fmla="*/ 2906467 w 12386023"/>
                <a:gd name="connsiteY9" fmla="*/ 682909 h 2373523"/>
                <a:gd name="connsiteX10" fmla="*/ 3677336 w 12386023"/>
                <a:gd name="connsiteY10" fmla="*/ 725403 h 2373523"/>
                <a:gd name="connsiteX11" fmla="*/ 4556772 w 12386023"/>
                <a:gd name="connsiteY11" fmla="*/ 708409 h 2373523"/>
                <a:gd name="connsiteX12" fmla="*/ 5186490 w 12386023"/>
                <a:gd name="connsiteY12" fmla="*/ 716915 h 2373523"/>
                <a:gd name="connsiteX13" fmla="*/ 6022500 w 12386023"/>
                <a:gd name="connsiteY13" fmla="*/ 716915 h 2373523"/>
                <a:gd name="connsiteX14" fmla="*/ 7086513 w 12386023"/>
                <a:gd name="connsiteY14" fmla="*/ 742415 h 2373523"/>
                <a:gd name="connsiteX15" fmla="*/ 7835668 w 12386023"/>
                <a:gd name="connsiteY15" fmla="*/ 733909 h 2373523"/>
                <a:gd name="connsiteX16" fmla="*/ 8367663 w 12386023"/>
                <a:gd name="connsiteY16" fmla="*/ 725403 h 2373523"/>
                <a:gd name="connsiteX17" fmla="*/ 8988680 w 12386023"/>
                <a:gd name="connsiteY17" fmla="*/ 1128151 h 2373523"/>
                <a:gd name="connsiteX18" fmla="*/ 9558676 w 12386023"/>
                <a:gd name="connsiteY18" fmla="*/ 1954983 h 2373523"/>
                <a:gd name="connsiteX19" fmla="*/ 10490076 w 12386023"/>
                <a:gd name="connsiteY19" fmla="*/ 2373522 h 2373523"/>
                <a:gd name="connsiteX20" fmla="*/ 11536110 w 12386023"/>
                <a:gd name="connsiteY20" fmla="*/ 1954985 h 2373523"/>
                <a:gd name="connsiteX21" fmla="*/ 11827041 w 12386023"/>
                <a:gd name="connsiteY21" fmla="*/ 1309250 h 2373523"/>
                <a:gd name="connsiteX22" fmla="*/ 12137937 w 12386023"/>
                <a:gd name="connsiteY22" fmla="*/ 863143 h 2373523"/>
                <a:gd name="connsiteX23" fmla="*/ 12386023 w 12386023"/>
                <a:gd name="connsiteY23" fmla="*/ 562829 h 2373523"/>
                <a:gd name="connsiteX24" fmla="*/ 12386023 w 12386023"/>
                <a:gd name="connsiteY24" fmla="*/ 124447 h 2373523"/>
                <a:gd name="connsiteX25" fmla="*/ 11779707 w 12386023"/>
                <a:gd name="connsiteY25" fmla="*/ 299022 h 2373523"/>
                <a:gd name="connsiteX26" fmla="*/ 11399982 w 12386023"/>
                <a:gd name="connsiteY26" fmla="*/ 910907 h 2373523"/>
                <a:gd name="connsiteX27" fmla="*/ 10943237 w 12386023"/>
                <a:gd name="connsiteY27" fmla="*/ 1525068 h 2373523"/>
                <a:gd name="connsiteX28" fmla="*/ 10375442 w 12386023"/>
                <a:gd name="connsiteY28" fmla="*/ 1481851 h 2373523"/>
                <a:gd name="connsiteX29" fmla="*/ 9868545 w 12386023"/>
                <a:gd name="connsiteY29" fmla="*/ 922282 h 2373523"/>
                <a:gd name="connsiteX30" fmla="*/ 9393890 w 12386023"/>
                <a:gd name="connsiteY30" fmla="*/ 444601 h 2373523"/>
                <a:gd name="connsiteX31" fmla="*/ 8791091 w 12386023"/>
                <a:gd name="connsiteY31" fmla="*/ 20131 h 2373523"/>
                <a:gd name="connsiteX32" fmla="*/ 7390504 w 12386023"/>
                <a:gd name="connsiteY32" fmla="*/ 62625 h 2373523"/>
                <a:gd name="connsiteX33" fmla="*/ 9248668 w 12386023"/>
                <a:gd name="connsiteY33" fmla="*/ 483648 h 2373523"/>
                <a:gd name="connsiteX34" fmla="*/ 8892001 w 12386023"/>
                <a:gd name="connsiteY34" fmla="*/ 445563 h 2373523"/>
                <a:gd name="connsiteX35" fmla="*/ 9073222 w 12386023"/>
                <a:gd name="connsiteY35" fmla="*/ 748027 h 2373523"/>
                <a:gd name="connsiteX36" fmla="*/ 8705072 w 12386023"/>
                <a:gd name="connsiteY36" fmla="*/ 148058 h 2373523"/>
                <a:gd name="connsiteX0" fmla="*/ 8705072 w 12386023"/>
                <a:gd name="connsiteY0" fmla="*/ 148058 h 2373523"/>
                <a:gd name="connsiteX1" fmla="*/ 8742561 w 12386023"/>
                <a:gd name="connsiteY1" fmla="*/ 384564 h 2373523"/>
                <a:gd name="connsiteX2" fmla="*/ 8697801 w 12386023"/>
                <a:gd name="connsiteY2" fmla="*/ 454697 h 2373523"/>
                <a:gd name="connsiteX3" fmla="*/ 8652701 w 12386023"/>
                <a:gd name="connsiteY3" fmla="*/ 640697 h 2373523"/>
                <a:gd name="connsiteX4" fmla="*/ 421075 w 12386023"/>
                <a:gd name="connsiteY4" fmla="*/ 800852 h 2373523"/>
                <a:gd name="connsiteX5" fmla="*/ 1277876 w 12386023"/>
                <a:gd name="connsiteY5" fmla="*/ 708409 h 2373523"/>
                <a:gd name="connsiteX6" fmla="*/ 1972735 w 12386023"/>
                <a:gd name="connsiteY6" fmla="*/ 742397 h 2373523"/>
                <a:gd name="connsiteX7" fmla="*/ 2428745 w 12386023"/>
                <a:gd name="connsiteY7" fmla="*/ 682909 h 2373523"/>
                <a:gd name="connsiteX8" fmla="*/ 2906467 w 12386023"/>
                <a:gd name="connsiteY8" fmla="*/ 682909 h 2373523"/>
                <a:gd name="connsiteX9" fmla="*/ 3677336 w 12386023"/>
                <a:gd name="connsiteY9" fmla="*/ 725403 h 2373523"/>
                <a:gd name="connsiteX10" fmla="*/ 4556772 w 12386023"/>
                <a:gd name="connsiteY10" fmla="*/ 708409 h 2373523"/>
                <a:gd name="connsiteX11" fmla="*/ 5186490 w 12386023"/>
                <a:gd name="connsiteY11" fmla="*/ 716915 h 2373523"/>
                <a:gd name="connsiteX12" fmla="*/ 6022500 w 12386023"/>
                <a:gd name="connsiteY12" fmla="*/ 716915 h 2373523"/>
                <a:gd name="connsiteX13" fmla="*/ 7086513 w 12386023"/>
                <a:gd name="connsiteY13" fmla="*/ 742415 h 2373523"/>
                <a:gd name="connsiteX14" fmla="*/ 7835668 w 12386023"/>
                <a:gd name="connsiteY14" fmla="*/ 733909 h 2373523"/>
                <a:gd name="connsiteX15" fmla="*/ 8367663 w 12386023"/>
                <a:gd name="connsiteY15" fmla="*/ 725403 h 2373523"/>
                <a:gd name="connsiteX16" fmla="*/ 8988680 w 12386023"/>
                <a:gd name="connsiteY16" fmla="*/ 1128151 h 2373523"/>
                <a:gd name="connsiteX17" fmla="*/ 9558676 w 12386023"/>
                <a:gd name="connsiteY17" fmla="*/ 1954983 h 2373523"/>
                <a:gd name="connsiteX18" fmla="*/ 10490076 w 12386023"/>
                <a:gd name="connsiteY18" fmla="*/ 2373522 h 2373523"/>
                <a:gd name="connsiteX19" fmla="*/ 11536110 w 12386023"/>
                <a:gd name="connsiteY19" fmla="*/ 1954985 h 2373523"/>
                <a:gd name="connsiteX20" fmla="*/ 11827041 w 12386023"/>
                <a:gd name="connsiteY20" fmla="*/ 1309250 h 2373523"/>
                <a:gd name="connsiteX21" fmla="*/ 12137937 w 12386023"/>
                <a:gd name="connsiteY21" fmla="*/ 863143 h 2373523"/>
                <a:gd name="connsiteX22" fmla="*/ 12386023 w 12386023"/>
                <a:gd name="connsiteY22" fmla="*/ 562829 h 2373523"/>
                <a:gd name="connsiteX23" fmla="*/ 12386023 w 12386023"/>
                <a:gd name="connsiteY23" fmla="*/ 124447 h 2373523"/>
                <a:gd name="connsiteX24" fmla="*/ 11779707 w 12386023"/>
                <a:gd name="connsiteY24" fmla="*/ 299022 h 2373523"/>
                <a:gd name="connsiteX25" fmla="*/ 11399982 w 12386023"/>
                <a:gd name="connsiteY25" fmla="*/ 910907 h 2373523"/>
                <a:gd name="connsiteX26" fmla="*/ 10943237 w 12386023"/>
                <a:gd name="connsiteY26" fmla="*/ 1525068 h 2373523"/>
                <a:gd name="connsiteX27" fmla="*/ 10375442 w 12386023"/>
                <a:gd name="connsiteY27" fmla="*/ 1481851 h 2373523"/>
                <a:gd name="connsiteX28" fmla="*/ 9868545 w 12386023"/>
                <a:gd name="connsiteY28" fmla="*/ 922282 h 2373523"/>
                <a:gd name="connsiteX29" fmla="*/ 9393890 w 12386023"/>
                <a:gd name="connsiteY29" fmla="*/ 444601 h 2373523"/>
                <a:gd name="connsiteX30" fmla="*/ 8791091 w 12386023"/>
                <a:gd name="connsiteY30" fmla="*/ 20131 h 2373523"/>
                <a:gd name="connsiteX31" fmla="*/ 7390504 w 12386023"/>
                <a:gd name="connsiteY31" fmla="*/ 62625 h 2373523"/>
                <a:gd name="connsiteX32" fmla="*/ 9248668 w 12386023"/>
                <a:gd name="connsiteY32" fmla="*/ 483648 h 2373523"/>
                <a:gd name="connsiteX33" fmla="*/ 8892001 w 12386023"/>
                <a:gd name="connsiteY33" fmla="*/ 445563 h 2373523"/>
                <a:gd name="connsiteX34" fmla="*/ 9073222 w 12386023"/>
                <a:gd name="connsiteY34" fmla="*/ 748027 h 2373523"/>
                <a:gd name="connsiteX35" fmla="*/ 8705072 w 12386023"/>
                <a:gd name="connsiteY35" fmla="*/ 148058 h 2373523"/>
                <a:gd name="connsiteX0" fmla="*/ 8705072 w 12386023"/>
                <a:gd name="connsiteY0" fmla="*/ 148058 h 2373523"/>
                <a:gd name="connsiteX1" fmla="*/ 8697801 w 12386023"/>
                <a:gd name="connsiteY1" fmla="*/ 454697 h 2373523"/>
                <a:gd name="connsiteX2" fmla="*/ 8652701 w 12386023"/>
                <a:gd name="connsiteY2" fmla="*/ 640697 h 2373523"/>
                <a:gd name="connsiteX3" fmla="*/ 421075 w 12386023"/>
                <a:gd name="connsiteY3" fmla="*/ 800852 h 2373523"/>
                <a:gd name="connsiteX4" fmla="*/ 1277876 w 12386023"/>
                <a:gd name="connsiteY4" fmla="*/ 708409 h 2373523"/>
                <a:gd name="connsiteX5" fmla="*/ 1972735 w 12386023"/>
                <a:gd name="connsiteY5" fmla="*/ 742397 h 2373523"/>
                <a:gd name="connsiteX6" fmla="*/ 2428745 w 12386023"/>
                <a:gd name="connsiteY6" fmla="*/ 682909 h 2373523"/>
                <a:gd name="connsiteX7" fmla="*/ 2906467 w 12386023"/>
                <a:gd name="connsiteY7" fmla="*/ 682909 h 2373523"/>
                <a:gd name="connsiteX8" fmla="*/ 3677336 w 12386023"/>
                <a:gd name="connsiteY8" fmla="*/ 725403 h 2373523"/>
                <a:gd name="connsiteX9" fmla="*/ 4556772 w 12386023"/>
                <a:gd name="connsiteY9" fmla="*/ 708409 h 2373523"/>
                <a:gd name="connsiteX10" fmla="*/ 5186490 w 12386023"/>
                <a:gd name="connsiteY10" fmla="*/ 716915 h 2373523"/>
                <a:gd name="connsiteX11" fmla="*/ 6022500 w 12386023"/>
                <a:gd name="connsiteY11" fmla="*/ 716915 h 2373523"/>
                <a:gd name="connsiteX12" fmla="*/ 7086513 w 12386023"/>
                <a:gd name="connsiteY12" fmla="*/ 742415 h 2373523"/>
                <a:gd name="connsiteX13" fmla="*/ 7835668 w 12386023"/>
                <a:gd name="connsiteY13" fmla="*/ 733909 h 2373523"/>
                <a:gd name="connsiteX14" fmla="*/ 8367663 w 12386023"/>
                <a:gd name="connsiteY14" fmla="*/ 725403 h 2373523"/>
                <a:gd name="connsiteX15" fmla="*/ 8988680 w 12386023"/>
                <a:gd name="connsiteY15" fmla="*/ 1128151 h 2373523"/>
                <a:gd name="connsiteX16" fmla="*/ 9558676 w 12386023"/>
                <a:gd name="connsiteY16" fmla="*/ 1954983 h 2373523"/>
                <a:gd name="connsiteX17" fmla="*/ 10490076 w 12386023"/>
                <a:gd name="connsiteY17" fmla="*/ 2373522 h 2373523"/>
                <a:gd name="connsiteX18" fmla="*/ 11536110 w 12386023"/>
                <a:gd name="connsiteY18" fmla="*/ 1954985 h 2373523"/>
                <a:gd name="connsiteX19" fmla="*/ 11827041 w 12386023"/>
                <a:gd name="connsiteY19" fmla="*/ 1309250 h 2373523"/>
                <a:gd name="connsiteX20" fmla="*/ 12137937 w 12386023"/>
                <a:gd name="connsiteY20" fmla="*/ 863143 h 2373523"/>
                <a:gd name="connsiteX21" fmla="*/ 12386023 w 12386023"/>
                <a:gd name="connsiteY21" fmla="*/ 562829 h 2373523"/>
                <a:gd name="connsiteX22" fmla="*/ 12386023 w 12386023"/>
                <a:gd name="connsiteY22" fmla="*/ 124447 h 2373523"/>
                <a:gd name="connsiteX23" fmla="*/ 11779707 w 12386023"/>
                <a:gd name="connsiteY23" fmla="*/ 299022 h 2373523"/>
                <a:gd name="connsiteX24" fmla="*/ 11399982 w 12386023"/>
                <a:gd name="connsiteY24" fmla="*/ 910907 h 2373523"/>
                <a:gd name="connsiteX25" fmla="*/ 10943237 w 12386023"/>
                <a:gd name="connsiteY25" fmla="*/ 1525068 h 2373523"/>
                <a:gd name="connsiteX26" fmla="*/ 10375442 w 12386023"/>
                <a:gd name="connsiteY26" fmla="*/ 1481851 h 2373523"/>
                <a:gd name="connsiteX27" fmla="*/ 9868545 w 12386023"/>
                <a:gd name="connsiteY27" fmla="*/ 922282 h 2373523"/>
                <a:gd name="connsiteX28" fmla="*/ 9393890 w 12386023"/>
                <a:gd name="connsiteY28" fmla="*/ 444601 h 2373523"/>
                <a:gd name="connsiteX29" fmla="*/ 8791091 w 12386023"/>
                <a:gd name="connsiteY29" fmla="*/ 20131 h 2373523"/>
                <a:gd name="connsiteX30" fmla="*/ 7390504 w 12386023"/>
                <a:gd name="connsiteY30" fmla="*/ 62625 h 2373523"/>
                <a:gd name="connsiteX31" fmla="*/ 9248668 w 12386023"/>
                <a:gd name="connsiteY31" fmla="*/ 483648 h 2373523"/>
                <a:gd name="connsiteX32" fmla="*/ 8892001 w 12386023"/>
                <a:gd name="connsiteY32" fmla="*/ 445563 h 2373523"/>
                <a:gd name="connsiteX33" fmla="*/ 9073222 w 12386023"/>
                <a:gd name="connsiteY33" fmla="*/ 748027 h 2373523"/>
                <a:gd name="connsiteX34" fmla="*/ 8705072 w 12386023"/>
                <a:gd name="connsiteY34" fmla="*/ 148058 h 2373523"/>
                <a:gd name="connsiteX0" fmla="*/ 9073222 w 12386023"/>
                <a:gd name="connsiteY0" fmla="*/ 748027 h 2373523"/>
                <a:gd name="connsiteX1" fmla="*/ 8697801 w 12386023"/>
                <a:gd name="connsiteY1" fmla="*/ 454697 h 2373523"/>
                <a:gd name="connsiteX2" fmla="*/ 8652701 w 12386023"/>
                <a:gd name="connsiteY2" fmla="*/ 640697 h 2373523"/>
                <a:gd name="connsiteX3" fmla="*/ 421075 w 12386023"/>
                <a:gd name="connsiteY3" fmla="*/ 800852 h 2373523"/>
                <a:gd name="connsiteX4" fmla="*/ 1277876 w 12386023"/>
                <a:gd name="connsiteY4" fmla="*/ 708409 h 2373523"/>
                <a:gd name="connsiteX5" fmla="*/ 1972735 w 12386023"/>
                <a:gd name="connsiteY5" fmla="*/ 742397 h 2373523"/>
                <a:gd name="connsiteX6" fmla="*/ 2428745 w 12386023"/>
                <a:gd name="connsiteY6" fmla="*/ 682909 h 2373523"/>
                <a:gd name="connsiteX7" fmla="*/ 2906467 w 12386023"/>
                <a:gd name="connsiteY7" fmla="*/ 682909 h 2373523"/>
                <a:gd name="connsiteX8" fmla="*/ 3677336 w 12386023"/>
                <a:gd name="connsiteY8" fmla="*/ 725403 h 2373523"/>
                <a:gd name="connsiteX9" fmla="*/ 4556772 w 12386023"/>
                <a:gd name="connsiteY9" fmla="*/ 708409 h 2373523"/>
                <a:gd name="connsiteX10" fmla="*/ 5186490 w 12386023"/>
                <a:gd name="connsiteY10" fmla="*/ 716915 h 2373523"/>
                <a:gd name="connsiteX11" fmla="*/ 6022500 w 12386023"/>
                <a:gd name="connsiteY11" fmla="*/ 716915 h 2373523"/>
                <a:gd name="connsiteX12" fmla="*/ 7086513 w 12386023"/>
                <a:gd name="connsiteY12" fmla="*/ 742415 h 2373523"/>
                <a:gd name="connsiteX13" fmla="*/ 7835668 w 12386023"/>
                <a:gd name="connsiteY13" fmla="*/ 733909 h 2373523"/>
                <a:gd name="connsiteX14" fmla="*/ 8367663 w 12386023"/>
                <a:gd name="connsiteY14" fmla="*/ 725403 h 2373523"/>
                <a:gd name="connsiteX15" fmla="*/ 8988680 w 12386023"/>
                <a:gd name="connsiteY15" fmla="*/ 1128151 h 2373523"/>
                <a:gd name="connsiteX16" fmla="*/ 9558676 w 12386023"/>
                <a:gd name="connsiteY16" fmla="*/ 1954983 h 2373523"/>
                <a:gd name="connsiteX17" fmla="*/ 10490076 w 12386023"/>
                <a:gd name="connsiteY17" fmla="*/ 2373522 h 2373523"/>
                <a:gd name="connsiteX18" fmla="*/ 11536110 w 12386023"/>
                <a:gd name="connsiteY18" fmla="*/ 1954985 h 2373523"/>
                <a:gd name="connsiteX19" fmla="*/ 11827041 w 12386023"/>
                <a:gd name="connsiteY19" fmla="*/ 1309250 h 2373523"/>
                <a:gd name="connsiteX20" fmla="*/ 12137937 w 12386023"/>
                <a:gd name="connsiteY20" fmla="*/ 863143 h 2373523"/>
                <a:gd name="connsiteX21" fmla="*/ 12386023 w 12386023"/>
                <a:gd name="connsiteY21" fmla="*/ 562829 h 2373523"/>
                <a:gd name="connsiteX22" fmla="*/ 12386023 w 12386023"/>
                <a:gd name="connsiteY22" fmla="*/ 124447 h 2373523"/>
                <a:gd name="connsiteX23" fmla="*/ 11779707 w 12386023"/>
                <a:gd name="connsiteY23" fmla="*/ 299022 h 2373523"/>
                <a:gd name="connsiteX24" fmla="*/ 11399982 w 12386023"/>
                <a:gd name="connsiteY24" fmla="*/ 910907 h 2373523"/>
                <a:gd name="connsiteX25" fmla="*/ 10943237 w 12386023"/>
                <a:gd name="connsiteY25" fmla="*/ 1525068 h 2373523"/>
                <a:gd name="connsiteX26" fmla="*/ 10375442 w 12386023"/>
                <a:gd name="connsiteY26" fmla="*/ 1481851 h 2373523"/>
                <a:gd name="connsiteX27" fmla="*/ 9868545 w 12386023"/>
                <a:gd name="connsiteY27" fmla="*/ 922282 h 2373523"/>
                <a:gd name="connsiteX28" fmla="*/ 9393890 w 12386023"/>
                <a:gd name="connsiteY28" fmla="*/ 444601 h 2373523"/>
                <a:gd name="connsiteX29" fmla="*/ 8791091 w 12386023"/>
                <a:gd name="connsiteY29" fmla="*/ 20131 h 2373523"/>
                <a:gd name="connsiteX30" fmla="*/ 7390504 w 12386023"/>
                <a:gd name="connsiteY30" fmla="*/ 62625 h 2373523"/>
                <a:gd name="connsiteX31" fmla="*/ 9248668 w 12386023"/>
                <a:gd name="connsiteY31" fmla="*/ 483648 h 2373523"/>
                <a:gd name="connsiteX32" fmla="*/ 8892001 w 12386023"/>
                <a:gd name="connsiteY32" fmla="*/ 445563 h 2373523"/>
                <a:gd name="connsiteX33" fmla="*/ 9073222 w 12386023"/>
                <a:gd name="connsiteY33" fmla="*/ 748027 h 2373523"/>
                <a:gd name="connsiteX0" fmla="*/ 9073222 w 12386023"/>
                <a:gd name="connsiteY0" fmla="*/ 748027 h 2373523"/>
                <a:gd name="connsiteX1" fmla="*/ 8652701 w 12386023"/>
                <a:gd name="connsiteY1" fmla="*/ 640697 h 2373523"/>
                <a:gd name="connsiteX2" fmla="*/ 421075 w 12386023"/>
                <a:gd name="connsiteY2" fmla="*/ 800852 h 2373523"/>
                <a:gd name="connsiteX3" fmla="*/ 1277876 w 12386023"/>
                <a:gd name="connsiteY3" fmla="*/ 708409 h 2373523"/>
                <a:gd name="connsiteX4" fmla="*/ 1972735 w 12386023"/>
                <a:gd name="connsiteY4" fmla="*/ 742397 h 2373523"/>
                <a:gd name="connsiteX5" fmla="*/ 2428745 w 12386023"/>
                <a:gd name="connsiteY5" fmla="*/ 682909 h 2373523"/>
                <a:gd name="connsiteX6" fmla="*/ 2906467 w 12386023"/>
                <a:gd name="connsiteY6" fmla="*/ 682909 h 2373523"/>
                <a:gd name="connsiteX7" fmla="*/ 3677336 w 12386023"/>
                <a:gd name="connsiteY7" fmla="*/ 725403 h 2373523"/>
                <a:gd name="connsiteX8" fmla="*/ 4556772 w 12386023"/>
                <a:gd name="connsiteY8" fmla="*/ 708409 h 2373523"/>
                <a:gd name="connsiteX9" fmla="*/ 5186490 w 12386023"/>
                <a:gd name="connsiteY9" fmla="*/ 716915 h 2373523"/>
                <a:gd name="connsiteX10" fmla="*/ 6022500 w 12386023"/>
                <a:gd name="connsiteY10" fmla="*/ 716915 h 2373523"/>
                <a:gd name="connsiteX11" fmla="*/ 7086513 w 12386023"/>
                <a:gd name="connsiteY11" fmla="*/ 742415 h 2373523"/>
                <a:gd name="connsiteX12" fmla="*/ 7835668 w 12386023"/>
                <a:gd name="connsiteY12" fmla="*/ 733909 h 2373523"/>
                <a:gd name="connsiteX13" fmla="*/ 8367663 w 12386023"/>
                <a:gd name="connsiteY13" fmla="*/ 725403 h 2373523"/>
                <a:gd name="connsiteX14" fmla="*/ 8988680 w 12386023"/>
                <a:gd name="connsiteY14" fmla="*/ 1128151 h 2373523"/>
                <a:gd name="connsiteX15" fmla="*/ 9558676 w 12386023"/>
                <a:gd name="connsiteY15" fmla="*/ 1954983 h 2373523"/>
                <a:gd name="connsiteX16" fmla="*/ 10490076 w 12386023"/>
                <a:gd name="connsiteY16" fmla="*/ 2373522 h 2373523"/>
                <a:gd name="connsiteX17" fmla="*/ 11536110 w 12386023"/>
                <a:gd name="connsiteY17" fmla="*/ 1954985 h 2373523"/>
                <a:gd name="connsiteX18" fmla="*/ 11827041 w 12386023"/>
                <a:gd name="connsiteY18" fmla="*/ 1309250 h 2373523"/>
                <a:gd name="connsiteX19" fmla="*/ 12137937 w 12386023"/>
                <a:gd name="connsiteY19" fmla="*/ 863143 h 2373523"/>
                <a:gd name="connsiteX20" fmla="*/ 12386023 w 12386023"/>
                <a:gd name="connsiteY20" fmla="*/ 562829 h 2373523"/>
                <a:gd name="connsiteX21" fmla="*/ 12386023 w 12386023"/>
                <a:gd name="connsiteY21" fmla="*/ 124447 h 2373523"/>
                <a:gd name="connsiteX22" fmla="*/ 11779707 w 12386023"/>
                <a:gd name="connsiteY22" fmla="*/ 299022 h 2373523"/>
                <a:gd name="connsiteX23" fmla="*/ 11399982 w 12386023"/>
                <a:gd name="connsiteY23" fmla="*/ 910907 h 2373523"/>
                <a:gd name="connsiteX24" fmla="*/ 10943237 w 12386023"/>
                <a:gd name="connsiteY24" fmla="*/ 1525068 h 2373523"/>
                <a:gd name="connsiteX25" fmla="*/ 10375442 w 12386023"/>
                <a:gd name="connsiteY25" fmla="*/ 1481851 h 2373523"/>
                <a:gd name="connsiteX26" fmla="*/ 9868545 w 12386023"/>
                <a:gd name="connsiteY26" fmla="*/ 922282 h 2373523"/>
                <a:gd name="connsiteX27" fmla="*/ 9393890 w 12386023"/>
                <a:gd name="connsiteY27" fmla="*/ 444601 h 2373523"/>
                <a:gd name="connsiteX28" fmla="*/ 8791091 w 12386023"/>
                <a:gd name="connsiteY28" fmla="*/ 20131 h 2373523"/>
                <a:gd name="connsiteX29" fmla="*/ 7390504 w 12386023"/>
                <a:gd name="connsiteY29" fmla="*/ 62625 h 2373523"/>
                <a:gd name="connsiteX30" fmla="*/ 9248668 w 12386023"/>
                <a:gd name="connsiteY30" fmla="*/ 483648 h 2373523"/>
                <a:gd name="connsiteX31" fmla="*/ 8892001 w 12386023"/>
                <a:gd name="connsiteY31" fmla="*/ 445563 h 2373523"/>
                <a:gd name="connsiteX32" fmla="*/ 9073222 w 12386023"/>
                <a:gd name="connsiteY32" fmla="*/ 748027 h 2373523"/>
                <a:gd name="connsiteX0" fmla="*/ 9102751 w 12415552"/>
                <a:gd name="connsiteY0" fmla="*/ 748027 h 2373523"/>
                <a:gd name="connsiteX1" fmla="*/ 450604 w 12415552"/>
                <a:gd name="connsiteY1" fmla="*/ 800852 h 2373523"/>
                <a:gd name="connsiteX2" fmla="*/ 1307405 w 12415552"/>
                <a:gd name="connsiteY2" fmla="*/ 708409 h 2373523"/>
                <a:gd name="connsiteX3" fmla="*/ 2002264 w 12415552"/>
                <a:gd name="connsiteY3" fmla="*/ 742397 h 2373523"/>
                <a:gd name="connsiteX4" fmla="*/ 2458274 w 12415552"/>
                <a:gd name="connsiteY4" fmla="*/ 682909 h 2373523"/>
                <a:gd name="connsiteX5" fmla="*/ 2935996 w 12415552"/>
                <a:gd name="connsiteY5" fmla="*/ 682909 h 2373523"/>
                <a:gd name="connsiteX6" fmla="*/ 3706865 w 12415552"/>
                <a:gd name="connsiteY6" fmla="*/ 725403 h 2373523"/>
                <a:gd name="connsiteX7" fmla="*/ 4586301 w 12415552"/>
                <a:gd name="connsiteY7" fmla="*/ 708409 h 2373523"/>
                <a:gd name="connsiteX8" fmla="*/ 5216019 w 12415552"/>
                <a:gd name="connsiteY8" fmla="*/ 716915 h 2373523"/>
                <a:gd name="connsiteX9" fmla="*/ 6052029 w 12415552"/>
                <a:gd name="connsiteY9" fmla="*/ 716915 h 2373523"/>
                <a:gd name="connsiteX10" fmla="*/ 7116042 w 12415552"/>
                <a:gd name="connsiteY10" fmla="*/ 742415 h 2373523"/>
                <a:gd name="connsiteX11" fmla="*/ 7865197 w 12415552"/>
                <a:gd name="connsiteY11" fmla="*/ 733909 h 2373523"/>
                <a:gd name="connsiteX12" fmla="*/ 8397192 w 12415552"/>
                <a:gd name="connsiteY12" fmla="*/ 725403 h 2373523"/>
                <a:gd name="connsiteX13" fmla="*/ 9018209 w 12415552"/>
                <a:gd name="connsiteY13" fmla="*/ 1128151 h 2373523"/>
                <a:gd name="connsiteX14" fmla="*/ 9588205 w 12415552"/>
                <a:gd name="connsiteY14" fmla="*/ 1954983 h 2373523"/>
                <a:gd name="connsiteX15" fmla="*/ 10519605 w 12415552"/>
                <a:gd name="connsiteY15" fmla="*/ 2373522 h 2373523"/>
                <a:gd name="connsiteX16" fmla="*/ 11565639 w 12415552"/>
                <a:gd name="connsiteY16" fmla="*/ 1954985 h 2373523"/>
                <a:gd name="connsiteX17" fmla="*/ 11856570 w 12415552"/>
                <a:gd name="connsiteY17" fmla="*/ 1309250 h 2373523"/>
                <a:gd name="connsiteX18" fmla="*/ 12167466 w 12415552"/>
                <a:gd name="connsiteY18" fmla="*/ 863143 h 2373523"/>
                <a:gd name="connsiteX19" fmla="*/ 12415552 w 12415552"/>
                <a:gd name="connsiteY19" fmla="*/ 562829 h 2373523"/>
                <a:gd name="connsiteX20" fmla="*/ 12415552 w 12415552"/>
                <a:gd name="connsiteY20" fmla="*/ 124447 h 2373523"/>
                <a:gd name="connsiteX21" fmla="*/ 11809236 w 12415552"/>
                <a:gd name="connsiteY21" fmla="*/ 299022 h 2373523"/>
                <a:gd name="connsiteX22" fmla="*/ 11429511 w 12415552"/>
                <a:gd name="connsiteY22" fmla="*/ 910907 h 2373523"/>
                <a:gd name="connsiteX23" fmla="*/ 10972766 w 12415552"/>
                <a:gd name="connsiteY23" fmla="*/ 1525068 h 2373523"/>
                <a:gd name="connsiteX24" fmla="*/ 10404971 w 12415552"/>
                <a:gd name="connsiteY24" fmla="*/ 1481851 h 2373523"/>
                <a:gd name="connsiteX25" fmla="*/ 9898074 w 12415552"/>
                <a:gd name="connsiteY25" fmla="*/ 922282 h 2373523"/>
                <a:gd name="connsiteX26" fmla="*/ 9423419 w 12415552"/>
                <a:gd name="connsiteY26" fmla="*/ 444601 h 2373523"/>
                <a:gd name="connsiteX27" fmla="*/ 8820620 w 12415552"/>
                <a:gd name="connsiteY27" fmla="*/ 20131 h 2373523"/>
                <a:gd name="connsiteX28" fmla="*/ 7420033 w 12415552"/>
                <a:gd name="connsiteY28" fmla="*/ 62625 h 2373523"/>
                <a:gd name="connsiteX29" fmla="*/ 9278197 w 12415552"/>
                <a:gd name="connsiteY29" fmla="*/ 483648 h 2373523"/>
                <a:gd name="connsiteX30" fmla="*/ 8921530 w 12415552"/>
                <a:gd name="connsiteY30" fmla="*/ 445563 h 2373523"/>
                <a:gd name="connsiteX31" fmla="*/ 9102751 w 12415552"/>
                <a:gd name="connsiteY31" fmla="*/ 748027 h 2373523"/>
                <a:gd name="connsiteX0" fmla="*/ 9102753 w 12415554"/>
                <a:gd name="connsiteY0" fmla="*/ 748027 h 2373523"/>
                <a:gd name="connsiteX1" fmla="*/ 450606 w 12415554"/>
                <a:gd name="connsiteY1" fmla="*/ 800852 h 2373523"/>
                <a:gd name="connsiteX2" fmla="*/ 1307407 w 12415554"/>
                <a:gd name="connsiteY2" fmla="*/ 708409 h 2373523"/>
                <a:gd name="connsiteX3" fmla="*/ 2002266 w 12415554"/>
                <a:gd name="connsiteY3" fmla="*/ 742397 h 2373523"/>
                <a:gd name="connsiteX4" fmla="*/ 2458276 w 12415554"/>
                <a:gd name="connsiteY4" fmla="*/ 682909 h 2373523"/>
                <a:gd name="connsiteX5" fmla="*/ 2935998 w 12415554"/>
                <a:gd name="connsiteY5" fmla="*/ 682909 h 2373523"/>
                <a:gd name="connsiteX6" fmla="*/ 3706867 w 12415554"/>
                <a:gd name="connsiteY6" fmla="*/ 725403 h 2373523"/>
                <a:gd name="connsiteX7" fmla="*/ 4586303 w 12415554"/>
                <a:gd name="connsiteY7" fmla="*/ 708409 h 2373523"/>
                <a:gd name="connsiteX8" fmla="*/ 5216021 w 12415554"/>
                <a:gd name="connsiteY8" fmla="*/ 716915 h 2373523"/>
                <a:gd name="connsiteX9" fmla="*/ 6052031 w 12415554"/>
                <a:gd name="connsiteY9" fmla="*/ 716915 h 2373523"/>
                <a:gd name="connsiteX10" fmla="*/ 7116044 w 12415554"/>
                <a:gd name="connsiteY10" fmla="*/ 742415 h 2373523"/>
                <a:gd name="connsiteX11" fmla="*/ 7865199 w 12415554"/>
                <a:gd name="connsiteY11" fmla="*/ 733909 h 2373523"/>
                <a:gd name="connsiteX12" fmla="*/ 8397194 w 12415554"/>
                <a:gd name="connsiteY12" fmla="*/ 725403 h 2373523"/>
                <a:gd name="connsiteX13" fmla="*/ 9018211 w 12415554"/>
                <a:gd name="connsiteY13" fmla="*/ 1128151 h 2373523"/>
                <a:gd name="connsiteX14" fmla="*/ 9588207 w 12415554"/>
                <a:gd name="connsiteY14" fmla="*/ 1954983 h 2373523"/>
                <a:gd name="connsiteX15" fmla="*/ 10519607 w 12415554"/>
                <a:gd name="connsiteY15" fmla="*/ 2373522 h 2373523"/>
                <a:gd name="connsiteX16" fmla="*/ 11565641 w 12415554"/>
                <a:gd name="connsiteY16" fmla="*/ 1954985 h 2373523"/>
                <a:gd name="connsiteX17" fmla="*/ 11856572 w 12415554"/>
                <a:gd name="connsiteY17" fmla="*/ 1309250 h 2373523"/>
                <a:gd name="connsiteX18" fmla="*/ 12167468 w 12415554"/>
                <a:gd name="connsiteY18" fmla="*/ 863143 h 2373523"/>
                <a:gd name="connsiteX19" fmla="*/ 12415554 w 12415554"/>
                <a:gd name="connsiteY19" fmla="*/ 562829 h 2373523"/>
                <a:gd name="connsiteX20" fmla="*/ 12415554 w 12415554"/>
                <a:gd name="connsiteY20" fmla="*/ 124447 h 2373523"/>
                <a:gd name="connsiteX21" fmla="*/ 11809238 w 12415554"/>
                <a:gd name="connsiteY21" fmla="*/ 299022 h 2373523"/>
                <a:gd name="connsiteX22" fmla="*/ 11429513 w 12415554"/>
                <a:gd name="connsiteY22" fmla="*/ 910907 h 2373523"/>
                <a:gd name="connsiteX23" fmla="*/ 10972768 w 12415554"/>
                <a:gd name="connsiteY23" fmla="*/ 1525068 h 2373523"/>
                <a:gd name="connsiteX24" fmla="*/ 10404973 w 12415554"/>
                <a:gd name="connsiteY24" fmla="*/ 1481851 h 2373523"/>
                <a:gd name="connsiteX25" fmla="*/ 9898076 w 12415554"/>
                <a:gd name="connsiteY25" fmla="*/ 922282 h 2373523"/>
                <a:gd name="connsiteX26" fmla="*/ 9423421 w 12415554"/>
                <a:gd name="connsiteY26" fmla="*/ 444601 h 2373523"/>
                <a:gd name="connsiteX27" fmla="*/ 8820622 w 12415554"/>
                <a:gd name="connsiteY27" fmla="*/ 20131 h 2373523"/>
                <a:gd name="connsiteX28" fmla="*/ 7420035 w 12415554"/>
                <a:gd name="connsiteY28" fmla="*/ 62625 h 2373523"/>
                <a:gd name="connsiteX29" fmla="*/ 9278199 w 12415554"/>
                <a:gd name="connsiteY29" fmla="*/ 483648 h 2373523"/>
                <a:gd name="connsiteX30" fmla="*/ 9102753 w 12415554"/>
                <a:gd name="connsiteY30" fmla="*/ 748027 h 2373523"/>
                <a:gd name="connsiteX0" fmla="*/ 9102753 w 12415554"/>
                <a:gd name="connsiteY0" fmla="*/ 748027 h 2373523"/>
                <a:gd name="connsiteX1" fmla="*/ 450606 w 12415554"/>
                <a:gd name="connsiteY1" fmla="*/ 800852 h 2373523"/>
                <a:gd name="connsiteX2" fmla="*/ 1307407 w 12415554"/>
                <a:gd name="connsiteY2" fmla="*/ 708409 h 2373523"/>
                <a:gd name="connsiteX3" fmla="*/ 2002266 w 12415554"/>
                <a:gd name="connsiteY3" fmla="*/ 742397 h 2373523"/>
                <a:gd name="connsiteX4" fmla="*/ 2458276 w 12415554"/>
                <a:gd name="connsiteY4" fmla="*/ 682909 h 2373523"/>
                <a:gd name="connsiteX5" fmla="*/ 2935998 w 12415554"/>
                <a:gd name="connsiteY5" fmla="*/ 682909 h 2373523"/>
                <a:gd name="connsiteX6" fmla="*/ 3706867 w 12415554"/>
                <a:gd name="connsiteY6" fmla="*/ 725403 h 2373523"/>
                <a:gd name="connsiteX7" fmla="*/ 4586303 w 12415554"/>
                <a:gd name="connsiteY7" fmla="*/ 708409 h 2373523"/>
                <a:gd name="connsiteX8" fmla="*/ 5216021 w 12415554"/>
                <a:gd name="connsiteY8" fmla="*/ 716915 h 2373523"/>
                <a:gd name="connsiteX9" fmla="*/ 6052031 w 12415554"/>
                <a:gd name="connsiteY9" fmla="*/ 716915 h 2373523"/>
                <a:gd name="connsiteX10" fmla="*/ 7116044 w 12415554"/>
                <a:gd name="connsiteY10" fmla="*/ 742415 h 2373523"/>
                <a:gd name="connsiteX11" fmla="*/ 7865199 w 12415554"/>
                <a:gd name="connsiteY11" fmla="*/ 733909 h 2373523"/>
                <a:gd name="connsiteX12" fmla="*/ 8397194 w 12415554"/>
                <a:gd name="connsiteY12" fmla="*/ 725403 h 2373523"/>
                <a:gd name="connsiteX13" fmla="*/ 9018211 w 12415554"/>
                <a:gd name="connsiteY13" fmla="*/ 1128151 h 2373523"/>
                <a:gd name="connsiteX14" fmla="*/ 9588207 w 12415554"/>
                <a:gd name="connsiteY14" fmla="*/ 1954983 h 2373523"/>
                <a:gd name="connsiteX15" fmla="*/ 10519607 w 12415554"/>
                <a:gd name="connsiteY15" fmla="*/ 2373522 h 2373523"/>
                <a:gd name="connsiteX16" fmla="*/ 11565641 w 12415554"/>
                <a:gd name="connsiteY16" fmla="*/ 1954985 h 2373523"/>
                <a:gd name="connsiteX17" fmla="*/ 11856572 w 12415554"/>
                <a:gd name="connsiteY17" fmla="*/ 1309250 h 2373523"/>
                <a:gd name="connsiteX18" fmla="*/ 12167468 w 12415554"/>
                <a:gd name="connsiteY18" fmla="*/ 863143 h 2373523"/>
                <a:gd name="connsiteX19" fmla="*/ 12415554 w 12415554"/>
                <a:gd name="connsiteY19" fmla="*/ 562829 h 2373523"/>
                <a:gd name="connsiteX20" fmla="*/ 12415554 w 12415554"/>
                <a:gd name="connsiteY20" fmla="*/ 124447 h 2373523"/>
                <a:gd name="connsiteX21" fmla="*/ 11809238 w 12415554"/>
                <a:gd name="connsiteY21" fmla="*/ 299022 h 2373523"/>
                <a:gd name="connsiteX22" fmla="*/ 11429513 w 12415554"/>
                <a:gd name="connsiteY22" fmla="*/ 910907 h 2373523"/>
                <a:gd name="connsiteX23" fmla="*/ 10972768 w 12415554"/>
                <a:gd name="connsiteY23" fmla="*/ 1525068 h 2373523"/>
                <a:gd name="connsiteX24" fmla="*/ 10404973 w 12415554"/>
                <a:gd name="connsiteY24" fmla="*/ 1481851 h 2373523"/>
                <a:gd name="connsiteX25" fmla="*/ 9898076 w 12415554"/>
                <a:gd name="connsiteY25" fmla="*/ 922282 h 2373523"/>
                <a:gd name="connsiteX26" fmla="*/ 9423421 w 12415554"/>
                <a:gd name="connsiteY26" fmla="*/ 444601 h 2373523"/>
                <a:gd name="connsiteX27" fmla="*/ 8820622 w 12415554"/>
                <a:gd name="connsiteY27" fmla="*/ 20131 h 2373523"/>
                <a:gd name="connsiteX28" fmla="*/ 7420035 w 12415554"/>
                <a:gd name="connsiteY28" fmla="*/ 62625 h 2373523"/>
                <a:gd name="connsiteX29" fmla="*/ 9102753 w 12415554"/>
                <a:gd name="connsiteY29" fmla="*/ 748027 h 2373523"/>
                <a:gd name="connsiteX0" fmla="*/ 7302823 w 12298342"/>
                <a:gd name="connsiteY0" fmla="*/ 62625 h 2373523"/>
                <a:gd name="connsiteX1" fmla="*/ 333394 w 12298342"/>
                <a:gd name="connsiteY1" fmla="*/ 800852 h 2373523"/>
                <a:gd name="connsiteX2" fmla="*/ 1190195 w 12298342"/>
                <a:gd name="connsiteY2" fmla="*/ 708409 h 2373523"/>
                <a:gd name="connsiteX3" fmla="*/ 1885054 w 12298342"/>
                <a:gd name="connsiteY3" fmla="*/ 742397 h 2373523"/>
                <a:gd name="connsiteX4" fmla="*/ 2341064 w 12298342"/>
                <a:gd name="connsiteY4" fmla="*/ 682909 h 2373523"/>
                <a:gd name="connsiteX5" fmla="*/ 2818786 w 12298342"/>
                <a:gd name="connsiteY5" fmla="*/ 682909 h 2373523"/>
                <a:gd name="connsiteX6" fmla="*/ 3589655 w 12298342"/>
                <a:gd name="connsiteY6" fmla="*/ 725403 h 2373523"/>
                <a:gd name="connsiteX7" fmla="*/ 4469091 w 12298342"/>
                <a:gd name="connsiteY7" fmla="*/ 708409 h 2373523"/>
                <a:gd name="connsiteX8" fmla="*/ 5098809 w 12298342"/>
                <a:gd name="connsiteY8" fmla="*/ 716915 h 2373523"/>
                <a:gd name="connsiteX9" fmla="*/ 5934819 w 12298342"/>
                <a:gd name="connsiteY9" fmla="*/ 716915 h 2373523"/>
                <a:gd name="connsiteX10" fmla="*/ 6998832 w 12298342"/>
                <a:gd name="connsiteY10" fmla="*/ 742415 h 2373523"/>
                <a:gd name="connsiteX11" fmla="*/ 7747987 w 12298342"/>
                <a:gd name="connsiteY11" fmla="*/ 733909 h 2373523"/>
                <a:gd name="connsiteX12" fmla="*/ 8279982 w 12298342"/>
                <a:gd name="connsiteY12" fmla="*/ 725403 h 2373523"/>
                <a:gd name="connsiteX13" fmla="*/ 8900999 w 12298342"/>
                <a:gd name="connsiteY13" fmla="*/ 1128151 h 2373523"/>
                <a:gd name="connsiteX14" fmla="*/ 9470995 w 12298342"/>
                <a:gd name="connsiteY14" fmla="*/ 1954983 h 2373523"/>
                <a:gd name="connsiteX15" fmla="*/ 10402395 w 12298342"/>
                <a:gd name="connsiteY15" fmla="*/ 2373522 h 2373523"/>
                <a:gd name="connsiteX16" fmla="*/ 11448429 w 12298342"/>
                <a:gd name="connsiteY16" fmla="*/ 1954985 h 2373523"/>
                <a:gd name="connsiteX17" fmla="*/ 11739360 w 12298342"/>
                <a:gd name="connsiteY17" fmla="*/ 1309250 h 2373523"/>
                <a:gd name="connsiteX18" fmla="*/ 12050256 w 12298342"/>
                <a:gd name="connsiteY18" fmla="*/ 863143 h 2373523"/>
                <a:gd name="connsiteX19" fmla="*/ 12298342 w 12298342"/>
                <a:gd name="connsiteY19" fmla="*/ 562829 h 2373523"/>
                <a:gd name="connsiteX20" fmla="*/ 12298342 w 12298342"/>
                <a:gd name="connsiteY20" fmla="*/ 124447 h 2373523"/>
                <a:gd name="connsiteX21" fmla="*/ 11692026 w 12298342"/>
                <a:gd name="connsiteY21" fmla="*/ 299022 h 2373523"/>
                <a:gd name="connsiteX22" fmla="*/ 11312301 w 12298342"/>
                <a:gd name="connsiteY22" fmla="*/ 910907 h 2373523"/>
                <a:gd name="connsiteX23" fmla="*/ 10855556 w 12298342"/>
                <a:gd name="connsiteY23" fmla="*/ 1525068 h 2373523"/>
                <a:gd name="connsiteX24" fmla="*/ 10287761 w 12298342"/>
                <a:gd name="connsiteY24" fmla="*/ 1481851 h 2373523"/>
                <a:gd name="connsiteX25" fmla="*/ 9780864 w 12298342"/>
                <a:gd name="connsiteY25" fmla="*/ 922282 h 2373523"/>
                <a:gd name="connsiteX26" fmla="*/ 9306209 w 12298342"/>
                <a:gd name="connsiteY26" fmla="*/ 444601 h 2373523"/>
                <a:gd name="connsiteX27" fmla="*/ 8703410 w 12298342"/>
                <a:gd name="connsiteY27" fmla="*/ 20131 h 2373523"/>
                <a:gd name="connsiteX28" fmla="*/ 7302823 w 12298342"/>
                <a:gd name="connsiteY28" fmla="*/ 62625 h 2373523"/>
                <a:gd name="connsiteX0" fmla="*/ 8557475 w 12379789"/>
                <a:gd name="connsiteY0" fmla="*/ 304971 h 2354282"/>
                <a:gd name="connsiteX1" fmla="*/ 414841 w 12379789"/>
                <a:gd name="connsiteY1" fmla="*/ 781611 h 2354282"/>
                <a:gd name="connsiteX2" fmla="*/ 1271642 w 12379789"/>
                <a:gd name="connsiteY2" fmla="*/ 689168 h 2354282"/>
                <a:gd name="connsiteX3" fmla="*/ 1966501 w 12379789"/>
                <a:gd name="connsiteY3" fmla="*/ 723156 h 2354282"/>
                <a:gd name="connsiteX4" fmla="*/ 2422511 w 12379789"/>
                <a:gd name="connsiteY4" fmla="*/ 663668 h 2354282"/>
                <a:gd name="connsiteX5" fmla="*/ 2900233 w 12379789"/>
                <a:gd name="connsiteY5" fmla="*/ 663668 h 2354282"/>
                <a:gd name="connsiteX6" fmla="*/ 3671102 w 12379789"/>
                <a:gd name="connsiteY6" fmla="*/ 706162 h 2354282"/>
                <a:gd name="connsiteX7" fmla="*/ 4550538 w 12379789"/>
                <a:gd name="connsiteY7" fmla="*/ 689168 h 2354282"/>
                <a:gd name="connsiteX8" fmla="*/ 5180256 w 12379789"/>
                <a:gd name="connsiteY8" fmla="*/ 697674 h 2354282"/>
                <a:gd name="connsiteX9" fmla="*/ 6016266 w 12379789"/>
                <a:gd name="connsiteY9" fmla="*/ 697674 h 2354282"/>
                <a:gd name="connsiteX10" fmla="*/ 7080279 w 12379789"/>
                <a:gd name="connsiteY10" fmla="*/ 723174 h 2354282"/>
                <a:gd name="connsiteX11" fmla="*/ 7829434 w 12379789"/>
                <a:gd name="connsiteY11" fmla="*/ 714668 h 2354282"/>
                <a:gd name="connsiteX12" fmla="*/ 8361429 w 12379789"/>
                <a:gd name="connsiteY12" fmla="*/ 706162 h 2354282"/>
                <a:gd name="connsiteX13" fmla="*/ 8982446 w 12379789"/>
                <a:gd name="connsiteY13" fmla="*/ 1108910 h 2354282"/>
                <a:gd name="connsiteX14" fmla="*/ 9552442 w 12379789"/>
                <a:gd name="connsiteY14" fmla="*/ 1935742 h 2354282"/>
                <a:gd name="connsiteX15" fmla="*/ 10483842 w 12379789"/>
                <a:gd name="connsiteY15" fmla="*/ 2354281 h 2354282"/>
                <a:gd name="connsiteX16" fmla="*/ 11529876 w 12379789"/>
                <a:gd name="connsiteY16" fmla="*/ 1935744 h 2354282"/>
                <a:gd name="connsiteX17" fmla="*/ 11820807 w 12379789"/>
                <a:gd name="connsiteY17" fmla="*/ 1290009 h 2354282"/>
                <a:gd name="connsiteX18" fmla="*/ 12131703 w 12379789"/>
                <a:gd name="connsiteY18" fmla="*/ 843902 h 2354282"/>
                <a:gd name="connsiteX19" fmla="*/ 12379789 w 12379789"/>
                <a:gd name="connsiteY19" fmla="*/ 543588 h 2354282"/>
                <a:gd name="connsiteX20" fmla="*/ 12379789 w 12379789"/>
                <a:gd name="connsiteY20" fmla="*/ 105206 h 2354282"/>
                <a:gd name="connsiteX21" fmla="*/ 11773473 w 12379789"/>
                <a:gd name="connsiteY21" fmla="*/ 279781 h 2354282"/>
                <a:gd name="connsiteX22" fmla="*/ 11393748 w 12379789"/>
                <a:gd name="connsiteY22" fmla="*/ 891666 h 2354282"/>
                <a:gd name="connsiteX23" fmla="*/ 10937003 w 12379789"/>
                <a:gd name="connsiteY23" fmla="*/ 1505827 h 2354282"/>
                <a:gd name="connsiteX24" fmla="*/ 10369208 w 12379789"/>
                <a:gd name="connsiteY24" fmla="*/ 1462610 h 2354282"/>
                <a:gd name="connsiteX25" fmla="*/ 9862311 w 12379789"/>
                <a:gd name="connsiteY25" fmla="*/ 903041 h 2354282"/>
                <a:gd name="connsiteX26" fmla="*/ 9387656 w 12379789"/>
                <a:gd name="connsiteY26" fmla="*/ 425360 h 2354282"/>
                <a:gd name="connsiteX27" fmla="*/ 8784857 w 12379789"/>
                <a:gd name="connsiteY27" fmla="*/ 890 h 2354282"/>
                <a:gd name="connsiteX28" fmla="*/ 8557475 w 12379789"/>
                <a:gd name="connsiteY28" fmla="*/ 304971 h 2354282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3671104 w 12379791"/>
                <a:gd name="connsiteY6" fmla="*/ 614077 h 2262197"/>
                <a:gd name="connsiteX7" fmla="*/ 4550540 w 12379791"/>
                <a:gd name="connsiteY7" fmla="*/ 597083 h 2262197"/>
                <a:gd name="connsiteX8" fmla="*/ 5180258 w 12379791"/>
                <a:gd name="connsiteY8" fmla="*/ 605589 h 2262197"/>
                <a:gd name="connsiteX9" fmla="*/ 6016268 w 12379791"/>
                <a:gd name="connsiteY9" fmla="*/ 605589 h 2262197"/>
                <a:gd name="connsiteX10" fmla="*/ 7080281 w 12379791"/>
                <a:gd name="connsiteY10" fmla="*/ 631089 h 2262197"/>
                <a:gd name="connsiteX11" fmla="*/ 7829436 w 12379791"/>
                <a:gd name="connsiteY11" fmla="*/ 622583 h 2262197"/>
                <a:gd name="connsiteX12" fmla="*/ 8361431 w 12379791"/>
                <a:gd name="connsiteY12" fmla="*/ 614077 h 2262197"/>
                <a:gd name="connsiteX13" fmla="*/ 8982448 w 12379791"/>
                <a:gd name="connsiteY13" fmla="*/ 1016825 h 2262197"/>
                <a:gd name="connsiteX14" fmla="*/ 9552444 w 12379791"/>
                <a:gd name="connsiteY14" fmla="*/ 1843657 h 2262197"/>
                <a:gd name="connsiteX15" fmla="*/ 10483844 w 12379791"/>
                <a:gd name="connsiteY15" fmla="*/ 2262196 h 2262197"/>
                <a:gd name="connsiteX16" fmla="*/ 11529878 w 12379791"/>
                <a:gd name="connsiteY16" fmla="*/ 1843659 h 2262197"/>
                <a:gd name="connsiteX17" fmla="*/ 11820809 w 12379791"/>
                <a:gd name="connsiteY17" fmla="*/ 1197924 h 2262197"/>
                <a:gd name="connsiteX18" fmla="*/ 12131705 w 12379791"/>
                <a:gd name="connsiteY18" fmla="*/ 751817 h 2262197"/>
                <a:gd name="connsiteX19" fmla="*/ 12379791 w 12379791"/>
                <a:gd name="connsiteY19" fmla="*/ 451503 h 2262197"/>
                <a:gd name="connsiteX20" fmla="*/ 12379791 w 12379791"/>
                <a:gd name="connsiteY20" fmla="*/ 13121 h 2262197"/>
                <a:gd name="connsiteX21" fmla="*/ 11773475 w 12379791"/>
                <a:gd name="connsiteY21" fmla="*/ 187696 h 2262197"/>
                <a:gd name="connsiteX22" fmla="*/ 11393750 w 12379791"/>
                <a:gd name="connsiteY22" fmla="*/ 799581 h 2262197"/>
                <a:gd name="connsiteX23" fmla="*/ 10937005 w 12379791"/>
                <a:gd name="connsiteY23" fmla="*/ 1413742 h 2262197"/>
                <a:gd name="connsiteX24" fmla="*/ 10369210 w 12379791"/>
                <a:gd name="connsiteY24" fmla="*/ 1370525 h 2262197"/>
                <a:gd name="connsiteX25" fmla="*/ 9862313 w 12379791"/>
                <a:gd name="connsiteY25" fmla="*/ 810956 h 2262197"/>
                <a:gd name="connsiteX26" fmla="*/ 9387658 w 12379791"/>
                <a:gd name="connsiteY26" fmla="*/ 333275 h 2262197"/>
                <a:gd name="connsiteX27" fmla="*/ 8614705 w 12379791"/>
                <a:gd name="connsiteY27" fmla="*/ 45280 h 2262197"/>
                <a:gd name="connsiteX28" fmla="*/ 8557477 w 12379791"/>
                <a:gd name="connsiteY28" fmla="*/ 212886 h 2262197"/>
                <a:gd name="connsiteX0" fmla="*/ 8557477 w 12379791"/>
                <a:gd name="connsiteY0" fmla="*/ 220165 h 2269476"/>
                <a:gd name="connsiteX1" fmla="*/ 414843 w 12379791"/>
                <a:gd name="connsiteY1" fmla="*/ 696805 h 2269476"/>
                <a:gd name="connsiteX2" fmla="*/ 1271644 w 12379791"/>
                <a:gd name="connsiteY2" fmla="*/ 604362 h 2269476"/>
                <a:gd name="connsiteX3" fmla="*/ 1966503 w 12379791"/>
                <a:gd name="connsiteY3" fmla="*/ 638350 h 2269476"/>
                <a:gd name="connsiteX4" fmla="*/ 2422513 w 12379791"/>
                <a:gd name="connsiteY4" fmla="*/ 578862 h 2269476"/>
                <a:gd name="connsiteX5" fmla="*/ 2900235 w 12379791"/>
                <a:gd name="connsiteY5" fmla="*/ 578862 h 2269476"/>
                <a:gd name="connsiteX6" fmla="*/ 3671104 w 12379791"/>
                <a:gd name="connsiteY6" fmla="*/ 621356 h 2269476"/>
                <a:gd name="connsiteX7" fmla="*/ 4550540 w 12379791"/>
                <a:gd name="connsiteY7" fmla="*/ 604362 h 2269476"/>
                <a:gd name="connsiteX8" fmla="*/ 5180258 w 12379791"/>
                <a:gd name="connsiteY8" fmla="*/ 612868 h 2269476"/>
                <a:gd name="connsiteX9" fmla="*/ 6016268 w 12379791"/>
                <a:gd name="connsiteY9" fmla="*/ 612868 h 2269476"/>
                <a:gd name="connsiteX10" fmla="*/ 7080281 w 12379791"/>
                <a:gd name="connsiteY10" fmla="*/ 638368 h 2269476"/>
                <a:gd name="connsiteX11" fmla="*/ 7829436 w 12379791"/>
                <a:gd name="connsiteY11" fmla="*/ 629862 h 2269476"/>
                <a:gd name="connsiteX12" fmla="*/ 8361431 w 12379791"/>
                <a:gd name="connsiteY12" fmla="*/ 621356 h 2269476"/>
                <a:gd name="connsiteX13" fmla="*/ 8982448 w 12379791"/>
                <a:gd name="connsiteY13" fmla="*/ 1024104 h 2269476"/>
                <a:gd name="connsiteX14" fmla="*/ 9552444 w 12379791"/>
                <a:gd name="connsiteY14" fmla="*/ 1850936 h 2269476"/>
                <a:gd name="connsiteX15" fmla="*/ 10483844 w 12379791"/>
                <a:gd name="connsiteY15" fmla="*/ 2269475 h 2269476"/>
                <a:gd name="connsiteX16" fmla="*/ 11529878 w 12379791"/>
                <a:gd name="connsiteY16" fmla="*/ 1850938 h 2269476"/>
                <a:gd name="connsiteX17" fmla="*/ 11820809 w 12379791"/>
                <a:gd name="connsiteY17" fmla="*/ 1205203 h 2269476"/>
                <a:gd name="connsiteX18" fmla="*/ 12131705 w 12379791"/>
                <a:gd name="connsiteY18" fmla="*/ 759096 h 2269476"/>
                <a:gd name="connsiteX19" fmla="*/ 12379791 w 12379791"/>
                <a:gd name="connsiteY19" fmla="*/ 458782 h 2269476"/>
                <a:gd name="connsiteX20" fmla="*/ 12379791 w 12379791"/>
                <a:gd name="connsiteY20" fmla="*/ 20400 h 2269476"/>
                <a:gd name="connsiteX21" fmla="*/ 11773475 w 12379791"/>
                <a:gd name="connsiteY21" fmla="*/ 194975 h 2269476"/>
                <a:gd name="connsiteX22" fmla="*/ 11393750 w 12379791"/>
                <a:gd name="connsiteY22" fmla="*/ 806860 h 2269476"/>
                <a:gd name="connsiteX23" fmla="*/ 10937005 w 12379791"/>
                <a:gd name="connsiteY23" fmla="*/ 1421021 h 2269476"/>
                <a:gd name="connsiteX24" fmla="*/ 10369210 w 12379791"/>
                <a:gd name="connsiteY24" fmla="*/ 1377804 h 2269476"/>
                <a:gd name="connsiteX25" fmla="*/ 9862313 w 12379791"/>
                <a:gd name="connsiteY25" fmla="*/ 818235 h 2269476"/>
                <a:gd name="connsiteX26" fmla="*/ 9387658 w 12379791"/>
                <a:gd name="connsiteY26" fmla="*/ 340554 h 2269476"/>
                <a:gd name="connsiteX27" fmla="*/ 8614705 w 12379791"/>
                <a:gd name="connsiteY27" fmla="*/ 52559 h 2269476"/>
                <a:gd name="connsiteX28" fmla="*/ 8557477 w 12379791"/>
                <a:gd name="connsiteY28" fmla="*/ 220165 h 2269476"/>
                <a:gd name="connsiteX0" fmla="*/ 8557477 w 12379791"/>
                <a:gd name="connsiteY0" fmla="*/ 220165 h 2269476"/>
                <a:gd name="connsiteX1" fmla="*/ 414843 w 12379791"/>
                <a:gd name="connsiteY1" fmla="*/ 696805 h 2269476"/>
                <a:gd name="connsiteX2" fmla="*/ 1271644 w 12379791"/>
                <a:gd name="connsiteY2" fmla="*/ 604362 h 2269476"/>
                <a:gd name="connsiteX3" fmla="*/ 1966503 w 12379791"/>
                <a:gd name="connsiteY3" fmla="*/ 638350 h 2269476"/>
                <a:gd name="connsiteX4" fmla="*/ 2422513 w 12379791"/>
                <a:gd name="connsiteY4" fmla="*/ 578862 h 2269476"/>
                <a:gd name="connsiteX5" fmla="*/ 2900235 w 12379791"/>
                <a:gd name="connsiteY5" fmla="*/ 578862 h 2269476"/>
                <a:gd name="connsiteX6" fmla="*/ 3671104 w 12379791"/>
                <a:gd name="connsiteY6" fmla="*/ 621356 h 2269476"/>
                <a:gd name="connsiteX7" fmla="*/ 4550540 w 12379791"/>
                <a:gd name="connsiteY7" fmla="*/ 604362 h 2269476"/>
                <a:gd name="connsiteX8" fmla="*/ 5180258 w 12379791"/>
                <a:gd name="connsiteY8" fmla="*/ 612868 h 2269476"/>
                <a:gd name="connsiteX9" fmla="*/ 6016268 w 12379791"/>
                <a:gd name="connsiteY9" fmla="*/ 612868 h 2269476"/>
                <a:gd name="connsiteX10" fmla="*/ 7080281 w 12379791"/>
                <a:gd name="connsiteY10" fmla="*/ 638368 h 2269476"/>
                <a:gd name="connsiteX11" fmla="*/ 7829436 w 12379791"/>
                <a:gd name="connsiteY11" fmla="*/ 629862 h 2269476"/>
                <a:gd name="connsiteX12" fmla="*/ 8361431 w 12379791"/>
                <a:gd name="connsiteY12" fmla="*/ 621356 h 2269476"/>
                <a:gd name="connsiteX13" fmla="*/ 8982448 w 12379791"/>
                <a:gd name="connsiteY13" fmla="*/ 1024104 h 2269476"/>
                <a:gd name="connsiteX14" fmla="*/ 9552444 w 12379791"/>
                <a:gd name="connsiteY14" fmla="*/ 1850936 h 2269476"/>
                <a:gd name="connsiteX15" fmla="*/ 10483844 w 12379791"/>
                <a:gd name="connsiteY15" fmla="*/ 2269475 h 2269476"/>
                <a:gd name="connsiteX16" fmla="*/ 11529878 w 12379791"/>
                <a:gd name="connsiteY16" fmla="*/ 1850938 h 2269476"/>
                <a:gd name="connsiteX17" fmla="*/ 11820809 w 12379791"/>
                <a:gd name="connsiteY17" fmla="*/ 1205203 h 2269476"/>
                <a:gd name="connsiteX18" fmla="*/ 12131705 w 12379791"/>
                <a:gd name="connsiteY18" fmla="*/ 759096 h 2269476"/>
                <a:gd name="connsiteX19" fmla="*/ 12379791 w 12379791"/>
                <a:gd name="connsiteY19" fmla="*/ 458782 h 2269476"/>
                <a:gd name="connsiteX20" fmla="*/ 12379791 w 12379791"/>
                <a:gd name="connsiteY20" fmla="*/ 20400 h 2269476"/>
                <a:gd name="connsiteX21" fmla="*/ 11773475 w 12379791"/>
                <a:gd name="connsiteY21" fmla="*/ 194975 h 2269476"/>
                <a:gd name="connsiteX22" fmla="*/ 11393750 w 12379791"/>
                <a:gd name="connsiteY22" fmla="*/ 806860 h 2269476"/>
                <a:gd name="connsiteX23" fmla="*/ 10937005 w 12379791"/>
                <a:gd name="connsiteY23" fmla="*/ 1421021 h 2269476"/>
                <a:gd name="connsiteX24" fmla="*/ 10369210 w 12379791"/>
                <a:gd name="connsiteY24" fmla="*/ 1377804 h 2269476"/>
                <a:gd name="connsiteX25" fmla="*/ 9862313 w 12379791"/>
                <a:gd name="connsiteY25" fmla="*/ 818235 h 2269476"/>
                <a:gd name="connsiteX26" fmla="*/ 9387658 w 12379791"/>
                <a:gd name="connsiteY26" fmla="*/ 340554 h 2269476"/>
                <a:gd name="connsiteX27" fmla="*/ 8614705 w 12379791"/>
                <a:gd name="connsiteY27" fmla="*/ 52559 h 2269476"/>
                <a:gd name="connsiteX28" fmla="*/ 8557477 w 12379791"/>
                <a:gd name="connsiteY28" fmla="*/ 220165 h 2269476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3671104 w 12379791"/>
                <a:gd name="connsiteY6" fmla="*/ 614077 h 2262197"/>
                <a:gd name="connsiteX7" fmla="*/ 4550540 w 12379791"/>
                <a:gd name="connsiteY7" fmla="*/ 597083 h 2262197"/>
                <a:gd name="connsiteX8" fmla="*/ 5180258 w 12379791"/>
                <a:gd name="connsiteY8" fmla="*/ 605589 h 2262197"/>
                <a:gd name="connsiteX9" fmla="*/ 6016268 w 12379791"/>
                <a:gd name="connsiteY9" fmla="*/ 605589 h 2262197"/>
                <a:gd name="connsiteX10" fmla="*/ 7080281 w 12379791"/>
                <a:gd name="connsiteY10" fmla="*/ 631089 h 2262197"/>
                <a:gd name="connsiteX11" fmla="*/ 7829436 w 12379791"/>
                <a:gd name="connsiteY11" fmla="*/ 622583 h 2262197"/>
                <a:gd name="connsiteX12" fmla="*/ 8361431 w 12379791"/>
                <a:gd name="connsiteY12" fmla="*/ 614077 h 2262197"/>
                <a:gd name="connsiteX13" fmla="*/ 8982448 w 12379791"/>
                <a:gd name="connsiteY13" fmla="*/ 1016825 h 2262197"/>
                <a:gd name="connsiteX14" fmla="*/ 9552444 w 12379791"/>
                <a:gd name="connsiteY14" fmla="*/ 1843657 h 2262197"/>
                <a:gd name="connsiteX15" fmla="*/ 10483844 w 12379791"/>
                <a:gd name="connsiteY15" fmla="*/ 2262196 h 2262197"/>
                <a:gd name="connsiteX16" fmla="*/ 11529878 w 12379791"/>
                <a:gd name="connsiteY16" fmla="*/ 1843659 h 2262197"/>
                <a:gd name="connsiteX17" fmla="*/ 11820809 w 12379791"/>
                <a:gd name="connsiteY17" fmla="*/ 1197924 h 2262197"/>
                <a:gd name="connsiteX18" fmla="*/ 12131705 w 12379791"/>
                <a:gd name="connsiteY18" fmla="*/ 751817 h 2262197"/>
                <a:gd name="connsiteX19" fmla="*/ 12379791 w 12379791"/>
                <a:gd name="connsiteY19" fmla="*/ 451503 h 2262197"/>
                <a:gd name="connsiteX20" fmla="*/ 12379791 w 12379791"/>
                <a:gd name="connsiteY20" fmla="*/ 13121 h 2262197"/>
                <a:gd name="connsiteX21" fmla="*/ 11773475 w 12379791"/>
                <a:gd name="connsiteY21" fmla="*/ 187696 h 2262197"/>
                <a:gd name="connsiteX22" fmla="*/ 11393750 w 12379791"/>
                <a:gd name="connsiteY22" fmla="*/ 799581 h 2262197"/>
                <a:gd name="connsiteX23" fmla="*/ 10937005 w 12379791"/>
                <a:gd name="connsiteY23" fmla="*/ 1413742 h 2262197"/>
                <a:gd name="connsiteX24" fmla="*/ 10369210 w 12379791"/>
                <a:gd name="connsiteY24" fmla="*/ 1370525 h 2262197"/>
                <a:gd name="connsiteX25" fmla="*/ 9862313 w 12379791"/>
                <a:gd name="connsiteY25" fmla="*/ 810956 h 2262197"/>
                <a:gd name="connsiteX26" fmla="*/ 9387658 w 12379791"/>
                <a:gd name="connsiteY26" fmla="*/ 333275 h 2262197"/>
                <a:gd name="connsiteX27" fmla="*/ 8557477 w 12379791"/>
                <a:gd name="connsiteY27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3671104 w 12379791"/>
                <a:gd name="connsiteY6" fmla="*/ 614077 h 2262197"/>
                <a:gd name="connsiteX7" fmla="*/ 4550540 w 12379791"/>
                <a:gd name="connsiteY7" fmla="*/ 597083 h 2262197"/>
                <a:gd name="connsiteX8" fmla="*/ 5180258 w 12379791"/>
                <a:gd name="connsiteY8" fmla="*/ 605589 h 2262197"/>
                <a:gd name="connsiteX9" fmla="*/ 6016268 w 12379791"/>
                <a:gd name="connsiteY9" fmla="*/ 605589 h 2262197"/>
                <a:gd name="connsiteX10" fmla="*/ 7080281 w 12379791"/>
                <a:gd name="connsiteY10" fmla="*/ 631089 h 2262197"/>
                <a:gd name="connsiteX11" fmla="*/ 7829436 w 12379791"/>
                <a:gd name="connsiteY11" fmla="*/ 622583 h 2262197"/>
                <a:gd name="connsiteX12" fmla="*/ 8361431 w 12379791"/>
                <a:gd name="connsiteY12" fmla="*/ 614077 h 2262197"/>
                <a:gd name="connsiteX13" fmla="*/ 8982448 w 12379791"/>
                <a:gd name="connsiteY13" fmla="*/ 1016825 h 2262197"/>
                <a:gd name="connsiteX14" fmla="*/ 9552444 w 12379791"/>
                <a:gd name="connsiteY14" fmla="*/ 1843657 h 2262197"/>
                <a:gd name="connsiteX15" fmla="*/ 10483844 w 12379791"/>
                <a:gd name="connsiteY15" fmla="*/ 2262196 h 2262197"/>
                <a:gd name="connsiteX16" fmla="*/ 11529878 w 12379791"/>
                <a:gd name="connsiteY16" fmla="*/ 1843659 h 2262197"/>
                <a:gd name="connsiteX17" fmla="*/ 11820809 w 12379791"/>
                <a:gd name="connsiteY17" fmla="*/ 1197924 h 2262197"/>
                <a:gd name="connsiteX18" fmla="*/ 12131705 w 12379791"/>
                <a:gd name="connsiteY18" fmla="*/ 751817 h 2262197"/>
                <a:gd name="connsiteX19" fmla="*/ 12379791 w 12379791"/>
                <a:gd name="connsiteY19" fmla="*/ 451503 h 2262197"/>
                <a:gd name="connsiteX20" fmla="*/ 12379791 w 12379791"/>
                <a:gd name="connsiteY20" fmla="*/ 13121 h 2262197"/>
                <a:gd name="connsiteX21" fmla="*/ 11773475 w 12379791"/>
                <a:gd name="connsiteY21" fmla="*/ 187696 h 2262197"/>
                <a:gd name="connsiteX22" fmla="*/ 11393750 w 12379791"/>
                <a:gd name="connsiteY22" fmla="*/ 799581 h 2262197"/>
                <a:gd name="connsiteX23" fmla="*/ 10937005 w 12379791"/>
                <a:gd name="connsiteY23" fmla="*/ 1413742 h 2262197"/>
                <a:gd name="connsiteX24" fmla="*/ 10369210 w 12379791"/>
                <a:gd name="connsiteY24" fmla="*/ 1370525 h 2262197"/>
                <a:gd name="connsiteX25" fmla="*/ 9862313 w 12379791"/>
                <a:gd name="connsiteY25" fmla="*/ 810956 h 2262197"/>
                <a:gd name="connsiteX26" fmla="*/ 9450348 w 12379791"/>
                <a:gd name="connsiteY26" fmla="*/ 299156 h 2262197"/>
                <a:gd name="connsiteX27" fmla="*/ 8557477 w 12379791"/>
                <a:gd name="connsiteY27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3671104 w 12379791"/>
                <a:gd name="connsiteY6" fmla="*/ 614077 h 2262197"/>
                <a:gd name="connsiteX7" fmla="*/ 4550540 w 12379791"/>
                <a:gd name="connsiteY7" fmla="*/ 597083 h 2262197"/>
                <a:gd name="connsiteX8" fmla="*/ 5180258 w 12379791"/>
                <a:gd name="connsiteY8" fmla="*/ 605589 h 2262197"/>
                <a:gd name="connsiteX9" fmla="*/ 6016268 w 12379791"/>
                <a:gd name="connsiteY9" fmla="*/ 605589 h 2262197"/>
                <a:gd name="connsiteX10" fmla="*/ 7080281 w 12379791"/>
                <a:gd name="connsiteY10" fmla="*/ 631089 h 2262197"/>
                <a:gd name="connsiteX11" fmla="*/ 7829436 w 12379791"/>
                <a:gd name="connsiteY11" fmla="*/ 622583 h 2262197"/>
                <a:gd name="connsiteX12" fmla="*/ 8361431 w 12379791"/>
                <a:gd name="connsiteY12" fmla="*/ 614077 h 2262197"/>
                <a:gd name="connsiteX13" fmla="*/ 8982448 w 12379791"/>
                <a:gd name="connsiteY13" fmla="*/ 1016825 h 2262197"/>
                <a:gd name="connsiteX14" fmla="*/ 9552444 w 12379791"/>
                <a:gd name="connsiteY14" fmla="*/ 1843657 h 2262197"/>
                <a:gd name="connsiteX15" fmla="*/ 10483844 w 12379791"/>
                <a:gd name="connsiteY15" fmla="*/ 2262196 h 2262197"/>
                <a:gd name="connsiteX16" fmla="*/ 11529878 w 12379791"/>
                <a:gd name="connsiteY16" fmla="*/ 1843659 h 2262197"/>
                <a:gd name="connsiteX17" fmla="*/ 11820809 w 12379791"/>
                <a:gd name="connsiteY17" fmla="*/ 1197924 h 2262197"/>
                <a:gd name="connsiteX18" fmla="*/ 12131705 w 12379791"/>
                <a:gd name="connsiteY18" fmla="*/ 751817 h 2262197"/>
                <a:gd name="connsiteX19" fmla="*/ 12379791 w 12379791"/>
                <a:gd name="connsiteY19" fmla="*/ 451503 h 2262197"/>
                <a:gd name="connsiteX20" fmla="*/ 12379791 w 12379791"/>
                <a:gd name="connsiteY20" fmla="*/ 13121 h 2262197"/>
                <a:gd name="connsiteX21" fmla="*/ 11773475 w 12379791"/>
                <a:gd name="connsiteY21" fmla="*/ 187696 h 2262197"/>
                <a:gd name="connsiteX22" fmla="*/ 11393750 w 12379791"/>
                <a:gd name="connsiteY22" fmla="*/ 799581 h 2262197"/>
                <a:gd name="connsiteX23" fmla="*/ 10937005 w 12379791"/>
                <a:gd name="connsiteY23" fmla="*/ 1413742 h 2262197"/>
                <a:gd name="connsiteX24" fmla="*/ 10369210 w 12379791"/>
                <a:gd name="connsiteY24" fmla="*/ 1370525 h 2262197"/>
                <a:gd name="connsiteX25" fmla="*/ 9862313 w 12379791"/>
                <a:gd name="connsiteY25" fmla="*/ 810956 h 2262197"/>
                <a:gd name="connsiteX26" fmla="*/ 9450348 w 12379791"/>
                <a:gd name="connsiteY26" fmla="*/ 299156 h 2262197"/>
                <a:gd name="connsiteX27" fmla="*/ 8557477 w 12379791"/>
                <a:gd name="connsiteY27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4550540 w 12379791"/>
                <a:gd name="connsiteY6" fmla="*/ 597083 h 2262197"/>
                <a:gd name="connsiteX7" fmla="*/ 5180258 w 12379791"/>
                <a:gd name="connsiteY7" fmla="*/ 605589 h 2262197"/>
                <a:gd name="connsiteX8" fmla="*/ 6016268 w 12379791"/>
                <a:gd name="connsiteY8" fmla="*/ 605589 h 2262197"/>
                <a:gd name="connsiteX9" fmla="*/ 7080281 w 12379791"/>
                <a:gd name="connsiteY9" fmla="*/ 631089 h 2262197"/>
                <a:gd name="connsiteX10" fmla="*/ 7829436 w 12379791"/>
                <a:gd name="connsiteY10" fmla="*/ 622583 h 2262197"/>
                <a:gd name="connsiteX11" fmla="*/ 8361431 w 12379791"/>
                <a:gd name="connsiteY11" fmla="*/ 614077 h 2262197"/>
                <a:gd name="connsiteX12" fmla="*/ 8982448 w 12379791"/>
                <a:gd name="connsiteY12" fmla="*/ 1016825 h 2262197"/>
                <a:gd name="connsiteX13" fmla="*/ 9552444 w 12379791"/>
                <a:gd name="connsiteY13" fmla="*/ 1843657 h 2262197"/>
                <a:gd name="connsiteX14" fmla="*/ 10483844 w 12379791"/>
                <a:gd name="connsiteY14" fmla="*/ 2262196 h 2262197"/>
                <a:gd name="connsiteX15" fmla="*/ 11529878 w 12379791"/>
                <a:gd name="connsiteY15" fmla="*/ 1843659 h 2262197"/>
                <a:gd name="connsiteX16" fmla="*/ 11820809 w 12379791"/>
                <a:gd name="connsiteY16" fmla="*/ 1197924 h 2262197"/>
                <a:gd name="connsiteX17" fmla="*/ 12131705 w 12379791"/>
                <a:gd name="connsiteY17" fmla="*/ 751817 h 2262197"/>
                <a:gd name="connsiteX18" fmla="*/ 12379791 w 12379791"/>
                <a:gd name="connsiteY18" fmla="*/ 451503 h 2262197"/>
                <a:gd name="connsiteX19" fmla="*/ 12379791 w 12379791"/>
                <a:gd name="connsiteY19" fmla="*/ 13121 h 2262197"/>
                <a:gd name="connsiteX20" fmla="*/ 11773475 w 12379791"/>
                <a:gd name="connsiteY20" fmla="*/ 187696 h 2262197"/>
                <a:gd name="connsiteX21" fmla="*/ 11393750 w 12379791"/>
                <a:gd name="connsiteY21" fmla="*/ 799581 h 2262197"/>
                <a:gd name="connsiteX22" fmla="*/ 10937005 w 12379791"/>
                <a:gd name="connsiteY22" fmla="*/ 1413742 h 2262197"/>
                <a:gd name="connsiteX23" fmla="*/ 10369210 w 12379791"/>
                <a:gd name="connsiteY23" fmla="*/ 1370525 h 2262197"/>
                <a:gd name="connsiteX24" fmla="*/ 9862313 w 12379791"/>
                <a:gd name="connsiteY24" fmla="*/ 810956 h 2262197"/>
                <a:gd name="connsiteX25" fmla="*/ 9450348 w 12379791"/>
                <a:gd name="connsiteY25" fmla="*/ 299156 h 2262197"/>
                <a:gd name="connsiteX26" fmla="*/ 8557477 w 12379791"/>
                <a:gd name="connsiteY26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5180258 w 12379791"/>
                <a:gd name="connsiteY6" fmla="*/ 605589 h 2262197"/>
                <a:gd name="connsiteX7" fmla="*/ 6016268 w 12379791"/>
                <a:gd name="connsiteY7" fmla="*/ 605589 h 2262197"/>
                <a:gd name="connsiteX8" fmla="*/ 7080281 w 12379791"/>
                <a:gd name="connsiteY8" fmla="*/ 631089 h 2262197"/>
                <a:gd name="connsiteX9" fmla="*/ 7829436 w 12379791"/>
                <a:gd name="connsiteY9" fmla="*/ 622583 h 2262197"/>
                <a:gd name="connsiteX10" fmla="*/ 8361431 w 12379791"/>
                <a:gd name="connsiteY10" fmla="*/ 614077 h 2262197"/>
                <a:gd name="connsiteX11" fmla="*/ 8982448 w 12379791"/>
                <a:gd name="connsiteY11" fmla="*/ 1016825 h 2262197"/>
                <a:gd name="connsiteX12" fmla="*/ 9552444 w 12379791"/>
                <a:gd name="connsiteY12" fmla="*/ 1843657 h 2262197"/>
                <a:gd name="connsiteX13" fmla="*/ 10483844 w 12379791"/>
                <a:gd name="connsiteY13" fmla="*/ 2262196 h 2262197"/>
                <a:gd name="connsiteX14" fmla="*/ 11529878 w 12379791"/>
                <a:gd name="connsiteY14" fmla="*/ 1843659 h 2262197"/>
                <a:gd name="connsiteX15" fmla="*/ 11820809 w 12379791"/>
                <a:gd name="connsiteY15" fmla="*/ 1197924 h 2262197"/>
                <a:gd name="connsiteX16" fmla="*/ 12131705 w 12379791"/>
                <a:gd name="connsiteY16" fmla="*/ 751817 h 2262197"/>
                <a:gd name="connsiteX17" fmla="*/ 12379791 w 12379791"/>
                <a:gd name="connsiteY17" fmla="*/ 451503 h 2262197"/>
                <a:gd name="connsiteX18" fmla="*/ 12379791 w 12379791"/>
                <a:gd name="connsiteY18" fmla="*/ 13121 h 2262197"/>
                <a:gd name="connsiteX19" fmla="*/ 11773475 w 12379791"/>
                <a:gd name="connsiteY19" fmla="*/ 187696 h 2262197"/>
                <a:gd name="connsiteX20" fmla="*/ 11393750 w 12379791"/>
                <a:gd name="connsiteY20" fmla="*/ 799581 h 2262197"/>
                <a:gd name="connsiteX21" fmla="*/ 10937005 w 12379791"/>
                <a:gd name="connsiteY21" fmla="*/ 1413742 h 2262197"/>
                <a:gd name="connsiteX22" fmla="*/ 10369210 w 12379791"/>
                <a:gd name="connsiteY22" fmla="*/ 1370525 h 2262197"/>
                <a:gd name="connsiteX23" fmla="*/ 9862313 w 12379791"/>
                <a:gd name="connsiteY23" fmla="*/ 810956 h 2262197"/>
                <a:gd name="connsiteX24" fmla="*/ 9450348 w 12379791"/>
                <a:gd name="connsiteY24" fmla="*/ 299156 h 2262197"/>
                <a:gd name="connsiteX25" fmla="*/ 8557477 w 12379791"/>
                <a:gd name="connsiteY25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6016268 w 12379791"/>
                <a:gd name="connsiteY6" fmla="*/ 605589 h 2262197"/>
                <a:gd name="connsiteX7" fmla="*/ 7080281 w 12379791"/>
                <a:gd name="connsiteY7" fmla="*/ 631089 h 2262197"/>
                <a:gd name="connsiteX8" fmla="*/ 7829436 w 12379791"/>
                <a:gd name="connsiteY8" fmla="*/ 622583 h 2262197"/>
                <a:gd name="connsiteX9" fmla="*/ 8361431 w 12379791"/>
                <a:gd name="connsiteY9" fmla="*/ 614077 h 2262197"/>
                <a:gd name="connsiteX10" fmla="*/ 8982448 w 12379791"/>
                <a:gd name="connsiteY10" fmla="*/ 1016825 h 2262197"/>
                <a:gd name="connsiteX11" fmla="*/ 9552444 w 12379791"/>
                <a:gd name="connsiteY11" fmla="*/ 1843657 h 2262197"/>
                <a:gd name="connsiteX12" fmla="*/ 10483844 w 12379791"/>
                <a:gd name="connsiteY12" fmla="*/ 2262196 h 2262197"/>
                <a:gd name="connsiteX13" fmla="*/ 11529878 w 12379791"/>
                <a:gd name="connsiteY13" fmla="*/ 1843659 h 2262197"/>
                <a:gd name="connsiteX14" fmla="*/ 11820809 w 12379791"/>
                <a:gd name="connsiteY14" fmla="*/ 1197924 h 2262197"/>
                <a:gd name="connsiteX15" fmla="*/ 12131705 w 12379791"/>
                <a:gd name="connsiteY15" fmla="*/ 751817 h 2262197"/>
                <a:gd name="connsiteX16" fmla="*/ 12379791 w 12379791"/>
                <a:gd name="connsiteY16" fmla="*/ 451503 h 2262197"/>
                <a:gd name="connsiteX17" fmla="*/ 12379791 w 12379791"/>
                <a:gd name="connsiteY17" fmla="*/ 13121 h 2262197"/>
                <a:gd name="connsiteX18" fmla="*/ 11773475 w 12379791"/>
                <a:gd name="connsiteY18" fmla="*/ 187696 h 2262197"/>
                <a:gd name="connsiteX19" fmla="*/ 11393750 w 12379791"/>
                <a:gd name="connsiteY19" fmla="*/ 799581 h 2262197"/>
                <a:gd name="connsiteX20" fmla="*/ 10937005 w 12379791"/>
                <a:gd name="connsiteY20" fmla="*/ 1413742 h 2262197"/>
                <a:gd name="connsiteX21" fmla="*/ 10369210 w 12379791"/>
                <a:gd name="connsiteY21" fmla="*/ 1370525 h 2262197"/>
                <a:gd name="connsiteX22" fmla="*/ 9862313 w 12379791"/>
                <a:gd name="connsiteY22" fmla="*/ 810956 h 2262197"/>
                <a:gd name="connsiteX23" fmla="*/ 9450348 w 12379791"/>
                <a:gd name="connsiteY23" fmla="*/ 299156 h 2262197"/>
                <a:gd name="connsiteX24" fmla="*/ 8557477 w 12379791"/>
                <a:gd name="connsiteY24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7080281 w 12379791"/>
                <a:gd name="connsiteY6" fmla="*/ 631089 h 2262197"/>
                <a:gd name="connsiteX7" fmla="*/ 7829436 w 12379791"/>
                <a:gd name="connsiteY7" fmla="*/ 622583 h 2262197"/>
                <a:gd name="connsiteX8" fmla="*/ 8361431 w 12379791"/>
                <a:gd name="connsiteY8" fmla="*/ 614077 h 2262197"/>
                <a:gd name="connsiteX9" fmla="*/ 8982448 w 12379791"/>
                <a:gd name="connsiteY9" fmla="*/ 1016825 h 2262197"/>
                <a:gd name="connsiteX10" fmla="*/ 9552444 w 12379791"/>
                <a:gd name="connsiteY10" fmla="*/ 1843657 h 2262197"/>
                <a:gd name="connsiteX11" fmla="*/ 10483844 w 12379791"/>
                <a:gd name="connsiteY11" fmla="*/ 2262196 h 2262197"/>
                <a:gd name="connsiteX12" fmla="*/ 11529878 w 12379791"/>
                <a:gd name="connsiteY12" fmla="*/ 1843659 h 2262197"/>
                <a:gd name="connsiteX13" fmla="*/ 11820809 w 12379791"/>
                <a:gd name="connsiteY13" fmla="*/ 1197924 h 2262197"/>
                <a:gd name="connsiteX14" fmla="*/ 12131705 w 12379791"/>
                <a:gd name="connsiteY14" fmla="*/ 751817 h 2262197"/>
                <a:gd name="connsiteX15" fmla="*/ 12379791 w 12379791"/>
                <a:gd name="connsiteY15" fmla="*/ 451503 h 2262197"/>
                <a:gd name="connsiteX16" fmla="*/ 12379791 w 12379791"/>
                <a:gd name="connsiteY16" fmla="*/ 13121 h 2262197"/>
                <a:gd name="connsiteX17" fmla="*/ 11773475 w 12379791"/>
                <a:gd name="connsiteY17" fmla="*/ 187696 h 2262197"/>
                <a:gd name="connsiteX18" fmla="*/ 11393750 w 12379791"/>
                <a:gd name="connsiteY18" fmla="*/ 799581 h 2262197"/>
                <a:gd name="connsiteX19" fmla="*/ 10937005 w 12379791"/>
                <a:gd name="connsiteY19" fmla="*/ 1413742 h 2262197"/>
                <a:gd name="connsiteX20" fmla="*/ 10369210 w 12379791"/>
                <a:gd name="connsiteY20" fmla="*/ 1370525 h 2262197"/>
                <a:gd name="connsiteX21" fmla="*/ 9862313 w 12379791"/>
                <a:gd name="connsiteY21" fmla="*/ 810956 h 2262197"/>
                <a:gd name="connsiteX22" fmla="*/ 9450348 w 12379791"/>
                <a:gd name="connsiteY22" fmla="*/ 299156 h 2262197"/>
                <a:gd name="connsiteX23" fmla="*/ 8557477 w 12379791"/>
                <a:gd name="connsiteY23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7829436 w 12379791"/>
                <a:gd name="connsiteY6" fmla="*/ 622583 h 2262197"/>
                <a:gd name="connsiteX7" fmla="*/ 8361431 w 12379791"/>
                <a:gd name="connsiteY7" fmla="*/ 614077 h 2262197"/>
                <a:gd name="connsiteX8" fmla="*/ 8982448 w 12379791"/>
                <a:gd name="connsiteY8" fmla="*/ 1016825 h 2262197"/>
                <a:gd name="connsiteX9" fmla="*/ 9552444 w 12379791"/>
                <a:gd name="connsiteY9" fmla="*/ 1843657 h 2262197"/>
                <a:gd name="connsiteX10" fmla="*/ 10483844 w 12379791"/>
                <a:gd name="connsiteY10" fmla="*/ 2262196 h 2262197"/>
                <a:gd name="connsiteX11" fmla="*/ 11529878 w 12379791"/>
                <a:gd name="connsiteY11" fmla="*/ 1843659 h 2262197"/>
                <a:gd name="connsiteX12" fmla="*/ 11820809 w 12379791"/>
                <a:gd name="connsiteY12" fmla="*/ 1197924 h 2262197"/>
                <a:gd name="connsiteX13" fmla="*/ 12131705 w 12379791"/>
                <a:gd name="connsiteY13" fmla="*/ 751817 h 2262197"/>
                <a:gd name="connsiteX14" fmla="*/ 12379791 w 12379791"/>
                <a:gd name="connsiteY14" fmla="*/ 451503 h 2262197"/>
                <a:gd name="connsiteX15" fmla="*/ 12379791 w 12379791"/>
                <a:gd name="connsiteY15" fmla="*/ 13121 h 2262197"/>
                <a:gd name="connsiteX16" fmla="*/ 11773475 w 12379791"/>
                <a:gd name="connsiteY16" fmla="*/ 187696 h 2262197"/>
                <a:gd name="connsiteX17" fmla="*/ 11393750 w 12379791"/>
                <a:gd name="connsiteY17" fmla="*/ 799581 h 2262197"/>
                <a:gd name="connsiteX18" fmla="*/ 10937005 w 12379791"/>
                <a:gd name="connsiteY18" fmla="*/ 1413742 h 2262197"/>
                <a:gd name="connsiteX19" fmla="*/ 10369210 w 12379791"/>
                <a:gd name="connsiteY19" fmla="*/ 1370525 h 2262197"/>
                <a:gd name="connsiteX20" fmla="*/ 9862313 w 12379791"/>
                <a:gd name="connsiteY20" fmla="*/ 810956 h 2262197"/>
                <a:gd name="connsiteX21" fmla="*/ 9450348 w 12379791"/>
                <a:gd name="connsiteY21" fmla="*/ 299156 h 2262197"/>
                <a:gd name="connsiteX22" fmla="*/ 8557477 w 12379791"/>
                <a:gd name="connsiteY22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8361431 w 12379791"/>
                <a:gd name="connsiteY6" fmla="*/ 614077 h 2262197"/>
                <a:gd name="connsiteX7" fmla="*/ 8982448 w 12379791"/>
                <a:gd name="connsiteY7" fmla="*/ 1016825 h 2262197"/>
                <a:gd name="connsiteX8" fmla="*/ 9552444 w 12379791"/>
                <a:gd name="connsiteY8" fmla="*/ 1843657 h 2262197"/>
                <a:gd name="connsiteX9" fmla="*/ 10483844 w 12379791"/>
                <a:gd name="connsiteY9" fmla="*/ 2262196 h 2262197"/>
                <a:gd name="connsiteX10" fmla="*/ 11529878 w 12379791"/>
                <a:gd name="connsiteY10" fmla="*/ 1843659 h 2262197"/>
                <a:gd name="connsiteX11" fmla="*/ 11820809 w 12379791"/>
                <a:gd name="connsiteY11" fmla="*/ 1197924 h 2262197"/>
                <a:gd name="connsiteX12" fmla="*/ 12131705 w 12379791"/>
                <a:gd name="connsiteY12" fmla="*/ 751817 h 2262197"/>
                <a:gd name="connsiteX13" fmla="*/ 12379791 w 12379791"/>
                <a:gd name="connsiteY13" fmla="*/ 451503 h 2262197"/>
                <a:gd name="connsiteX14" fmla="*/ 12379791 w 12379791"/>
                <a:gd name="connsiteY14" fmla="*/ 13121 h 2262197"/>
                <a:gd name="connsiteX15" fmla="*/ 11773475 w 12379791"/>
                <a:gd name="connsiteY15" fmla="*/ 187696 h 2262197"/>
                <a:gd name="connsiteX16" fmla="*/ 11393750 w 12379791"/>
                <a:gd name="connsiteY16" fmla="*/ 799581 h 2262197"/>
                <a:gd name="connsiteX17" fmla="*/ 10937005 w 12379791"/>
                <a:gd name="connsiteY17" fmla="*/ 1413742 h 2262197"/>
                <a:gd name="connsiteX18" fmla="*/ 10369210 w 12379791"/>
                <a:gd name="connsiteY18" fmla="*/ 1370525 h 2262197"/>
                <a:gd name="connsiteX19" fmla="*/ 9862313 w 12379791"/>
                <a:gd name="connsiteY19" fmla="*/ 810956 h 2262197"/>
                <a:gd name="connsiteX20" fmla="*/ 9450348 w 12379791"/>
                <a:gd name="connsiteY20" fmla="*/ 299156 h 2262197"/>
                <a:gd name="connsiteX21" fmla="*/ 8557477 w 12379791"/>
                <a:gd name="connsiteY21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8370387 w 12379791"/>
                <a:gd name="connsiteY6" fmla="*/ 545838 h 2262197"/>
                <a:gd name="connsiteX7" fmla="*/ 8982448 w 12379791"/>
                <a:gd name="connsiteY7" fmla="*/ 1016825 h 2262197"/>
                <a:gd name="connsiteX8" fmla="*/ 9552444 w 12379791"/>
                <a:gd name="connsiteY8" fmla="*/ 1843657 h 2262197"/>
                <a:gd name="connsiteX9" fmla="*/ 10483844 w 12379791"/>
                <a:gd name="connsiteY9" fmla="*/ 2262196 h 2262197"/>
                <a:gd name="connsiteX10" fmla="*/ 11529878 w 12379791"/>
                <a:gd name="connsiteY10" fmla="*/ 1843659 h 2262197"/>
                <a:gd name="connsiteX11" fmla="*/ 11820809 w 12379791"/>
                <a:gd name="connsiteY11" fmla="*/ 1197924 h 2262197"/>
                <a:gd name="connsiteX12" fmla="*/ 12131705 w 12379791"/>
                <a:gd name="connsiteY12" fmla="*/ 751817 h 2262197"/>
                <a:gd name="connsiteX13" fmla="*/ 12379791 w 12379791"/>
                <a:gd name="connsiteY13" fmla="*/ 451503 h 2262197"/>
                <a:gd name="connsiteX14" fmla="*/ 12379791 w 12379791"/>
                <a:gd name="connsiteY14" fmla="*/ 13121 h 2262197"/>
                <a:gd name="connsiteX15" fmla="*/ 11773475 w 12379791"/>
                <a:gd name="connsiteY15" fmla="*/ 187696 h 2262197"/>
                <a:gd name="connsiteX16" fmla="*/ 11393750 w 12379791"/>
                <a:gd name="connsiteY16" fmla="*/ 799581 h 2262197"/>
                <a:gd name="connsiteX17" fmla="*/ 10937005 w 12379791"/>
                <a:gd name="connsiteY17" fmla="*/ 1413742 h 2262197"/>
                <a:gd name="connsiteX18" fmla="*/ 10369210 w 12379791"/>
                <a:gd name="connsiteY18" fmla="*/ 1370525 h 2262197"/>
                <a:gd name="connsiteX19" fmla="*/ 9862313 w 12379791"/>
                <a:gd name="connsiteY19" fmla="*/ 810956 h 2262197"/>
                <a:gd name="connsiteX20" fmla="*/ 9450348 w 12379791"/>
                <a:gd name="connsiteY20" fmla="*/ 299156 h 2262197"/>
                <a:gd name="connsiteX21" fmla="*/ 8557477 w 12379791"/>
                <a:gd name="connsiteY21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8982448 w 12379791"/>
                <a:gd name="connsiteY6" fmla="*/ 1016825 h 2262197"/>
                <a:gd name="connsiteX7" fmla="*/ 9552444 w 12379791"/>
                <a:gd name="connsiteY7" fmla="*/ 1843657 h 2262197"/>
                <a:gd name="connsiteX8" fmla="*/ 10483844 w 12379791"/>
                <a:gd name="connsiteY8" fmla="*/ 2262196 h 2262197"/>
                <a:gd name="connsiteX9" fmla="*/ 11529878 w 12379791"/>
                <a:gd name="connsiteY9" fmla="*/ 1843659 h 2262197"/>
                <a:gd name="connsiteX10" fmla="*/ 11820809 w 12379791"/>
                <a:gd name="connsiteY10" fmla="*/ 1197924 h 2262197"/>
                <a:gd name="connsiteX11" fmla="*/ 12131705 w 12379791"/>
                <a:gd name="connsiteY11" fmla="*/ 751817 h 2262197"/>
                <a:gd name="connsiteX12" fmla="*/ 12379791 w 12379791"/>
                <a:gd name="connsiteY12" fmla="*/ 451503 h 2262197"/>
                <a:gd name="connsiteX13" fmla="*/ 12379791 w 12379791"/>
                <a:gd name="connsiteY13" fmla="*/ 13121 h 2262197"/>
                <a:gd name="connsiteX14" fmla="*/ 11773475 w 12379791"/>
                <a:gd name="connsiteY14" fmla="*/ 187696 h 2262197"/>
                <a:gd name="connsiteX15" fmla="*/ 11393750 w 12379791"/>
                <a:gd name="connsiteY15" fmla="*/ 799581 h 2262197"/>
                <a:gd name="connsiteX16" fmla="*/ 10937005 w 12379791"/>
                <a:gd name="connsiteY16" fmla="*/ 1413742 h 2262197"/>
                <a:gd name="connsiteX17" fmla="*/ 10369210 w 12379791"/>
                <a:gd name="connsiteY17" fmla="*/ 1370525 h 2262197"/>
                <a:gd name="connsiteX18" fmla="*/ 9862313 w 12379791"/>
                <a:gd name="connsiteY18" fmla="*/ 810956 h 2262197"/>
                <a:gd name="connsiteX19" fmla="*/ 9450348 w 12379791"/>
                <a:gd name="connsiteY19" fmla="*/ 299156 h 2262197"/>
                <a:gd name="connsiteX20" fmla="*/ 8557477 w 12379791"/>
                <a:gd name="connsiteY20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8622972 w 12379791"/>
                <a:gd name="connsiteY5" fmla="*/ 537465 h 2262197"/>
                <a:gd name="connsiteX6" fmla="*/ 8982448 w 12379791"/>
                <a:gd name="connsiteY6" fmla="*/ 1016825 h 2262197"/>
                <a:gd name="connsiteX7" fmla="*/ 9552444 w 12379791"/>
                <a:gd name="connsiteY7" fmla="*/ 1843657 h 2262197"/>
                <a:gd name="connsiteX8" fmla="*/ 10483844 w 12379791"/>
                <a:gd name="connsiteY8" fmla="*/ 2262196 h 2262197"/>
                <a:gd name="connsiteX9" fmla="*/ 11529878 w 12379791"/>
                <a:gd name="connsiteY9" fmla="*/ 1843659 h 2262197"/>
                <a:gd name="connsiteX10" fmla="*/ 11820809 w 12379791"/>
                <a:gd name="connsiteY10" fmla="*/ 1197924 h 2262197"/>
                <a:gd name="connsiteX11" fmla="*/ 12131705 w 12379791"/>
                <a:gd name="connsiteY11" fmla="*/ 751817 h 2262197"/>
                <a:gd name="connsiteX12" fmla="*/ 12379791 w 12379791"/>
                <a:gd name="connsiteY12" fmla="*/ 451503 h 2262197"/>
                <a:gd name="connsiteX13" fmla="*/ 12379791 w 12379791"/>
                <a:gd name="connsiteY13" fmla="*/ 13121 h 2262197"/>
                <a:gd name="connsiteX14" fmla="*/ 11773475 w 12379791"/>
                <a:gd name="connsiteY14" fmla="*/ 187696 h 2262197"/>
                <a:gd name="connsiteX15" fmla="*/ 11393750 w 12379791"/>
                <a:gd name="connsiteY15" fmla="*/ 799581 h 2262197"/>
                <a:gd name="connsiteX16" fmla="*/ 10937005 w 12379791"/>
                <a:gd name="connsiteY16" fmla="*/ 1413742 h 2262197"/>
                <a:gd name="connsiteX17" fmla="*/ 10369210 w 12379791"/>
                <a:gd name="connsiteY17" fmla="*/ 1370525 h 2262197"/>
                <a:gd name="connsiteX18" fmla="*/ 9862313 w 12379791"/>
                <a:gd name="connsiteY18" fmla="*/ 810956 h 2262197"/>
                <a:gd name="connsiteX19" fmla="*/ 9450348 w 12379791"/>
                <a:gd name="connsiteY19" fmla="*/ 299156 h 2262197"/>
                <a:gd name="connsiteX20" fmla="*/ 8557477 w 12379791"/>
                <a:gd name="connsiteY20" fmla="*/ 212886 h 2262197"/>
                <a:gd name="connsiteX0" fmla="*/ 8568147 w 12390461"/>
                <a:gd name="connsiteY0" fmla="*/ 212886 h 2262197"/>
                <a:gd name="connsiteX1" fmla="*/ 425513 w 12390461"/>
                <a:gd name="connsiteY1" fmla="*/ 689526 h 2262197"/>
                <a:gd name="connsiteX2" fmla="*/ 1282314 w 12390461"/>
                <a:gd name="connsiteY2" fmla="*/ 597083 h 2262197"/>
                <a:gd name="connsiteX3" fmla="*/ 2433183 w 12390461"/>
                <a:gd name="connsiteY3" fmla="*/ 571583 h 2262197"/>
                <a:gd name="connsiteX4" fmla="*/ 8633642 w 12390461"/>
                <a:gd name="connsiteY4" fmla="*/ 537465 h 2262197"/>
                <a:gd name="connsiteX5" fmla="*/ 8993118 w 12390461"/>
                <a:gd name="connsiteY5" fmla="*/ 1016825 h 2262197"/>
                <a:gd name="connsiteX6" fmla="*/ 9563114 w 12390461"/>
                <a:gd name="connsiteY6" fmla="*/ 1843657 h 2262197"/>
                <a:gd name="connsiteX7" fmla="*/ 10494514 w 12390461"/>
                <a:gd name="connsiteY7" fmla="*/ 2262196 h 2262197"/>
                <a:gd name="connsiteX8" fmla="*/ 11540548 w 12390461"/>
                <a:gd name="connsiteY8" fmla="*/ 1843659 h 2262197"/>
                <a:gd name="connsiteX9" fmla="*/ 11831479 w 12390461"/>
                <a:gd name="connsiteY9" fmla="*/ 1197924 h 2262197"/>
                <a:gd name="connsiteX10" fmla="*/ 12142375 w 12390461"/>
                <a:gd name="connsiteY10" fmla="*/ 751817 h 2262197"/>
                <a:gd name="connsiteX11" fmla="*/ 12390461 w 12390461"/>
                <a:gd name="connsiteY11" fmla="*/ 451503 h 2262197"/>
                <a:gd name="connsiteX12" fmla="*/ 12390461 w 12390461"/>
                <a:gd name="connsiteY12" fmla="*/ 13121 h 2262197"/>
                <a:gd name="connsiteX13" fmla="*/ 11784145 w 12390461"/>
                <a:gd name="connsiteY13" fmla="*/ 187696 h 2262197"/>
                <a:gd name="connsiteX14" fmla="*/ 11404420 w 12390461"/>
                <a:gd name="connsiteY14" fmla="*/ 799581 h 2262197"/>
                <a:gd name="connsiteX15" fmla="*/ 10947675 w 12390461"/>
                <a:gd name="connsiteY15" fmla="*/ 1413742 h 2262197"/>
                <a:gd name="connsiteX16" fmla="*/ 10379880 w 12390461"/>
                <a:gd name="connsiteY16" fmla="*/ 1370525 h 2262197"/>
                <a:gd name="connsiteX17" fmla="*/ 9872983 w 12390461"/>
                <a:gd name="connsiteY17" fmla="*/ 810956 h 2262197"/>
                <a:gd name="connsiteX18" fmla="*/ 9461018 w 12390461"/>
                <a:gd name="connsiteY18" fmla="*/ 299156 h 2262197"/>
                <a:gd name="connsiteX19" fmla="*/ 8568147 w 12390461"/>
                <a:gd name="connsiteY19" fmla="*/ 212886 h 2262197"/>
                <a:gd name="connsiteX0" fmla="*/ 8767043 w 12589357"/>
                <a:gd name="connsiteY0" fmla="*/ 212886 h 2262197"/>
                <a:gd name="connsiteX1" fmla="*/ 624409 w 12589357"/>
                <a:gd name="connsiteY1" fmla="*/ 689526 h 2262197"/>
                <a:gd name="connsiteX2" fmla="*/ 1481210 w 12589357"/>
                <a:gd name="connsiteY2" fmla="*/ 597083 h 2262197"/>
                <a:gd name="connsiteX3" fmla="*/ 8832538 w 12589357"/>
                <a:gd name="connsiteY3" fmla="*/ 537465 h 2262197"/>
                <a:gd name="connsiteX4" fmla="*/ 9192014 w 12589357"/>
                <a:gd name="connsiteY4" fmla="*/ 1016825 h 2262197"/>
                <a:gd name="connsiteX5" fmla="*/ 9762010 w 12589357"/>
                <a:gd name="connsiteY5" fmla="*/ 1843657 h 2262197"/>
                <a:gd name="connsiteX6" fmla="*/ 10693410 w 12589357"/>
                <a:gd name="connsiteY6" fmla="*/ 2262196 h 2262197"/>
                <a:gd name="connsiteX7" fmla="*/ 11739444 w 12589357"/>
                <a:gd name="connsiteY7" fmla="*/ 1843659 h 2262197"/>
                <a:gd name="connsiteX8" fmla="*/ 12030375 w 12589357"/>
                <a:gd name="connsiteY8" fmla="*/ 1197924 h 2262197"/>
                <a:gd name="connsiteX9" fmla="*/ 12341271 w 12589357"/>
                <a:gd name="connsiteY9" fmla="*/ 751817 h 2262197"/>
                <a:gd name="connsiteX10" fmla="*/ 12589357 w 12589357"/>
                <a:gd name="connsiteY10" fmla="*/ 451503 h 2262197"/>
                <a:gd name="connsiteX11" fmla="*/ 12589357 w 12589357"/>
                <a:gd name="connsiteY11" fmla="*/ 13121 h 2262197"/>
                <a:gd name="connsiteX12" fmla="*/ 11983041 w 12589357"/>
                <a:gd name="connsiteY12" fmla="*/ 187696 h 2262197"/>
                <a:gd name="connsiteX13" fmla="*/ 11603316 w 12589357"/>
                <a:gd name="connsiteY13" fmla="*/ 799581 h 2262197"/>
                <a:gd name="connsiteX14" fmla="*/ 11146571 w 12589357"/>
                <a:gd name="connsiteY14" fmla="*/ 1413742 h 2262197"/>
                <a:gd name="connsiteX15" fmla="*/ 10578776 w 12589357"/>
                <a:gd name="connsiteY15" fmla="*/ 1370525 h 2262197"/>
                <a:gd name="connsiteX16" fmla="*/ 10071879 w 12589357"/>
                <a:gd name="connsiteY16" fmla="*/ 810956 h 2262197"/>
                <a:gd name="connsiteX17" fmla="*/ 9659914 w 12589357"/>
                <a:gd name="connsiteY17" fmla="*/ 299156 h 2262197"/>
                <a:gd name="connsiteX18" fmla="*/ 8767043 w 12589357"/>
                <a:gd name="connsiteY18" fmla="*/ 212886 h 2262197"/>
                <a:gd name="connsiteX0" fmla="*/ 8142648 w 11964962"/>
                <a:gd name="connsiteY0" fmla="*/ 212886 h 2262197"/>
                <a:gd name="connsiteX1" fmla="*/ 14 w 11964962"/>
                <a:gd name="connsiteY1" fmla="*/ 689526 h 2262197"/>
                <a:gd name="connsiteX2" fmla="*/ 8208143 w 11964962"/>
                <a:gd name="connsiteY2" fmla="*/ 537465 h 2262197"/>
                <a:gd name="connsiteX3" fmla="*/ 8567619 w 11964962"/>
                <a:gd name="connsiteY3" fmla="*/ 1016825 h 2262197"/>
                <a:gd name="connsiteX4" fmla="*/ 9137615 w 11964962"/>
                <a:gd name="connsiteY4" fmla="*/ 1843657 h 2262197"/>
                <a:gd name="connsiteX5" fmla="*/ 10069015 w 11964962"/>
                <a:gd name="connsiteY5" fmla="*/ 2262196 h 2262197"/>
                <a:gd name="connsiteX6" fmla="*/ 11115049 w 11964962"/>
                <a:gd name="connsiteY6" fmla="*/ 1843659 h 2262197"/>
                <a:gd name="connsiteX7" fmla="*/ 11405980 w 11964962"/>
                <a:gd name="connsiteY7" fmla="*/ 1197924 h 2262197"/>
                <a:gd name="connsiteX8" fmla="*/ 11716876 w 11964962"/>
                <a:gd name="connsiteY8" fmla="*/ 751817 h 2262197"/>
                <a:gd name="connsiteX9" fmla="*/ 11964962 w 11964962"/>
                <a:gd name="connsiteY9" fmla="*/ 451503 h 2262197"/>
                <a:gd name="connsiteX10" fmla="*/ 11964962 w 11964962"/>
                <a:gd name="connsiteY10" fmla="*/ 13121 h 2262197"/>
                <a:gd name="connsiteX11" fmla="*/ 11358646 w 11964962"/>
                <a:gd name="connsiteY11" fmla="*/ 187696 h 2262197"/>
                <a:gd name="connsiteX12" fmla="*/ 10978921 w 11964962"/>
                <a:gd name="connsiteY12" fmla="*/ 799581 h 2262197"/>
                <a:gd name="connsiteX13" fmla="*/ 10522176 w 11964962"/>
                <a:gd name="connsiteY13" fmla="*/ 1413742 h 2262197"/>
                <a:gd name="connsiteX14" fmla="*/ 9954381 w 11964962"/>
                <a:gd name="connsiteY14" fmla="*/ 1370525 h 2262197"/>
                <a:gd name="connsiteX15" fmla="*/ 9447484 w 11964962"/>
                <a:gd name="connsiteY15" fmla="*/ 810956 h 2262197"/>
                <a:gd name="connsiteX16" fmla="*/ 9035519 w 11964962"/>
                <a:gd name="connsiteY16" fmla="*/ 299156 h 2262197"/>
                <a:gd name="connsiteX17" fmla="*/ 8142648 w 11964962"/>
                <a:gd name="connsiteY17" fmla="*/ 212886 h 2262197"/>
                <a:gd name="connsiteX0" fmla="*/ 60187 w 3882501"/>
                <a:gd name="connsiteY0" fmla="*/ 212886 h 2262197"/>
                <a:gd name="connsiteX1" fmla="*/ 125682 w 3882501"/>
                <a:gd name="connsiteY1" fmla="*/ 537465 h 2262197"/>
                <a:gd name="connsiteX2" fmla="*/ 485158 w 3882501"/>
                <a:gd name="connsiteY2" fmla="*/ 1016825 h 2262197"/>
                <a:gd name="connsiteX3" fmla="*/ 1055154 w 3882501"/>
                <a:gd name="connsiteY3" fmla="*/ 1843657 h 2262197"/>
                <a:gd name="connsiteX4" fmla="*/ 1986554 w 3882501"/>
                <a:gd name="connsiteY4" fmla="*/ 2262196 h 2262197"/>
                <a:gd name="connsiteX5" fmla="*/ 3032588 w 3882501"/>
                <a:gd name="connsiteY5" fmla="*/ 1843659 h 2262197"/>
                <a:gd name="connsiteX6" fmla="*/ 3323519 w 3882501"/>
                <a:gd name="connsiteY6" fmla="*/ 1197924 h 2262197"/>
                <a:gd name="connsiteX7" fmla="*/ 3634415 w 3882501"/>
                <a:gd name="connsiteY7" fmla="*/ 751817 h 2262197"/>
                <a:gd name="connsiteX8" fmla="*/ 3882501 w 3882501"/>
                <a:gd name="connsiteY8" fmla="*/ 451503 h 2262197"/>
                <a:gd name="connsiteX9" fmla="*/ 3882501 w 3882501"/>
                <a:gd name="connsiteY9" fmla="*/ 13121 h 2262197"/>
                <a:gd name="connsiteX10" fmla="*/ 3276185 w 3882501"/>
                <a:gd name="connsiteY10" fmla="*/ 187696 h 2262197"/>
                <a:gd name="connsiteX11" fmla="*/ 2896460 w 3882501"/>
                <a:gd name="connsiteY11" fmla="*/ 799581 h 2262197"/>
                <a:gd name="connsiteX12" fmla="*/ 2439715 w 3882501"/>
                <a:gd name="connsiteY12" fmla="*/ 1413742 h 2262197"/>
                <a:gd name="connsiteX13" fmla="*/ 1871920 w 3882501"/>
                <a:gd name="connsiteY13" fmla="*/ 1370525 h 2262197"/>
                <a:gd name="connsiteX14" fmla="*/ 1365023 w 3882501"/>
                <a:gd name="connsiteY14" fmla="*/ 810956 h 2262197"/>
                <a:gd name="connsiteX15" fmla="*/ 953058 w 3882501"/>
                <a:gd name="connsiteY15" fmla="*/ 299156 h 2262197"/>
                <a:gd name="connsiteX16" fmla="*/ 60187 w 3882501"/>
                <a:gd name="connsiteY16" fmla="*/ 212886 h 2262197"/>
                <a:gd name="connsiteX0" fmla="*/ 60187 w 3882501"/>
                <a:gd name="connsiteY0" fmla="*/ 212886 h 2262197"/>
                <a:gd name="connsiteX1" fmla="*/ 125682 w 3882501"/>
                <a:gd name="connsiteY1" fmla="*/ 537465 h 2262197"/>
                <a:gd name="connsiteX2" fmla="*/ 485158 w 3882501"/>
                <a:gd name="connsiteY2" fmla="*/ 1016825 h 2262197"/>
                <a:gd name="connsiteX3" fmla="*/ 1055154 w 3882501"/>
                <a:gd name="connsiteY3" fmla="*/ 1843657 h 2262197"/>
                <a:gd name="connsiteX4" fmla="*/ 1986554 w 3882501"/>
                <a:gd name="connsiteY4" fmla="*/ 2262196 h 2262197"/>
                <a:gd name="connsiteX5" fmla="*/ 3032588 w 3882501"/>
                <a:gd name="connsiteY5" fmla="*/ 1843659 h 2262197"/>
                <a:gd name="connsiteX6" fmla="*/ 3323519 w 3882501"/>
                <a:gd name="connsiteY6" fmla="*/ 1197924 h 2262197"/>
                <a:gd name="connsiteX7" fmla="*/ 3634415 w 3882501"/>
                <a:gd name="connsiteY7" fmla="*/ 751817 h 2262197"/>
                <a:gd name="connsiteX8" fmla="*/ 3882501 w 3882501"/>
                <a:gd name="connsiteY8" fmla="*/ 451503 h 2262197"/>
                <a:gd name="connsiteX9" fmla="*/ 3882501 w 3882501"/>
                <a:gd name="connsiteY9" fmla="*/ 13121 h 2262197"/>
                <a:gd name="connsiteX10" fmla="*/ 3276185 w 3882501"/>
                <a:gd name="connsiteY10" fmla="*/ 187696 h 2262197"/>
                <a:gd name="connsiteX11" fmla="*/ 2896460 w 3882501"/>
                <a:gd name="connsiteY11" fmla="*/ 799581 h 2262197"/>
                <a:gd name="connsiteX12" fmla="*/ 2439715 w 3882501"/>
                <a:gd name="connsiteY12" fmla="*/ 1413742 h 2262197"/>
                <a:gd name="connsiteX13" fmla="*/ 1871920 w 3882501"/>
                <a:gd name="connsiteY13" fmla="*/ 1370525 h 2262197"/>
                <a:gd name="connsiteX14" fmla="*/ 1579966 w 3882501"/>
                <a:gd name="connsiteY14" fmla="*/ 185419 h 2262197"/>
                <a:gd name="connsiteX15" fmla="*/ 953058 w 3882501"/>
                <a:gd name="connsiteY15" fmla="*/ 299156 h 2262197"/>
                <a:gd name="connsiteX16" fmla="*/ 60187 w 3882501"/>
                <a:gd name="connsiteY16" fmla="*/ 212886 h 2262197"/>
                <a:gd name="connsiteX0" fmla="*/ 62173 w 3884487"/>
                <a:gd name="connsiteY0" fmla="*/ 212886 h 2262197"/>
                <a:gd name="connsiteX1" fmla="*/ 127668 w 3884487"/>
                <a:gd name="connsiteY1" fmla="*/ 537465 h 2262197"/>
                <a:gd name="connsiteX2" fmla="*/ 487144 w 3884487"/>
                <a:gd name="connsiteY2" fmla="*/ 1016825 h 2262197"/>
                <a:gd name="connsiteX3" fmla="*/ 1057140 w 3884487"/>
                <a:gd name="connsiteY3" fmla="*/ 1843657 h 2262197"/>
                <a:gd name="connsiteX4" fmla="*/ 1988540 w 3884487"/>
                <a:gd name="connsiteY4" fmla="*/ 2262196 h 2262197"/>
                <a:gd name="connsiteX5" fmla="*/ 3034574 w 3884487"/>
                <a:gd name="connsiteY5" fmla="*/ 1843659 h 2262197"/>
                <a:gd name="connsiteX6" fmla="*/ 3325505 w 3884487"/>
                <a:gd name="connsiteY6" fmla="*/ 1197924 h 2262197"/>
                <a:gd name="connsiteX7" fmla="*/ 3636401 w 3884487"/>
                <a:gd name="connsiteY7" fmla="*/ 751817 h 2262197"/>
                <a:gd name="connsiteX8" fmla="*/ 3884487 w 3884487"/>
                <a:gd name="connsiteY8" fmla="*/ 451503 h 2262197"/>
                <a:gd name="connsiteX9" fmla="*/ 3884487 w 3884487"/>
                <a:gd name="connsiteY9" fmla="*/ 13121 h 2262197"/>
                <a:gd name="connsiteX10" fmla="*/ 3278171 w 3884487"/>
                <a:gd name="connsiteY10" fmla="*/ 187696 h 2262197"/>
                <a:gd name="connsiteX11" fmla="*/ 2898446 w 3884487"/>
                <a:gd name="connsiteY11" fmla="*/ 799581 h 2262197"/>
                <a:gd name="connsiteX12" fmla="*/ 2441701 w 3884487"/>
                <a:gd name="connsiteY12" fmla="*/ 1413742 h 2262197"/>
                <a:gd name="connsiteX13" fmla="*/ 1873906 w 3884487"/>
                <a:gd name="connsiteY13" fmla="*/ 1370525 h 2262197"/>
                <a:gd name="connsiteX14" fmla="*/ 1581952 w 3884487"/>
                <a:gd name="connsiteY14" fmla="*/ 185419 h 2262197"/>
                <a:gd name="connsiteX15" fmla="*/ 981914 w 3884487"/>
                <a:gd name="connsiteY15" fmla="*/ 94434 h 2262197"/>
                <a:gd name="connsiteX16" fmla="*/ 62173 w 3884487"/>
                <a:gd name="connsiteY16" fmla="*/ 212886 h 2262197"/>
                <a:gd name="connsiteX0" fmla="*/ 62175 w 3884485"/>
                <a:gd name="connsiteY0" fmla="*/ 30910 h 2262197"/>
                <a:gd name="connsiteX1" fmla="*/ 127666 w 3884485"/>
                <a:gd name="connsiteY1" fmla="*/ 537465 h 2262197"/>
                <a:gd name="connsiteX2" fmla="*/ 487142 w 3884485"/>
                <a:gd name="connsiteY2" fmla="*/ 1016825 h 2262197"/>
                <a:gd name="connsiteX3" fmla="*/ 1057138 w 3884485"/>
                <a:gd name="connsiteY3" fmla="*/ 1843657 h 2262197"/>
                <a:gd name="connsiteX4" fmla="*/ 1988538 w 3884485"/>
                <a:gd name="connsiteY4" fmla="*/ 2262196 h 2262197"/>
                <a:gd name="connsiteX5" fmla="*/ 3034572 w 3884485"/>
                <a:gd name="connsiteY5" fmla="*/ 1843659 h 2262197"/>
                <a:gd name="connsiteX6" fmla="*/ 3325503 w 3884485"/>
                <a:gd name="connsiteY6" fmla="*/ 1197924 h 2262197"/>
                <a:gd name="connsiteX7" fmla="*/ 3636399 w 3884485"/>
                <a:gd name="connsiteY7" fmla="*/ 751817 h 2262197"/>
                <a:gd name="connsiteX8" fmla="*/ 3884485 w 3884485"/>
                <a:gd name="connsiteY8" fmla="*/ 451503 h 2262197"/>
                <a:gd name="connsiteX9" fmla="*/ 3884485 w 3884485"/>
                <a:gd name="connsiteY9" fmla="*/ 13121 h 2262197"/>
                <a:gd name="connsiteX10" fmla="*/ 3278169 w 3884485"/>
                <a:gd name="connsiteY10" fmla="*/ 187696 h 2262197"/>
                <a:gd name="connsiteX11" fmla="*/ 2898444 w 3884485"/>
                <a:gd name="connsiteY11" fmla="*/ 799581 h 2262197"/>
                <a:gd name="connsiteX12" fmla="*/ 2441699 w 3884485"/>
                <a:gd name="connsiteY12" fmla="*/ 1413742 h 2262197"/>
                <a:gd name="connsiteX13" fmla="*/ 1873904 w 3884485"/>
                <a:gd name="connsiteY13" fmla="*/ 1370525 h 2262197"/>
                <a:gd name="connsiteX14" fmla="*/ 1581950 w 3884485"/>
                <a:gd name="connsiteY14" fmla="*/ 185419 h 2262197"/>
                <a:gd name="connsiteX15" fmla="*/ 981912 w 3884485"/>
                <a:gd name="connsiteY15" fmla="*/ 94434 h 2262197"/>
                <a:gd name="connsiteX16" fmla="*/ 62175 w 3884485"/>
                <a:gd name="connsiteY16" fmla="*/ 30910 h 2262197"/>
                <a:gd name="connsiteX0" fmla="*/ 61263 w 3883573"/>
                <a:gd name="connsiteY0" fmla="*/ 30910 h 2262197"/>
                <a:gd name="connsiteX1" fmla="*/ 126754 w 3883573"/>
                <a:gd name="connsiteY1" fmla="*/ 537465 h 2262197"/>
                <a:gd name="connsiteX2" fmla="*/ 459363 w 3883573"/>
                <a:gd name="connsiteY2" fmla="*/ 1062319 h 2262197"/>
                <a:gd name="connsiteX3" fmla="*/ 1056226 w 3883573"/>
                <a:gd name="connsiteY3" fmla="*/ 1843657 h 2262197"/>
                <a:gd name="connsiteX4" fmla="*/ 1987626 w 3883573"/>
                <a:gd name="connsiteY4" fmla="*/ 2262196 h 2262197"/>
                <a:gd name="connsiteX5" fmla="*/ 3033660 w 3883573"/>
                <a:gd name="connsiteY5" fmla="*/ 1843659 h 2262197"/>
                <a:gd name="connsiteX6" fmla="*/ 3324591 w 3883573"/>
                <a:gd name="connsiteY6" fmla="*/ 1197924 h 2262197"/>
                <a:gd name="connsiteX7" fmla="*/ 3635487 w 3883573"/>
                <a:gd name="connsiteY7" fmla="*/ 751817 h 2262197"/>
                <a:gd name="connsiteX8" fmla="*/ 3883573 w 3883573"/>
                <a:gd name="connsiteY8" fmla="*/ 451503 h 2262197"/>
                <a:gd name="connsiteX9" fmla="*/ 3883573 w 3883573"/>
                <a:gd name="connsiteY9" fmla="*/ 13121 h 2262197"/>
                <a:gd name="connsiteX10" fmla="*/ 3277257 w 3883573"/>
                <a:gd name="connsiteY10" fmla="*/ 187696 h 2262197"/>
                <a:gd name="connsiteX11" fmla="*/ 2897532 w 3883573"/>
                <a:gd name="connsiteY11" fmla="*/ 799581 h 2262197"/>
                <a:gd name="connsiteX12" fmla="*/ 2440787 w 3883573"/>
                <a:gd name="connsiteY12" fmla="*/ 1413742 h 2262197"/>
                <a:gd name="connsiteX13" fmla="*/ 1872992 w 3883573"/>
                <a:gd name="connsiteY13" fmla="*/ 1370525 h 2262197"/>
                <a:gd name="connsiteX14" fmla="*/ 1581038 w 3883573"/>
                <a:gd name="connsiteY14" fmla="*/ 185419 h 2262197"/>
                <a:gd name="connsiteX15" fmla="*/ 981000 w 3883573"/>
                <a:gd name="connsiteY15" fmla="*/ 94434 h 2262197"/>
                <a:gd name="connsiteX16" fmla="*/ 61263 w 3883573"/>
                <a:gd name="connsiteY16" fmla="*/ 30910 h 2262197"/>
                <a:gd name="connsiteX0" fmla="*/ 61263 w 3883573"/>
                <a:gd name="connsiteY0" fmla="*/ 30910 h 2277068"/>
                <a:gd name="connsiteX1" fmla="*/ 126754 w 3883573"/>
                <a:gd name="connsiteY1" fmla="*/ 537465 h 2277068"/>
                <a:gd name="connsiteX2" fmla="*/ 459363 w 3883573"/>
                <a:gd name="connsiteY2" fmla="*/ 1062319 h 2277068"/>
                <a:gd name="connsiteX3" fmla="*/ 1235346 w 3883573"/>
                <a:gd name="connsiteY3" fmla="*/ 1252241 h 2277068"/>
                <a:gd name="connsiteX4" fmla="*/ 1987626 w 3883573"/>
                <a:gd name="connsiteY4" fmla="*/ 2262196 h 2277068"/>
                <a:gd name="connsiteX5" fmla="*/ 3033660 w 3883573"/>
                <a:gd name="connsiteY5" fmla="*/ 1843659 h 2277068"/>
                <a:gd name="connsiteX6" fmla="*/ 3324591 w 3883573"/>
                <a:gd name="connsiteY6" fmla="*/ 1197924 h 2277068"/>
                <a:gd name="connsiteX7" fmla="*/ 3635487 w 3883573"/>
                <a:gd name="connsiteY7" fmla="*/ 751817 h 2277068"/>
                <a:gd name="connsiteX8" fmla="*/ 3883573 w 3883573"/>
                <a:gd name="connsiteY8" fmla="*/ 451503 h 2277068"/>
                <a:gd name="connsiteX9" fmla="*/ 3883573 w 3883573"/>
                <a:gd name="connsiteY9" fmla="*/ 13121 h 2277068"/>
                <a:gd name="connsiteX10" fmla="*/ 3277257 w 3883573"/>
                <a:gd name="connsiteY10" fmla="*/ 187696 h 2277068"/>
                <a:gd name="connsiteX11" fmla="*/ 2897532 w 3883573"/>
                <a:gd name="connsiteY11" fmla="*/ 799581 h 2277068"/>
                <a:gd name="connsiteX12" fmla="*/ 2440787 w 3883573"/>
                <a:gd name="connsiteY12" fmla="*/ 1413742 h 2277068"/>
                <a:gd name="connsiteX13" fmla="*/ 1872992 w 3883573"/>
                <a:gd name="connsiteY13" fmla="*/ 1370525 h 2277068"/>
                <a:gd name="connsiteX14" fmla="*/ 1581038 w 3883573"/>
                <a:gd name="connsiteY14" fmla="*/ 185419 h 2277068"/>
                <a:gd name="connsiteX15" fmla="*/ 981000 w 3883573"/>
                <a:gd name="connsiteY15" fmla="*/ 94434 h 2277068"/>
                <a:gd name="connsiteX16" fmla="*/ 61263 w 3883573"/>
                <a:gd name="connsiteY16" fmla="*/ 30910 h 2277068"/>
                <a:gd name="connsiteX0" fmla="*/ 61263 w 3883573"/>
                <a:gd name="connsiteY0" fmla="*/ 30910 h 2277068"/>
                <a:gd name="connsiteX1" fmla="*/ 126754 w 3883573"/>
                <a:gd name="connsiteY1" fmla="*/ 537465 h 2277068"/>
                <a:gd name="connsiteX2" fmla="*/ 459363 w 3883573"/>
                <a:gd name="connsiteY2" fmla="*/ 1062319 h 2277068"/>
                <a:gd name="connsiteX3" fmla="*/ 1235346 w 3883573"/>
                <a:gd name="connsiteY3" fmla="*/ 1252241 h 2277068"/>
                <a:gd name="connsiteX4" fmla="*/ 1987626 w 3883573"/>
                <a:gd name="connsiteY4" fmla="*/ 2262196 h 2277068"/>
                <a:gd name="connsiteX5" fmla="*/ 3033660 w 3883573"/>
                <a:gd name="connsiteY5" fmla="*/ 1843659 h 2277068"/>
                <a:gd name="connsiteX6" fmla="*/ 3324591 w 3883573"/>
                <a:gd name="connsiteY6" fmla="*/ 1197924 h 2277068"/>
                <a:gd name="connsiteX7" fmla="*/ 3635487 w 3883573"/>
                <a:gd name="connsiteY7" fmla="*/ 751817 h 2277068"/>
                <a:gd name="connsiteX8" fmla="*/ 3883573 w 3883573"/>
                <a:gd name="connsiteY8" fmla="*/ 451503 h 2277068"/>
                <a:gd name="connsiteX9" fmla="*/ 3883573 w 3883573"/>
                <a:gd name="connsiteY9" fmla="*/ 13121 h 2277068"/>
                <a:gd name="connsiteX10" fmla="*/ 3277257 w 3883573"/>
                <a:gd name="connsiteY10" fmla="*/ 187696 h 2277068"/>
                <a:gd name="connsiteX11" fmla="*/ 2897532 w 3883573"/>
                <a:gd name="connsiteY11" fmla="*/ 799581 h 2277068"/>
                <a:gd name="connsiteX12" fmla="*/ 2440787 w 3883573"/>
                <a:gd name="connsiteY12" fmla="*/ 1413742 h 2277068"/>
                <a:gd name="connsiteX13" fmla="*/ 2320781 w 3883573"/>
                <a:gd name="connsiteY13" fmla="*/ 210442 h 2277068"/>
                <a:gd name="connsiteX14" fmla="*/ 1581038 w 3883573"/>
                <a:gd name="connsiteY14" fmla="*/ 185419 h 2277068"/>
                <a:gd name="connsiteX15" fmla="*/ 981000 w 3883573"/>
                <a:gd name="connsiteY15" fmla="*/ 94434 h 2277068"/>
                <a:gd name="connsiteX16" fmla="*/ 61263 w 3883573"/>
                <a:gd name="connsiteY16" fmla="*/ 30910 h 2277068"/>
                <a:gd name="connsiteX0" fmla="*/ 61263 w 3883573"/>
                <a:gd name="connsiteY0" fmla="*/ 30910 h 2277068"/>
                <a:gd name="connsiteX1" fmla="*/ 126754 w 3883573"/>
                <a:gd name="connsiteY1" fmla="*/ 537465 h 2277068"/>
                <a:gd name="connsiteX2" fmla="*/ 459363 w 3883573"/>
                <a:gd name="connsiteY2" fmla="*/ 1062319 h 2277068"/>
                <a:gd name="connsiteX3" fmla="*/ 1235346 w 3883573"/>
                <a:gd name="connsiteY3" fmla="*/ 1252241 h 2277068"/>
                <a:gd name="connsiteX4" fmla="*/ 1987626 w 3883573"/>
                <a:gd name="connsiteY4" fmla="*/ 2262196 h 2277068"/>
                <a:gd name="connsiteX5" fmla="*/ 3033660 w 3883573"/>
                <a:gd name="connsiteY5" fmla="*/ 1843659 h 2277068"/>
                <a:gd name="connsiteX6" fmla="*/ 3324591 w 3883573"/>
                <a:gd name="connsiteY6" fmla="*/ 1197924 h 2277068"/>
                <a:gd name="connsiteX7" fmla="*/ 3635487 w 3883573"/>
                <a:gd name="connsiteY7" fmla="*/ 751817 h 2277068"/>
                <a:gd name="connsiteX8" fmla="*/ 3883573 w 3883573"/>
                <a:gd name="connsiteY8" fmla="*/ 451503 h 2277068"/>
                <a:gd name="connsiteX9" fmla="*/ 3883573 w 3883573"/>
                <a:gd name="connsiteY9" fmla="*/ 13121 h 2277068"/>
                <a:gd name="connsiteX10" fmla="*/ 3277257 w 3883573"/>
                <a:gd name="connsiteY10" fmla="*/ 187696 h 2277068"/>
                <a:gd name="connsiteX11" fmla="*/ 2897532 w 3883573"/>
                <a:gd name="connsiteY11" fmla="*/ 799581 h 2277068"/>
                <a:gd name="connsiteX12" fmla="*/ 2320781 w 3883573"/>
                <a:gd name="connsiteY12" fmla="*/ 210442 h 2277068"/>
                <a:gd name="connsiteX13" fmla="*/ 1581038 w 3883573"/>
                <a:gd name="connsiteY13" fmla="*/ 185419 h 2277068"/>
                <a:gd name="connsiteX14" fmla="*/ 981000 w 3883573"/>
                <a:gd name="connsiteY14" fmla="*/ 94434 h 2277068"/>
                <a:gd name="connsiteX15" fmla="*/ 61263 w 3883573"/>
                <a:gd name="connsiteY15" fmla="*/ 30910 h 2277068"/>
                <a:gd name="connsiteX0" fmla="*/ 61263 w 3883573"/>
                <a:gd name="connsiteY0" fmla="*/ 30910 h 2277068"/>
                <a:gd name="connsiteX1" fmla="*/ 126754 w 3883573"/>
                <a:gd name="connsiteY1" fmla="*/ 537465 h 2277068"/>
                <a:gd name="connsiteX2" fmla="*/ 459363 w 3883573"/>
                <a:gd name="connsiteY2" fmla="*/ 1062319 h 2277068"/>
                <a:gd name="connsiteX3" fmla="*/ 1235346 w 3883573"/>
                <a:gd name="connsiteY3" fmla="*/ 1252241 h 2277068"/>
                <a:gd name="connsiteX4" fmla="*/ 1987626 w 3883573"/>
                <a:gd name="connsiteY4" fmla="*/ 2262196 h 2277068"/>
                <a:gd name="connsiteX5" fmla="*/ 3033660 w 3883573"/>
                <a:gd name="connsiteY5" fmla="*/ 1843659 h 2277068"/>
                <a:gd name="connsiteX6" fmla="*/ 3324591 w 3883573"/>
                <a:gd name="connsiteY6" fmla="*/ 1197924 h 2277068"/>
                <a:gd name="connsiteX7" fmla="*/ 3635487 w 3883573"/>
                <a:gd name="connsiteY7" fmla="*/ 751817 h 2277068"/>
                <a:gd name="connsiteX8" fmla="*/ 3883573 w 3883573"/>
                <a:gd name="connsiteY8" fmla="*/ 451503 h 2277068"/>
                <a:gd name="connsiteX9" fmla="*/ 3883573 w 3883573"/>
                <a:gd name="connsiteY9" fmla="*/ 13121 h 2277068"/>
                <a:gd name="connsiteX10" fmla="*/ 3277257 w 3883573"/>
                <a:gd name="connsiteY10" fmla="*/ 187696 h 2277068"/>
                <a:gd name="connsiteX11" fmla="*/ 2790063 w 3883573"/>
                <a:gd name="connsiteY11" fmla="*/ 287779 h 2277068"/>
                <a:gd name="connsiteX12" fmla="*/ 2320781 w 3883573"/>
                <a:gd name="connsiteY12" fmla="*/ 210442 h 2277068"/>
                <a:gd name="connsiteX13" fmla="*/ 1581038 w 3883573"/>
                <a:gd name="connsiteY13" fmla="*/ 185419 h 2277068"/>
                <a:gd name="connsiteX14" fmla="*/ 981000 w 3883573"/>
                <a:gd name="connsiteY14" fmla="*/ 94434 h 2277068"/>
                <a:gd name="connsiteX15" fmla="*/ 61263 w 3883573"/>
                <a:gd name="connsiteY15" fmla="*/ 30910 h 2277068"/>
                <a:gd name="connsiteX0" fmla="*/ 61263 w 3883573"/>
                <a:gd name="connsiteY0" fmla="*/ 30910 h 1851428"/>
                <a:gd name="connsiteX1" fmla="*/ 126754 w 3883573"/>
                <a:gd name="connsiteY1" fmla="*/ 537465 h 1851428"/>
                <a:gd name="connsiteX2" fmla="*/ 459363 w 3883573"/>
                <a:gd name="connsiteY2" fmla="*/ 1062319 h 1851428"/>
                <a:gd name="connsiteX3" fmla="*/ 1235346 w 3883573"/>
                <a:gd name="connsiteY3" fmla="*/ 1252241 h 1851428"/>
                <a:gd name="connsiteX4" fmla="*/ 2023449 w 3883573"/>
                <a:gd name="connsiteY4" fmla="*/ 999753 h 1851428"/>
                <a:gd name="connsiteX5" fmla="*/ 3033660 w 3883573"/>
                <a:gd name="connsiteY5" fmla="*/ 1843659 h 1851428"/>
                <a:gd name="connsiteX6" fmla="*/ 3324591 w 3883573"/>
                <a:gd name="connsiteY6" fmla="*/ 1197924 h 1851428"/>
                <a:gd name="connsiteX7" fmla="*/ 3635487 w 3883573"/>
                <a:gd name="connsiteY7" fmla="*/ 751817 h 1851428"/>
                <a:gd name="connsiteX8" fmla="*/ 3883573 w 3883573"/>
                <a:gd name="connsiteY8" fmla="*/ 451503 h 1851428"/>
                <a:gd name="connsiteX9" fmla="*/ 3883573 w 3883573"/>
                <a:gd name="connsiteY9" fmla="*/ 13121 h 1851428"/>
                <a:gd name="connsiteX10" fmla="*/ 3277257 w 3883573"/>
                <a:gd name="connsiteY10" fmla="*/ 187696 h 1851428"/>
                <a:gd name="connsiteX11" fmla="*/ 2790063 w 3883573"/>
                <a:gd name="connsiteY11" fmla="*/ 287779 h 1851428"/>
                <a:gd name="connsiteX12" fmla="*/ 2320781 w 3883573"/>
                <a:gd name="connsiteY12" fmla="*/ 210442 h 1851428"/>
                <a:gd name="connsiteX13" fmla="*/ 1581038 w 3883573"/>
                <a:gd name="connsiteY13" fmla="*/ 185419 h 1851428"/>
                <a:gd name="connsiteX14" fmla="*/ 981000 w 3883573"/>
                <a:gd name="connsiteY14" fmla="*/ 94434 h 1851428"/>
                <a:gd name="connsiteX15" fmla="*/ 61263 w 3883573"/>
                <a:gd name="connsiteY15" fmla="*/ 30910 h 1851428"/>
                <a:gd name="connsiteX0" fmla="*/ 61263 w 3883573"/>
                <a:gd name="connsiteY0" fmla="*/ 30910 h 1847024"/>
                <a:gd name="connsiteX1" fmla="*/ 126754 w 3883573"/>
                <a:gd name="connsiteY1" fmla="*/ 537465 h 1847024"/>
                <a:gd name="connsiteX2" fmla="*/ 459363 w 3883573"/>
                <a:gd name="connsiteY2" fmla="*/ 1062319 h 1847024"/>
                <a:gd name="connsiteX3" fmla="*/ 1235346 w 3883573"/>
                <a:gd name="connsiteY3" fmla="*/ 1252241 h 1847024"/>
                <a:gd name="connsiteX4" fmla="*/ 2023449 w 3883573"/>
                <a:gd name="connsiteY4" fmla="*/ 999753 h 1847024"/>
                <a:gd name="connsiteX5" fmla="*/ 2490859 w 3883573"/>
                <a:gd name="connsiteY5" fmla="*/ 1155322 h 1847024"/>
                <a:gd name="connsiteX6" fmla="*/ 3033660 w 3883573"/>
                <a:gd name="connsiteY6" fmla="*/ 1843659 h 1847024"/>
                <a:gd name="connsiteX7" fmla="*/ 3324591 w 3883573"/>
                <a:gd name="connsiteY7" fmla="*/ 1197924 h 1847024"/>
                <a:gd name="connsiteX8" fmla="*/ 3635487 w 3883573"/>
                <a:gd name="connsiteY8" fmla="*/ 751817 h 1847024"/>
                <a:gd name="connsiteX9" fmla="*/ 3883573 w 3883573"/>
                <a:gd name="connsiteY9" fmla="*/ 451503 h 1847024"/>
                <a:gd name="connsiteX10" fmla="*/ 3883573 w 3883573"/>
                <a:gd name="connsiteY10" fmla="*/ 13121 h 1847024"/>
                <a:gd name="connsiteX11" fmla="*/ 3277257 w 3883573"/>
                <a:gd name="connsiteY11" fmla="*/ 187696 h 1847024"/>
                <a:gd name="connsiteX12" fmla="*/ 2790063 w 3883573"/>
                <a:gd name="connsiteY12" fmla="*/ 287779 h 1847024"/>
                <a:gd name="connsiteX13" fmla="*/ 2320781 w 3883573"/>
                <a:gd name="connsiteY13" fmla="*/ 210442 h 1847024"/>
                <a:gd name="connsiteX14" fmla="*/ 1581038 w 3883573"/>
                <a:gd name="connsiteY14" fmla="*/ 185419 h 1847024"/>
                <a:gd name="connsiteX15" fmla="*/ 981000 w 3883573"/>
                <a:gd name="connsiteY15" fmla="*/ 94434 h 1847024"/>
                <a:gd name="connsiteX16" fmla="*/ 61263 w 3883573"/>
                <a:gd name="connsiteY16" fmla="*/ 30910 h 1847024"/>
                <a:gd name="connsiteX0" fmla="*/ 61263 w 3883573"/>
                <a:gd name="connsiteY0" fmla="*/ 30910 h 1847024"/>
                <a:gd name="connsiteX1" fmla="*/ 126754 w 3883573"/>
                <a:gd name="connsiteY1" fmla="*/ 537465 h 1847024"/>
                <a:gd name="connsiteX2" fmla="*/ 459363 w 3883573"/>
                <a:gd name="connsiteY2" fmla="*/ 1062319 h 1847024"/>
                <a:gd name="connsiteX3" fmla="*/ 1235346 w 3883573"/>
                <a:gd name="connsiteY3" fmla="*/ 1252241 h 1847024"/>
                <a:gd name="connsiteX4" fmla="*/ 1736869 w 3883573"/>
                <a:gd name="connsiteY4" fmla="*/ 1011123 h 1847024"/>
                <a:gd name="connsiteX5" fmla="*/ 2490859 w 3883573"/>
                <a:gd name="connsiteY5" fmla="*/ 1155322 h 1847024"/>
                <a:gd name="connsiteX6" fmla="*/ 3033660 w 3883573"/>
                <a:gd name="connsiteY6" fmla="*/ 1843659 h 1847024"/>
                <a:gd name="connsiteX7" fmla="*/ 3324591 w 3883573"/>
                <a:gd name="connsiteY7" fmla="*/ 1197924 h 1847024"/>
                <a:gd name="connsiteX8" fmla="*/ 3635487 w 3883573"/>
                <a:gd name="connsiteY8" fmla="*/ 751817 h 1847024"/>
                <a:gd name="connsiteX9" fmla="*/ 3883573 w 3883573"/>
                <a:gd name="connsiteY9" fmla="*/ 451503 h 1847024"/>
                <a:gd name="connsiteX10" fmla="*/ 3883573 w 3883573"/>
                <a:gd name="connsiteY10" fmla="*/ 13121 h 1847024"/>
                <a:gd name="connsiteX11" fmla="*/ 3277257 w 3883573"/>
                <a:gd name="connsiteY11" fmla="*/ 187696 h 1847024"/>
                <a:gd name="connsiteX12" fmla="*/ 2790063 w 3883573"/>
                <a:gd name="connsiteY12" fmla="*/ 287779 h 1847024"/>
                <a:gd name="connsiteX13" fmla="*/ 2320781 w 3883573"/>
                <a:gd name="connsiteY13" fmla="*/ 210442 h 1847024"/>
                <a:gd name="connsiteX14" fmla="*/ 1581038 w 3883573"/>
                <a:gd name="connsiteY14" fmla="*/ 185419 h 1847024"/>
                <a:gd name="connsiteX15" fmla="*/ 981000 w 3883573"/>
                <a:gd name="connsiteY15" fmla="*/ 94434 h 1847024"/>
                <a:gd name="connsiteX16" fmla="*/ 61263 w 3883573"/>
                <a:gd name="connsiteY16" fmla="*/ 30910 h 1847024"/>
                <a:gd name="connsiteX0" fmla="*/ 61263 w 3883573"/>
                <a:gd name="connsiteY0" fmla="*/ 30910 h 1847024"/>
                <a:gd name="connsiteX1" fmla="*/ 126754 w 3883573"/>
                <a:gd name="connsiteY1" fmla="*/ 537465 h 1847024"/>
                <a:gd name="connsiteX2" fmla="*/ 459363 w 3883573"/>
                <a:gd name="connsiteY2" fmla="*/ 1062319 h 1847024"/>
                <a:gd name="connsiteX3" fmla="*/ 903987 w 3883573"/>
                <a:gd name="connsiteY3" fmla="*/ 1127135 h 1847024"/>
                <a:gd name="connsiteX4" fmla="*/ 1736869 w 3883573"/>
                <a:gd name="connsiteY4" fmla="*/ 1011123 h 1847024"/>
                <a:gd name="connsiteX5" fmla="*/ 2490859 w 3883573"/>
                <a:gd name="connsiteY5" fmla="*/ 1155322 h 1847024"/>
                <a:gd name="connsiteX6" fmla="*/ 3033660 w 3883573"/>
                <a:gd name="connsiteY6" fmla="*/ 1843659 h 1847024"/>
                <a:gd name="connsiteX7" fmla="*/ 3324591 w 3883573"/>
                <a:gd name="connsiteY7" fmla="*/ 1197924 h 1847024"/>
                <a:gd name="connsiteX8" fmla="*/ 3635487 w 3883573"/>
                <a:gd name="connsiteY8" fmla="*/ 751817 h 1847024"/>
                <a:gd name="connsiteX9" fmla="*/ 3883573 w 3883573"/>
                <a:gd name="connsiteY9" fmla="*/ 451503 h 1847024"/>
                <a:gd name="connsiteX10" fmla="*/ 3883573 w 3883573"/>
                <a:gd name="connsiteY10" fmla="*/ 13121 h 1847024"/>
                <a:gd name="connsiteX11" fmla="*/ 3277257 w 3883573"/>
                <a:gd name="connsiteY11" fmla="*/ 187696 h 1847024"/>
                <a:gd name="connsiteX12" fmla="*/ 2790063 w 3883573"/>
                <a:gd name="connsiteY12" fmla="*/ 287779 h 1847024"/>
                <a:gd name="connsiteX13" fmla="*/ 2320781 w 3883573"/>
                <a:gd name="connsiteY13" fmla="*/ 210442 h 1847024"/>
                <a:gd name="connsiteX14" fmla="*/ 1581038 w 3883573"/>
                <a:gd name="connsiteY14" fmla="*/ 185419 h 1847024"/>
                <a:gd name="connsiteX15" fmla="*/ 981000 w 3883573"/>
                <a:gd name="connsiteY15" fmla="*/ 94434 h 1847024"/>
                <a:gd name="connsiteX16" fmla="*/ 61263 w 3883573"/>
                <a:gd name="connsiteY16" fmla="*/ 30910 h 1847024"/>
                <a:gd name="connsiteX0" fmla="*/ 61263 w 3883573"/>
                <a:gd name="connsiteY0" fmla="*/ 30910 h 1847000"/>
                <a:gd name="connsiteX1" fmla="*/ 126754 w 3883573"/>
                <a:gd name="connsiteY1" fmla="*/ 537465 h 1847000"/>
                <a:gd name="connsiteX2" fmla="*/ 459363 w 3883573"/>
                <a:gd name="connsiteY2" fmla="*/ 1062319 h 1847000"/>
                <a:gd name="connsiteX3" fmla="*/ 903987 w 3883573"/>
                <a:gd name="connsiteY3" fmla="*/ 1127135 h 1847000"/>
                <a:gd name="connsiteX4" fmla="*/ 1736869 w 3883573"/>
                <a:gd name="connsiteY4" fmla="*/ 1011123 h 1847000"/>
                <a:gd name="connsiteX5" fmla="*/ 2069939 w 3883573"/>
                <a:gd name="connsiteY5" fmla="*/ 1166694 h 1847000"/>
                <a:gd name="connsiteX6" fmla="*/ 2490859 w 3883573"/>
                <a:gd name="connsiteY6" fmla="*/ 1155322 h 1847000"/>
                <a:gd name="connsiteX7" fmla="*/ 3033660 w 3883573"/>
                <a:gd name="connsiteY7" fmla="*/ 1843659 h 1847000"/>
                <a:gd name="connsiteX8" fmla="*/ 3324591 w 3883573"/>
                <a:gd name="connsiteY8" fmla="*/ 1197924 h 1847000"/>
                <a:gd name="connsiteX9" fmla="*/ 3635487 w 3883573"/>
                <a:gd name="connsiteY9" fmla="*/ 751817 h 1847000"/>
                <a:gd name="connsiteX10" fmla="*/ 3883573 w 3883573"/>
                <a:gd name="connsiteY10" fmla="*/ 451503 h 1847000"/>
                <a:gd name="connsiteX11" fmla="*/ 3883573 w 3883573"/>
                <a:gd name="connsiteY11" fmla="*/ 13121 h 1847000"/>
                <a:gd name="connsiteX12" fmla="*/ 3277257 w 3883573"/>
                <a:gd name="connsiteY12" fmla="*/ 187696 h 1847000"/>
                <a:gd name="connsiteX13" fmla="*/ 2790063 w 3883573"/>
                <a:gd name="connsiteY13" fmla="*/ 287779 h 1847000"/>
                <a:gd name="connsiteX14" fmla="*/ 2320781 w 3883573"/>
                <a:gd name="connsiteY14" fmla="*/ 210442 h 1847000"/>
                <a:gd name="connsiteX15" fmla="*/ 1581038 w 3883573"/>
                <a:gd name="connsiteY15" fmla="*/ 185419 h 1847000"/>
                <a:gd name="connsiteX16" fmla="*/ 981000 w 3883573"/>
                <a:gd name="connsiteY16" fmla="*/ 94434 h 1847000"/>
                <a:gd name="connsiteX17" fmla="*/ 61263 w 3883573"/>
                <a:gd name="connsiteY17" fmla="*/ 30910 h 1847000"/>
                <a:gd name="connsiteX0" fmla="*/ 61263 w 3883573"/>
                <a:gd name="connsiteY0" fmla="*/ 30910 h 1220392"/>
                <a:gd name="connsiteX1" fmla="*/ 126754 w 3883573"/>
                <a:gd name="connsiteY1" fmla="*/ 537465 h 1220392"/>
                <a:gd name="connsiteX2" fmla="*/ 459363 w 3883573"/>
                <a:gd name="connsiteY2" fmla="*/ 1062319 h 1220392"/>
                <a:gd name="connsiteX3" fmla="*/ 903987 w 3883573"/>
                <a:gd name="connsiteY3" fmla="*/ 1127135 h 1220392"/>
                <a:gd name="connsiteX4" fmla="*/ 1736869 w 3883573"/>
                <a:gd name="connsiteY4" fmla="*/ 1011123 h 1220392"/>
                <a:gd name="connsiteX5" fmla="*/ 2069939 w 3883573"/>
                <a:gd name="connsiteY5" fmla="*/ 1166694 h 1220392"/>
                <a:gd name="connsiteX6" fmla="*/ 2490859 w 3883573"/>
                <a:gd name="connsiteY6" fmla="*/ 1155322 h 1220392"/>
                <a:gd name="connsiteX7" fmla="*/ 3324591 w 3883573"/>
                <a:gd name="connsiteY7" fmla="*/ 1197924 h 1220392"/>
                <a:gd name="connsiteX8" fmla="*/ 3635487 w 3883573"/>
                <a:gd name="connsiteY8" fmla="*/ 751817 h 1220392"/>
                <a:gd name="connsiteX9" fmla="*/ 3883573 w 3883573"/>
                <a:gd name="connsiteY9" fmla="*/ 451503 h 1220392"/>
                <a:gd name="connsiteX10" fmla="*/ 3883573 w 3883573"/>
                <a:gd name="connsiteY10" fmla="*/ 13121 h 1220392"/>
                <a:gd name="connsiteX11" fmla="*/ 3277257 w 3883573"/>
                <a:gd name="connsiteY11" fmla="*/ 187696 h 1220392"/>
                <a:gd name="connsiteX12" fmla="*/ 2790063 w 3883573"/>
                <a:gd name="connsiteY12" fmla="*/ 287779 h 1220392"/>
                <a:gd name="connsiteX13" fmla="*/ 2320781 w 3883573"/>
                <a:gd name="connsiteY13" fmla="*/ 210442 h 1220392"/>
                <a:gd name="connsiteX14" fmla="*/ 1581038 w 3883573"/>
                <a:gd name="connsiteY14" fmla="*/ 185419 h 1220392"/>
                <a:gd name="connsiteX15" fmla="*/ 981000 w 3883573"/>
                <a:gd name="connsiteY15" fmla="*/ 94434 h 1220392"/>
                <a:gd name="connsiteX16" fmla="*/ 61263 w 3883573"/>
                <a:gd name="connsiteY16" fmla="*/ 30910 h 1220392"/>
                <a:gd name="connsiteX0" fmla="*/ 61263 w 3883573"/>
                <a:gd name="connsiteY0" fmla="*/ 30910 h 1174361"/>
                <a:gd name="connsiteX1" fmla="*/ 126754 w 3883573"/>
                <a:gd name="connsiteY1" fmla="*/ 537465 h 1174361"/>
                <a:gd name="connsiteX2" fmla="*/ 459363 w 3883573"/>
                <a:gd name="connsiteY2" fmla="*/ 1062319 h 1174361"/>
                <a:gd name="connsiteX3" fmla="*/ 903987 w 3883573"/>
                <a:gd name="connsiteY3" fmla="*/ 1127135 h 1174361"/>
                <a:gd name="connsiteX4" fmla="*/ 1736869 w 3883573"/>
                <a:gd name="connsiteY4" fmla="*/ 1011123 h 1174361"/>
                <a:gd name="connsiteX5" fmla="*/ 2069939 w 3883573"/>
                <a:gd name="connsiteY5" fmla="*/ 1166694 h 1174361"/>
                <a:gd name="connsiteX6" fmla="*/ 2490859 w 3883573"/>
                <a:gd name="connsiteY6" fmla="*/ 1155322 h 1174361"/>
                <a:gd name="connsiteX7" fmla="*/ 3243989 w 3883573"/>
                <a:gd name="connsiteY7" fmla="*/ 959085 h 1174361"/>
                <a:gd name="connsiteX8" fmla="*/ 3635487 w 3883573"/>
                <a:gd name="connsiteY8" fmla="*/ 751817 h 1174361"/>
                <a:gd name="connsiteX9" fmla="*/ 3883573 w 3883573"/>
                <a:gd name="connsiteY9" fmla="*/ 451503 h 1174361"/>
                <a:gd name="connsiteX10" fmla="*/ 3883573 w 3883573"/>
                <a:gd name="connsiteY10" fmla="*/ 13121 h 1174361"/>
                <a:gd name="connsiteX11" fmla="*/ 3277257 w 3883573"/>
                <a:gd name="connsiteY11" fmla="*/ 187696 h 1174361"/>
                <a:gd name="connsiteX12" fmla="*/ 2790063 w 3883573"/>
                <a:gd name="connsiteY12" fmla="*/ 287779 h 1174361"/>
                <a:gd name="connsiteX13" fmla="*/ 2320781 w 3883573"/>
                <a:gd name="connsiteY13" fmla="*/ 210442 h 1174361"/>
                <a:gd name="connsiteX14" fmla="*/ 1581038 w 3883573"/>
                <a:gd name="connsiteY14" fmla="*/ 185419 h 1174361"/>
                <a:gd name="connsiteX15" fmla="*/ 981000 w 3883573"/>
                <a:gd name="connsiteY15" fmla="*/ 94434 h 1174361"/>
                <a:gd name="connsiteX16" fmla="*/ 61263 w 3883573"/>
                <a:gd name="connsiteY16" fmla="*/ 30910 h 1174361"/>
                <a:gd name="connsiteX0" fmla="*/ 61263 w 3883573"/>
                <a:gd name="connsiteY0" fmla="*/ 30910 h 1174361"/>
                <a:gd name="connsiteX1" fmla="*/ 126754 w 3883573"/>
                <a:gd name="connsiteY1" fmla="*/ 537465 h 1174361"/>
                <a:gd name="connsiteX2" fmla="*/ 459363 w 3883573"/>
                <a:gd name="connsiteY2" fmla="*/ 1062319 h 1174361"/>
                <a:gd name="connsiteX3" fmla="*/ 903987 w 3883573"/>
                <a:gd name="connsiteY3" fmla="*/ 1127135 h 1174361"/>
                <a:gd name="connsiteX4" fmla="*/ 1736869 w 3883573"/>
                <a:gd name="connsiteY4" fmla="*/ 1011123 h 1174361"/>
                <a:gd name="connsiteX5" fmla="*/ 2069939 w 3883573"/>
                <a:gd name="connsiteY5" fmla="*/ 1166694 h 1174361"/>
                <a:gd name="connsiteX6" fmla="*/ 2490859 w 3883573"/>
                <a:gd name="connsiteY6" fmla="*/ 1155322 h 1174361"/>
                <a:gd name="connsiteX7" fmla="*/ 3360418 w 3883573"/>
                <a:gd name="connsiteY7" fmla="*/ 1050071 h 1174361"/>
                <a:gd name="connsiteX8" fmla="*/ 3635487 w 3883573"/>
                <a:gd name="connsiteY8" fmla="*/ 751817 h 1174361"/>
                <a:gd name="connsiteX9" fmla="*/ 3883573 w 3883573"/>
                <a:gd name="connsiteY9" fmla="*/ 451503 h 1174361"/>
                <a:gd name="connsiteX10" fmla="*/ 3883573 w 3883573"/>
                <a:gd name="connsiteY10" fmla="*/ 13121 h 1174361"/>
                <a:gd name="connsiteX11" fmla="*/ 3277257 w 3883573"/>
                <a:gd name="connsiteY11" fmla="*/ 187696 h 1174361"/>
                <a:gd name="connsiteX12" fmla="*/ 2790063 w 3883573"/>
                <a:gd name="connsiteY12" fmla="*/ 287779 h 1174361"/>
                <a:gd name="connsiteX13" fmla="*/ 2320781 w 3883573"/>
                <a:gd name="connsiteY13" fmla="*/ 210442 h 1174361"/>
                <a:gd name="connsiteX14" fmla="*/ 1581038 w 3883573"/>
                <a:gd name="connsiteY14" fmla="*/ 185419 h 1174361"/>
                <a:gd name="connsiteX15" fmla="*/ 981000 w 3883573"/>
                <a:gd name="connsiteY15" fmla="*/ 94434 h 1174361"/>
                <a:gd name="connsiteX16" fmla="*/ 61263 w 3883573"/>
                <a:gd name="connsiteY16" fmla="*/ 30910 h 1174361"/>
                <a:gd name="connsiteX0" fmla="*/ 61263 w 3892533"/>
                <a:gd name="connsiteY0" fmla="*/ 24870 h 1168321"/>
                <a:gd name="connsiteX1" fmla="*/ 126754 w 3892533"/>
                <a:gd name="connsiteY1" fmla="*/ 531425 h 1168321"/>
                <a:gd name="connsiteX2" fmla="*/ 459363 w 3892533"/>
                <a:gd name="connsiteY2" fmla="*/ 1056279 h 1168321"/>
                <a:gd name="connsiteX3" fmla="*/ 903987 w 3892533"/>
                <a:gd name="connsiteY3" fmla="*/ 1121095 h 1168321"/>
                <a:gd name="connsiteX4" fmla="*/ 1736869 w 3892533"/>
                <a:gd name="connsiteY4" fmla="*/ 1005083 h 1168321"/>
                <a:gd name="connsiteX5" fmla="*/ 2069939 w 3892533"/>
                <a:gd name="connsiteY5" fmla="*/ 1160654 h 1168321"/>
                <a:gd name="connsiteX6" fmla="*/ 2490859 w 3892533"/>
                <a:gd name="connsiteY6" fmla="*/ 1149282 h 1168321"/>
                <a:gd name="connsiteX7" fmla="*/ 3360418 w 3892533"/>
                <a:gd name="connsiteY7" fmla="*/ 1044031 h 1168321"/>
                <a:gd name="connsiteX8" fmla="*/ 3635487 w 3892533"/>
                <a:gd name="connsiteY8" fmla="*/ 745777 h 1168321"/>
                <a:gd name="connsiteX9" fmla="*/ 3883573 w 3892533"/>
                <a:gd name="connsiteY9" fmla="*/ 445463 h 1168321"/>
                <a:gd name="connsiteX10" fmla="*/ 3892534 w 3892533"/>
                <a:gd name="connsiteY10" fmla="*/ 166306 h 1168321"/>
                <a:gd name="connsiteX11" fmla="*/ 3277257 w 3892533"/>
                <a:gd name="connsiteY11" fmla="*/ 181656 h 1168321"/>
                <a:gd name="connsiteX12" fmla="*/ 2790063 w 3892533"/>
                <a:gd name="connsiteY12" fmla="*/ 281739 h 1168321"/>
                <a:gd name="connsiteX13" fmla="*/ 2320781 w 3892533"/>
                <a:gd name="connsiteY13" fmla="*/ 204402 h 1168321"/>
                <a:gd name="connsiteX14" fmla="*/ 1581038 w 3892533"/>
                <a:gd name="connsiteY14" fmla="*/ 179379 h 1168321"/>
                <a:gd name="connsiteX15" fmla="*/ 981000 w 3892533"/>
                <a:gd name="connsiteY15" fmla="*/ 88394 h 1168321"/>
                <a:gd name="connsiteX16" fmla="*/ 61263 w 3892533"/>
                <a:gd name="connsiteY16" fmla="*/ 24870 h 1168321"/>
                <a:gd name="connsiteX0" fmla="*/ 61263 w 3892535"/>
                <a:gd name="connsiteY0" fmla="*/ 24870 h 1280796"/>
                <a:gd name="connsiteX1" fmla="*/ 126754 w 3892535"/>
                <a:gd name="connsiteY1" fmla="*/ 531425 h 1280796"/>
                <a:gd name="connsiteX2" fmla="*/ 459363 w 3892535"/>
                <a:gd name="connsiteY2" fmla="*/ 1056279 h 1280796"/>
                <a:gd name="connsiteX3" fmla="*/ 966682 w 3892535"/>
                <a:gd name="connsiteY3" fmla="*/ 1280322 h 1280796"/>
                <a:gd name="connsiteX4" fmla="*/ 1736869 w 3892535"/>
                <a:gd name="connsiteY4" fmla="*/ 1005083 h 1280796"/>
                <a:gd name="connsiteX5" fmla="*/ 2069939 w 3892535"/>
                <a:gd name="connsiteY5" fmla="*/ 1160654 h 1280796"/>
                <a:gd name="connsiteX6" fmla="*/ 2490859 w 3892535"/>
                <a:gd name="connsiteY6" fmla="*/ 1149282 h 1280796"/>
                <a:gd name="connsiteX7" fmla="*/ 3360418 w 3892535"/>
                <a:gd name="connsiteY7" fmla="*/ 1044031 h 1280796"/>
                <a:gd name="connsiteX8" fmla="*/ 3635487 w 3892535"/>
                <a:gd name="connsiteY8" fmla="*/ 745777 h 1280796"/>
                <a:gd name="connsiteX9" fmla="*/ 3883573 w 3892535"/>
                <a:gd name="connsiteY9" fmla="*/ 445463 h 1280796"/>
                <a:gd name="connsiteX10" fmla="*/ 3892534 w 3892535"/>
                <a:gd name="connsiteY10" fmla="*/ 166306 h 1280796"/>
                <a:gd name="connsiteX11" fmla="*/ 3277257 w 3892535"/>
                <a:gd name="connsiteY11" fmla="*/ 181656 h 1280796"/>
                <a:gd name="connsiteX12" fmla="*/ 2790063 w 3892535"/>
                <a:gd name="connsiteY12" fmla="*/ 281739 h 1280796"/>
                <a:gd name="connsiteX13" fmla="*/ 2320781 w 3892535"/>
                <a:gd name="connsiteY13" fmla="*/ 204402 h 1280796"/>
                <a:gd name="connsiteX14" fmla="*/ 1581038 w 3892535"/>
                <a:gd name="connsiteY14" fmla="*/ 179379 h 1280796"/>
                <a:gd name="connsiteX15" fmla="*/ 981000 w 3892535"/>
                <a:gd name="connsiteY15" fmla="*/ 88394 h 1280796"/>
                <a:gd name="connsiteX16" fmla="*/ 61263 w 3892535"/>
                <a:gd name="connsiteY16" fmla="*/ 24870 h 1280796"/>
                <a:gd name="connsiteX0" fmla="*/ 61263 w 3892533"/>
                <a:gd name="connsiteY0" fmla="*/ 24870 h 1288550"/>
                <a:gd name="connsiteX1" fmla="*/ 126754 w 3892533"/>
                <a:gd name="connsiteY1" fmla="*/ 531425 h 1288550"/>
                <a:gd name="connsiteX2" fmla="*/ 459363 w 3892533"/>
                <a:gd name="connsiteY2" fmla="*/ 1056279 h 1288550"/>
                <a:gd name="connsiteX3" fmla="*/ 966682 w 3892533"/>
                <a:gd name="connsiteY3" fmla="*/ 1280322 h 1288550"/>
                <a:gd name="connsiteX4" fmla="*/ 1584621 w 3892533"/>
                <a:gd name="connsiteY4" fmla="*/ 1232549 h 1288550"/>
                <a:gd name="connsiteX5" fmla="*/ 2069939 w 3892533"/>
                <a:gd name="connsiteY5" fmla="*/ 1160654 h 1288550"/>
                <a:gd name="connsiteX6" fmla="*/ 2490859 w 3892533"/>
                <a:gd name="connsiteY6" fmla="*/ 1149282 h 1288550"/>
                <a:gd name="connsiteX7" fmla="*/ 3360418 w 3892533"/>
                <a:gd name="connsiteY7" fmla="*/ 1044031 h 1288550"/>
                <a:gd name="connsiteX8" fmla="*/ 3635487 w 3892533"/>
                <a:gd name="connsiteY8" fmla="*/ 745777 h 1288550"/>
                <a:gd name="connsiteX9" fmla="*/ 3883573 w 3892533"/>
                <a:gd name="connsiteY9" fmla="*/ 445463 h 1288550"/>
                <a:gd name="connsiteX10" fmla="*/ 3892534 w 3892533"/>
                <a:gd name="connsiteY10" fmla="*/ 166306 h 1288550"/>
                <a:gd name="connsiteX11" fmla="*/ 3277257 w 3892533"/>
                <a:gd name="connsiteY11" fmla="*/ 181656 h 1288550"/>
                <a:gd name="connsiteX12" fmla="*/ 2790063 w 3892533"/>
                <a:gd name="connsiteY12" fmla="*/ 281739 h 1288550"/>
                <a:gd name="connsiteX13" fmla="*/ 2320781 w 3892533"/>
                <a:gd name="connsiteY13" fmla="*/ 204402 h 1288550"/>
                <a:gd name="connsiteX14" fmla="*/ 1581038 w 3892533"/>
                <a:gd name="connsiteY14" fmla="*/ 179379 h 1288550"/>
                <a:gd name="connsiteX15" fmla="*/ 981000 w 3892533"/>
                <a:gd name="connsiteY15" fmla="*/ 88394 h 1288550"/>
                <a:gd name="connsiteX16" fmla="*/ 61263 w 3892533"/>
                <a:gd name="connsiteY16" fmla="*/ 24870 h 1288550"/>
                <a:gd name="connsiteX0" fmla="*/ 61263 w 3892535"/>
                <a:gd name="connsiteY0" fmla="*/ 24870 h 1288550"/>
                <a:gd name="connsiteX1" fmla="*/ 126754 w 3892535"/>
                <a:gd name="connsiteY1" fmla="*/ 531425 h 1288550"/>
                <a:gd name="connsiteX2" fmla="*/ 459363 w 3892535"/>
                <a:gd name="connsiteY2" fmla="*/ 1056279 h 1288550"/>
                <a:gd name="connsiteX3" fmla="*/ 966682 w 3892535"/>
                <a:gd name="connsiteY3" fmla="*/ 1280322 h 1288550"/>
                <a:gd name="connsiteX4" fmla="*/ 1584621 w 3892535"/>
                <a:gd name="connsiteY4" fmla="*/ 1232549 h 1288550"/>
                <a:gd name="connsiteX5" fmla="*/ 2069939 w 3892535"/>
                <a:gd name="connsiteY5" fmla="*/ 1160654 h 1288550"/>
                <a:gd name="connsiteX6" fmla="*/ 2338605 w 3892535"/>
                <a:gd name="connsiteY6" fmla="*/ 1285763 h 1288550"/>
                <a:gd name="connsiteX7" fmla="*/ 2490859 w 3892535"/>
                <a:gd name="connsiteY7" fmla="*/ 1149282 h 1288550"/>
                <a:gd name="connsiteX8" fmla="*/ 3360418 w 3892535"/>
                <a:gd name="connsiteY8" fmla="*/ 1044031 h 1288550"/>
                <a:gd name="connsiteX9" fmla="*/ 3635487 w 3892535"/>
                <a:gd name="connsiteY9" fmla="*/ 745777 h 1288550"/>
                <a:gd name="connsiteX10" fmla="*/ 3883573 w 3892535"/>
                <a:gd name="connsiteY10" fmla="*/ 445463 h 1288550"/>
                <a:gd name="connsiteX11" fmla="*/ 3892534 w 3892535"/>
                <a:gd name="connsiteY11" fmla="*/ 166306 h 1288550"/>
                <a:gd name="connsiteX12" fmla="*/ 3277257 w 3892535"/>
                <a:gd name="connsiteY12" fmla="*/ 181656 h 1288550"/>
                <a:gd name="connsiteX13" fmla="*/ 2790063 w 3892535"/>
                <a:gd name="connsiteY13" fmla="*/ 281739 h 1288550"/>
                <a:gd name="connsiteX14" fmla="*/ 2320781 w 3892535"/>
                <a:gd name="connsiteY14" fmla="*/ 204402 h 1288550"/>
                <a:gd name="connsiteX15" fmla="*/ 1581038 w 3892535"/>
                <a:gd name="connsiteY15" fmla="*/ 179379 h 1288550"/>
                <a:gd name="connsiteX16" fmla="*/ 981000 w 3892535"/>
                <a:gd name="connsiteY16" fmla="*/ 88394 h 1288550"/>
                <a:gd name="connsiteX17" fmla="*/ 61263 w 3892535"/>
                <a:gd name="connsiteY17" fmla="*/ 24870 h 1288550"/>
                <a:gd name="connsiteX0" fmla="*/ 61263 w 3892533"/>
                <a:gd name="connsiteY0" fmla="*/ 24870 h 1288550"/>
                <a:gd name="connsiteX1" fmla="*/ 126754 w 3892533"/>
                <a:gd name="connsiteY1" fmla="*/ 531425 h 1288550"/>
                <a:gd name="connsiteX2" fmla="*/ 459363 w 3892533"/>
                <a:gd name="connsiteY2" fmla="*/ 1056279 h 1288550"/>
                <a:gd name="connsiteX3" fmla="*/ 966682 w 3892533"/>
                <a:gd name="connsiteY3" fmla="*/ 1280322 h 1288550"/>
                <a:gd name="connsiteX4" fmla="*/ 1584621 w 3892533"/>
                <a:gd name="connsiteY4" fmla="*/ 1232549 h 1288550"/>
                <a:gd name="connsiteX5" fmla="*/ 2069939 w 3892533"/>
                <a:gd name="connsiteY5" fmla="*/ 1160654 h 1288550"/>
                <a:gd name="connsiteX6" fmla="*/ 2338605 w 3892533"/>
                <a:gd name="connsiteY6" fmla="*/ 1285763 h 1288550"/>
                <a:gd name="connsiteX7" fmla="*/ 2490859 w 3892533"/>
                <a:gd name="connsiteY7" fmla="*/ 1149282 h 1288550"/>
                <a:gd name="connsiteX8" fmla="*/ 2768487 w 3892533"/>
                <a:gd name="connsiteY8" fmla="*/ 1206147 h 1288550"/>
                <a:gd name="connsiteX9" fmla="*/ 3360418 w 3892533"/>
                <a:gd name="connsiteY9" fmla="*/ 1044031 h 1288550"/>
                <a:gd name="connsiteX10" fmla="*/ 3635487 w 3892533"/>
                <a:gd name="connsiteY10" fmla="*/ 745777 h 1288550"/>
                <a:gd name="connsiteX11" fmla="*/ 3883573 w 3892533"/>
                <a:gd name="connsiteY11" fmla="*/ 445463 h 1288550"/>
                <a:gd name="connsiteX12" fmla="*/ 3892534 w 3892533"/>
                <a:gd name="connsiteY12" fmla="*/ 166306 h 1288550"/>
                <a:gd name="connsiteX13" fmla="*/ 3277257 w 3892533"/>
                <a:gd name="connsiteY13" fmla="*/ 181656 h 1288550"/>
                <a:gd name="connsiteX14" fmla="*/ 2790063 w 3892533"/>
                <a:gd name="connsiteY14" fmla="*/ 281739 h 1288550"/>
                <a:gd name="connsiteX15" fmla="*/ 2320781 w 3892533"/>
                <a:gd name="connsiteY15" fmla="*/ 204402 h 1288550"/>
                <a:gd name="connsiteX16" fmla="*/ 1581038 w 3892533"/>
                <a:gd name="connsiteY16" fmla="*/ 179379 h 1288550"/>
                <a:gd name="connsiteX17" fmla="*/ 981000 w 3892533"/>
                <a:gd name="connsiteY17" fmla="*/ 88394 h 1288550"/>
                <a:gd name="connsiteX18" fmla="*/ 61263 w 3892533"/>
                <a:gd name="connsiteY18" fmla="*/ 24870 h 1288550"/>
                <a:gd name="connsiteX0" fmla="*/ 61263 w 3892535"/>
                <a:gd name="connsiteY0" fmla="*/ 24870 h 1289751"/>
                <a:gd name="connsiteX1" fmla="*/ 126754 w 3892535"/>
                <a:gd name="connsiteY1" fmla="*/ 531425 h 1289751"/>
                <a:gd name="connsiteX2" fmla="*/ 459363 w 3892535"/>
                <a:gd name="connsiteY2" fmla="*/ 1056279 h 1289751"/>
                <a:gd name="connsiteX3" fmla="*/ 966682 w 3892535"/>
                <a:gd name="connsiteY3" fmla="*/ 1280322 h 1289751"/>
                <a:gd name="connsiteX4" fmla="*/ 1584621 w 3892535"/>
                <a:gd name="connsiteY4" fmla="*/ 1232549 h 1289751"/>
                <a:gd name="connsiteX5" fmla="*/ 1881860 w 3892535"/>
                <a:gd name="connsiteY5" fmla="*/ 1092415 h 1289751"/>
                <a:gd name="connsiteX6" fmla="*/ 2069939 w 3892535"/>
                <a:gd name="connsiteY6" fmla="*/ 1160654 h 1289751"/>
                <a:gd name="connsiteX7" fmla="*/ 2338605 w 3892535"/>
                <a:gd name="connsiteY7" fmla="*/ 1285763 h 1289751"/>
                <a:gd name="connsiteX8" fmla="*/ 2490859 w 3892535"/>
                <a:gd name="connsiteY8" fmla="*/ 1149282 h 1289751"/>
                <a:gd name="connsiteX9" fmla="*/ 2768487 w 3892535"/>
                <a:gd name="connsiteY9" fmla="*/ 1206147 h 1289751"/>
                <a:gd name="connsiteX10" fmla="*/ 3360418 w 3892535"/>
                <a:gd name="connsiteY10" fmla="*/ 1044031 h 1289751"/>
                <a:gd name="connsiteX11" fmla="*/ 3635487 w 3892535"/>
                <a:gd name="connsiteY11" fmla="*/ 745777 h 1289751"/>
                <a:gd name="connsiteX12" fmla="*/ 3883573 w 3892535"/>
                <a:gd name="connsiteY12" fmla="*/ 445463 h 1289751"/>
                <a:gd name="connsiteX13" fmla="*/ 3892534 w 3892535"/>
                <a:gd name="connsiteY13" fmla="*/ 166306 h 1289751"/>
                <a:gd name="connsiteX14" fmla="*/ 3277257 w 3892535"/>
                <a:gd name="connsiteY14" fmla="*/ 181656 h 1289751"/>
                <a:gd name="connsiteX15" fmla="*/ 2790063 w 3892535"/>
                <a:gd name="connsiteY15" fmla="*/ 281739 h 1289751"/>
                <a:gd name="connsiteX16" fmla="*/ 2320781 w 3892535"/>
                <a:gd name="connsiteY16" fmla="*/ 204402 h 1289751"/>
                <a:gd name="connsiteX17" fmla="*/ 1581038 w 3892535"/>
                <a:gd name="connsiteY17" fmla="*/ 179379 h 1289751"/>
                <a:gd name="connsiteX18" fmla="*/ 981000 w 3892535"/>
                <a:gd name="connsiteY18" fmla="*/ 88394 h 1289751"/>
                <a:gd name="connsiteX19" fmla="*/ 61263 w 3892535"/>
                <a:gd name="connsiteY19" fmla="*/ 24870 h 1289751"/>
                <a:gd name="connsiteX0" fmla="*/ 61263 w 3892533"/>
                <a:gd name="connsiteY0" fmla="*/ 24870 h 1411420"/>
                <a:gd name="connsiteX1" fmla="*/ 126754 w 3892533"/>
                <a:gd name="connsiteY1" fmla="*/ 531425 h 1411420"/>
                <a:gd name="connsiteX2" fmla="*/ 459363 w 3892533"/>
                <a:gd name="connsiteY2" fmla="*/ 1056279 h 1411420"/>
                <a:gd name="connsiteX3" fmla="*/ 966682 w 3892533"/>
                <a:gd name="connsiteY3" fmla="*/ 1280322 h 1411420"/>
                <a:gd name="connsiteX4" fmla="*/ 1407205 w 3892533"/>
                <a:gd name="connsiteY4" fmla="*/ 1410866 h 1411420"/>
                <a:gd name="connsiteX5" fmla="*/ 1584621 w 3892533"/>
                <a:gd name="connsiteY5" fmla="*/ 1232549 h 1411420"/>
                <a:gd name="connsiteX6" fmla="*/ 1881860 w 3892533"/>
                <a:gd name="connsiteY6" fmla="*/ 1092415 h 1411420"/>
                <a:gd name="connsiteX7" fmla="*/ 2069939 w 3892533"/>
                <a:gd name="connsiteY7" fmla="*/ 1160654 h 1411420"/>
                <a:gd name="connsiteX8" fmla="*/ 2338605 w 3892533"/>
                <a:gd name="connsiteY8" fmla="*/ 1285763 h 1411420"/>
                <a:gd name="connsiteX9" fmla="*/ 2490859 w 3892533"/>
                <a:gd name="connsiteY9" fmla="*/ 1149282 h 1411420"/>
                <a:gd name="connsiteX10" fmla="*/ 2768487 w 3892533"/>
                <a:gd name="connsiteY10" fmla="*/ 1206147 h 1411420"/>
                <a:gd name="connsiteX11" fmla="*/ 3360418 w 3892533"/>
                <a:gd name="connsiteY11" fmla="*/ 1044031 h 1411420"/>
                <a:gd name="connsiteX12" fmla="*/ 3635487 w 3892533"/>
                <a:gd name="connsiteY12" fmla="*/ 745777 h 1411420"/>
                <a:gd name="connsiteX13" fmla="*/ 3883573 w 3892533"/>
                <a:gd name="connsiteY13" fmla="*/ 445463 h 1411420"/>
                <a:gd name="connsiteX14" fmla="*/ 3892534 w 3892533"/>
                <a:gd name="connsiteY14" fmla="*/ 166306 h 1411420"/>
                <a:gd name="connsiteX15" fmla="*/ 3277257 w 3892533"/>
                <a:gd name="connsiteY15" fmla="*/ 181656 h 1411420"/>
                <a:gd name="connsiteX16" fmla="*/ 2790063 w 3892533"/>
                <a:gd name="connsiteY16" fmla="*/ 281739 h 1411420"/>
                <a:gd name="connsiteX17" fmla="*/ 2320781 w 3892533"/>
                <a:gd name="connsiteY17" fmla="*/ 204402 h 1411420"/>
                <a:gd name="connsiteX18" fmla="*/ 1581038 w 3892533"/>
                <a:gd name="connsiteY18" fmla="*/ 179379 h 1411420"/>
                <a:gd name="connsiteX19" fmla="*/ 981000 w 3892533"/>
                <a:gd name="connsiteY19" fmla="*/ 88394 h 1411420"/>
                <a:gd name="connsiteX20" fmla="*/ 61263 w 3892533"/>
                <a:gd name="connsiteY20" fmla="*/ 24870 h 1411420"/>
                <a:gd name="connsiteX0" fmla="*/ 61263 w 3892534"/>
                <a:gd name="connsiteY0" fmla="*/ 24870 h 1411420"/>
                <a:gd name="connsiteX1" fmla="*/ 126754 w 3892534"/>
                <a:gd name="connsiteY1" fmla="*/ 531425 h 1411420"/>
                <a:gd name="connsiteX2" fmla="*/ 459363 w 3892534"/>
                <a:gd name="connsiteY2" fmla="*/ 1056279 h 1411420"/>
                <a:gd name="connsiteX3" fmla="*/ 966682 w 3892534"/>
                <a:gd name="connsiteY3" fmla="*/ 1280322 h 1411420"/>
                <a:gd name="connsiteX4" fmla="*/ 1407205 w 3892534"/>
                <a:gd name="connsiteY4" fmla="*/ 1410866 h 1411420"/>
                <a:gd name="connsiteX5" fmla="*/ 1584621 w 3892534"/>
                <a:gd name="connsiteY5" fmla="*/ 1232549 h 1411420"/>
                <a:gd name="connsiteX6" fmla="*/ 1881860 w 3892534"/>
                <a:gd name="connsiteY6" fmla="*/ 1092415 h 1411420"/>
                <a:gd name="connsiteX7" fmla="*/ 2069939 w 3892534"/>
                <a:gd name="connsiteY7" fmla="*/ 1160654 h 1411420"/>
                <a:gd name="connsiteX8" fmla="*/ 2338605 w 3892534"/>
                <a:gd name="connsiteY8" fmla="*/ 1285763 h 1411420"/>
                <a:gd name="connsiteX9" fmla="*/ 2490859 w 3892534"/>
                <a:gd name="connsiteY9" fmla="*/ 1149282 h 1411420"/>
                <a:gd name="connsiteX10" fmla="*/ 2768487 w 3892534"/>
                <a:gd name="connsiteY10" fmla="*/ 1206147 h 1411420"/>
                <a:gd name="connsiteX11" fmla="*/ 3360418 w 3892534"/>
                <a:gd name="connsiteY11" fmla="*/ 1044031 h 1411420"/>
                <a:gd name="connsiteX12" fmla="*/ 3635487 w 3892534"/>
                <a:gd name="connsiteY12" fmla="*/ 745777 h 1411420"/>
                <a:gd name="connsiteX13" fmla="*/ 3892534 w 3892534"/>
                <a:gd name="connsiteY13" fmla="*/ 166306 h 1411420"/>
                <a:gd name="connsiteX14" fmla="*/ 3277257 w 3892534"/>
                <a:gd name="connsiteY14" fmla="*/ 181656 h 1411420"/>
                <a:gd name="connsiteX15" fmla="*/ 2790063 w 3892534"/>
                <a:gd name="connsiteY15" fmla="*/ 281739 h 1411420"/>
                <a:gd name="connsiteX16" fmla="*/ 2320781 w 3892534"/>
                <a:gd name="connsiteY16" fmla="*/ 204402 h 1411420"/>
                <a:gd name="connsiteX17" fmla="*/ 1581038 w 3892534"/>
                <a:gd name="connsiteY17" fmla="*/ 179379 h 1411420"/>
                <a:gd name="connsiteX18" fmla="*/ 981000 w 3892534"/>
                <a:gd name="connsiteY18" fmla="*/ 88394 h 1411420"/>
                <a:gd name="connsiteX19" fmla="*/ 61263 w 3892534"/>
                <a:gd name="connsiteY19" fmla="*/ 24870 h 1411420"/>
                <a:gd name="connsiteX0" fmla="*/ 61263 w 3635487"/>
                <a:gd name="connsiteY0" fmla="*/ 24870 h 1411420"/>
                <a:gd name="connsiteX1" fmla="*/ 126754 w 3635487"/>
                <a:gd name="connsiteY1" fmla="*/ 531425 h 1411420"/>
                <a:gd name="connsiteX2" fmla="*/ 459363 w 3635487"/>
                <a:gd name="connsiteY2" fmla="*/ 1056279 h 1411420"/>
                <a:gd name="connsiteX3" fmla="*/ 966682 w 3635487"/>
                <a:gd name="connsiteY3" fmla="*/ 1280322 h 1411420"/>
                <a:gd name="connsiteX4" fmla="*/ 1407205 w 3635487"/>
                <a:gd name="connsiteY4" fmla="*/ 1410866 h 1411420"/>
                <a:gd name="connsiteX5" fmla="*/ 1584621 w 3635487"/>
                <a:gd name="connsiteY5" fmla="*/ 1232549 h 1411420"/>
                <a:gd name="connsiteX6" fmla="*/ 1881860 w 3635487"/>
                <a:gd name="connsiteY6" fmla="*/ 1092415 h 1411420"/>
                <a:gd name="connsiteX7" fmla="*/ 2069939 w 3635487"/>
                <a:gd name="connsiteY7" fmla="*/ 1160654 h 1411420"/>
                <a:gd name="connsiteX8" fmla="*/ 2338605 w 3635487"/>
                <a:gd name="connsiteY8" fmla="*/ 1285763 h 1411420"/>
                <a:gd name="connsiteX9" fmla="*/ 2490859 w 3635487"/>
                <a:gd name="connsiteY9" fmla="*/ 1149282 h 1411420"/>
                <a:gd name="connsiteX10" fmla="*/ 2768487 w 3635487"/>
                <a:gd name="connsiteY10" fmla="*/ 1206147 h 1411420"/>
                <a:gd name="connsiteX11" fmla="*/ 3360418 w 3635487"/>
                <a:gd name="connsiteY11" fmla="*/ 1044031 h 1411420"/>
                <a:gd name="connsiteX12" fmla="*/ 3635487 w 3635487"/>
                <a:gd name="connsiteY12" fmla="*/ 745777 h 1411420"/>
                <a:gd name="connsiteX13" fmla="*/ 3585596 w 3635487"/>
                <a:gd name="connsiteY13" fmla="*/ 222686 h 1411420"/>
                <a:gd name="connsiteX14" fmla="*/ 3277257 w 3635487"/>
                <a:gd name="connsiteY14" fmla="*/ 181656 h 1411420"/>
                <a:gd name="connsiteX15" fmla="*/ 2790063 w 3635487"/>
                <a:gd name="connsiteY15" fmla="*/ 281739 h 1411420"/>
                <a:gd name="connsiteX16" fmla="*/ 2320781 w 3635487"/>
                <a:gd name="connsiteY16" fmla="*/ 204402 h 1411420"/>
                <a:gd name="connsiteX17" fmla="*/ 1581038 w 3635487"/>
                <a:gd name="connsiteY17" fmla="*/ 179379 h 1411420"/>
                <a:gd name="connsiteX18" fmla="*/ 981000 w 3635487"/>
                <a:gd name="connsiteY18" fmla="*/ 88394 h 1411420"/>
                <a:gd name="connsiteX19" fmla="*/ 61263 w 3635487"/>
                <a:gd name="connsiteY19" fmla="*/ 24870 h 1411420"/>
                <a:gd name="connsiteX0" fmla="*/ 94360 w 3556971"/>
                <a:gd name="connsiteY0" fmla="*/ 63653 h 1326168"/>
                <a:gd name="connsiteX1" fmla="*/ 48238 w 3556971"/>
                <a:gd name="connsiteY1" fmla="*/ 446173 h 1326168"/>
                <a:gd name="connsiteX2" fmla="*/ 380847 w 3556971"/>
                <a:gd name="connsiteY2" fmla="*/ 971027 h 1326168"/>
                <a:gd name="connsiteX3" fmla="*/ 888166 w 3556971"/>
                <a:gd name="connsiteY3" fmla="*/ 1195070 h 1326168"/>
                <a:gd name="connsiteX4" fmla="*/ 1328689 w 3556971"/>
                <a:gd name="connsiteY4" fmla="*/ 1325614 h 1326168"/>
                <a:gd name="connsiteX5" fmla="*/ 1506105 w 3556971"/>
                <a:gd name="connsiteY5" fmla="*/ 1147297 h 1326168"/>
                <a:gd name="connsiteX6" fmla="*/ 1803344 w 3556971"/>
                <a:gd name="connsiteY6" fmla="*/ 1007163 h 1326168"/>
                <a:gd name="connsiteX7" fmla="*/ 1991423 w 3556971"/>
                <a:gd name="connsiteY7" fmla="*/ 1075402 h 1326168"/>
                <a:gd name="connsiteX8" fmla="*/ 2260089 w 3556971"/>
                <a:gd name="connsiteY8" fmla="*/ 1200511 h 1326168"/>
                <a:gd name="connsiteX9" fmla="*/ 2412343 w 3556971"/>
                <a:gd name="connsiteY9" fmla="*/ 1064030 h 1326168"/>
                <a:gd name="connsiteX10" fmla="*/ 2689971 w 3556971"/>
                <a:gd name="connsiteY10" fmla="*/ 1120895 h 1326168"/>
                <a:gd name="connsiteX11" fmla="*/ 3281902 w 3556971"/>
                <a:gd name="connsiteY11" fmla="*/ 958779 h 1326168"/>
                <a:gd name="connsiteX12" fmla="*/ 3556971 w 3556971"/>
                <a:gd name="connsiteY12" fmla="*/ 660525 h 1326168"/>
                <a:gd name="connsiteX13" fmla="*/ 3507080 w 3556971"/>
                <a:gd name="connsiteY13" fmla="*/ 137434 h 1326168"/>
                <a:gd name="connsiteX14" fmla="*/ 3198741 w 3556971"/>
                <a:gd name="connsiteY14" fmla="*/ 96404 h 1326168"/>
                <a:gd name="connsiteX15" fmla="*/ 2711547 w 3556971"/>
                <a:gd name="connsiteY15" fmla="*/ 196487 h 1326168"/>
                <a:gd name="connsiteX16" fmla="*/ 2242265 w 3556971"/>
                <a:gd name="connsiteY16" fmla="*/ 119150 h 1326168"/>
                <a:gd name="connsiteX17" fmla="*/ 1502522 w 3556971"/>
                <a:gd name="connsiteY17" fmla="*/ 94127 h 1326168"/>
                <a:gd name="connsiteX18" fmla="*/ 902484 w 3556971"/>
                <a:gd name="connsiteY18" fmla="*/ 3142 h 1326168"/>
                <a:gd name="connsiteX19" fmla="*/ 94360 w 3556971"/>
                <a:gd name="connsiteY19" fmla="*/ 63653 h 1326168"/>
                <a:gd name="connsiteX0" fmla="*/ 57946 w 3520557"/>
                <a:gd name="connsiteY0" fmla="*/ 61876 h 1324391"/>
                <a:gd name="connsiteX1" fmla="*/ 95534 w 3520557"/>
                <a:gd name="connsiteY1" fmla="*/ 354189 h 1324391"/>
                <a:gd name="connsiteX2" fmla="*/ 344433 w 3520557"/>
                <a:gd name="connsiteY2" fmla="*/ 969250 h 1324391"/>
                <a:gd name="connsiteX3" fmla="*/ 851752 w 3520557"/>
                <a:gd name="connsiteY3" fmla="*/ 1193293 h 1324391"/>
                <a:gd name="connsiteX4" fmla="*/ 1292275 w 3520557"/>
                <a:gd name="connsiteY4" fmla="*/ 1323837 h 1324391"/>
                <a:gd name="connsiteX5" fmla="*/ 1469691 w 3520557"/>
                <a:gd name="connsiteY5" fmla="*/ 1145520 h 1324391"/>
                <a:gd name="connsiteX6" fmla="*/ 1766930 w 3520557"/>
                <a:gd name="connsiteY6" fmla="*/ 1005386 h 1324391"/>
                <a:gd name="connsiteX7" fmla="*/ 1955009 w 3520557"/>
                <a:gd name="connsiteY7" fmla="*/ 1073625 h 1324391"/>
                <a:gd name="connsiteX8" fmla="*/ 2223675 w 3520557"/>
                <a:gd name="connsiteY8" fmla="*/ 1198734 h 1324391"/>
                <a:gd name="connsiteX9" fmla="*/ 2375929 w 3520557"/>
                <a:gd name="connsiteY9" fmla="*/ 1062253 h 1324391"/>
                <a:gd name="connsiteX10" fmla="*/ 2653557 w 3520557"/>
                <a:gd name="connsiteY10" fmla="*/ 1119118 h 1324391"/>
                <a:gd name="connsiteX11" fmla="*/ 3245488 w 3520557"/>
                <a:gd name="connsiteY11" fmla="*/ 957002 h 1324391"/>
                <a:gd name="connsiteX12" fmla="*/ 3520557 w 3520557"/>
                <a:gd name="connsiteY12" fmla="*/ 658748 h 1324391"/>
                <a:gd name="connsiteX13" fmla="*/ 3470666 w 3520557"/>
                <a:gd name="connsiteY13" fmla="*/ 135657 h 1324391"/>
                <a:gd name="connsiteX14" fmla="*/ 3162327 w 3520557"/>
                <a:gd name="connsiteY14" fmla="*/ 94627 h 1324391"/>
                <a:gd name="connsiteX15" fmla="*/ 2675133 w 3520557"/>
                <a:gd name="connsiteY15" fmla="*/ 194710 h 1324391"/>
                <a:gd name="connsiteX16" fmla="*/ 2205851 w 3520557"/>
                <a:gd name="connsiteY16" fmla="*/ 117373 h 1324391"/>
                <a:gd name="connsiteX17" fmla="*/ 1466108 w 3520557"/>
                <a:gd name="connsiteY17" fmla="*/ 92350 h 1324391"/>
                <a:gd name="connsiteX18" fmla="*/ 866070 w 3520557"/>
                <a:gd name="connsiteY18" fmla="*/ 1365 h 1324391"/>
                <a:gd name="connsiteX19" fmla="*/ 57946 w 3520557"/>
                <a:gd name="connsiteY19" fmla="*/ 61876 h 1324391"/>
                <a:gd name="connsiteX0" fmla="*/ 119984 w 3436101"/>
                <a:gd name="connsiteY0" fmla="*/ 39450 h 1335792"/>
                <a:gd name="connsiteX1" fmla="*/ 11078 w 3436101"/>
                <a:gd name="connsiteY1" fmla="*/ 365590 h 1335792"/>
                <a:gd name="connsiteX2" fmla="*/ 259977 w 3436101"/>
                <a:gd name="connsiteY2" fmla="*/ 980651 h 1335792"/>
                <a:gd name="connsiteX3" fmla="*/ 767296 w 3436101"/>
                <a:gd name="connsiteY3" fmla="*/ 1204694 h 1335792"/>
                <a:gd name="connsiteX4" fmla="*/ 1207819 w 3436101"/>
                <a:gd name="connsiteY4" fmla="*/ 1335238 h 1335792"/>
                <a:gd name="connsiteX5" fmla="*/ 1385235 w 3436101"/>
                <a:gd name="connsiteY5" fmla="*/ 1156921 h 1335792"/>
                <a:gd name="connsiteX6" fmla="*/ 1682474 w 3436101"/>
                <a:gd name="connsiteY6" fmla="*/ 1016787 h 1335792"/>
                <a:gd name="connsiteX7" fmla="*/ 1870553 w 3436101"/>
                <a:gd name="connsiteY7" fmla="*/ 1085026 h 1335792"/>
                <a:gd name="connsiteX8" fmla="*/ 2139219 w 3436101"/>
                <a:gd name="connsiteY8" fmla="*/ 1210135 h 1335792"/>
                <a:gd name="connsiteX9" fmla="*/ 2291473 w 3436101"/>
                <a:gd name="connsiteY9" fmla="*/ 1073654 h 1335792"/>
                <a:gd name="connsiteX10" fmla="*/ 2569101 w 3436101"/>
                <a:gd name="connsiteY10" fmla="*/ 1130519 h 1335792"/>
                <a:gd name="connsiteX11" fmla="*/ 3161032 w 3436101"/>
                <a:gd name="connsiteY11" fmla="*/ 968403 h 1335792"/>
                <a:gd name="connsiteX12" fmla="*/ 3436101 w 3436101"/>
                <a:gd name="connsiteY12" fmla="*/ 670149 h 1335792"/>
                <a:gd name="connsiteX13" fmla="*/ 3386210 w 3436101"/>
                <a:gd name="connsiteY13" fmla="*/ 147058 h 1335792"/>
                <a:gd name="connsiteX14" fmla="*/ 3077871 w 3436101"/>
                <a:gd name="connsiteY14" fmla="*/ 106028 h 1335792"/>
                <a:gd name="connsiteX15" fmla="*/ 2590677 w 3436101"/>
                <a:gd name="connsiteY15" fmla="*/ 206111 h 1335792"/>
                <a:gd name="connsiteX16" fmla="*/ 2121395 w 3436101"/>
                <a:gd name="connsiteY16" fmla="*/ 128774 h 1335792"/>
                <a:gd name="connsiteX17" fmla="*/ 1381652 w 3436101"/>
                <a:gd name="connsiteY17" fmla="*/ 103751 h 1335792"/>
                <a:gd name="connsiteX18" fmla="*/ 781614 w 3436101"/>
                <a:gd name="connsiteY18" fmla="*/ 12766 h 1335792"/>
                <a:gd name="connsiteX19" fmla="*/ 119984 w 3436101"/>
                <a:gd name="connsiteY19" fmla="*/ 39450 h 1335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436101" h="1335792">
                  <a:moveTo>
                    <a:pt x="119984" y="39450"/>
                  </a:moveTo>
                  <a:cubicBezTo>
                    <a:pt x="-8439" y="98254"/>
                    <a:pt x="-12254" y="208723"/>
                    <a:pt x="11078" y="365590"/>
                  </a:cubicBezTo>
                  <a:cubicBezTo>
                    <a:pt x="34410" y="522457"/>
                    <a:pt x="133941" y="840800"/>
                    <a:pt x="259977" y="980651"/>
                  </a:cubicBezTo>
                  <a:cubicBezTo>
                    <a:pt x="386013" y="1120502"/>
                    <a:pt x="609322" y="1145596"/>
                    <a:pt x="767296" y="1204694"/>
                  </a:cubicBezTo>
                  <a:cubicBezTo>
                    <a:pt x="925270" y="1263792"/>
                    <a:pt x="1104829" y="1343200"/>
                    <a:pt x="1207819" y="1335238"/>
                  </a:cubicBezTo>
                  <a:cubicBezTo>
                    <a:pt x="1310809" y="1327276"/>
                    <a:pt x="1306126" y="1209996"/>
                    <a:pt x="1385235" y="1156921"/>
                  </a:cubicBezTo>
                  <a:cubicBezTo>
                    <a:pt x="1464344" y="1103846"/>
                    <a:pt x="1601588" y="1028769"/>
                    <a:pt x="1682474" y="1016787"/>
                  </a:cubicBezTo>
                  <a:cubicBezTo>
                    <a:pt x="1763360" y="1004805"/>
                    <a:pt x="1794429" y="1069862"/>
                    <a:pt x="1870553" y="1085026"/>
                  </a:cubicBezTo>
                  <a:cubicBezTo>
                    <a:pt x="1946677" y="1100191"/>
                    <a:pt x="2069066" y="1212030"/>
                    <a:pt x="2139219" y="1210135"/>
                  </a:cubicBezTo>
                  <a:cubicBezTo>
                    <a:pt x="2209372" y="1208240"/>
                    <a:pt x="2219827" y="1102087"/>
                    <a:pt x="2291473" y="1073654"/>
                  </a:cubicBezTo>
                  <a:cubicBezTo>
                    <a:pt x="2363119" y="1045221"/>
                    <a:pt x="2424175" y="1148061"/>
                    <a:pt x="2569101" y="1130519"/>
                  </a:cubicBezTo>
                  <a:cubicBezTo>
                    <a:pt x="2714027" y="1112977"/>
                    <a:pt x="3016531" y="1029967"/>
                    <a:pt x="3161032" y="968403"/>
                  </a:cubicBezTo>
                  <a:cubicBezTo>
                    <a:pt x="3273278" y="807660"/>
                    <a:pt x="3339825" y="850615"/>
                    <a:pt x="3436101" y="670149"/>
                  </a:cubicBezTo>
                  <a:lnTo>
                    <a:pt x="3386210" y="147058"/>
                  </a:lnTo>
                  <a:cubicBezTo>
                    <a:pt x="3289934" y="72761"/>
                    <a:pt x="3677026" y="123414"/>
                    <a:pt x="3077871" y="106028"/>
                  </a:cubicBezTo>
                  <a:cubicBezTo>
                    <a:pt x="2867259" y="170760"/>
                    <a:pt x="2909204" y="102234"/>
                    <a:pt x="2590677" y="206111"/>
                  </a:cubicBezTo>
                  <a:cubicBezTo>
                    <a:pt x="2431264" y="209902"/>
                    <a:pt x="2322899" y="145834"/>
                    <a:pt x="2121395" y="128774"/>
                  </a:cubicBezTo>
                  <a:cubicBezTo>
                    <a:pt x="1919891" y="111714"/>
                    <a:pt x="1604949" y="123086"/>
                    <a:pt x="1381652" y="103751"/>
                  </a:cubicBezTo>
                  <a:cubicBezTo>
                    <a:pt x="1158355" y="84416"/>
                    <a:pt x="991892" y="23483"/>
                    <a:pt x="781614" y="12766"/>
                  </a:cubicBezTo>
                  <a:cubicBezTo>
                    <a:pt x="571336" y="2049"/>
                    <a:pt x="248407" y="-19354"/>
                    <a:pt x="119984" y="39450"/>
                  </a:cubicBezTo>
                  <a:close/>
                </a:path>
              </a:pathLst>
            </a:custGeom>
            <a:solidFill>
              <a:srgbClr val="E3D16D">
                <a:alpha val="80000"/>
              </a:srgbClr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600"/>
            </a:p>
          </p:txBody>
        </p:sp>
        <p:sp>
          <p:nvSpPr>
            <p:cNvPr id="3370" name="!!mucus">
              <a:extLst>
                <a:ext uri="{FF2B5EF4-FFF2-40B4-BE49-F238E27FC236}">
                  <a16:creationId xmlns:a16="http://schemas.microsoft.com/office/drawing/2014/main" id="{0992B1ED-697A-A0FE-1E7C-5F9396F76D90}"/>
                </a:ext>
              </a:extLst>
            </p:cNvPr>
            <p:cNvSpPr/>
            <p:nvPr/>
          </p:nvSpPr>
          <p:spPr>
            <a:xfrm rot="13729839">
              <a:off x="4235027" y="2303802"/>
              <a:ext cx="648636" cy="230682"/>
            </a:xfrm>
            <a:custGeom>
              <a:avLst/>
              <a:gdLst>
                <a:gd name="connsiteX0" fmla="*/ 0 w 11280654"/>
                <a:gd name="connsiteY0" fmla="*/ 91352 h 1986246"/>
                <a:gd name="connsiteX1" fmla="*/ 10868 w 11280654"/>
                <a:gd name="connsiteY1" fmla="*/ 745642 h 1986246"/>
                <a:gd name="connsiteX2" fmla="*/ 260587 w 11280654"/>
                <a:gd name="connsiteY2" fmla="*/ 915580 h 1986246"/>
                <a:gd name="connsiteX3" fmla="*/ 282300 w 11280654"/>
                <a:gd name="connsiteY3" fmla="*/ 1077031 h 1986246"/>
                <a:gd name="connsiteX4" fmla="*/ 510305 w 11280654"/>
                <a:gd name="connsiteY4" fmla="*/ 1416926 h 1986246"/>
                <a:gd name="connsiteX5" fmla="*/ 640587 w 11280654"/>
                <a:gd name="connsiteY5" fmla="*/ 1595370 h 1986246"/>
                <a:gd name="connsiteX6" fmla="*/ 694882 w 11280654"/>
                <a:gd name="connsiteY6" fmla="*/ 1790808 h 1986246"/>
                <a:gd name="connsiteX7" fmla="*/ 857746 w 11280654"/>
                <a:gd name="connsiteY7" fmla="*/ 1986246 h 1986246"/>
                <a:gd name="connsiteX8" fmla="*/ 1020610 w 11280654"/>
                <a:gd name="connsiteY8" fmla="*/ 1858784 h 1986246"/>
                <a:gd name="connsiteX9" fmla="*/ 1042324 w 11280654"/>
                <a:gd name="connsiteY9" fmla="*/ 1595370 h 1986246"/>
                <a:gd name="connsiteX10" fmla="*/ 1194319 w 11280654"/>
                <a:gd name="connsiteY10" fmla="*/ 1510401 h 1986246"/>
                <a:gd name="connsiteX11" fmla="*/ 1302887 w 11280654"/>
                <a:gd name="connsiteY11" fmla="*/ 1229994 h 1986246"/>
                <a:gd name="connsiteX12" fmla="*/ 1411455 w 11280654"/>
                <a:gd name="connsiteY12" fmla="*/ 873105 h 1986246"/>
                <a:gd name="connsiteX13" fmla="*/ 1563450 w 11280654"/>
                <a:gd name="connsiteY13" fmla="*/ 737154 h 1986246"/>
                <a:gd name="connsiteX14" fmla="*/ 1867441 w 11280654"/>
                <a:gd name="connsiteY14" fmla="*/ 737154 h 1986246"/>
                <a:gd name="connsiteX15" fmla="*/ 2442864 w 11280654"/>
                <a:gd name="connsiteY15" fmla="*/ 754148 h 1986246"/>
                <a:gd name="connsiteX16" fmla="*/ 3582863 w 11280654"/>
                <a:gd name="connsiteY16" fmla="*/ 754148 h 1986246"/>
                <a:gd name="connsiteX17" fmla="*/ 4277722 w 11280654"/>
                <a:gd name="connsiteY17" fmla="*/ 788136 h 1986246"/>
                <a:gd name="connsiteX18" fmla="*/ 4733732 w 11280654"/>
                <a:gd name="connsiteY18" fmla="*/ 728648 h 1986246"/>
                <a:gd name="connsiteX19" fmla="*/ 5211454 w 11280654"/>
                <a:gd name="connsiteY19" fmla="*/ 728648 h 1986246"/>
                <a:gd name="connsiteX20" fmla="*/ 5982323 w 11280654"/>
                <a:gd name="connsiteY20" fmla="*/ 771142 h 1986246"/>
                <a:gd name="connsiteX21" fmla="*/ 6861759 w 11280654"/>
                <a:gd name="connsiteY21" fmla="*/ 754148 h 1986246"/>
                <a:gd name="connsiteX22" fmla="*/ 7491477 w 11280654"/>
                <a:gd name="connsiteY22" fmla="*/ 762654 h 1986246"/>
                <a:gd name="connsiteX23" fmla="*/ 8327487 w 11280654"/>
                <a:gd name="connsiteY23" fmla="*/ 762654 h 1986246"/>
                <a:gd name="connsiteX24" fmla="*/ 9391500 w 11280654"/>
                <a:gd name="connsiteY24" fmla="*/ 788154 h 1986246"/>
                <a:gd name="connsiteX25" fmla="*/ 10140655 w 11280654"/>
                <a:gd name="connsiteY25" fmla="*/ 779648 h 1986246"/>
                <a:gd name="connsiteX26" fmla="*/ 10672650 w 11280654"/>
                <a:gd name="connsiteY26" fmla="*/ 771142 h 1986246"/>
                <a:gd name="connsiteX27" fmla="*/ 11150373 w 11280654"/>
                <a:gd name="connsiteY27" fmla="*/ 737154 h 1986246"/>
                <a:gd name="connsiteX28" fmla="*/ 11280654 w 11280654"/>
                <a:gd name="connsiteY28" fmla="*/ 754148 h 1986246"/>
                <a:gd name="connsiteX29" fmla="*/ 11280654 w 11280654"/>
                <a:gd name="connsiteY29" fmla="*/ 133791 h 1986246"/>
                <a:gd name="connsiteX30" fmla="*/ 11096078 w 11280654"/>
                <a:gd name="connsiteY30" fmla="*/ 65870 h 1986246"/>
                <a:gd name="connsiteX31" fmla="*/ 10281782 w 11280654"/>
                <a:gd name="connsiteY31" fmla="*/ 14889 h 1986246"/>
                <a:gd name="connsiteX32" fmla="*/ 9695491 w 11280654"/>
                <a:gd name="connsiteY32" fmla="*/ 108364 h 1986246"/>
                <a:gd name="connsiteX33" fmla="*/ 8794341 w 11280654"/>
                <a:gd name="connsiteY33" fmla="*/ 201839 h 1986246"/>
                <a:gd name="connsiteX34" fmla="*/ 7828050 w 11280654"/>
                <a:gd name="connsiteY34" fmla="*/ 201839 h 1986246"/>
                <a:gd name="connsiteX35" fmla="*/ 6101760 w 11280654"/>
                <a:gd name="connsiteY35" fmla="*/ 193333 h 1986246"/>
                <a:gd name="connsiteX36" fmla="*/ 5016032 w 11280654"/>
                <a:gd name="connsiteY36" fmla="*/ 65870 h 1986246"/>
                <a:gd name="connsiteX37" fmla="*/ 3224600 w 11280654"/>
                <a:gd name="connsiteY37" fmla="*/ 57364 h 1986246"/>
                <a:gd name="connsiteX38" fmla="*/ 2171455 w 11280654"/>
                <a:gd name="connsiteY38" fmla="*/ 82864 h 1986246"/>
                <a:gd name="connsiteX39" fmla="*/ 760023 w 11280654"/>
                <a:gd name="connsiteY39" fmla="*/ 116852 h 1986246"/>
                <a:gd name="connsiteX40" fmla="*/ 0 w 11280654"/>
                <a:gd name="connsiteY40" fmla="*/ 91352 h 1986246"/>
                <a:gd name="connsiteX0" fmla="*/ 0 w 11280654"/>
                <a:gd name="connsiteY0" fmla="*/ 91352 h 1994638"/>
                <a:gd name="connsiteX1" fmla="*/ 10868 w 11280654"/>
                <a:gd name="connsiteY1" fmla="*/ 745642 h 1994638"/>
                <a:gd name="connsiteX2" fmla="*/ 260587 w 11280654"/>
                <a:gd name="connsiteY2" fmla="*/ 915580 h 1994638"/>
                <a:gd name="connsiteX3" fmla="*/ 282300 w 11280654"/>
                <a:gd name="connsiteY3" fmla="*/ 1077031 h 1994638"/>
                <a:gd name="connsiteX4" fmla="*/ 510305 w 11280654"/>
                <a:gd name="connsiteY4" fmla="*/ 1416926 h 1994638"/>
                <a:gd name="connsiteX5" fmla="*/ 640587 w 11280654"/>
                <a:gd name="connsiteY5" fmla="*/ 1595370 h 1994638"/>
                <a:gd name="connsiteX6" fmla="*/ 694882 w 11280654"/>
                <a:gd name="connsiteY6" fmla="*/ 1790808 h 1994638"/>
                <a:gd name="connsiteX7" fmla="*/ 857746 w 11280654"/>
                <a:gd name="connsiteY7" fmla="*/ 1986246 h 1994638"/>
                <a:gd name="connsiteX8" fmla="*/ 1020610 w 11280654"/>
                <a:gd name="connsiteY8" fmla="*/ 1858784 h 1994638"/>
                <a:gd name="connsiteX9" fmla="*/ 1042324 w 11280654"/>
                <a:gd name="connsiteY9" fmla="*/ 1595370 h 1994638"/>
                <a:gd name="connsiteX10" fmla="*/ 1194319 w 11280654"/>
                <a:gd name="connsiteY10" fmla="*/ 1510401 h 1994638"/>
                <a:gd name="connsiteX11" fmla="*/ 1302887 w 11280654"/>
                <a:gd name="connsiteY11" fmla="*/ 1229994 h 1994638"/>
                <a:gd name="connsiteX12" fmla="*/ 1411455 w 11280654"/>
                <a:gd name="connsiteY12" fmla="*/ 873105 h 1994638"/>
                <a:gd name="connsiteX13" fmla="*/ 1563450 w 11280654"/>
                <a:gd name="connsiteY13" fmla="*/ 737154 h 1994638"/>
                <a:gd name="connsiteX14" fmla="*/ 1867441 w 11280654"/>
                <a:gd name="connsiteY14" fmla="*/ 737154 h 1994638"/>
                <a:gd name="connsiteX15" fmla="*/ 2442864 w 11280654"/>
                <a:gd name="connsiteY15" fmla="*/ 754148 h 1994638"/>
                <a:gd name="connsiteX16" fmla="*/ 3582863 w 11280654"/>
                <a:gd name="connsiteY16" fmla="*/ 754148 h 1994638"/>
                <a:gd name="connsiteX17" fmla="*/ 4277722 w 11280654"/>
                <a:gd name="connsiteY17" fmla="*/ 788136 h 1994638"/>
                <a:gd name="connsiteX18" fmla="*/ 4733732 w 11280654"/>
                <a:gd name="connsiteY18" fmla="*/ 728648 h 1994638"/>
                <a:gd name="connsiteX19" fmla="*/ 5211454 w 11280654"/>
                <a:gd name="connsiteY19" fmla="*/ 728648 h 1994638"/>
                <a:gd name="connsiteX20" fmla="*/ 5982323 w 11280654"/>
                <a:gd name="connsiteY20" fmla="*/ 771142 h 1994638"/>
                <a:gd name="connsiteX21" fmla="*/ 6861759 w 11280654"/>
                <a:gd name="connsiteY21" fmla="*/ 754148 h 1994638"/>
                <a:gd name="connsiteX22" fmla="*/ 7491477 w 11280654"/>
                <a:gd name="connsiteY22" fmla="*/ 762654 h 1994638"/>
                <a:gd name="connsiteX23" fmla="*/ 8327487 w 11280654"/>
                <a:gd name="connsiteY23" fmla="*/ 762654 h 1994638"/>
                <a:gd name="connsiteX24" fmla="*/ 9391500 w 11280654"/>
                <a:gd name="connsiteY24" fmla="*/ 788154 h 1994638"/>
                <a:gd name="connsiteX25" fmla="*/ 10140655 w 11280654"/>
                <a:gd name="connsiteY25" fmla="*/ 779648 h 1994638"/>
                <a:gd name="connsiteX26" fmla="*/ 10672650 w 11280654"/>
                <a:gd name="connsiteY26" fmla="*/ 771142 h 1994638"/>
                <a:gd name="connsiteX27" fmla="*/ 11150373 w 11280654"/>
                <a:gd name="connsiteY27" fmla="*/ 737154 h 1994638"/>
                <a:gd name="connsiteX28" fmla="*/ 11280654 w 11280654"/>
                <a:gd name="connsiteY28" fmla="*/ 754148 h 1994638"/>
                <a:gd name="connsiteX29" fmla="*/ 11280654 w 11280654"/>
                <a:gd name="connsiteY29" fmla="*/ 133791 h 1994638"/>
                <a:gd name="connsiteX30" fmla="*/ 11096078 w 11280654"/>
                <a:gd name="connsiteY30" fmla="*/ 65870 h 1994638"/>
                <a:gd name="connsiteX31" fmla="*/ 10281782 w 11280654"/>
                <a:gd name="connsiteY31" fmla="*/ 14889 h 1994638"/>
                <a:gd name="connsiteX32" fmla="*/ 9695491 w 11280654"/>
                <a:gd name="connsiteY32" fmla="*/ 108364 h 1994638"/>
                <a:gd name="connsiteX33" fmla="*/ 8794341 w 11280654"/>
                <a:gd name="connsiteY33" fmla="*/ 201839 h 1994638"/>
                <a:gd name="connsiteX34" fmla="*/ 7828050 w 11280654"/>
                <a:gd name="connsiteY34" fmla="*/ 201839 h 1994638"/>
                <a:gd name="connsiteX35" fmla="*/ 6101760 w 11280654"/>
                <a:gd name="connsiteY35" fmla="*/ 193333 h 1994638"/>
                <a:gd name="connsiteX36" fmla="*/ 5016032 w 11280654"/>
                <a:gd name="connsiteY36" fmla="*/ 65870 h 1994638"/>
                <a:gd name="connsiteX37" fmla="*/ 3224600 w 11280654"/>
                <a:gd name="connsiteY37" fmla="*/ 57364 h 1994638"/>
                <a:gd name="connsiteX38" fmla="*/ 2171455 w 11280654"/>
                <a:gd name="connsiteY38" fmla="*/ 82864 h 1994638"/>
                <a:gd name="connsiteX39" fmla="*/ 760023 w 11280654"/>
                <a:gd name="connsiteY39" fmla="*/ 116852 h 1994638"/>
                <a:gd name="connsiteX40" fmla="*/ 0 w 11280654"/>
                <a:gd name="connsiteY40" fmla="*/ 91352 h 1994638"/>
                <a:gd name="connsiteX0" fmla="*/ 2673914 w 11269790"/>
                <a:gd name="connsiteY0" fmla="*/ 66415 h 1994638"/>
                <a:gd name="connsiteX1" fmla="*/ 4 w 11269790"/>
                <a:gd name="connsiteY1" fmla="*/ 745642 h 1994638"/>
                <a:gd name="connsiteX2" fmla="*/ 249723 w 11269790"/>
                <a:gd name="connsiteY2" fmla="*/ 915580 h 1994638"/>
                <a:gd name="connsiteX3" fmla="*/ 271436 w 11269790"/>
                <a:gd name="connsiteY3" fmla="*/ 1077031 h 1994638"/>
                <a:gd name="connsiteX4" fmla="*/ 499441 w 11269790"/>
                <a:gd name="connsiteY4" fmla="*/ 1416926 h 1994638"/>
                <a:gd name="connsiteX5" fmla="*/ 629723 w 11269790"/>
                <a:gd name="connsiteY5" fmla="*/ 1595370 h 1994638"/>
                <a:gd name="connsiteX6" fmla="*/ 684018 w 11269790"/>
                <a:gd name="connsiteY6" fmla="*/ 1790808 h 1994638"/>
                <a:gd name="connsiteX7" fmla="*/ 846882 w 11269790"/>
                <a:gd name="connsiteY7" fmla="*/ 1986246 h 1994638"/>
                <a:gd name="connsiteX8" fmla="*/ 1009746 w 11269790"/>
                <a:gd name="connsiteY8" fmla="*/ 1858784 h 1994638"/>
                <a:gd name="connsiteX9" fmla="*/ 1031460 w 11269790"/>
                <a:gd name="connsiteY9" fmla="*/ 1595370 h 1994638"/>
                <a:gd name="connsiteX10" fmla="*/ 1183455 w 11269790"/>
                <a:gd name="connsiteY10" fmla="*/ 1510401 h 1994638"/>
                <a:gd name="connsiteX11" fmla="*/ 1292023 w 11269790"/>
                <a:gd name="connsiteY11" fmla="*/ 1229994 h 1994638"/>
                <a:gd name="connsiteX12" fmla="*/ 1400591 w 11269790"/>
                <a:gd name="connsiteY12" fmla="*/ 873105 h 1994638"/>
                <a:gd name="connsiteX13" fmla="*/ 1552586 w 11269790"/>
                <a:gd name="connsiteY13" fmla="*/ 737154 h 1994638"/>
                <a:gd name="connsiteX14" fmla="*/ 1856577 w 11269790"/>
                <a:gd name="connsiteY14" fmla="*/ 737154 h 1994638"/>
                <a:gd name="connsiteX15" fmla="*/ 2432000 w 11269790"/>
                <a:gd name="connsiteY15" fmla="*/ 754148 h 1994638"/>
                <a:gd name="connsiteX16" fmla="*/ 3571999 w 11269790"/>
                <a:gd name="connsiteY16" fmla="*/ 754148 h 1994638"/>
                <a:gd name="connsiteX17" fmla="*/ 4266858 w 11269790"/>
                <a:gd name="connsiteY17" fmla="*/ 788136 h 1994638"/>
                <a:gd name="connsiteX18" fmla="*/ 4722868 w 11269790"/>
                <a:gd name="connsiteY18" fmla="*/ 728648 h 1994638"/>
                <a:gd name="connsiteX19" fmla="*/ 5200590 w 11269790"/>
                <a:gd name="connsiteY19" fmla="*/ 728648 h 1994638"/>
                <a:gd name="connsiteX20" fmla="*/ 5971459 w 11269790"/>
                <a:gd name="connsiteY20" fmla="*/ 771142 h 1994638"/>
                <a:gd name="connsiteX21" fmla="*/ 6850895 w 11269790"/>
                <a:gd name="connsiteY21" fmla="*/ 754148 h 1994638"/>
                <a:gd name="connsiteX22" fmla="*/ 7480613 w 11269790"/>
                <a:gd name="connsiteY22" fmla="*/ 762654 h 1994638"/>
                <a:gd name="connsiteX23" fmla="*/ 8316623 w 11269790"/>
                <a:gd name="connsiteY23" fmla="*/ 762654 h 1994638"/>
                <a:gd name="connsiteX24" fmla="*/ 9380636 w 11269790"/>
                <a:gd name="connsiteY24" fmla="*/ 788154 h 1994638"/>
                <a:gd name="connsiteX25" fmla="*/ 10129791 w 11269790"/>
                <a:gd name="connsiteY25" fmla="*/ 779648 h 1994638"/>
                <a:gd name="connsiteX26" fmla="*/ 10661786 w 11269790"/>
                <a:gd name="connsiteY26" fmla="*/ 771142 h 1994638"/>
                <a:gd name="connsiteX27" fmla="*/ 11139509 w 11269790"/>
                <a:gd name="connsiteY27" fmla="*/ 737154 h 1994638"/>
                <a:gd name="connsiteX28" fmla="*/ 11269790 w 11269790"/>
                <a:gd name="connsiteY28" fmla="*/ 754148 h 1994638"/>
                <a:gd name="connsiteX29" fmla="*/ 11269790 w 11269790"/>
                <a:gd name="connsiteY29" fmla="*/ 133791 h 1994638"/>
                <a:gd name="connsiteX30" fmla="*/ 11085214 w 11269790"/>
                <a:gd name="connsiteY30" fmla="*/ 65870 h 1994638"/>
                <a:gd name="connsiteX31" fmla="*/ 10270918 w 11269790"/>
                <a:gd name="connsiteY31" fmla="*/ 14889 h 1994638"/>
                <a:gd name="connsiteX32" fmla="*/ 9684627 w 11269790"/>
                <a:gd name="connsiteY32" fmla="*/ 108364 h 1994638"/>
                <a:gd name="connsiteX33" fmla="*/ 8783477 w 11269790"/>
                <a:gd name="connsiteY33" fmla="*/ 201839 h 1994638"/>
                <a:gd name="connsiteX34" fmla="*/ 7817186 w 11269790"/>
                <a:gd name="connsiteY34" fmla="*/ 201839 h 1994638"/>
                <a:gd name="connsiteX35" fmla="*/ 6090896 w 11269790"/>
                <a:gd name="connsiteY35" fmla="*/ 193333 h 1994638"/>
                <a:gd name="connsiteX36" fmla="*/ 5005168 w 11269790"/>
                <a:gd name="connsiteY36" fmla="*/ 65870 h 1994638"/>
                <a:gd name="connsiteX37" fmla="*/ 3213736 w 11269790"/>
                <a:gd name="connsiteY37" fmla="*/ 57364 h 1994638"/>
                <a:gd name="connsiteX38" fmla="*/ 2160591 w 11269790"/>
                <a:gd name="connsiteY38" fmla="*/ 82864 h 1994638"/>
                <a:gd name="connsiteX39" fmla="*/ 749159 w 11269790"/>
                <a:gd name="connsiteY39" fmla="*/ 116852 h 1994638"/>
                <a:gd name="connsiteX40" fmla="*/ 2673914 w 11269790"/>
                <a:gd name="connsiteY40" fmla="*/ 66415 h 1994638"/>
                <a:gd name="connsiteX0" fmla="*/ 2673914 w 11269790"/>
                <a:gd name="connsiteY0" fmla="*/ 66415 h 1994638"/>
                <a:gd name="connsiteX1" fmla="*/ 4 w 11269790"/>
                <a:gd name="connsiteY1" fmla="*/ 745642 h 1994638"/>
                <a:gd name="connsiteX2" fmla="*/ 249723 w 11269790"/>
                <a:gd name="connsiteY2" fmla="*/ 915580 h 1994638"/>
                <a:gd name="connsiteX3" fmla="*/ 271436 w 11269790"/>
                <a:gd name="connsiteY3" fmla="*/ 1077031 h 1994638"/>
                <a:gd name="connsiteX4" fmla="*/ 499441 w 11269790"/>
                <a:gd name="connsiteY4" fmla="*/ 1416926 h 1994638"/>
                <a:gd name="connsiteX5" fmla="*/ 629723 w 11269790"/>
                <a:gd name="connsiteY5" fmla="*/ 1595370 h 1994638"/>
                <a:gd name="connsiteX6" fmla="*/ 684018 w 11269790"/>
                <a:gd name="connsiteY6" fmla="*/ 1790808 h 1994638"/>
                <a:gd name="connsiteX7" fmla="*/ 846882 w 11269790"/>
                <a:gd name="connsiteY7" fmla="*/ 1986246 h 1994638"/>
                <a:gd name="connsiteX8" fmla="*/ 1009746 w 11269790"/>
                <a:gd name="connsiteY8" fmla="*/ 1858784 h 1994638"/>
                <a:gd name="connsiteX9" fmla="*/ 1031460 w 11269790"/>
                <a:gd name="connsiteY9" fmla="*/ 1595370 h 1994638"/>
                <a:gd name="connsiteX10" fmla="*/ 1183455 w 11269790"/>
                <a:gd name="connsiteY10" fmla="*/ 1510401 h 1994638"/>
                <a:gd name="connsiteX11" fmla="*/ 1292023 w 11269790"/>
                <a:gd name="connsiteY11" fmla="*/ 1229994 h 1994638"/>
                <a:gd name="connsiteX12" fmla="*/ 1400591 w 11269790"/>
                <a:gd name="connsiteY12" fmla="*/ 873105 h 1994638"/>
                <a:gd name="connsiteX13" fmla="*/ 1552586 w 11269790"/>
                <a:gd name="connsiteY13" fmla="*/ 737154 h 1994638"/>
                <a:gd name="connsiteX14" fmla="*/ 1856577 w 11269790"/>
                <a:gd name="connsiteY14" fmla="*/ 737154 h 1994638"/>
                <a:gd name="connsiteX15" fmla="*/ 2432000 w 11269790"/>
                <a:gd name="connsiteY15" fmla="*/ 754148 h 1994638"/>
                <a:gd name="connsiteX16" fmla="*/ 3571999 w 11269790"/>
                <a:gd name="connsiteY16" fmla="*/ 754148 h 1994638"/>
                <a:gd name="connsiteX17" fmla="*/ 4266858 w 11269790"/>
                <a:gd name="connsiteY17" fmla="*/ 788136 h 1994638"/>
                <a:gd name="connsiteX18" fmla="*/ 4722868 w 11269790"/>
                <a:gd name="connsiteY18" fmla="*/ 728648 h 1994638"/>
                <a:gd name="connsiteX19" fmla="*/ 5200590 w 11269790"/>
                <a:gd name="connsiteY19" fmla="*/ 728648 h 1994638"/>
                <a:gd name="connsiteX20" fmla="*/ 5971459 w 11269790"/>
                <a:gd name="connsiteY20" fmla="*/ 771142 h 1994638"/>
                <a:gd name="connsiteX21" fmla="*/ 6850895 w 11269790"/>
                <a:gd name="connsiteY21" fmla="*/ 754148 h 1994638"/>
                <a:gd name="connsiteX22" fmla="*/ 7480613 w 11269790"/>
                <a:gd name="connsiteY22" fmla="*/ 762654 h 1994638"/>
                <a:gd name="connsiteX23" fmla="*/ 8316623 w 11269790"/>
                <a:gd name="connsiteY23" fmla="*/ 762654 h 1994638"/>
                <a:gd name="connsiteX24" fmla="*/ 9380636 w 11269790"/>
                <a:gd name="connsiteY24" fmla="*/ 788154 h 1994638"/>
                <a:gd name="connsiteX25" fmla="*/ 10129791 w 11269790"/>
                <a:gd name="connsiteY25" fmla="*/ 779648 h 1994638"/>
                <a:gd name="connsiteX26" fmla="*/ 10661786 w 11269790"/>
                <a:gd name="connsiteY26" fmla="*/ 771142 h 1994638"/>
                <a:gd name="connsiteX27" fmla="*/ 11139509 w 11269790"/>
                <a:gd name="connsiteY27" fmla="*/ 737154 h 1994638"/>
                <a:gd name="connsiteX28" fmla="*/ 11269790 w 11269790"/>
                <a:gd name="connsiteY28" fmla="*/ 754148 h 1994638"/>
                <a:gd name="connsiteX29" fmla="*/ 11269790 w 11269790"/>
                <a:gd name="connsiteY29" fmla="*/ 133791 h 1994638"/>
                <a:gd name="connsiteX30" fmla="*/ 11085214 w 11269790"/>
                <a:gd name="connsiteY30" fmla="*/ 65870 h 1994638"/>
                <a:gd name="connsiteX31" fmla="*/ 10270918 w 11269790"/>
                <a:gd name="connsiteY31" fmla="*/ 14889 h 1994638"/>
                <a:gd name="connsiteX32" fmla="*/ 9684627 w 11269790"/>
                <a:gd name="connsiteY32" fmla="*/ 108364 h 1994638"/>
                <a:gd name="connsiteX33" fmla="*/ 8783477 w 11269790"/>
                <a:gd name="connsiteY33" fmla="*/ 201839 h 1994638"/>
                <a:gd name="connsiteX34" fmla="*/ 7817186 w 11269790"/>
                <a:gd name="connsiteY34" fmla="*/ 201839 h 1994638"/>
                <a:gd name="connsiteX35" fmla="*/ 6090896 w 11269790"/>
                <a:gd name="connsiteY35" fmla="*/ 193333 h 1994638"/>
                <a:gd name="connsiteX36" fmla="*/ 5005168 w 11269790"/>
                <a:gd name="connsiteY36" fmla="*/ 65870 h 1994638"/>
                <a:gd name="connsiteX37" fmla="*/ 3213736 w 11269790"/>
                <a:gd name="connsiteY37" fmla="*/ 57364 h 1994638"/>
                <a:gd name="connsiteX38" fmla="*/ 2160591 w 11269790"/>
                <a:gd name="connsiteY38" fmla="*/ 82864 h 1994638"/>
                <a:gd name="connsiteX39" fmla="*/ 2673914 w 11269790"/>
                <a:gd name="connsiteY39" fmla="*/ 66415 h 1994638"/>
                <a:gd name="connsiteX0" fmla="*/ 2673914 w 11269790"/>
                <a:gd name="connsiteY0" fmla="*/ 66415 h 1994638"/>
                <a:gd name="connsiteX1" fmla="*/ 4 w 11269790"/>
                <a:gd name="connsiteY1" fmla="*/ 745642 h 1994638"/>
                <a:gd name="connsiteX2" fmla="*/ 249723 w 11269790"/>
                <a:gd name="connsiteY2" fmla="*/ 915580 h 1994638"/>
                <a:gd name="connsiteX3" fmla="*/ 271436 w 11269790"/>
                <a:gd name="connsiteY3" fmla="*/ 1077031 h 1994638"/>
                <a:gd name="connsiteX4" fmla="*/ 499441 w 11269790"/>
                <a:gd name="connsiteY4" fmla="*/ 1416926 h 1994638"/>
                <a:gd name="connsiteX5" fmla="*/ 629723 w 11269790"/>
                <a:gd name="connsiteY5" fmla="*/ 1595370 h 1994638"/>
                <a:gd name="connsiteX6" fmla="*/ 684018 w 11269790"/>
                <a:gd name="connsiteY6" fmla="*/ 1790808 h 1994638"/>
                <a:gd name="connsiteX7" fmla="*/ 846882 w 11269790"/>
                <a:gd name="connsiteY7" fmla="*/ 1986246 h 1994638"/>
                <a:gd name="connsiteX8" fmla="*/ 1009746 w 11269790"/>
                <a:gd name="connsiteY8" fmla="*/ 1858784 h 1994638"/>
                <a:gd name="connsiteX9" fmla="*/ 1031460 w 11269790"/>
                <a:gd name="connsiteY9" fmla="*/ 1595370 h 1994638"/>
                <a:gd name="connsiteX10" fmla="*/ 1183455 w 11269790"/>
                <a:gd name="connsiteY10" fmla="*/ 1510401 h 1994638"/>
                <a:gd name="connsiteX11" fmla="*/ 1292023 w 11269790"/>
                <a:gd name="connsiteY11" fmla="*/ 1229994 h 1994638"/>
                <a:gd name="connsiteX12" fmla="*/ 1400591 w 11269790"/>
                <a:gd name="connsiteY12" fmla="*/ 873105 h 1994638"/>
                <a:gd name="connsiteX13" fmla="*/ 1552586 w 11269790"/>
                <a:gd name="connsiteY13" fmla="*/ 737154 h 1994638"/>
                <a:gd name="connsiteX14" fmla="*/ 1856577 w 11269790"/>
                <a:gd name="connsiteY14" fmla="*/ 737154 h 1994638"/>
                <a:gd name="connsiteX15" fmla="*/ 2432000 w 11269790"/>
                <a:gd name="connsiteY15" fmla="*/ 754148 h 1994638"/>
                <a:gd name="connsiteX16" fmla="*/ 3571999 w 11269790"/>
                <a:gd name="connsiteY16" fmla="*/ 754148 h 1994638"/>
                <a:gd name="connsiteX17" fmla="*/ 4266858 w 11269790"/>
                <a:gd name="connsiteY17" fmla="*/ 788136 h 1994638"/>
                <a:gd name="connsiteX18" fmla="*/ 4722868 w 11269790"/>
                <a:gd name="connsiteY18" fmla="*/ 728648 h 1994638"/>
                <a:gd name="connsiteX19" fmla="*/ 5200590 w 11269790"/>
                <a:gd name="connsiteY19" fmla="*/ 728648 h 1994638"/>
                <a:gd name="connsiteX20" fmla="*/ 5971459 w 11269790"/>
                <a:gd name="connsiteY20" fmla="*/ 771142 h 1994638"/>
                <a:gd name="connsiteX21" fmla="*/ 6850895 w 11269790"/>
                <a:gd name="connsiteY21" fmla="*/ 754148 h 1994638"/>
                <a:gd name="connsiteX22" fmla="*/ 7480613 w 11269790"/>
                <a:gd name="connsiteY22" fmla="*/ 762654 h 1994638"/>
                <a:gd name="connsiteX23" fmla="*/ 8316623 w 11269790"/>
                <a:gd name="connsiteY23" fmla="*/ 762654 h 1994638"/>
                <a:gd name="connsiteX24" fmla="*/ 9380636 w 11269790"/>
                <a:gd name="connsiteY24" fmla="*/ 788154 h 1994638"/>
                <a:gd name="connsiteX25" fmla="*/ 10129791 w 11269790"/>
                <a:gd name="connsiteY25" fmla="*/ 779648 h 1994638"/>
                <a:gd name="connsiteX26" fmla="*/ 10661786 w 11269790"/>
                <a:gd name="connsiteY26" fmla="*/ 771142 h 1994638"/>
                <a:gd name="connsiteX27" fmla="*/ 11139509 w 11269790"/>
                <a:gd name="connsiteY27" fmla="*/ 737154 h 1994638"/>
                <a:gd name="connsiteX28" fmla="*/ 11269790 w 11269790"/>
                <a:gd name="connsiteY28" fmla="*/ 754148 h 1994638"/>
                <a:gd name="connsiteX29" fmla="*/ 11269790 w 11269790"/>
                <a:gd name="connsiteY29" fmla="*/ 133791 h 1994638"/>
                <a:gd name="connsiteX30" fmla="*/ 11085214 w 11269790"/>
                <a:gd name="connsiteY30" fmla="*/ 65870 h 1994638"/>
                <a:gd name="connsiteX31" fmla="*/ 10270918 w 11269790"/>
                <a:gd name="connsiteY31" fmla="*/ 14889 h 1994638"/>
                <a:gd name="connsiteX32" fmla="*/ 9684627 w 11269790"/>
                <a:gd name="connsiteY32" fmla="*/ 108364 h 1994638"/>
                <a:gd name="connsiteX33" fmla="*/ 8783477 w 11269790"/>
                <a:gd name="connsiteY33" fmla="*/ 201839 h 1994638"/>
                <a:gd name="connsiteX34" fmla="*/ 7817186 w 11269790"/>
                <a:gd name="connsiteY34" fmla="*/ 201839 h 1994638"/>
                <a:gd name="connsiteX35" fmla="*/ 6090896 w 11269790"/>
                <a:gd name="connsiteY35" fmla="*/ 193333 h 1994638"/>
                <a:gd name="connsiteX36" fmla="*/ 5005168 w 11269790"/>
                <a:gd name="connsiteY36" fmla="*/ 65870 h 1994638"/>
                <a:gd name="connsiteX37" fmla="*/ 3213736 w 11269790"/>
                <a:gd name="connsiteY37" fmla="*/ 57364 h 1994638"/>
                <a:gd name="connsiteX38" fmla="*/ 2673914 w 11269790"/>
                <a:gd name="connsiteY38" fmla="*/ 66415 h 1994638"/>
                <a:gd name="connsiteX0" fmla="*/ 2598674 w 11194550"/>
                <a:gd name="connsiteY0" fmla="*/ 66415 h 1994638"/>
                <a:gd name="connsiteX1" fmla="*/ 174483 w 11194550"/>
                <a:gd name="connsiteY1" fmla="*/ 915580 h 1994638"/>
                <a:gd name="connsiteX2" fmla="*/ 196196 w 11194550"/>
                <a:gd name="connsiteY2" fmla="*/ 1077031 h 1994638"/>
                <a:gd name="connsiteX3" fmla="*/ 424201 w 11194550"/>
                <a:gd name="connsiteY3" fmla="*/ 1416926 h 1994638"/>
                <a:gd name="connsiteX4" fmla="*/ 554483 w 11194550"/>
                <a:gd name="connsiteY4" fmla="*/ 1595370 h 1994638"/>
                <a:gd name="connsiteX5" fmla="*/ 608778 w 11194550"/>
                <a:gd name="connsiteY5" fmla="*/ 1790808 h 1994638"/>
                <a:gd name="connsiteX6" fmla="*/ 771642 w 11194550"/>
                <a:gd name="connsiteY6" fmla="*/ 1986246 h 1994638"/>
                <a:gd name="connsiteX7" fmla="*/ 934506 w 11194550"/>
                <a:gd name="connsiteY7" fmla="*/ 1858784 h 1994638"/>
                <a:gd name="connsiteX8" fmla="*/ 956220 w 11194550"/>
                <a:gd name="connsiteY8" fmla="*/ 1595370 h 1994638"/>
                <a:gd name="connsiteX9" fmla="*/ 1108215 w 11194550"/>
                <a:gd name="connsiteY9" fmla="*/ 1510401 h 1994638"/>
                <a:gd name="connsiteX10" fmla="*/ 1216783 w 11194550"/>
                <a:gd name="connsiteY10" fmla="*/ 1229994 h 1994638"/>
                <a:gd name="connsiteX11" fmla="*/ 1325351 w 11194550"/>
                <a:gd name="connsiteY11" fmla="*/ 873105 h 1994638"/>
                <a:gd name="connsiteX12" fmla="*/ 1477346 w 11194550"/>
                <a:gd name="connsiteY12" fmla="*/ 737154 h 1994638"/>
                <a:gd name="connsiteX13" fmla="*/ 1781337 w 11194550"/>
                <a:gd name="connsiteY13" fmla="*/ 737154 h 1994638"/>
                <a:gd name="connsiteX14" fmla="*/ 2356760 w 11194550"/>
                <a:gd name="connsiteY14" fmla="*/ 754148 h 1994638"/>
                <a:gd name="connsiteX15" fmla="*/ 3496759 w 11194550"/>
                <a:gd name="connsiteY15" fmla="*/ 754148 h 1994638"/>
                <a:gd name="connsiteX16" fmla="*/ 4191618 w 11194550"/>
                <a:gd name="connsiteY16" fmla="*/ 788136 h 1994638"/>
                <a:gd name="connsiteX17" fmla="*/ 4647628 w 11194550"/>
                <a:gd name="connsiteY17" fmla="*/ 728648 h 1994638"/>
                <a:gd name="connsiteX18" fmla="*/ 5125350 w 11194550"/>
                <a:gd name="connsiteY18" fmla="*/ 728648 h 1994638"/>
                <a:gd name="connsiteX19" fmla="*/ 5896219 w 11194550"/>
                <a:gd name="connsiteY19" fmla="*/ 771142 h 1994638"/>
                <a:gd name="connsiteX20" fmla="*/ 6775655 w 11194550"/>
                <a:gd name="connsiteY20" fmla="*/ 754148 h 1994638"/>
                <a:gd name="connsiteX21" fmla="*/ 7405373 w 11194550"/>
                <a:gd name="connsiteY21" fmla="*/ 762654 h 1994638"/>
                <a:gd name="connsiteX22" fmla="*/ 8241383 w 11194550"/>
                <a:gd name="connsiteY22" fmla="*/ 762654 h 1994638"/>
                <a:gd name="connsiteX23" fmla="*/ 9305396 w 11194550"/>
                <a:gd name="connsiteY23" fmla="*/ 788154 h 1994638"/>
                <a:gd name="connsiteX24" fmla="*/ 10054551 w 11194550"/>
                <a:gd name="connsiteY24" fmla="*/ 779648 h 1994638"/>
                <a:gd name="connsiteX25" fmla="*/ 10586546 w 11194550"/>
                <a:gd name="connsiteY25" fmla="*/ 771142 h 1994638"/>
                <a:gd name="connsiteX26" fmla="*/ 11064269 w 11194550"/>
                <a:gd name="connsiteY26" fmla="*/ 737154 h 1994638"/>
                <a:gd name="connsiteX27" fmla="*/ 11194550 w 11194550"/>
                <a:gd name="connsiteY27" fmla="*/ 754148 h 1994638"/>
                <a:gd name="connsiteX28" fmla="*/ 11194550 w 11194550"/>
                <a:gd name="connsiteY28" fmla="*/ 133791 h 1994638"/>
                <a:gd name="connsiteX29" fmla="*/ 11009974 w 11194550"/>
                <a:gd name="connsiteY29" fmla="*/ 65870 h 1994638"/>
                <a:gd name="connsiteX30" fmla="*/ 10195678 w 11194550"/>
                <a:gd name="connsiteY30" fmla="*/ 14889 h 1994638"/>
                <a:gd name="connsiteX31" fmla="*/ 9609387 w 11194550"/>
                <a:gd name="connsiteY31" fmla="*/ 108364 h 1994638"/>
                <a:gd name="connsiteX32" fmla="*/ 8708237 w 11194550"/>
                <a:gd name="connsiteY32" fmla="*/ 201839 h 1994638"/>
                <a:gd name="connsiteX33" fmla="*/ 7741946 w 11194550"/>
                <a:gd name="connsiteY33" fmla="*/ 201839 h 1994638"/>
                <a:gd name="connsiteX34" fmla="*/ 6015656 w 11194550"/>
                <a:gd name="connsiteY34" fmla="*/ 193333 h 1994638"/>
                <a:gd name="connsiteX35" fmla="*/ 4929928 w 11194550"/>
                <a:gd name="connsiteY35" fmla="*/ 65870 h 1994638"/>
                <a:gd name="connsiteX36" fmla="*/ 3138496 w 11194550"/>
                <a:gd name="connsiteY36" fmla="*/ 57364 h 1994638"/>
                <a:gd name="connsiteX37" fmla="*/ 2598674 w 11194550"/>
                <a:gd name="connsiteY37" fmla="*/ 66415 h 1994638"/>
                <a:gd name="connsiteX0" fmla="*/ 2523012 w 11118888"/>
                <a:gd name="connsiteY0" fmla="*/ 66415 h 1994638"/>
                <a:gd name="connsiteX1" fmla="*/ 2391070 w 11118888"/>
                <a:gd name="connsiteY1" fmla="*/ 622730 h 1994638"/>
                <a:gd name="connsiteX2" fmla="*/ 120534 w 11118888"/>
                <a:gd name="connsiteY2" fmla="*/ 1077031 h 1994638"/>
                <a:gd name="connsiteX3" fmla="*/ 348539 w 11118888"/>
                <a:gd name="connsiteY3" fmla="*/ 1416926 h 1994638"/>
                <a:gd name="connsiteX4" fmla="*/ 478821 w 11118888"/>
                <a:gd name="connsiteY4" fmla="*/ 1595370 h 1994638"/>
                <a:gd name="connsiteX5" fmla="*/ 533116 w 11118888"/>
                <a:gd name="connsiteY5" fmla="*/ 1790808 h 1994638"/>
                <a:gd name="connsiteX6" fmla="*/ 695980 w 11118888"/>
                <a:gd name="connsiteY6" fmla="*/ 1986246 h 1994638"/>
                <a:gd name="connsiteX7" fmla="*/ 858844 w 11118888"/>
                <a:gd name="connsiteY7" fmla="*/ 1858784 h 1994638"/>
                <a:gd name="connsiteX8" fmla="*/ 880558 w 11118888"/>
                <a:gd name="connsiteY8" fmla="*/ 1595370 h 1994638"/>
                <a:gd name="connsiteX9" fmla="*/ 1032553 w 11118888"/>
                <a:gd name="connsiteY9" fmla="*/ 1510401 h 1994638"/>
                <a:gd name="connsiteX10" fmla="*/ 1141121 w 11118888"/>
                <a:gd name="connsiteY10" fmla="*/ 1229994 h 1994638"/>
                <a:gd name="connsiteX11" fmla="*/ 1249689 w 11118888"/>
                <a:gd name="connsiteY11" fmla="*/ 873105 h 1994638"/>
                <a:gd name="connsiteX12" fmla="*/ 1401684 w 11118888"/>
                <a:gd name="connsiteY12" fmla="*/ 737154 h 1994638"/>
                <a:gd name="connsiteX13" fmla="*/ 1705675 w 11118888"/>
                <a:gd name="connsiteY13" fmla="*/ 737154 h 1994638"/>
                <a:gd name="connsiteX14" fmla="*/ 2281098 w 11118888"/>
                <a:gd name="connsiteY14" fmla="*/ 754148 h 1994638"/>
                <a:gd name="connsiteX15" fmla="*/ 3421097 w 11118888"/>
                <a:gd name="connsiteY15" fmla="*/ 754148 h 1994638"/>
                <a:gd name="connsiteX16" fmla="*/ 4115956 w 11118888"/>
                <a:gd name="connsiteY16" fmla="*/ 788136 h 1994638"/>
                <a:gd name="connsiteX17" fmla="*/ 4571966 w 11118888"/>
                <a:gd name="connsiteY17" fmla="*/ 728648 h 1994638"/>
                <a:gd name="connsiteX18" fmla="*/ 5049688 w 11118888"/>
                <a:gd name="connsiteY18" fmla="*/ 728648 h 1994638"/>
                <a:gd name="connsiteX19" fmla="*/ 5820557 w 11118888"/>
                <a:gd name="connsiteY19" fmla="*/ 771142 h 1994638"/>
                <a:gd name="connsiteX20" fmla="*/ 6699993 w 11118888"/>
                <a:gd name="connsiteY20" fmla="*/ 754148 h 1994638"/>
                <a:gd name="connsiteX21" fmla="*/ 7329711 w 11118888"/>
                <a:gd name="connsiteY21" fmla="*/ 762654 h 1994638"/>
                <a:gd name="connsiteX22" fmla="*/ 8165721 w 11118888"/>
                <a:gd name="connsiteY22" fmla="*/ 762654 h 1994638"/>
                <a:gd name="connsiteX23" fmla="*/ 9229734 w 11118888"/>
                <a:gd name="connsiteY23" fmla="*/ 788154 h 1994638"/>
                <a:gd name="connsiteX24" fmla="*/ 9978889 w 11118888"/>
                <a:gd name="connsiteY24" fmla="*/ 779648 h 1994638"/>
                <a:gd name="connsiteX25" fmla="*/ 10510884 w 11118888"/>
                <a:gd name="connsiteY25" fmla="*/ 771142 h 1994638"/>
                <a:gd name="connsiteX26" fmla="*/ 10988607 w 11118888"/>
                <a:gd name="connsiteY26" fmla="*/ 737154 h 1994638"/>
                <a:gd name="connsiteX27" fmla="*/ 11118888 w 11118888"/>
                <a:gd name="connsiteY27" fmla="*/ 754148 h 1994638"/>
                <a:gd name="connsiteX28" fmla="*/ 11118888 w 11118888"/>
                <a:gd name="connsiteY28" fmla="*/ 133791 h 1994638"/>
                <a:gd name="connsiteX29" fmla="*/ 10934312 w 11118888"/>
                <a:gd name="connsiteY29" fmla="*/ 65870 h 1994638"/>
                <a:gd name="connsiteX30" fmla="*/ 10120016 w 11118888"/>
                <a:gd name="connsiteY30" fmla="*/ 14889 h 1994638"/>
                <a:gd name="connsiteX31" fmla="*/ 9533725 w 11118888"/>
                <a:gd name="connsiteY31" fmla="*/ 108364 h 1994638"/>
                <a:gd name="connsiteX32" fmla="*/ 8632575 w 11118888"/>
                <a:gd name="connsiteY32" fmla="*/ 201839 h 1994638"/>
                <a:gd name="connsiteX33" fmla="*/ 7666284 w 11118888"/>
                <a:gd name="connsiteY33" fmla="*/ 201839 h 1994638"/>
                <a:gd name="connsiteX34" fmla="*/ 5939994 w 11118888"/>
                <a:gd name="connsiteY34" fmla="*/ 193333 h 1994638"/>
                <a:gd name="connsiteX35" fmla="*/ 4854266 w 11118888"/>
                <a:gd name="connsiteY35" fmla="*/ 65870 h 1994638"/>
                <a:gd name="connsiteX36" fmla="*/ 3062834 w 11118888"/>
                <a:gd name="connsiteY36" fmla="*/ 57364 h 1994638"/>
                <a:gd name="connsiteX37" fmla="*/ 2523012 w 11118888"/>
                <a:gd name="connsiteY37" fmla="*/ 66415 h 1994638"/>
                <a:gd name="connsiteX0" fmla="*/ 2523012 w 11118888"/>
                <a:gd name="connsiteY0" fmla="*/ 66415 h 1994638"/>
                <a:gd name="connsiteX1" fmla="*/ 2391070 w 11118888"/>
                <a:gd name="connsiteY1" fmla="*/ 622730 h 1994638"/>
                <a:gd name="connsiteX2" fmla="*/ 120534 w 11118888"/>
                <a:gd name="connsiteY2" fmla="*/ 1077031 h 1994638"/>
                <a:gd name="connsiteX3" fmla="*/ 348539 w 11118888"/>
                <a:gd name="connsiteY3" fmla="*/ 1416926 h 1994638"/>
                <a:gd name="connsiteX4" fmla="*/ 478821 w 11118888"/>
                <a:gd name="connsiteY4" fmla="*/ 1595370 h 1994638"/>
                <a:gd name="connsiteX5" fmla="*/ 533116 w 11118888"/>
                <a:gd name="connsiteY5" fmla="*/ 1790808 h 1994638"/>
                <a:gd name="connsiteX6" fmla="*/ 695980 w 11118888"/>
                <a:gd name="connsiteY6" fmla="*/ 1986246 h 1994638"/>
                <a:gd name="connsiteX7" fmla="*/ 858844 w 11118888"/>
                <a:gd name="connsiteY7" fmla="*/ 1858784 h 1994638"/>
                <a:gd name="connsiteX8" fmla="*/ 880558 w 11118888"/>
                <a:gd name="connsiteY8" fmla="*/ 1595370 h 1994638"/>
                <a:gd name="connsiteX9" fmla="*/ 1032553 w 11118888"/>
                <a:gd name="connsiteY9" fmla="*/ 1510401 h 1994638"/>
                <a:gd name="connsiteX10" fmla="*/ 1141121 w 11118888"/>
                <a:gd name="connsiteY10" fmla="*/ 1229994 h 1994638"/>
                <a:gd name="connsiteX11" fmla="*/ 1249689 w 11118888"/>
                <a:gd name="connsiteY11" fmla="*/ 873105 h 1994638"/>
                <a:gd name="connsiteX12" fmla="*/ 1401684 w 11118888"/>
                <a:gd name="connsiteY12" fmla="*/ 737154 h 1994638"/>
                <a:gd name="connsiteX13" fmla="*/ 1705675 w 11118888"/>
                <a:gd name="connsiteY13" fmla="*/ 737154 h 1994638"/>
                <a:gd name="connsiteX14" fmla="*/ 2281098 w 11118888"/>
                <a:gd name="connsiteY14" fmla="*/ 754148 h 1994638"/>
                <a:gd name="connsiteX15" fmla="*/ 3421097 w 11118888"/>
                <a:gd name="connsiteY15" fmla="*/ 754148 h 1994638"/>
                <a:gd name="connsiteX16" fmla="*/ 4115956 w 11118888"/>
                <a:gd name="connsiteY16" fmla="*/ 788136 h 1994638"/>
                <a:gd name="connsiteX17" fmla="*/ 4571966 w 11118888"/>
                <a:gd name="connsiteY17" fmla="*/ 728648 h 1994638"/>
                <a:gd name="connsiteX18" fmla="*/ 5049688 w 11118888"/>
                <a:gd name="connsiteY18" fmla="*/ 728648 h 1994638"/>
                <a:gd name="connsiteX19" fmla="*/ 5820557 w 11118888"/>
                <a:gd name="connsiteY19" fmla="*/ 771142 h 1994638"/>
                <a:gd name="connsiteX20" fmla="*/ 6699993 w 11118888"/>
                <a:gd name="connsiteY20" fmla="*/ 754148 h 1994638"/>
                <a:gd name="connsiteX21" fmla="*/ 7329711 w 11118888"/>
                <a:gd name="connsiteY21" fmla="*/ 762654 h 1994638"/>
                <a:gd name="connsiteX22" fmla="*/ 8165721 w 11118888"/>
                <a:gd name="connsiteY22" fmla="*/ 762654 h 1994638"/>
                <a:gd name="connsiteX23" fmla="*/ 9229734 w 11118888"/>
                <a:gd name="connsiteY23" fmla="*/ 788154 h 1994638"/>
                <a:gd name="connsiteX24" fmla="*/ 9978889 w 11118888"/>
                <a:gd name="connsiteY24" fmla="*/ 779648 h 1994638"/>
                <a:gd name="connsiteX25" fmla="*/ 10510884 w 11118888"/>
                <a:gd name="connsiteY25" fmla="*/ 771142 h 1994638"/>
                <a:gd name="connsiteX26" fmla="*/ 10988607 w 11118888"/>
                <a:gd name="connsiteY26" fmla="*/ 737154 h 1994638"/>
                <a:gd name="connsiteX27" fmla="*/ 11118888 w 11118888"/>
                <a:gd name="connsiteY27" fmla="*/ 754148 h 1994638"/>
                <a:gd name="connsiteX28" fmla="*/ 11118888 w 11118888"/>
                <a:gd name="connsiteY28" fmla="*/ 133791 h 1994638"/>
                <a:gd name="connsiteX29" fmla="*/ 10934312 w 11118888"/>
                <a:gd name="connsiteY29" fmla="*/ 65870 h 1994638"/>
                <a:gd name="connsiteX30" fmla="*/ 10120016 w 11118888"/>
                <a:gd name="connsiteY30" fmla="*/ 14889 h 1994638"/>
                <a:gd name="connsiteX31" fmla="*/ 9533725 w 11118888"/>
                <a:gd name="connsiteY31" fmla="*/ 108364 h 1994638"/>
                <a:gd name="connsiteX32" fmla="*/ 8632575 w 11118888"/>
                <a:gd name="connsiteY32" fmla="*/ 201839 h 1994638"/>
                <a:gd name="connsiteX33" fmla="*/ 7666284 w 11118888"/>
                <a:gd name="connsiteY33" fmla="*/ 201839 h 1994638"/>
                <a:gd name="connsiteX34" fmla="*/ 5939994 w 11118888"/>
                <a:gd name="connsiteY34" fmla="*/ 193333 h 1994638"/>
                <a:gd name="connsiteX35" fmla="*/ 4854266 w 11118888"/>
                <a:gd name="connsiteY35" fmla="*/ 65870 h 1994638"/>
                <a:gd name="connsiteX36" fmla="*/ 3062834 w 11118888"/>
                <a:gd name="connsiteY36" fmla="*/ 57364 h 1994638"/>
                <a:gd name="connsiteX37" fmla="*/ 2523012 w 11118888"/>
                <a:gd name="connsiteY37" fmla="*/ 66415 h 1994638"/>
                <a:gd name="connsiteX0" fmla="*/ 2532379 w 11128255"/>
                <a:gd name="connsiteY0" fmla="*/ 66415 h 1994638"/>
                <a:gd name="connsiteX1" fmla="*/ 129901 w 11128255"/>
                <a:gd name="connsiteY1" fmla="*/ 1077031 h 1994638"/>
                <a:gd name="connsiteX2" fmla="*/ 357906 w 11128255"/>
                <a:gd name="connsiteY2" fmla="*/ 1416926 h 1994638"/>
                <a:gd name="connsiteX3" fmla="*/ 488188 w 11128255"/>
                <a:gd name="connsiteY3" fmla="*/ 1595370 h 1994638"/>
                <a:gd name="connsiteX4" fmla="*/ 542483 w 11128255"/>
                <a:gd name="connsiteY4" fmla="*/ 1790808 h 1994638"/>
                <a:gd name="connsiteX5" fmla="*/ 705347 w 11128255"/>
                <a:gd name="connsiteY5" fmla="*/ 1986246 h 1994638"/>
                <a:gd name="connsiteX6" fmla="*/ 868211 w 11128255"/>
                <a:gd name="connsiteY6" fmla="*/ 1858784 h 1994638"/>
                <a:gd name="connsiteX7" fmla="*/ 889925 w 11128255"/>
                <a:gd name="connsiteY7" fmla="*/ 1595370 h 1994638"/>
                <a:gd name="connsiteX8" fmla="*/ 1041920 w 11128255"/>
                <a:gd name="connsiteY8" fmla="*/ 1510401 h 1994638"/>
                <a:gd name="connsiteX9" fmla="*/ 1150488 w 11128255"/>
                <a:gd name="connsiteY9" fmla="*/ 1229994 h 1994638"/>
                <a:gd name="connsiteX10" fmla="*/ 1259056 w 11128255"/>
                <a:gd name="connsiteY10" fmla="*/ 873105 h 1994638"/>
                <a:gd name="connsiteX11" fmla="*/ 1411051 w 11128255"/>
                <a:gd name="connsiteY11" fmla="*/ 737154 h 1994638"/>
                <a:gd name="connsiteX12" fmla="*/ 1715042 w 11128255"/>
                <a:gd name="connsiteY12" fmla="*/ 737154 h 1994638"/>
                <a:gd name="connsiteX13" fmla="*/ 2290465 w 11128255"/>
                <a:gd name="connsiteY13" fmla="*/ 754148 h 1994638"/>
                <a:gd name="connsiteX14" fmla="*/ 3430464 w 11128255"/>
                <a:gd name="connsiteY14" fmla="*/ 754148 h 1994638"/>
                <a:gd name="connsiteX15" fmla="*/ 4125323 w 11128255"/>
                <a:gd name="connsiteY15" fmla="*/ 788136 h 1994638"/>
                <a:gd name="connsiteX16" fmla="*/ 4581333 w 11128255"/>
                <a:gd name="connsiteY16" fmla="*/ 728648 h 1994638"/>
                <a:gd name="connsiteX17" fmla="*/ 5059055 w 11128255"/>
                <a:gd name="connsiteY17" fmla="*/ 728648 h 1994638"/>
                <a:gd name="connsiteX18" fmla="*/ 5829924 w 11128255"/>
                <a:gd name="connsiteY18" fmla="*/ 771142 h 1994638"/>
                <a:gd name="connsiteX19" fmla="*/ 6709360 w 11128255"/>
                <a:gd name="connsiteY19" fmla="*/ 754148 h 1994638"/>
                <a:gd name="connsiteX20" fmla="*/ 7339078 w 11128255"/>
                <a:gd name="connsiteY20" fmla="*/ 762654 h 1994638"/>
                <a:gd name="connsiteX21" fmla="*/ 8175088 w 11128255"/>
                <a:gd name="connsiteY21" fmla="*/ 762654 h 1994638"/>
                <a:gd name="connsiteX22" fmla="*/ 9239101 w 11128255"/>
                <a:gd name="connsiteY22" fmla="*/ 788154 h 1994638"/>
                <a:gd name="connsiteX23" fmla="*/ 9988256 w 11128255"/>
                <a:gd name="connsiteY23" fmla="*/ 779648 h 1994638"/>
                <a:gd name="connsiteX24" fmla="*/ 10520251 w 11128255"/>
                <a:gd name="connsiteY24" fmla="*/ 771142 h 1994638"/>
                <a:gd name="connsiteX25" fmla="*/ 10997974 w 11128255"/>
                <a:gd name="connsiteY25" fmla="*/ 737154 h 1994638"/>
                <a:gd name="connsiteX26" fmla="*/ 11128255 w 11128255"/>
                <a:gd name="connsiteY26" fmla="*/ 754148 h 1994638"/>
                <a:gd name="connsiteX27" fmla="*/ 11128255 w 11128255"/>
                <a:gd name="connsiteY27" fmla="*/ 133791 h 1994638"/>
                <a:gd name="connsiteX28" fmla="*/ 10943679 w 11128255"/>
                <a:gd name="connsiteY28" fmla="*/ 65870 h 1994638"/>
                <a:gd name="connsiteX29" fmla="*/ 10129383 w 11128255"/>
                <a:gd name="connsiteY29" fmla="*/ 14889 h 1994638"/>
                <a:gd name="connsiteX30" fmla="*/ 9543092 w 11128255"/>
                <a:gd name="connsiteY30" fmla="*/ 108364 h 1994638"/>
                <a:gd name="connsiteX31" fmla="*/ 8641942 w 11128255"/>
                <a:gd name="connsiteY31" fmla="*/ 201839 h 1994638"/>
                <a:gd name="connsiteX32" fmla="*/ 7675651 w 11128255"/>
                <a:gd name="connsiteY32" fmla="*/ 201839 h 1994638"/>
                <a:gd name="connsiteX33" fmla="*/ 5949361 w 11128255"/>
                <a:gd name="connsiteY33" fmla="*/ 193333 h 1994638"/>
                <a:gd name="connsiteX34" fmla="*/ 4863633 w 11128255"/>
                <a:gd name="connsiteY34" fmla="*/ 65870 h 1994638"/>
                <a:gd name="connsiteX35" fmla="*/ 3072201 w 11128255"/>
                <a:gd name="connsiteY35" fmla="*/ 57364 h 1994638"/>
                <a:gd name="connsiteX36" fmla="*/ 2532379 w 11128255"/>
                <a:gd name="connsiteY36" fmla="*/ 66415 h 1994638"/>
                <a:gd name="connsiteX0" fmla="*/ 2290884 w 10886760"/>
                <a:gd name="connsiteY0" fmla="*/ 66415 h 1994638"/>
                <a:gd name="connsiteX1" fmla="*/ 2173324 w 10886760"/>
                <a:gd name="connsiteY1" fmla="*/ 625754 h 1994638"/>
                <a:gd name="connsiteX2" fmla="*/ 116411 w 10886760"/>
                <a:gd name="connsiteY2" fmla="*/ 1416926 h 1994638"/>
                <a:gd name="connsiteX3" fmla="*/ 246693 w 10886760"/>
                <a:gd name="connsiteY3" fmla="*/ 1595370 h 1994638"/>
                <a:gd name="connsiteX4" fmla="*/ 300988 w 10886760"/>
                <a:gd name="connsiteY4" fmla="*/ 1790808 h 1994638"/>
                <a:gd name="connsiteX5" fmla="*/ 463852 w 10886760"/>
                <a:gd name="connsiteY5" fmla="*/ 1986246 h 1994638"/>
                <a:gd name="connsiteX6" fmla="*/ 626716 w 10886760"/>
                <a:gd name="connsiteY6" fmla="*/ 1858784 h 1994638"/>
                <a:gd name="connsiteX7" fmla="*/ 648430 w 10886760"/>
                <a:gd name="connsiteY7" fmla="*/ 1595370 h 1994638"/>
                <a:gd name="connsiteX8" fmla="*/ 800425 w 10886760"/>
                <a:gd name="connsiteY8" fmla="*/ 1510401 h 1994638"/>
                <a:gd name="connsiteX9" fmla="*/ 908993 w 10886760"/>
                <a:gd name="connsiteY9" fmla="*/ 1229994 h 1994638"/>
                <a:gd name="connsiteX10" fmla="*/ 1017561 w 10886760"/>
                <a:gd name="connsiteY10" fmla="*/ 873105 h 1994638"/>
                <a:gd name="connsiteX11" fmla="*/ 1169556 w 10886760"/>
                <a:gd name="connsiteY11" fmla="*/ 737154 h 1994638"/>
                <a:gd name="connsiteX12" fmla="*/ 1473547 w 10886760"/>
                <a:gd name="connsiteY12" fmla="*/ 737154 h 1994638"/>
                <a:gd name="connsiteX13" fmla="*/ 2048970 w 10886760"/>
                <a:gd name="connsiteY13" fmla="*/ 754148 h 1994638"/>
                <a:gd name="connsiteX14" fmla="*/ 3188969 w 10886760"/>
                <a:gd name="connsiteY14" fmla="*/ 754148 h 1994638"/>
                <a:gd name="connsiteX15" fmla="*/ 3883828 w 10886760"/>
                <a:gd name="connsiteY15" fmla="*/ 788136 h 1994638"/>
                <a:gd name="connsiteX16" fmla="*/ 4339838 w 10886760"/>
                <a:gd name="connsiteY16" fmla="*/ 728648 h 1994638"/>
                <a:gd name="connsiteX17" fmla="*/ 4817560 w 10886760"/>
                <a:gd name="connsiteY17" fmla="*/ 728648 h 1994638"/>
                <a:gd name="connsiteX18" fmla="*/ 5588429 w 10886760"/>
                <a:gd name="connsiteY18" fmla="*/ 771142 h 1994638"/>
                <a:gd name="connsiteX19" fmla="*/ 6467865 w 10886760"/>
                <a:gd name="connsiteY19" fmla="*/ 754148 h 1994638"/>
                <a:gd name="connsiteX20" fmla="*/ 7097583 w 10886760"/>
                <a:gd name="connsiteY20" fmla="*/ 762654 h 1994638"/>
                <a:gd name="connsiteX21" fmla="*/ 7933593 w 10886760"/>
                <a:gd name="connsiteY21" fmla="*/ 762654 h 1994638"/>
                <a:gd name="connsiteX22" fmla="*/ 8997606 w 10886760"/>
                <a:gd name="connsiteY22" fmla="*/ 788154 h 1994638"/>
                <a:gd name="connsiteX23" fmla="*/ 9746761 w 10886760"/>
                <a:gd name="connsiteY23" fmla="*/ 779648 h 1994638"/>
                <a:gd name="connsiteX24" fmla="*/ 10278756 w 10886760"/>
                <a:gd name="connsiteY24" fmla="*/ 771142 h 1994638"/>
                <a:gd name="connsiteX25" fmla="*/ 10756479 w 10886760"/>
                <a:gd name="connsiteY25" fmla="*/ 737154 h 1994638"/>
                <a:gd name="connsiteX26" fmla="*/ 10886760 w 10886760"/>
                <a:gd name="connsiteY26" fmla="*/ 754148 h 1994638"/>
                <a:gd name="connsiteX27" fmla="*/ 10886760 w 10886760"/>
                <a:gd name="connsiteY27" fmla="*/ 133791 h 1994638"/>
                <a:gd name="connsiteX28" fmla="*/ 10702184 w 10886760"/>
                <a:gd name="connsiteY28" fmla="*/ 65870 h 1994638"/>
                <a:gd name="connsiteX29" fmla="*/ 9887888 w 10886760"/>
                <a:gd name="connsiteY29" fmla="*/ 14889 h 1994638"/>
                <a:gd name="connsiteX30" fmla="*/ 9301597 w 10886760"/>
                <a:gd name="connsiteY30" fmla="*/ 108364 h 1994638"/>
                <a:gd name="connsiteX31" fmla="*/ 8400447 w 10886760"/>
                <a:gd name="connsiteY31" fmla="*/ 201839 h 1994638"/>
                <a:gd name="connsiteX32" fmla="*/ 7434156 w 10886760"/>
                <a:gd name="connsiteY32" fmla="*/ 201839 h 1994638"/>
                <a:gd name="connsiteX33" fmla="*/ 5707866 w 10886760"/>
                <a:gd name="connsiteY33" fmla="*/ 193333 h 1994638"/>
                <a:gd name="connsiteX34" fmla="*/ 4622138 w 10886760"/>
                <a:gd name="connsiteY34" fmla="*/ 65870 h 1994638"/>
                <a:gd name="connsiteX35" fmla="*/ 2830706 w 10886760"/>
                <a:gd name="connsiteY35" fmla="*/ 57364 h 1994638"/>
                <a:gd name="connsiteX36" fmla="*/ 2290884 w 10886760"/>
                <a:gd name="connsiteY36" fmla="*/ 66415 h 1994638"/>
                <a:gd name="connsiteX0" fmla="*/ 2179017 w 10774893"/>
                <a:gd name="connsiteY0" fmla="*/ 66415 h 1994638"/>
                <a:gd name="connsiteX1" fmla="*/ 2061457 w 10774893"/>
                <a:gd name="connsiteY1" fmla="*/ 625754 h 1994638"/>
                <a:gd name="connsiteX2" fmla="*/ 134826 w 10774893"/>
                <a:gd name="connsiteY2" fmla="*/ 1595370 h 1994638"/>
                <a:gd name="connsiteX3" fmla="*/ 189121 w 10774893"/>
                <a:gd name="connsiteY3" fmla="*/ 1790808 h 1994638"/>
                <a:gd name="connsiteX4" fmla="*/ 351985 w 10774893"/>
                <a:gd name="connsiteY4" fmla="*/ 1986246 h 1994638"/>
                <a:gd name="connsiteX5" fmla="*/ 514849 w 10774893"/>
                <a:gd name="connsiteY5" fmla="*/ 1858784 h 1994638"/>
                <a:gd name="connsiteX6" fmla="*/ 536563 w 10774893"/>
                <a:gd name="connsiteY6" fmla="*/ 1595370 h 1994638"/>
                <a:gd name="connsiteX7" fmla="*/ 688558 w 10774893"/>
                <a:gd name="connsiteY7" fmla="*/ 1510401 h 1994638"/>
                <a:gd name="connsiteX8" fmla="*/ 797126 w 10774893"/>
                <a:gd name="connsiteY8" fmla="*/ 1229994 h 1994638"/>
                <a:gd name="connsiteX9" fmla="*/ 905694 w 10774893"/>
                <a:gd name="connsiteY9" fmla="*/ 873105 h 1994638"/>
                <a:gd name="connsiteX10" fmla="*/ 1057689 w 10774893"/>
                <a:gd name="connsiteY10" fmla="*/ 737154 h 1994638"/>
                <a:gd name="connsiteX11" fmla="*/ 1361680 w 10774893"/>
                <a:gd name="connsiteY11" fmla="*/ 737154 h 1994638"/>
                <a:gd name="connsiteX12" fmla="*/ 1937103 w 10774893"/>
                <a:gd name="connsiteY12" fmla="*/ 754148 h 1994638"/>
                <a:gd name="connsiteX13" fmla="*/ 3077102 w 10774893"/>
                <a:gd name="connsiteY13" fmla="*/ 754148 h 1994638"/>
                <a:gd name="connsiteX14" fmla="*/ 3771961 w 10774893"/>
                <a:gd name="connsiteY14" fmla="*/ 788136 h 1994638"/>
                <a:gd name="connsiteX15" fmla="*/ 4227971 w 10774893"/>
                <a:gd name="connsiteY15" fmla="*/ 728648 h 1994638"/>
                <a:gd name="connsiteX16" fmla="*/ 4705693 w 10774893"/>
                <a:gd name="connsiteY16" fmla="*/ 728648 h 1994638"/>
                <a:gd name="connsiteX17" fmla="*/ 5476562 w 10774893"/>
                <a:gd name="connsiteY17" fmla="*/ 771142 h 1994638"/>
                <a:gd name="connsiteX18" fmla="*/ 6355998 w 10774893"/>
                <a:gd name="connsiteY18" fmla="*/ 754148 h 1994638"/>
                <a:gd name="connsiteX19" fmla="*/ 6985716 w 10774893"/>
                <a:gd name="connsiteY19" fmla="*/ 762654 h 1994638"/>
                <a:gd name="connsiteX20" fmla="*/ 7821726 w 10774893"/>
                <a:gd name="connsiteY20" fmla="*/ 762654 h 1994638"/>
                <a:gd name="connsiteX21" fmla="*/ 8885739 w 10774893"/>
                <a:gd name="connsiteY21" fmla="*/ 788154 h 1994638"/>
                <a:gd name="connsiteX22" fmla="*/ 9634894 w 10774893"/>
                <a:gd name="connsiteY22" fmla="*/ 779648 h 1994638"/>
                <a:gd name="connsiteX23" fmla="*/ 10166889 w 10774893"/>
                <a:gd name="connsiteY23" fmla="*/ 771142 h 1994638"/>
                <a:gd name="connsiteX24" fmla="*/ 10644612 w 10774893"/>
                <a:gd name="connsiteY24" fmla="*/ 737154 h 1994638"/>
                <a:gd name="connsiteX25" fmla="*/ 10774893 w 10774893"/>
                <a:gd name="connsiteY25" fmla="*/ 754148 h 1994638"/>
                <a:gd name="connsiteX26" fmla="*/ 10774893 w 10774893"/>
                <a:gd name="connsiteY26" fmla="*/ 133791 h 1994638"/>
                <a:gd name="connsiteX27" fmla="*/ 10590317 w 10774893"/>
                <a:gd name="connsiteY27" fmla="*/ 65870 h 1994638"/>
                <a:gd name="connsiteX28" fmla="*/ 9776021 w 10774893"/>
                <a:gd name="connsiteY28" fmla="*/ 14889 h 1994638"/>
                <a:gd name="connsiteX29" fmla="*/ 9189730 w 10774893"/>
                <a:gd name="connsiteY29" fmla="*/ 108364 h 1994638"/>
                <a:gd name="connsiteX30" fmla="*/ 8288580 w 10774893"/>
                <a:gd name="connsiteY30" fmla="*/ 201839 h 1994638"/>
                <a:gd name="connsiteX31" fmla="*/ 7322289 w 10774893"/>
                <a:gd name="connsiteY31" fmla="*/ 201839 h 1994638"/>
                <a:gd name="connsiteX32" fmla="*/ 5595999 w 10774893"/>
                <a:gd name="connsiteY32" fmla="*/ 193333 h 1994638"/>
                <a:gd name="connsiteX33" fmla="*/ 4510271 w 10774893"/>
                <a:gd name="connsiteY33" fmla="*/ 65870 h 1994638"/>
                <a:gd name="connsiteX34" fmla="*/ 2718839 w 10774893"/>
                <a:gd name="connsiteY34" fmla="*/ 57364 h 1994638"/>
                <a:gd name="connsiteX35" fmla="*/ 2179017 w 10774893"/>
                <a:gd name="connsiteY35" fmla="*/ 66415 h 1994638"/>
                <a:gd name="connsiteX0" fmla="*/ 2100767 w 10696643"/>
                <a:gd name="connsiteY0" fmla="*/ 66415 h 2006207"/>
                <a:gd name="connsiteX1" fmla="*/ 1983207 w 10696643"/>
                <a:gd name="connsiteY1" fmla="*/ 625754 h 2006207"/>
                <a:gd name="connsiteX2" fmla="*/ 110871 w 10696643"/>
                <a:gd name="connsiteY2" fmla="*/ 1790808 h 2006207"/>
                <a:gd name="connsiteX3" fmla="*/ 273735 w 10696643"/>
                <a:gd name="connsiteY3" fmla="*/ 1986246 h 2006207"/>
                <a:gd name="connsiteX4" fmla="*/ 436599 w 10696643"/>
                <a:gd name="connsiteY4" fmla="*/ 1858784 h 2006207"/>
                <a:gd name="connsiteX5" fmla="*/ 458313 w 10696643"/>
                <a:gd name="connsiteY5" fmla="*/ 1595370 h 2006207"/>
                <a:gd name="connsiteX6" fmla="*/ 610308 w 10696643"/>
                <a:gd name="connsiteY6" fmla="*/ 1510401 h 2006207"/>
                <a:gd name="connsiteX7" fmla="*/ 718876 w 10696643"/>
                <a:gd name="connsiteY7" fmla="*/ 1229994 h 2006207"/>
                <a:gd name="connsiteX8" fmla="*/ 827444 w 10696643"/>
                <a:gd name="connsiteY8" fmla="*/ 873105 h 2006207"/>
                <a:gd name="connsiteX9" fmla="*/ 979439 w 10696643"/>
                <a:gd name="connsiteY9" fmla="*/ 737154 h 2006207"/>
                <a:gd name="connsiteX10" fmla="*/ 1283430 w 10696643"/>
                <a:gd name="connsiteY10" fmla="*/ 737154 h 2006207"/>
                <a:gd name="connsiteX11" fmla="*/ 1858853 w 10696643"/>
                <a:gd name="connsiteY11" fmla="*/ 754148 h 2006207"/>
                <a:gd name="connsiteX12" fmla="*/ 2998852 w 10696643"/>
                <a:gd name="connsiteY12" fmla="*/ 754148 h 2006207"/>
                <a:gd name="connsiteX13" fmla="*/ 3693711 w 10696643"/>
                <a:gd name="connsiteY13" fmla="*/ 788136 h 2006207"/>
                <a:gd name="connsiteX14" fmla="*/ 4149721 w 10696643"/>
                <a:gd name="connsiteY14" fmla="*/ 728648 h 2006207"/>
                <a:gd name="connsiteX15" fmla="*/ 4627443 w 10696643"/>
                <a:gd name="connsiteY15" fmla="*/ 728648 h 2006207"/>
                <a:gd name="connsiteX16" fmla="*/ 5398312 w 10696643"/>
                <a:gd name="connsiteY16" fmla="*/ 771142 h 2006207"/>
                <a:gd name="connsiteX17" fmla="*/ 6277748 w 10696643"/>
                <a:gd name="connsiteY17" fmla="*/ 754148 h 2006207"/>
                <a:gd name="connsiteX18" fmla="*/ 6907466 w 10696643"/>
                <a:gd name="connsiteY18" fmla="*/ 762654 h 2006207"/>
                <a:gd name="connsiteX19" fmla="*/ 7743476 w 10696643"/>
                <a:gd name="connsiteY19" fmla="*/ 762654 h 2006207"/>
                <a:gd name="connsiteX20" fmla="*/ 8807489 w 10696643"/>
                <a:gd name="connsiteY20" fmla="*/ 788154 h 2006207"/>
                <a:gd name="connsiteX21" fmla="*/ 9556644 w 10696643"/>
                <a:gd name="connsiteY21" fmla="*/ 779648 h 2006207"/>
                <a:gd name="connsiteX22" fmla="*/ 10088639 w 10696643"/>
                <a:gd name="connsiteY22" fmla="*/ 771142 h 2006207"/>
                <a:gd name="connsiteX23" fmla="*/ 10566362 w 10696643"/>
                <a:gd name="connsiteY23" fmla="*/ 737154 h 2006207"/>
                <a:gd name="connsiteX24" fmla="*/ 10696643 w 10696643"/>
                <a:gd name="connsiteY24" fmla="*/ 754148 h 2006207"/>
                <a:gd name="connsiteX25" fmla="*/ 10696643 w 10696643"/>
                <a:gd name="connsiteY25" fmla="*/ 133791 h 2006207"/>
                <a:gd name="connsiteX26" fmla="*/ 10512067 w 10696643"/>
                <a:gd name="connsiteY26" fmla="*/ 65870 h 2006207"/>
                <a:gd name="connsiteX27" fmla="*/ 9697771 w 10696643"/>
                <a:gd name="connsiteY27" fmla="*/ 14889 h 2006207"/>
                <a:gd name="connsiteX28" fmla="*/ 9111480 w 10696643"/>
                <a:gd name="connsiteY28" fmla="*/ 108364 h 2006207"/>
                <a:gd name="connsiteX29" fmla="*/ 8210330 w 10696643"/>
                <a:gd name="connsiteY29" fmla="*/ 201839 h 2006207"/>
                <a:gd name="connsiteX30" fmla="*/ 7244039 w 10696643"/>
                <a:gd name="connsiteY30" fmla="*/ 201839 h 2006207"/>
                <a:gd name="connsiteX31" fmla="*/ 5517749 w 10696643"/>
                <a:gd name="connsiteY31" fmla="*/ 193333 h 2006207"/>
                <a:gd name="connsiteX32" fmla="*/ 4432021 w 10696643"/>
                <a:gd name="connsiteY32" fmla="*/ 65870 h 2006207"/>
                <a:gd name="connsiteX33" fmla="*/ 2640589 w 10696643"/>
                <a:gd name="connsiteY33" fmla="*/ 57364 h 2006207"/>
                <a:gd name="connsiteX34" fmla="*/ 2100767 w 10696643"/>
                <a:gd name="connsiteY34" fmla="*/ 66415 h 2006207"/>
                <a:gd name="connsiteX0" fmla="*/ 1827032 w 10422908"/>
                <a:gd name="connsiteY0" fmla="*/ 66415 h 1986245"/>
                <a:gd name="connsiteX1" fmla="*/ 1709472 w 10422908"/>
                <a:gd name="connsiteY1" fmla="*/ 625754 h 1986245"/>
                <a:gd name="connsiteX2" fmla="*/ 0 w 10422908"/>
                <a:gd name="connsiteY2" fmla="*/ 1986246 h 1986245"/>
                <a:gd name="connsiteX3" fmla="*/ 162864 w 10422908"/>
                <a:gd name="connsiteY3" fmla="*/ 1858784 h 1986245"/>
                <a:gd name="connsiteX4" fmla="*/ 184578 w 10422908"/>
                <a:gd name="connsiteY4" fmla="*/ 1595370 h 1986245"/>
                <a:gd name="connsiteX5" fmla="*/ 336573 w 10422908"/>
                <a:gd name="connsiteY5" fmla="*/ 1510401 h 1986245"/>
                <a:gd name="connsiteX6" fmla="*/ 445141 w 10422908"/>
                <a:gd name="connsiteY6" fmla="*/ 1229994 h 1986245"/>
                <a:gd name="connsiteX7" fmla="*/ 553709 w 10422908"/>
                <a:gd name="connsiteY7" fmla="*/ 873105 h 1986245"/>
                <a:gd name="connsiteX8" fmla="*/ 705704 w 10422908"/>
                <a:gd name="connsiteY8" fmla="*/ 737154 h 1986245"/>
                <a:gd name="connsiteX9" fmla="*/ 1009695 w 10422908"/>
                <a:gd name="connsiteY9" fmla="*/ 737154 h 1986245"/>
                <a:gd name="connsiteX10" fmla="*/ 1585118 w 10422908"/>
                <a:gd name="connsiteY10" fmla="*/ 754148 h 1986245"/>
                <a:gd name="connsiteX11" fmla="*/ 2725117 w 10422908"/>
                <a:gd name="connsiteY11" fmla="*/ 754148 h 1986245"/>
                <a:gd name="connsiteX12" fmla="*/ 3419976 w 10422908"/>
                <a:gd name="connsiteY12" fmla="*/ 788136 h 1986245"/>
                <a:gd name="connsiteX13" fmla="*/ 3875986 w 10422908"/>
                <a:gd name="connsiteY13" fmla="*/ 728648 h 1986245"/>
                <a:gd name="connsiteX14" fmla="*/ 4353708 w 10422908"/>
                <a:gd name="connsiteY14" fmla="*/ 728648 h 1986245"/>
                <a:gd name="connsiteX15" fmla="*/ 5124577 w 10422908"/>
                <a:gd name="connsiteY15" fmla="*/ 771142 h 1986245"/>
                <a:gd name="connsiteX16" fmla="*/ 6004013 w 10422908"/>
                <a:gd name="connsiteY16" fmla="*/ 754148 h 1986245"/>
                <a:gd name="connsiteX17" fmla="*/ 6633731 w 10422908"/>
                <a:gd name="connsiteY17" fmla="*/ 762654 h 1986245"/>
                <a:gd name="connsiteX18" fmla="*/ 7469741 w 10422908"/>
                <a:gd name="connsiteY18" fmla="*/ 762654 h 1986245"/>
                <a:gd name="connsiteX19" fmla="*/ 8533754 w 10422908"/>
                <a:gd name="connsiteY19" fmla="*/ 788154 h 1986245"/>
                <a:gd name="connsiteX20" fmla="*/ 9282909 w 10422908"/>
                <a:gd name="connsiteY20" fmla="*/ 779648 h 1986245"/>
                <a:gd name="connsiteX21" fmla="*/ 9814904 w 10422908"/>
                <a:gd name="connsiteY21" fmla="*/ 771142 h 1986245"/>
                <a:gd name="connsiteX22" fmla="*/ 10292627 w 10422908"/>
                <a:gd name="connsiteY22" fmla="*/ 737154 h 1986245"/>
                <a:gd name="connsiteX23" fmla="*/ 10422908 w 10422908"/>
                <a:gd name="connsiteY23" fmla="*/ 754148 h 1986245"/>
                <a:gd name="connsiteX24" fmla="*/ 10422908 w 10422908"/>
                <a:gd name="connsiteY24" fmla="*/ 133791 h 1986245"/>
                <a:gd name="connsiteX25" fmla="*/ 10238332 w 10422908"/>
                <a:gd name="connsiteY25" fmla="*/ 65870 h 1986245"/>
                <a:gd name="connsiteX26" fmla="*/ 9424036 w 10422908"/>
                <a:gd name="connsiteY26" fmla="*/ 14889 h 1986245"/>
                <a:gd name="connsiteX27" fmla="*/ 8837745 w 10422908"/>
                <a:gd name="connsiteY27" fmla="*/ 108364 h 1986245"/>
                <a:gd name="connsiteX28" fmla="*/ 7936595 w 10422908"/>
                <a:gd name="connsiteY28" fmla="*/ 201839 h 1986245"/>
                <a:gd name="connsiteX29" fmla="*/ 6970304 w 10422908"/>
                <a:gd name="connsiteY29" fmla="*/ 201839 h 1986245"/>
                <a:gd name="connsiteX30" fmla="*/ 5244014 w 10422908"/>
                <a:gd name="connsiteY30" fmla="*/ 193333 h 1986245"/>
                <a:gd name="connsiteX31" fmla="*/ 4158286 w 10422908"/>
                <a:gd name="connsiteY31" fmla="*/ 65870 h 1986245"/>
                <a:gd name="connsiteX32" fmla="*/ 2366854 w 10422908"/>
                <a:gd name="connsiteY32" fmla="*/ 57364 h 1986245"/>
                <a:gd name="connsiteX33" fmla="*/ 1827032 w 10422908"/>
                <a:gd name="connsiteY33" fmla="*/ 66415 h 1986245"/>
                <a:gd name="connsiteX0" fmla="*/ 1786453 w 10382329"/>
                <a:gd name="connsiteY0" fmla="*/ 66415 h 1901488"/>
                <a:gd name="connsiteX1" fmla="*/ 1668893 w 10382329"/>
                <a:gd name="connsiteY1" fmla="*/ 625754 h 1901488"/>
                <a:gd name="connsiteX2" fmla="*/ 122285 w 10382329"/>
                <a:gd name="connsiteY2" fmla="*/ 1858784 h 1901488"/>
                <a:gd name="connsiteX3" fmla="*/ 143999 w 10382329"/>
                <a:gd name="connsiteY3" fmla="*/ 1595370 h 1901488"/>
                <a:gd name="connsiteX4" fmla="*/ 295994 w 10382329"/>
                <a:gd name="connsiteY4" fmla="*/ 1510401 h 1901488"/>
                <a:gd name="connsiteX5" fmla="*/ 404562 w 10382329"/>
                <a:gd name="connsiteY5" fmla="*/ 1229994 h 1901488"/>
                <a:gd name="connsiteX6" fmla="*/ 513130 w 10382329"/>
                <a:gd name="connsiteY6" fmla="*/ 873105 h 1901488"/>
                <a:gd name="connsiteX7" fmla="*/ 665125 w 10382329"/>
                <a:gd name="connsiteY7" fmla="*/ 737154 h 1901488"/>
                <a:gd name="connsiteX8" fmla="*/ 969116 w 10382329"/>
                <a:gd name="connsiteY8" fmla="*/ 737154 h 1901488"/>
                <a:gd name="connsiteX9" fmla="*/ 1544539 w 10382329"/>
                <a:gd name="connsiteY9" fmla="*/ 754148 h 1901488"/>
                <a:gd name="connsiteX10" fmla="*/ 2684538 w 10382329"/>
                <a:gd name="connsiteY10" fmla="*/ 754148 h 1901488"/>
                <a:gd name="connsiteX11" fmla="*/ 3379397 w 10382329"/>
                <a:gd name="connsiteY11" fmla="*/ 788136 h 1901488"/>
                <a:gd name="connsiteX12" fmla="*/ 3835407 w 10382329"/>
                <a:gd name="connsiteY12" fmla="*/ 728648 h 1901488"/>
                <a:gd name="connsiteX13" fmla="*/ 4313129 w 10382329"/>
                <a:gd name="connsiteY13" fmla="*/ 728648 h 1901488"/>
                <a:gd name="connsiteX14" fmla="*/ 5083998 w 10382329"/>
                <a:gd name="connsiteY14" fmla="*/ 771142 h 1901488"/>
                <a:gd name="connsiteX15" fmla="*/ 5963434 w 10382329"/>
                <a:gd name="connsiteY15" fmla="*/ 754148 h 1901488"/>
                <a:gd name="connsiteX16" fmla="*/ 6593152 w 10382329"/>
                <a:gd name="connsiteY16" fmla="*/ 762654 h 1901488"/>
                <a:gd name="connsiteX17" fmla="*/ 7429162 w 10382329"/>
                <a:gd name="connsiteY17" fmla="*/ 762654 h 1901488"/>
                <a:gd name="connsiteX18" fmla="*/ 8493175 w 10382329"/>
                <a:gd name="connsiteY18" fmla="*/ 788154 h 1901488"/>
                <a:gd name="connsiteX19" fmla="*/ 9242330 w 10382329"/>
                <a:gd name="connsiteY19" fmla="*/ 779648 h 1901488"/>
                <a:gd name="connsiteX20" fmla="*/ 9774325 w 10382329"/>
                <a:gd name="connsiteY20" fmla="*/ 771142 h 1901488"/>
                <a:gd name="connsiteX21" fmla="*/ 10252048 w 10382329"/>
                <a:gd name="connsiteY21" fmla="*/ 737154 h 1901488"/>
                <a:gd name="connsiteX22" fmla="*/ 10382329 w 10382329"/>
                <a:gd name="connsiteY22" fmla="*/ 754148 h 1901488"/>
                <a:gd name="connsiteX23" fmla="*/ 10382329 w 10382329"/>
                <a:gd name="connsiteY23" fmla="*/ 133791 h 1901488"/>
                <a:gd name="connsiteX24" fmla="*/ 10197753 w 10382329"/>
                <a:gd name="connsiteY24" fmla="*/ 65870 h 1901488"/>
                <a:gd name="connsiteX25" fmla="*/ 9383457 w 10382329"/>
                <a:gd name="connsiteY25" fmla="*/ 14889 h 1901488"/>
                <a:gd name="connsiteX26" fmla="*/ 8797166 w 10382329"/>
                <a:gd name="connsiteY26" fmla="*/ 108364 h 1901488"/>
                <a:gd name="connsiteX27" fmla="*/ 7896016 w 10382329"/>
                <a:gd name="connsiteY27" fmla="*/ 201839 h 1901488"/>
                <a:gd name="connsiteX28" fmla="*/ 6929725 w 10382329"/>
                <a:gd name="connsiteY28" fmla="*/ 201839 h 1901488"/>
                <a:gd name="connsiteX29" fmla="*/ 5203435 w 10382329"/>
                <a:gd name="connsiteY29" fmla="*/ 193333 h 1901488"/>
                <a:gd name="connsiteX30" fmla="*/ 4117707 w 10382329"/>
                <a:gd name="connsiteY30" fmla="*/ 65870 h 1901488"/>
                <a:gd name="connsiteX31" fmla="*/ 2326275 w 10382329"/>
                <a:gd name="connsiteY31" fmla="*/ 57364 h 1901488"/>
                <a:gd name="connsiteX32" fmla="*/ 1786453 w 10382329"/>
                <a:gd name="connsiteY32" fmla="*/ 66415 h 1901488"/>
                <a:gd name="connsiteX0" fmla="*/ 1724759 w 10320635"/>
                <a:gd name="connsiteY0" fmla="*/ 66415 h 1652063"/>
                <a:gd name="connsiteX1" fmla="*/ 1607199 w 10320635"/>
                <a:gd name="connsiteY1" fmla="*/ 625754 h 1652063"/>
                <a:gd name="connsiteX2" fmla="*/ 82305 w 10320635"/>
                <a:gd name="connsiteY2" fmla="*/ 1595370 h 1652063"/>
                <a:gd name="connsiteX3" fmla="*/ 234300 w 10320635"/>
                <a:gd name="connsiteY3" fmla="*/ 1510401 h 1652063"/>
                <a:gd name="connsiteX4" fmla="*/ 342868 w 10320635"/>
                <a:gd name="connsiteY4" fmla="*/ 1229994 h 1652063"/>
                <a:gd name="connsiteX5" fmla="*/ 451436 w 10320635"/>
                <a:gd name="connsiteY5" fmla="*/ 873105 h 1652063"/>
                <a:gd name="connsiteX6" fmla="*/ 603431 w 10320635"/>
                <a:gd name="connsiteY6" fmla="*/ 737154 h 1652063"/>
                <a:gd name="connsiteX7" fmla="*/ 907422 w 10320635"/>
                <a:gd name="connsiteY7" fmla="*/ 737154 h 1652063"/>
                <a:gd name="connsiteX8" fmla="*/ 1482845 w 10320635"/>
                <a:gd name="connsiteY8" fmla="*/ 754148 h 1652063"/>
                <a:gd name="connsiteX9" fmla="*/ 2622844 w 10320635"/>
                <a:gd name="connsiteY9" fmla="*/ 754148 h 1652063"/>
                <a:gd name="connsiteX10" fmla="*/ 3317703 w 10320635"/>
                <a:gd name="connsiteY10" fmla="*/ 788136 h 1652063"/>
                <a:gd name="connsiteX11" fmla="*/ 3773713 w 10320635"/>
                <a:gd name="connsiteY11" fmla="*/ 728648 h 1652063"/>
                <a:gd name="connsiteX12" fmla="*/ 4251435 w 10320635"/>
                <a:gd name="connsiteY12" fmla="*/ 728648 h 1652063"/>
                <a:gd name="connsiteX13" fmla="*/ 5022304 w 10320635"/>
                <a:gd name="connsiteY13" fmla="*/ 771142 h 1652063"/>
                <a:gd name="connsiteX14" fmla="*/ 5901740 w 10320635"/>
                <a:gd name="connsiteY14" fmla="*/ 754148 h 1652063"/>
                <a:gd name="connsiteX15" fmla="*/ 6531458 w 10320635"/>
                <a:gd name="connsiteY15" fmla="*/ 762654 h 1652063"/>
                <a:gd name="connsiteX16" fmla="*/ 7367468 w 10320635"/>
                <a:gd name="connsiteY16" fmla="*/ 762654 h 1652063"/>
                <a:gd name="connsiteX17" fmla="*/ 8431481 w 10320635"/>
                <a:gd name="connsiteY17" fmla="*/ 788154 h 1652063"/>
                <a:gd name="connsiteX18" fmla="*/ 9180636 w 10320635"/>
                <a:gd name="connsiteY18" fmla="*/ 779648 h 1652063"/>
                <a:gd name="connsiteX19" fmla="*/ 9712631 w 10320635"/>
                <a:gd name="connsiteY19" fmla="*/ 771142 h 1652063"/>
                <a:gd name="connsiteX20" fmla="*/ 10190354 w 10320635"/>
                <a:gd name="connsiteY20" fmla="*/ 737154 h 1652063"/>
                <a:gd name="connsiteX21" fmla="*/ 10320635 w 10320635"/>
                <a:gd name="connsiteY21" fmla="*/ 754148 h 1652063"/>
                <a:gd name="connsiteX22" fmla="*/ 10320635 w 10320635"/>
                <a:gd name="connsiteY22" fmla="*/ 133791 h 1652063"/>
                <a:gd name="connsiteX23" fmla="*/ 10136059 w 10320635"/>
                <a:gd name="connsiteY23" fmla="*/ 65870 h 1652063"/>
                <a:gd name="connsiteX24" fmla="*/ 9321763 w 10320635"/>
                <a:gd name="connsiteY24" fmla="*/ 14889 h 1652063"/>
                <a:gd name="connsiteX25" fmla="*/ 8735472 w 10320635"/>
                <a:gd name="connsiteY25" fmla="*/ 108364 h 1652063"/>
                <a:gd name="connsiteX26" fmla="*/ 7834322 w 10320635"/>
                <a:gd name="connsiteY26" fmla="*/ 201839 h 1652063"/>
                <a:gd name="connsiteX27" fmla="*/ 6868031 w 10320635"/>
                <a:gd name="connsiteY27" fmla="*/ 201839 h 1652063"/>
                <a:gd name="connsiteX28" fmla="*/ 5141741 w 10320635"/>
                <a:gd name="connsiteY28" fmla="*/ 193333 h 1652063"/>
                <a:gd name="connsiteX29" fmla="*/ 4056013 w 10320635"/>
                <a:gd name="connsiteY29" fmla="*/ 65870 h 1652063"/>
                <a:gd name="connsiteX30" fmla="*/ 2264581 w 10320635"/>
                <a:gd name="connsiteY30" fmla="*/ 57364 h 1652063"/>
                <a:gd name="connsiteX31" fmla="*/ 1724759 w 10320635"/>
                <a:gd name="connsiteY31" fmla="*/ 66415 h 1652063"/>
                <a:gd name="connsiteX0" fmla="*/ 1567192 w 10163068"/>
                <a:gd name="connsiteY0" fmla="*/ 66415 h 1535484"/>
                <a:gd name="connsiteX1" fmla="*/ 1449632 w 10163068"/>
                <a:gd name="connsiteY1" fmla="*/ 625754 h 1535484"/>
                <a:gd name="connsiteX2" fmla="*/ 76733 w 10163068"/>
                <a:gd name="connsiteY2" fmla="*/ 1510401 h 1535484"/>
                <a:gd name="connsiteX3" fmla="*/ 185301 w 10163068"/>
                <a:gd name="connsiteY3" fmla="*/ 1229994 h 1535484"/>
                <a:gd name="connsiteX4" fmla="*/ 293869 w 10163068"/>
                <a:gd name="connsiteY4" fmla="*/ 873105 h 1535484"/>
                <a:gd name="connsiteX5" fmla="*/ 445864 w 10163068"/>
                <a:gd name="connsiteY5" fmla="*/ 737154 h 1535484"/>
                <a:gd name="connsiteX6" fmla="*/ 749855 w 10163068"/>
                <a:gd name="connsiteY6" fmla="*/ 737154 h 1535484"/>
                <a:gd name="connsiteX7" fmla="*/ 1325278 w 10163068"/>
                <a:gd name="connsiteY7" fmla="*/ 754148 h 1535484"/>
                <a:gd name="connsiteX8" fmla="*/ 2465277 w 10163068"/>
                <a:gd name="connsiteY8" fmla="*/ 754148 h 1535484"/>
                <a:gd name="connsiteX9" fmla="*/ 3160136 w 10163068"/>
                <a:gd name="connsiteY9" fmla="*/ 788136 h 1535484"/>
                <a:gd name="connsiteX10" fmla="*/ 3616146 w 10163068"/>
                <a:gd name="connsiteY10" fmla="*/ 728648 h 1535484"/>
                <a:gd name="connsiteX11" fmla="*/ 4093868 w 10163068"/>
                <a:gd name="connsiteY11" fmla="*/ 728648 h 1535484"/>
                <a:gd name="connsiteX12" fmla="*/ 4864737 w 10163068"/>
                <a:gd name="connsiteY12" fmla="*/ 771142 h 1535484"/>
                <a:gd name="connsiteX13" fmla="*/ 5744173 w 10163068"/>
                <a:gd name="connsiteY13" fmla="*/ 754148 h 1535484"/>
                <a:gd name="connsiteX14" fmla="*/ 6373891 w 10163068"/>
                <a:gd name="connsiteY14" fmla="*/ 762654 h 1535484"/>
                <a:gd name="connsiteX15" fmla="*/ 7209901 w 10163068"/>
                <a:gd name="connsiteY15" fmla="*/ 762654 h 1535484"/>
                <a:gd name="connsiteX16" fmla="*/ 8273914 w 10163068"/>
                <a:gd name="connsiteY16" fmla="*/ 788154 h 1535484"/>
                <a:gd name="connsiteX17" fmla="*/ 9023069 w 10163068"/>
                <a:gd name="connsiteY17" fmla="*/ 779648 h 1535484"/>
                <a:gd name="connsiteX18" fmla="*/ 9555064 w 10163068"/>
                <a:gd name="connsiteY18" fmla="*/ 771142 h 1535484"/>
                <a:gd name="connsiteX19" fmla="*/ 10032787 w 10163068"/>
                <a:gd name="connsiteY19" fmla="*/ 737154 h 1535484"/>
                <a:gd name="connsiteX20" fmla="*/ 10163068 w 10163068"/>
                <a:gd name="connsiteY20" fmla="*/ 754148 h 1535484"/>
                <a:gd name="connsiteX21" fmla="*/ 10163068 w 10163068"/>
                <a:gd name="connsiteY21" fmla="*/ 133791 h 1535484"/>
                <a:gd name="connsiteX22" fmla="*/ 9978492 w 10163068"/>
                <a:gd name="connsiteY22" fmla="*/ 65870 h 1535484"/>
                <a:gd name="connsiteX23" fmla="*/ 9164196 w 10163068"/>
                <a:gd name="connsiteY23" fmla="*/ 14889 h 1535484"/>
                <a:gd name="connsiteX24" fmla="*/ 8577905 w 10163068"/>
                <a:gd name="connsiteY24" fmla="*/ 108364 h 1535484"/>
                <a:gd name="connsiteX25" fmla="*/ 7676755 w 10163068"/>
                <a:gd name="connsiteY25" fmla="*/ 201839 h 1535484"/>
                <a:gd name="connsiteX26" fmla="*/ 6710464 w 10163068"/>
                <a:gd name="connsiteY26" fmla="*/ 201839 h 1535484"/>
                <a:gd name="connsiteX27" fmla="*/ 4984174 w 10163068"/>
                <a:gd name="connsiteY27" fmla="*/ 193333 h 1535484"/>
                <a:gd name="connsiteX28" fmla="*/ 3898446 w 10163068"/>
                <a:gd name="connsiteY28" fmla="*/ 65870 h 1535484"/>
                <a:gd name="connsiteX29" fmla="*/ 2107014 w 10163068"/>
                <a:gd name="connsiteY29" fmla="*/ 57364 h 1535484"/>
                <a:gd name="connsiteX30" fmla="*/ 1567192 w 10163068"/>
                <a:gd name="connsiteY30" fmla="*/ 66415 h 1535484"/>
                <a:gd name="connsiteX0" fmla="*/ 1453651 w 10049527"/>
                <a:gd name="connsiteY0" fmla="*/ 66415 h 1233597"/>
                <a:gd name="connsiteX1" fmla="*/ 1336091 w 10049527"/>
                <a:gd name="connsiteY1" fmla="*/ 625754 h 1233597"/>
                <a:gd name="connsiteX2" fmla="*/ 71760 w 10049527"/>
                <a:gd name="connsiteY2" fmla="*/ 1229994 h 1233597"/>
                <a:gd name="connsiteX3" fmla="*/ 180328 w 10049527"/>
                <a:gd name="connsiteY3" fmla="*/ 873105 h 1233597"/>
                <a:gd name="connsiteX4" fmla="*/ 332323 w 10049527"/>
                <a:gd name="connsiteY4" fmla="*/ 737154 h 1233597"/>
                <a:gd name="connsiteX5" fmla="*/ 636314 w 10049527"/>
                <a:gd name="connsiteY5" fmla="*/ 737154 h 1233597"/>
                <a:gd name="connsiteX6" fmla="*/ 1211737 w 10049527"/>
                <a:gd name="connsiteY6" fmla="*/ 754148 h 1233597"/>
                <a:gd name="connsiteX7" fmla="*/ 2351736 w 10049527"/>
                <a:gd name="connsiteY7" fmla="*/ 754148 h 1233597"/>
                <a:gd name="connsiteX8" fmla="*/ 3046595 w 10049527"/>
                <a:gd name="connsiteY8" fmla="*/ 788136 h 1233597"/>
                <a:gd name="connsiteX9" fmla="*/ 3502605 w 10049527"/>
                <a:gd name="connsiteY9" fmla="*/ 728648 h 1233597"/>
                <a:gd name="connsiteX10" fmla="*/ 3980327 w 10049527"/>
                <a:gd name="connsiteY10" fmla="*/ 728648 h 1233597"/>
                <a:gd name="connsiteX11" fmla="*/ 4751196 w 10049527"/>
                <a:gd name="connsiteY11" fmla="*/ 771142 h 1233597"/>
                <a:gd name="connsiteX12" fmla="*/ 5630632 w 10049527"/>
                <a:gd name="connsiteY12" fmla="*/ 754148 h 1233597"/>
                <a:gd name="connsiteX13" fmla="*/ 6260350 w 10049527"/>
                <a:gd name="connsiteY13" fmla="*/ 762654 h 1233597"/>
                <a:gd name="connsiteX14" fmla="*/ 7096360 w 10049527"/>
                <a:gd name="connsiteY14" fmla="*/ 762654 h 1233597"/>
                <a:gd name="connsiteX15" fmla="*/ 8160373 w 10049527"/>
                <a:gd name="connsiteY15" fmla="*/ 788154 h 1233597"/>
                <a:gd name="connsiteX16" fmla="*/ 8909528 w 10049527"/>
                <a:gd name="connsiteY16" fmla="*/ 779648 h 1233597"/>
                <a:gd name="connsiteX17" fmla="*/ 9441523 w 10049527"/>
                <a:gd name="connsiteY17" fmla="*/ 771142 h 1233597"/>
                <a:gd name="connsiteX18" fmla="*/ 9919246 w 10049527"/>
                <a:gd name="connsiteY18" fmla="*/ 737154 h 1233597"/>
                <a:gd name="connsiteX19" fmla="*/ 10049527 w 10049527"/>
                <a:gd name="connsiteY19" fmla="*/ 754148 h 1233597"/>
                <a:gd name="connsiteX20" fmla="*/ 10049527 w 10049527"/>
                <a:gd name="connsiteY20" fmla="*/ 133791 h 1233597"/>
                <a:gd name="connsiteX21" fmla="*/ 9864951 w 10049527"/>
                <a:gd name="connsiteY21" fmla="*/ 65870 h 1233597"/>
                <a:gd name="connsiteX22" fmla="*/ 9050655 w 10049527"/>
                <a:gd name="connsiteY22" fmla="*/ 14889 h 1233597"/>
                <a:gd name="connsiteX23" fmla="*/ 8464364 w 10049527"/>
                <a:gd name="connsiteY23" fmla="*/ 108364 h 1233597"/>
                <a:gd name="connsiteX24" fmla="*/ 7563214 w 10049527"/>
                <a:gd name="connsiteY24" fmla="*/ 201839 h 1233597"/>
                <a:gd name="connsiteX25" fmla="*/ 6596923 w 10049527"/>
                <a:gd name="connsiteY25" fmla="*/ 201839 h 1233597"/>
                <a:gd name="connsiteX26" fmla="*/ 4870633 w 10049527"/>
                <a:gd name="connsiteY26" fmla="*/ 193333 h 1233597"/>
                <a:gd name="connsiteX27" fmla="*/ 3784905 w 10049527"/>
                <a:gd name="connsiteY27" fmla="*/ 65870 h 1233597"/>
                <a:gd name="connsiteX28" fmla="*/ 1993473 w 10049527"/>
                <a:gd name="connsiteY28" fmla="*/ 57364 h 1233597"/>
                <a:gd name="connsiteX29" fmla="*/ 1453651 w 10049527"/>
                <a:gd name="connsiteY29" fmla="*/ 66415 h 1233597"/>
                <a:gd name="connsiteX0" fmla="*/ 1428093 w 10023969"/>
                <a:gd name="connsiteY0" fmla="*/ 66415 h 1230579"/>
                <a:gd name="connsiteX1" fmla="*/ 1310533 w 10023969"/>
                <a:gd name="connsiteY1" fmla="*/ 625754 h 1230579"/>
                <a:gd name="connsiteX2" fmla="*/ 46202 w 10023969"/>
                <a:gd name="connsiteY2" fmla="*/ 1229994 h 1230579"/>
                <a:gd name="connsiteX3" fmla="*/ 306765 w 10023969"/>
                <a:gd name="connsiteY3" fmla="*/ 737154 h 1230579"/>
                <a:gd name="connsiteX4" fmla="*/ 610756 w 10023969"/>
                <a:gd name="connsiteY4" fmla="*/ 737154 h 1230579"/>
                <a:gd name="connsiteX5" fmla="*/ 1186179 w 10023969"/>
                <a:gd name="connsiteY5" fmla="*/ 754148 h 1230579"/>
                <a:gd name="connsiteX6" fmla="*/ 2326178 w 10023969"/>
                <a:gd name="connsiteY6" fmla="*/ 754148 h 1230579"/>
                <a:gd name="connsiteX7" fmla="*/ 3021037 w 10023969"/>
                <a:gd name="connsiteY7" fmla="*/ 788136 h 1230579"/>
                <a:gd name="connsiteX8" fmla="*/ 3477047 w 10023969"/>
                <a:gd name="connsiteY8" fmla="*/ 728648 h 1230579"/>
                <a:gd name="connsiteX9" fmla="*/ 3954769 w 10023969"/>
                <a:gd name="connsiteY9" fmla="*/ 728648 h 1230579"/>
                <a:gd name="connsiteX10" fmla="*/ 4725638 w 10023969"/>
                <a:gd name="connsiteY10" fmla="*/ 771142 h 1230579"/>
                <a:gd name="connsiteX11" fmla="*/ 5605074 w 10023969"/>
                <a:gd name="connsiteY11" fmla="*/ 754148 h 1230579"/>
                <a:gd name="connsiteX12" fmla="*/ 6234792 w 10023969"/>
                <a:gd name="connsiteY12" fmla="*/ 762654 h 1230579"/>
                <a:gd name="connsiteX13" fmla="*/ 7070802 w 10023969"/>
                <a:gd name="connsiteY13" fmla="*/ 762654 h 1230579"/>
                <a:gd name="connsiteX14" fmla="*/ 8134815 w 10023969"/>
                <a:gd name="connsiteY14" fmla="*/ 788154 h 1230579"/>
                <a:gd name="connsiteX15" fmla="*/ 8883970 w 10023969"/>
                <a:gd name="connsiteY15" fmla="*/ 779648 h 1230579"/>
                <a:gd name="connsiteX16" fmla="*/ 9415965 w 10023969"/>
                <a:gd name="connsiteY16" fmla="*/ 771142 h 1230579"/>
                <a:gd name="connsiteX17" fmla="*/ 9893688 w 10023969"/>
                <a:gd name="connsiteY17" fmla="*/ 737154 h 1230579"/>
                <a:gd name="connsiteX18" fmla="*/ 10023969 w 10023969"/>
                <a:gd name="connsiteY18" fmla="*/ 754148 h 1230579"/>
                <a:gd name="connsiteX19" fmla="*/ 10023969 w 10023969"/>
                <a:gd name="connsiteY19" fmla="*/ 133791 h 1230579"/>
                <a:gd name="connsiteX20" fmla="*/ 9839393 w 10023969"/>
                <a:gd name="connsiteY20" fmla="*/ 65870 h 1230579"/>
                <a:gd name="connsiteX21" fmla="*/ 9025097 w 10023969"/>
                <a:gd name="connsiteY21" fmla="*/ 14889 h 1230579"/>
                <a:gd name="connsiteX22" fmla="*/ 8438806 w 10023969"/>
                <a:gd name="connsiteY22" fmla="*/ 108364 h 1230579"/>
                <a:gd name="connsiteX23" fmla="*/ 7537656 w 10023969"/>
                <a:gd name="connsiteY23" fmla="*/ 201839 h 1230579"/>
                <a:gd name="connsiteX24" fmla="*/ 6571365 w 10023969"/>
                <a:gd name="connsiteY24" fmla="*/ 201839 h 1230579"/>
                <a:gd name="connsiteX25" fmla="*/ 4845075 w 10023969"/>
                <a:gd name="connsiteY25" fmla="*/ 193333 h 1230579"/>
                <a:gd name="connsiteX26" fmla="*/ 3759347 w 10023969"/>
                <a:gd name="connsiteY26" fmla="*/ 65870 h 1230579"/>
                <a:gd name="connsiteX27" fmla="*/ 1967915 w 10023969"/>
                <a:gd name="connsiteY27" fmla="*/ 57364 h 1230579"/>
                <a:gd name="connsiteX28" fmla="*/ 1428093 w 10023969"/>
                <a:gd name="connsiteY28" fmla="*/ 66415 h 1230579"/>
                <a:gd name="connsiteX0" fmla="*/ 1143230 w 9739106"/>
                <a:gd name="connsiteY0" fmla="*/ 66415 h 797578"/>
                <a:gd name="connsiteX1" fmla="*/ 1025670 w 9739106"/>
                <a:gd name="connsiteY1" fmla="*/ 625754 h 797578"/>
                <a:gd name="connsiteX2" fmla="*/ 21902 w 9739106"/>
                <a:gd name="connsiteY2" fmla="*/ 737154 h 797578"/>
                <a:gd name="connsiteX3" fmla="*/ 325893 w 9739106"/>
                <a:gd name="connsiteY3" fmla="*/ 737154 h 797578"/>
                <a:gd name="connsiteX4" fmla="*/ 901316 w 9739106"/>
                <a:gd name="connsiteY4" fmla="*/ 754148 h 797578"/>
                <a:gd name="connsiteX5" fmla="*/ 2041315 w 9739106"/>
                <a:gd name="connsiteY5" fmla="*/ 754148 h 797578"/>
                <a:gd name="connsiteX6" fmla="*/ 2736174 w 9739106"/>
                <a:gd name="connsiteY6" fmla="*/ 788136 h 797578"/>
                <a:gd name="connsiteX7" fmla="*/ 3192184 w 9739106"/>
                <a:gd name="connsiteY7" fmla="*/ 728648 h 797578"/>
                <a:gd name="connsiteX8" fmla="*/ 3669906 w 9739106"/>
                <a:gd name="connsiteY8" fmla="*/ 728648 h 797578"/>
                <a:gd name="connsiteX9" fmla="*/ 4440775 w 9739106"/>
                <a:gd name="connsiteY9" fmla="*/ 771142 h 797578"/>
                <a:gd name="connsiteX10" fmla="*/ 5320211 w 9739106"/>
                <a:gd name="connsiteY10" fmla="*/ 754148 h 797578"/>
                <a:gd name="connsiteX11" fmla="*/ 5949929 w 9739106"/>
                <a:gd name="connsiteY11" fmla="*/ 762654 h 797578"/>
                <a:gd name="connsiteX12" fmla="*/ 6785939 w 9739106"/>
                <a:gd name="connsiteY12" fmla="*/ 762654 h 797578"/>
                <a:gd name="connsiteX13" fmla="*/ 7849952 w 9739106"/>
                <a:gd name="connsiteY13" fmla="*/ 788154 h 797578"/>
                <a:gd name="connsiteX14" fmla="*/ 8599107 w 9739106"/>
                <a:gd name="connsiteY14" fmla="*/ 779648 h 797578"/>
                <a:gd name="connsiteX15" fmla="*/ 9131102 w 9739106"/>
                <a:gd name="connsiteY15" fmla="*/ 771142 h 797578"/>
                <a:gd name="connsiteX16" fmla="*/ 9608825 w 9739106"/>
                <a:gd name="connsiteY16" fmla="*/ 737154 h 797578"/>
                <a:gd name="connsiteX17" fmla="*/ 9739106 w 9739106"/>
                <a:gd name="connsiteY17" fmla="*/ 754148 h 797578"/>
                <a:gd name="connsiteX18" fmla="*/ 9739106 w 9739106"/>
                <a:gd name="connsiteY18" fmla="*/ 133791 h 797578"/>
                <a:gd name="connsiteX19" fmla="*/ 9554530 w 9739106"/>
                <a:gd name="connsiteY19" fmla="*/ 65870 h 797578"/>
                <a:gd name="connsiteX20" fmla="*/ 8740234 w 9739106"/>
                <a:gd name="connsiteY20" fmla="*/ 14889 h 797578"/>
                <a:gd name="connsiteX21" fmla="*/ 8153943 w 9739106"/>
                <a:gd name="connsiteY21" fmla="*/ 108364 h 797578"/>
                <a:gd name="connsiteX22" fmla="*/ 7252793 w 9739106"/>
                <a:gd name="connsiteY22" fmla="*/ 201839 h 797578"/>
                <a:gd name="connsiteX23" fmla="*/ 6286502 w 9739106"/>
                <a:gd name="connsiteY23" fmla="*/ 201839 h 797578"/>
                <a:gd name="connsiteX24" fmla="*/ 4560212 w 9739106"/>
                <a:gd name="connsiteY24" fmla="*/ 193333 h 797578"/>
                <a:gd name="connsiteX25" fmla="*/ 3474484 w 9739106"/>
                <a:gd name="connsiteY25" fmla="*/ 65870 h 797578"/>
                <a:gd name="connsiteX26" fmla="*/ 1683052 w 9739106"/>
                <a:gd name="connsiteY26" fmla="*/ 57364 h 797578"/>
                <a:gd name="connsiteX27" fmla="*/ 1143230 w 9739106"/>
                <a:gd name="connsiteY27" fmla="*/ 66415 h 797578"/>
                <a:gd name="connsiteX0" fmla="*/ 817337 w 9413213"/>
                <a:gd name="connsiteY0" fmla="*/ 66415 h 797576"/>
                <a:gd name="connsiteX1" fmla="*/ 699777 w 9413213"/>
                <a:gd name="connsiteY1" fmla="*/ 625754 h 797576"/>
                <a:gd name="connsiteX2" fmla="*/ 0 w 9413213"/>
                <a:gd name="connsiteY2" fmla="*/ 737154 h 797576"/>
                <a:gd name="connsiteX3" fmla="*/ 575423 w 9413213"/>
                <a:gd name="connsiteY3" fmla="*/ 754148 h 797576"/>
                <a:gd name="connsiteX4" fmla="*/ 1715422 w 9413213"/>
                <a:gd name="connsiteY4" fmla="*/ 754148 h 797576"/>
                <a:gd name="connsiteX5" fmla="*/ 2410281 w 9413213"/>
                <a:gd name="connsiteY5" fmla="*/ 788136 h 797576"/>
                <a:gd name="connsiteX6" fmla="*/ 2866291 w 9413213"/>
                <a:gd name="connsiteY6" fmla="*/ 728648 h 797576"/>
                <a:gd name="connsiteX7" fmla="*/ 3344013 w 9413213"/>
                <a:gd name="connsiteY7" fmla="*/ 728648 h 797576"/>
                <a:gd name="connsiteX8" fmla="*/ 4114882 w 9413213"/>
                <a:gd name="connsiteY8" fmla="*/ 771142 h 797576"/>
                <a:gd name="connsiteX9" fmla="*/ 4994318 w 9413213"/>
                <a:gd name="connsiteY9" fmla="*/ 754148 h 797576"/>
                <a:gd name="connsiteX10" fmla="*/ 5624036 w 9413213"/>
                <a:gd name="connsiteY10" fmla="*/ 762654 h 797576"/>
                <a:gd name="connsiteX11" fmla="*/ 6460046 w 9413213"/>
                <a:gd name="connsiteY11" fmla="*/ 762654 h 797576"/>
                <a:gd name="connsiteX12" fmla="*/ 7524059 w 9413213"/>
                <a:gd name="connsiteY12" fmla="*/ 788154 h 797576"/>
                <a:gd name="connsiteX13" fmla="*/ 8273214 w 9413213"/>
                <a:gd name="connsiteY13" fmla="*/ 779648 h 797576"/>
                <a:gd name="connsiteX14" fmla="*/ 8805209 w 9413213"/>
                <a:gd name="connsiteY14" fmla="*/ 771142 h 797576"/>
                <a:gd name="connsiteX15" fmla="*/ 9282932 w 9413213"/>
                <a:gd name="connsiteY15" fmla="*/ 737154 h 797576"/>
                <a:gd name="connsiteX16" fmla="*/ 9413213 w 9413213"/>
                <a:gd name="connsiteY16" fmla="*/ 754148 h 797576"/>
                <a:gd name="connsiteX17" fmla="*/ 9413213 w 9413213"/>
                <a:gd name="connsiteY17" fmla="*/ 133791 h 797576"/>
                <a:gd name="connsiteX18" fmla="*/ 9228637 w 9413213"/>
                <a:gd name="connsiteY18" fmla="*/ 65870 h 797576"/>
                <a:gd name="connsiteX19" fmla="*/ 8414341 w 9413213"/>
                <a:gd name="connsiteY19" fmla="*/ 14889 h 797576"/>
                <a:gd name="connsiteX20" fmla="*/ 7828050 w 9413213"/>
                <a:gd name="connsiteY20" fmla="*/ 108364 h 797576"/>
                <a:gd name="connsiteX21" fmla="*/ 6926900 w 9413213"/>
                <a:gd name="connsiteY21" fmla="*/ 201839 h 797576"/>
                <a:gd name="connsiteX22" fmla="*/ 5960609 w 9413213"/>
                <a:gd name="connsiteY22" fmla="*/ 201839 h 797576"/>
                <a:gd name="connsiteX23" fmla="*/ 4234319 w 9413213"/>
                <a:gd name="connsiteY23" fmla="*/ 193333 h 797576"/>
                <a:gd name="connsiteX24" fmla="*/ 3148591 w 9413213"/>
                <a:gd name="connsiteY24" fmla="*/ 65870 h 797576"/>
                <a:gd name="connsiteX25" fmla="*/ 1357159 w 9413213"/>
                <a:gd name="connsiteY25" fmla="*/ 57364 h 797576"/>
                <a:gd name="connsiteX26" fmla="*/ 817337 w 9413213"/>
                <a:gd name="connsiteY26" fmla="*/ 66415 h 797576"/>
                <a:gd name="connsiteX0" fmla="*/ 299581 w 8895457"/>
                <a:gd name="connsiteY0" fmla="*/ 66415 h 797578"/>
                <a:gd name="connsiteX1" fmla="*/ 182021 w 8895457"/>
                <a:gd name="connsiteY1" fmla="*/ 625754 h 797578"/>
                <a:gd name="connsiteX2" fmla="*/ 57667 w 8895457"/>
                <a:gd name="connsiteY2" fmla="*/ 754148 h 797578"/>
                <a:gd name="connsiteX3" fmla="*/ 1197666 w 8895457"/>
                <a:gd name="connsiteY3" fmla="*/ 754148 h 797578"/>
                <a:gd name="connsiteX4" fmla="*/ 1892525 w 8895457"/>
                <a:gd name="connsiteY4" fmla="*/ 788136 h 797578"/>
                <a:gd name="connsiteX5" fmla="*/ 2348535 w 8895457"/>
                <a:gd name="connsiteY5" fmla="*/ 728648 h 797578"/>
                <a:gd name="connsiteX6" fmla="*/ 2826257 w 8895457"/>
                <a:gd name="connsiteY6" fmla="*/ 728648 h 797578"/>
                <a:gd name="connsiteX7" fmla="*/ 3597126 w 8895457"/>
                <a:gd name="connsiteY7" fmla="*/ 771142 h 797578"/>
                <a:gd name="connsiteX8" fmla="*/ 4476562 w 8895457"/>
                <a:gd name="connsiteY8" fmla="*/ 754148 h 797578"/>
                <a:gd name="connsiteX9" fmla="*/ 5106280 w 8895457"/>
                <a:gd name="connsiteY9" fmla="*/ 762654 h 797578"/>
                <a:gd name="connsiteX10" fmla="*/ 5942290 w 8895457"/>
                <a:gd name="connsiteY10" fmla="*/ 762654 h 797578"/>
                <a:gd name="connsiteX11" fmla="*/ 7006303 w 8895457"/>
                <a:gd name="connsiteY11" fmla="*/ 788154 h 797578"/>
                <a:gd name="connsiteX12" fmla="*/ 7755458 w 8895457"/>
                <a:gd name="connsiteY12" fmla="*/ 779648 h 797578"/>
                <a:gd name="connsiteX13" fmla="*/ 8287453 w 8895457"/>
                <a:gd name="connsiteY13" fmla="*/ 771142 h 797578"/>
                <a:gd name="connsiteX14" fmla="*/ 8765176 w 8895457"/>
                <a:gd name="connsiteY14" fmla="*/ 737154 h 797578"/>
                <a:gd name="connsiteX15" fmla="*/ 8895457 w 8895457"/>
                <a:gd name="connsiteY15" fmla="*/ 754148 h 797578"/>
                <a:gd name="connsiteX16" fmla="*/ 8895457 w 8895457"/>
                <a:gd name="connsiteY16" fmla="*/ 133791 h 797578"/>
                <a:gd name="connsiteX17" fmla="*/ 8710881 w 8895457"/>
                <a:gd name="connsiteY17" fmla="*/ 65870 h 797578"/>
                <a:gd name="connsiteX18" fmla="*/ 7896585 w 8895457"/>
                <a:gd name="connsiteY18" fmla="*/ 14889 h 797578"/>
                <a:gd name="connsiteX19" fmla="*/ 7310294 w 8895457"/>
                <a:gd name="connsiteY19" fmla="*/ 108364 h 797578"/>
                <a:gd name="connsiteX20" fmla="*/ 6409144 w 8895457"/>
                <a:gd name="connsiteY20" fmla="*/ 201839 h 797578"/>
                <a:gd name="connsiteX21" fmla="*/ 5442853 w 8895457"/>
                <a:gd name="connsiteY21" fmla="*/ 201839 h 797578"/>
                <a:gd name="connsiteX22" fmla="*/ 3716563 w 8895457"/>
                <a:gd name="connsiteY22" fmla="*/ 193333 h 797578"/>
                <a:gd name="connsiteX23" fmla="*/ 2630835 w 8895457"/>
                <a:gd name="connsiteY23" fmla="*/ 65870 h 797578"/>
                <a:gd name="connsiteX24" fmla="*/ 839403 w 8895457"/>
                <a:gd name="connsiteY24" fmla="*/ 57364 h 797578"/>
                <a:gd name="connsiteX25" fmla="*/ 299581 w 8895457"/>
                <a:gd name="connsiteY25" fmla="*/ 66415 h 797578"/>
                <a:gd name="connsiteX0" fmla="*/ 300385 w 8896261"/>
                <a:gd name="connsiteY0" fmla="*/ 66415 h 797969"/>
                <a:gd name="connsiteX1" fmla="*/ 182825 w 8896261"/>
                <a:gd name="connsiteY1" fmla="*/ 625754 h 797969"/>
                <a:gd name="connsiteX2" fmla="*/ 1198470 w 8896261"/>
                <a:gd name="connsiteY2" fmla="*/ 754148 h 797969"/>
                <a:gd name="connsiteX3" fmla="*/ 1893329 w 8896261"/>
                <a:gd name="connsiteY3" fmla="*/ 788136 h 797969"/>
                <a:gd name="connsiteX4" fmla="*/ 2349339 w 8896261"/>
                <a:gd name="connsiteY4" fmla="*/ 728648 h 797969"/>
                <a:gd name="connsiteX5" fmla="*/ 2827061 w 8896261"/>
                <a:gd name="connsiteY5" fmla="*/ 728648 h 797969"/>
                <a:gd name="connsiteX6" fmla="*/ 3597930 w 8896261"/>
                <a:gd name="connsiteY6" fmla="*/ 771142 h 797969"/>
                <a:gd name="connsiteX7" fmla="*/ 4477366 w 8896261"/>
                <a:gd name="connsiteY7" fmla="*/ 754148 h 797969"/>
                <a:gd name="connsiteX8" fmla="*/ 5107084 w 8896261"/>
                <a:gd name="connsiteY8" fmla="*/ 762654 h 797969"/>
                <a:gd name="connsiteX9" fmla="*/ 5943094 w 8896261"/>
                <a:gd name="connsiteY9" fmla="*/ 762654 h 797969"/>
                <a:gd name="connsiteX10" fmla="*/ 7007107 w 8896261"/>
                <a:gd name="connsiteY10" fmla="*/ 788154 h 797969"/>
                <a:gd name="connsiteX11" fmla="*/ 7756262 w 8896261"/>
                <a:gd name="connsiteY11" fmla="*/ 779648 h 797969"/>
                <a:gd name="connsiteX12" fmla="*/ 8288257 w 8896261"/>
                <a:gd name="connsiteY12" fmla="*/ 771142 h 797969"/>
                <a:gd name="connsiteX13" fmla="*/ 8765980 w 8896261"/>
                <a:gd name="connsiteY13" fmla="*/ 737154 h 797969"/>
                <a:gd name="connsiteX14" fmla="*/ 8896261 w 8896261"/>
                <a:gd name="connsiteY14" fmla="*/ 754148 h 797969"/>
                <a:gd name="connsiteX15" fmla="*/ 8896261 w 8896261"/>
                <a:gd name="connsiteY15" fmla="*/ 133791 h 797969"/>
                <a:gd name="connsiteX16" fmla="*/ 8711685 w 8896261"/>
                <a:gd name="connsiteY16" fmla="*/ 65870 h 797969"/>
                <a:gd name="connsiteX17" fmla="*/ 7897389 w 8896261"/>
                <a:gd name="connsiteY17" fmla="*/ 14889 h 797969"/>
                <a:gd name="connsiteX18" fmla="*/ 7311098 w 8896261"/>
                <a:gd name="connsiteY18" fmla="*/ 108364 h 797969"/>
                <a:gd name="connsiteX19" fmla="*/ 6409948 w 8896261"/>
                <a:gd name="connsiteY19" fmla="*/ 201839 h 797969"/>
                <a:gd name="connsiteX20" fmla="*/ 5443657 w 8896261"/>
                <a:gd name="connsiteY20" fmla="*/ 201839 h 797969"/>
                <a:gd name="connsiteX21" fmla="*/ 3717367 w 8896261"/>
                <a:gd name="connsiteY21" fmla="*/ 193333 h 797969"/>
                <a:gd name="connsiteX22" fmla="*/ 2631639 w 8896261"/>
                <a:gd name="connsiteY22" fmla="*/ 65870 h 797969"/>
                <a:gd name="connsiteX23" fmla="*/ 840207 w 8896261"/>
                <a:gd name="connsiteY23" fmla="*/ 57364 h 797969"/>
                <a:gd name="connsiteX24" fmla="*/ 300385 w 8896261"/>
                <a:gd name="connsiteY24" fmla="*/ 66415 h 797969"/>
                <a:gd name="connsiteX0" fmla="*/ 263649 w 8859525"/>
                <a:gd name="connsiteY0" fmla="*/ 66415 h 795901"/>
                <a:gd name="connsiteX1" fmla="*/ 238952 w 8859525"/>
                <a:gd name="connsiteY1" fmla="*/ 726571 h 795901"/>
                <a:gd name="connsiteX2" fmla="*/ 1161734 w 8859525"/>
                <a:gd name="connsiteY2" fmla="*/ 754148 h 795901"/>
                <a:gd name="connsiteX3" fmla="*/ 1856593 w 8859525"/>
                <a:gd name="connsiteY3" fmla="*/ 788136 h 795901"/>
                <a:gd name="connsiteX4" fmla="*/ 2312603 w 8859525"/>
                <a:gd name="connsiteY4" fmla="*/ 728648 h 795901"/>
                <a:gd name="connsiteX5" fmla="*/ 2790325 w 8859525"/>
                <a:gd name="connsiteY5" fmla="*/ 728648 h 795901"/>
                <a:gd name="connsiteX6" fmla="*/ 3561194 w 8859525"/>
                <a:gd name="connsiteY6" fmla="*/ 771142 h 795901"/>
                <a:gd name="connsiteX7" fmla="*/ 4440630 w 8859525"/>
                <a:gd name="connsiteY7" fmla="*/ 754148 h 795901"/>
                <a:gd name="connsiteX8" fmla="*/ 5070348 w 8859525"/>
                <a:gd name="connsiteY8" fmla="*/ 762654 h 795901"/>
                <a:gd name="connsiteX9" fmla="*/ 5906358 w 8859525"/>
                <a:gd name="connsiteY9" fmla="*/ 762654 h 795901"/>
                <a:gd name="connsiteX10" fmla="*/ 6970371 w 8859525"/>
                <a:gd name="connsiteY10" fmla="*/ 788154 h 795901"/>
                <a:gd name="connsiteX11" fmla="*/ 7719526 w 8859525"/>
                <a:gd name="connsiteY11" fmla="*/ 779648 h 795901"/>
                <a:gd name="connsiteX12" fmla="*/ 8251521 w 8859525"/>
                <a:gd name="connsiteY12" fmla="*/ 771142 h 795901"/>
                <a:gd name="connsiteX13" fmla="*/ 8729244 w 8859525"/>
                <a:gd name="connsiteY13" fmla="*/ 737154 h 795901"/>
                <a:gd name="connsiteX14" fmla="*/ 8859525 w 8859525"/>
                <a:gd name="connsiteY14" fmla="*/ 754148 h 795901"/>
                <a:gd name="connsiteX15" fmla="*/ 8859525 w 8859525"/>
                <a:gd name="connsiteY15" fmla="*/ 133791 h 795901"/>
                <a:gd name="connsiteX16" fmla="*/ 8674949 w 8859525"/>
                <a:gd name="connsiteY16" fmla="*/ 65870 h 795901"/>
                <a:gd name="connsiteX17" fmla="*/ 7860653 w 8859525"/>
                <a:gd name="connsiteY17" fmla="*/ 14889 h 795901"/>
                <a:gd name="connsiteX18" fmla="*/ 7274362 w 8859525"/>
                <a:gd name="connsiteY18" fmla="*/ 108364 h 795901"/>
                <a:gd name="connsiteX19" fmla="*/ 6373212 w 8859525"/>
                <a:gd name="connsiteY19" fmla="*/ 201839 h 795901"/>
                <a:gd name="connsiteX20" fmla="*/ 5406921 w 8859525"/>
                <a:gd name="connsiteY20" fmla="*/ 201839 h 795901"/>
                <a:gd name="connsiteX21" fmla="*/ 3680631 w 8859525"/>
                <a:gd name="connsiteY21" fmla="*/ 193333 h 795901"/>
                <a:gd name="connsiteX22" fmla="*/ 2594903 w 8859525"/>
                <a:gd name="connsiteY22" fmla="*/ 65870 h 795901"/>
                <a:gd name="connsiteX23" fmla="*/ 803471 w 8859525"/>
                <a:gd name="connsiteY23" fmla="*/ 57364 h 795901"/>
                <a:gd name="connsiteX24" fmla="*/ 263649 w 8859525"/>
                <a:gd name="connsiteY24" fmla="*/ 66415 h 795901"/>
                <a:gd name="connsiteX0" fmla="*/ 224684 w 8820560"/>
                <a:gd name="connsiteY0" fmla="*/ 66415 h 815564"/>
                <a:gd name="connsiteX1" fmla="*/ 199987 w 8820560"/>
                <a:gd name="connsiteY1" fmla="*/ 726571 h 815564"/>
                <a:gd name="connsiteX2" fmla="*/ 1122769 w 8820560"/>
                <a:gd name="connsiteY2" fmla="*/ 754148 h 815564"/>
                <a:gd name="connsiteX3" fmla="*/ 1817628 w 8820560"/>
                <a:gd name="connsiteY3" fmla="*/ 788136 h 815564"/>
                <a:gd name="connsiteX4" fmla="*/ 2273638 w 8820560"/>
                <a:gd name="connsiteY4" fmla="*/ 728648 h 815564"/>
                <a:gd name="connsiteX5" fmla="*/ 2751360 w 8820560"/>
                <a:gd name="connsiteY5" fmla="*/ 728648 h 815564"/>
                <a:gd name="connsiteX6" fmla="*/ 3522229 w 8820560"/>
                <a:gd name="connsiteY6" fmla="*/ 771142 h 815564"/>
                <a:gd name="connsiteX7" fmla="*/ 4401665 w 8820560"/>
                <a:gd name="connsiteY7" fmla="*/ 754148 h 815564"/>
                <a:gd name="connsiteX8" fmla="*/ 5031383 w 8820560"/>
                <a:gd name="connsiteY8" fmla="*/ 762654 h 815564"/>
                <a:gd name="connsiteX9" fmla="*/ 5867393 w 8820560"/>
                <a:gd name="connsiteY9" fmla="*/ 762654 h 815564"/>
                <a:gd name="connsiteX10" fmla="*/ 6931406 w 8820560"/>
                <a:gd name="connsiteY10" fmla="*/ 788154 h 815564"/>
                <a:gd name="connsiteX11" fmla="*/ 7680561 w 8820560"/>
                <a:gd name="connsiteY11" fmla="*/ 779648 h 815564"/>
                <a:gd name="connsiteX12" fmla="*/ 8212556 w 8820560"/>
                <a:gd name="connsiteY12" fmla="*/ 771142 h 815564"/>
                <a:gd name="connsiteX13" fmla="*/ 8690279 w 8820560"/>
                <a:gd name="connsiteY13" fmla="*/ 737154 h 815564"/>
                <a:gd name="connsiteX14" fmla="*/ 8820560 w 8820560"/>
                <a:gd name="connsiteY14" fmla="*/ 754148 h 815564"/>
                <a:gd name="connsiteX15" fmla="*/ 8820560 w 8820560"/>
                <a:gd name="connsiteY15" fmla="*/ 133791 h 815564"/>
                <a:gd name="connsiteX16" fmla="*/ 8635984 w 8820560"/>
                <a:gd name="connsiteY16" fmla="*/ 65870 h 815564"/>
                <a:gd name="connsiteX17" fmla="*/ 7821688 w 8820560"/>
                <a:gd name="connsiteY17" fmla="*/ 14889 h 815564"/>
                <a:gd name="connsiteX18" fmla="*/ 7235397 w 8820560"/>
                <a:gd name="connsiteY18" fmla="*/ 108364 h 815564"/>
                <a:gd name="connsiteX19" fmla="*/ 6334247 w 8820560"/>
                <a:gd name="connsiteY19" fmla="*/ 201839 h 815564"/>
                <a:gd name="connsiteX20" fmla="*/ 5367956 w 8820560"/>
                <a:gd name="connsiteY20" fmla="*/ 201839 h 815564"/>
                <a:gd name="connsiteX21" fmla="*/ 3641666 w 8820560"/>
                <a:gd name="connsiteY21" fmla="*/ 193333 h 815564"/>
                <a:gd name="connsiteX22" fmla="*/ 2555938 w 8820560"/>
                <a:gd name="connsiteY22" fmla="*/ 65870 h 815564"/>
                <a:gd name="connsiteX23" fmla="*/ 764506 w 8820560"/>
                <a:gd name="connsiteY23" fmla="*/ 57364 h 815564"/>
                <a:gd name="connsiteX24" fmla="*/ 224684 w 8820560"/>
                <a:gd name="connsiteY24" fmla="*/ 66415 h 815564"/>
                <a:gd name="connsiteX0" fmla="*/ 93047 w 8688923"/>
                <a:gd name="connsiteY0" fmla="*/ 66415 h 795903"/>
                <a:gd name="connsiteX1" fmla="*/ 71109 w 8688923"/>
                <a:gd name="connsiteY1" fmla="*/ 350379 h 795903"/>
                <a:gd name="connsiteX2" fmla="*/ 68350 w 8688923"/>
                <a:gd name="connsiteY2" fmla="*/ 726571 h 795903"/>
                <a:gd name="connsiteX3" fmla="*/ 991132 w 8688923"/>
                <a:gd name="connsiteY3" fmla="*/ 754148 h 795903"/>
                <a:gd name="connsiteX4" fmla="*/ 1685991 w 8688923"/>
                <a:gd name="connsiteY4" fmla="*/ 788136 h 795903"/>
                <a:gd name="connsiteX5" fmla="*/ 2142001 w 8688923"/>
                <a:gd name="connsiteY5" fmla="*/ 728648 h 795903"/>
                <a:gd name="connsiteX6" fmla="*/ 2619723 w 8688923"/>
                <a:gd name="connsiteY6" fmla="*/ 728648 h 795903"/>
                <a:gd name="connsiteX7" fmla="*/ 3390592 w 8688923"/>
                <a:gd name="connsiteY7" fmla="*/ 771142 h 795903"/>
                <a:gd name="connsiteX8" fmla="*/ 4270028 w 8688923"/>
                <a:gd name="connsiteY8" fmla="*/ 754148 h 795903"/>
                <a:gd name="connsiteX9" fmla="*/ 4899746 w 8688923"/>
                <a:gd name="connsiteY9" fmla="*/ 762654 h 795903"/>
                <a:gd name="connsiteX10" fmla="*/ 5735756 w 8688923"/>
                <a:gd name="connsiteY10" fmla="*/ 762654 h 795903"/>
                <a:gd name="connsiteX11" fmla="*/ 6799769 w 8688923"/>
                <a:gd name="connsiteY11" fmla="*/ 788154 h 795903"/>
                <a:gd name="connsiteX12" fmla="*/ 7548924 w 8688923"/>
                <a:gd name="connsiteY12" fmla="*/ 779648 h 795903"/>
                <a:gd name="connsiteX13" fmla="*/ 8080919 w 8688923"/>
                <a:gd name="connsiteY13" fmla="*/ 771142 h 795903"/>
                <a:gd name="connsiteX14" fmla="*/ 8558642 w 8688923"/>
                <a:gd name="connsiteY14" fmla="*/ 737154 h 795903"/>
                <a:gd name="connsiteX15" fmla="*/ 8688923 w 8688923"/>
                <a:gd name="connsiteY15" fmla="*/ 754148 h 795903"/>
                <a:gd name="connsiteX16" fmla="*/ 8688923 w 8688923"/>
                <a:gd name="connsiteY16" fmla="*/ 133791 h 795903"/>
                <a:gd name="connsiteX17" fmla="*/ 8504347 w 8688923"/>
                <a:gd name="connsiteY17" fmla="*/ 65870 h 795903"/>
                <a:gd name="connsiteX18" fmla="*/ 7690051 w 8688923"/>
                <a:gd name="connsiteY18" fmla="*/ 14889 h 795903"/>
                <a:gd name="connsiteX19" fmla="*/ 7103760 w 8688923"/>
                <a:gd name="connsiteY19" fmla="*/ 108364 h 795903"/>
                <a:gd name="connsiteX20" fmla="*/ 6202610 w 8688923"/>
                <a:gd name="connsiteY20" fmla="*/ 201839 h 795903"/>
                <a:gd name="connsiteX21" fmla="*/ 5236319 w 8688923"/>
                <a:gd name="connsiteY21" fmla="*/ 201839 h 795903"/>
                <a:gd name="connsiteX22" fmla="*/ 3510029 w 8688923"/>
                <a:gd name="connsiteY22" fmla="*/ 193333 h 795903"/>
                <a:gd name="connsiteX23" fmla="*/ 2424301 w 8688923"/>
                <a:gd name="connsiteY23" fmla="*/ 65870 h 795903"/>
                <a:gd name="connsiteX24" fmla="*/ 632869 w 8688923"/>
                <a:gd name="connsiteY24" fmla="*/ 57364 h 795903"/>
                <a:gd name="connsiteX25" fmla="*/ 93047 w 8688923"/>
                <a:gd name="connsiteY25" fmla="*/ 66415 h 795903"/>
                <a:gd name="connsiteX0" fmla="*/ 91443 w 8687319"/>
                <a:gd name="connsiteY0" fmla="*/ 66415 h 795901"/>
                <a:gd name="connsiteX1" fmla="*/ 69505 w 8687319"/>
                <a:gd name="connsiteY1" fmla="*/ 350379 h 795901"/>
                <a:gd name="connsiteX2" fmla="*/ 66746 w 8687319"/>
                <a:gd name="connsiteY2" fmla="*/ 726571 h 795901"/>
                <a:gd name="connsiteX3" fmla="*/ 989528 w 8687319"/>
                <a:gd name="connsiteY3" fmla="*/ 754148 h 795901"/>
                <a:gd name="connsiteX4" fmla="*/ 1684387 w 8687319"/>
                <a:gd name="connsiteY4" fmla="*/ 788136 h 795901"/>
                <a:gd name="connsiteX5" fmla="*/ 2140397 w 8687319"/>
                <a:gd name="connsiteY5" fmla="*/ 728648 h 795901"/>
                <a:gd name="connsiteX6" fmla="*/ 2618119 w 8687319"/>
                <a:gd name="connsiteY6" fmla="*/ 728648 h 795901"/>
                <a:gd name="connsiteX7" fmla="*/ 3388988 w 8687319"/>
                <a:gd name="connsiteY7" fmla="*/ 771142 h 795901"/>
                <a:gd name="connsiteX8" fmla="*/ 4268424 w 8687319"/>
                <a:gd name="connsiteY8" fmla="*/ 754148 h 795901"/>
                <a:gd name="connsiteX9" fmla="*/ 4898142 w 8687319"/>
                <a:gd name="connsiteY9" fmla="*/ 762654 h 795901"/>
                <a:gd name="connsiteX10" fmla="*/ 5734152 w 8687319"/>
                <a:gd name="connsiteY10" fmla="*/ 762654 h 795901"/>
                <a:gd name="connsiteX11" fmla="*/ 6798165 w 8687319"/>
                <a:gd name="connsiteY11" fmla="*/ 788154 h 795901"/>
                <a:gd name="connsiteX12" fmla="*/ 7547320 w 8687319"/>
                <a:gd name="connsiteY12" fmla="*/ 779648 h 795901"/>
                <a:gd name="connsiteX13" fmla="*/ 8079315 w 8687319"/>
                <a:gd name="connsiteY13" fmla="*/ 771142 h 795901"/>
                <a:gd name="connsiteX14" fmla="*/ 8557038 w 8687319"/>
                <a:gd name="connsiteY14" fmla="*/ 737154 h 795901"/>
                <a:gd name="connsiteX15" fmla="*/ 8687319 w 8687319"/>
                <a:gd name="connsiteY15" fmla="*/ 754148 h 795901"/>
                <a:gd name="connsiteX16" fmla="*/ 8687319 w 8687319"/>
                <a:gd name="connsiteY16" fmla="*/ 133791 h 795901"/>
                <a:gd name="connsiteX17" fmla="*/ 8502743 w 8687319"/>
                <a:gd name="connsiteY17" fmla="*/ 65870 h 795901"/>
                <a:gd name="connsiteX18" fmla="*/ 7688447 w 8687319"/>
                <a:gd name="connsiteY18" fmla="*/ 14889 h 795901"/>
                <a:gd name="connsiteX19" fmla="*/ 7102156 w 8687319"/>
                <a:gd name="connsiteY19" fmla="*/ 108364 h 795901"/>
                <a:gd name="connsiteX20" fmla="*/ 6201006 w 8687319"/>
                <a:gd name="connsiteY20" fmla="*/ 201839 h 795901"/>
                <a:gd name="connsiteX21" fmla="*/ 5234715 w 8687319"/>
                <a:gd name="connsiteY21" fmla="*/ 201839 h 795901"/>
                <a:gd name="connsiteX22" fmla="*/ 3508425 w 8687319"/>
                <a:gd name="connsiteY22" fmla="*/ 193333 h 795901"/>
                <a:gd name="connsiteX23" fmla="*/ 2422697 w 8687319"/>
                <a:gd name="connsiteY23" fmla="*/ 65870 h 795901"/>
                <a:gd name="connsiteX24" fmla="*/ 631265 w 8687319"/>
                <a:gd name="connsiteY24" fmla="*/ 57364 h 795901"/>
                <a:gd name="connsiteX25" fmla="*/ 91443 w 8687319"/>
                <a:gd name="connsiteY25" fmla="*/ 66415 h 795901"/>
                <a:gd name="connsiteX0" fmla="*/ 91443 w 8687319"/>
                <a:gd name="connsiteY0" fmla="*/ 66415 h 795903"/>
                <a:gd name="connsiteX1" fmla="*/ 69505 w 8687319"/>
                <a:gd name="connsiteY1" fmla="*/ 350379 h 795903"/>
                <a:gd name="connsiteX2" fmla="*/ 66746 w 8687319"/>
                <a:gd name="connsiteY2" fmla="*/ 726571 h 795903"/>
                <a:gd name="connsiteX3" fmla="*/ 989528 w 8687319"/>
                <a:gd name="connsiteY3" fmla="*/ 754148 h 795903"/>
                <a:gd name="connsiteX4" fmla="*/ 1684387 w 8687319"/>
                <a:gd name="connsiteY4" fmla="*/ 788136 h 795903"/>
                <a:gd name="connsiteX5" fmla="*/ 2140397 w 8687319"/>
                <a:gd name="connsiteY5" fmla="*/ 728648 h 795903"/>
                <a:gd name="connsiteX6" fmla="*/ 2618119 w 8687319"/>
                <a:gd name="connsiteY6" fmla="*/ 728648 h 795903"/>
                <a:gd name="connsiteX7" fmla="*/ 3388988 w 8687319"/>
                <a:gd name="connsiteY7" fmla="*/ 771142 h 795903"/>
                <a:gd name="connsiteX8" fmla="*/ 4268424 w 8687319"/>
                <a:gd name="connsiteY8" fmla="*/ 754148 h 795903"/>
                <a:gd name="connsiteX9" fmla="*/ 4898142 w 8687319"/>
                <a:gd name="connsiteY9" fmla="*/ 762654 h 795903"/>
                <a:gd name="connsiteX10" fmla="*/ 5734152 w 8687319"/>
                <a:gd name="connsiteY10" fmla="*/ 762654 h 795903"/>
                <a:gd name="connsiteX11" fmla="*/ 6798165 w 8687319"/>
                <a:gd name="connsiteY11" fmla="*/ 788154 h 795903"/>
                <a:gd name="connsiteX12" fmla="*/ 7547320 w 8687319"/>
                <a:gd name="connsiteY12" fmla="*/ 779648 h 795903"/>
                <a:gd name="connsiteX13" fmla="*/ 8079315 w 8687319"/>
                <a:gd name="connsiteY13" fmla="*/ 771142 h 795903"/>
                <a:gd name="connsiteX14" fmla="*/ 8557038 w 8687319"/>
                <a:gd name="connsiteY14" fmla="*/ 737154 h 795903"/>
                <a:gd name="connsiteX15" fmla="*/ 8687319 w 8687319"/>
                <a:gd name="connsiteY15" fmla="*/ 754148 h 795903"/>
                <a:gd name="connsiteX16" fmla="*/ 8687319 w 8687319"/>
                <a:gd name="connsiteY16" fmla="*/ 133791 h 795903"/>
                <a:gd name="connsiteX17" fmla="*/ 8502743 w 8687319"/>
                <a:gd name="connsiteY17" fmla="*/ 65870 h 795903"/>
                <a:gd name="connsiteX18" fmla="*/ 7688447 w 8687319"/>
                <a:gd name="connsiteY18" fmla="*/ 14889 h 795903"/>
                <a:gd name="connsiteX19" fmla="*/ 7102156 w 8687319"/>
                <a:gd name="connsiteY19" fmla="*/ 108364 h 795903"/>
                <a:gd name="connsiteX20" fmla="*/ 6201006 w 8687319"/>
                <a:gd name="connsiteY20" fmla="*/ 201839 h 795903"/>
                <a:gd name="connsiteX21" fmla="*/ 5234715 w 8687319"/>
                <a:gd name="connsiteY21" fmla="*/ 201839 h 795903"/>
                <a:gd name="connsiteX22" fmla="*/ 3508425 w 8687319"/>
                <a:gd name="connsiteY22" fmla="*/ 193333 h 795903"/>
                <a:gd name="connsiteX23" fmla="*/ 2422697 w 8687319"/>
                <a:gd name="connsiteY23" fmla="*/ 65870 h 795903"/>
                <a:gd name="connsiteX24" fmla="*/ 631265 w 8687319"/>
                <a:gd name="connsiteY24" fmla="*/ 57364 h 795903"/>
                <a:gd name="connsiteX25" fmla="*/ 91443 w 8687319"/>
                <a:gd name="connsiteY25" fmla="*/ 66415 h 795903"/>
                <a:gd name="connsiteX0" fmla="*/ 87616 w 8683492"/>
                <a:gd name="connsiteY0" fmla="*/ 66415 h 795901"/>
                <a:gd name="connsiteX1" fmla="*/ 65678 w 8683492"/>
                <a:gd name="connsiteY1" fmla="*/ 350379 h 795901"/>
                <a:gd name="connsiteX2" fmla="*/ 80340 w 8683492"/>
                <a:gd name="connsiteY2" fmla="*/ 609625 h 795901"/>
                <a:gd name="connsiteX3" fmla="*/ 62919 w 8683492"/>
                <a:gd name="connsiteY3" fmla="*/ 726571 h 795901"/>
                <a:gd name="connsiteX4" fmla="*/ 985701 w 8683492"/>
                <a:gd name="connsiteY4" fmla="*/ 754148 h 795901"/>
                <a:gd name="connsiteX5" fmla="*/ 1680560 w 8683492"/>
                <a:gd name="connsiteY5" fmla="*/ 788136 h 795901"/>
                <a:gd name="connsiteX6" fmla="*/ 2136570 w 8683492"/>
                <a:gd name="connsiteY6" fmla="*/ 728648 h 795901"/>
                <a:gd name="connsiteX7" fmla="*/ 2614292 w 8683492"/>
                <a:gd name="connsiteY7" fmla="*/ 728648 h 795901"/>
                <a:gd name="connsiteX8" fmla="*/ 3385161 w 8683492"/>
                <a:gd name="connsiteY8" fmla="*/ 771142 h 795901"/>
                <a:gd name="connsiteX9" fmla="*/ 4264597 w 8683492"/>
                <a:gd name="connsiteY9" fmla="*/ 754148 h 795901"/>
                <a:gd name="connsiteX10" fmla="*/ 4894315 w 8683492"/>
                <a:gd name="connsiteY10" fmla="*/ 762654 h 795901"/>
                <a:gd name="connsiteX11" fmla="*/ 5730325 w 8683492"/>
                <a:gd name="connsiteY11" fmla="*/ 762654 h 795901"/>
                <a:gd name="connsiteX12" fmla="*/ 6794338 w 8683492"/>
                <a:gd name="connsiteY12" fmla="*/ 788154 h 795901"/>
                <a:gd name="connsiteX13" fmla="*/ 7543493 w 8683492"/>
                <a:gd name="connsiteY13" fmla="*/ 779648 h 795901"/>
                <a:gd name="connsiteX14" fmla="*/ 8075488 w 8683492"/>
                <a:gd name="connsiteY14" fmla="*/ 771142 h 795901"/>
                <a:gd name="connsiteX15" fmla="*/ 8553211 w 8683492"/>
                <a:gd name="connsiteY15" fmla="*/ 737154 h 795901"/>
                <a:gd name="connsiteX16" fmla="*/ 8683492 w 8683492"/>
                <a:gd name="connsiteY16" fmla="*/ 754148 h 795901"/>
                <a:gd name="connsiteX17" fmla="*/ 8683492 w 8683492"/>
                <a:gd name="connsiteY17" fmla="*/ 133791 h 795901"/>
                <a:gd name="connsiteX18" fmla="*/ 8498916 w 8683492"/>
                <a:gd name="connsiteY18" fmla="*/ 65870 h 795901"/>
                <a:gd name="connsiteX19" fmla="*/ 7684620 w 8683492"/>
                <a:gd name="connsiteY19" fmla="*/ 14889 h 795901"/>
                <a:gd name="connsiteX20" fmla="*/ 7098329 w 8683492"/>
                <a:gd name="connsiteY20" fmla="*/ 108364 h 795901"/>
                <a:gd name="connsiteX21" fmla="*/ 6197179 w 8683492"/>
                <a:gd name="connsiteY21" fmla="*/ 201839 h 795901"/>
                <a:gd name="connsiteX22" fmla="*/ 5230888 w 8683492"/>
                <a:gd name="connsiteY22" fmla="*/ 201839 h 795901"/>
                <a:gd name="connsiteX23" fmla="*/ 3504598 w 8683492"/>
                <a:gd name="connsiteY23" fmla="*/ 193333 h 795901"/>
                <a:gd name="connsiteX24" fmla="*/ 2418870 w 8683492"/>
                <a:gd name="connsiteY24" fmla="*/ 65870 h 795901"/>
                <a:gd name="connsiteX25" fmla="*/ 627438 w 8683492"/>
                <a:gd name="connsiteY25" fmla="*/ 57364 h 795901"/>
                <a:gd name="connsiteX26" fmla="*/ 87616 w 8683492"/>
                <a:gd name="connsiteY26" fmla="*/ 66415 h 795901"/>
                <a:gd name="connsiteX0" fmla="*/ 84495 w 8680371"/>
                <a:gd name="connsiteY0" fmla="*/ 66415 h 795903"/>
                <a:gd name="connsiteX1" fmla="*/ 62557 w 8680371"/>
                <a:gd name="connsiteY1" fmla="*/ 350379 h 795903"/>
                <a:gd name="connsiteX2" fmla="*/ 77219 w 8680371"/>
                <a:gd name="connsiteY2" fmla="*/ 609625 h 795903"/>
                <a:gd name="connsiteX3" fmla="*/ 89436 w 8680371"/>
                <a:gd name="connsiteY3" fmla="*/ 686441 h 795903"/>
                <a:gd name="connsiteX4" fmla="*/ 59798 w 8680371"/>
                <a:gd name="connsiteY4" fmla="*/ 726571 h 795903"/>
                <a:gd name="connsiteX5" fmla="*/ 982580 w 8680371"/>
                <a:gd name="connsiteY5" fmla="*/ 754148 h 795903"/>
                <a:gd name="connsiteX6" fmla="*/ 1677439 w 8680371"/>
                <a:gd name="connsiteY6" fmla="*/ 788136 h 795903"/>
                <a:gd name="connsiteX7" fmla="*/ 2133449 w 8680371"/>
                <a:gd name="connsiteY7" fmla="*/ 728648 h 795903"/>
                <a:gd name="connsiteX8" fmla="*/ 2611171 w 8680371"/>
                <a:gd name="connsiteY8" fmla="*/ 728648 h 795903"/>
                <a:gd name="connsiteX9" fmla="*/ 3382040 w 8680371"/>
                <a:gd name="connsiteY9" fmla="*/ 771142 h 795903"/>
                <a:gd name="connsiteX10" fmla="*/ 4261476 w 8680371"/>
                <a:gd name="connsiteY10" fmla="*/ 754148 h 795903"/>
                <a:gd name="connsiteX11" fmla="*/ 4891194 w 8680371"/>
                <a:gd name="connsiteY11" fmla="*/ 762654 h 795903"/>
                <a:gd name="connsiteX12" fmla="*/ 5727204 w 8680371"/>
                <a:gd name="connsiteY12" fmla="*/ 762654 h 795903"/>
                <a:gd name="connsiteX13" fmla="*/ 6791217 w 8680371"/>
                <a:gd name="connsiteY13" fmla="*/ 788154 h 795903"/>
                <a:gd name="connsiteX14" fmla="*/ 7540372 w 8680371"/>
                <a:gd name="connsiteY14" fmla="*/ 779648 h 795903"/>
                <a:gd name="connsiteX15" fmla="*/ 8072367 w 8680371"/>
                <a:gd name="connsiteY15" fmla="*/ 771142 h 795903"/>
                <a:gd name="connsiteX16" fmla="*/ 8550090 w 8680371"/>
                <a:gd name="connsiteY16" fmla="*/ 737154 h 795903"/>
                <a:gd name="connsiteX17" fmla="*/ 8680371 w 8680371"/>
                <a:gd name="connsiteY17" fmla="*/ 754148 h 795903"/>
                <a:gd name="connsiteX18" fmla="*/ 8680371 w 8680371"/>
                <a:gd name="connsiteY18" fmla="*/ 133791 h 795903"/>
                <a:gd name="connsiteX19" fmla="*/ 8495795 w 8680371"/>
                <a:gd name="connsiteY19" fmla="*/ 65870 h 795903"/>
                <a:gd name="connsiteX20" fmla="*/ 7681499 w 8680371"/>
                <a:gd name="connsiteY20" fmla="*/ 14889 h 795903"/>
                <a:gd name="connsiteX21" fmla="*/ 7095208 w 8680371"/>
                <a:gd name="connsiteY21" fmla="*/ 108364 h 795903"/>
                <a:gd name="connsiteX22" fmla="*/ 6194058 w 8680371"/>
                <a:gd name="connsiteY22" fmla="*/ 201839 h 795903"/>
                <a:gd name="connsiteX23" fmla="*/ 5227767 w 8680371"/>
                <a:gd name="connsiteY23" fmla="*/ 201839 h 795903"/>
                <a:gd name="connsiteX24" fmla="*/ 3501477 w 8680371"/>
                <a:gd name="connsiteY24" fmla="*/ 193333 h 795903"/>
                <a:gd name="connsiteX25" fmla="*/ 2415749 w 8680371"/>
                <a:gd name="connsiteY25" fmla="*/ 65870 h 795903"/>
                <a:gd name="connsiteX26" fmla="*/ 624317 w 8680371"/>
                <a:gd name="connsiteY26" fmla="*/ 57364 h 795903"/>
                <a:gd name="connsiteX27" fmla="*/ 84495 w 8680371"/>
                <a:gd name="connsiteY27" fmla="*/ 66415 h 795903"/>
                <a:gd name="connsiteX0" fmla="*/ 58632 w 8654508"/>
                <a:gd name="connsiteY0" fmla="*/ 66415 h 847530"/>
                <a:gd name="connsiteX1" fmla="*/ 36694 w 8654508"/>
                <a:gd name="connsiteY1" fmla="*/ 350379 h 847530"/>
                <a:gd name="connsiteX2" fmla="*/ 51356 w 8654508"/>
                <a:gd name="connsiteY2" fmla="*/ 609625 h 847530"/>
                <a:gd name="connsiteX3" fmla="*/ 63573 w 8654508"/>
                <a:gd name="connsiteY3" fmla="*/ 686441 h 847530"/>
                <a:gd name="connsiteX4" fmla="*/ 99916 w 8654508"/>
                <a:gd name="connsiteY4" fmla="*/ 846591 h 847530"/>
                <a:gd name="connsiteX5" fmla="*/ 956717 w 8654508"/>
                <a:gd name="connsiteY5" fmla="*/ 754148 h 847530"/>
                <a:gd name="connsiteX6" fmla="*/ 1651576 w 8654508"/>
                <a:gd name="connsiteY6" fmla="*/ 788136 h 847530"/>
                <a:gd name="connsiteX7" fmla="*/ 2107586 w 8654508"/>
                <a:gd name="connsiteY7" fmla="*/ 728648 h 847530"/>
                <a:gd name="connsiteX8" fmla="*/ 2585308 w 8654508"/>
                <a:gd name="connsiteY8" fmla="*/ 728648 h 847530"/>
                <a:gd name="connsiteX9" fmla="*/ 3356177 w 8654508"/>
                <a:gd name="connsiteY9" fmla="*/ 771142 h 847530"/>
                <a:gd name="connsiteX10" fmla="*/ 4235613 w 8654508"/>
                <a:gd name="connsiteY10" fmla="*/ 754148 h 847530"/>
                <a:gd name="connsiteX11" fmla="*/ 4865331 w 8654508"/>
                <a:gd name="connsiteY11" fmla="*/ 762654 h 847530"/>
                <a:gd name="connsiteX12" fmla="*/ 5701341 w 8654508"/>
                <a:gd name="connsiteY12" fmla="*/ 762654 h 847530"/>
                <a:gd name="connsiteX13" fmla="*/ 6765354 w 8654508"/>
                <a:gd name="connsiteY13" fmla="*/ 788154 h 847530"/>
                <a:gd name="connsiteX14" fmla="*/ 7514509 w 8654508"/>
                <a:gd name="connsiteY14" fmla="*/ 779648 h 847530"/>
                <a:gd name="connsiteX15" fmla="*/ 8046504 w 8654508"/>
                <a:gd name="connsiteY15" fmla="*/ 771142 h 847530"/>
                <a:gd name="connsiteX16" fmla="*/ 8524227 w 8654508"/>
                <a:gd name="connsiteY16" fmla="*/ 737154 h 847530"/>
                <a:gd name="connsiteX17" fmla="*/ 8654508 w 8654508"/>
                <a:gd name="connsiteY17" fmla="*/ 754148 h 847530"/>
                <a:gd name="connsiteX18" fmla="*/ 8654508 w 8654508"/>
                <a:gd name="connsiteY18" fmla="*/ 133791 h 847530"/>
                <a:gd name="connsiteX19" fmla="*/ 8469932 w 8654508"/>
                <a:gd name="connsiteY19" fmla="*/ 65870 h 847530"/>
                <a:gd name="connsiteX20" fmla="*/ 7655636 w 8654508"/>
                <a:gd name="connsiteY20" fmla="*/ 14889 h 847530"/>
                <a:gd name="connsiteX21" fmla="*/ 7069345 w 8654508"/>
                <a:gd name="connsiteY21" fmla="*/ 108364 h 847530"/>
                <a:gd name="connsiteX22" fmla="*/ 6168195 w 8654508"/>
                <a:gd name="connsiteY22" fmla="*/ 201839 h 847530"/>
                <a:gd name="connsiteX23" fmla="*/ 5201904 w 8654508"/>
                <a:gd name="connsiteY23" fmla="*/ 201839 h 847530"/>
                <a:gd name="connsiteX24" fmla="*/ 3475614 w 8654508"/>
                <a:gd name="connsiteY24" fmla="*/ 193333 h 847530"/>
                <a:gd name="connsiteX25" fmla="*/ 2389886 w 8654508"/>
                <a:gd name="connsiteY25" fmla="*/ 65870 h 847530"/>
                <a:gd name="connsiteX26" fmla="*/ 598454 w 8654508"/>
                <a:gd name="connsiteY26" fmla="*/ 57364 h 847530"/>
                <a:gd name="connsiteX27" fmla="*/ 58632 w 8654508"/>
                <a:gd name="connsiteY27" fmla="*/ 66415 h 847530"/>
                <a:gd name="connsiteX0" fmla="*/ 54170 w 8650046"/>
                <a:gd name="connsiteY0" fmla="*/ 66415 h 847528"/>
                <a:gd name="connsiteX1" fmla="*/ 20012 w 8650046"/>
                <a:gd name="connsiteY1" fmla="*/ 139144 h 847528"/>
                <a:gd name="connsiteX2" fmla="*/ 32232 w 8650046"/>
                <a:gd name="connsiteY2" fmla="*/ 350379 h 847528"/>
                <a:gd name="connsiteX3" fmla="*/ 46894 w 8650046"/>
                <a:gd name="connsiteY3" fmla="*/ 609625 h 847528"/>
                <a:gd name="connsiteX4" fmla="*/ 59111 w 8650046"/>
                <a:gd name="connsiteY4" fmla="*/ 686441 h 847528"/>
                <a:gd name="connsiteX5" fmla="*/ 95454 w 8650046"/>
                <a:gd name="connsiteY5" fmla="*/ 846591 h 847528"/>
                <a:gd name="connsiteX6" fmla="*/ 952255 w 8650046"/>
                <a:gd name="connsiteY6" fmla="*/ 754148 h 847528"/>
                <a:gd name="connsiteX7" fmla="*/ 1647114 w 8650046"/>
                <a:gd name="connsiteY7" fmla="*/ 788136 h 847528"/>
                <a:gd name="connsiteX8" fmla="*/ 2103124 w 8650046"/>
                <a:gd name="connsiteY8" fmla="*/ 728648 h 847528"/>
                <a:gd name="connsiteX9" fmla="*/ 2580846 w 8650046"/>
                <a:gd name="connsiteY9" fmla="*/ 728648 h 847528"/>
                <a:gd name="connsiteX10" fmla="*/ 3351715 w 8650046"/>
                <a:gd name="connsiteY10" fmla="*/ 771142 h 847528"/>
                <a:gd name="connsiteX11" fmla="*/ 4231151 w 8650046"/>
                <a:gd name="connsiteY11" fmla="*/ 754148 h 847528"/>
                <a:gd name="connsiteX12" fmla="*/ 4860869 w 8650046"/>
                <a:gd name="connsiteY12" fmla="*/ 762654 h 847528"/>
                <a:gd name="connsiteX13" fmla="*/ 5696879 w 8650046"/>
                <a:gd name="connsiteY13" fmla="*/ 762654 h 847528"/>
                <a:gd name="connsiteX14" fmla="*/ 6760892 w 8650046"/>
                <a:gd name="connsiteY14" fmla="*/ 788154 h 847528"/>
                <a:gd name="connsiteX15" fmla="*/ 7510047 w 8650046"/>
                <a:gd name="connsiteY15" fmla="*/ 779648 h 847528"/>
                <a:gd name="connsiteX16" fmla="*/ 8042042 w 8650046"/>
                <a:gd name="connsiteY16" fmla="*/ 771142 h 847528"/>
                <a:gd name="connsiteX17" fmla="*/ 8519765 w 8650046"/>
                <a:gd name="connsiteY17" fmla="*/ 737154 h 847528"/>
                <a:gd name="connsiteX18" fmla="*/ 8650046 w 8650046"/>
                <a:gd name="connsiteY18" fmla="*/ 754148 h 847528"/>
                <a:gd name="connsiteX19" fmla="*/ 8650046 w 8650046"/>
                <a:gd name="connsiteY19" fmla="*/ 133791 h 847528"/>
                <a:gd name="connsiteX20" fmla="*/ 8465470 w 8650046"/>
                <a:gd name="connsiteY20" fmla="*/ 65870 h 847528"/>
                <a:gd name="connsiteX21" fmla="*/ 7651174 w 8650046"/>
                <a:gd name="connsiteY21" fmla="*/ 14889 h 847528"/>
                <a:gd name="connsiteX22" fmla="*/ 7064883 w 8650046"/>
                <a:gd name="connsiteY22" fmla="*/ 108364 h 847528"/>
                <a:gd name="connsiteX23" fmla="*/ 6163733 w 8650046"/>
                <a:gd name="connsiteY23" fmla="*/ 201839 h 847528"/>
                <a:gd name="connsiteX24" fmla="*/ 5197442 w 8650046"/>
                <a:gd name="connsiteY24" fmla="*/ 201839 h 847528"/>
                <a:gd name="connsiteX25" fmla="*/ 3471152 w 8650046"/>
                <a:gd name="connsiteY25" fmla="*/ 193333 h 847528"/>
                <a:gd name="connsiteX26" fmla="*/ 2385424 w 8650046"/>
                <a:gd name="connsiteY26" fmla="*/ 65870 h 847528"/>
                <a:gd name="connsiteX27" fmla="*/ 593992 w 8650046"/>
                <a:gd name="connsiteY27" fmla="*/ 57364 h 847528"/>
                <a:gd name="connsiteX28" fmla="*/ 54170 w 8650046"/>
                <a:gd name="connsiteY28" fmla="*/ 66415 h 847528"/>
                <a:gd name="connsiteX0" fmla="*/ 54170 w 8650046"/>
                <a:gd name="connsiteY0" fmla="*/ 66415 h 847530"/>
                <a:gd name="connsiteX1" fmla="*/ 20012 w 8650046"/>
                <a:gd name="connsiteY1" fmla="*/ 139144 h 847530"/>
                <a:gd name="connsiteX2" fmla="*/ 32232 w 8650046"/>
                <a:gd name="connsiteY2" fmla="*/ 350379 h 847530"/>
                <a:gd name="connsiteX3" fmla="*/ 46894 w 8650046"/>
                <a:gd name="connsiteY3" fmla="*/ 609625 h 847530"/>
                <a:gd name="connsiteX4" fmla="*/ 59111 w 8650046"/>
                <a:gd name="connsiteY4" fmla="*/ 686441 h 847530"/>
                <a:gd name="connsiteX5" fmla="*/ 95454 w 8650046"/>
                <a:gd name="connsiteY5" fmla="*/ 846591 h 847530"/>
                <a:gd name="connsiteX6" fmla="*/ 952255 w 8650046"/>
                <a:gd name="connsiteY6" fmla="*/ 754148 h 847530"/>
                <a:gd name="connsiteX7" fmla="*/ 1647114 w 8650046"/>
                <a:gd name="connsiteY7" fmla="*/ 788136 h 847530"/>
                <a:gd name="connsiteX8" fmla="*/ 2103124 w 8650046"/>
                <a:gd name="connsiteY8" fmla="*/ 728648 h 847530"/>
                <a:gd name="connsiteX9" fmla="*/ 2580846 w 8650046"/>
                <a:gd name="connsiteY9" fmla="*/ 728648 h 847530"/>
                <a:gd name="connsiteX10" fmla="*/ 3351715 w 8650046"/>
                <a:gd name="connsiteY10" fmla="*/ 771142 h 847530"/>
                <a:gd name="connsiteX11" fmla="*/ 4231151 w 8650046"/>
                <a:gd name="connsiteY11" fmla="*/ 754148 h 847530"/>
                <a:gd name="connsiteX12" fmla="*/ 4860869 w 8650046"/>
                <a:gd name="connsiteY12" fmla="*/ 762654 h 847530"/>
                <a:gd name="connsiteX13" fmla="*/ 5696879 w 8650046"/>
                <a:gd name="connsiteY13" fmla="*/ 762654 h 847530"/>
                <a:gd name="connsiteX14" fmla="*/ 6760892 w 8650046"/>
                <a:gd name="connsiteY14" fmla="*/ 788154 h 847530"/>
                <a:gd name="connsiteX15" fmla="*/ 7510047 w 8650046"/>
                <a:gd name="connsiteY15" fmla="*/ 779648 h 847530"/>
                <a:gd name="connsiteX16" fmla="*/ 8042042 w 8650046"/>
                <a:gd name="connsiteY16" fmla="*/ 771142 h 847530"/>
                <a:gd name="connsiteX17" fmla="*/ 8519765 w 8650046"/>
                <a:gd name="connsiteY17" fmla="*/ 737154 h 847530"/>
                <a:gd name="connsiteX18" fmla="*/ 8650046 w 8650046"/>
                <a:gd name="connsiteY18" fmla="*/ 754148 h 847530"/>
                <a:gd name="connsiteX19" fmla="*/ 8650046 w 8650046"/>
                <a:gd name="connsiteY19" fmla="*/ 133791 h 847530"/>
                <a:gd name="connsiteX20" fmla="*/ 8465470 w 8650046"/>
                <a:gd name="connsiteY20" fmla="*/ 65870 h 847530"/>
                <a:gd name="connsiteX21" fmla="*/ 7651174 w 8650046"/>
                <a:gd name="connsiteY21" fmla="*/ 14889 h 847530"/>
                <a:gd name="connsiteX22" fmla="*/ 7064883 w 8650046"/>
                <a:gd name="connsiteY22" fmla="*/ 108364 h 847530"/>
                <a:gd name="connsiteX23" fmla="*/ 6163733 w 8650046"/>
                <a:gd name="connsiteY23" fmla="*/ 201839 h 847530"/>
                <a:gd name="connsiteX24" fmla="*/ 5197442 w 8650046"/>
                <a:gd name="connsiteY24" fmla="*/ 201839 h 847530"/>
                <a:gd name="connsiteX25" fmla="*/ 3471152 w 8650046"/>
                <a:gd name="connsiteY25" fmla="*/ 193333 h 847530"/>
                <a:gd name="connsiteX26" fmla="*/ 2385424 w 8650046"/>
                <a:gd name="connsiteY26" fmla="*/ 65870 h 847530"/>
                <a:gd name="connsiteX27" fmla="*/ 593992 w 8650046"/>
                <a:gd name="connsiteY27" fmla="*/ 57364 h 847530"/>
                <a:gd name="connsiteX28" fmla="*/ 54170 w 8650046"/>
                <a:gd name="connsiteY28" fmla="*/ 66415 h 847530"/>
                <a:gd name="connsiteX0" fmla="*/ 48208 w 8644084"/>
                <a:gd name="connsiteY0" fmla="*/ 66415 h 847528"/>
                <a:gd name="connsiteX1" fmla="*/ 14050 w 8644084"/>
                <a:gd name="connsiteY1" fmla="*/ 139144 h 847528"/>
                <a:gd name="connsiteX2" fmla="*/ 26270 w 8644084"/>
                <a:gd name="connsiteY2" fmla="*/ 350379 h 847528"/>
                <a:gd name="connsiteX3" fmla="*/ 40932 w 8644084"/>
                <a:gd name="connsiteY3" fmla="*/ 609625 h 847528"/>
                <a:gd name="connsiteX4" fmla="*/ 53149 w 8644084"/>
                <a:gd name="connsiteY4" fmla="*/ 686441 h 847528"/>
                <a:gd name="connsiteX5" fmla="*/ 89492 w 8644084"/>
                <a:gd name="connsiteY5" fmla="*/ 846591 h 847528"/>
                <a:gd name="connsiteX6" fmla="*/ 946293 w 8644084"/>
                <a:gd name="connsiteY6" fmla="*/ 754148 h 847528"/>
                <a:gd name="connsiteX7" fmla="*/ 1641152 w 8644084"/>
                <a:gd name="connsiteY7" fmla="*/ 788136 h 847528"/>
                <a:gd name="connsiteX8" fmla="*/ 2097162 w 8644084"/>
                <a:gd name="connsiteY8" fmla="*/ 728648 h 847528"/>
                <a:gd name="connsiteX9" fmla="*/ 2574884 w 8644084"/>
                <a:gd name="connsiteY9" fmla="*/ 728648 h 847528"/>
                <a:gd name="connsiteX10" fmla="*/ 3345753 w 8644084"/>
                <a:gd name="connsiteY10" fmla="*/ 771142 h 847528"/>
                <a:gd name="connsiteX11" fmla="*/ 4225189 w 8644084"/>
                <a:gd name="connsiteY11" fmla="*/ 754148 h 847528"/>
                <a:gd name="connsiteX12" fmla="*/ 4854907 w 8644084"/>
                <a:gd name="connsiteY12" fmla="*/ 762654 h 847528"/>
                <a:gd name="connsiteX13" fmla="*/ 5690917 w 8644084"/>
                <a:gd name="connsiteY13" fmla="*/ 762654 h 847528"/>
                <a:gd name="connsiteX14" fmla="*/ 6754930 w 8644084"/>
                <a:gd name="connsiteY14" fmla="*/ 788154 h 847528"/>
                <a:gd name="connsiteX15" fmla="*/ 7504085 w 8644084"/>
                <a:gd name="connsiteY15" fmla="*/ 779648 h 847528"/>
                <a:gd name="connsiteX16" fmla="*/ 8036080 w 8644084"/>
                <a:gd name="connsiteY16" fmla="*/ 771142 h 847528"/>
                <a:gd name="connsiteX17" fmla="*/ 8513803 w 8644084"/>
                <a:gd name="connsiteY17" fmla="*/ 737154 h 847528"/>
                <a:gd name="connsiteX18" fmla="*/ 8644084 w 8644084"/>
                <a:gd name="connsiteY18" fmla="*/ 754148 h 847528"/>
                <a:gd name="connsiteX19" fmla="*/ 8644084 w 8644084"/>
                <a:gd name="connsiteY19" fmla="*/ 133791 h 847528"/>
                <a:gd name="connsiteX20" fmla="*/ 8459508 w 8644084"/>
                <a:gd name="connsiteY20" fmla="*/ 65870 h 847528"/>
                <a:gd name="connsiteX21" fmla="*/ 7645212 w 8644084"/>
                <a:gd name="connsiteY21" fmla="*/ 14889 h 847528"/>
                <a:gd name="connsiteX22" fmla="*/ 7058921 w 8644084"/>
                <a:gd name="connsiteY22" fmla="*/ 108364 h 847528"/>
                <a:gd name="connsiteX23" fmla="*/ 6157771 w 8644084"/>
                <a:gd name="connsiteY23" fmla="*/ 201839 h 847528"/>
                <a:gd name="connsiteX24" fmla="*/ 5191480 w 8644084"/>
                <a:gd name="connsiteY24" fmla="*/ 201839 h 847528"/>
                <a:gd name="connsiteX25" fmla="*/ 3465190 w 8644084"/>
                <a:gd name="connsiteY25" fmla="*/ 193333 h 847528"/>
                <a:gd name="connsiteX26" fmla="*/ 2379462 w 8644084"/>
                <a:gd name="connsiteY26" fmla="*/ 65870 h 847528"/>
                <a:gd name="connsiteX27" fmla="*/ 588030 w 8644084"/>
                <a:gd name="connsiteY27" fmla="*/ 57364 h 847528"/>
                <a:gd name="connsiteX28" fmla="*/ 48208 w 8644084"/>
                <a:gd name="connsiteY28" fmla="*/ 66415 h 847528"/>
                <a:gd name="connsiteX0" fmla="*/ 39893 w 8635769"/>
                <a:gd name="connsiteY0" fmla="*/ 66415 h 847530"/>
                <a:gd name="connsiteX1" fmla="*/ 5735 w 8635769"/>
                <a:gd name="connsiteY1" fmla="*/ 139144 h 847530"/>
                <a:gd name="connsiteX2" fmla="*/ 17955 w 8635769"/>
                <a:gd name="connsiteY2" fmla="*/ 350379 h 847530"/>
                <a:gd name="connsiteX3" fmla="*/ 32617 w 8635769"/>
                <a:gd name="connsiteY3" fmla="*/ 609625 h 847530"/>
                <a:gd name="connsiteX4" fmla="*/ 44834 w 8635769"/>
                <a:gd name="connsiteY4" fmla="*/ 686441 h 847530"/>
                <a:gd name="connsiteX5" fmla="*/ 81177 w 8635769"/>
                <a:gd name="connsiteY5" fmla="*/ 846591 h 847530"/>
                <a:gd name="connsiteX6" fmla="*/ 937978 w 8635769"/>
                <a:gd name="connsiteY6" fmla="*/ 754148 h 847530"/>
                <a:gd name="connsiteX7" fmla="*/ 1632837 w 8635769"/>
                <a:gd name="connsiteY7" fmla="*/ 788136 h 847530"/>
                <a:gd name="connsiteX8" fmla="*/ 2088847 w 8635769"/>
                <a:gd name="connsiteY8" fmla="*/ 728648 h 847530"/>
                <a:gd name="connsiteX9" fmla="*/ 2566569 w 8635769"/>
                <a:gd name="connsiteY9" fmla="*/ 728648 h 847530"/>
                <a:gd name="connsiteX10" fmla="*/ 3337438 w 8635769"/>
                <a:gd name="connsiteY10" fmla="*/ 771142 h 847530"/>
                <a:gd name="connsiteX11" fmla="*/ 4216874 w 8635769"/>
                <a:gd name="connsiteY11" fmla="*/ 754148 h 847530"/>
                <a:gd name="connsiteX12" fmla="*/ 4846592 w 8635769"/>
                <a:gd name="connsiteY12" fmla="*/ 762654 h 847530"/>
                <a:gd name="connsiteX13" fmla="*/ 5682602 w 8635769"/>
                <a:gd name="connsiteY13" fmla="*/ 762654 h 847530"/>
                <a:gd name="connsiteX14" fmla="*/ 6746615 w 8635769"/>
                <a:gd name="connsiteY14" fmla="*/ 788154 h 847530"/>
                <a:gd name="connsiteX15" fmla="*/ 7495770 w 8635769"/>
                <a:gd name="connsiteY15" fmla="*/ 779648 h 847530"/>
                <a:gd name="connsiteX16" fmla="*/ 8027765 w 8635769"/>
                <a:gd name="connsiteY16" fmla="*/ 771142 h 847530"/>
                <a:gd name="connsiteX17" fmla="*/ 8505488 w 8635769"/>
                <a:gd name="connsiteY17" fmla="*/ 737154 h 847530"/>
                <a:gd name="connsiteX18" fmla="*/ 8635769 w 8635769"/>
                <a:gd name="connsiteY18" fmla="*/ 754148 h 847530"/>
                <a:gd name="connsiteX19" fmla="*/ 8635769 w 8635769"/>
                <a:gd name="connsiteY19" fmla="*/ 133791 h 847530"/>
                <a:gd name="connsiteX20" fmla="*/ 8451193 w 8635769"/>
                <a:gd name="connsiteY20" fmla="*/ 65870 h 847530"/>
                <a:gd name="connsiteX21" fmla="*/ 7636897 w 8635769"/>
                <a:gd name="connsiteY21" fmla="*/ 14889 h 847530"/>
                <a:gd name="connsiteX22" fmla="*/ 7050606 w 8635769"/>
                <a:gd name="connsiteY22" fmla="*/ 108364 h 847530"/>
                <a:gd name="connsiteX23" fmla="*/ 6149456 w 8635769"/>
                <a:gd name="connsiteY23" fmla="*/ 201839 h 847530"/>
                <a:gd name="connsiteX24" fmla="*/ 5183165 w 8635769"/>
                <a:gd name="connsiteY24" fmla="*/ 201839 h 847530"/>
                <a:gd name="connsiteX25" fmla="*/ 3456875 w 8635769"/>
                <a:gd name="connsiteY25" fmla="*/ 193333 h 847530"/>
                <a:gd name="connsiteX26" fmla="*/ 2371147 w 8635769"/>
                <a:gd name="connsiteY26" fmla="*/ 65870 h 847530"/>
                <a:gd name="connsiteX27" fmla="*/ 579715 w 8635769"/>
                <a:gd name="connsiteY27" fmla="*/ 57364 h 847530"/>
                <a:gd name="connsiteX28" fmla="*/ 39893 w 8635769"/>
                <a:gd name="connsiteY28" fmla="*/ 66415 h 847530"/>
                <a:gd name="connsiteX0" fmla="*/ 39893 w 8635769"/>
                <a:gd name="connsiteY0" fmla="*/ 66415 h 847528"/>
                <a:gd name="connsiteX1" fmla="*/ 5735 w 8635769"/>
                <a:gd name="connsiteY1" fmla="*/ 139144 h 847528"/>
                <a:gd name="connsiteX2" fmla="*/ 17955 w 8635769"/>
                <a:gd name="connsiteY2" fmla="*/ 350379 h 847528"/>
                <a:gd name="connsiteX3" fmla="*/ 32617 w 8635769"/>
                <a:gd name="connsiteY3" fmla="*/ 609625 h 847528"/>
                <a:gd name="connsiteX4" fmla="*/ 44834 w 8635769"/>
                <a:gd name="connsiteY4" fmla="*/ 686441 h 847528"/>
                <a:gd name="connsiteX5" fmla="*/ 81177 w 8635769"/>
                <a:gd name="connsiteY5" fmla="*/ 846591 h 847528"/>
                <a:gd name="connsiteX6" fmla="*/ 937978 w 8635769"/>
                <a:gd name="connsiteY6" fmla="*/ 754148 h 847528"/>
                <a:gd name="connsiteX7" fmla="*/ 1632837 w 8635769"/>
                <a:gd name="connsiteY7" fmla="*/ 788136 h 847528"/>
                <a:gd name="connsiteX8" fmla="*/ 2088847 w 8635769"/>
                <a:gd name="connsiteY8" fmla="*/ 728648 h 847528"/>
                <a:gd name="connsiteX9" fmla="*/ 2566569 w 8635769"/>
                <a:gd name="connsiteY9" fmla="*/ 728648 h 847528"/>
                <a:gd name="connsiteX10" fmla="*/ 3337438 w 8635769"/>
                <a:gd name="connsiteY10" fmla="*/ 771142 h 847528"/>
                <a:gd name="connsiteX11" fmla="*/ 4216874 w 8635769"/>
                <a:gd name="connsiteY11" fmla="*/ 754148 h 847528"/>
                <a:gd name="connsiteX12" fmla="*/ 4846592 w 8635769"/>
                <a:gd name="connsiteY12" fmla="*/ 762654 h 847528"/>
                <a:gd name="connsiteX13" fmla="*/ 5682602 w 8635769"/>
                <a:gd name="connsiteY13" fmla="*/ 762654 h 847528"/>
                <a:gd name="connsiteX14" fmla="*/ 6746615 w 8635769"/>
                <a:gd name="connsiteY14" fmla="*/ 788154 h 847528"/>
                <a:gd name="connsiteX15" fmla="*/ 7495770 w 8635769"/>
                <a:gd name="connsiteY15" fmla="*/ 779648 h 847528"/>
                <a:gd name="connsiteX16" fmla="*/ 8027765 w 8635769"/>
                <a:gd name="connsiteY16" fmla="*/ 771142 h 847528"/>
                <a:gd name="connsiteX17" fmla="*/ 8505488 w 8635769"/>
                <a:gd name="connsiteY17" fmla="*/ 737154 h 847528"/>
                <a:gd name="connsiteX18" fmla="*/ 8635769 w 8635769"/>
                <a:gd name="connsiteY18" fmla="*/ 754148 h 847528"/>
                <a:gd name="connsiteX19" fmla="*/ 8635769 w 8635769"/>
                <a:gd name="connsiteY19" fmla="*/ 133791 h 847528"/>
                <a:gd name="connsiteX20" fmla="*/ 8451193 w 8635769"/>
                <a:gd name="connsiteY20" fmla="*/ 65870 h 847528"/>
                <a:gd name="connsiteX21" fmla="*/ 7636897 w 8635769"/>
                <a:gd name="connsiteY21" fmla="*/ 14889 h 847528"/>
                <a:gd name="connsiteX22" fmla="*/ 7050606 w 8635769"/>
                <a:gd name="connsiteY22" fmla="*/ 108364 h 847528"/>
                <a:gd name="connsiteX23" fmla="*/ 6149456 w 8635769"/>
                <a:gd name="connsiteY23" fmla="*/ 201839 h 847528"/>
                <a:gd name="connsiteX24" fmla="*/ 5183165 w 8635769"/>
                <a:gd name="connsiteY24" fmla="*/ 201839 h 847528"/>
                <a:gd name="connsiteX25" fmla="*/ 3456875 w 8635769"/>
                <a:gd name="connsiteY25" fmla="*/ 193333 h 847528"/>
                <a:gd name="connsiteX26" fmla="*/ 2371147 w 8635769"/>
                <a:gd name="connsiteY26" fmla="*/ 65870 h 847528"/>
                <a:gd name="connsiteX27" fmla="*/ 579715 w 8635769"/>
                <a:gd name="connsiteY27" fmla="*/ 57364 h 847528"/>
                <a:gd name="connsiteX28" fmla="*/ 39893 w 8635769"/>
                <a:gd name="connsiteY28" fmla="*/ 66415 h 847528"/>
                <a:gd name="connsiteX0" fmla="*/ 36653 w 8632529"/>
                <a:gd name="connsiteY0" fmla="*/ 66415 h 847530"/>
                <a:gd name="connsiteX1" fmla="*/ 2495 w 8632529"/>
                <a:gd name="connsiteY1" fmla="*/ 139144 h 847530"/>
                <a:gd name="connsiteX2" fmla="*/ 14715 w 8632529"/>
                <a:gd name="connsiteY2" fmla="*/ 350379 h 847530"/>
                <a:gd name="connsiteX3" fmla="*/ 29377 w 8632529"/>
                <a:gd name="connsiteY3" fmla="*/ 609625 h 847530"/>
                <a:gd name="connsiteX4" fmla="*/ 41594 w 8632529"/>
                <a:gd name="connsiteY4" fmla="*/ 686441 h 847530"/>
                <a:gd name="connsiteX5" fmla="*/ 77937 w 8632529"/>
                <a:gd name="connsiteY5" fmla="*/ 846591 h 847530"/>
                <a:gd name="connsiteX6" fmla="*/ 934738 w 8632529"/>
                <a:gd name="connsiteY6" fmla="*/ 754148 h 847530"/>
                <a:gd name="connsiteX7" fmla="*/ 1629597 w 8632529"/>
                <a:gd name="connsiteY7" fmla="*/ 788136 h 847530"/>
                <a:gd name="connsiteX8" fmla="*/ 2085607 w 8632529"/>
                <a:gd name="connsiteY8" fmla="*/ 728648 h 847530"/>
                <a:gd name="connsiteX9" fmla="*/ 2563329 w 8632529"/>
                <a:gd name="connsiteY9" fmla="*/ 728648 h 847530"/>
                <a:gd name="connsiteX10" fmla="*/ 3334198 w 8632529"/>
                <a:gd name="connsiteY10" fmla="*/ 771142 h 847530"/>
                <a:gd name="connsiteX11" fmla="*/ 4213634 w 8632529"/>
                <a:gd name="connsiteY11" fmla="*/ 754148 h 847530"/>
                <a:gd name="connsiteX12" fmla="*/ 4843352 w 8632529"/>
                <a:gd name="connsiteY12" fmla="*/ 762654 h 847530"/>
                <a:gd name="connsiteX13" fmla="*/ 5679362 w 8632529"/>
                <a:gd name="connsiteY13" fmla="*/ 762654 h 847530"/>
                <a:gd name="connsiteX14" fmla="*/ 6743375 w 8632529"/>
                <a:gd name="connsiteY14" fmla="*/ 788154 h 847530"/>
                <a:gd name="connsiteX15" fmla="*/ 7492530 w 8632529"/>
                <a:gd name="connsiteY15" fmla="*/ 779648 h 847530"/>
                <a:gd name="connsiteX16" fmla="*/ 8024525 w 8632529"/>
                <a:gd name="connsiteY16" fmla="*/ 771142 h 847530"/>
                <a:gd name="connsiteX17" fmla="*/ 8502248 w 8632529"/>
                <a:gd name="connsiteY17" fmla="*/ 737154 h 847530"/>
                <a:gd name="connsiteX18" fmla="*/ 8632529 w 8632529"/>
                <a:gd name="connsiteY18" fmla="*/ 754148 h 847530"/>
                <a:gd name="connsiteX19" fmla="*/ 8632529 w 8632529"/>
                <a:gd name="connsiteY19" fmla="*/ 133791 h 847530"/>
                <a:gd name="connsiteX20" fmla="*/ 8447953 w 8632529"/>
                <a:gd name="connsiteY20" fmla="*/ 65870 h 847530"/>
                <a:gd name="connsiteX21" fmla="*/ 7633657 w 8632529"/>
                <a:gd name="connsiteY21" fmla="*/ 14889 h 847530"/>
                <a:gd name="connsiteX22" fmla="*/ 7047366 w 8632529"/>
                <a:gd name="connsiteY22" fmla="*/ 108364 h 847530"/>
                <a:gd name="connsiteX23" fmla="*/ 6146216 w 8632529"/>
                <a:gd name="connsiteY23" fmla="*/ 201839 h 847530"/>
                <a:gd name="connsiteX24" fmla="*/ 5179925 w 8632529"/>
                <a:gd name="connsiteY24" fmla="*/ 201839 h 847530"/>
                <a:gd name="connsiteX25" fmla="*/ 3453635 w 8632529"/>
                <a:gd name="connsiteY25" fmla="*/ 193333 h 847530"/>
                <a:gd name="connsiteX26" fmla="*/ 2367907 w 8632529"/>
                <a:gd name="connsiteY26" fmla="*/ 65870 h 847530"/>
                <a:gd name="connsiteX27" fmla="*/ 576475 w 8632529"/>
                <a:gd name="connsiteY27" fmla="*/ 57364 h 847530"/>
                <a:gd name="connsiteX28" fmla="*/ 36653 w 8632529"/>
                <a:gd name="connsiteY28" fmla="*/ 66415 h 847530"/>
                <a:gd name="connsiteX0" fmla="*/ 38923 w 8634799"/>
                <a:gd name="connsiteY0" fmla="*/ 66415 h 847528"/>
                <a:gd name="connsiteX1" fmla="*/ 4765 w 8634799"/>
                <a:gd name="connsiteY1" fmla="*/ 139144 h 847528"/>
                <a:gd name="connsiteX2" fmla="*/ 16985 w 8634799"/>
                <a:gd name="connsiteY2" fmla="*/ 350379 h 847528"/>
                <a:gd name="connsiteX3" fmla="*/ 31647 w 8634799"/>
                <a:gd name="connsiteY3" fmla="*/ 609625 h 847528"/>
                <a:gd name="connsiteX4" fmla="*/ 43864 w 8634799"/>
                <a:gd name="connsiteY4" fmla="*/ 686441 h 847528"/>
                <a:gd name="connsiteX5" fmla="*/ 80207 w 8634799"/>
                <a:gd name="connsiteY5" fmla="*/ 846591 h 847528"/>
                <a:gd name="connsiteX6" fmla="*/ 937008 w 8634799"/>
                <a:gd name="connsiteY6" fmla="*/ 754148 h 847528"/>
                <a:gd name="connsiteX7" fmla="*/ 1631867 w 8634799"/>
                <a:gd name="connsiteY7" fmla="*/ 788136 h 847528"/>
                <a:gd name="connsiteX8" fmla="*/ 2087877 w 8634799"/>
                <a:gd name="connsiteY8" fmla="*/ 728648 h 847528"/>
                <a:gd name="connsiteX9" fmla="*/ 2565599 w 8634799"/>
                <a:gd name="connsiteY9" fmla="*/ 728648 h 847528"/>
                <a:gd name="connsiteX10" fmla="*/ 3336468 w 8634799"/>
                <a:gd name="connsiteY10" fmla="*/ 771142 h 847528"/>
                <a:gd name="connsiteX11" fmla="*/ 4215904 w 8634799"/>
                <a:gd name="connsiteY11" fmla="*/ 754148 h 847528"/>
                <a:gd name="connsiteX12" fmla="*/ 4845622 w 8634799"/>
                <a:gd name="connsiteY12" fmla="*/ 762654 h 847528"/>
                <a:gd name="connsiteX13" fmla="*/ 5681632 w 8634799"/>
                <a:gd name="connsiteY13" fmla="*/ 762654 h 847528"/>
                <a:gd name="connsiteX14" fmla="*/ 6745645 w 8634799"/>
                <a:gd name="connsiteY14" fmla="*/ 788154 h 847528"/>
                <a:gd name="connsiteX15" fmla="*/ 7494800 w 8634799"/>
                <a:gd name="connsiteY15" fmla="*/ 779648 h 847528"/>
                <a:gd name="connsiteX16" fmla="*/ 8026795 w 8634799"/>
                <a:gd name="connsiteY16" fmla="*/ 771142 h 847528"/>
                <a:gd name="connsiteX17" fmla="*/ 8504518 w 8634799"/>
                <a:gd name="connsiteY17" fmla="*/ 737154 h 847528"/>
                <a:gd name="connsiteX18" fmla="*/ 8634799 w 8634799"/>
                <a:gd name="connsiteY18" fmla="*/ 754148 h 847528"/>
                <a:gd name="connsiteX19" fmla="*/ 8634799 w 8634799"/>
                <a:gd name="connsiteY19" fmla="*/ 133791 h 847528"/>
                <a:gd name="connsiteX20" fmla="*/ 8450223 w 8634799"/>
                <a:gd name="connsiteY20" fmla="*/ 65870 h 847528"/>
                <a:gd name="connsiteX21" fmla="*/ 7635927 w 8634799"/>
                <a:gd name="connsiteY21" fmla="*/ 14889 h 847528"/>
                <a:gd name="connsiteX22" fmla="*/ 7049636 w 8634799"/>
                <a:gd name="connsiteY22" fmla="*/ 108364 h 847528"/>
                <a:gd name="connsiteX23" fmla="*/ 6148486 w 8634799"/>
                <a:gd name="connsiteY23" fmla="*/ 201839 h 847528"/>
                <a:gd name="connsiteX24" fmla="*/ 5182195 w 8634799"/>
                <a:gd name="connsiteY24" fmla="*/ 201839 h 847528"/>
                <a:gd name="connsiteX25" fmla="*/ 3455905 w 8634799"/>
                <a:gd name="connsiteY25" fmla="*/ 193333 h 847528"/>
                <a:gd name="connsiteX26" fmla="*/ 2370177 w 8634799"/>
                <a:gd name="connsiteY26" fmla="*/ 65870 h 847528"/>
                <a:gd name="connsiteX27" fmla="*/ 578745 w 8634799"/>
                <a:gd name="connsiteY27" fmla="*/ 57364 h 847528"/>
                <a:gd name="connsiteX28" fmla="*/ 38923 w 8634799"/>
                <a:gd name="connsiteY28" fmla="*/ 66415 h 847528"/>
                <a:gd name="connsiteX0" fmla="*/ 38923 w 8634799"/>
                <a:gd name="connsiteY0" fmla="*/ 66415 h 847530"/>
                <a:gd name="connsiteX1" fmla="*/ 4765 w 8634799"/>
                <a:gd name="connsiteY1" fmla="*/ 139144 h 847530"/>
                <a:gd name="connsiteX2" fmla="*/ 16985 w 8634799"/>
                <a:gd name="connsiteY2" fmla="*/ 350379 h 847530"/>
                <a:gd name="connsiteX3" fmla="*/ 31647 w 8634799"/>
                <a:gd name="connsiteY3" fmla="*/ 609625 h 847530"/>
                <a:gd name="connsiteX4" fmla="*/ 43864 w 8634799"/>
                <a:gd name="connsiteY4" fmla="*/ 686441 h 847530"/>
                <a:gd name="connsiteX5" fmla="*/ 80207 w 8634799"/>
                <a:gd name="connsiteY5" fmla="*/ 846591 h 847530"/>
                <a:gd name="connsiteX6" fmla="*/ 937008 w 8634799"/>
                <a:gd name="connsiteY6" fmla="*/ 754148 h 847530"/>
                <a:gd name="connsiteX7" fmla="*/ 1631867 w 8634799"/>
                <a:gd name="connsiteY7" fmla="*/ 788136 h 847530"/>
                <a:gd name="connsiteX8" fmla="*/ 2087877 w 8634799"/>
                <a:gd name="connsiteY8" fmla="*/ 728648 h 847530"/>
                <a:gd name="connsiteX9" fmla="*/ 2565599 w 8634799"/>
                <a:gd name="connsiteY9" fmla="*/ 728648 h 847530"/>
                <a:gd name="connsiteX10" fmla="*/ 3336468 w 8634799"/>
                <a:gd name="connsiteY10" fmla="*/ 771142 h 847530"/>
                <a:gd name="connsiteX11" fmla="*/ 4215904 w 8634799"/>
                <a:gd name="connsiteY11" fmla="*/ 754148 h 847530"/>
                <a:gd name="connsiteX12" fmla="*/ 4845622 w 8634799"/>
                <a:gd name="connsiteY12" fmla="*/ 762654 h 847530"/>
                <a:gd name="connsiteX13" fmla="*/ 5681632 w 8634799"/>
                <a:gd name="connsiteY13" fmla="*/ 762654 h 847530"/>
                <a:gd name="connsiteX14" fmla="*/ 6745645 w 8634799"/>
                <a:gd name="connsiteY14" fmla="*/ 788154 h 847530"/>
                <a:gd name="connsiteX15" fmla="*/ 7494800 w 8634799"/>
                <a:gd name="connsiteY15" fmla="*/ 779648 h 847530"/>
                <a:gd name="connsiteX16" fmla="*/ 8026795 w 8634799"/>
                <a:gd name="connsiteY16" fmla="*/ 771142 h 847530"/>
                <a:gd name="connsiteX17" fmla="*/ 8504518 w 8634799"/>
                <a:gd name="connsiteY17" fmla="*/ 737154 h 847530"/>
                <a:gd name="connsiteX18" fmla="*/ 8634799 w 8634799"/>
                <a:gd name="connsiteY18" fmla="*/ 754148 h 847530"/>
                <a:gd name="connsiteX19" fmla="*/ 8634799 w 8634799"/>
                <a:gd name="connsiteY19" fmla="*/ 133791 h 847530"/>
                <a:gd name="connsiteX20" fmla="*/ 8450223 w 8634799"/>
                <a:gd name="connsiteY20" fmla="*/ 65870 h 847530"/>
                <a:gd name="connsiteX21" fmla="*/ 7635927 w 8634799"/>
                <a:gd name="connsiteY21" fmla="*/ 14889 h 847530"/>
                <a:gd name="connsiteX22" fmla="*/ 7049636 w 8634799"/>
                <a:gd name="connsiteY22" fmla="*/ 108364 h 847530"/>
                <a:gd name="connsiteX23" fmla="*/ 6132068 w 8634799"/>
                <a:gd name="connsiteY23" fmla="*/ 131955 h 847530"/>
                <a:gd name="connsiteX24" fmla="*/ 5182195 w 8634799"/>
                <a:gd name="connsiteY24" fmla="*/ 201839 h 847530"/>
                <a:gd name="connsiteX25" fmla="*/ 3455905 w 8634799"/>
                <a:gd name="connsiteY25" fmla="*/ 193333 h 847530"/>
                <a:gd name="connsiteX26" fmla="*/ 2370177 w 8634799"/>
                <a:gd name="connsiteY26" fmla="*/ 65870 h 847530"/>
                <a:gd name="connsiteX27" fmla="*/ 578745 w 8634799"/>
                <a:gd name="connsiteY27" fmla="*/ 57364 h 847530"/>
                <a:gd name="connsiteX28" fmla="*/ 38923 w 8634799"/>
                <a:gd name="connsiteY28" fmla="*/ 66415 h 847530"/>
                <a:gd name="connsiteX0" fmla="*/ 38923 w 8634799"/>
                <a:gd name="connsiteY0" fmla="*/ 66415 h 847528"/>
                <a:gd name="connsiteX1" fmla="*/ 4765 w 8634799"/>
                <a:gd name="connsiteY1" fmla="*/ 139144 h 847528"/>
                <a:gd name="connsiteX2" fmla="*/ 16985 w 8634799"/>
                <a:gd name="connsiteY2" fmla="*/ 350379 h 847528"/>
                <a:gd name="connsiteX3" fmla="*/ 31647 w 8634799"/>
                <a:gd name="connsiteY3" fmla="*/ 609625 h 847528"/>
                <a:gd name="connsiteX4" fmla="*/ 43864 w 8634799"/>
                <a:gd name="connsiteY4" fmla="*/ 686441 h 847528"/>
                <a:gd name="connsiteX5" fmla="*/ 80207 w 8634799"/>
                <a:gd name="connsiteY5" fmla="*/ 846591 h 847528"/>
                <a:gd name="connsiteX6" fmla="*/ 937008 w 8634799"/>
                <a:gd name="connsiteY6" fmla="*/ 754148 h 847528"/>
                <a:gd name="connsiteX7" fmla="*/ 1631867 w 8634799"/>
                <a:gd name="connsiteY7" fmla="*/ 788136 h 847528"/>
                <a:gd name="connsiteX8" fmla="*/ 2087877 w 8634799"/>
                <a:gd name="connsiteY8" fmla="*/ 728648 h 847528"/>
                <a:gd name="connsiteX9" fmla="*/ 2565599 w 8634799"/>
                <a:gd name="connsiteY9" fmla="*/ 728648 h 847528"/>
                <a:gd name="connsiteX10" fmla="*/ 3336468 w 8634799"/>
                <a:gd name="connsiteY10" fmla="*/ 771142 h 847528"/>
                <a:gd name="connsiteX11" fmla="*/ 4215904 w 8634799"/>
                <a:gd name="connsiteY11" fmla="*/ 754148 h 847528"/>
                <a:gd name="connsiteX12" fmla="*/ 4845622 w 8634799"/>
                <a:gd name="connsiteY12" fmla="*/ 762654 h 847528"/>
                <a:gd name="connsiteX13" fmla="*/ 5681632 w 8634799"/>
                <a:gd name="connsiteY13" fmla="*/ 762654 h 847528"/>
                <a:gd name="connsiteX14" fmla="*/ 6745645 w 8634799"/>
                <a:gd name="connsiteY14" fmla="*/ 788154 h 847528"/>
                <a:gd name="connsiteX15" fmla="*/ 7494800 w 8634799"/>
                <a:gd name="connsiteY15" fmla="*/ 779648 h 847528"/>
                <a:gd name="connsiteX16" fmla="*/ 8026795 w 8634799"/>
                <a:gd name="connsiteY16" fmla="*/ 771142 h 847528"/>
                <a:gd name="connsiteX17" fmla="*/ 8504518 w 8634799"/>
                <a:gd name="connsiteY17" fmla="*/ 737154 h 847528"/>
                <a:gd name="connsiteX18" fmla="*/ 8634799 w 8634799"/>
                <a:gd name="connsiteY18" fmla="*/ 754148 h 847528"/>
                <a:gd name="connsiteX19" fmla="*/ 8634799 w 8634799"/>
                <a:gd name="connsiteY19" fmla="*/ 133791 h 847528"/>
                <a:gd name="connsiteX20" fmla="*/ 8450223 w 8634799"/>
                <a:gd name="connsiteY20" fmla="*/ 65870 h 847528"/>
                <a:gd name="connsiteX21" fmla="*/ 7635927 w 8634799"/>
                <a:gd name="connsiteY21" fmla="*/ 14889 h 847528"/>
                <a:gd name="connsiteX22" fmla="*/ 7049636 w 8634799"/>
                <a:gd name="connsiteY22" fmla="*/ 108364 h 847528"/>
                <a:gd name="connsiteX23" fmla="*/ 6132068 w 8634799"/>
                <a:gd name="connsiteY23" fmla="*/ 131955 h 847528"/>
                <a:gd name="connsiteX24" fmla="*/ 5182195 w 8634799"/>
                <a:gd name="connsiteY24" fmla="*/ 201839 h 847528"/>
                <a:gd name="connsiteX25" fmla="*/ 3455905 w 8634799"/>
                <a:gd name="connsiteY25" fmla="*/ 193333 h 847528"/>
                <a:gd name="connsiteX26" fmla="*/ 2370177 w 8634799"/>
                <a:gd name="connsiteY26" fmla="*/ 65870 h 847528"/>
                <a:gd name="connsiteX27" fmla="*/ 578745 w 8634799"/>
                <a:gd name="connsiteY27" fmla="*/ 57364 h 847528"/>
                <a:gd name="connsiteX28" fmla="*/ 38923 w 8634799"/>
                <a:gd name="connsiteY28" fmla="*/ 66415 h 847528"/>
                <a:gd name="connsiteX0" fmla="*/ 38923 w 8634799"/>
                <a:gd name="connsiteY0" fmla="*/ 66415 h 847530"/>
                <a:gd name="connsiteX1" fmla="*/ 4765 w 8634799"/>
                <a:gd name="connsiteY1" fmla="*/ 139144 h 847530"/>
                <a:gd name="connsiteX2" fmla="*/ 16985 w 8634799"/>
                <a:gd name="connsiteY2" fmla="*/ 350379 h 847530"/>
                <a:gd name="connsiteX3" fmla="*/ 31647 w 8634799"/>
                <a:gd name="connsiteY3" fmla="*/ 609625 h 847530"/>
                <a:gd name="connsiteX4" fmla="*/ 43864 w 8634799"/>
                <a:gd name="connsiteY4" fmla="*/ 686441 h 847530"/>
                <a:gd name="connsiteX5" fmla="*/ 80207 w 8634799"/>
                <a:gd name="connsiteY5" fmla="*/ 846591 h 847530"/>
                <a:gd name="connsiteX6" fmla="*/ 937008 w 8634799"/>
                <a:gd name="connsiteY6" fmla="*/ 754148 h 847530"/>
                <a:gd name="connsiteX7" fmla="*/ 1631867 w 8634799"/>
                <a:gd name="connsiteY7" fmla="*/ 788136 h 847530"/>
                <a:gd name="connsiteX8" fmla="*/ 2087877 w 8634799"/>
                <a:gd name="connsiteY8" fmla="*/ 728648 h 847530"/>
                <a:gd name="connsiteX9" fmla="*/ 2565599 w 8634799"/>
                <a:gd name="connsiteY9" fmla="*/ 728648 h 847530"/>
                <a:gd name="connsiteX10" fmla="*/ 3336468 w 8634799"/>
                <a:gd name="connsiteY10" fmla="*/ 771142 h 847530"/>
                <a:gd name="connsiteX11" fmla="*/ 4215904 w 8634799"/>
                <a:gd name="connsiteY11" fmla="*/ 754148 h 847530"/>
                <a:gd name="connsiteX12" fmla="*/ 4845622 w 8634799"/>
                <a:gd name="connsiteY12" fmla="*/ 762654 h 847530"/>
                <a:gd name="connsiteX13" fmla="*/ 5681632 w 8634799"/>
                <a:gd name="connsiteY13" fmla="*/ 762654 h 847530"/>
                <a:gd name="connsiteX14" fmla="*/ 6745645 w 8634799"/>
                <a:gd name="connsiteY14" fmla="*/ 788154 h 847530"/>
                <a:gd name="connsiteX15" fmla="*/ 7494800 w 8634799"/>
                <a:gd name="connsiteY15" fmla="*/ 779648 h 847530"/>
                <a:gd name="connsiteX16" fmla="*/ 8026795 w 8634799"/>
                <a:gd name="connsiteY16" fmla="*/ 771142 h 847530"/>
                <a:gd name="connsiteX17" fmla="*/ 8504518 w 8634799"/>
                <a:gd name="connsiteY17" fmla="*/ 737154 h 847530"/>
                <a:gd name="connsiteX18" fmla="*/ 8634799 w 8634799"/>
                <a:gd name="connsiteY18" fmla="*/ 754148 h 847530"/>
                <a:gd name="connsiteX19" fmla="*/ 8634799 w 8634799"/>
                <a:gd name="connsiteY19" fmla="*/ 133791 h 847530"/>
                <a:gd name="connsiteX20" fmla="*/ 8450223 w 8634799"/>
                <a:gd name="connsiteY20" fmla="*/ 65870 h 847530"/>
                <a:gd name="connsiteX21" fmla="*/ 7635927 w 8634799"/>
                <a:gd name="connsiteY21" fmla="*/ 14889 h 847530"/>
                <a:gd name="connsiteX22" fmla="*/ 7049636 w 8634799"/>
                <a:gd name="connsiteY22" fmla="*/ 108364 h 847530"/>
                <a:gd name="connsiteX23" fmla="*/ 6132068 w 8634799"/>
                <a:gd name="connsiteY23" fmla="*/ 131955 h 847530"/>
                <a:gd name="connsiteX24" fmla="*/ 5182195 w 8634799"/>
                <a:gd name="connsiteY24" fmla="*/ 201839 h 847530"/>
                <a:gd name="connsiteX25" fmla="*/ 3455905 w 8634799"/>
                <a:gd name="connsiteY25" fmla="*/ 193333 h 847530"/>
                <a:gd name="connsiteX26" fmla="*/ 2370177 w 8634799"/>
                <a:gd name="connsiteY26" fmla="*/ 65870 h 847530"/>
                <a:gd name="connsiteX27" fmla="*/ 578745 w 8634799"/>
                <a:gd name="connsiteY27" fmla="*/ 57364 h 847530"/>
                <a:gd name="connsiteX28" fmla="*/ 38923 w 8634799"/>
                <a:gd name="connsiteY28" fmla="*/ 66415 h 847530"/>
                <a:gd name="connsiteX0" fmla="*/ 38923 w 8634799"/>
                <a:gd name="connsiteY0" fmla="*/ 66415 h 847528"/>
                <a:gd name="connsiteX1" fmla="*/ 4765 w 8634799"/>
                <a:gd name="connsiteY1" fmla="*/ 139144 h 847528"/>
                <a:gd name="connsiteX2" fmla="*/ 16985 w 8634799"/>
                <a:gd name="connsiteY2" fmla="*/ 350379 h 847528"/>
                <a:gd name="connsiteX3" fmla="*/ 31647 w 8634799"/>
                <a:gd name="connsiteY3" fmla="*/ 609625 h 847528"/>
                <a:gd name="connsiteX4" fmla="*/ 43864 w 8634799"/>
                <a:gd name="connsiteY4" fmla="*/ 686441 h 847528"/>
                <a:gd name="connsiteX5" fmla="*/ 80207 w 8634799"/>
                <a:gd name="connsiteY5" fmla="*/ 846591 h 847528"/>
                <a:gd name="connsiteX6" fmla="*/ 937008 w 8634799"/>
                <a:gd name="connsiteY6" fmla="*/ 754148 h 847528"/>
                <a:gd name="connsiteX7" fmla="*/ 1631867 w 8634799"/>
                <a:gd name="connsiteY7" fmla="*/ 788136 h 847528"/>
                <a:gd name="connsiteX8" fmla="*/ 2087877 w 8634799"/>
                <a:gd name="connsiteY8" fmla="*/ 728648 h 847528"/>
                <a:gd name="connsiteX9" fmla="*/ 2565599 w 8634799"/>
                <a:gd name="connsiteY9" fmla="*/ 728648 h 847528"/>
                <a:gd name="connsiteX10" fmla="*/ 3336468 w 8634799"/>
                <a:gd name="connsiteY10" fmla="*/ 771142 h 847528"/>
                <a:gd name="connsiteX11" fmla="*/ 4215904 w 8634799"/>
                <a:gd name="connsiteY11" fmla="*/ 754148 h 847528"/>
                <a:gd name="connsiteX12" fmla="*/ 4845622 w 8634799"/>
                <a:gd name="connsiteY12" fmla="*/ 762654 h 847528"/>
                <a:gd name="connsiteX13" fmla="*/ 5681632 w 8634799"/>
                <a:gd name="connsiteY13" fmla="*/ 762654 h 847528"/>
                <a:gd name="connsiteX14" fmla="*/ 6745645 w 8634799"/>
                <a:gd name="connsiteY14" fmla="*/ 788154 h 847528"/>
                <a:gd name="connsiteX15" fmla="*/ 7494800 w 8634799"/>
                <a:gd name="connsiteY15" fmla="*/ 779648 h 847528"/>
                <a:gd name="connsiteX16" fmla="*/ 8026795 w 8634799"/>
                <a:gd name="connsiteY16" fmla="*/ 771142 h 847528"/>
                <a:gd name="connsiteX17" fmla="*/ 8504518 w 8634799"/>
                <a:gd name="connsiteY17" fmla="*/ 737154 h 847528"/>
                <a:gd name="connsiteX18" fmla="*/ 8634799 w 8634799"/>
                <a:gd name="connsiteY18" fmla="*/ 754148 h 847528"/>
                <a:gd name="connsiteX19" fmla="*/ 8634799 w 8634799"/>
                <a:gd name="connsiteY19" fmla="*/ 133791 h 847528"/>
                <a:gd name="connsiteX20" fmla="*/ 8450223 w 8634799"/>
                <a:gd name="connsiteY20" fmla="*/ 65870 h 847528"/>
                <a:gd name="connsiteX21" fmla="*/ 7635927 w 8634799"/>
                <a:gd name="connsiteY21" fmla="*/ 14889 h 847528"/>
                <a:gd name="connsiteX22" fmla="*/ 7049636 w 8634799"/>
                <a:gd name="connsiteY22" fmla="*/ 108364 h 847528"/>
                <a:gd name="connsiteX23" fmla="*/ 6342549 w 8634799"/>
                <a:gd name="connsiteY23" fmla="*/ 55805 h 847528"/>
                <a:gd name="connsiteX24" fmla="*/ 6132068 w 8634799"/>
                <a:gd name="connsiteY24" fmla="*/ 131955 h 847528"/>
                <a:gd name="connsiteX25" fmla="*/ 5182195 w 8634799"/>
                <a:gd name="connsiteY25" fmla="*/ 201839 h 847528"/>
                <a:gd name="connsiteX26" fmla="*/ 3455905 w 8634799"/>
                <a:gd name="connsiteY26" fmla="*/ 193333 h 847528"/>
                <a:gd name="connsiteX27" fmla="*/ 2370177 w 8634799"/>
                <a:gd name="connsiteY27" fmla="*/ 65870 h 847528"/>
                <a:gd name="connsiteX28" fmla="*/ 578745 w 8634799"/>
                <a:gd name="connsiteY28" fmla="*/ 57364 h 847528"/>
                <a:gd name="connsiteX29" fmla="*/ 38923 w 8634799"/>
                <a:gd name="connsiteY29" fmla="*/ 66415 h 847528"/>
                <a:gd name="connsiteX0" fmla="*/ 38923 w 8634799"/>
                <a:gd name="connsiteY0" fmla="*/ 66415 h 847530"/>
                <a:gd name="connsiteX1" fmla="*/ 4765 w 8634799"/>
                <a:gd name="connsiteY1" fmla="*/ 139144 h 847530"/>
                <a:gd name="connsiteX2" fmla="*/ 16985 w 8634799"/>
                <a:gd name="connsiteY2" fmla="*/ 350379 h 847530"/>
                <a:gd name="connsiteX3" fmla="*/ 31647 w 8634799"/>
                <a:gd name="connsiteY3" fmla="*/ 609625 h 847530"/>
                <a:gd name="connsiteX4" fmla="*/ 43864 w 8634799"/>
                <a:gd name="connsiteY4" fmla="*/ 686441 h 847530"/>
                <a:gd name="connsiteX5" fmla="*/ 80207 w 8634799"/>
                <a:gd name="connsiteY5" fmla="*/ 846591 h 847530"/>
                <a:gd name="connsiteX6" fmla="*/ 937008 w 8634799"/>
                <a:gd name="connsiteY6" fmla="*/ 754148 h 847530"/>
                <a:gd name="connsiteX7" fmla="*/ 1631867 w 8634799"/>
                <a:gd name="connsiteY7" fmla="*/ 788136 h 847530"/>
                <a:gd name="connsiteX8" fmla="*/ 2087877 w 8634799"/>
                <a:gd name="connsiteY8" fmla="*/ 728648 h 847530"/>
                <a:gd name="connsiteX9" fmla="*/ 2565599 w 8634799"/>
                <a:gd name="connsiteY9" fmla="*/ 728648 h 847530"/>
                <a:gd name="connsiteX10" fmla="*/ 3336468 w 8634799"/>
                <a:gd name="connsiteY10" fmla="*/ 771142 h 847530"/>
                <a:gd name="connsiteX11" fmla="*/ 4215904 w 8634799"/>
                <a:gd name="connsiteY11" fmla="*/ 754148 h 847530"/>
                <a:gd name="connsiteX12" fmla="*/ 4845622 w 8634799"/>
                <a:gd name="connsiteY12" fmla="*/ 762654 h 847530"/>
                <a:gd name="connsiteX13" fmla="*/ 5681632 w 8634799"/>
                <a:gd name="connsiteY13" fmla="*/ 762654 h 847530"/>
                <a:gd name="connsiteX14" fmla="*/ 6745645 w 8634799"/>
                <a:gd name="connsiteY14" fmla="*/ 788154 h 847530"/>
                <a:gd name="connsiteX15" fmla="*/ 7494800 w 8634799"/>
                <a:gd name="connsiteY15" fmla="*/ 779648 h 847530"/>
                <a:gd name="connsiteX16" fmla="*/ 8026795 w 8634799"/>
                <a:gd name="connsiteY16" fmla="*/ 771142 h 847530"/>
                <a:gd name="connsiteX17" fmla="*/ 8504518 w 8634799"/>
                <a:gd name="connsiteY17" fmla="*/ 737154 h 847530"/>
                <a:gd name="connsiteX18" fmla="*/ 8634799 w 8634799"/>
                <a:gd name="connsiteY18" fmla="*/ 754148 h 847530"/>
                <a:gd name="connsiteX19" fmla="*/ 8634799 w 8634799"/>
                <a:gd name="connsiteY19" fmla="*/ 133791 h 847530"/>
                <a:gd name="connsiteX20" fmla="*/ 8450223 w 8634799"/>
                <a:gd name="connsiteY20" fmla="*/ 65870 h 847530"/>
                <a:gd name="connsiteX21" fmla="*/ 7635927 w 8634799"/>
                <a:gd name="connsiteY21" fmla="*/ 14889 h 847530"/>
                <a:gd name="connsiteX22" fmla="*/ 7049636 w 8634799"/>
                <a:gd name="connsiteY22" fmla="*/ 108364 h 847530"/>
                <a:gd name="connsiteX23" fmla="*/ 6342549 w 8634799"/>
                <a:gd name="connsiteY23" fmla="*/ 55805 h 847530"/>
                <a:gd name="connsiteX24" fmla="*/ 6132068 w 8634799"/>
                <a:gd name="connsiteY24" fmla="*/ 131955 h 847530"/>
                <a:gd name="connsiteX25" fmla="*/ 5182195 w 8634799"/>
                <a:gd name="connsiteY25" fmla="*/ 201839 h 847530"/>
                <a:gd name="connsiteX26" fmla="*/ 3455905 w 8634799"/>
                <a:gd name="connsiteY26" fmla="*/ 193333 h 847530"/>
                <a:gd name="connsiteX27" fmla="*/ 2370177 w 8634799"/>
                <a:gd name="connsiteY27" fmla="*/ 65870 h 847530"/>
                <a:gd name="connsiteX28" fmla="*/ 578745 w 8634799"/>
                <a:gd name="connsiteY28" fmla="*/ 57364 h 847530"/>
                <a:gd name="connsiteX29" fmla="*/ 38923 w 8634799"/>
                <a:gd name="connsiteY29" fmla="*/ 66415 h 847530"/>
                <a:gd name="connsiteX0" fmla="*/ 38923 w 8634799"/>
                <a:gd name="connsiteY0" fmla="*/ 66415 h 847528"/>
                <a:gd name="connsiteX1" fmla="*/ 4765 w 8634799"/>
                <a:gd name="connsiteY1" fmla="*/ 139144 h 847528"/>
                <a:gd name="connsiteX2" fmla="*/ 16985 w 8634799"/>
                <a:gd name="connsiteY2" fmla="*/ 350379 h 847528"/>
                <a:gd name="connsiteX3" fmla="*/ 31647 w 8634799"/>
                <a:gd name="connsiteY3" fmla="*/ 609625 h 847528"/>
                <a:gd name="connsiteX4" fmla="*/ 43864 w 8634799"/>
                <a:gd name="connsiteY4" fmla="*/ 686441 h 847528"/>
                <a:gd name="connsiteX5" fmla="*/ 80207 w 8634799"/>
                <a:gd name="connsiteY5" fmla="*/ 846591 h 847528"/>
                <a:gd name="connsiteX6" fmla="*/ 937008 w 8634799"/>
                <a:gd name="connsiteY6" fmla="*/ 754148 h 847528"/>
                <a:gd name="connsiteX7" fmla="*/ 1631867 w 8634799"/>
                <a:gd name="connsiteY7" fmla="*/ 788136 h 847528"/>
                <a:gd name="connsiteX8" fmla="*/ 2087877 w 8634799"/>
                <a:gd name="connsiteY8" fmla="*/ 728648 h 847528"/>
                <a:gd name="connsiteX9" fmla="*/ 2565599 w 8634799"/>
                <a:gd name="connsiteY9" fmla="*/ 728648 h 847528"/>
                <a:gd name="connsiteX10" fmla="*/ 3336468 w 8634799"/>
                <a:gd name="connsiteY10" fmla="*/ 771142 h 847528"/>
                <a:gd name="connsiteX11" fmla="*/ 4215904 w 8634799"/>
                <a:gd name="connsiteY11" fmla="*/ 754148 h 847528"/>
                <a:gd name="connsiteX12" fmla="*/ 4845622 w 8634799"/>
                <a:gd name="connsiteY12" fmla="*/ 762654 h 847528"/>
                <a:gd name="connsiteX13" fmla="*/ 5681632 w 8634799"/>
                <a:gd name="connsiteY13" fmla="*/ 762654 h 847528"/>
                <a:gd name="connsiteX14" fmla="*/ 6745645 w 8634799"/>
                <a:gd name="connsiteY14" fmla="*/ 788154 h 847528"/>
                <a:gd name="connsiteX15" fmla="*/ 7494800 w 8634799"/>
                <a:gd name="connsiteY15" fmla="*/ 779648 h 847528"/>
                <a:gd name="connsiteX16" fmla="*/ 8026795 w 8634799"/>
                <a:gd name="connsiteY16" fmla="*/ 771142 h 847528"/>
                <a:gd name="connsiteX17" fmla="*/ 8504518 w 8634799"/>
                <a:gd name="connsiteY17" fmla="*/ 737154 h 847528"/>
                <a:gd name="connsiteX18" fmla="*/ 8634799 w 8634799"/>
                <a:gd name="connsiteY18" fmla="*/ 754148 h 847528"/>
                <a:gd name="connsiteX19" fmla="*/ 8634799 w 8634799"/>
                <a:gd name="connsiteY19" fmla="*/ 133791 h 847528"/>
                <a:gd name="connsiteX20" fmla="*/ 8450223 w 8634799"/>
                <a:gd name="connsiteY20" fmla="*/ 65870 h 847528"/>
                <a:gd name="connsiteX21" fmla="*/ 7635927 w 8634799"/>
                <a:gd name="connsiteY21" fmla="*/ 14889 h 847528"/>
                <a:gd name="connsiteX22" fmla="*/ 7049636 w 8634799"/>
                <a:gd name="connsiteY22" fmla="*/ 108364 h 847528"/>
                <a:gd name="connsiteX23" fmla="*/ 6342549 w 8634799"/>
                <a:gd name="connsiteY23" fmla="*/ 55805 h 847528"/>
                <a:gd name="connsiteX24" fmla="*/ 5902209 w 8634799"/>
                <a:gd name="connsiteY24" fmla="*/ 158833 h 847528"/>
                <a:gd name="connsiteX25" fmla="*/ 5182195 w 8634799"/>
                <a:gd name="connsiteY25" fmla="*/ 201839 h 847528"/>
                <a:gd name="connsiteX26" fmla="*/ 3455905 w 8634799"/>
                <a:gd name="connsiteY26" fmla="*/ 193333 h 847528"/>
                <a:gd name="connsiteX27" fmla="*/ 2370177 w 8634799"/>
                <a:gd name="connsiteY27" fmla="*/ 65870 h 847528"/>
                <a:gd name="connsiteX28" fmla="*/ 578745 w 8634799"/>
                <a:gd name="connsiteY28" fmla="*/ 57364 h 847528"/>
                <a:gd name="connsiteX29" fmla="*/ 38923 w 8634799"/>
                <a:gd name="connsiteY29" fmla="*/ 66415 h 847528"/>
                <a:gd name="connsiteX0" fmla="*/ 38923 w 8634799"/>
                <a:gd name="connsiteY0" fmla="*/ 111866 h 892981"/>
                <a:gd name="connsiteX1" fmla="*/ 4765 w 8634799"/>
                <a:gd name="connsiteY1" fmla="*/ 184595 h 892981"/>
                <a:gd name="connsiteX2" fmla="*/ 16985 w 8634799"/>
                <a:gd name="connsiteY2" fmla="*/ 395830 h 892981"/>
                <a:gd name="connsiteX3" fmla="*/ 31647 w 8634799"/>
                <a:gd name="connsiteY3" fmla="*/ 655076 h 892981"/>
                <a:gd name="connsiteX4" fmla="*/ 43864 w 8634799"/>
                <a:gd name="connsiteY4" fmla="*/ 731892 h 892981"/>
                <a:gd name="connsiteX5" fmla="*/ 80207 w 8634799"/>
                <a:gd name="connsiteY5" fmla="*/ 892042 h 892981"/>
                <a:gd name="connsiteX6" fmla="*/ 937008 w 8634799"/>
                <a:gd name="connsiteY6" fmla="*/ 799599 h 892981"/>
                <a:gd name="connsiteX7" fmla="*/ 1631867 w 8634799"/>
                <a:gd name="connsiteY7" fmla="*/ 833587 h 892981"/>
                <a:gd name="connsiteX8" fmla="*/ 2087877 w 8634799"/>
                <a:gd name="connsiteY8" fmla="*/ 774099 h 892981"/>
                <a:gd name="connsiteX9" fmla="*/ 2565599 w 8634799"/>
                <a:gd name="connsiteY9" fmla="*/ 774099 h 892981"/>
                <a:gd name="connsiteX10" fmla="*/ 3336468 w 8634799"/>
                <a:gd name="connsiteY10" fmla="*/ 816593 h 892981"/>
                <a:gd name="connsiteX11" fmla="*/ 4215904 w 8634799"/>
                <a:gd name="connsiteY11" fmla="*/ 799599 h 892981"/>
                <a:gd name="connsiteX12" fmla="*/ 4845622 w 8634799"/>
                <a:gd name="connsiteY12" fmla="*/ 808105 h 892981"/>
                <a:gd name="connsiteX13" fmla="*/ 5681632 w 8634799"/>
                <a:gd name="connsiteY13" fmla="*/ 808105 h 892981"/>
                <a:gd name="connsiteX14" fmla="*/ 6745645 w 8634799"/>
                <a:gd name="connsiteY14" fmla="*/ 833605 h 892981"/>
                <a:gd name="connsiteX15" fmla="*/ 7494800 w 8634799"/>
                <a:gd name="connsiteY15" fmla="*/ 825099 h 892981"/>
                <a:gd name="connsiteX16" fmla="*/ 8026795 w 8634799"/>
                <a:gd name="connsiteY16" fmla="*/ 816593 h 892981"/>
                <a:gd name="connsiteX17" fmla="*/ 8504518 w 8634799"/>
                <a:gd name="connsiteY17" fmla="*/ 782605 h 892981"/>
                <a:gd name="connsiteX18" fmla="*/ 8634799 w 8634799"/>
                <a:gd name="connsiteY18" fmla="*/ 799599 h 892981"/>
                <a:gd name="connsiteX19" fmla="*/ 8634799 w 8634799"/>
                <a:gd name="connsiteY19" fmla="*/ 179242 h 892981"/>
                <a:gd name="connsiteX20" fmla="*/ 8450223 w 8634799"/>
                <a:gd name="connsiteY20" fmla="*/ 111321 h 892981"/>
                <a:gd name="connsiteX21" fmla="*/ 7635927 w 8634799"/>
                <a:gd name="connsiteY21" fmla="*/ 60340 h 892981"/>
                <a:gd name="connsiteX22" fmla="*/ 7049636 w 8634799"/>
                <a:gd name="connsiteY22" fmla="*/ 153815 h 892981"/>
                <a:gd name="connsiteX23" fmla="*/ 6342549 w 8634799"/>
                <a:gd name="connsiteY23" fmla="*/ 101256 h 892981"/>
                <a:gd name="connsiteX24" fmla="*/ 5902209 w 8634799"/>
                <a:gd name="connsiteY24" fmla="*/ 204284 h 892981"/>
                <a:gd name="connsiteX25" fmla="*/ 5182195 w 8634799"/>
                <a:gd name="connsiteY25" fmla="*/ 247290 h 892981"/>
                <a:gd name="connsiteX26" fmla="*/ 3469826 w 8634799"/>
                <a:gd name="connsiteY26" fmla="*/ 5421 h 892981"/>
                <a:gd name="connsiteX27" fmla="*/ 2370177 w 8634799"/>
                <a:gd name="connsiteY27" fmla="*/ 111321 h 892981"/>
                <a:gd name="connsiteX28" fmla="*/ 578745 w 8634799"/>
                <a:gd name="connsiteY28" fmla="*/ 102815 h 892981"/>
                <a:gd name="connsiteX29" fmla="*/ 38923 w 8634799"/>
                <a:gd name="connsiteY29" fmla="*/ 111866 h 892981"/>
                <a:gd name="connsiteX0" fmla="*/ 38923 w 8634799"/>
                <a:gd name="connsiteY0" fmla="*/ 135210 h 916324"/>
                <a:gd name="connsiteX1" fmla="*/ 4765 w 8634799"/>
                <a:gd name="connsiteY1" fmla="*/ 207939 h 916324"/>
                <a:gd name="connsiteX2" fmla="*/ 16985 w 8634799"/>
                <a:gd name="connsiteY2" fmla="*/ 419174 h 916324"/>
                <a:gd name="connsiteX3" fmla="*/ 31647 w 8634799"/>
                <a:gd name="connsiteY3" fmla="*/ 678420 h 916324"/>
                <a:gd name="connsiteX4" fmla="*/ 43864 w 8634799"/>
                <a:gd name="connsiteY4" fmla="*/ 755236 h 916324"/>
                <a:gd name="connsiteX5" fmla="*/ 80207 w 8634799"/>
                <a:gd name="connsiteY5" fmla="*/ 915386 h 916324"/>
                <a:gd name="connsiteX6" fmla="*/ 937008 w 8634799"/>
                <a:gd name="connsiteY6" fmla="*/ 822943 h 916324"/>
                <a:gd name="connsiteX7" fmla="*/ 1631867 w 8634799"/>
                <a:gd name="connsiteY7" fmla="*/ 856931 h 916324"/>
                <a:gd name="connsiteX8" fmla="*/ 2087877 w 8634799"/>
                <a:gd name="connsiteY8" fmla="*/ 797443 h 916324"/>
                <a:gd name="connsiteX9" fmla="*/ 2565599 w 8634799"/>
                <a:gd name="connsiteY9" fmla="*/ 797443 h 916324"/>
                <a:gd name="connsiteX10" fmla="*/ 3336468 w 8634799"/>
                <a:gd name="connsiteY10" fmla="*/ 839937 h 916324"/>
                <a:gd name="connsiteX11" fmla="*/ 4215904 w 8634799"/>
                <a:gd name="connsiteY11" fmla="*/ 822943 h 916324"/>
                <a:gd name="connsiteX12" fmla="*/ 4845622 w 8634799"/>
                <a:gd name="connsiteY12" fmla="*/ 831449 h 916324"/>
                <a:gd name="connsiteX13" fmla="*/ 5681632 w 8634799"/>
                <a:gd name="connsiteY13" fmla="*/ 831449 h 916324"/>
                <a:gd name="connsiteX14" fmla="*/ 6745645 w 8634799"/>
                <a:gd name="connsiteY14" fmla="*/ 856949 h 916324"/>
                <a:gd name="connsiteX15" fmla="*/ 7494800 w 8634799"/>
                <a:gd name="connsiteY15" fmla="*/ 848443 h 916324"/>
                <a:gd name="connsiteX16" fmla="*/ 8026795 w 8634799"/>
                <a:gd name="connsiteY16" fmla="*/ 839937 h 916324"/>
                <a:gd name="connsiteX17" fmla="*/ 8504518 w 8634799"/>
                <a:gd name="connsiteY17" fmla="*/ 805949 h 916324"/>
                <a:gd name="connsiteX18" fmla="*/ 8634799 w 8634799"/>
                <a:gd name="connsiteY18" fmla="*/ 822943 h 916324"/>
                <a:gd name="connsiteX19" fmla="*/ 8634799 w 8634799"/>
                <a:gd name="connsiteY19" fmla="*/ 202586 h 916324"/>
                <a:gd name="connsiteX20" fmla="*/ 8450223 w 8634799"/>
                <a:gd name="connsiteY20" fmla="*/ 134665 h 916324"/>
                <a:gd name="connsiteX21" fmla="*/ 7635927 w 8634799"/>
                <a:gd name="connsiteY21" fmla="*/ 83684 h 916324"/>
                <a:gd name="connsiteX22" fmla="*/ 7049636 w 8634799"/>
                <a:gd name="connsiteY22" fmla="*/ 177159 h 916324"/>
                <a:gd name="connsiteX23" fmla="*/ 6342549 w 8634799"/>
                <a:gd name="connsiteY23" fmla="*/ 124600 h 916324"/>
                <a:gd name="connsiteX24" fmla="*/ 5902209 w 8634799"/>
                <a:gd name="connsiteY24" fmla="*/ 227628 h 916324"/>
                <a:gd name="connsiteX25" fmla="*/ 5182195 w 8634799"/>
                <a:gd name="connsiteY25" fmla="*/ 270634 h 916324"/>
                <a:gd name="connsiteX26" fmla="*/ 3469826 w 8634799"/>
                <a:gd name="connsiteY26" fmla="*/ 28765 h 916324"/>
                <a:gd name="connsiteX27" fmla="*/ 2370177 w 8634799"/>
                <a:gd name="connsiteY27" fmla="*/ 134665 h 916324"/>
                <a:gd name="connsiteX28" fmla="*/ 578745 w 8634799"/>
                <a:gd name="connsiteY28" fmla="*/ 126159 h 916324"/>
                <a:gd name="connsiteX29" fmla="*/ 38923 w 8634799"/>
                <a:gd name="connsiteY29" fmla="*/ 135210 h 916324"/>
                <a:gd name="connsiteX0" fmla="*/ 38923 w 8634799"/>
                <a:gd name="connsiteY0" fmla="*/ 128131 h 909245"/>
                <a:gd name="connsiteX1" fmla="*/ 4765 w 8634799"/>
                <a:gd name="connsiteY1" fmla="*/ 200860 h 909245"/>
                <a:gd name="connsiteX2" fmla="*/ 16985 w 8634799"/>
                <a:gd name="connsiteY2" fmla="*/ 412095 h 909245"/>
                <a:gd name="connsiteX3" fmla="*/ 31647 w 8634799"/>
                <a:gd name="connsiteY3" fmla="*/ 671341 h 909245"/>
                <a:gd name="connsiteX4" fmla="*/ 43864 w 8634799"/>
                <a:gd name="connsiteY4" fmla="*/ 748157 h 909245"/>
                <a:gd name="connsiteX5" fmla="*/ 80207 w 8634799"/>
                <a:gd name="connsiteY5" fmla="*/ 908307 h 909245"/>
                <a:gd name="connsiteX6" fmla="*/ 937008 w 8634799"/>
                <a:gd name="connsiteY6" fmla="*/ 815864 h 909245"/>
                <a:gd name="connsiteX7" fmla="*/ 1631867 w 8634799"/>
                <a:gd name="connsiteY7" fmla="*/ 849852 h 909245"/>
                <a:gd name="connsiteX8" fmla="*/ 2087877 w 8634799"/>
                <a:gd name="connsiteY8" fmla="*/ 790364 h 909245"/>
                <a:gd name="connsiteX9" fmla="*/ 2565599 w 8634799"/>
                <a:gd name="connsiteY9" fmla="*/ 790364 h 909245"/>
                <a:gd name="connsiteX10" fmla="*/ 3336468 w 8634799"/>
                <a:gd name="connsiteY10" fmla="*/ 832858 h 909245"/>
                <a:gd name="connsiteX11" fmla="*/ 4215904 w 8634799"/>
                <a:gd name="connsiteY11" fmla="*/ 815864 h 909245"/>
                <a:gd name="connsiteX12" fmla="*/ 4845622 w 8634799"/>
                <a:gd name="connsiteY12" fmla="*/ 824370 h 909245"/>
                <a:gd name="connsiteX13" fmla="*/ 5681632 w 8634799"/>
                <a:gd name="connsiteY13" fmla="*/ 824370 h 909245"/>
                <a:gd name="connsiteX14" fmla="*/ 6745645 w 8634799"/>
                <a:gd name="connsiteY14" fmla="*/ 849870 h 909245"/>
                <a:gd name="connsiteX15" fmla="*/ 7494800 w 8634799"/>
                <a:gd name="connsiteY15" fmla="*/ 841364 h 909245"/>
                <a:gd name="connsiteX16" fmla="*/ 8026795 w 8634799"/>
                <a:gd name="connsiteY16" fmla="*/ 832858 h 909245"/>
                <a:gd name="connsiteX17" fmla="*/ 8504518 w 8634799"/>
                <a:gd name="connsiteY17" fmla="*/ 798870 h 909245"/>
                <a:gd name="connsiteX18" fmla="*/ 8634799 w 8634799"/>
                <a:gd name="connsiteY18" fmla="*/ 815864 h 909245"/>
                <a:gd name="connsiteX19" fmla="*/ 8634799 w 8634799"/>
                <a:gd name="connsiteY19" fmla="*/ 195507 h 909245"/>
                <a:gd name="connsiteX20" fmla="*/ 8450223 w 8634799"/>
                <a:gd name="connsiteY20" fmla="*/ 127586 h 909245"/>
                <a:gd name="connsiteX21" fmla="*/ 7635927 w 8634799"/>
                <a:gd name="connsiteY21" fmla="*/ 76605 h 909245"/>
                <a:gd name="connsiteX22" fmla="*/ 7049636 w 8634799"/>
                <a:gd name="connsiteY22" fmla="*/ 170080 h 909245"/>
                <a:gd name="connsiteX23" fmla="*/ 6342549 w 8634799"/>
                <a:gd name="connsiteY23" fmla="*/ 117521 h 909245"/>
                <a:gd name="connsiteX24" fmla="*/ 5902209 w 8634799"/>
                <a:gd name="connsiteY24" fmla="*/ 220549 h 909245"/>
                <a:gd name="connsiteX25" fmla="*/ 5182195 w 8634799"/>
                <a:gd name="connsiteY25" fmla="*/ 263555 h 909245"/>
                <a:gd name="connsiteX26" fmla="*/ 3469826 w 8634799"/>
                <a:gd name="connsiteY26" fmla="*/ 21686 h 909245"/>
                <a:gd name="connsiteX27" fmla="*/ 2370177 w 8634799"/>
                <a:gd name="connsiteY27" fmla="*/ 127586 h 909245"/>
                <a:gd name="connsiteX28" fmla="*/ 578745 w 8634799"/>
                <a:gd name="connsiteY28" fmla="*/ 119080 h 909245"/>
                <a:gd name="connsiteX29" fmla="*/ 38923 w 8634799"/>
                <a:gd name="connsiteY29" fmla="*/ 128131 h 909245"/>
                <a:gd name="connsiteX0" fmla="*/ 38923 w 8634799"/>
                <a:gd name="connsiteY0" fmla="*/ 134331 h 915445"/>
                <a:gd name="connsiteX1" fmla="*/ 4765 w 8634799"/>
                <a:gd name="connsiteY1" fmla="*/ 207060 h 915445"/>
                <a:gd name="connsiteX2" fmla="*/ 16985 w 8634799"/>
                <a:gd name="connsiteY2" fmla="*/ 418295 h 915445"/>
                <a:gd name="connsiteX3" fmla="*/ 31647 w 8634799"/>
                <a:gd name="connsiteY3" fmla="*/ 677541 h 915445"/>
                <a:gd name="connsiteX4" fmla="*/ 43864 w 8634799"/>
                <a:gd name="connsiteY4" fmla="*/ 754357 h 915445"/>
                <a:gd name="connsiteX5" fmla="*/ 80207 w 8634799"/>
                <a:gd name="connsiteY5" fmla="*/ 914507 h 915445"/>
                <a:gd name="connsiteX6" fmla="*/ 937008 w 8634799"/>
                <a:gd name="connsiteY6" fmla="*/ 822064 h 915445"/>
                <a:gd name="connsiteX7" fmla="*/ 1631867 w 8634799"/>
                <a:gd name="connsiteY7" fmla="*/ 856052 h 915445"/>
                <a:gd name="connsiteX8" fmla="*/ 2087877 w 8634799"/>
                <a:gd name="connsiteY8" fmla="*/ 796564 h 915445"/>
                <a:gd name="connsiteX9" fmla="*/ 2565599 w 8634799"/>
                <a:gd name="connsiteY9" fmla="*/ 796564 h 915445"/>
                <a:gd name="connsiteX10" fmla="*/ 3336468 w 8634799"/>
                <a:gd name="connsiteY10" fmla="*/ 839058 h 915445"/>
                <a:gd name="connsiteX11" fmla="*/ 4215904 w 8634799"/>
                <a:gd name="connsiteY11" fmla="*/ 822064 h 915445"/>
                <a:gd name="connsiteX12" fmla="*/ 4845622 w 8634799"/>
                <a:gd name="connsiteY12" fmla="*/ 830570 h 915445"/>
                <a:gd name="connsiteX13" fmla="*/ 5681632 w 8634799"/>
                <a:gd name="connsiteY13" fmla="*/ 830570 h 915445"/>
                <a:gd name="connsiteX14" fmla="*/ 6745645 w 8634799"/>
                <a:gd name="connsiteY14" fmla="*/ 856070 h 915445"/>
                <a:gd name="connsiteX15" fmla="*/ 7494800 w 8634799"/>
                <a:gd name="connsiteY15" fmla="*/ 847564 h 915445"/>
                <a:gd name="connsiteX16" fmla="*/ 8026795 w 8634799"/>
                <a:gd name="connsiteY16" fmla="*/ 839058 h 915445"/>
                <a:gd name="connsiteX17" fmla="*/ 8504518 w 8634799"/>
                <a:gd name="connsiteY17" fmla="*/ 805070 h 915445"/>
                <a:gd name="connsiteX18" fmla="*/ 8634799 w 8634799"/>
                <a:gd name="connsiteY18" fmla="*/ 822064 h 915445"/>
                <a:gd name="connsiteX19" fmla="*/ 8634799 w 8634799"/>
                <a:gd name="connsiteY19" fmla="*/ 201707 h 915445"/>
                <a:gd name="connsiteX20" fmla="*/ 8450223 w 8634799"/>
                <a:gd name="connsiteY20" fmla="*/ 133786 h 915445"/>
                <a:gd name="connsiteX21" fmla="*/ 7635927 w 8634799"/>
                <a:gd name="connsiteY21" fmla="*/ 82805 h 915445"/>
                <a:gd name="connsiteX22" fmla="*/ 7049636 w 8634799"/>
                <a:gd name="connsiteY22" fmla="*/ 176280 h 915445"/>
                <a:gd name="connsiteX23" fmla="*/ 6342549 w 8634799"/>
                <a:gd name="connsiteY23" fmla="*/ 123721 h 915445"/>
                <a:gd name="connsiteX24" fmla="*/ 5902209 w 8634799"/>
                <a:gd name="connsiteY24" fmla="*/ 226749 h 915445"/>
                <a:gd name="connsiteX25" fmla="*/ 5182195 w 8634799"/>
                <a:gd name="connsiteY25" fmla="*/ 269755 h 915445"/>
                <a:gd name="connsiteX26" fmla="*/ 3618314 w 8634799"/>
                <a:gd name="connsiteY26" fmla="*/ 21218 h 915445"/>
                <a:gd name="connsiteX27" fmla="*/ 2370177 w 8634799"/>
                <a:gd name="connsiteY27" fmla="*/ 133786 h 915445"/>
                <a:gd name="connsiteX28" fmla="*/ 578745 w 8634799"/>
                <a:gd name="connsiteY28" fmla="*/ 125280 h 915445"/>
                <a:gd name="connsiteX29" fmla="*/ 38923 w 8634799"/>
                <a:gd name="connsiteY29" fmla="*/ 134331 h 915445"/>
                <a:gd name="connsiteX0" fmla="*/ 38923 w 8634799"/>
                <a:gd name="connsiteY0" fmla="*/ 153045 h 934159"/>
                <a:gd name="connsiteX1" fmla="*/ 4765 w 8634799"/>
                <a:gd name="connsiteY1" fmla="*/ 225774 h 934159"/>
                <a:gd name="connsiteX2" fmla="*/ 16985 w 8634799"/>
                <a:gd name="connsiteY2" fmla="*/ 437009 h 934159"/>
                <a:gd name="connsiteX3" fmla="*/ 31647 w 8634799"/>
                <a:gd name="connsiteY3" fmla="*/ 696255 h 934159"/>
                <a:gd name="connsiteX4" fmla="*/ 43864 w 8634799"/>
                <a:gd name="connsiteY4" fmla="*/ 773071 h 934159"/>
                <a:gd name="connsiteX5" fmla="*/ 80207 w 8634799"/>
                <a:gd name="connsiteY5" fmla="*/ 933221 h 934159"/>
                <a:gd name="connsiteX6" fmla="*/ 937008 w 8634799"/>
                <a:gd name="connsiteY6" fmla="*/ 840778 h 934159"/>
                <a:gd name="connsiteX7" fmla="*/ 1631867 w 8634799"/>
                <a:gd name="connsiteY7" fmla="*/ 874766 h 934159"/>
                <a:gd name="connsiteX8" fmla="*/ 2087877 w 8634799"/>
                <a:gd name="connsiteY8" fmla="*/ 815278 h 934159"/>
                <a:gd name="connsiteX9" fmla="*/ 2565599 w 8634799"/>
                <a:gd name="connsiteY9" fmla="*/ 815278 h 934159"/>
                <a:gd name="connsiteX10" fmla="*/ 3336468 w 8634799"/>
                <a:gd name="connsiteY10" fmla="*/ 857772 h 934159"/>
                <a:gd name="connsiteX11" fmla="*/ 4215904 w 8634799"/>
                <a:gd name="connsiteY11" fmla="*/ 840778 h 934159"/>
                <a:gd name="connsiteX12" fmla="*/ 4845622 w 8634799"/>
                <a:gd name="connsiteY12" fmla="*/ 849284 h 934159"/>
                <a:gd name="connsiteX13" fmla="*/ 5681632 w 8634799"/>
                <a:gd name="connsiteY13" fmla="*/ 849284 h 934159"/>
                <a:gd name="connsiteX14" fmla="*/ 6745645 w 8634799"/>
                <a:gd name="connsiteY14" fmla="*/ 874784 h 934159"/>
                <a:gd name="connsiteX15" fmla="*/ 7494800 w 8634799"/>
                <a:gd name="connsiteY15" fmla="*/ 866278 h 934159"/>
                <a:gd name="connsiteX16" fmla="*/ 8026795 w 8634799"/>
                <a:gd name="connsiteY16" fmla="*/ 857772 h 934159"/>
                <a:gd name="connsiteX17" fmla="*/ 8504518 w 8634799"/>
                <a:gd name="connsiteY17" fmla="*/ 823784 h 934159"/>
                <a:gd name="connsiteX18" fmla="*/ 8634799 w 8634799"/>
                <a:gd name="connsiteY18" fmla="*/ 840778 h 934159"/>
                <a:gd name="connsiteX19" fmla="*/ 8634799 w 8634799"/>
                <a:gd name="connsiteY19" fmla="*/ 220421 h 934159"/>
                <a:gd name="connsiteX20" fmla="*/ 8450223 w 8634799"/>
                <a:gd name="connsiteY20" fmla="*/ 152500 h 934159"/>
                <a:gd name="connsiteX21" fmla="*/ 7635927 w 8634799"/>
                <a:gd name="connsiteY21" fmla="*/ 101519 h 934159"/>
                <a:gd name="connsiteX22" fmla="*/ 7049636 w 8634799"/>
                <a:gd name="connsiteY22" fmla="*/ 194994 h 934159"/>
                <a:gd name="connsiteX23" fmla="*/ 6342549 w 8634799"/>
                <a:gd name="connsiteY23" fmla="*/ 142435 h 934159"/>
                <a:gd name="connsiteX24" fmla="*/ 5902209 w 8634799"/>
                <a:gd name="connsiteY24" fmla="*/ 245463 h 934159"/>
                <a:gd name="connsiteX25" fmla="*/ 5182195 w 8634799"/>
                <a:gd name="connsiteY25" fmla="*/ 288469 h 934159"/>
                <a:gd name="connsiteX26" fmla="*/ 3655437 w 8634799"/>
                <a:gd name="connsiteY26" fmla="*/ 19929 h 934159"/>
                <a:gd name="connsiteX27" fmla="*/ 2370177 w 8634799"/>
                <a:gd name="connsiteY27" fmla="*/ 152500 h 934159"/>
                <a:gd name="connsiteX28" fmla="*/ 578745 w 8634799"/>
                <a:gd name="connsiteY28" fmla="*/ 143994 h 934159"/>
                <a:gd name="connsiteX29" fmla="*/ 38923 w 8634799"/>
                <a:gd name="connsiteY29" fmla="*/ 153045 h 934159"/>
                <a:gd name="connsiteX0" fmla="*/ 38923 w 8634799"/>
                <a:gd name="connsiteY0" fmla="*/ 203294 h 984408"/>
                <a:gd name="connsiteX1" fmla="*/ 4765 w 8634799"/>
                <a:gd name="connsiteY1" fmla="*/ 276023 h 984408"/>
                <a:gd name="connsiteX2" fmla="*/ 16985 w 8634799"/>
                <a:gd name="connsiteY2" fmla="*/ 487258 h 984408"/>
                <a:gd name="connsiteX3" fmla="*/ 31647 w 8634799"/>
                <a:gd name="connsiteY3" fmla="*/ 746504 h 984408"/>
                <a:gd name="connsiteX4" fmla="*/ 43864 w 8634799"/>
                <a:gd name="connsiteY4" fmla="*/ 823320 h 984408"/>
                <a:gd name="connsiteX5" fmla="*/ 80207 w 8634799"/>
                <a:gd name="connsiteY5" fmla="*/ 983470 h 984408"/>
                <a:gd name="connsiteX6" fmla="*/ 937008 w 8634799"/>
                <a:gd name="connsiteY6" fmla="*/ 891027 h 984408"/>
                <a:gd name="connsiteX7" fmla="*/ 1631867 w 8634799"/>
                <a:gd name="connsiteY7" fmla="*/ 925015 h 984408"/>
                <a:gd name="connsiteX8" fmla="*/ 2087877 w 8634799"/>
                <a:gd name="connsiteY8" fmla="*/ 865527 h 984408"/>
                <a:gd name="connsiteX9" fmla="*/ 2565599 w 8634799"/>
                <a:gd name="connsiteY9" fmla="*/ 865527 h 984408"/>
                <a:gd name="connsiteX10" fmla="*/ 3336468 w 8634799"/>
                <a:gd name="connsiteY10" fmla="*/ 908021 h 984408"/>
                <a:gd name="connsiteX11" fmla="*/ 4215904 w 8634799"/>
                <a:gd name="connsiteY11" fmla="*/ 891027 h 984408"/>
                <a:gd name="connsiteX12" fmla="*/ 4845622 w 8634799"/>
                <a:gd name="connsiteY12" fmla="*/ 899533 h 984408"/>
                <a:gd name="connsiteX13" fmla="*/ 5681632 w 8634799"/>
                <a:gd name="connsiteY13" fmla="*/ 899533 h 984408"/>
                <a:gd name="connsiteX14" fmla="*/ 6745645 w 8634799"/>
                <a:gd name="connsiteY14" fmla="*/ 925033 h 984408"/>
                <a:gd name="connsiteX15" fmla="*/ 7494800 w 8634799"/>
                <a:gd name="connsiteY15" fmla="*/ 916527 h 984408"/>
                <a:gd name="connsiteX16" fmla="*/ 8026795 w 8634799"/>
                <a:gd name="connsiteY16" fmla="*/ 908021 h 984408"/>
                <a:gd name="connsiteX17" fmla="*/ 8504518 w 8634799"/>
                <a:gd name="connsiteY17" fmla="*/ 874033 h 984408"/>
                <a:gd name="connsiteX18" fmla="*/ 8634799 w 8634799"/>
                <a:gd name="connsiteY18" fmla="*/ 891027 h 984408"/>
                <a:gd name="connsiteX19" fmla="*/ 8634799 w 8634799"/>
                <a:gd name="connsiteY19" fmla="*/ 270670 h 984408"/>
                <a:gd name="connsiteX20" fmla="*/ 8450223 w 8634799"/>
                <a:gd name="connsiteY20" fmla="*/ 202749 h 984408"/>
                <a:gd name="connsiteX21" fmla="*/ 7635927 w 8634799"/>
                <a:gd name="connsiteY21" fmla="*/ 151768 h 984408"/>
                <a:gd name="connsiteX22" fmla="*/ 7049636 w 8634799"/>
                <a:gd name="connsiteY22" fmla="*/ 245243 h 984408"/>
                <a:gd name="connsiteX23" fmla="*/ 6342549 w 8634799"/>
                <a:gd name="connsiteY23" fmla="*/ 192684 h 984408"/>
                <a:gd name="connsiteX24" fmla="*/ 5902209 w 8634799"/>
                <a:gd name="connsiteY24" fmla="*/ 295712 h 984408"/>
                <a:gd name="connsiteX25" fmla="*/ 5182195 w 8634799"/>
                <a:gd name="connsiteY25" fmla="*/ 338718 h 984408"/>
                <a:gd name="connsiteX26" fmla="*/ 3655437 w 8634799"/>
                <a:gd name="connsiteY26" fmla="*/ 70178 h 984408"/>
                <a:gd name="connsiteX27" fmla="*/ 2370177 w 8634799"/>
                <a:gd name="connsiteY27" fmla="*/ 202749 h 984408"/>
                <a:gd name="connsiteX28" fmla="*/ 578745 w 8634799"/>
                <a:gd name="connsiteY28" fmla="*/ 194243 h 984408"/>
                <a:gd name="connsiteX29" fmla="*/ 38923 w 8634799"/>
                <a:gd name="connsiteY29" fmla="*/ 203294 h 984408"/>
                <a:gd name="connsiteX0" fmla="*/ 38923 w 8634799"/>
                <a:gd name="connsiteY0" fmla="*/ 146213 h 927327"/>
                <a:gd name="connsiteX1" fmla="*/ 4765 w 8634799"/>
                <a:gd name="connsiteY1" fmla="*/ 218942 h 927327"/>
                <a:gd name="connsiteX2" fmla="*/ 16985 w 8634799"/>
                <a:gd name="connsiteY2" fmla="*/ 430177 h 927327"/>
                <a:gd name="connsiteX3" fmla="*/ 31647 w 8634799"/>
                <a:gd name="connsiteY3" fmla="*/ 689423 h 927327"/>
                <a:gd name="connsiteX4" fmla="*/ 43864 w 8634799"/>
                <a:gd name="connsiteY4" fmla="*/ 766239 h 927327"/>
                <a:gd name="connsiteX5" fmla="*/ 80207 w 8634799"/>
                <a:gd name="connsiteY5" fmla="*/ 926389 h 927327"/>
                <a:gd name="connsiteX6" fmla="*/ 937008 w 8634799"/>
                <a:gd name="connsiteY6" fmla="*/ 833946 h 927327"/>
                <a:gd name="connsiteX7" fmla="*/ 1631867 w 8634799"/>
                <a:gd name="connsiteY7" fmla="*/ 867934 h 927327"/>
                <a:gd name="connsiteX8" fmla="*/ 2087877 w 8634799"/>
                <a:gd name="connsiteY8" fmla="*/ 808446 h 927327"/>
                <a:gd name="connsiteX9" fmla="*/ 2565599 w 8634799"/>
                <a:gd name="connsiteY9" fmla="*/ 808446 h 927327"/>
                <a:gd name="connsiteX10" fmla="*/ 3336468 w 8634799"/>
                <a:gd name="connsiteY10" fmla="*/ 850940 h 927327"/>
                <a:gd name="connsiteX11" fmla="*/ 4215904 w 8634799"/>
                <a:gd name="connsiteY11" fmla="*/ 833946 h 927327"/>
                <a:gd name="connsiteX12" fmla="*/ 4845622 w 8634799"/>
                <a:gd name="connsiteY12" fmla="*/ 842452 h 927327"/>
                <a:gd name="connsiteX13" fmla="*/ 5681632 w 8634799"/>
                <a:gd name="connsiteY13" fmla="*/ 842452 h 927327"/>
                <a:gd name="connsiteX14" fmla="*/ 6745645 w 8634799"/>
                <a:gd name="connsiteY14" fmla="*/ 867952 h 927327"/>
                <a:gd name="connsiteX15" fmla="*/ 7494800 w 8634799"/>
                <a:gd name="connsiteY15" fmla="*/ 859446 h 927327"/>
                <a:gd name="connsiteX16" fmla="*/ 8026795 w 8634799"/>
                <a:gd name="connsiteY16" fmla="*/ 850940 h 927327"/>
                <a:gd name="connsiteX17" fmla="*/ 8504518 w 8634799"/>
                <a:gd name="connsiteY17" fmla="*/ 816952 h 927327"/>
                <a:gd name="connsiteX18" fmla="*/ 8634799 w 8634799"/>
                <a:gd name="connsiteY18" fmla="*/ 833946 h 927327"/>
                <a:gd name="connsiteX19" fmla="*/ 8634799 w 8634799"/>
                <a:gd name="connsiteY19" fmla="*/ 213589 h 927327"/>
                <a:gd name="connsiteX20" fmla="*/ 8450223 w 8634799"/>
                <a:gd name="connsiteY20" fmla="*/ 145668 h 927327"/>
                <a:gd name="connsiteX21" fmla="*/ 7635927 w 8634799"/>
                <a:gd name="connsiteY21" fmla="*/ 94687 h 927327"/>
                <a:gd name="connsiteX22" fmla="*/ 7049636 w 8634799"/>
                <a:gd name="connsiteY22" fmla="*/ 188162 h 927327"/>
                <a:gd name="connsiteX23" fmla="*/ 6342549 w 8634799"/>
                <a:gd name="connsiteY23" fmla="*/ 135603 h 927327"/>
                <a:gd name="connsiteX24" fmla="*/ 5902209 w 8634799"/>
                <a:gd name="connsiteY24" fmla="*/ 238631 h 927327"/>
                <a:gd name="connsiteX25" fmla="*/ 5182195 w 8634799"/>
                <a:gd name="connsiteY25" fmla="*/ 281637 h 927327"/>
                <a:gd name="connsiteX26" fmla="*/ 3822487 w 8634799"/>
                <a:gd name="connsiteY26" fmla="*/ 79772 h 927327"/>
                <a:gd name="connsiteX27" fmla="*/ 2370177 w 8634799"/>
                <a:gd name="connsiteY27" fmla="*/ 145668 h 927327"/>
                <a:gd name="connsiteX28" fmla="*/ 578745 w 8634799"/>
                <a:gd name="connsiteY28" fmla="*/ 137162 h 927327"/>
                <a:gd name="connsiteX29" fmla="*/ 38923 w 8634799"/>
                <a:gd name="connsiteY29" fmla="*/ 146213 h 927327"/>
                <a:gd name="connsiteX0" fmla="*/ 38923 w 8634799"/>
                <a:gd name="connsiteY0" fmla="*/ 157240 h 938354"/>
                <a:gd name="connsiteX1" fmla="*/ 4765 w 8634799"/>
                <a:gd name="connsiteY1" fmla="*/ 229969 h 938354"/>
                <a:gd name="connsiteX2" fmla="*/ 16985 w 8634799"/>
                <a:gd name="connsiteY2" fmla="*/ 441204 h 938354"/>
                <a:gd name="connsiteX3" fmla="*/ 31647 w 8634799"/>
                <a:gd name="connsiteY3" fmla="*/ 700450 h 938354"/>
                <a:gd name="connsiteX4" fmla="*/ 43864 w 8634799"/>
                <a:gd name="connsiteY4" fmla="*/ 777266 h 938354"/>
                <a:gd name="connsiteX5" fmla="*/ 80207 w 8634799"/>
                <a:gd name="connsiteY5" fmla="*/ 937416 h 938354"/>
                <a:gd name="connsiteX6" fmla="*/ 937008 w 8634799"/>
                <a:gd name="connsiteY6" fmla="*/ 844973 h 938354"/>
                <a:gd name="connsiteX7" fmla="*/ 1631867 w 8634799"/>
                <a:gd name="connsiteY7" fmla="*/ 878961 h 938354"/>
                <a:gd name="connsiteX8" fmla="*/ 2087877 w 8634799"/>
                <a:gd name="connsiteY8" fmla="*/ 819473 h 938354"/>
                <a:gd name="connsiteX9" fmla="*/ 2565599 w 8634799"/>
                <a:gd name="connsiteY9" fmla="*/ 819473 h 938354"/>
                <a:gd name="connsiteX10" fmla="*/ 3336468 w 8634799"/>
                <a:gd name="connsiteY10" fmla="*/ 861967 h 938354"/>
                <a:gd name="connsiteX11" fmla="*/ 4215904 w 8634799"/>
                <a:gd name="connsiteY11" fmla="*/ 844973 h 938354"/>
                <a:gd name="connsiteX12" fmla="*/ 4845622 w 8634799"/>
                <a:gd name="connsiteY12" fmla="*/ 853479 h 938354"/>
                <a:gd name="connsiteX13" fmla="*/ 5681632 w 8634799"/>
                <a:gd name="connsiteY13" fmla="*/ 853479 h 938354"/>
                <a:gd name="connsiteX14" fmla="*/ 6745645 w 8634799"/>
                <a:gd name="connsiteY14" fmla="*/ 878979 h 938354"/>
                <a:gd name="connsiteX15" fmla="*/ 7494800 w 8634799"/>
                <a:gd name="connsiteY15" fmla="*/ 870473 h 938354"/>
                <a:gd name="connsiteX16" fmla="*/ 8026795 w 8634799"/>
                <a:gd name="connsiteY16" fmla="*/ 861967 h 938354"/>
                <a:gd name="connsiteX17" fmla="*/ 8504518 w 8634799"/>
                <a:gd name="connsiteY17" fmla="*/ 827979 h 938354"/>
                <a:gd name="connsiteX18" fmla="*/ 8634799 w 8634799"/>
                <a:gd name="connsiteY18" fmla="*/ 844973 h 938354"/>
                <a:gd name="connsiteX19" fmla="*/ 8634799 w 8634799"/>
                <a:gd name="connsiteY19" fmla="*/ 224616 h 938354"/>
                <a:gd name="connsiteX20" fmla="*/ 8450223 w 8634799"/>
                <a:gd name="connsiteY20" fmla="*/ 156695 h 938354"/>
                <a:gd name="connsiteX21" fmla="*/ 7635927 w 8634799"/>
                <a:gd name="connsiteY21" fmla="*/ 105714 h 938354"/>
                <a:gd name="connsiteX22" fmla="*/ 7049636 w 8634799"/>
                <a:gd name="connsiteY22" fmla="*/ 199189 h 938354"/>
                <a:gd name="connsiteX23" fmla="*/ 6342549 w 8634799"/>
                <a:gd name="connsiteY23" fmla="*/ 146630 h 938354"/>
                <a:gd name="connsiteX24" fmla="*/ 5902209 w 8634799"/>
                <a:gd name="connsiteY24" fmla="*/ 249658 h 938354"/>
                <a:gd name="connsiteX25" fmla="*/ 5182195 w 8634799"/>
                <a:gd name="connsiteY25" fmla="*/ 292664 h 938354"/>
                <a:gd name="connsiteX26" fmla="*/ 3822487 w 8634799"/>
                <a:gd name="connsiteY26" fmla="*/ 90799 h 938354"/>
                <a:gd name="connsiteX27" fmla="*/ 2370177 w 8634799"/>
                <a:gd name="connsiteY27" fmla="*/ 156695 h 938354"/>
                <a:gd name="connsiteX28" fmla="*/ 578745 w 8634799"/>
                <a:gd name="connsiteY28" fmla="*/ 148189 h 938354"/>
                <a:gd name="connsiteX29" fmla="*/ 38923 w 8634799"/>
                <a:gd name="connsiteY29" fmla="*/ 157240 h 938354"/>
                <a:gd name="connsiteX0" fmla="*/ 38923 w 12045155"/>
                <a:gd name="connsiteY0" fmla="*/ 157240 h 938354"/>
                <a:gd name="connsiteX1" fmla="*/ 4765 w 12045155"/>
                <a:gd name="connsiteY1" fmla="*/ 229969 h 938354"/>
                <a:gd name="connsiteX2" fmla="*/ 16985 w 12045155"/>
                <a:gd name="connsiteY2" fmla="*/ 441204 h 938354"/>
                <a:gd name="connsiteX3" fmla="*/ 31647 w 12045155"/>
                <a:gd name="connsiteY3" fmla="*/ 700450 h 938354"/>
                <a:gd name="connsiteX4" fmla="*/ 43864 w 12045155"/>
                <a:gd name="connsiteY4" fmla="*/ 777266 h 938354"/>
                <a:gd name="connsiteX5" fmla="*/ 80207 w 12045155"/>
                <a:gd name="connsiteY5" fmla="*/ 937416 h 938354"/>
                <a:gd name="connsiteX6" fmla="*/ 937008 w 12045155"/>
                <a:gd name="connsiteY6" fmla="*/ 844973 h 938354"/>
                <a:gd name="connsiteX7" fmla="*/ 1631867 w 12045155"/>
                <a:gd name="connsiteY7" fmla="*/ 878961 h 938354"/>
                <a:gd name="connsiteX8" fmla="*/ 2087877 w 12045155"/>
                <a:gd name="connsiteY8" fmla="*/ 819473 h 938354"/>
                <a:gd name="connsiteX9" fmla="*/ 2565599 w 12045155"/>
                <a:gd name="connsiteY9" fmla="*/ 819473 h 938354"/>
                <a:gd name="connsiteX10" fmla="*/ 3336468 w 12045155"/>
                <a:gd name="connsiteY10" fmla="*/ 861967 h 938354"/>
                <a:gd name="connsiteX11" fmla="*/ 4215904 w 12045155"/>
                <a:gd name="connsiteY11" fmla="*/ 844973 h 938354"/>
                <a:gd name="connsiteX12" fmla="*/ 4845622 w 12045155"/>
                <a:gd name="connsiteY12" fmla="*/ 853479 h 938354"/>
                <a:gd name="connsiteX13" fmla="*/ 5681632 w 12045155"/>
                <a:gd name="connsiteY13" fmla="*/ 853479 h 938354"/>
                <a:gd name="connsiteX14" fmla="*/ 6745645 w 12045155"/>
                <a:gd name="connsiteY14" fmla="*/ 878979 h 938354"/>
                <a:gd name="connsiteX15" fmla="*/ 7494800 w 12045155"/>
                <a:gd name="connsiteY15" fmla="*/ 870473 h 938354"/>
                <a:gd name="connsiteX16" fmla="*/ 8026795 w 12045155"/>
                <a:gd name="connsiteY16" fmla="*/ 861967 h 938354"/>
                <a:gd name="connsiteX17" fmla="*/ 8504518 w 12045155"/>
                <a:gd name="connsiteY17" fmla="*/ 827979 h 938354"/>
                <a:gd name="connsiteX18" fmla="*/ 12045155 w 12045155"/>
                <a:gd name="connsiteY18" fmla="*/ 699393 h 938354"/>
                <a:gd name="connsiteX19" fmla="*/ 8634799 w 12045155"/>
                <a:gd name="connsiteY19" fmla="*/ 224616 h 938354"/>
                <a:gd name="connsiteX20" fmla="*/ 8450223 w 12045155"/>
                <a:gd name="connsiteY20" fmla="*/ 156695 h 938354"/>
                <a:gd name="connsiteX21" fmla="*/ 7635927 w 12045155"/>
                <a:gd name="connsiteY21" fmla="*/ 105714 h 938354"/>
                <a:gd name="connsiteX22" fmla="*/ 7049636 w 12045155"/>
                <a:gd name="connsiteY22" fmla="*/ 199189 h 938354"/>
                <a:gd name="connsiteX23" fmla="*/ 6342549 w 12045155"/>
                <a:gd name="connsiteY23" fmla="*/ 146630 h 938354"/>
                <a:gd name="connsiteX24" fmla="*/ 5902209 w 12045155"/>
                <a:gd name="connsiteY24" fmla="*/ 249658 h 938354"/>
                <a:gd name="connsiteX25" fmla="*/ 5182195 w 12045155"/>
                <a:gd name="connsiteY25" fmla="*/ 292664 h 938354"/>
                <a:gd name="connsiteX26" fmla="*/ 3822487 w 12045155"/>
                <a:gd name="connsiteY26" fmla="*/ 90799 h 938354"/>
                <a:gd name="connsiteX27" fmla="*/ 2370177 w 12045155"/>
                <a:gd name="connsiteY27" fmla="*/ 156695 h 938354"/>
                <a:gd name="connsiteX28" fmla="*/ 578745 w 12045155"/>
                <a:gd name="connsiteY28" fmla="*/ 148189 h 938354"/>
                <a:gd name="connsiteX29" fmla="*/ 38923 w 12045155"/>
                <a:gd name="connsiteY29" fmla="*/ 157240 h 938354"/>
                <a:gd name="connsiteX0" fmla="*/ 38923 w 12045155"/>
                <a:gd name="connsiteY0" fmla="*/ 157240 h 938354"/>
                <a:gd name="connsiteX1" fmla="*/ 4765 w 12045155"/>
                <a:gd name="connsiteY1" fmla="*/ 229969 h 938354"/>
                <a:gd name="connsiteX2" fmla="*/ 16985 w 12045155"/>
                <a:gd name="connsiteY2" fmla="*/ 441204 h 938354"/>
                <a:gd name="connsiteX3" fmla="*/ 31647 w 12045155"/>
                <a:gd name="connsiteY3" fmla="*/ 700450 h 938354"/>
                <a:gd name="connsiteX4" fmla="*/ 43864 w 12045155"/>
                <a:gd name="connsiteY4" fmla="*/ 777266 h 938354"/>
                <a:gd name="connsiteX5" fmla="*/ 80207 w 12045155"/>
                <a:gd name="connsiteY5" fmla="*/ 937416 h 938354"/>
                <a:gd name="connsiteX6" fmla="*/ 937008 w 12045155"/>
                <a:gd name="connsiteY6" fmla="*/ 844973 h 938354"/>
                <a:gd name="connsiteX7" fmla="*/ 1631867 w 12045155"/>
                <a:gd name="connsiteY7" fmla="*/ 878961 h 938354"/>
                <a:gd name="connsiteX8" fmla="*/ 2087877 w 12045155"/>
                <a:gd name="connsiteY8" fmla="*/ 819473 h 938354"/>
                <a:gd name="connsiteX9" fmla="*/ 2565599 w 12045155"/>
                <a:gd name="connsiteY9" fmla="*/ 819473 h 938354"/>
                <a:gd name="connsiteX10" fmla="*/ 3336468 w 12045155"/>
                <a:gd name="connsiteY10" fmla="*/ 861967 h 938354"/>
                <a:gd name="connsiteX11" fmla="*/ 4215904 w 12045155"/>
                <a:gd name="connsiteY11" fmla="*/ 844973 h 938354"/>
                <a:gd name="connsiteX12" fmla="*/ 4845622 w 12045155"/>
                <a:gd name="connsiteY12" fmla="*/ 853479 h 938354"/>
                <a:gd name="connsiteX13" fmla="*/ 5681632 w 12045155"/>
                <a:gd name="connsiteY13" fmla="*/ 853479 h 938354"/>
                <a:gd name="connsiteX14" fmla="*/ 6745645 w 12045155"/>
                <a:gd name="connsiteY14" fmla="*/ 878979 h 938354"/>
                <a:gd name="connsiteX15" fmla="*/ 7494800 w 12045155"/>
                <a:gd name="connsiteY15" fmla="*/ 870473 h 938354"/>
                <a:gd name="connsiteX16" fmla="*/ 8026795 w 12045155"/>
                <a:gd name="connsiteY16" fmla="*/ 861967 h 938354"/>
                <a:gd name="connsiteX17" fmla="*/ 8504518 w 12045155"/>
                <a:gd name="connsiteY17" fmla="*/ 827979 h 938354"/>
                <a:gd name="connsiteX18" fmla="*/ 12045155 w 12045155"/>
                <a:gd name="connsiteY18" fmla="*/ 699393 h 938354"/>
                <a:gd name="connsiteX19" fmla="*/ 12045155 w 12045155"/>
                <a:gd name="connsiteY19" fmla="*/ 261011 h 938354"/>
                <a:gd name="connsiteX20" fmla="*/ 8450223 w 12045155"/>
                <a:gd name="connsiteY20" fmla="*/ 156695 h 938354"/>
                <a:gd name="connsiteX21" fmla="*/ 7635927 w 12045155"/>
                <a:gd name="connsiteY21" fmla="*/ 105714 h 938354"/>
                <a:gd name="connsiteX22" fmla="*/ 7049636 w 12045155"/>
                <a:gd name="connsiteY22" fmla="*/ 199189 h 938354"/>
                <a:gd name="connsiteX23" fmla="*/ 6342549 w 12045155"/>
                <a:gd name="connsiteY23" fmla="*/ 146630 h 938354"/>
                <a:gd name="connsiteX24" fmla="*/ 5902209 w 12045155"/>
                <a:gd name="connsiteY24" fmla="*/ 249658 h 938354"/>
                <a:gd name="connsiteX25" fmla="*/ 5182195 w 12045155"/>
                <a:gd name="connsiteY25" fmla="*/ 292664 h 938354"/>
                <a:gd name="connsiteX26" fmla="*/ 3822487 w 12045155"/>
                <a:gd name="connsiteY26" fmla="*/ 90799 h 938354"/>
                <a:gd name="connsiteX27" fmla="*/ 2370177 w 12045155"/>
                <a:gd name="connsiteY27" fmla="*/ 156695 h 938354"/>
                <a:gd name="connsiteX28" fmla="*/ 578745 w 12045155"/>
                <a:gd name="connsiteY28" fmla="*/ 148189 h 938354"/>
                <a:gd name="connsiteX29" fmla="*/ 38923 w 12045155"/>
                <a:gd name="connsiteY29" fmla="*/ 157240 h 938354"/>
                <a:gd name="connsiteX0" fmla="*/ 38923 w 12045155"/>
                <a:gd name="connsiteY0" fmla="*/ 157240 h 1129823"/>
                <a:gd name="connsiteX1" fmla="*/ 4765 w 12045155"/>
                <a:gd name="connsiteY1" fmla="*/ 229969 h 1129823"/>
                <a:gd name="connsiteX2" fmla="*/ 16985 w 12045155"/>
                <a:gd name="connsiteY2" fmla="*/ 441204 h 1129823"/>
                <a:gd name="connsiteX3" fmla="*/ 31647 w 12045155"/>
                <a:gd name="connsiteY3" fmla="*/ 700450 h 1129823"/>
                <a:gd name="connsiteX4" fmla="*/ 43864 w 12045155"/>
                <a:gd name="connsiteY4" fmla="*/ 777266 h 1129823"/>
                <a:gd name="connsiteX5" fmla="*/ 80207 w 12045155"/>
                <a:gd name="connsiteY5" fmla="*/ 937416 h 1129823"/>
                <a:gd name="connsiteX6" fmla="*/ 937008 w 12045155"/>
                <a:gd name="connsiteY6" fmla="*/ 844973 h 1129823"/>
                <a:gd name="connsiteX7" fmla="*/ 1631867 w 12045155"/>
                <a:gd name="connsiteY7" fmla="*/ 878961 h 1129823"/>
                <a:gd name="connsiteX8" fmla="*/ 2087877 w 12045155"/>
                <a:gd name="connsiteY8" fmla="*/ 819473 h 1129823"/>
                <a:gd name="connsiteX9" fmla="*/ 2565599 w 12045155"/>
                <a:gd name="connsiteY9" fmla="*/ 819473 h 1129823"/>
                <a:gd name="connsiteX10" fmla="*/ 3336468 w 12045155"/>
                <a:gd name="connsiteY10" fmla="*/ 861967 h 1129823"/>
                <a:gd name="connsiteX11" fmla="*/ 4215904 w 12045155"/>
                <a:gd name="connsiteY11" fmla="*/ 844973 h 1129823"/>
                <a:gd name="connsiteX12" fmla="*/ 4845622 w 12045155"/>
                <a:gd name="connsiteY12" fmla="*/ 853479 h 1129823"/>
                <a:gd name="connsiteX13" fmla="*/ 5681632 w 12045155"/>
                <a:gd name="connsiteY13" fmla="*/ 853479 h 1129823"/>
                <a:gd name="connsiteX14" fmla="*/ 6745645 w 12045155"/>
                <a:gd name="connsiteY14" fmla="*/ 878979 h 1129823"/>
                <a:gd name="connsiteX15" fmla="*/ 7494800 w 12045155"/>
                <a:gd name="connsiteY15" fmla="*/ 870473 h 1129823"/>
                <a:gd name="connsiteX16" fmla="*/ 8026795 w 12045155"/>
                <a:gd name="connsiteY16" fmla="*/ 861967 h 1129823"/>
                <a:gd name="connsiteX17" fmla="*/ 8504518 w 12045155"/>
                <a:gd name="connsiteY17" fmla="*/ 827979 h 1129823"/>
                <a:gd name="connsiteX18" fmla="*/ 11481826 w 12045155"/>
                <a:gd name="connsiteY18" fmla="*/ 1127088 h 1129823"/>
                <a:gd name="connsiteX19" fmla="*/ 12045155 w 12045155"/>
                <a:gd name="connsiteY19" fmla="*/ 699393 h 1129823"/>
                <a:gd name="connsiteX20" fmla="*/ 12045155 w 12045155"/>
                <a:gd name="connsiteY20" fmla="*/ 261011 h 1129823"/>
                <a:gd name="connsiteX21" fmla="*/ 8450223 w 12045155"/>
                <a:gd name="connsiteY21" fmla="*/ 156695 h 1129823"/>
                <a:gd name="connsiteX22" fmla="*/ 7635927 w 12045155"/>
                <a:gd name="connsiteY22" fmla="*/ 105714 h 1129823"/>
                <a:gd name="connsiteX23" fmla="*/ 7049636 w 12045155"/>
                <a:gd name="connsiteY23" fmla="*/ 199189 h 1129823"/>
                <a:gd name="connsiteX24" fmla="*/ 6342549 w 12045155"/>
                <a:gd name="connsiteY24" fmla="*/ 146630 h 1129823"/>
                <a:gd name="connsiteX25" fmla="*/ 5902209 w 12045155"/>
                <a:gd name="connsiteY25" fmla="*/ 249658 h 1129823"/>
                <a:gd name="connsiteX26" fmla="*/ 5182195 w 12045155"/>
                <a:gd name="connsiteY26" fmla="*/ 292664 h 1129823"/>
                <a:gd name="connsiteX27" fmla="*/ 3822487 w 12045155"/>
                <a:gd name="connsiteY27" fmla="*/ 90799 h 1129823"/>
                <a:gd name="connsiteX28" fmla="*/ 2370177 w 12045155"/>
                <a:gd name="connsiteY28" fmla="*/ 156695 h 1129823"/>
                <a:gd name="connsiteX29" fmla="*/ 578745 w 12045155"/>
                <a:gd name="connsiteY29" fmla="*/ 148189 h 1129823"/>
                <a:gd name="connsiteX30" fmla="*/ 38923 w 12045155"/>
                <a:gd name="connsiteY30" fmla="*/ 157240 h 1129823"/>
                <a:gd name="connsiteX0" fmla="*/ 38923 w 12045155"/>
                <a:gd name="connsiteY0" fmla="*/ 157240 h 1784983"/>
                <a:gd name="connsiteX1" fmla="*/ 4765 w 12045155"/>
                <a:gd name="connsiteY1" fmla="*/ 229969 h 1784983"/>
                <a:gd name="connsiteX2" fmla="*/ 16985 w 12045155"/>
                <a:gd name="connsiteY2" fmla="*/ 441204 h 1784983"/>
                <a:gd name="connsiteX3" fmla="*/ 31647 w 12045155"/>
                <a:gd name="connsiteY3" fmla="*/ 700450 h 1784983"/>
                <a:gd name="connsiteX4" fmla="*/ 43864 w 12045155"/>
                <a:gd name="connsiteY4" fmla="*/ 777266 h 1784983"/>
                <a:gd name="connsiteX5" fmla="*/ 80207 w 12045155"/>
                <a:gd name="connsiteY5" fmla="*/ 937416 h 1784983"/>
                <a:gd name="connsiteX6" fmla="*/ 937008 w 12045155"/>
                <a:gd name="connsiteY6" fmla="*/ 844973 h 1784983"/>
                <a:gd name="connsiteX7" fmla="*/ 1631867 w 12045155"/>
                <a:gd name="connsiteY7" fmla="*/ 878961 h 1784983"/>
                <a:gd name="connsiteX8" fmla="*/ 2087877 w 12045155"/>
                <a:gd name="connsiteY8" fmla="*/ 819473 h 1784983"/>
                <a:gd name="connsiteX9" fmla="*/ 2565599 w 12045155"/>
                <a:gd name="connsiteY9" fmla="*/ 819473 h 1784983"/>
                <a:gd name="connsiteX10" fmla="*/ 3336468 w 12045155"/>
                <a:gd name="connsiteY10" fmla="*/ 861967 h 1784983"/>
                <a:gd name="connsiteX11" fmla="*/ 4215904 w 12045155"/>
                <a:gd name="connsiteY11" fmla="*/ 844973 h 1784983"/>
                <a:gd name="connsiteX12" fmla="*/ 4845622 w 12045155"/>
                <a:gd name="connsiteY12" fmla="*/ 853479 h 1784983"/>
                <a:gd name="connsiteX13" fmla="*/ 5681632 w 12045155"/>
                <a:gd name="connsiteY13" fmla="*/ 853479 h 1784983"/>
                <a:gd name="connsiteX14" fmla="*/ 6745645 w 12045155"/>
                <a:gd name="connsiteY14" fmla="*/ 878979 h 1784983"/>
                <a:gd name="connsiteX15" fmla="*/ 7494800 w 12045155"/>
                <a:gd name="connsiteY15" fmla="*/ 870473 h 1784983"/>
                <a:gd name="connsiteX16" fmla="*/ 8026795 w 12045155"/>
                <a:gd name="connsiteY16" fmla="*/ 861967 h 1784983"/>
                <a:gd name="connsiteX17" fmla="*/ 8504518 w 12045155"/>
                <a:gd name="connsiteY17" fmla="*/ 827979 h 1784983"/>
                <a:gd name="connsiteX18" fmla="*/ 10922986 w 12045155"/>
                <a:gd name="connsiteY18" fmla="*/ 1782194 h 1784983"/>
                <a:gd name="connsiteX19" fmla="*/ 11481826 w 12045155"/>
                <a:gd name="connsiteY19" fmla="*/ 1127088 h 1784983"/>
                <a:gd name="connsiteX20" fmla="*/ 12045155 w 12045155"/>
                <a:gd name="connsiteY20" fmla="*/ 699393 h 1784983"/>
                <a:gd name="connsiteX21" fmla="*/ 12045155 w 12045155"/>
                <a:gd name="connsiteY21" fmla="*/ 261011 h 1784983"/>
                <a:gd name="connsiteX22" fmla="*/ 8450223 w 12045155"/>
                <a:gd name="connsiteY22" fmla="*/ 156695 h 1784983"/>
                <a:gd name="connsiteX23" fmla="*/ 7635927 w 12045155"/>
                <a:gd name="connsiteY23" fmla="*/ 105714 h 1784983"/>
                <a:gd name="connsiteX24" fmla="*/ 7049636 w 12045155"/>
                <a:gd name="connsiteY24" fmla="*/ 199189 h 1784983"/>
                <a:gd name="connsiteX25" fmla="*/ 6342549 w 12045155"/>
                <a:gd name="connsiteY25" fmla="*/ 146630 h 1784983"/>
                <a:gd name="connsiteX26" fmla="*/ 5902209 w 12045155"/>
                <a:gd name="connsiteY26" fmla="*/ 249658 h 1784983"/>
                <a:gd name="connsiteX27" fmla="*/ 5182195 w 12045155"/>
                <a:gd name="connsiteY27" fmla="*/ 292664 h 1784983"/>
                <a:gd name="connsiteX28" fmla="*/ 3822487 w 12045155"/>
                <a:gd name="connsiteY28" fmla="*/ 90799 h 1784983"/>
                <a:gd name="connsiteX29" fmla="*/ 2370177 w 12045155"/>
                <a:gd name="connsiteY29" fmla="*/ 156695 h 1784983"/>
                <a:gd name="connsiteX30" fmla="*/ 578745 w 12045155"/>
                <a:gd name="connsiteY30" fmla="*/ 148189 h 1784983"/>
                <a:gd name="connsiteX31" fmla="*/ 38923 w 12045155"/>
                <a:gd name="connsiteY31" fmla="*/ 157240 h 1784983"/>
                <a:gd name="connsiteX0" fmla="*/ 38923 w 12045155"/>
                <a:gd name="connsiteY0" fmla="*/ 157240 h 1848237"/>
                <a:gd name="connsiteX1" fmla="*/ 4765 w 12045155"/>
                <a:gd name="connsiteY1" fmla="*/ 229969 h 1848237"/>
                <a:gd name="connsiteX2" fmla="*/ 16985 w 12045155"/>
                <a:gd name="connsiteY2" fmla="*/ 441204 h 1848237"/>
                <a:gd name="connsiteX3" fmla="*/ 31647 w 12045155"/>
                <a:gd name="connsiteY3" fmla="*/ 700450 h 1848237"/>
                <a:gd name="connsiteX4" fmla="*/ 43864 w 12045155"/>
                <a:gd name="connsiteY4" fmla="*/ 777266 h 1848237"/>
                <a:gd name="connsiteX5" fmla="*/ 80207 w 12045155"/>
                <a:gd name="connsiteY5" fmla="*/ 937416 h 1848237"/>
                <a:gd name="connsiteX6" fmla="*/ 937008 w 12045155"/>
                <a:gd name="connsiteY6" fmla="*/ 844973 h 1848237"/>
                <a:gd name="connsiteX7" fmla="*/ 1631867 w 12045155"/>
                <a:gd name="connsiteY7" fmla="*/ 878961 h 1848237"/>
                <a:gd name="connsiteX8" fmla="*/ 2087877 w 12045155"/>
                <a:gd name="connsiteY8" fmla="*/ 819473 h 1848237"/>
                <a:gd name="connsiteX9" fmla="*/ 2565599 w 12045155"/>
                <a:gd name="connsiteY9" fmla="*/ 819473 h 1848237"/>
                <a:gd name="connsiteX10" fmla="*/ 3336468 w 12045155"/>
                <a:gd name="connsiteY10" fmla="*/ 861967 h 1848237"/>
                <a:gd name="connsiteX11" fmla="*/ 4215904 w 12045155"/>
                <a:gd name="connsiteY11" fmla="*/ 844973 h 1848237"/>
                <a:gd name="connsiteX12" fmla="*/ 4845622 w 12045155"/>
                <a:gd name="connsiteY12" fmla="*/ 853479 h 1848237"/>
                <a:gd name="connsiteX13" fmla="*/ 5681632 w 12045155"/>
                <a:gd name="connsiteY13" fmla="*/ 853479 h 1848237"/>
                <a:gd name="connsiteX14" fmla="*/ 6745645 w 12045155"/>
                <a:gd name="connsiteY14" fmla="*/ 878979 h 1848237"/>
                <a:gd name="connsiteX15" fmla="*/ 7494800 w 12045155"/>
                <a:gd name="connsiteY15" fmla="*/ 870473 h 1848237"/>
                <a:gd name="connsiteX16" fmla="*/ 8026795 w 12045155"/>
                <a:gd name="connsiteY16" fmla="*/ 861967 h 1848237"/>
                <a:gd name="connsiteX17" fmla="*/ 8504518 w 12045155"/>
                <a:gd name="connsiteY17" fmla="*/ 827979 h 1848237"/>
                <a:gd name="connsiteX18" fmla="*/ 10922986 w 12045155"/>
                <a:gd name="connsiteY18" fmla="*/ 1782194 h 1848237"/>
                <a:gd name="connsiteX19" fmla="*/ 11481826 w 12045155"/>
                <a:gd name="connsiteY19" fmla="*/ 1127088 h 1848237"/>
                <a:gd name="connsiteX20" fmla="*/ 12045155 w 12045155"/>
                <a:gd name="connsiteY20" fmla="*/ 699393 h 1848237"/>
                <a:gd name="connsiteX21" fmla="*/ 12045155 w 12045155"/>
                <a:gd name="connsiteY21" fmla="*/ 261011 h 1848237"/>
                <a:gd name="connsiteX22" fmla="*/ 8450223 w 12045155"/>
                <a:gd name="connsiteY22" fmla="*/ 156695 h 1848237"/>
                <a:gd name="connsiteX23" fmla="*/ 7635927 w 12045155"/>
                <a:gd name="connsiteY23" fmla="*/ 105714 h 1848237"/>
                <a:gd name="connsiteX24" fmla="*/ 7049636 w 12045155"/>
                <a:gd name="connsiteY24" fmla="*/ 199189 h 1848237"/>
                <a:gd name="connsiteX25" fmla="*/ 6342549 w 12045155"/>
                <a:gd name="connsiteY25" fmla="*/ 146630 h 1848237"/>
                <a:gd name="connsiteX26" fmla="*/ 5902209 w 12045155"/>
                <a:gd name="connsiteY26" fmla="*/ 249658 h 1848237"/>
                <a:gd name="connsiteX27" fmla="*/ 5182195 w 12045155"/>
                <a:gd name="connsiteY27" fmla="*/ 292664 h 1848237"/>
                <a:gd name="connsiteX28" fmla="*/ 3822487 w 12045155"/>
                <a:gd name="connsiteY28" fmla="*/ 90799 h 1848237"/>
                <a:gd name="connsiteX29" fmla="*/ 2370177 w 12045155"/>
                <a:gd name="connsiteY29" fmla="*/ 156695 h 1848237"/>
                <a:gd name="connsiteX30" fmla="*/ 578745 w 12045155"/>
                <a:gd name="connsiteY30" fmla="*/ 148189 h 1848237"/>
                <a:gd name="connsiteX31" fmla="*/ 38923 w 12045155"/>
                <a:gd name="connsiteY31" fmla="*/ 157240 h 1848237"/>
                <a:gd name="connsiteX0" fmla="*/ 38923 w 12045155"/>
                <a:gd name="connsiteY0" fmla="*/ 157240 h 2147863"/>
                <a:gd name="connsiteX1" fmla="*/ 4765 w 12045155"/>
                <a:gd name="connsiteY1" fmla="*/ 229969 h 2147863"/>
                <a:gd name="connsiteX2" fmla="*/ 16985 w 12045155"/>
                <a:gd name="connsiteY2" fmla="*/ 441204 h 2147863"/>
                <a:gd name="connsiteX3" fmla="*/ 31647 w 12045155"/>
                <a:gd name="connsiteY3" fmla="*/ 700450 h 2147863"/>
                <a:gd name="connsiteX4" fmla="*/ 43864 w 12045155"/>
                <a:gd name="connsiteY4" fmla="*/ 777266 h 2147863"/>
                <a:gd name="connsiteX5" fmla="*/ 80207 w 12045155"/>
                <a:gd name="connsiteY5" fmla="*/ 937416 h 2147863"/>
                <a:gd name="connsiteX6" fmla="*/ 937008 w 12045155"/>
                <a:gd name="connsiteY6" fmla="*/ 844973 h 2147863"/>
                <a:gd name="connsiteX7" fmla="*/ 1631867 w 12045155"/>
                <a:gd name="connsiteY7" fmla="*/ 878961 h 2147863"/>
                <a:gd name="connsiteX8" fmla="*/ 2087877 w 12045155"/>
                <a:gd name="connsiteY8" fmla="*/ 819473 h 2147863"/>
                <a:gd name="connsiteX9" fmla="*/ 2565599 w 12045155"/>
                <a:gd name="connsiteY9" fmla="*/ 819473 h 2147863"/>
                <a:gd name="connsiteX10" fmla="*/ 3336468 w 12045155"/>
                <a:gd name="connsiteY10" fmla="*/ 861967 h 2147863"/>
                <a:gd name="connsiteX11" fmla="*/ 4215904 w 12045155"/>
                <a:gd name="connsiteY11" fmla="*/ 844973 h 2147863"/>
                <a:gd name="connsiteX12" fmla="*/ 4845622 w 12045155"/>
                <a:gd name="connsiteY12" fmla="*/ 853479 h 2147863"/>
                <a:gd name="connsiteX13" fmla="*/ 5681632 w 12045155"/>
                <a:gd name="connsiteY13" fmla="*/ 853479 h 2147863"/>
                <a:gd name="connsiteX14" fmla="*/ 6745645 w 12045155"/>
                <a:gd name="connsiteY14" fmla="*/ 878979 h 2147863"/>
                <a:gd name="connsiteX15" fmla="*/ 7494800 w 12045155"/>
                <a:gd name="connsiteY15" fmla="*/ 870473 h 2147863"/>
                <a:gd name="connsiteX16" fmla="*/ 8026795 w 12045155"/>
                <a:gd name="connsiteY16" fmla="*/ 861967 h 2147863"/>
                <a:gd name="connsiteX17" fmla="*/ 8504518 w 12045155"/>
                <a:gd name="connsiteY17" fmla="*/ 827979 h 2147863"/>
                <a:gd name="connsiteX18" fmla="*/ 10177867 w 12045155"/>
                <a:gd name="connsiteY18" fmla="*/ 2109744 h 2147863"/>
                <a:gd name="connsiteX19" fmla="*/ 10922986 w 12045155"/>
                <a:gd name="connsiteY19" fmla="*/ 1782194 h 2147863"/>
                <a:gd name="connsiteX20" fmla="*/ 11481826 w 12045155"/>
                <a:gd name="connsiteY20" fmla="*/ 1127088 h 2147863"/>
                <a:gd name="connsiteX21" fmla="*/ 12045155 w 12045155"/>
                <a:gd name="connsiteY21" fmla="*/ 699393 h 2147863"/>
                <a:gd name="connsiteX22" fmla="*/ 12045155 w 12045155"/>
                <a:gd name="connsiteY22" fmla="*/ 261011 h 2147863"/>
                <a:gd name="connsiteX23" fmla="*/ 8450223 w 12045155"/>
                <a:gd name="connsiteY23" fmla="*/ 156695 h 2147863"/>
                <a:gd name="connsiteX24" fmla="*/ 7635927 w 12045155"/>
                <a:gd name="connsiteY24" fmla="*/ 105714 h 2147863"/>
                <a:gd name="connsiteX25" fmla="*/ 7049636 w 12045155"/>
                <a:gd name="connsiteY25" fmla="*/ 199189 h 2147863"/>
                <a:gd name="connsiteX26" fmla="*/ 6342549 w 12045155"/>
                <a:gd name="connsiteY26" fmla="*/ 146630 h 2147863"/>
                <a:gd name="connsiteX27" fmla="*/ 5902209 w 12045155"/>
                <a:gd name="connsiteY27" fmla="*/ 249658 h 2147863"/>
                <a:gd name="connsiteX28" fmla="*/ 5182195 w 12045155"/>
                <a:gd name="connsiteY28" fmla="*/ 292664 h 2147863"/>
                <a:gd name="connsiteX29" fmla="*/ 3822487 w 12045155"/>
                <a:gd name="connsiteY29" fmla="*/ 90799 h 2147863"/>
                <a:gd name="connsiteX30" fmla="*/ 2370177 w 12045155"/>
                <a:gd name="connsiteY30" fmla="*/ 156695 h 2147863"/>
                <a:gd name="connsiteX31" fmla="*/ 578745 w 12045155"/>
                <a:gd name="connsiteY31" fmla="*/ 148189 h 2147863"/>
                <a:gd name="connsiteX32" fmla="*/ 38923 w 12045155"/>
                <a:gd name="connsiteY32" fmla="*/ 157240 h 2147863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8450223 w 12045155"/>
                <a:gd name="connsiteY24" fmla="*/ 156695 h 2112232"/>
                <a:gd name="connsiteX25" fmla="*/ 7635927 w 12045155"/>
                <a:gd name="connsiteY25" fmla="*/ 105714 h 2112232"/>
                <a:gd name="connsiteX26" fmla="*/ 7049636 w 12045155"/>
                <a:gd name="connsiteY26" fmla="*/ 199189 h 2112232"/>
                <a:gd name="connsiteX27" fmla="*/ 6342549 w 12045155"/>
                <a:gd name="connsiteY27" fmla="*/ 146630 h 2112232"/>
                <a:gd name="connsiteX28" fmla="*/ 5902209 w 12045155"/>
                <a:gd name="connsiteY28" fmla="*/ 249658 h 2112232"/>
                <a:gd name="connsiteX29" fmla="*/ 5182195 w 12045155"/>
                <a:gd name="connsiteY29" fmla="*/ 292664 h 2112232"/>
                <a:gd name="connsiteX30" fmla="*/ 3822487 w 12045155"/>
                <a:gd name="connsiteY30" fmla="*/ 90799 h 2112232"/>
                <a:gd name="connsiteX31" fmla="*/ 2370177 w 12045155"/>
                <a:gd name="connsiteY31" fmla="*/ 156695 h 2112232"/>
                <a:gd name="connsiteX32" fmla="*/ 578745 w 12045155"/>
                <a:gd name="connsiteY32" fmla="*/ 148189 h 2112232"/>
                <a:gd name="connsiteX33" fmla="*/ 38923 w 12045155"/>
                <a:gd name="connsiteY33" fmla="*/ 157240 h 2112232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11438839 w 12045155"/>
                <a:gd name="connsiteY24" fmla="*/ 435586 h 2112232"/>
                <a:gd name="connsiteX25" fmla="*/ 8450223 w 12045155"/>
                <a:gd name="connsiteY25" fmla="*/ 156695 h 2112232"/>
                <a:gd name="connsiteX26" fmla="*/ 7635927 w 12045155"/>
                <a:gd name="connsiteY26" fmla="*/ 105714 h 2112232"/>
                <a:gd name="connsiteX27" fmla="*/ 7049636 w 12045155"/>
                <a:gd name="connsiteY27" fmla="*/ 199189 h 2112232"/>
                <a:gd name="connsiteX28" fmla="*/ 6342549 w 12045155"/>
                <a:gd name="connsiteY28" fmla="*/ 146630 h 2112232"/>
                <a:gd name="connsiteX29" fmla="*/ 5902209 w 12045155"/>
                <a:gd name="connsiteY29" fmla="*/ 249658 h 2112232"/>
                <a:gd name="connsiteX30" fmla="*/ 5182195 w 12045155"/>
                <a:gd name="connsiteY30" fmla="*/ 292664 h 2112232"/>
                <a:gd name="connsiteX31" fmla="*/ 3822487 w 12045155"/>
                <a:gd name="connsiteY31" fmla="*/ 90799 h 2112232"/>
                <a:gd name="connsiteX32" fmla="*/ 2370177 w 12045155"/>
                <a:gd name="connsiteY32" fmla="*/ 156695 h 2112232"/>
                <a:gd name="connsiteX33" fmla="*/ 578745 w 12045155"/>
                <a:gd name="connsiteY33" fmla="*/ 148189 h 2112232"/>
                <a:gd name="connsiteX34" fmla="*/ 38923 w 12045155"/>
                <a:gd name="connsiteY34" fmla="*/ 157240 h 2112232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11438839 w 12045155"/>
                <a:gd name="connsiteY24" fmla="*/ 435586 h 2112232"/>
                <a:gd name="connsiteX25" fmla="*/ 8450223 w 12045155"/>
                <a:gd name="connsiteY25" fmla="*/ 156695 h 2112232"/>
                <a:gd name="connsiteX26" fmla="*/ 7635927 w 12045155"/>
                <a:gd name="connsiteY26" fmla="*/ 105714 h 2112232"/>
                <a:gd name="connsiteX27" fmla="*/ 7049636 w 12045155"/>
                <a:gd name="connsiteY27" fmla="*/ 199189 h 2112232"/>
                <a:gd name="connsiteX28" fmla="*/ 6342549 w 12045155"/>
                <a:gd name="connsiteY28" fmla="*/ 146630 h 2112232"/>
                <a:gd name="connsiteX29" fmla="*/ 5902209 w 12045155"/>
                <a:gd name="connsiteY29" fmla="*/ 249658 h 2112232"/>
                <a:gd name="connsiteX30" fmla="*/ 5182195 w 12045155"/>
                <a:gd name="connsiteY30" fmla="*/ 292664 h 2112232"/>
                <a:gd name="connsiteX31" fmla="*/ 3822487 w 12045155"/>
                <a:gd name="connsiteY31" fmla="*/ 90799 h 2112232"/>
                <a:gd name="connsiteX32" fmla="*/ 2370177 w 12045155"/>
                <a:gd name="connsiteY32" fmla="*/ 156695 h 2112232"/>
                <a:gd name="connsiteX33" fmla="*/ 578745 w 12045155"/>
                <a:gd name="connsiteY33" fmla="*/ 148189 h 2112232"/>
                <a:gd name="connsiteX34" fmla="*/ 38923 w 12045155"/>
                <a:gd name="connsiteY34" fmla="*/ 157240 h 2112232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11438839 w 12045155"/>
                <a:gd name="connsiteY24" fmla="*/ 435586 h 2112232"/>
                <a:gd name="connsiteX25" fmla="*/ 9053022 w 12045155"/>
                <a:gd name="connsiteY25" fmla="*/ 581165 h 2112232"/>
                <a:gd name="connsiteX26" fmla="*/ 8450223 w 12045155"/>
                <a:gd name="connsiteY26" fmla="*/ 156695 h 2112232"/>
                <a:gd name="connsiteX27" fmla="*/ 7635927 w 12045155"/>
                <a:gd name="connsiteY27" fmla="*/ 105714 h 2112232"/>
                <a:gd name="connsiteX28" fmla="*/ 7049636 w 12045155"/>
                <a:gd name="connsiteY28" fmla="*/ 199189 h 2112232"/>
                <a:gd name="connsiteX29" fmla="*/ 6342549 w 12045155"/>
                <a:gd name="connsiteY29" fmla="*/ 146630 h 2112232"/>
                <a:gd name="connsiteX30" fmla="*/ 5902209 w 12045155"/>
                <a:gd name="connsiteY30" fmla="*/ 249658 h 2112232"/>
                <a:gd name="connsiteX31" fmla="*/ 5182195 w 12045155"/>
                <a:gd name="connsiteY31" fmla="*/ 292664 h 2112232"/>
                <a:gd name="connsiteX32" fmla="*/ 3822487 w 12045155"/>
                <a:gd name="connsiteY32" fmla="*/ 90799 h 2112232"/>
                <a:gd name="connsiteX33" fmla="*/ 2370177 w 12045155"/>
                <a:gd name="connsiteY33" fmla="*/ 156695 h 2112232"/>
                <a:gd name="connsiteX34" fmla="*/ 578745 w 12045155"/>
                <a:gd name="connsiteY34" fmla="*/ 148189 h 2112232"/>
                <a:gd name="connsiteX35" fmla="*/ 38923 w 12045155"/>
                <a:gd name="connsiteY35" fmla="*/ 157240 h 2112232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11438839 w 12045155"/>
                <a:gd name="connsiteY24" fmla="*/ 435586 h 2112232"/>
                <a:gd name="connsiteX25" fmla="*/ 9527677 w 12045155"/>
                <a:gd name="connsiteY25" fmla="*/ 1058846 h 2112232"/>
                <a:gd name="connsiteX26" fmla="*/ 9053022 w 12045155"/>
                <a:gd name="connsiteY26" fmla="*/ 581165 h 2112232"/>
                <a:gd name="connsiteX27" fmla="*/ 8450223 w 12045155"/>
                <a:gd name="connsiteY27" fmla="*/ 156695 h 2112232"/>
                <a:gd name="connsiteX28" fmla="*/ 7635927 w 12045155"/>
                <a:gd name="connsiteY28" fmla="*/ 105714 h 2112232"/>
                <a:gd name="connsiteX29" fmla="*/ 7049636 w 12045155"/>
                <a:gd name="connsiteY29" fmla="*/ 199189 h 2112232"/>
                <a:gd name="connsiteX30" fmla="*/ 6342549 w 12045155"/>
                <a:gd name="connsiteY30" fmla="*/ 146630 h 2112232"/>
                <a:gd name="connsiteX31" fmla="*/ 5902209 w 12045155"/>
                <a:gd name="connsiteY31" fmla="*/ 249658 h 2112232"/>
                <a:gd name="connsiteX32" fmla="*/ 5182195 w 12045155"/>
                <a:gd name="connsiteY32" fmla="*/ 292664 h 2112232"/>
                <a:gd name="connsiteX33" fmla="*/ 3822487 w 12045155"/>
                <a:gd name="connsiteY33" fmla="*/ 90799 h 2112232"/>
                <a:gd name="connsiteX34" fmla="*/ 2370177 w 12045155"/>
                <a:gd name="connsiteY34" fmla="*/ 156695 h 2112232"/>
                <a:gd name="connsiteX35" fmla="*/ 578745 w 12045155"/>
                <a:gd name="connsiteY35" fmla="*/ 148189 h 2112232"/>
                <a:gd name="connsiteX36" fmla="*/ 38923 w 12045155"/>
                <a:gd name="connsiteY36" fmla="*/ 157240 h 2112232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11438839 w 12045155"/>
                <a:gd name="connsiteY24" fmla="*/ 435586 h 2112232"/>
                <a:gd name="connsiteX25" fmla="*/ 11059114 w 12045155"/>
                <a:gd name="connsiteY25" fmla="*/ 1047471 h 2112232"/>
                <a:gd name="connsiteX26" fmla="*/ 9527677 w 12045155"/>
                <a:gd name="connsiteY26" fmla="*/ 1058846 h 2112232"/>
                <a:gd name="connsiteX27" fmla="*/ 9053022 w 12045155"/>
                <a:gd name="connsiteY27" fmla="*/ 581165 h 2112232"/>
                <a:gd name="connsiteX28" fmla="*/ 8450223 w 12045155"/>
                <a:gd name="connsiteY28" fmla="*/ 156695 h 2112232"/>
                <a:gd name="connsiteX29" fmla="*/ 7635927 w 12045155"/>
                <a:gd name="connsiteY29" fmla="*/ 105714 h 2112232"/>
                <a:gd name="connsiteX30" fmla="*/ 7049636 w 12045155"/>
                <a:gd name="connsiteY30" fmla="*/ 199189 h 2112232"/>
                <a:gd name="connsiteX31" fmla="*/ 6342549 w 12045155"/>
                <a:gd name="connsiteY31" fmla="*/ 146630 h 2112232"/>
                <a:gd name="connsiteX32" fmla="*/ 5902209 w 12045155"/>
                <a:gd name="connsiteY32" fmla="*/ 249658 h 2112232"/>
                <a:gd name="connsiteX33" fmla="*/ 5182195 w 12045155"/>
                <a:gd name="connsiteY33" fmla="*/ 292664 h 2112232"/>
                <a:gd name="connsiteX34" fmla="*/ 3822487 w 12045155"/>
                <a:gd name="connsiteY34" fmla="*/ 90799 h 2112232"/>
                <a:gd name="connsiteX35" fmla="*/ 2370177 w 12045155"/>
                <a:gd name="connsiteY35" fmla="*/ 156695 h 2112232"/>
                <a:gd name="connsiteX36" fmla="*/ 578745 w 12045155"/>
                <a:gd name="connsiteY36" fmla="*/ 148189 h 2112232"/>
                <a:gd name="connsiteX37" fmla="*/ 38923 w 12045155"/>
                <a:gd name="connsiteY37" fmla="*/ 157240 h 2112232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11438839 w 12045155"/>
                <a:gd name="connsiteY24" fmla="*/ 435586 h 2112232"/>
                <a:gd name="connsiteX25" fmla="*/ 11059114 w 12045155"/>
                <a:gd name="connsiteY25" fmla="*/ 1047471 h 2112232"/>
                <a:gd name="connsiteX26" fmla="*/ 10602369 w 12045155"/>
                <a:gd name="connsiteY26" fmla="*/ 1661632 h 2112232"/>
                <a:gd name="connsiteX27" fmla="*/ 9527677 w 12045155"/>
                <a:gd name="connsiteY27" fmla="*/ 1058846 h 2112232"/>
                <a:gd name="connsiteX28" fmla="*/ 9053022 w 12045155"/>
                <a:gd name="connsiteY28" fmla="*/ 581165 h 2112232"/>
                <a:gd name="connsiteX29" fmla="*/ 8450223 w 12045155"/>
                <a:gd name="connsiteY29" fmla="*/ 156695 h 2112232"/>
                <a:gd name="connsiteX30" fmla="*/ 7635927 w 12045155"/>
                <a:gd name="connsiteY30" fmla="*/ 105714 h 2112232"/>
                <a:gd name="connsiteX31" fmla="*/ 7049636 w 12045155"/>
                <a:gd name="connsiteY31" fmla="*/ 199189 h 2112232"/>
                <a:gd name="connsiteX32" fmla="*/ 6342549 w 12045155"/>
                <a:gd name="connsiteY32" fmla="*/ 146630 h 2112232"/>
                <a:gd name="connsiteX33" fmla="*/ 5902209 w 12045155"/>
                <a:gd name="connsiteY33" fmla="*/ 249658 h 2112232"/>
                <a:gd name="connsiteX34" fmla="*/ 5182195 w 12045155"/>
                <a:gd name="connsiteY34" fmla="*/ 292664 h 2112232"/>
                <a:gd name="connsiteX35" fmla="*/ 3822487 w 12045155"/>
                <a:gd name="connsiteY35" fmla="*/ 90799 h 2112232"/>
                <a:gd name="connsiteX36" fmla="*/ 2370177 w 12045155"/>
                <a:gd name="connsiteY36" fmla="*/ 156695 h 2112232"/>
                <a:gd name="connsiteX37" fmla="*/ 578745 w 12045155"/>
                <a:gd name="connsiteY37" fmla="*/ 148189 h 2112232"/>
                <a:gd name="connsiteX38" fmla="*/ 38923 w 12045155"/>
                <a:gd name="connsiteY38" fmla="*/ 157240 h 2112232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11438839 w 12045155"/>
                <a:gd name="connsiteY24" fmla="*/ 435586 h 2112232"/>
                <a:gd name="connsiteX25" fmla="*/ 11059114 w 12045155"/>
                <a:gd name="connsiteY25" fmla="*/ 1047471 h 2112232"/>
                <a:gd name="connsiteX26" fmla="*/ 10602369 w 12045155"/>
                <a:gd name="connsiteY26" fmla="*/ 1661632 h 2112232"/>
                <a:gd name="connsiteX27" fmla="*/ 9948599 w 12045155"/>
                <a:gd name="connsiteY27" fmla="*/ 1673007 h 2112232"/>
                <a:gd name="connsiteX28" fmla="*/ 9527677 w 12045155"/>
                <a:gd name="connsiteY28" fmla="*/ 1058846 h 2112232"/>
                <a:gd name="connsiteX29" fmla="*/ 9053022 w 12045155"/>
                <a:gd name="connsiteY29" fmla="*/ 581165 h 2112232"/>
                <a:gd name="connsiteX30" fmla="*/ 8450223 w 12045155"/>
                <a:gd name="connsiteY30" fmla="*/ 156695 h 2112232"/>
                <a:gd name="connsiteX31" fmla="*/ 7635927 w 12045155"/>
                <a:gd name="connsiteY31" fmla="*/ 105714 h 2112232"/>
                <a:gd name="connsiteX32" fmla="*/ 7049636 w 12045155"/>
                <a:gd name="connsiteY32" fmla="*/ 199189 h 2112232"/>
                <a:gd name="connsiteX33" fmla="*/ 6342549 w 12045155"/>
                <a:gd name="connsiteY33" fmla="*/ 146630 h 2112232"/>
                <a:gd name="connsiteX34" fmla="*/ 5902209 w 12045155"/>
                <a:gd name="connsiteY34" fmla="*/ 249658 h 2112232"/>
                <a:gd name="connsiteX35" fmla="*/ 5182195 w 12045155"/>
                <a:gd name="connsiteY35" fmla="*/ 292664 h 2112232"/>
                <a:gd name="connsiteX36" fmla="*/ 3822487 w 12045155"/>
                <a:gd name="connsiteY36" fmla="*/ 90799 h 2112232"/>
                <a:gd name="connsiteX37" fmla="*/ 2370177 w 12045155"/>
                <a:gd name="connsiteY37" fmla="*/ 156695 h 2112232"/>
                <a:gd name="connsiteX38" fmla="*/ 578745 w 12045155"/>
                <a:gd name="connsiteY38" fmla="*/ 148189 h 2112232"/>
                <a:gd name="connsiteX39" fmla="*/ 38923 w 12045155"/>
                <a:gd name="connsiteY39" fmla="*/ 157240 h 2112232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11438839 w 12045155"/>
                <a:gd name="connsiteY24" fmla="*/ 435586 h 2112232"/>
                <a:gd name="connsiteX25" fmla="*/ 11059114 w 12045155"/>
                <a:gd name="connsiteY25" fmla="*/ 1047471 h 2112232"/>
                <a:gd name="connsiteX26" fmla="*/ 10602369 w 12045155"/>
                <a:gd name="connsiteY26" fmla="*/ 1661632 h 2112232"/>
                <a:gd name="connsiteX27" fmla="*/ 10034574 w 12045155"/>
                <a:gd name="connsiteY27" fmla="*/ 1618415 h 2112232"/>
                <a:gd name="connsiteX28" fmla="*/ 9527677 w 12045155"/>
                <a:gd name="connsiteY28" fmla="*/ 1058846 h 2112232"/>
                <a:gd name="connsiteX29" fmla="*/ 9053022 w 12045155"/>
                <a:gd name="connsiteY29" fmla="*/ 581165 h 2112232"/>
                <a:gd name="connsiteX30" fmla="*/ 8450223 w 12045155"/>
                <a:gd name="connsiteY30" fmla="*/ 156695 h 2112232"/>
                <a:gd name="connsiteX31" fmla="*/ 7635927 w 12045155"/>
                <a:gd name="connsiteY31" fmla="*/ 105714 h 2112232"/>
                <a:gd name="connsiteX32" fmla="*/ 7049636 w 12045155"/>
                <a:gd name="connsiteY32" fmla="*/ 199189 h 2112232"/>
                <a:gd name="connsiteX33" fmla="*/ 6342549 w 12045155"/>
                <a:gd name="connsiteY33" fmla="*/ 146630 h 2112232"/>
                <a:gd name="connsiteX34" fmla="*/ 5902209 w 12045155"/>
                <a:gd name="connsiteY34" fmla="*/ 249658 h 2112232"/>
                <a:gd name="connsiteX35" fmla="*/ 5182195 w 12045155"/>
                <a:gd name="connsiteY35" fmla="*/ 292664 h 2112232"/>
                <a:gd name="connsiteX36" fmla="*/ 3822487 w 12045155"/>
                <a:gd name="connsiteY36" fmla="*/ 90799 h 2112232"/>
                <a:gd name="connsiteX37" fmla="*/ 2370177 w 12045155"/>
                <a:gd name="connsiteY37" fmla="*/ 156695 h 2112232"/>
                <a:gd name="connsiteX38" fmla="*/ 578745 w 12045155"/>
                <a:gd name="connsiteY38" fmla="*/ 148189 h 2112232"/>
                <a:gd name="connsiteX39" fmla="*/ 38923 w 12045155"/>
                <a:gd name="connsiteY39" fmla="*/ 157240 h 2112232"/>
                <a:gd name="connsiteX0" fmla="*/ 38923 w 12045155"/>
                <a:gd name="connsiteY0" fmla="*/ 157240 h 2159168"/>
                <a:gd name="connsiteX1" fmla="*/ 4765 w 12045155"/>
                <a:gd name="connsiteY1" fmla="*/ 229969 h 2159168"/>
                <a:gd name="connsiteX2" fmla="*/ 16985 w 12045155"/>
                <a:gd name="connsiteY2" fmla="*/ 441204 h 2159168"/>
                <a:gd name="connsiteX3" fmla="*/ 31647 w 12045155"/>
                <a:gd name="connsiteY3" fmla="*/ 700450 h 2159168"/>
                <a:gd name="connsiteX4" fmla="*/ 43864 w 12045155"/>
                <a:gd name="connsiteY4" fmla="*/ 777266 h 2159168"/>
                <a:gd name="connsiteX5" fmla="*/ 80207 w 12045155"/>
                <a:gd name="connsiteY5" fmla="*/ 937416 h 2159168"/>
                <a:gd name="connsiteX6" fmla="*/ 937008 w 12045155"/>
                <a:gd name="connsiteY6" fmla="*/ 844973 h 2159168"/>
                <a:gd name="connsiteX7" fmla="*/ 1631867 w 12045155"/>
                <a:gd name="connsiteY7" fmla="*/ 878961 h 2159168"/>
                <a:gd name="connsiteX8" fmla="*/ 2087877 w 12045155"/>
                <a:gd name="connsiteY8" fmla="*/ 819473 h 2159168"/>
                <a:gd name="connsiteX9" fmla="*/ 2565599 w 12045155"/>
                <a:gd name="connsiteY9" fmla="*/ 819473 h 2159168"/>
                <a:gd name="connsiteX10" fmla="*/ 3336468 w 12045155"/>
                <a:gd name="connsiteY10" fmla="*/ 861967 h 2159168"/>
                <a:gd name="connsiteX11" fmla="*/ 4215904 w 12045155"/>
                <a:gd name="connsiteY11" fmla="*/ 844973 h 2159168"/>
                <a:gd name="connsiteX12" fmla="*/ 4845622 w 12045155"/>
                <a:gd name="connsiteY12" fmla="*/ 853479 h 2159168"/>
                <a:gd name="connsiteX13" fmla="*/ 5681632 w 12045155"/>
                <a:gd name="connsiteY13" fmla="*/ 853479 h 2159168"/>
                <a:gd name="connsiteX14" fmla="*/ 6745645 w 12045155"/>
                <a:gd name="connsiteY14" fmla="*/ 878979 h 2159168"/>
                <a:gd name="connsiteX15" fmla="*/ 7494800 w 12045155"/>
                <a:gd name="connsiteY15" fmla="*/ 870473 h 2159168"/>
                <a:gd name="connsiteX16" fmla="*/ 8026795 w 12045155"/>
                <a:gd name="connsiteY16" fmla="*/ 861967 h 2159168"/>
                <a:gd name="connsiteX17" fmla="*/ 8504518 w 12045155"/>
                <a:gd name="connsiteY17" fmla="*/ 827979 h 2159168"/>
                <a:gd name="connsiteX18" fmla="*/ 9361101 w 12045155"/>
                <a:gd name="connsiteY18" fmla="*/ 2018757 h 2159168"/>
                <a:gd name="connsiteX19" fmla="*/ 10177867 w 12045155"/>
                <a:gd name="connsiteY19" fmla="*/ 2109744 h 2159168"/>
                <a:gd name="connsiteX20" fmla="*/ 10922986 w 12045155"/>
                <a:gd name="connsiteY20" fmla="*/ 1782194 h 2159168"/>
                <a:gd name="connsiteX21" fmla="*/ 11481826 w 12045155"/>
                <a:gd name="connsiteY21" fmla="*/ 1127088 h 2159168"/>
                <a:gd name="connsiteX22" fmla="*/ 12045155 w 12045155"/>
                <a:gd name="connsiteY22" fmla="*/ 699393 h 2159168"/>
                <a:gd name="connsiteX23" fmla="*/ 12045155 w 12045155"/>
                <a:gd name="connsiteY23" fmla="*/ 261011 h 2159168"/>
                <a:gd name="connsiteX24" fmla="*/ 11438839 w 12045155"/>
                <a:gd name="connsiteY24" fmla="*/ 435586 h 2159168"/>
                <a:gd name="connsiteX25" fmla="*/ 11059114 w 12045155"/>
                <a:gd name="connsiteY25" fmla="*/ 1047471 h 2159168"/>
                <a:gd name="connsiteX26" fmla="*/ 10602369 w 12045155"/>
                <a:gd name="connsiteY26" fmla="*/ 1661632 h 2159168"/>
                <a:gd name="connsiteX27" fmla="*/ 10034574 w 12045155"/>
                <a:gd name="connsiteY27" fmla="*/ 1618415 h 2159168"/>
                <a:gd name="connsiteX28" fmla="*/ 9527677 w 12045155"/>
                <a:gd name="connsiteY28" fmla="*/ 1058846 h 2159168"/>
                <a:gd name="connsiteX29" fmla="*/ 9053022 w 12045155"/>
                <a:gd name="connsiteY29" fmla="*/ 581165 h 2159168"/>
                <a:gd name="connsiteX30" fmla="*/ 8450223 w 12045155"/>
                <a:gd name="connsiteY30" fmla="*/ 156695 h 2159168"/>
                <a:gd name="connsiteX31" fmla="*/ 7635927 w 12045155"/>
                <a:gd name="connsiteY31" fmla="*/ 105714 h 2159168"/>
                <a:gd name="connsiteX32" fmla="*/ 7049636 w 12045155"/>
                <a:gd name="connsiteY32" fmla="*/ 199189 h 2159168"/>
                <a:gd name="connsiteX33" fmla="*/ 6342549 w 12045155"/>
                <a:gd name="connsiteY33" fmla="*/ 146630 h 2159168"/>
                <a:gd name="connsiteX34" fmla="*/ 5902209 w 12045155"/>
                <a:gd name="connsiteY34" fmla="*/ 249658 h 2159168"/>
                <a:gd name="connsiteX35" fmla="*/ 5182195 w 12045155"/>
                <a:gd name="connsiteY35" fmla="*/ 292664 h 2159168"/>
                <a:gd name="connsiteX36" fmla="*/ 3822487 w 12045155"/>
                <a:gd name="connsiteY36" fmla="*/ 90799 h 2159168"/>
                <a:gd name="connsiteX37" fmla="*/ 2370177 w 12045155"/>
                <a:gd name="connsiteY37" fmla="*/ 156695 h 2159168"/>
                <a:gd name="connsiteX38" fmla="*/ 578745 w 12045155"/>
                <a:gd name="connsiteY38" fmla="*/ 148189 h 2159168"/>
                <a:gd name="connsiteX39" fmla="*/ 38923 w 12045155"/>
                <a:gd name="connsiteY39" fmla="*/ 157240 h 2159168"/>
                <a:gd name="connsiteX0" fmla="*/ 38923 w 12045155"/>
                <a:gd name="connsiteY0" fmla="*/ 157240 h 2371492"/>
                <a:gd name="connsiteX1" fmla="*/ 4765 w 12045155"/>
                <a:gd name="connsiteY1" fmla="*/ 229969 h 2371492"/>
                <a:gd name="connsiteX2" fmla="*/ 16985 w 12045155"/>
                <a:gd name="connsiteY2" fmla="*/ 441204 h 2371492"/>
                <a:gd name="connsiteX3" fmla="*/ 31647 w 12045155"/>
                <a:gd name="connsiteY3" fmla="*/ 700450 h 2371492"/>
                <a:gd name="connsiteX4" fmla="*/ 43864 w 12045155"/>
                <a:gd name="connsiteY4" fmla="*/ 777266 h 2371492"/>
                <a:gd name="connsiteX5" fmla="*/ 80207 w 12045155"/>
                <a:gd name="connsiteY5" fmla="*/ 937416 h 2371492"/>
                <a:gd name="connsiteX6" fmla="*/ 937008 w 12045155"/>
                <a:gd name="connsiteY6" fmla="*/ 844973 h 2371492"/>
                <a:gd name="connsiteX7" fmla="*/ 1631867 w 12045155"/>
                <a:gd name="connsiteY7" fmla="*/ 878961 h 2371492"/>
                <a:gd name="connsiteX8" fmla="*/ 2087877 w 12045155"/>
                <a:gd name="connsiteY8" fmla="*/ 819473 h 2371492"/>
                <a:gd name="connsiteX9" fmla="*/ 2565599 w 12045155"/>
                <a:gd name="connsiteY9" fmla="*/ 819473 h 2371492"/>
                <a:gd name="connsiteX10" fmla="*/ 3336468 w 12045155"/>
                <a:gd name="connsiteY10" fmla="*/ 861967 h 2371492"/>
                <a:gd name="connsiteX11" fmla="*/ 4215904 w 12045155"/>
                <a:gd name="connsiteY11" fmla="*/ 844973 h 2371492"/>
                <a:gd name="connsiteX12" fmla="*/ 4845622 w 12045155"/>
                <a:gd name="connsiteY12" fmla="*/ 853479 h 2371492"/>
                <a:gd name="connsiteX13" fmla="*/ 5681632 w 12045155"/>
                <a:gd name="connsiteY13" fmla="*/ 853479 h 2371492"/>
                <a:gd name="connsiteX14" fmla="*/ 6745645 w 12045155"/>
                <a:gd name="connsiteY14" fmla="*/ 878979 h 2371492"/>
                <a:gd name="connsiteX15" fmla="*/ 7494800 w 12045155"/>
                <a:gd name="connsiteY15" fmla="*/ 870473 h 2371492"/>
                <a:gd name="connsiteX16" fmla="*/ 8026795 w 12045155"/>
                <a:gd name="connsiteY16" fmla="*/ 861967 h 2371492"/>
                <a:gd name="connsiteX17" fmla="*/ 8504518 w 12045155"/>
                <a:gd name="connsiteY17" fmla="*/ 827979 h 2371492"/>
                <a:gd name="connsiteX18" fmla="*/ 9361101 w 12045155"/>
                <a:gd name="connsiteY18" fmla="*/ 2018757 h 2371492"/>
                <a:gd name="connsiteX19" fmla="*/ 10249513 w 12045155"/>
                <a:gd name="connsiteY19" fmla="*/ 2364507 h 2371492"/>
                <a:gd name="connsiteX20" fmla="*/ 10922986 w 12045155"/>
                <a:gd name="connsiteY20" fmla="*/ 1782194 h 2371492"/>
                <a:gd name="connsiteX21" fmla="*/ 11481826 w 12045155"/>
                <a:gd name="connsiteY21" fmla="*/ 1127088 h 2371492"/>
                <a:gd name="connsiteX22" fmla="*/ 12045155 w 12045155"/>
                <a:gd name="connsiteY22" fmla="*/ 699393 h 2371492"/>
                <a:gd name="connsiteX23" fmla="*/ 12045155 w 12045155"/>
                <a:gd name="connsiteY23" fmla="*/ 261011 h 2371492"/>
                <a:gd name="connsiteX24" fmla="*/ 11438839 w 12045155"/>
                <a:gd name="connsiteY24" fmla="*/ 435586 h 2371492"/>
                <a:gd name="connsiteX25" fmla="*/ 11059114 w 12045155"/>
                <a:gd name="connsiteY25" fmla="*/ 1047471 h 2371492"/>
                <a:gd name="connsiteX26" fmla="*/ 10602369 w 12045155"/>
                <a:gd name="connsiteY26" fmla="*/ 1661632 h 2371492"/>
                <a:gd name="connsiteX27" fmla="*/ 10034574 w 12045155"/>
                <a:gd name="connsiteY27" fmla="*/ 1618415 h 2371492"/>
                <a:gd name="connsiteX28" fmla="*/ 9527677 w 12045155"/>
                <a:gd name="connsiteY28" fmla="*/ 1058846 h 2371492"/>
                <a:gd name="connsiteX29" fmla="*/ 9053022 w 12045155"/>
                <a:gd name="connsiteY29" fmla="*/ 581165 h 2371492"/>
                <a:gd name="connsiteX30" fmla="*/ 8450223 w 12045155"/>
                <a:gd name="connsiteY30" fmla="*/ 156695 h 2371492"/>
                <a:gd name="connsiteX31" fmla="*/ 7635927 w 12045155"/>
                <a:gd name="connsiteY31" fmla="*/ 105714 h 2371492"/>
                <a:gd name="connsiteX32" fmla="*/ 7049636 w 12045155"/>
                <a:gd name="connsiteY32" fmla="*/ 199189 h 2371492"/>
                <a:gd name="connsiteX33" fmla="*/ 6342549 w 12045155"/>
                <a:gd name="connsiteY33" fmla="*/ 146630 h 2371492"/>
                <a:gd name="connsiteX34" fmla="*/ 5902209 w 12045155"/>
                <a:gd name="connsiteY34" fmla="*/ 249658 h 2371492"/>
                <a:gd name="connsiteX35" fmla="*/ 5182195 w 12045155"/>
                <a:gd name="connsiteY35" fmla="*/ 292664 h 2371492"/>
                <a:gd name="connsiteX36" fmla="*/ 3822487 w 12045155"/>
                <a:gd name="connsiteY36" fmla="*/ 90799 h 2371492"/>
                <a:gd name="connsiteX37" fmla="*/ 2370177 w 12045155"/>
                <a:gd name="connsiteY37" fmla="*/ 156695 h 2371492"/>
                <a:gd name="connsiteX38" fmla="*/ 578745 w 12045155"/>
                <a:gd name="connsiteY38" fmla="*/ 148189 h 2371492"/>
                <a:gd name="connsiteX39" fmla="*/ 38923 w 12045155"/>
                <a:gd name="connsiteY39" fmla="*/ 157240 h 2371492"/>
                <a:gd name="connsiteX0" fmla="*/ 38923 w 12045155"/>
                <a:gd name="connsiteY0" fmla="*/ 157240 h 2365078"/>
                <a:gd name="connsiteX1" fmla="*/ 4765 w 12045155"/>
                <a:gd name="connsiteY1" fmla="*/ 229969 h 2365078"/>
                <a:gd name="connsiteX2" fmla="*/ 16985 w 12045155"/>
                <a:gd name="connsiteY2" fmla="*/ 441204 h 2365078"/>
                <a:gd name="connsiteX3" fmla="*/ 31647 w 12045155"/>
                <a:gd name="connsiteY3" fmla="*/ 700450 h 2365078"/>
                <a:gd name="connsiteX4" fmla="*/ 43864 w 12045155"/>
                <a:gd name="connsiteY4" fmla="*/ 777266 h 2365078"/>
                <a:gd name="connsiteX5" fmla="*/ 80207 w 12045155"/>
                <a:gd name="connsiteY5" fmla="*/ 937416 h 2365078"/>
                <a:gd name="connsiteX6" fmla="*/ 937008 w 12045155"/>
                <a:gd name="connsiteY6" fmla="*/ 844973 h 2365078"/>
                <a:gd name="connsiteX7" fmla="*/ 1631867 w 12045155"/>
                <a:gd name="connsiteY7" fmla="*/ 878961 h 2365078"/>
                <a:gd name="connsiteX8" fmla="*/ 2087877 w 12045155"/>
                <a:gd name="connsiteY8" fmla="*/ 819473 h 2365078"/>
                <a:gd name="connsiteX9" fmla="*/ 2565599 w 12045155"/>
                <a:gd name="connsiteY9" fmla="*/ 819473 h 2365078"/>
                <a:gd name="connsiteX10" fmla="*/ 3336468 w 12045155"/>
                <a:gd name="connsiteY10" fmla="*/ 861967 h 2365078"/>
                <a:gd name="connsiteX11" fmla="*/ 4215904 w 12045155"/>
                <a:gd name="connsiteY11" fmla="*/ 844973 h 2365078"/>
                <a:gd name="connsiteX12" fmla="*/ 4845622 w 12045155"/>
                <a:gd name="connsiteY12" fmla="*/ 853479 h 2365078"/>
                <a:gd name="connsiteX13" fmla="*/ 5681632 w 12045155"/>
                <a:gd name="connsiteY13" fmla="*/ 853479 h 2365078"/>
                <a:gd name="connsiteX14" fmla="*/ 6745645 w 12045155"/>
                <a:gd name="connsiteY14" fmla="*/ 878979 h 2365078"/>
                <a:gd name="connsiteX15" fmla="*/ 7494800 w 12045155"/>
                <a:gd name="connsiteY15" fmla="*/ 870473 h 2365078"/>
                <a:gd name="connsiteX16" fmla="*/ 8026795 w 12045155"/>
                <a:gd name="connsiteY16" fmla="*/ 861967 h 2365078"/>
                <a:gd name="connsiteX17" fmla="*/ 8504518 w 12045155"/>
                <a:gd name="connsiteY17" fmla="*/ 827979 h 2365078"/>
                <a:gd name="connsiteX18" fmla="*/ 9361101 w 12045155"/>
                <a:gd name="connsiteY18" fmla="*/ 2018757 h 2365078"/>
                <a:gd name="connsiteX19" fmla="*/ 10249513 w 12045155"/>
                <a:gd name="connsiteY19" fmla="*/ 2364507 h 2365078"/>
                <a:gd name="connsiteX20" fmla="*/ 11123596 w 12045155"/>
                <a:gd name="connsiteY20" fmla="*/ 1964167 h 2365078"/>
                <a:gd name="connsiteX21" fmla="*/ 11481826 w 12045155"/>
                <a:gd name="connsiteY21" fmla="*/ 1127088 h 2365078"/>
                <a:gd name="connsiteX22" fmla="*/ 12045155 w 12045155"/>
                <a:gd name="connsiteY22" fmla="*/ 699393 h 2365078"/>
                <a:gd name="connsiteX23" fmla="*/ 12045155 w 12045155"/>
                <a:gd name="connsiteY23" fmla="*/ 261011 h 2365078"/>
                <a:gd name="connsiteX24" fmla="*/ 11438839 w 12045155"/>
                <a:gd name="connsiteY24" fmla="*/ 435586 h 2365078"/>
                <a:gd name="connsiteX25" fmla="*/ 11059114 w 12045155"/>
                <a:gd name="connsiteY25" fmla="*/ 1047471 h 2365078"/>
                <a:gd name="connsiteX26" fmla="*/ 10602369 w 12045155"/>
                <a:gd name="connsiteY26" fmla="*/ 1661632 h 2365078"/>
                <a:gd name="connsiteX27" fmla="*/ 10034574 w 12045155"/>
                <a:gd name="connsiteY27" fmla="*/ 1618415 h 2365078"/>
                <a:gd name="connsiteX28" fmla="*/ 9527677 w 12045155"/>
                <a:gd name="connsiteY28" fmla="*/ 1058846 h 2365078"/>
                <a:gd name="connsiteX29" fmla="*/ 9053022 w 12045155"/>
                <a:gd name="connsiteY29" fmla="*/ 581165 h 2365078"/>
                <a:gd name="connsiteX30" fmla="*/ 8450223 w 12045155"/>
                <a:gd name="connsiteY30" fmla="*/ 156695 h 2365078"/>
                <a:gd name="connsiteX31" fmla="*/ 7635927 w 12045155"/>
                <a:gd name="connsiteY31" fmla="*/ 105714 h 2365078"/>
                <a:gd name="connsiteX32" fmla="*/ 7049636 w 12045155"/>
                <a:gd name="connsiteY32" fmla="*/ 199189 h 2365078"/>
                <a:gd name="connsiteX33" fmla="*/ 6342549 w 12045155"/>
                <a:gd name="connsiteY33" fmla="*/ 146630 h 2365078"/>
                <a:gd name="connsiteX34" fmla="*/ 5902209 w 12045155"/>
                <a:gd name="connsiteY34" fmla="*/ 249658 h 2365078"/>
                <a:gd name="connsiteX35" fmla="*/ 5182195 w 12045155"/>
                <a:gd name="connsiteY35" fmla="*/ 292664 h 2365078"/>
                <a:gd name="connsiteX36" fmla="*/ 3822487 w 12045155"/>
                <a:gd name="connsiteY36" fmla="*/ 90799 h 2365078"/>
                <a:gd name="connsiteX37" fmla="*/ 2370177 w 12045155"/>
                <a:gd name="connsiteY37" fmla="*/ 156695 h 2365078"/>
                <a:gd name="connsiteX38" fmla="*/ 578745 w 12045155"/>
                <a:gd name="connsiteY38" fmla="*/ 148189 h 2365078"/>
                <a:gd name="connsiteX39" fmla="*/ 38923 w 12045155"/>
                <a:gd name="connsiteY39" fmla="*/ 157240 h 2365078"/>
                <a:gd name="connsiteX0" fmla="*/ 38923 w 12045155"/>
                <a:gd name="connsiteY0" fmla="*/ 157240 h 2365078"/>
                <a:gd name="connsiteX1" fmla="*/ 4765 w 12045155"/>
                <a:gd name="connsiteY1" fmla="*/ 229969 h 2365078"/>
                <a:gd name="connsiteX2" fmla="*/ 16985 w 12045155"/>
                <a:gd name="connsiteY2" fmla="*/ 441204 h 2365078"/>
                <a:gd name="connsiteX3" fmla="*/ 31647 w 12045155"/>
                <a:gd name="connsiteY3" fmla="*/ 700450 h 2365078"/>
                <a:gd name="connsiteX4" fmla="*/ 43864 w 12045155"/>
                <a:gd name="connsiteY4" fmla="*/ 777266 h 2365078"/>
                <a:gd name="connsiteX5" fmla="*/ 80207 w 12045155"/>
                <a:gd name="connsiteY5" fmla="*/ 937416 h 2365078"/>
                <a:gd name="connsiteX6" fmla="*/ 937008 w 12045155"/>
                <a:gd name="connsiteY6" fmla="*/ 844973 h 2365078"/>
                <a:gd name="connsiteX7" fmla="*/ 1631867 w 12045155"/>
                <a:gd name="connsiteY7" fmla="*/ 878961 h 2365078"/>
                <a:gd name="connsiteX8" fmla="*/ 2087877 w 12045155"/>
                <a:gd name="connsiteY8" fmla="*/ 819473 h 2365078"/>
                <a:gd name="connsiteX9" fmla="*/ 2565599 w 12045155"/>
                <a:gd name="connsiteY9" fmla="*/ 819473 h 2365078"/>
                <a:gd name="connsiteX10" fmla="*/ 3336468 w 12045155"/>
                <a:gd name="connsiteY10" fmla="*/ 861967 h 2365078"/>
                <a:gd name="connsiteX11" fmla="*/ 4215904 w 12045155"/>
                <a:gd name="connsiteY11" fmla="*/ 844973 h 2365078"/>
                <a:gd name="connsiteX12" fmla="*/ 4845622 w 12045155"/>
                <a:gd name="connsiteY12" fmla="*/ 853479 h 2365078"/>
                <a:gd name="connsiteX13" fmla="*/ 5681632 w 12045155"/>
                <a:gd name="connsiteY13" fmla="*/ 853479 h 2365078"/>
                <a:gd name="connsiteX14" fmla="*/ 6745645 w 12045155"/>
                <a:gd name="connsiteY14" fmla="*/ 878979 h 2365078"/>
                <a:gd name="connsiteX15" fmla="*/ 7494800 w 12045155"/>
                <a:gd name="connsiteY15" fmla="*/ 870473 h 2365078"/>
                <a:gd name="connsiteX16" fmla="*/ 8026795 w 12045155"/>
                <a:gd name="connsiteY16" fmla="*/ 861967 h 2365078"/>
                <a:gd name="connsiteX17" fmla="*/ 8504518 w 12045155"/>
                <a:gd name="connsiteY17" fmla="*/ 827979 h 2365078"/>
                <a:gd name="connsiteX18" fmla="*/ 9361101 w 12045155"/>
                <a:gd name="connsiteY18" fmla="*/ 2018757 h 2365078"/>
                <a:gd name="connsiteX19" fmla="*/ 10249513 w 12045155"/>
                <a:gd name="connsiteY19" fmla="*/ 2364507 h 2365078"/>
                <a:gd name="connsiteX20" fmla="*/ 11123596 w 12045155"/>
                <a:gd name="connsiteY20" fmla="*/ 1964167 h 2365078"/>
                <a:gd name="connsiteX21" fmla="*/ 11797069 w 12045155"/>
                <a:gd name="connsiteY21" fmla="*/ 999707 h 2365078"/>
                <a:gd name="connsiteX22" fmla="*/ 12045155 w 12045155"/>
                <a:gd name="connsiteY22" fmla="*/ 699393 h 2365078"/>
                <a:gd name="connsiteX23" fmla="*/ 12045155 w 12045155"/>
                <a:gd name="connsiteY23" fmla="*/ 261011 h 2365078"/>
                <a:gd name="connsiteX24" fmla="*/ 11438839 w 12045155"/>
                <a:gd name="connsiteY24" fmla="*/ 435586 h 2365078"/>
                <a:gd name="connsiteX25" fmla="*/ 11059114 w 12045155"/>
                <a:gd name="connsiteY25" fmla="*/ 1047471 h 2365078"/>
                <a:gd name="connsiteX26" fmla="*/ 10602369 w 12045155"/>
                <a:gd name="connsiteY26" fmla="*/ 1661632 h 2365078"/>
                <a:gd name="connsiteX27" fmla="*/ 10034574 w 12045155"/>
                <a:gd name="connsiteY27" fmla="*/ 1618415 h 2365078"/>
                <a:gd name="connsiteX28" fmla="*/ 9527677 w 12045155"/>
                <a:gd name="connsiteY28" fmla="*/ 1058846 h 2365078"/>
                <a:gd name="connsiteX29" fmla="*/ 9053022 w 12045155"/>
                <a:gd name="connsiteY29" fmla="*/ 581165 h 2365078"/>
                <a:gd name="connsiteX30" fmla="*/ 8450223 w 12045155"/>
                <a:gd name="connsiteY30" fmla="*/ 156695 h 2365078"/>
                <a:gd name="connsiteX31" fmla="*/ 7635927 w 12045155"/>
                <a:gd name="connsiteY31" fmla="*/ 105714 h 2365078"/>
                <a:gd name="connsiteX32" fmla="*/ 7049636 w 12045155"/>
                <a:gd name="connsiteY32" fmla="*/ 199189 h 2365078"/>
                <a:gd name="connsiteX33" fmla="*/ 6342549 w 12045155"/>
                <a:gd name="connsiteY33" fmla="*/ 146630 h 2365078"/>
                <a:gd name="connsiteX34" fmla="*/ 5902209 w 12045155"/>
                <a:gd name="connsiteY34" fmla="*/ 249658 h 2365078"/>
                <a:gd name="connsiteX35" fmla="*/ 5182195 w 12045155"/>
                <a:gd name="connsiteY35" fmla="*/ 292664 h 2365078"/>
                <a:gd name="connsiteX36" fmla="*/ 3822487 w 12045155"/>
                <a:gd name="connsiteY36" fmla="*/ 90799 h 2365078"/>
                <a:gd name="connsiteX37" fmla="*/ 2370177 w 12045155"/>
                <a:gd name="connsiteY37" fmla="*/ 156695 h 2365078"/>
                <a:gd name="connsiteX38" fmla="*/ 578745 w 12045155"/>
                <a:gd name="connsiteY38" fmla="*/ 148189 h 2365078"/>
                <a:gd name="connsiteX39" fmla="*/ 38923 w 12045155"/>
                <a:gd name="connsiteY39" fmla="*/ 157240 h 2365078"/>
                <a:gd name="connsiteX0" fmla="*/ 38923 w 12045155"/>
                <a:gd name="connsiteY0" fmla="*/ 157240 h 2365078"/>
                <a:gd name="connsiteX1" fmla="*/ 4765 w 12045155"/>
                <a:gd name="connsiteY1" fmla="*/ 229969 h 2365078"/>
                <a:gd name="connsiteX2" fmla="*/ 16985 w 12045155"/>
                <a:gd name="connsiteY2" fmla="*/ 441204 h 2365078"/>
                <a:gd name="connsiteX3" fmla="*/ 31647 w 12045155"/>
                <a:gd name="connsiteY3" fmla="*/ 700450 h 2365078"/>
                <a:gd name="connsiteX4" fmla="*/ 43864 w 12045155"/>
                <a:gd name="connsiteY4" fmla="*/ 777266 h 2365078"/>
                <a:gd name="connsiteX5" fmla="*/ 80207 w 12045155"/>
                <a:gd name="connsiteY5" fmla="*/ 937416 h 2365078"/>
                <a:gd name="connsiteX6" fmla="*/ 937008 w 12045155"/>
                <a:gd name="connsiteY6" fmla="*/ 844973 h 2365078"/>
                <a:gd name="connsiteX7" fmla="*/ 1631867 w 12045155"/>
                <a:gd name="connsiteY7" fmla="*/ 878961 h 2365078"/>
                <a:gd name="connsiteX8" fmla="*/ 2087877 w 12045155"/>
                <a:gd name="connsiteY8" fmla="*/ 819473 h 2365078"/>
                <a:gd name="connsiteX9" fmla="*/ 2565599 w 12045155"/>
                <a:gd name="connsiteY9" fmla="*/ 819473 h 2365078"/>
                <a:gd name="connsiteX10" fmla="*/ 3336468 w 12045155"/>
                <a:gd name="connsiteY10" fmla="*/ 861967 h 2365078"/>
                <a:gd name="connsiteX11" fmla="*/ 4215904 w 12045155"/>
                <a:gd name="connsiteY11" fmla="*/ 844973 h 2365078"/>
                <a:gd name="connsiteX12" fmla="*/ 4845622 w 12045155"/>
                <a:gd name="connsiteY12" fmla="*/ 853479 h 2365078"/>
                <a:gd name="connsiteX13" fmla="*/ 5681632 w 12045155"/>
                <a:gd name="connsiteY13" fmla="*/ 853479 h 2365078"/>
                <a:gd name="connsiteX14" fmla="*/ 6745645 w 12045155"/>
                <a:gd name="connsiteY14" fmla="*/ 878979 h 2365078"/>
                <a:gd name="connsiteX15" fmla="*/ 7494800 w 12045155"/>
                <a:gd name="connsiteY15" fmla="*/ 870473 h 2365078"/>
                <a:gd name="connsiteX16" fmla="*/ 8026795 w 12045155"/>
                <a:gd name="connsiteY16" fmla="*/ 861967 h 2365078"/>
                <a:gd name="connsiteX17" fmla="*/ 8504518 w 12045155"/>
                <a:gd name="connsiteY17" fmla="*/ 827979 h 2365078"/>
                <a:gd name="connsiteX18" fmla="*/ 9361101 w 12045155"/>
                <a:gd name="connsiteY18" fmla="*/ 2018757 h 2365078"/>
                <a:gd name="connsiteX19" fmla="*/ 10249513 w 12045155"/>
                <a:gd name="connsiteY19" fmla="*/ 2364507 h 2365078"/>
                <a:gd name="connsiteX20" fmla="*/ 11123596 w 12045155"/>
                <a:gd name="connsiteY20" fmla="*/ 1964167 h 2365078"/>
                <a:gd name="connsiteX21" fmla="*/ 11266888 w 12045155"/>
                <a:gd name="connsiteY21" fmla="*/ 1582018 h 2365078"/>
                <a:gd name="connsiteX22" fmla="*/ 11797069 w 12045155"/>
                <a:gd name="connsiteY22" fmla="*/ 999707 h 2365078"/>
                <a:gd name="connsiteX23" fmla="*/ 12045155 w 12045155"/>
                <a:gd name="connsiteY23" fmla="*/ 699393 h 2365078"/>
                <a:gd name="connsiteX24" fmla="*/ 12045155 w 12045155"/>
                <a:gd name="connsiteY24" fmla="*/ 261011 h 2365078"/>
                <a:gd name="connsiteX25" fmla="*/ 11438839 w 12045155"/>
                <a:gd name="connsiteY25" fmla="*/ 435586 h 2365078"/>
                <a:gd name="connsiteX26" fmla="*/ 11059114 w 12045155"/>
                <a:gd name="connsiteY26" fmla="*/ 1047471 h 2365078"/>
                <a:gd name="connsiteX27" fmla="*/ 10602369 w 12045155"/>
                <a:gd name="connsiteY27" fmla="*/ 1661632 h 2365078"/>
                <a:gd name="connsiteX28" fmla="*/ 10034574 w 12045155"/>
                <a:gd name="connsiteY28" fmla="*/ 1618415 h 2365078"/>
                <a:gd name="connsiteX29" fmla="*/ 9527677 w 12045155"/>
                <a:gd name="connsiteY29" fmla="*/ 1058846 h 2365078"/>
                <a:gd name="connsiteX30" fmla="*/ 9053022 w 12045155"/>
                <a:gd name="connsiteY30" fmla="*/ 581165 h 2365078"/>
                <a:gd name="connsiteX31" fmla="*/ 8450223 w 12045155"/>
                <a:gd name="connsiteY31" fmla="*/ 156695 h 2365078"/>
                <a:gd name="connsiteX32" fmla="*/ 7635927 w 12045155"/>
                <a:gd name="connsiteY32" fmla="*/ 105714 h 2365078"/>
                <a:gd name="connsiteX33" fmla="*/ 7049636 w 12045155"/>
                <a:gd name="connsiteY33" fmla="*/ 199189 h 2365078"/>
                <a:gd name="connsiteX34" fmla="*/ 6342549 w 12045155"/>
                <a:gd name="connsiteY34" fmla="*/ 146630 h 2365078"/>
                <a:gd name="connsiteX35" fmla="*/ 5902209 w 12045155"/>
                <a:gd name="connsiteY35" fmla="*/ 249658 h 2365078"/>
                <a:gd name="connsiteX36" fmla="*/ 5182195 w 12045155"/>
                <a:gd name="connsiteY36" fmla="*/ 292664 h 2365078"/>
                <a:gd name="connsiteX37" fmla="*/ 3822487 w 12045155"/>
                <a:gd name="connsiteY37" fmla="*/ 90799 h 2365078"/>
                <a:gd name="connsiteX38" fmla="*/ 2370177 w 12045155"/>
                <a:gd name="connsiteY38" fmla="*/ 156695 h 2365078"/>
                <a:gd name="connsiteX39" fmla="*/ 578745 w 12045155"/>
                <a:gd name="connsiteY39" fmla="*/ 148189 h 2365078"/>
                <a:gd name="connsiteX40" fmla="*/ 38923 w 12045155"/>
                <a:gd name="connsiteY40" fmla="*/ 157240 h 2365078"/>
                <a:gd name="connsiteX0" fmla="*/ 38923 w 12045155"/>
                <a:gd name="connsiteY0" fmla="*/ 157240 h 2365078"/>
                <a:gd name="connsiteX1" fmla="*/ 4765 w 12045155"/>
                <a:gd name="connsiteY1" fmla="*/ 229969 h 2365078"/>
                <a:gd name="connsiteX2" fmla="*/ 16985 w 12045155"/>
                <a:gd name="connsiteY2" fmla="*/ 441204 h 2365078"/>
                <a:gd name="connsiteX3" fmla="*/ 31647 w 12045155"/>
                <a:gd name="connsiteY3" fmla="*/ 700450 h 2365078"/>
                <a:gd name="connsiteX4" fmla="*/ 43864 w 12045155"/>
                <a:gd name="connsiteY4" fmla="*/ 777266 h 2365078"/>
                <a:gd name="connsiteX5" fmla="*/ 80207 w 12045155"/>
                <a:gd name="connsiteY5" fmla="*/ 937416 h 2365078"/>
                <a:gd name="connsiteX6" fmla="*/ 937008 w 12045155"/>
                <a:gd name="connsiteY6" fmla="*/ 844973 h 2365078"/>
                <a:gd name="connsiteX7" fmla="*/ 1631867 w 12045155"/>
                <a:gd name="connsiteY7" fmla="*/ 878961 h 2365078"/>
                <a:gd name="connsiteX8" fmla="*/ 2087877 w 12045155"/>
                <a:gd name="connsiteY8" fmla="*/ 819473 h 2365078"/>
                <a:gd name="connsiteX9" fmla="*/ 2565599 w 12045155"/>
                <a:gd name="connsiteY9" fmla="*/ 819473 h 2365078"/>
                <a:gd name="connsiteX10" fmla="*/ 3336468 w 12045155"/>
                <a:gd name="connsiteY10" fmla="*/ 861967 h 2365078"/>
                <a:gd name="connsiteX11" fmla="*/ 4215904 w 12045155"/>
                <a:gd name="connsiteY11" fmla="*/ 844973 h 2365078"/>
                <a:gd name="connsiteX12" fmla="*/ 4845622 w 12045155"/>
                <a:gd name="connsiteY12" fmla="*/ 853479 h 2365078"/>
                <a:gd name="connsiteX13" fmla="*/ 5681632 w 12045155"/>
                <a:gd name="connsiteY13" fmla="*/ 853479 h 2365078"/>
                <a:gd name="connsiteX14" fmla="*/ 6745645 w 12045155"/>
                <a:gd name="connsiteY14" fmla="*/ 878979 h 2365078"/>
                <a:gd name="connsiteX15" fmla="*/ 7494800 w 12045155"/>
                <a:gd name="connsiteY15" fmla="*/ 870473 h 2365078"/>
                <a:gd name="connsiteX16" fmla="*/ 8026795 w 12045155"/>
                <a:gd name="connsiteY16" fmla="*/ 861967 h 2365078"/>
                <a:gd name="connsiteX17" fmla="*/ 8504518 w 12045155"/>
                <a:gd name="connsiteY17" fmla="*/ 827979 h 2365078"/>
                <a:gd name="connsiteX18" fmla="*/ 9361101 w 12045155"/>
                <a:gd name="connsiteY18" fmla="*/ 2018757 h 2365078"/>
                <a:gd name="connsiteX19" fmla="*/ 10249513 w 12045155"/>
                <a:gd name="connsiteY19" fmla="*/ 2364507 h 2365078"/>
                <a:gd name="connsiteX20" fmla="*/ 11123596 w 12045155"/>
                <a:gd name="connsiteY20" fmla="*/ 1964167 h 2365078"/>
                <a:gd name="connsiteX21" fmla="*/ 11309876 w 12045155"/>
                <a:gd name="connsiteY21" fmla="*/ 1618413 h 2365078"/>
                <a:gd name="connsiteX22" fmla="*/ 11797069 w 12045155"/>
                <a:gd name="connsiteY22" fmla="*/ 999707 h 2365078"/>
                <a:gd name="connsiteX23" fmla="*/ 12045155 w 12045155"/>
                <a:gd name="connsiteY23" fmla="*/ 699393 h 2365078"/>
                <a:gd name="connsiteX24" fmla="*/ 12045155 w 12045155"/>
                <a:gd name="connsiteY24" fmla="*/ 261011 h 2365078"/>
                <a:gd name="connsiteX25" fmla="*/ 11438839 w 12045155"/>
                <a:gd name="connsiteY25" fmla="*/ 435586 h 2365078"/>
                <a:gd name="connsiteX26" fmla="*/ 11059114 w 12045155"/>
                <a:gd name="connsiteY26" fmla="*/ 1047471 h 2365078"/>
                <a:gd name="connsiteX27" fmla="*/ 10602369 w 12045155"/>
                <a:gd name="connsiteY27" fmla="*/ 1661632 h 2365078"/>
                <a:gd name="connsiteX28" fmla="*/ 10034574 w 12045155"/>
                <a:gd name="connsiteY28" fmla="*/ 1618415 h 2365078"/>
                <a:gd name="connsiteX29" fmla="*/ 9527677 w 12045155"/>
                <a:gd name="connsiteY29" fmla="*/ 1058846 h 2365078"/>
                <a:gd name="connsiteX30" fmla="*/ 9053022 w 12045155"/>
                <a:gd name="connsiteY30" fmla="*/ 581165 h 2365078"/>
                <a:gd name="connsiteX31" fmla="*/ 8450223 w 12045155"/>
                <a:gd name="connsiteY31" fmla="*/ 156695 h 2365078"/>
                <a:gd name="connsiteX32" fmla="*/ 7635927 w 12045155"/>
                <a:gd name="connsiteY32" fmla="*/ 105714 h 2365078"/>
                <a:gd name="connsiteX33" fmla="*/ 7049636 w 12045155"/>
                <a:gd name="connsiteY33" fmla="*/ 199189 h 2365078"/>
                <a:gd name="connsiteX34" fmla="*/ 6342549 w 12045155"/>
                <a:gd name="connsiteY34" fmla="*/ 146630 h 2365078"/>
                <a:gd name="connsiteX35" fmla="*/ 5902209 w 12045155"/>
                <a:gd name="connsiteY35" fmla="*/ 249658 h 2365078"/>
                <a:gd name="connsiteX36" fmla="*/ 5182195 w 12045155"/>
                <a:gd name="connsiteY36" fmla="*/ 292664 h 2365078"/>
                <a:gd name="connsiteX37" fmla="*/ 3822487 w 12045155"/>
                <a:gd name="connsiteY37" fmla="*/ 90799 h 2365078"/>
                <a:gd name="connsiteX38" fmla="*/ 2370177 w 12045155"/>
                <a:gd name="connsiteY38" fmla="*/ 156695 h 2365078"/>
                <a:gd name="connsiteX39" fmla="*/ 578745 w 12045155"/>
                <a:gd name="connsiteY39" fmla="*/ 148189 h 2365078"/>
                <a:gd name="connsiteX40" fmla="*/ 38923 w 12045155"/>
                <a:gd name="connsiteY40" fmla="*/ 157240 h 2365078"/>
                <a:gd name="connsiteX0" fmla="*/ 38923 w 12045155"/>
                <a:gd name="connsiteY0" fmla="*/ 157240 h 2365066"/>
                <a:gd name="connsiteX1" fmla="*/ 4765 w 12045155"/>
                <a:gd name="connsiteY1" fmla="*/ 229969 h 2365066"/>
                <a:gd name="connsiteX2" fmla="*/ 16985 w 12045155"/>
                <a:gd name="connsiteY2" fmla="*/ 441204 h 2365066"/>
                <a:gd name="connsiteX3" fmla="*/ 31647 w 12045155"/>
                <a:gd name="connsiteY3" fmla="*/ 700450 h 2365066"/>
                <a:gd name="connsiteX4" fmla="*/ 43864 w 12045155"/>
                <a:gd name="connsiteY4" fmla="*/ 777266 h 2365066"/>
                <a:gd name="connsiteX5" fmla="*/ 80207 w 12045155"/>
                <a:gd name="connsiteY5" fmla="*/ 937416 h 2365066"/>
                <a:gd name="connsiteX6" fmla="*/ 937008 w 12045155"/>
                <a:gd name="connsiteY6" fmla="*/ 844973 h 2365066"/>
                <a:gd name="connsiteX7" fmla="*/ 1631867 w 12045155"/>
                <a:gd name="connsiteY7" fmla="*/ 878961 h 2365066"/>
                <a:gd name="connsiteX8" fmla="*/ 2087877 w 12045155"/>
                <a:gd name="connsiteY8" fmla="*/ 819473 h 2365066"/>
                <a:gd name="connsiteX9" fmla="*/ 2565599 w 12045155"/>
                <a:gd name="connsiteY9" fmla="*/ 819473 h 2365066"/>
                <a:gd name="connsiteX10" fmla="*/ 3336468 w 12045155"/>
                <a:gd name="connsiteY10" fmla="*/ 861967 h 2365066"/>
                <a:gd name="connsiteX11" fmla="*/ 4215904 w 12045155"/>
                <a:gd name="connsiteY11" fmla="*/ 844973 h 2365066"/>
                <a:gd name="connsiteX12" fmla="*/ 4845622 w 12045155"/>
                <a:gd name="connsiteY12" fmla="*/ 853479 h 2365066"/>
                <a:gd name="connsiteX13" fmla="*/ 5681632 w 12045155"/>
                <a:gd name="connsiteY13" fmla="*/ 853479 h 2365066"/>
                <a:gd name="connsiteX14" fmla="*/ 6745645 w 12045155"/>
                <a:gd name="connsiteY14" fmla="*/ 878979 h 2365066"/>
                <a:gd name="connsiteX15" fmla="*/ 7494800 w 12045155"/>
                <a:gd name="connsiteY15" fmla="*/ 870473 h 2365066"/>
                <a:gd name="connsiteX16" fmla="*/ 8026795 w 12045155"/>
                <a:gd name="connsiteY16" fmla="*/ 861967 h 2365066"/>
                <a:gd name="connsiteX17" fmla="*/ 8504518 w 12045155"/>
                <a:gd name="connsiteY17" fmla="*/ 827979 h 2365066"/>
                <a:gd name="connsiteX18" fmla="*/ 9361101 w 12045155"/>
                <a:gd name="connsiteY18" fmla="*/ 2018757 h 2365066"/>
                <a:gd name="connsiteX19" fmla="*/ 10249513 w 12045155"/>
                <a:gd name="connsiteY19" fmla="*/ 2364507 h 2365066"/>
                <a:gd name="connsiteX20" fmla="*/ 11195242 w 12045155"/>
                <a:gd name="connsiteY20" fmla="*/ 2091549 h 2365066"/>
                <a:gd name="connsiteX21" fmla="*/ 11309876 w 12045155"/>
                <a:gd name="connsiteY21" fmla="*/ 1618413 h 2365066"/>
                <a:gd name="connsiteX22" fmla="*/ 11797069 w 12045155"/>
                <a:gd name="connsiteY22" fmla="*/ 999707 h 2365066"/>
                <a:gd name="connsiteX23" fmla="*/ 12045155 w 12045155"/>
                <a:gd name="connsiteY23" fmla="*/ 699393 h 2365066"/>
                <a:gd name="connsiteX24" fmla="*/ 12045155 w 12045155"/>
                <a:gd name="connsiteY24" fmla="*/ 261011 h 2365066"/>
                <a:gd name="connsiteX25" fmla="*/ 11438839 w 12045155"/>
                <a:gd name="connsiteY25" fmla="*/ 435586 h 2365066"/>
                <a:gd name="connsiteX26" fmla="*/ 11059114 w 12045155"/>
                <a:gd name="connsiteY26" fmla="*/ 1047471 h 2365066"/>
                <a:gd name="connsiteX27" fmla="*/ 10602369 w 12045155"/>
                <a:gd name="connsiteY27" fmla="*/ 1661632 h 2365066"/>
                <a:gd name="connsiteX28" fmla="*/ 10034574 w 12045155"/>
                <a:gd name="connsiteY28" fmla="*/ 1618415 h 2365066"/>
                <a:gd name="connsiteX29" fmla="*/ 9527677 w 12045155"/>
                <a:gd name="connsiteY29" fmla="*/ 1058846 h 2365066"/>
                <a:gd name="connsiteX30" fmla="*/ 9053022 w 12045155"/>
                <a:gd name="connsiteY30" fmla="*/ 581165 h 2365066"/>
                <a:gd name="connsiteX31" fmla="*/ 8450223 w 12045155"/>
                <a:gd name="connsiteY31" fmla="*/ 156695 h 2365066"/>
                <a:gd name="connsiteX32" fmla="*/ 7635927 w 12045155"/>
                <a:gd name="connsiteY32" fmla="*/ 105714 h 2365066"/>
                <a:gd name="connsiteX33" fmla="*/ 7049636 w 12045155"/>
                <a:gd name="connsiteY33" fmla="*/ 199189 h 2365066"/>
                <a:gd name="connsiteX34" fmla="*/ 6342549 w 12045155"/>
                <a:gd name="connsiteY34" fmla="*/ 146630 h 2365066"/>
                <a:gd name="connsiteX35" fmla="*/ 5902209 w 12045155"/>
                <a:gd name="connsiteY35" fmla="*/ 249658 h 2365066"/>
                <a:gd name="connsiteX36" fmla="*/ 5182195 w 12045155"/>
                <a:gd name="connsiteY36" fmla="*/ 292664 h 2365066"/>
                <a:gd name="connsiteX37" fmla="*/ 3822487 w 12045155"/>
                <a:gd name="connsiteY37" fmla="*/ 90799 h 2365066"/>
                <a:gd name="connsiteX38" fmla="*/ 2370177 w 12045155"/>
                <a:gd name="connsiteY38" fmla="*/ 156695 h 2365066"/>
                <a:gd name="connsiteX39" fmla="*/ 578745 w 12045155"/>
                <a:gd name="connsiteY39" fmla="*/ 148189 h 2365066"/>
                <a:gd name="connsiteX40" fmla="*/ 38923 w 12045155"/>
                <a:gd name="connsiteY40" fmla="*/ 157240 h 2365066"/>
                <a:gd name="connsiteX0" fmla="*/ 38923 w 12045155"/>
                <a:gd name="connsiteY0" fmla="*/ 157240 h 2510409"/>
                <a:gd name="connsiteX1" fmla="*/ 4765 w 12045155"/>
                <a:gd name="connsiteY1" fmla="*/ 229969 h 2510409"/>
                <a:gd name="connsiteX2" fmla="*/ 16985 w 12045155"/>
                <a:gd name="connsiteY2" fmla="*/ 441204 h 2510409"/>
                <a:gd name="connsiteX3" fmla="*/ 31647 w 12045155"/>
                <a:gd name="connsiteY3" fmla="*/ 700450 h 2510409"/>
                <a:gd name="connsiteX4" fmla="*/ 43864 w 12045155"/>
                <a:gd name="connsiteY4" fmla="*/ 777266 h 2510409"/>
                <a:gd name="connsiteX5" fmla="*/ 80207 w 12045155"/>
                <a:gd name="connsiteY5" fmla="*/ 937416 h 2510409"/>
                <a:gd name="connsiteX6" fmla="*/ 937008 w 12045155"/>
                <a:gd name="connsiteY6" fmla="*/ 844973 h 2510409"/>
                <a:gd name="connsiteX7" fmla="*/ 1631867 w 12045155"/>
                <a:gd name="connsiteY7" fmla="*/ 878961 h 2510409"/>
                <a:gd name="connsiteX8" fmla="*/ 2087877 w 12045155"/>
                <a:gd name="connsiteY8" fmla="*/ 819473 h 2510409"/>
                <a:gd name="connsiteX9" fmla="*/ 2565599 w 12045155"/>
                <a:gd name="connsiteY9" fmla="*/ 819473 h 2510409"/>
                <a:gd name="connsiteX10" fmla="*/ 3336468 w 12045155"/>
                <a:gd name="connsiteY10" fmla="*/ 861967 h 2510409"/>
                <a:gd name="connsiteX11" fmla="*/ 4215904 w 12045155"/>
                <a:gd name="connsiteY11" fmla="*/ 844973 h 2510409"/>
                <a:gd name="connsiteX12" fmla="*/ 4845622 w 12045155"/>
                <a:gd name="connsiteY12" fmla="*/ 853479 h 2510409"/>
                <a:gd name="connsiteX13" fmla="*/ 5681632 w 12045155"/>
                <a:gd name="connsiteY13" fmla="*/ 853479 h 2510409"/>
                <a:gd name="connsiteX14" fmla="*/ 6745645 w 12045155"/>
                <a:gd name="connsiteY14" fmla="*/ 878979 h 2510409"/>
                <a:gd name="connsiteX15" fmla="*/ 7494800 w 12045155"/>
                <a:gd name="connsiteY15" fmla="*/ 870473 h 2510409"/>
                <a:gd name="connsiteX16" fmla="*/ 8026795 w 12045155"/>
                <a:gd name="connsiteY16" fmla="*/ 861967 h 2510409"/>
                <a:gd name="connsiteX17" fmla="*/ 8504518 w 12045155"/>
                <a:gd name="connsiteY17" fmla="*/ 827979 h 2510409"/>
                <a:gd name="connsiteX18" fmla="*/ 9361101 w 12045155"/>
                <a:gd name="connsiteY18" fmla="*/ 2018757 h 2510409"/>
                <a:gd name="connsiteX19" fmla="*/ 10149208 w 12045155"/>
                <a:gd name="connsiteY19" fmla="*/ 2510086 h 2510409"/>
                <a:gd name="connsiteX20" fmla="*/ 11195242 w 12045155"/>
                <a:gd name="connsiteY20" fmla="*/ 2091549 h 2510409"/>
                <a:gd name="connsiteX21" fmla="*/ 11309876 w 12045155"/>
                <a:gd name="connsiteY21" fmla="*/ 1618413 h 2510409"/>
                <a:gd name="connsiteX22" fmla="*/ 11797069 w 12045155"/>
                <a:gd name="connsiteY22" fmla="*/ 999707 h 2510409"/>
                <a:gd name="connsiteX23" fmla="*/ 12045155 w 12045155"/>
                <a:gd name="connsiteY23" fmla="*/ 699393 h 2510409"/>
                <a:gd name="connsiteX24" fmla="*/ 12045155 w 12045155"/>
                <a:gd name="connsiteY24" fmla="*/ 261011 h 2510409"/>
                <a:gd name="connsiteX25" fmla="*/ 11438839 w 12045155"/>
                <a:gd name="connsiteY25" fmla="*/ 435586 h 2510409"/>
                <a:gd name="connsiteX26" fmla="*/ 11059114 w 12045155"/>
                <a:gd name="connsiteY26" fmla="*/ 1047471 h 2510409"/>
                <a:gd name="connsiteX27" fmla="*/ 10602369 w 12045155"/>
                <a:gd name="connsiteY27" fmla="*/ 1661632 h 2510409"/>
                <a:gd name="connsiteX28" fmla="*/ 10034574 w 12045155"/>
                <a:gd name="connsiteY28" fmla="*/ 1618415 h 2510409"/>
                <a:gd name="connsiteX29" fmla="*/ 9527677 w 12045155"/>
                <a:gd name="connsiteY29" fmla="*/ 1058846 h 2510409"/>
                <a:gd name="connsiteX30" fmla="*/ 9053022 w 12045155"/>
                <a:gd name="connsiteY30" fmla="*/ 581165 h 2510409"/>
                <a:gd name="connsiteX31" fmla="*/ 8450223 w 12045155"/>
                <a:gd name="connsiteY31" fmla="*/ 156695 h 2510409"/>
                <a:gd name="connsiteX32" fmla="*/ 7635927 w 12045155"/>
                <a:gd name="connsiteY32" fmla="*/ 105714 h 2510409"/>
                <a:gd name="connsiteX33" fmla="*/ 7049636 w 12045155"/>
                <a:gd name="connsiteY33" fmla="*/ 199189 h 2510409"/>
                <a:gd name="connsiteX34" fmla="*/ 6342549 w 12045155"/>
                <a:gd name="connsiteY34" fmla="*/ 146630 h 2510409"/>
                <a:gd name="connsiteX35" fmla="*/ 5902209 w 12045155"/>
                <a:gd name="connsiteY35" fmla="*/ 249658 h 2510409"/>
                <a:gd name="connsiteX36" fmla="*/ 5182195 w 12045155"/>
                <a:gd name="connsiteY36" fmla="*/ 292664 h 2510409"/>
                <a:gd name="connsiteX37" fmla="*/ 3822487 w 12045155"/>
                <a:gd name="connsiteY37" fmla="*/ 90799 h 2510409"/>
                <a:gd name="connsiteX38" fmla="*/ 2370177 w 12045155"/>
                <a:gd name="connsiteY38" fmla="*/ 156695 h 2510409"/>
                <a:gd name="connsiteX39" fmla="*/ 578745 w 12045155"/>
                <a:gd name="connsiteY39" fmla="*/ 148189 h 2510409"/>
                <a:gd name="connsiteX40" fmla="*/ 38923 w 12045155"/>
                <a:gd name="connsiteY40" fmla="*/ 157240 h 2510409"/>
                <a:gd name="connsiteX0" fmla="*/ 38923 w 12045155"/>
                <a:gd name="connsiteY0" fmla="*/ 157240 h 2510087"/>
                <a:gd name="connsiteX1" fmla="*/ 4765 w 12045155"/>
                <a:gd name="connsiteY1" fmla="*/ 229969 h 2510087"/>
                <a:gd name="connsiteX2" fmla="*/ 16985 w 12045155"/>
                <a:gd name="connsiteY2" fmla="*/ 441204 h 2510087"/>
                <a:gd name="connsiteX3" fmla="*/ 31647 w 12045155"/>
                <a:gd name="connsiteY3" fmla="*/ 700450 h 2510087"/>
                <a:gd name="connsiteX4" fmla="*/ 43864 w 12045155"/>
                <a:gd name="connsiteY4" fmla="*/ 777266 h 2510087"/>
                <a:gd name="connsiteX5" fmla="*/ 80207 w 12045155"/>
                <a:gd name="connsiteY5" fmla="*/ 937416 h 2510087"/>
                <a:gd name="connsiteX6" fmla="*/ 937008 w 12045155"/>
                <a:gd name="connsiteY6" fmla="*/ 844973 h 2510087"/>
                <a:gd name="connsiteX7" fmla="*/ 1631867 w 12045155"/>
                <a:gd name="connsiteY7" fmla="*/ 878961 h 2510087"/>
                <a:gd name="connsiteX8" fmla="*/ 2087877 w 12045155"/>
                <a:gd name="connsiteY8" fmla="*/ 819473 h 2510087"/>
                <a:gd name="connsiteX9" fmla="*/ 2565599 w 12045155"/>
                <a:gd name="connsiteY9" fmla="*/ 819473 h 2510087"/>
                <a:gd name="connsiteX10" fmla="*/ 3336468 w 12045155"/>
                <a:gd name="connsiteY10" fmla="*/ 861967 h 2510087"/>
                <a:gd name="connsiteX11" fmla="*/ 4215904 w 12045155"/>
                <a:gd name="connsiteY11" fmla="*/ 844973 h 2510087"/>
                <a:gd name="connsiteX12" fmla="*/ 4845622 w 12045155"/>
                <a:gd name="connsiteY12" fmla="*/ 853479 h 2510087"/>
                <a:gd name="connsiteX13" fmla="*/ 5681632 w 12045155"/>
                <a:gd name="connsiteY13" fmla="*/ 853479 h 2510087"/>
                <a:gd name="connsiteX14" fmla="*/ 6745645 w 12045155"/>
                <a:gd name="connsiteY14" fmla="*/ 878979 h 2510087"/>
                <a:gd name="connsiteX15" fmla="*/ 7494800 w 12045155"/>
                <a:gd name="connsiteY15" fmla="*/ 870473 h 2510087"/>
                <a:gd name="connsiteX16" fmla="*/ 8026795 w 12045155"/>
                <a:gd name="connsiteY16" fmla="*/ 861967 h 2510087"/>
                <a:gd name="connsiteX17" fmla="*/ 8504518 w 12045155"/>
                <a:gd name="connsiteY17" fmla="*/ 827979 h 2510087"/>
                <a:gd name="connsiteX18" fmla="*/ 9217808 w 12045155"/>
                <a:gd name="connsiteY18" fmla="*/ 2091547 h 2510087"/>
                <a:gd name="connsiteX19" fmla="*/ 10149208 w 12045155"/>
                <a:gd name="connsiteY19" fmla="*/ 2510086 h 2510087"/>
                <a:gd name="connsiteX20" fmla="*/ 11195242 w 12045155"/>
                <a:gd name="connsiteY20" fmla="*/ 2091549 h 2510087"/>
                <a:gd name="connsiteX21" fmla="*/ 11309876 w 12045155"/>
                <a:gd name="connsiteY21" fmla="*/ 1618413 h 2510087"/>
                <a:gd name="connsiteX22" fmla="*/ 11797069 w 12045155"/>
                <a:gd name="connsiteY22" fmla="*/ 999707 h 2510087"/>
                <a:gd name="connsiteX23" fmla="*/ 12045155 w 12045155"/>
                <a:gd name="connsiteY23" fmla="*/ 699393 h 2510087"/>
                <a:gd name="connsiteX24" fmla="*/ 12045155 w 12045155"/>
                <a:gd name="connsiteY24" fmla="*/ 261011 h 2510087"/>
                <a:gd name="connsiteX25" fmla="*/ 11438839 w 12045155"/>
                <a:gd name="connsiteY25" fmla="*/ 435586 h 2510087"/>
                <a:gd name="connsiteX26" fmla="*/ 11059114 w 12045155"/>
                <a:gd name="connsiteY26" fmla="*/ 1047471 h 2510087"/>
                <a:gd name="connsiteX27" fmla="*/ 10602369 w 12045155"/>
                <a:gd name="connsiteY27" fmla="*/ 1661632 h 2510087"/>
                <a:gd name="connsiteX28" fmla="*/ 10034574 w 12045155"/>
                <a:gd name="connsiteY28" fmla="*/ 1618415 h 2510087"/>
                <a:gd name="connsiteX29" fmla="*/ 9527677 w 12045155"/>
                <a:gd name="connsiteY29" fmla="*/ 1058846 h 2510087"/>
                <a:gd name="connsiteX30" fmla="*/ 9053022 w 12045155"/>
                <a:gd name="connsiteY30" fmla="*/ 581165 h 2510087"/>
                <a:gd name="connsiteX31" fmla="*/ 8450223 w 12045155"/>
                <a:gd name="connsiteY31" fmla="*/ 156695 h 2510087"/>
                <a:gd name="connsiteX32" fmla="*/ 7635927 w 12045155"/>
                <a:gd name="connsiteY32" fmla="*/ 105714 h 2510087"/>
                <a:gd name="connsiteX33" fmla="*/ 7049636 w 12045155"/>
                <a:gd name="connsiteY33" fmla="*/ 199189 h 2510087"/>
                <a:gd name="connsiteX34" fmla="*/ 6342549 w 12045155"/>
                <a:gd name="connsiteY34" fmla="*/ 146630 h 2510087"/>
                <a:gd name="connsiteX35" fmla="*/ 5902209 w 12045155"/>
                <a:gd name="connsiteY35" fmla="*/ 249658 h 2510087"/>
                <a:gd name="connsiteX36" fmla="*/ 5182195 w 12045155"/>
                <a:gd name="connsiteY36" fmla="*/ 292664 h 2510087"/>
                <a:gd name="connsiteX37" fmla="*/ 3822487 w 12045155"/>
                <a:gd name="connsiteY37" fmla="*/ 90799 h 2510087"/>
                <a:gd name="connsiteX38" fmla="*/ 2370177 w 12045155"/>
                <a:gd name="connsiteY38" fmla="*/ 156695 h 2510087"/>
                <a:gd name="connsiteX39" fmla="*/ 578745 w 12045155"/>
                <a:gd name="connsiteY39" fmla="*/ 148189 h 2510087"/>
                <a:gd name="connsiteX40" fmla="*/ 38923 w 12045155"/>
                <a:gd name="connsiteY40" fmla="*/ 157240 h 2510087"/>
                <a:gd name="connsiteX0" fmla="*/ 38923 w 12045155"/>
                <a:gd name="connsiteY0" fmla="*/ 157240 h 2510087"/>
                <a:gd name="connsiteX1" fmla="*/ 4765 w 12045155"/>
                <a:gd name="connsiteY1" fmla="*/ 229969 h 2510087"/>
                <a:gd name="connsiteX2" fmla="*/ 16985 w 12045155"/>
                <a:gd name="connsiteY2" fmla="*/ 441204 h 2510087"/>
                <a:gd name="connsiteX3" fmla="*/ 31647 w 12045155"/>
                <a:gd name="connsiteY3" fmla="*/ 700450 h 2510087"/>
                <a:gd name="connsiteX4" fmla="*/ 43864 w 12045155"/>
                <a:gd name="connsiteY4" fmla="*/ 777266 h 2510087"/>
                <a:gd name="connsiteX5" fmla="*/ 80207 w 12045155"/>
                <a:gd name="connsiteY5" fmla="*/ 937416 h 2510087"/>
                <a:gd name="connsiteX6" fmla="*/ 937008 w 12045155"/>
                <a:gd name="connsiteY6" fmla="*/ 844973 h 2510087"/>
                <a:gd name="connsiteX7" fmla="*/ 1631867 w 12045155"/>
                <a:gd name="connsiteY7" fmla="*/ 878961 h 2510087"/>
                <a:gd name="connsiteX8" fmla="*/ 2087877 w 12045155"/>
                <a:gd name="connsiteY8" fmla="*/ 819473 h 2510087"/>
                <a:gd name="connsiteX9" fmla="*/ 2565599 w 12045155"/>
                <a:gd name="connsiteY9" fmla="*/ 819473 h 2510087"/>
                <a:gd name="connsiteX10" fmla="*/ 3336468 w 12045155"/>
                <a:gd name="connsiteY10" fmla="*/ 861967 h 2510087"/>
                <a:gd name="connsiteX11" fmla="*/ 4215904 w 12045155"/>
                <a:gd name="connsiteY11" fmla="*/ 844973 h 2510087"/>
                <a:gd name="connsiteX12" fmla="*/ 4845622 w 12045155"/>
                <a:gd name="connsiteY12" fmla="*/ 853479 h 2510087"/>
                <a:gd name="connsiteX13" fmla="*/ 5681632 w 12045155"/>
                <a:gd name="connsiteY13" fmla="*/ 853479 h 2510087"/>
                <a:gd name="connsiteX14" fmla="*/ 6745645 w 12045155"/>
                <a:gd name="connsiteY14" fmla="*/ 878979 h 2510087"/>
                <a:gd name="connsiteX15" fmla="*/ 7494800 w 12045155"/>
                <a:gd name="connsiteY15" fmla="*/ 870473 h 2510087"/>
                <a:gd name="connsiteX16" fmla="*/ 8026795 w 12045155"/>
                <a:gd name="connsiteY16" fmla="*/ 861967 h 2510087"/>
                <a:gd name="connsiteX17" fmla="*/ 8504518 w 12045155"/>
                <a:gd name="connsiteY17" fmla="*/ 827979 h 2510087"/>
                <a:gd name="connsiteX18" fmla="*/ 9217808 w 12045155"/>
                <a:gd name="connsiteY18" fmla="*/ 2091547 h 2510087"/>
                <a:gd name="connsiteX19" fmla="*/ 10149208 w 12045155"/>
                <a:gd name="connsiteY19" fmla="*/ 2510086 h 2510087"/>
                <a:gd name="connsiteX20" fmla="*/ 11195242 w 12045155"/>
                <a:gd name="connsiteY20" fmla="*/ 2091549 h 2510087"/>
                <a:gd name="connsiteX21" fmla="*/ 11625119 w 12045155"/>
                <a:gd name="connsiteY21" fmla="*/ 1600216 h 2510087"/>
                <a:gd name="connsiteX22" fmla="*/ 11797069 w 12045155"/>
                <a:gd name="connsiteY22" fmla="*/ 999707 h 2510087"/>
                <a:gd name="connsiteX23" fmla="*/ 12045155 w 12045155"/>
                <a:gd name="connsiteY23" fmla="*/ 699393 h 2510087"/>
                <a:gd name="connsiteX24" fmla="*/ 12045155 w 12045155"/>
                <a:gd name="connsiteY24" fmla="*/ 261011 h 2510087"/>
                <a:gd name="connsiteX25" fmla="*/ 11438839 w 12045155"/>
                <a:gd name="connsiteY25" fmla="*/ 435586 h 2510087"/>
                <a:gd name="connsiteX26" fmla="*/ 11059114 w 12045155"/>
                <a:gd name="connsiteY26" fmla="*/ 1047471 h 2510087"/>
                <a:gd name="connsiteX27" fmla="*/ 10602369 w 12045155"/>
                <a:gd name="connsiteY27" fmla="*/ 1661632 h 2510087"/>
                <a:gd name="connsiteX28" fmla="*/ 10034574 w 12045155"/>
                <a:gd name="connsiteY28" fmla="*/ 1618415 h 2510087"/>
                <a:gd name="connsiteX29" fmla="*/ 9527677 w 12045155"/>
                <a:gd name="connsiteY29" fmla="*/ 1058846 h 2510087"/>
                <a:gd name="connsiteX30" fmla="*/ 9053022 w 12045155"/>
                <a:gd name="connsiteY30" fmla="*/ 581165 h 2510087"/>
                <a:gd name="connsiteX31" fmla="*/ 8450223 w 12045155"/>
                <a:gd name="connsiteY31" fmla="*/ 156695 h 2510087"/>
                <a:gd name="connsiteX32" fmla="*/ 7635927 w 12045155"/>
                <a:gd name="connsiteY32" fmla="*/ 105714 h 2510087"/>
                <a:gd name="connsiteX33" fmla="*/ 7049636 w 12045155"/>
                <a:gd name="connsiteY33" fmla="*/ 199189 h 2510087"/>
                <a:gd name="connsiteX34" fmla="*/ 6342549 w 12045155"/>
                <a:gd name="connsiteY34" fmla="*/ 146630 h 2510087"/>
                <a:gd name="connsiteX35" fmla="*/ 5902209 w 12045155"/>
                <a:gd name="connsiteY35" fmla="*/ 249658 h 2510087"/>
                <a:gd name="connsiteX36" fmla="*/ 5182195 w 12045155"/>
                <a:gd name="connsiteY36" fmla="*/ 292664 h 2510087"/>
                <a:gd name="connsiteX37" fmla="*/ 3822487 w 12045155"/>
                <a:gd name="connsiteY37" fmla="*/ 90799 h 2510087"/>
                <a:gd name="connsiteX38" fmla="*/ 2370177 w 12045155"/>
                <a:gd name="connsiteY38" fmla="*/ 156695 h 2510087"/>
                <a:gd name="connsiteX39" fmla="*/ 578745 w 12045155"/>
                <a:gd name="connsiteY39" fmla="*/ 148189 h 2510087"/>
                <a:gd name="connsiteX40" fmla="*/ 38923 w 12045155"/>
                <a:gd name="connsiteY40" fmla="*/ 157240 h 2510087"/>
                <a:gd name="connsiteX0" fmla="*/ 38923 w 12045155"/>
                <a:gd name="connsiteY0" fmla="*/ 157240 h 2510087"/>
                <a:gd name="connsiteX1" fmla="*/ 4765 w 12045155"/>
                <a:gd name="connsiteY1" fmla="*/ 229969 h 2510087"/>
                <a:gd name="connsiteX2" fmla="*/ 16985 w 12045155"/>
                <a:gd name="connsiteY2" fmla="*/ 441204 h 2510087"/>
                <a:gd name="connsiteX3" fmla="*/ 31647 w 12045155"/>
                <a:gd name="connsiteY3" fmla="*/ 700450 h 2510087"/>
                <a:gd name="connsiteX4" fmla="*/ 43864 w 12045155"/>
                <a:gd name="connsiteY4" fmla="*/ 777266 h 2510087"/>
                <a:gd name="connsiteX5" fmla="*/ 80207 w 12045155"/>
                <a:gd name="connsiteY5" fmla="*/ 937416 h 2510087"/>
                <a:gd name="connsiteX6" fmla="*/ 937008 w 12045155"/>
                <a:gd name="connsiteY6" fmla="*/ 844973 h 2510087"/>
                <a:gd name="connsiteX7" fmla="*/ 1631867 w 12045155"/>
                <a:gd name="connsiteY7" fmla="*/ 878961 h 2510087"/>
                <a:gd name="connsiteX8" fmla="*/ 2087877 w 12045155"/>
                <a:gd name="connsiteY8" fmla="*/ 819473 h 2510087"/>
                <a:gd name="connsiteX9" fmla="*/ 2565599 w 12045155"/>
                <a:gd name="connsiteY9" fmla="*/ 819473 h 2510087"/>
                <a:gd name="connsiteX10" fmla="*/ 3336468 w 12045155"/>
                <a:gd name="connsiteY10" fmla="*/ 861967 h 2510087"/>
                <a:gd name="connsiteX11" fmla="*/ 4215904 w 12045155"/>
                <a:gd name="connsiteY11" fmla="*/ 844973 h 2510087"/>
                <a:gd name="connsiteX12" fmla="*/ 4845622 w 12045155"/>
                <a:gd name="connsiteY12" fmla="*/ 853479 h 2510087"/>
                <a:gd name="connsiteX13" fmla="*/ 5681632 w 12045155"/>
                <a:gd name="connsiteY13" fmla="*/ 853479 h 2510087"/>
                <a:gd name="connsiteX14" fmla="*/ 6745645 w 12045155"/>
                <a:gd name="connsiteY14" fmla="*/ 878979 h 2510087"/>
                <a:gd name="connsiteX15" fmla="*/ 7494800 w 12045155"/>
                <a:gd name="connsiteY15" fmla="*/ 870473 h 2510087"/>
                <a:gd name="connsiteX16" fmla="*/ 8026795 w 12045155"/>
                <a:gd name="connsiteY16" fmla="*/ 861967 h 2510087"/>
                <a:gd name="connsiteX17" fmla="*/ 8647812 w 12045155"/>
                <a:gd name="connsiteY17" fmla="*/ 1264715 h 2510087"/>
                <a:gd name="connsiteX18" fmla="*/ 9217808 w 12045155"/>
                <a:gd name="connsiteY18" fmla="*/ 2091547 h 2510087"/>
                <a:gd name="connsiteX19" fmla="*/ 10149208 w 12045155"/>
                <a:gd name="connsiteY19" fmla="*/ 2510086 h 2510087"/>
                <a:gd name="connsiteX20" fmla="*/ 11195242 w 12045155"/>
                <a:gd name="connsiteY20" fmla="*/ 2091549 h 2510087"/>
                <a:gd name="connsiteX21" fmla="*/ 11625119 w 12045155"/>
                <a:gd name="connsiteY21" fmla="*/ 1600216 h 2510087"/>
                <a:gd name="connsiteX22" fmla="*/ 11797069 w 12045155"/>
                <a:gd name="connsiteY22" fmla="*/ 999707 h 2510087"/>
                <a:gd name="connsiteX23" fmla="*/ 12045155 w 12045155"/>
                <a:gd name="connsiteY23" fmla="*/ 699393 h 2510087"/>
                <a:gd name="connsiteX24" fmla="*/ 12045155 w 12045155"/>
                <a:gd name="connsiteY24" fmla="*/ 261011 h 2510087"/>
                <a:gd name="connsiteX25" fmla="*/ 11438839 w 12045155"/>
                <a:gd name="connsiteY25" fmla="*/ 435586 h 2510087"/>
                <a:gd name="connsiteX26" fmla="*/ 11059114 w 12045155"/>
                <a:gd name="connsiteY26" fmla="*/ 1047471 h 2510087"/>
                <a:gd name="connsiteX27" fmla="*/ 10602369 w 12045155"/>
                <a:gd name="connsiteY27" fmla="*/ 1661632 h 2510087"/>
                <a:gd name="connsiteX28" fmla="*/ 10034574 w 12045155"/>
                <a:gd name="connsiteY28" fmla="*/ 1618415 h 2510087"/>
                <a:gd name="connsiteX29" fmla="*/ 9527677 w 12045155"/>
                <a:gd name="connsiteY29" fmla="*/ 1058846 h 2510087"/>
                <a:gd name="connsiteX30" fmla="*/ 9053022 w 12045155"/>
                <a:gd name="connsiteY30" fmla="*/ 581165 h 2510087"/>
                <a:gd name="connsiteX31" fmla="*/ 8450223 w 12045155"/>
                <a:gd name="connsiteY31" fmla="*/ 156695 h 2510087"/>
                <a:gd name="connsiteX32" fmla="*/ 7635927 w 12045155"/>
                <a:gd name="connsiteY32" fmla="*/ 105714 h 2510087"/>
                <a:gd name="connsiteX33" fmla="*/ 7049636 w 12045155"/>
                <a:gd name="connsiteY33" fmla="*/ 199189 h 2510087"/>
                <a:gd name="connsiteX34" fmla="*/ 6342549 w 12045155"/>
                <a:gd name="connsiteY34" fmla="*/ 146630 h 2510087"/>
                <a:gd name="connsiteX35" fmla="*/ 5902209 w 12045155"/>
                <a:gd name="connsiteY35" fmla="*/ 249658 h 2510087"/>
                <a:gd name="connsiteX36" fmla="*/ 5182195 w 12045155"/>
                <a:gd name="connsiteY36" fmla="*/ 292664 h 2510087"/>
                <a:gd name="connsiteX37" fmla="*/ 3822487 w 12045155"/>
                <a:gd name="connsiteY37" fmla="*/ 90799 h 2510087"/>
                <a:gd name="connsiteX38" fmla="*/ 2370177 w 12045155"/>
                <a:gd name="connsiteY38" fmla="*/ 156695 h 2510087"/>
                <a:gd name="connsiteX39" fmla="*/ 578745 w 12045155"/>
                <a:gd name="connsiteY39" fmla="*/ 148189 h 2510087"/>
                <a:gd name="connsiteX40" fmla="*/ 38923 w 12045155"/>
                <a:gd name="connsiteY40" fmla="*/ 157240 h 2510087"/>
                <a:gd name="connsiteX0" fmla="*/ 38923 w 12045155"/>
                <a:gd name="connsiteY0" fmla="*/ 157240 h 2510087"/>
                <a:gd name="connsiteX1" fmla="*/ 4765 w 12045155"/>
                <a:gd name="connsiteY1" fmla="*/ 229969 h 2510087"/>
                <a:gd name="connsiteX2" fmla="*/ 16985 w 12045155"/>
                <a:gd name="connsiteY2" fmla="*/ 441204 h 2510087"/>
                <a:gd name="connsiteX3" fmla="*/ 31647 w 12045155"/>
                <a:gd name="connsiteY3" fmla="*/ 700450 h 2510087"/>
                <a:gd name="connsiteX4" fmla="*/ 43864 w 12045155"/>
                <a:gd name="connsiteY4" fmla="*/ 777266 h 2510087"/>
                <a:gd name="connsiteX5" fmla="*/ 80207 w 12045155"/>
                <a:gd name="connsiteY5" fmla="*/ 937416 h 2510087"/>
                <a:gd name="connsiteX6" fmla="*/ 937008 w 12045155"/>
                <a:gd name="connsiteY6" fmla="*/ 844973 h 2510087"/>
                <a:gd name="connsiteX7" fmla="*/ 1631867 w 12045155"/>
                <a:gd name="connsiteY7" fmla="*/ 878961 h 2510087"/>
                <a:gd name="connsiteX8" fmla="*/ 2087877 w 12045155"/>
                <a:gd name="connsiteY8" fmla="*/ 819473 h 2510087"/>
                <a:gd name="connsiteX9" fmla="*/ 2565599 w 12045155"/>
                <a:gd name="connsiteY9" fmla="*/ 819473 h 2510087"/>
                <a:gd name="connsiteX10" fmla="*/ 3336468 w 12045155"/>
                <a:gd name="connsiteY10" fmla="*/ 861967 h 2510087"/>
                <a:gd name="connsiteX11" fmla="*/ 4215904 w 12045155"/>
                <a:gd name="connsiteY11" fmla="*/ 844973 h 2510087"/>
                <a:gd name="connsiteX12" fmla="*/ 4845622 w 12045155"/>
                <a:gd name="connsiteY12" fmla="*/ 853479 h 2510087"/>
                <a:gd name="connsiteX13" fmla="*/ 5681632 w 12045155"/>
                <a:gd name="connsiteY13" fmla="*/ 853479 h 2510087"/>
                <a:gd name="connsiteX14" fmla="*/ 6745645 w 12045155"/>
                <a:gd name="connsiteY14" fmla="*/ 878979 h 2510087"/>
                <a:gd name="connsiteX15" fmla="*/ 7494800 w 12045155"/>
                <a:gd name="connsiteY15" fmla="*/ 870473 h 2510087"/>
                <a:gd name="connsiteX16" fmla="*/ 8026795 w 12045155"/>
                <a:gd name="connsiteY16" fmla="*/ 861967 h 2510087"/>
                <a:gd name="connsiteX17" fmla="*/ 8647812 w 12045155"/>
                <a:gd name="connsiteY17" fmla="*/ 1264715 h 2510087"/>
                <a:gd name="connsiteX18" fmla="*/ 9217808 w 12045155"/>
                <a:gd name="connsiteY18" fmla="*/ 2091547 h 2510087"/>
                <a:gd name="connsiteX19" fmla="*/ 10149208 w 12045155"/>
                <a:gd name="connsiteY19" fmla="*/ 2510086 h 2510087"/>
                <a:gd name="connsiteX20" fmla="*/ 11195242 w 12045155"/>
                <a:gd name="connsiteY20" fmla="*/ 2091549 h 2510087"/>
                <a:gd name="connsiteX21" fmla="*/ 11486173 w 12045155"/>
                <a:gd name="connsiteY21" fmla="*/ 1445814 h 2510087"/>
                <a:gd name="connsiteX22" fmla="*/ 11797069 w 12045155"/>
                <a:gd name="connsiteY22" fmla="*/ 999707 h 2510087"/>
                <a:gd name="connsiteX23" fmla="*/ 12045155 w 12045155"/>
                <a:gd name="connsiteY23" fmla="*/ 699393 h 2510087"/>
                <a:gd name="connsiteX24" fmla="*/ 12045155 w 12045155"/>
                <a:gd name="connsiteY24" fmla="*/ 261011 h 2510087"/>
                <a:gd name="connsiteX25" fmla="*/ 11438839 w 12045155"/>
                <a:gd name="connsiteY25" fmla="*/ 435586 h 2510087"/>
                <a:gd name="connsiteX26" fmla="*/ 11059114 w 12045155"/>
                <a:gd name="connsiteY26" fmla="*/ 1047471 h 2510087"/>
                <a:gd name="connsiteX27" fmla="*/ 10602369 w 12045155"/>
                <a:gd name="connsiteY27" fmla="*/ 1661632 h 2510087"/>
                <a:gd name="connsiteX28" fmla="*/ 10034574 w 12045155"/>
                <a:gd name="connsiteY28" fmla="*/ 1618415 h 2510087"/>
                <a:gd name="connsiteX29" fmla="*/ 9527677 w 12045155"/>
                <a:gd name="connsiteY29" fmla="*/ 1058846 h 2510087"/>
                <a:gd name="connsiteX30" fmla="*/ 9053022 w 12045155"/>
                <a:gd name="connsiteY30" fmla="*/ 581165 h 2510087"/>
                <a:gd name="connsiteX31" fmla="*/ 8450223 w 12045155"/>
                <a:gd name="connsiteY31" fmla="*/ 156695 h 2510087"/>
                <a:gd name="connsiteX32" fmla="*/ 7635927 w 12045155"/>
                <a:gd name="connsiteY32" fmla="*/ 105714 h 2510087"/>
                <a:gd name="connsiteX33" fmla="*/ 7049636 w 12045155"/>
                <a:gd name="connsiteY33" fmla="*/ 199189 h 2510087"/>
                <a:gd name="connsiteX34" fmla="*/ 6342549 w 12045155"/>
                <a:gd name="connsiteY34" fmla="*/ 146630 h 2510087"/>
                <a:gd name="connsiteX35" fmla="*/ 5902209 w 12045155"/>
                <a:gd name="connsiteY35" fmla="*/ 249658 h 2510087"/>
                <a:gd name="connsiteX36" fmla="*/ 5182195 w 12045155"/>
                <a:gd name="connsiteY36" fmla="*/ 292664 h 2510087"/>
                <a:gd name="connsiteX37" fmla="*/ 3822487 w 12045155"/>
                <a:gd name="connsiteY37" fmla="*/ 90799 h 2510087"/>
                <a:gd name="connsiteX38" fmla="*/ 2370177 w 12045155"/>
                <a:gd name="connsiteY38" fmla="*/ 156695 h 2510087"/>
                <a:gd name="connsiteX39" fmla="*/ 578745 w 12045155"/>
                <a:gd name="connsiteY39" fmla="*/ 148189 h 2510087"/>
                <a:gd name="connsiteX40" fmla="*/ 38923 w 12045155"/>
                <a:gd name="connsiteY40" fmla="*/ 157240 h 2510087"/>
                <a:gd name="connsiteX0" fmla="*/ 38923 w 12045155"/>
                <a:gd name="connsiteY0" fmla="*/ 157240 h 2510087"/>
                <a:gd name="connsiteX1" fmla="*/ 4765 w 12045155"/>
                <a:gd name="connsiteY1" fmla="*/ 229969 h 2510087"/>
                <a:gd name="connsiteX2" fmla="*/ 8249783 w 12045155"/>
                <a:gd name="connsiteY2" fmla="*/ 507371 h 2510087"/>
                <a:gd name="connsiteX3" fmla="*/ 31647 w 12045155"/>
                <a:gd name="connsiteY3" fmla="*/ 700450 h 2510087"/>
                <a:gd name="connsiteX4" fmla="*/ 43864 w 12045155"/>
                <a:gd name="connsiteY4" fmla="*/ 777266 h 2510087"/>
                <a:gd name="connsiteX5" fmla="*/ 80207 w 12045155"/>
                <a:gd name="connsiteY5" fmla="*/ 937416 h 2510087"/>
                <a:gd name="connsiteX6" fmla="*/ 937008 w 12045155"/>
                <a:gd name="connsiteY6" fmla="*/ 844973 h 2510087"/>
                <a:gd name="connsiteX7" fmla="*/ 1631867 w 12045155"/>
                <a:gd name="connsiteY7" fmla="*/ 878961 h 2510087"/>
                <a:gd name="connsiteX8" fmla="*/ 2087877 w 12045155"/>
                <a:gd name="connsiteY8" fmla="*/ 819473 h 2510087"/>
                <a:gd name="connsiteX9" fmla="*/ 2565599 w 12045155"/>
                <a:gd name="connsiteY9" fmla="*/ 819473 h 2510087"/>
                <a:gd name="connsiteX10" fmla="*/ 3336468 w 12045155"/>
                <a:gd name="connsiteY10" fmla="*/ 861967 h 2510087"/>
                <a:gd name="connsiteX11" fmla="*/ 4215904 w 12045155"/>
                <a:gd name="connsiteY11" fmla="*/ 844973 h 2510087"/>
                <a:gd name="connsiteX12" fmla="*/ 4845622 w 12045155"/>
                <a:gd name="connsiteY12" fmla="*/ 853479 h 2510087"/>
                <a:gd name="connsiteX13" fmla="*/ 5681632 w 12045155"/>
                <a:gd name="connsiteY13" fmla="*/ 853479 h 2510087"/>
                <a:gd name="connsiteX14" fmla="*/ 6745645 w 12045155"/>
                <a:gd name="connsiteY14" fmla="*/ 878979 h 2510087"/>
                <a:gd name="connsiteX15" fmla="*/ 7494800 w 12045155"/>
                <a:gd name="connsiteY15" fmla="*/ 870473 h 2510087"/>
                <a:gd name="connsiteX16" fmla="*/ 8026795 w 12045155"/>
                <a:gd name="connsiteY16" fmla="*/ 861967 h 2510087"/>
                <a:gd name="connsiteX17" fmla="*/ 8647812 w 12045155"/>
                <a:gd name="connsiteY17" fmla="*/ 1264715 h 2510087"/>
                <a:gd name="connsiteX18" fmla="*/ 9217808 w 12045155"/>
                <a:gd name="connsiteY18" fmla="*/ 2091547 h 2510087"/>
                <a:gd name="connsiteX19" fmla="*/ 10149208 w 12045155"/>
                <a:gd name="connsiteY19" fmla="*/ 2510086 h 2510087"/>
                <a:gd name="connsiteX20" fmla="*/ 11195242 w 12045155"/>
                <a:gd name="connsiteY20" fmla="*/ 2091549 h 2510087"/>
                <a:gd name="connsiteX21" fmla="*/ 11486173 w 12045155"/>
                <a:gd name="connsiteY21" fmla="*/ 1445814 h 2510087"/>
                <a:gd name="connsiteX22" fmla="*/ 11797069 w 12045155"/>
                <a:gd name="connsiteY22" fmla="*/ 999707 h 2510087"/>
                <a:gd name="connsiteX23" fmla="*/ 12045155 w 12045155"/>
                <a:gd name="connsiteY23" fmla="*/ 699393 h 2510087"/>
                <a:gd name="connsiteX24" fmla="*/ 12045155 w 12045155"/>
                <a:gd name="connsiteY24" fmla="*/ 261011 h 2510087"/>
                <a:gd name="connsiteX25" fmla="*/ 11438839 w 12045155"/>
                <a:gd name="connsiteY25" fmla="*/ 435586 h 2510087"/>
                <a:gd name="connsiteX26" fmla="*/ 11059114 w 12045155"/>
                <a:gd name="connsiteY26" fmla="*/ 1047471 h 2510087"/>
                <a:gd name="connsiteX27" fmla="*/ 10602369 w 12045155"/>
                <a:gd name="connsiteY27" fmla="*/ 1661632 h 2510087"/>
                <a:gd name="connsiteX28" fmla="*/ 10034574 w 12045155"/>
                <a:gd name="connsiteY28" fmla="*/ 1618415 h 2510087"/>
                <a:gd name="connsiteX29" fmla="*/ 9527677 w 12045155"/>
                <a:gd name="connsiteY29" fmla="*/ 1058846 h 2510087"/>
                <a:gd name="connsiteX30" fmla="*/ 9053022 w 12045155"/>
                <a:gd name="connsiteY30" fmla="*/ 581165 h 2510087"/>
                <a:gd name="connsiteX31" fmla="*/ 8450223 w 12045155"/>
                <a:gd name="connsiteY31" fmla="*/ 156695 h 2510087"/>
                <a:gd name="connsiteX32" fmla="*/ 7635927 w 12045155"/>
                <a:gd name="connsiteY32" fmla="*/ 105714 h 2510087"/>
                <a:gd name="connsiteX33" fmla="*/ 7049636 w 12045155"/>
                <a:gd name="connsiteY33" fmla="*/ 199189 h 2510087"/>
                <a:gd name="connsiteX34" fmla="*/ 6342549 w 12045155"/>
                <a:gd name="connsiteY34" fmla="*/ 146630 h 2510087"/>
                <a:gd name="connsiteX35" fmla="*/ 5902209 w 12045155"/>
                <a:gd name="connsiteY35" fmla="*/ 249658 h 2510087"/>
                <a:gd name="connsiteX36" fmla="*/ 5182195 w 12045155"/>
                <a:gd name="connsiteY36" fmla="*/ 292664 h 2510087"/>
                <a:gd name="connsiteX37" fmla="*/ 3822487 w 12045155"/>
                <a:gd name="connsiteY37" fmla="*/ 90799 h 2510087"/>
                <a:gd name="connsiteX38" fmla="*/ 2370177 w 12045155"/>
                <a:gd name="connsiteY38" fmla="*/ 156695 h 2510087"/>
                <a:gd name="connsiteX39" fmla="*/ 578745 w 12045155"/>
                <a:gd name="connsiteY39" fmla="*/ 148189 h 2510087"/>
                <a:gd name="connsiteX40" fmla="*/ 38923 w 12045155"/>
                <a:gd name="connsiteY40" fmla="*/ 157240 h 2510087"/>
                <a:gd name="connsiteX0" fmla="*/ 38923 w 12045155"/>
                <a:gd name="connsiteY0" fmla="*/ 157240 h 2510087"/>
                <a:gd name="connsiteX1" fmla="*/ 4765 w 12045155"/>
                <a:gd name="connsiteY1" fmla="*/ 229969 h 2510087"/>
                <a:gd name="connsiteX2" fmla="*/ 8249783 w 12045155"/>
                <a:gd name="connsiteY2" fmla="*/ 507371 h 2510087"/>
                <a:gd name="connsiteX3" fmla="*/ 31647 w 12045155"/>
                <a:gd name="connsiteY3" fmla="*/ 700450 h 2510087"/>
                <a:gd name="connsiteX4" fmla="*/ 43864 w 12045155"/>
                <a:gd name="connsiteY4" fmla="*/ 777266 h 2510087"/>
                <a:gd name="connsiteX5" fmla="*/ 80207 w 12045155"/>
                <a:gd name="connsiteY5" fmla="*/ 937416 h 2510087"/>
                <a:gd name="connsiteX6" fmla="*/ 937008 w 12045155"/>
                <a:gd name="connsiteY6" fmla="*/ 844973 h 2510087"/>
                <a:gd name="connsiteX7" fmla="*/ 1631867 w 12045155"/>
                <a:gd name="connsiteY7" fmla="*/ 878961 h 2510087"/>
                <a:gd name="connsiteX8" fmla="*/ 2087877 w 12045155"/>
                <a:gd name="connsiteY8" fmla="*/ 819473 h 2510087"/>
                <a:gd name="connsiteX9" fmla="*/ 2565599 w 12045155"/>
                <a:gd name="connsiteY9" fmla="*/ 819473 h 2510087"/>
                <a:gd name="connsiteX10" fmla="*/ 3336468 w 12045155"/>
                <a:gd name="connsiteY10" fmla="*/ 861967 h 2510087"/>
                <a:gd name="connsiteX11" fmla="*/ 4215904 w 12045155"/>
                <a:gd name="connsiteY11" fmla="*/ 844973 h 2510087"/>
                <a:gd name="connsiteX12" fmla="*/ 4845622 w 12045155"/>
                <a:gd name="connsiteY12" fmla="*/ 853479 h 2510087"/>
                <a:gd name="connsiteX13" fmla="*/ 5681632 w 12045155"/>
                <a:gd name="connsiteY13" fmla="*/ 853479 h 2510087"/>
                <a:gd name="connsiteX14" fmla="*/ 6745645 w 12045155"/>
                <a:gd name="connsiteY14" fmla="*/ 878979 h 2510087"/>
                <a:gd name="connsiteX15" fmla="*/ 7494800 w 12045155"/>
                <a:gd name="connsiteY15" fmla="*/ 870473 h 2510087"/>
                <a:gd name="connsiteX16" fmla="*/ 8026795 w 12045155"/>
                <a:gd name="connsiteY16" fmla="*/ 861967 h 2510087"/>
                <a:gd name="connsiteX17" fmla="*/ 8647812 w 12045155"/>
                <a:gd name="connsiteY17" fmla="*/ 1264715 h 2510087"/>
                <a:gd name="connsiteX18" fmla="*/ 9217808 w 12045155"/>
                <a:gd name="connsiteY18" fmla="*/ 2091547 h 2510087"/>
                <a:gd name="connsiteX19" fmla="*/ 10149208 w 12045155"/>
                <a:gd name="connsiteY19" fmla="*/ 2510086 h 2510087"/>
                <a:gd name="connsiteX20" fmla="*/ 11195242 w 12045155"/>
                <a:gd name="connsiteY20" fmla="*/ 2091549 h 2510087"/>
                <a:gd name="connsiteX21" fmla="*/ 11486173 w 12045155"/>
                <a:gd name="connsiteY21" fmla="*/ 1445814 h 2510087"/>
                <a:gd name="connsiteX22" fmla="*/ 11797069 w 12045155"/>
                <a:gd name="connsiteY22" fmla="*/ 999707 h 2510087"/>
                <a:gd name="connsiteX23" fmla="*/ 12045155 w 12045155"/>
                <a:gd name="connsiteY23" fmla="*/ 699393 h 2510087"/>
                <a:gd name="connsiteX24" fmla="*/ 12045155 w 12045155"/>
                <a:gd name="connsiteY24" fmla="*/ 261011 h 2510087"/>
                <a:gd name="connsiteX25" fmla="*/ 11438839 w 12045155"/>
                <a:gd name="connsiteY25" fmla="*/ 435586 h 2510087"/>
                <a:gd name="connsiteX26" fmla="*/ 11059114 w 12045155"/>
                <a:gd name="connsiteY26" fmla="*/ 1047471 h 2510087"/>
                <a:gd name="connsiteX27" fmla="*/ 10602369 w 12045155"/>
                <a:gd name="connsiteY27" fmla="*/ 1661632 h 2510087"/>
                <a:gd name="connsiteX28" fmla="*/ 10034574 w 12045155"/>
                <a:gd name="connsiteY28" fmla="*/ 1618415 h 2510087"/>
                <a:gd name="connsiteX29" fmla="*/ 9527677 w 12045155"/>
                <a:gd name="connsiteY29" fmla="*/ 1058846 h 2510087"/>
                <a:gd name="connsiteX30" fmla="*/ 9053022 w 12045155"/>
                <a:gd name="connsiteY30" fmla="*/ 581165 h 2510087"/>
                <a:gd name="connsiteX31" fmla="*/ 8450223 w 12045155"/>
                <a:gd name="connsiteY31" fmla="*/ 156695 h 2510087"/>
                <a:gd name="connsiteX32" fmla="*/ 7635927 w 12045155"/>
                <a:gd name="connsiteY32" fmla="*/ 105714 h 2510087"/>
                <a:gd name="connsiteX33" fmla="*/ 7049636 w 12045155"/>
                <a:gd name="connsiteY33" fmla="*/ 199189 h 2510087"/>
                <a:gd name="connsiteX34" fmla="*/ 6342549 w 12045155"/>
                <a:gd name="connsiteY34" fmla="*/ 146630 h 2510087"/>
                <a:gd name="connsiteX35" fmla="*/ 5902209 w 12045155"/>
                <a:gd name="connsiteY35" fmla="*/ 249658 h 2510087"/>
                <a:gd name="connsiteX36" fmla="*/ 5182195 w 12045155"/>
                <a:gd name="connsiteY36" fmla="*/ 292664 h 2510087"/>
                <a:gd name="connsiteX37" fmla="*/ 3822487 w 12045155"/>
                <a:gd name="connsiteY37" fmla="*/ 90799 h 2510087"/>
                <a:gd name="connsiteX38" fmla="*/ 2370177 w 12045155"/>
                <a:gd name="connsiteY38" fmla="*/ 156695 h 2510087"/>
                <a:gd name="connsiteX39" fmla="*/ 578745 w 12045155"/>
                <a:gd name="connsiteY39" fmla="*/ 148189 h 2510087"/>
                <a:gd name="connsiteX40" fmla="*/ 38923 w 12045155"/>
                <a:gd name="connsiteY40" fmla="*/ 157240 h 2510087"/>
                <a:gd name="connsiteX0" fmla="*/ 379789 w 12386021"/>
                <a:gd name="connsiteY0" fmla="*/ 157240 h 2510087"/>
                <a:gd name="connsiteX1" fmla="*/ 345631 w 12386021"/>
                <a:gd name="connsiteY1" fmla="*/ 229969 h 2510087"/>
                <a:gd name="connsiteX2" fmla="*/ 8590649 w 12386021"/>
                <a:gd name="connsiteY2" fmla="*/ 507371 h 2510087"/>
                <a:gd name="connsiteX3" fmla="*/ 372513 w 12386021"/>
                <a:gd name="connsiteY3" fmla="*/ 700450 h 2510087"/>
                <a:gd name="connsiteX4" fmla="*/ 8652699 w 12386021"/>
                <a:gd name="connsiteY4" fmla="*/ 777261 h 2510087"/>
                <a:gd name="connsiteX5" fmla="*/ 421073 w 12386021"/>
                <a:gd name="connsiteY5" fmla="*/ 937416 h 2510087"/>
                <a:gd name="connsiteX6" fmla="*/ 1277874 w 12386021"/>
                <a:gd name="connsiteY6" fmla="*/ 844973 h 2510087"/>
                <a:gd name="connsiteX7" fmla="*/ 1972733 w 12386021"/>
                <a:gd name="connsiteY7" fmla="*/ 878961 h 2510087"/>
                <a:gd name="connsiteX8" fmla="*/ 2428743 w 12386021"/>
                <a:gd name="connsiteY8" fmla="*/ 819473 h 2510087"/>
                <a:gd name="connsiteX9" fmla="*/ 2906465 w 12386021"/>
                <a:gd name="connsiteY9" fmla="*/ 819473 h 2510087"/>
                <a:gd name="connsiteX10" fmla="*/ 3677334 w 12386021"/>
                <a:gd name="connsiteY10" fmla="*/ 861967 h 2510087"/>
                <a:gd name="connsiteX11" fmla="*/ 4556770 w 12386021"/>
                <a:gd name="connsiteY11" fmla="*/ 844973 h 2510087"/>
                <a:gd name="connsiteX12" fmla="*/ 5186488 w 12386021"/>
                <a:gd name="connsiteY12" fmla="*/ 853479 h 2510087"/>
                <a:gd name="connsiteX13" fmla="*/ 6022498 w 12386021"/>
                <a:gd name="connsiteY13" fmla="*/ 853479 h 2510087"/>
                <a:gd name="connsiteX14" fmla="*/ 7086511 w 12386021"/>
                <a:gd name="connsiteY14" fmla="*/ 878979 h 2510087"/>
                <a:gd name="connsiteX15" fmla="*/ 7835666 w 12386021"/>
                <a:gd name="connsiteY15" fmla="*/ 870473 h 2510087"/>
                <a:gd name="connsiteX16" fmla="*/ 8367661 w 12386021"/>
                <a:gd name="connsiteY16" fmla="*/ 861967 h 2510087"/>
                <a:gd name="connsiteX17" fmla="*/ 8988678 w 12386021"/>
                <a:gd name="connsiteY17" fmla="*/ 1264715 h 2510087"/>
                <a:gd name="connsiteX18" fmla="*/ 9558674 w 12386021"/>
                <a:gd name="connsiteY18" fmla="*/ 2091547 h 2510087"/>
                <a:gd name="connsiteX19" fmla="*/ 10490074 w 12386021"/>
                <a:gd name="connsiteY19" fmla="*/ 2510086 h 2510087"/>
                <a:gd name="connsiteX20" fmla="*/ 11536108 w 12386021"/>
                <a:gd name="connsiteY20" fmla="*/ 2091549 h 2510087"/>
                <a:gd name="connsiteX21" fmla="*/ 11827039 w 12386021"/>
                <a:gd name="connsiteY21" fmla="*/ 1445814 h 2510087"/>
                <a:gd name="connsiteX22" fmla="*/ 12137935 w 12386021"/>
                <a:gd name="connsiteY22" fmla="*/ 999707 h 2510087"/>
                <a:gd name="connsiteX23" fmla="*/ 12386021 w 12386021"/>
                <a:gd name="connsiteY23" fmla="*/ 699393 h 2510087"/>
                <a:gd name="connsiteX24" fmla="*/ 12386021 w 12386021"/>
                <a:gd name="connsiteY24" fmla="*/ 261011 h 2510087"/>
                <a:gd name="connsiteX25" fmla="*/ 11779705 w 12386021"/>
                <a:gd name="connsiteY25" fmla="*/ 435586 h 2510087"/>
                <a:gd name="connsiteX26" fmla="*/ 11399980 w 12386021"/>
                <a:gd name="connsiteY26" fmla="*/ 1047471 h 2510087"/>
                <a:gd name="connsiteX27" fmla="*/ 10943235 w 12386021"/>
                <a:gd name="connsiteY27" fmla="*/ 1661632 h 2510087"/>
                <a:gd name="connsiteX28" fmla="*/ 10375440 w 12386021"/>
                <a:gd name="connsiteY28" fmla="*/ 1618415 h 2510087"/>
                <a:gd name="connsiteX29" fmla="*/ 9868543 w 12386021"/>
                <a:gd name="connsiteY29" fmla="*/ 1058846 h 2510087"/>
                <a:gd name="connsiteX30" fmla="*/ 9393888 w 12386021"/>
                <a:gd name="connsiteY30" fmla="*/ 581165 h 2510087"/>
                <a:gd name="connsiteX31" fmla="*/ 8791089 w 12386021"/>
                <a:gd name="connsiteY31" fmla="*/ 156695 h 2510087"/>
                <a:gd name="connsiteX32" fmla="*/ 7976793 w 12386021"/>
                <a:gd name="connsiteY32" fmla="*/ 105714 h 2510087"/>
                <a:gd name="connsiteX33" fmla="*/ 7390502 w 12386021"/>
                <a:gd name="connsiteY33" fmla="*/ 199189 h 2510087"/>
                <a:gd name="connsiteX34" fmla="*/ 6683415 w 12386021"/>
                <a:gd name="connsiteY34" fmla="*/ 146630 h 2510087"/>
                <a:gd name="connsiteX35" fmla="*/ 6243075 w 12386021"/>
                <a:gd name="connsiteY35" fmla="*/ 249658 h 2510087"/>
                <a:gd name="connsiteX36" fmla="*/ 5523061 w 12386021"/>
                <a:gd name="connsiteY36" fmla="*/ 292664 h 2510087"/>
                <a:gd name="connsiteX37" fmla="*/ 4163353 w 12386021"/>
                <a:gd name="connsiteY37" fmla="*/ 90799 h 2510087"/>
                <a:gd name="connsiteX38" fmla="*/ 2711043 w 12386021"/>
                <a:gd name="connsiteY38" fmla="*/ 156695 h 2510087"/>
                <a:gd name="connsiteX39" fmla="*/ 919611 w 12386021"/>
                <a:gd name="connsiteY39" fmla="*/ 148189 h 2510087"/>
                <a:gd name="connsiteX40" fmla="*/ 379789 w 12386021"/>
                <a:gd name="connsiteY40" fmla="*/ 157240 h 2510087"/>
                <a:gd name="connsiteX0" fmla="*/ 379791 w 12386023"/>
                <a:gd name="connsiteY0" fmla="*/ 157240 h 2510087"/>
                <a:gd name="connsiteX1" fmla="*/ 345633 w 12386023"/>
                <a:gd name="connsiteY1" fmla="*/ 229969 h 2510087"/>
                <a:gd name="connsiteX2" fmla="*/ 8590651 w 12386023"/>
                <a:gd name="connsiteY2" fmla="*/ 507371 h 2510087"/>
                <a:gd name="connsiteX3" fmla="*/ 8697801 w 12386023"/>
                <a:gd name="connsiteY3" fmla="*/ 591261 h 2510087"/>
                <a:gd name="connsiteX4" fmla="*/ 8652701 w 12386023"/>
                <a:gd name="connsiteY4" fmla="*/ 777261 h 2510087"/>
                <a:gd name="connsiteX5" fmla="*/ 421075 w 12386023"/>
                <a:gd name="connsiteY5" fmla="*/ 937416 h 2510087"/>
                <a:gd name="connsiteX6" fmla="*/ 1277876 w 12386023"/>
                <a:gd name="connsiteY6" fmla="*/ 844973 h 2510087"/>
                <a:gd name="connsiteX7" fmla="*/ 1972735 w 12386023"/>
                <a:gd name="connsiteY7" fmla="*/ 878961 h 2510087"/>
                <a:gd name="connsiteX8" fmla="*/ 2428745 w 12386023"/>
                <a:gd name="connsiteY8" fmla="*/ 819473 h 2510087"/>
                <a:gd name="connsiteX9" fmla="*/ 2906467 w 12386023"/>
                <a:gd name="connsiteY9" fmla="*/ 819473 h 2510087"/>
                <a:gd name="connsiteX10" fmla="*/ 3677336 w 12386023"/>
                <a:gd name="connsiteY10" fmla="*/ 861967 h 2510087"/>
                <a:gd name="connsiteX11" fmla="*/ 4556772 w 12386023"/>
                <a:gd name="connsiteY11" fmla="*/ 844973 h 2510087"/>
                <a:gd name="connsiteX12" fmla="*/ 5186490 w 12386023"/>
                <a:gd name="connsiteY12" fmla="*/ 853479 h 2510087"/>
                <a:gd name="connsiteX13" fmla="*/ 6022500 w 12386023"/>
                <a:gd name="connsiteY13" fmla="*/ 853479 h 2510087"/>
                <a:gd name="connsiteX14" fmla="*/ 7086513 w 12386023"/>
                <a:gd name="connsiteY14" fmla="*/ 878979 h 2510087"/>
                <a:gd name="connsiteX15" fmla="*/ 7835668 w 12386023"/>
                <a:gd name="connsiteY15" fmla="*/ 870473 h 2510087"/>
                <a:gd name="connsiteX16" fmla="*/ 8367663 w 12386023"/>
                <a:gd name="connsiteY16" fmla="*/ 861967 h 2510087"/>
                <a:gd name="connsiteX17" fmla="*/ 8988680 w 12386023"/>
                <a:gd name="connsiteY17" fmla="*/ 1264715 h 2510087"/>
                <a:gd name="connsiteX18" fmla="*/ 9558676 w 12386023"/>
                <a:gd name="connsiteY18" fmla="*/ 2091547 h 2510087"/>
                <a:gd name="connsiteX19" fmla="*/ 10490076 w 12386023"/>
                <a:gd name="connsiteY19" fmla="*/ 2510086 h 2510087"/>
                <a:gd name="connsiteX20" fmla="*/ 11536110 w 12386023"/>
                <a:gd name="connsiteY20" fmla="*/ 2091549 h 2510087"/>
                <a:gd name="connsiteX21" fmla="*/ 11827041 w 12386023"/>
                <a:gd name="connsiteY21" fmla="*/ 1445814 h 2510087"/>
                <a:gd name="connsiteX22" fmla="*/ 12137937 w 12386023"/>
                <a:gd name="connsiteY22" fmla="*/ 999707 h 2510087"/>
                <a:gd name="connsiteX23" fmla="*/ 12386023 w 12386023"/>
                <a:gd name="connsiteY23" fmla="*/ 699393 h 2510087"/>
                <a:gd name="connsiteX24" fmla="*/ 12386023 w 12386023"/>
                <a:gd name="connsiteY24" fmla="*/ 261011 h 2510087"/>
                <a:gd name="connsiteX25" fmla="*/ 11779707 w 12386023"/>
                <a:gd name="connsiteY25" fmla="*/ 435586 h 2510087"/>
                <a:gd name="connsiteX26" fmla="*/ 11399982 w 12386023"/>
                <a:gd name="connsiteY26" fmla="*/ 1047471 h 2510087"/>
                <a:gd name="connsiteX27" fmla="*/ 10943237 w 12386023"/>
                <a:gd name="connsiteY27" fmla="*/ 1661632 h 2510087"/>
                <a:gd name="connsiteX28" fmla="*/ 10375442 w 12386023"/>
                <a:gd name="connsiteY28" fmla="*/ 1618415 h 2510087"/>
                <a:gd name="connsiteX29" fmla="*/ 9868545 w 12386023"/>
                <a:gd name="connsiteY29" fmla="*/ 1058846 h 2510087"/>
                <a:gd name="connsiteX30" fmla="*/ 9393890 w 12386023"/>
                <a:gd name="connsiteY30" fmla="*/ 581165 h 2510087"/>
                <a:gd name="connsiteX31" fmla="*/ 8791091 w 12386023"/>
                <a:gd name="connsiteY31" fmla="*/ 156695 h 2510087"/>
                <a:gd name="connsiteX32" fmla="*/ 7976795 w 12386023"/>
                <a:gd name="connsiteY32" fmla="*/ 105714 h 2510087"/>
                <a:gd name="connsiteX33" fmla="*/ 7390504 w 12386023"/>
                <a:gd name="connsiteY33" fmla="*/ 199189 h 2510087"/>
                <a:gd name="connsiteX34" fmla="*/ 6683417 w 12386023"/>
                <a:gd name="connsiteY34" fmla="*/ 146630 h 2510087"/>
                <a:gd name="connsiteX35" fmla="*/ 6243077 w 12386023"/>
                <a:gd name="connsiteY35" fmla="*/ 249658 h 2510087"/>
                <a:gd name="connsiteX36" fmla="*/ 5523063 w 12386023"/>
                <a:gd name="connsiteY36" fmla="*/ 292664 h 2510087"/>
                <a:gd name="connsiteX37" fmla="*/ 4163355 w 12386023"/>
                <a:gd name="connsiteY37" fmla="*/ 90799 h 2510087"/>
                <a:gd name="connsiteX38" fmla="*/ 2711045 w 12386023"/>
                <a:gd name="connsiteY38" fmla="*/ 156695 h 2510087"/>
                <a:gd name="connsiteX39" fmla="*/ 919613 w 12386023"/>
                <a:gd name="connsiteY39" fmla="*/ 148189 h 2510087"/>
                <a:gd name="connsiteX40" fmla="*/ 379791 w 12386023"/>
                <a:gd name="connsiteY40" fmla="*/ 157240 h 2510087"/>
                <a:gd name="connsiteX0" fmla="*/ 379791 w 12386023"/>
                <a:gd name="connsiteY0" fmla="*/ 157240 h 2510087"/>
                <a:gd name="connsiteX1" fmla="*/ 345633 w 12386023"/>
                <a:gd name="connsiteY1" fmla="*/ 229969 h 2510087"/>
                <a:gd name="connsiteX2" fmla="*/ 8676628 w 12386023"/>
                <a:gd name="connsiteY2" fmla="*/ 434581 h 2510087"/>
                <a:gd name="connsiteX3" fmla="*/ 8697801 w 12386023"/>
                <a:gd name="connsiteY3" fmla="*/ 591261 h 2510087"/>
                <a:gd name="connsiteX4" fmla="*/ 8652701 w 12386023"/>
                <a:gd name="connsiteY4" fmla="*/ 777261 h 2510087"/>
                <a:gd name="connsiteX5" fmla="*/ 421075 w 12386023"/>
                <a:gd name="connsiteY5" fmla="*/ 937416 h 2510087"/>
                <a:gd name="connsiteX6" fmla="*/ 1277876 w 12386023"/>
                <a:gd name="connsiteY6" fmla="*/ 844973 h 2510087"/>
                <a:gd name="connsiteX7" fmla="*/ 1972735 w 12386023"/>
                <a:gd name="connsiteY7" fmla="*/ 878961 h 2510087"/>
                <a:gd name="connsiteX8" fmla="*/ 2428745 w 12386023"/>
                <a:gd name="connsiteY8" fmla="*/ 819473 h 2510087"/>
                <a:gd name="connsiteX9" fmla="*/ 2906467 w 12386023"/>
                <a:gd name="connsiteY9" fmla="*/ 819473 h 2510087"/>
                <a:gd name="connsiteX10" fmla="*/ 3677336 w 12386023"/>
                <a:gd name="connsiteY10" fmla="*/ 861967 h 2510087"/>
                <a:gd name="connsiteX11" fmla="*/ 4556772 w 12386023"/>
                <a:gd name="connsiteY11" fmla="*/ 844973 h 2510087"/>
                <a:gd name="connsiteX12" fmla="*/ 5186490 w 12386023"/>
                <a:gd name="connsiteY12" fmla="*/ 853479 h 2510087"/>
                <a:gd name="connsiteX13" fmla="*/ 6022500 w 12386023"/>
                <a:gd name="connsiteY13" fmla="*/ 853479 h 2510087"/>
                <a:gd name="connsiteX14" fmla="*/ 7086513 w 12386023"/>
                <a:gd name="connsiteY14" fmla="*/ 878979 h 2510087"/>
                <a:gd name="connsiteX15" fmla="*/ 7835668 w 12386023"/>
                <a:gd name="connsiteY15" fmla="*/ 870473 h 2510087"/>
                <a:gd name="connsiteX16" fmla="*/ 8367663 w 12386023"/>
                <a:gd name="connsiteY16" fmla="*/ 861967 h 2510087"/>
                <a:gd name="connsiteX17" fmla="*/ 8988680 w 12386023"/>
                <a:gd name="connsiteY17" fmla="*/ 1264715 h 2510087"/>
                <a:gd name="connsiteX18" fmla="*/ 9558676 w 12386023"/>
                <a:gd name="connsiteY18" fmla="*/ 2091547 h 2510087"/>
                <a:gd name="connsiteX19" fmla="*/ 10490076 w 12386023"/>
                <a:gd name="connsiteY19" fmla="*/ 2510086 h 2510087"/>
                <a:gd name="connsiteX20" fmla="*/ 11536110 w 12386023"/>
                <a:gd name="connsiteY20" fmla="*/ 2091549 h 2510087"/>
                <a:gd name="connsiteX21" fmla="*/ 11827041 w 12386023"/>
                <a:gd name="connsiteY21" fmla="*/ 1445814 h 2510087"/>
                <a:gd name="connsiteX22" fmla="*/ 12137937 w 12386023"/>
                <a:gd name="connsiteY22" fmla="*/ 999707 h 2510087"/>
                <a:gd name="connsiteX23" fmla="*/ 12386023 w 12386023"/>
                <a:gd name="connsiteY23" fmla="*/ 699393 h 2510087"/>
                <a:gd name="connsiteX24" fmla="*/ 12386023 w 12386023"/>
                <a:gd name="connsiteY24" fmla="*/ 261011 h 2510087"/>
                <a:gd name="connsiteX25" fmla="*/ 11779707 w 12386023"/>
                <a:gd name="connsiteY25" fmla="*/ 435586 h 2510087"/>
                <a:gd name="connsiteX26" fmla="*/ 11399982 w 12386023"/>
                <a:gd name="connsiteY26" fmla="*/ 1047471 h 2510087"/>
                <a:gd name="connsiteX27" fmla="*/ 10943237 w 12386023"/>
                <a:gd name="connsiteY27" fmla="*/ 1661632 h 2510087"/>
                <a:gd name="connsiteX28" fmla="*/ 10375442 w 12386023"/>
                <a:gd name="connsiteY28" fmla="*/ 1618415 h 2510087"/>
                <a:gd name="connsiteX29" fmla="*/ 9868545 w 12386023"/>
                <a:gd name="connsiteY29" fmla="*/ 1058846 h 2510087"/>
                <a:gd name="connsiteX30" fmla="*/ 9393890 w 12386023"/>
                <a:gd name="connsiteY30" fmla="*/ 581165 h 2510087"/>
                <a:gd name="connsiteX31" fmla="*/ 8791091 w 12386023"/>
                <a:gd name="connsiteY31" fmla="*/ 156695 h 2510087"/>
                <a:gd name="connsiteX32" fmla="*/ 7976795 w 12386023"/>
                <a:gd name="connsiteY32" fmla="*/ 105714 h 2510087"/>
                <a:gd name="connsiteX33" fmla="*/ 7390504 w 12386023"/>
                <a:gd name="connsiteY33" fmla="*/ 199189 h 2510087"/>
                <a:gd name="connsiteX34" fmla="*/ 6683417 w 12386023"/>
                <a:gd name="connsiteY34" fmla="*/ 146630 h 2510087"/>
                <a:gd name="connsiteX35" fmla="*/ 6243077 w 12386023"/>
                <a:gd name="connsiteY35" fmla="*/ 249658 h 2510087"/>
                <a:gd name="connsiteX36" fmla="*/ 5523063 w 12386023"/>
                <a:gd name="connsiteY36" fmla="*/ 292664 h 2510087"/>
                <a:gd name="connsiteX37" fmla="*/ 4163355 w 12386023"/>
                <a:gd name="connsiteY37" fmla="*/ 90799 h 2510087"/>
                <a:gd name="connsiteX38" fmla="*/ 2711045 w 12386023"/>
                <a:gd name="connsiteY38" fmla="*/ 156695 h 2510087"/>
                <a:gd name="connsiteX39" fmla="*/ 919613 w 12386023"/>
                <a:gd name="connsiteY39" fmla="*/ 148189 h 2510087"/>
                <a:gd name="connsiteX40" fmla="*/ 379791 w 12386023"/>
                <a:gd name="connsiteY40" fmla="*/ 157240 h 2510087"/>
                <a:gd name="connsiteX0" fmla="*/ 8705072 w 12386023"/>
                <a:gd name="connsiteY0" fmla="*/ 284622 h 2510087"/>
                <a:gd name="connsiteX1" fmla="*/ 345633 w 12386023"/>
                <a:gd name="connsiteY1" fmla="*/ 229969 h 2510087"/>
                <a:gd name="connsiteX2" fmla="*/ 8676628 w 12386023"/>
                <a:gd name="connsiteY2" fmla="*/ 434581 h 2510087"/>
                <a:gd name="connsiteX3" fmla="*/ 8697801 w 12386023"/>
                <a:gd name="connsiteY3" fmla="*/ 591261 h 2510087"/>
                <a:gd name="connsiteX4" fmla="*/ 8652701 w 12386023"/>
                <a:gd name="connsiteY4" fmla="*/ 777261 h 2510087"/>
                <a:gd name="connsiteX5" fmla="*/ 421075 w 12386023"/>
                <a:gd name="connsiteY5" fmla="*/ 937416 h 2510087"/>
                <a:gd name="connsiteX6" fmla="*/ 1277876 w 12386023"/>
                <a:gd name="connsiteY6" fmla="*/ 844973 h 2510087"/>
                <a:gd name="connsiteX7" fmla="*/ 1972735 w 12386023"/>
                <a:gd name="connsiteY7" fmla="*/ 878961 h 2510087"/>
                <a:gd name="connsiteX8" fmla="*/ 2428745 w 12386023"/>
                <a:gd name="connsiteY8" fmla="*/ 819473 h 2510087"/>
                <a:gd name="connsiteX9" fmla="*/ 2906467 w 12386023"/>
                <a:gd name="connsiteY9" fmla="*/ 819473 h 2510087"/>
                <a:gd name="connsiteX10" fmla="*/ 3677336 w 12386023"/>
                <a:gd name="connsiteY10" fmla="*/ 861967 h 2510087"/>
                <a:gd name="connsiteX11" fmla="*/ 4556772 w 12386023"/>
                <a:gd name="connsiteY11" fmla="*/ 844973 h 2510087"/>
                <a:gd name="connsiteX12" fmla="*/ 5186490 w 12386023"/>
                <a:gd name="connsiteY12" fmla="*/ 853479 h 2510087"/>
                <a:gd name="connsiteX13" fmla="*/ 6022500 w 12386023"/>
                <a:gd name="connsiteY13" fmla="*/ 853479 h 2510087"/>
                <a:gd name="connsiteX14" fmla="*/ 7086513 w 12386023"/>
                <a:gd name="connsiteY14" fmla="*/ 878979 h 2510087"/>
                <a:gd name="connsiteX15" fmla="*/ 7835668 w 12386023"/>
                <a:gd name="connsiteY15" fmla="*/ 870473 h 2510087"/>
                <a:gd name="connsiteX16" fmla="*/ 8367663 w 12386023"/>
                <a:gd name="connsiteY16" fmla="*/ 861967 h 2510087"/>
                <a:gd name="connsiteX17" fmla="*/ 8988680 w 12386023"/>
                <a:gd name="connsiteY17" fmla="*/ 1264715 h 2510087"/>
                <a:gd name="connsiteX18" fmla="*/ 9558676 w 12386023"/>
                <a:gd name="connsiteY18" fmla="*/ 2091547 h 2510087"/>
                <a:gd name="connsiteX19" fmla="*/ 10490076 w 12386023"/>
                <a:gd name="connsiteY19" fmla="*/ 2510086 h 2510087"/>
                <a:gd name="connsiteX20" fmla="*/ 11536110 w 12386023"/>
                <a:gd name="connsiteY20" fmla="*/ 2091549 h 2510087"/>
                <a:gd name="connsiteX21" fmla="*/ 11827041 w 12386023"/>
                <a:gd name="connsiteY21" fmla="*/ 1445814 h 2510087"/>
                <a:gd name="connsiteX22" fmla="*/ 12137937 w 12386023"/>
                <a:gd name="connsiteY22" fmla="*/ 999707 h 2510087"/>
                <a:gd name="connsiteX23" fmla="*/ 12386023 w 12386023"/>
                <a:gd name="connsiteY23" fmla="*/ 699393 h 2510087"/>
                <a:gd name="connsiteX24" fmla="*/ 12386023 w 12386023"/>
                <a:gd name="connsiteY24" fmla="*/ 261011 h 2510087"/>
                <a:gd name="connsiteX25" fmla="*/ 11779707 w 12386023"/>
                <a:gd name="connsiteY25" fmla="*/ 435586 h 2510087"/>
                <a:gd name="connsiteX26" fmla="*/ 11399982 w 12386023"/>
                <a:gd name="connsiteY26" fmla="*/ 1047471 h 2510087"/>
                <a:gd name="connsiteX27" fmla="*/ 10943237 w 12386023"/>
                <a:gd name="connsiteY27" fmla="*/ 1661632 h 2510087"/>
                <a:gd name="connsiteX28" fmla="*/ 10375442 w 12386023"/>
                <a:gd name="connsiteY28" fmla="*/ 1618415 h 2510087"/>
                <a:gd name="connsiteX29" fmla="*/ 9868545 w 12386023"/>
                <a:gd name="connsiteY29" fmla="*/ 1058846 h 2510087"/>
                <a:gd name="connsiteX30" fmla="*/ 9393890 w 12386023"/>
                <a:gd name="connsiteY30" fmla="*/ 581165 h 2510087"/>
                <a:gd name="connsiteX31" fmla="*/ 8791091 w 12386023"/>
                <a:gd name="connsiteY31" fmla="*/ 156695 h 2510087"/>
                <a:gd name="connsiteX32" fmla="*/ 7976795 w 12386023"/>
                <a:gd name="connsiteY32" fmla="*/ 105714 h 2510087"/>
                <a:gd name="connsiteX33" fmla="*/ 7390504 w 12386023"/>
                <a:gd name="connsiteY33" fmla="*/ 199189 h 2510087"/>
                <a:gd name="connsiteX34" fmla="*/ 6683417 w 12386023"/>
                <a:gd name="connsiteY34" fmla="*/ 146630 h 2510087"/>
                <a:gd name="connsiteX35" fmla="*/ 6243077 w 12386023"/>
                <a:gd name="connsiteY35" fmla="*/ 249658 h 2510087"/>
                <a:gd name="connsiteX36" fmla="*/ 5523063 w 12386023"/>
                <a:gd name="connsiteY36" fmla="*/ 292664 h 2510087"/>
                <a:gd name="connsiteX37" fmla="*/ 4163355 w 12386023"/>
                <a:gd name="connsiteY37" fmla="*/ 90799 h 2510087"/>
                <a:gd name="connsiteX38" fmla="*/ 2711045 w 12386023"/>
                <a:gd name="connsiteY38" fmla="*/ 156695 h 2510087"/>
                <a:gd name="connsiteX39" fmla="*/ 919613 w 12386023"/>
                <a:gd name="connsiteY39" fmla="*/ 148189 h 2510087"/>
                <a:gd name="connsiteX40" fmla="*/ 8705072 w 12386023"/>
                <a:gd name="connsiteY40" fmla="*/ 284622 h 2510087"/>
                <a:gd name="connsiteX0" fmla="*/ 8705072 w 12386023"/>
                <a:gd name="connsiteY0" fmla="*/ 284622 h 2510087"/>
                <a:gd name="connsiteX1" fmla="*/ 8742561 w 12386023"/>
                <a:gd name="connsiteY1" fmla="*/ 521128 h 2510087"/>
                <a:gd name="connsiteX2" fmla="*/ 8676628 w 12386023"/>
                <a:gd name="connsiteY2" fmla="*/ 434581 h 2510087"/>
                <a:gd name="connsiteX3" fmla="*/ 8697801 w 12386023"/>
                <a:gd name="connsiteY3" fmla="*/ 591261 h 2510087"/>
                <a:gd name="connsiteX4" fmla="*/ 8652701 w 12386023"/>
                <a:gd name="connsiteY4" fmla="*/ 777261 h 2510087"/>
                <a:gd name="connsiteX5" fmla="*/ 421075 w 12386023"/>
                <a:gd name="connsiteY5" fmla="*/ 937416 h 2510087"/>
                <a:gd name="connsiteX6" fmla="*/ 1277876 w 12386023"/>
                <a:gd name="connsiteY6" fmla="*/ 844973 h 2510087"/>
                <a:gd name="connsiteX7" fmla="*/ 1972735 w 12386023"/>
                <a:gd name="connsiteY7" fmla="*/ 878961 h 2510087"/>
                <a:gd name="connsiteX8" fmla="*/ 2428745 w 12386023"/>
                <a:gd name="connsiteY8" fmla="*/ 819473 h 2510087"/>
                <a:gd name="connsiteX9" fmla="*/ 2906467 w 12386023"/>
                <a:gd name="connsiteY9" fmla="*/ 819473 h 2510087"/>
                <a:gd name="connsiteX10" fmla="*/ 3677336 w 12386023"/>
                <a:gd name="connsiteY10" fmla="*/ 861967 h 2510087"/>
                <a:gd name="connsiteX11" fmla="*/ 4556772 w 12386023"/>
                <a:gd name="connsiteY11" fmla="*/ 844973 h 2510087"/>
                <a:gd name="connsiteX12" fmla="*/ 5186490 w 12386023"/>
                <a:gd name="connsiteY12" fmla="*/ 853479 h 2510087"/>
                <a:gd name="connsiteX13" fmla="*/ 6022500 w 12386023"/>
                <a:gd name="connsiteY13" fmla="*/ 853479 h 2510087"/>
                <a:gd name="connsiteX14" fmla="*/ 7086513 w 12386023"/>
                <a:gd name="connsiteY14" fmla="*/ 878979 h 2510087"/>
                <a:gd name="connsiteX15" fmla="*/ 7835668 w 12386023"/>
                <a:gd name="connsiteY15" fmla="*/ 870473 h 2510087"/>
                <a:gd name="connsiteX16" fmla="*/ 8367663 w 12386023"/>
                <a:gd name="connsiteY16" fmla="*/ 861967 h 2510087"/>
                <a:gd name="connsiteX17" fmla="*/ 8988680 w 12386023"/>
                <a:gd name="connsiteY17" fmla="*/ 1264715 h 2510087"/>
                <a:gd name="connsiteX18" fmla="*/ 9558676 w 12386023"/>
                <a:gd name="connsiteY18" fmla="*/ 2091547 h 2510087"/>
                <a:gd name="connsiteX19" fmla="*/ 10490076 w 12386023"/>
                <a:gd name="connsiteY19" fmla="*/ 2510086 h 2510087"/>
                <a:gd name="connsiteX20" fmla="*/ 11536110 w 12386023"/>
                <a:gd name="connsiteY20" fmla="*/ 2091549 h 2510087"/>
                <a:gd name="connsiteX21" fmla="*/ 11827041 w 12386023"/>
                <a:gd name="connsiteY21" fmla="*/ 1445814 h 2510087"/>
                <a:gd name="connsiteX22" fmla="*/ 12137937 w 12386023"/>
                <a:gd name="connsiteY22" fmla="*/ 999707 h 2510087"/>
                <a:gd name="connsiteX23" fmla="*/ 12386023 w 12386023"/>
                <a:gd name="connsiteY23" fmla="*/ 699393 h 2510087"/>
                <a:gd name="connsiteX24" fmla="*/ 12386023 w 12386023"/>
                <a:gd name="connsiteY24" fmla="*/ 261011 h 2510087"/>
                <a:gd name="connsiteX25" fmla="*/ 11779707 w 12386023"/>
                <a:gd name="connsiteY25" fmla="*/ 435586 h 2510087"/>
                <a:gd name="connsiteX26" fmla="*/ 11399982 w 12386023"/>
                <a:gd name="connsiteY26" fmla="*/ 1047471 h 2510087"/>
                <a:gd name="connsiteX27" fmla="*/ 10943237 w 12386023"/>
                <a:gd name="connsiteY27" fmla="*/ 1661632 h 2510087"/>
                <a:gd name="connsiteX28" fmla="*/ 10375442 w 12386023"/>
                <a:gd name="connsiteY28" fmla="*/ 1618415 h 2510087"/>
                <a:gd name="connsiteX29" fmla="*/ 9868545 w 12386023"/>
                <a:gd name="connsiteY29" fmla="*/ 1058846 h 2510087"/>
                <a:gd name="connsiteX30" fmla="*/ 9393890 w 12386023"/>
                <a:gd name="connsiteY30" fmla="*/ 581165 h 2510087"/>
                <a:gd name="connsiteX31" fmla="*/ 8791091 w 12386023"/>
                <a:gd name="connsiteY31" fmla="*/ 156695 h 2510087"/>
                <a:gd name="connsiteX32" fmla="*/ 7976795 w 12386023"/>
                <a:gd name="connsiteY32" fmla="*/ 105714 h 2510087"/>
                <a:gd name="connsiteX33" fmla="*/ 7390504 w 12386023"/>
                <a:gd name="connsiteY33" fmla="*/ 199189 h 2510087"/>
                <a:gd name="connsiteX34" fmla="*/ 6683417 w 12386023"/>
                <a:gd name="connsiteY34" fmla="*/ 146630 h 2510087"/>
                <a:gd name="connsiteX35" fmla="*/ 6243077 w 12386023"/>
                <a:gd name="connsiteY35" fmla="*/ 249658 h 2510087"/>
                <a:gd name="connsiteX36" fmla="*/ 5523063 w 12386023"/>
                <a:gd name="connsiteY36" fmla="*/ 292664 h 2510087"/>
                <a:gd name="connsiteX37" fmla="*/ 4163355 w 12386023"/>
                <a:gd name="connsiteY37" fmla="*/ 90799 h 2510087"/>
                <a:gd name="connsiteX38" fmla="*/ 2711045 w 12386023"/>
                <a:gd name="connsiteY38" fmla="*/ 156695 h 2510087"/>
                <a:gd name="connsiteX39" fmla="*/ 919613 w 12386023"/>
                <a:gd name="connsiteY39" fmla="*/ 148189 h 2510087"/>
                <a:gd name="connsiteX40" fmla="*/ 8705072 w 12386023"/>
                <a:gd name="connsiteY40" fmla="*/ 284622 h 2510087"/>
                <a:gd name="connsiteX0" fmla="*/ 8705072 w 12386023"/>
                <a:gd name="connsiteY0" fmla="*/ 284622 h 2510087"/>
                <a:gd name="connsiteX1" fmla="*/ 8742561 w 12386023"/>
                <a:gd name="connsiteY1" fmla="*/ 521128 h 2510087"/>
                <a:gd name="connsiteX2" fmla="*/ 8676628 w 12386023"/>
                <a:gd name="connsiteY2" fmla="*/ 434581 h 2510087"/>
                <a:gd name="connsiteX3" fmla="*/ 8697801 w 12386023"/>
                <a:gd name="connsiteY3" fmla="*/ 591261 h 2510087"/>
                <a:gd name="connsiteX4" fmla="*/ 8652701 w 12386023"/>
                <a:gd name="connsiteY4" fmla="*/ 777261 h 2510087"/>
                <a:gd name="connsiteX5" fmla="*/ 421075 w 12386023"/>
                <a:gd name="connsiteY5" fmla="*/ 937416 h 2510087"/>
                <a:gd name="connsiteX6" fmla="*/ 1277876 w 12386023"/>
                <a:gd name="connsiteY6" fmla="*/ 844973 h 2510087"/>
                <a:gd name="connsiteX7" fmla="*/ 1972735 w 12386023"/>
                <a:gd name="connsiteY7" fmla="*/ 878961 h 2510087"/>
                <a:gd name="connsiteX8" fmla="*/ 2428745 w 12386023"/>
                <a:gd name="connsiteY8" fmla="*/ 819473 h 2510087"/>
                <a:gd name="connsiteX9" fmla="*/ 2906467 w 12386023"/>
                <a:gd name="connsiteY9" fmla="*/ 819473 h 2510087"/>
                <a:gd name="connsiteX10" fmla="*/ 3677336 w 12386023"/>
                <a:gd name="connsiteY10" fmla="*/ 861967 h 2510087"/>
                <a:gd name="connsiteX11" fmla="*/ 4556772 w 12386023"/>
                <a:gd name="connsiteY11" fmla="*/ 844973 h 2510087"/>
                <a:gd name="connsiteX12" fmla="*/ 5186490 w 12386023"/>
                <a:gd name="connsiteY12" fmla="*/ 853479 h 2510087"/>
                <a:gd name="connsiteX13" fmla="*/ 6022500 w 12386023"/>
                <a:gd name="connsiteY13" fmla="*/ 853479 h 2510087"/>
                <a:gd name="connsiteX14" fmla="*/ 7086513 w 12386023"/>
                <a:gd name="connsiteY14" fmla="*/ 878979 h 2510087"/>
                <a:gd name="connsiteX15" fmla="*/ 7835668 w 12386023"/>
                <a:gd name="connsiteY15" fmla="*/ 870473 h 2510087"/>
                <a:gd name="connsiteX16" fmla="*/ 8367663 w 12386023"/>
                <a:gd name="connsiteY16" fmla="*/ 861967 h 2510087"/>
                <a:gd name="connsiteX17" fmla="*/ 8988680 w 12386023"/>
                <a:gd name="connsiteY17" fmla="*/ 1264715 h 2510087"/>
                <a:gd name="connsiteX18" fmla="*/ 9558676 w 12386023"/>
                <a:gd name="connsiteY18" fmla="*/ 2091547 h 2510087"/>
                <a:gd name="connsiteX19" fmla="*/ 10490076 w 12386023"/>
                <a:gd name="connsiteY19" fmla="*/ 2510086 h 2510087"/>
                <a:gd name="connsiteX20" fmla="*/ 11536110 w 12386023"/>
                <a:gd name="connsiteY20" fmla="*/ 2091549 h 2510087"/>
                <a:gd name="connsiteX21" fmla="*/ 11827041 w 12386023"/>
                <a:gd name="connsiteY21" fmla="*/ 1445814 h 2510087"/>
                <a:gd name="connsiteX22" fmla="*/ 12137937 w 12386023"/>
                <a:gd name="connsiteY22" fmla="*/ 999707 h 2510087"/>
                <a:gd name="connsiteX23" fmla="*/ 12386023 w 12386023"/>
                <a:gd name="connsiteY23" fmla="*/ 699393 h 2510087"/>
                <a:gd name="connsiteX24" fmla="*/ 12386023 w 12386023"/>
                <a:gd name="connsiteY24" fmla="*/ 261011 h 2510087"/>
                <a:gd name="connsiteX25" fmla="*/ 11779707 w 12386023"/>
                <a:gd name="connsiteY25" fmla="*/ 435586 h 2510087"/>
                <a:gd name="connsiteX26" fmla="*/ 11399982 w 12386023"/>
                <a:gd name="connsiteY26" fmla="*/ 1047471 h 2510087"/>
                <a:gd name="connsiteX27" fmla="*/ 10943237 w 12386023"/>
                <a:gd name="connsiteY27" fmla="*/ 1661632 h 2510087"/>
                <a:gd name="connsiteX28" fmla="*/ 10375442 w 12386023"/>
                <a:gd name="connsiteY28" fmla="*/ 1618415 h 2510087"/>
                <a:gd name="connsiteX29" fmla="*/ 9868545 w 12386023"/>
                <a:gd name="connsiteY29" fmla="*/ 1058846 h 2510087"/>
                <a:gd name="connsiteX30" fmla="*/ 9393890 w 12386023"/>
                <a:gd name="connsiteY30" fmla="*/ 581165 h 2510087"/>
                <a:gd name="connsiteX31" fmla="*/ 8791091 w 12386023"/>
                <a:gd name="connsiteY31" fmla="*/ 156695 h 2510087"/>
                <a:gd name="connsiteX32" fmla="*/ 7976795 w 12386023"/>
                <a:gd name="connsiteY32" fmla="*/ 105714 h 2510087"/>
                <a:gd name="connsiteX33" fmla="*/ 7390504 w 12386023"/>
                <a:gd name="connsiteY33" fmla="*/ 199189 h 2510087"/>
                <a:gd name="connsiteX34" fmla="*/ 6683417 w 12386023"/>
                <a:gd name="connsiteY34" fmla="*/ 146630 h 2510087"/>
                <a:gd name="connsiteX35" fmla="*/ 6243077 w 12386023"/>
                <a:gd name="connsiteY35" fmla="*/ 249658 h 2510087"/>
                <a:gd name="connsiteX36" fmla="*/ 5523063 w 12386023"/>
                <a:gd name="connsiteY36" fmla="*/ 292664 h 2510087"/>
                <a:gd name="connsiteX37" fmla="*/ 4163355 w 12386023"/>
                <a:gd name="connsiteY37" fmla="*/ 90799 h 2510087"/>
                <a:gd name="connsiteX38" fmla="*/ 2711045 w 12386023"/>
                <a:gd name="connsiteY38" fmla="*/ 156695 h 2510087"/>
                <a:gd name="connsiteX39" fmla="*/ 8714713 w 12386023"/>
                <a:gd name="connsiteY39" fmla="*/ 457545 h 2510087"/>
                <a:gd name="connsiteX40" fmla="*/ 8705072 w 12386023"/>
                <a:gd name="connsiteY40" fmla="*/ 284622 h 2510087"/>
                <a:gd name="connsiteX0" fmla="*/ 8705072 w 12386023"/>
                <a:gd name="connsiteY0" fmla="*/ 215157 h 2440622"/>
                <a:gd name="connsiteX1" fmla="*/ 8742561 w 12386023"/>
                <a:gd name="connsiteY1" fmla="*/ 451663 h 2440622"/>
                <a:gd name="connsiteX2" fmla="*/ 8676628 w 12386023"/>
                <a:gd name="connsiteY2" fmla="*/ 365116 h 2440622"/>
                <a:gd name="connsiteX3" fmla="*/ 8697801 w 12386023"/>
                <a:gd name="connsiteY3" fmla="*/ 521796 h 2440622"/>
                <a:gd name="connsiteX4" fmla="*/ 8652701 w 12386023"/>
                <a:gd name="connsiteY4" fmla="*/ 707796 h 2440622"/>
                <a:gd name="connsiteX5" fmla="*/ 421075 w 12386023"/>
                <a:gd name="connsiteY5" fmla="*/ 867951 h 2440622"/>
                <a:gd name="connsiteX6" fmla="*/ 1277876 w 12386023"/>
                <a:gd name="connsiteY6" fmla="*/ 775508 h 2440622"/>
                <a:gd name="connsiteX7" fmla="*/ 1972735 w 12386023"/>
                <a:gd name="connsiteY7" fmla="*/ 809496 h 2440622"/>
                <a:gd name="connsiteX8" fmla="*/ 2428745 w 12386023"/>
                <a:gd name="connsiteY8" fmla="*/ 750008 h 2440622"/>
                <a:gd name="connsiteX9" fmla="*/ 2906467 w 12386023"/>
                <a:gd name="connsiteY9" fmla="*/ 750008 h 2440622"/>
                <a:gd name="connsiteX10" fmla="*/ 3677336 w 12386023"/>
                <a:gd name="connsiteY10" fmla="*/ 792502 h 2440622"/>
                <a:gd name="connsiteX11" fmla="*/ 4556772 w 12386023"/>
                <a:gd name="connsiteY11" fmla="*/ 775508 h 2440622"/>
                <a:gd name="connsiteX12" fmla="*/ 5186490 w 12386023"/>
                <a:gd name="connsiteY12" fmla="*/ 784014 h 2440622"/>
                <a:gd name="connsiteX13" fmla="*/ 6022500 w 12386023"/>
                <a:gd name="connsiteY13" fmla="*/ 784014 h 2440622"/>
                <a:gd name="connsiteX14" fmla="*/ 7086513 w 12386023"/>
                <a:gd name="connsiteY14" fmla="*/ 809514 h 2440622"/>
                <a:gd name="connsiteX15" fmla="*/ 7835668 w 12386023"/>
                <a:gd name="connsiteY15" fmla="*/ 801008 h 2440622"/>
                <a:gd name="connsiteX16" fmla="*/ 8367663 w 12386023"/>
                <a:gd name="connsiteY16" fmla="*/ 792502 h 2440622"/>
                <a:gd name="connsiteX17" fmla="*/ 8988680 w 12386023"/>
                <a:gd name="connsiteY17" fmla="*/ 1195250 h 2440622"/>
                <a:gd name="connsiteX18" fmla="*/ 9558676 w 12386023"/>
                <a:gd name="connsiteY18" fmla="*/ 2022082 h 2440622"/>
                <a:gd name="connsiteX19" fmla="*/ 10490076 w 12386023"/>
                <a:gd name="connsiteY19" fmla="*/ 2440621 h 2440622"/>
                <a:gd name="connsiteX20" fmla="*/ 11536110 w 12386023"/>
                <a:gd name="connsiteY20" fmla="*/ 2022084 h 2440622"/>
                <a:gd name="connsiteX21" fmla="*/ 11827041 w 12386023"/>
                <a:gd name="connsiteY21" fmla="*/ 1376349 h 2440622"/>
                <a:gd name="connsiteX22" fmla="*/ 12137937 w 12386023"/>
                <a:gd name="connsiteY22" fmla="*/ 930242 h 2440622"/>
                <a:gd name="connsiteX23" fmla="*/ 12386023 w 12386023"/>
                <a:gd name="connsiteY23" fmla="*/ 629928 h 2440622"/>
                <a:gd name="connsiteX24" fmla="*/ 12386023 w 12386023"/>
                <a:gd name="connsiteY24" fmla="*/ 191546 h 2440622"/>
                <a:gd name="connsiteX25" fmla="*/ 11779707 w 12386023"/>
                <a:gd name="connsiteY25" fmla="*/ 366121 h 2440622"/>
                <a:gd name="connsiteX26" fmla="*/ 11399982 w 12386023"/>
                <a:gd name="connsiteY26" fmla="*/ 978006 h 2440622"/>
                <a:gd name="connsiteX27" fmla="*/ 10943237 w 12386023"/>
                <a:gd name="connsiteY27" fmla="*/ 1592167 h 2440622"/>
                <a:gd name="connsiteX28" fmla="*/ 10375442 w 12386023"/>
                <a:gd name="connsiteY28" fmla="*/ 1548950 h 2440622"/>
                <a:gd name="connsiteX29" fmla="*/ 9868545 w 12386023"/>
                <a:gd name="connsiteY29" fmla="*/ 989381 h 2440622"/>
                <a:gd name="connsiteX30" fmla="*/ 9393890 w 12386023"/>
                <a:gd name="connsiteY30" fmla="*/ 511700 h 2440622"/>
                <a:gd name="connsiteX31" fmla="*/ 8791091 w 12386023"/>
                <a:gd name="connsiteY31" fmla="*/ 87230 h 2440622"/>
                <a:gd name="connsiteX32" fmla="*/ 7976795 w 12386023"/>
                <a:gd name="connsiteY32" fmla="*/ 36249 h 2440622"/>
                <a:gd name="connsiteX33" fmla="*/ 7390504 w 12386023"/>
                <a:gd name="connsiteY33" fmla="*/ 129724 h 2440622"/>
                <a:gd name="connsiteX34" fmla="*/ 6683417 w 12386023"/>
                <a:gd name="connsiteY34" fmla="*/ 77165 h 2440622"/>
                <a:gd name="connsiteX35" fmla="*/ 6243077 w 12386023"/>
                <a:gd name="connsiteY35" fmla="*/ 180193 h 2440622"/>
                <a:gd name="connsiteX36" fmla="*/ 5523063 w 12386023"/>
                <a:gd name="connsiteY36" fmla="*/ 223199 h 2440622"/>
                <a:gd name="connsiteX37" fmla="*/ 4163355 w 12386023"/>
                <a:gd name="connsiteY37" fmla="*/ 21334 h 2440622"/>
                <a:gd name="connsiteX38" fmla="*/ 9073222 w 12386023"/>
                <a:gd name="connsiteY38" fmla="*/ 815126 h 2440622"/>
                <a:gd name="connsiteX39" fmla="*/ 8714713 w 12386023"/>
                <a:gd name="connsiteY39" fmla="*/ 388080 h 2440622"/>
                <a:gd name="connsiteX40" fmla="*/ 8705072 w 12386023"/>
                <a:gd name="connsiteY40" fmla="*/ 215157 h 2440622"/>
                <a:gd name="connsiteX0" fmla="*/ 8705072 w 12386023"/>
                <a:gd name="connsiteY0" fmla="*/ 200377 h 2425842"/>
                <a:gd name="connsiteX1" fmla="*/ 8742561 w 12386023"/>
                <a:gd name="connsiteY1" fmla="*/ 436883 h 2425842"/>
                <a:gd name="connsiteX2" fmla="*/ 8676628 w 12386023"/>
                <a:gd name="connsiteY2" fmla="*/ 350336 h 2425842"/>
                <a:gd name="connsiteX3" fmla="*/ 8697801 w 12386023"/>
                <a:gd name="connsiteY3" fmla="*/ 507016 h 2425842"/>
                <a:gd name="connsiteX4" fmla="*/ 8652701 w 12386023"/>
                <a:gd name="connsiteY4" fmla="*/ 693016 h 2425842"/>
                <a:gd name="connsiteX5" fmla="*/ 421075 w 12386023"/>
                <a:gd name="connsiteY5" fmla="*/ 853171 h 2425842"/>
                <a:gd name="connsiteX6" fmla="*/ 1277876 w 12386023"/>
                <a:gd name="connsiteY6" fmla="*/ 760728 h 2425842"/>
                <a:gd name="connsiteX7" fmla="*/ 1972735 w 12386023"/>
                <a:gd name="connsiteY7" fmla="*/ 794716 h 2425842"/>
                <a:gd name="connsiteX8" fmla="*/ 2428745 w 12386023"/>
                <a:gd name="connsiteY8" fmla="*/ 735228 h 2425842"/>
                <a:gd name="connsiteX9" fmla="*/ 2906467 w 12386023"/>
                <a:gd name="connsiteY9" fmla="*/ 735228 h 2425842"/>
                <a:gd name="connsiteX10" fmla="*/ 3677336 w 12386023"/>
                <a:gd name="connsiteY10" fmla="*/ 777722 h 2425842"/>
                <a:gd name="connsiteX11" fmla="*/ 4556772 w 12386023"/>
                <a:gd name="connsiteY11" fmla="*/ 760728 h 2425842"/>
                <a:gd name="connsiteX12" fmla="*/ 5186490 w 12386023"/>
                <a:gd name="connsiteY12" fmla="*/ 769234 h 2425842"/>
                <a:gd name="connsiteX13" fmla="*/ 6022500 w 12386023"/>
                <a:gd name="connsiteY13" fmla="*/ 769234 h 2425842"/>
                <a:gd name="connsiteX14" fmla="*/ 7086513 w 12386023"/>
                <a:gd name="connsiteY14" fmla="*/ 794734 h 2425842"/>
                <a:gd name="connsiteX15" fmla="*/ 7835668 w 12386023"/>
                <a:gd name="connsiteY15" fmla="*/ 786228 h 2425842"/>
                <a:gd name="connsiteX16" fmla="*/ 8367663 w 12386023"/>
                <a:gd name="connsiteY16" fmla="*/ 777722 h 2425842"/>
                <a:gd name="connsiteX17" fmla="*/ 8988680 w 12386023"/>
                <a:gd name="connsiteY17" fmla="*/ 1180470 h 2425842"/>
                <a:gd name="connsiteX18" fmla="*/ 9558676 w 12386023"/>
                <a:gd name="connsiteY18" fmla="*/ 2007302 h 2425842"/>
                <a:gd name="connsiteX19" fmla="*/ 10490076 w 12386023"/>
                <a:gd name="connsiteY19" fmla="*/ 2425841 h 2425842"/>
                <a:gd name="connsiteX20" fmla="*/ 11536110 w 12386023"/>
                <a:gd name="connsiteY20" fmla="*/ 2007304 h 2425842"/>
                <a:gd name="connsiteX21" fmla="*/ 11827041 w 12386023"/>
                <a:gd name="connsiteY21" fmla="*/ 1361569 h 2425842"/>
                <a:gd name="connsiteX22" fmla="*/ 12137937 w 12386023"/>
                <a:gd name="connsiteY22" fmla="*/ 915462 h 2425842"/>
                <a:gd name="connsiteX23" fmla="*/ 12386023 w 12386023"/>
                <a:gd name="connsiteY23" fmla="*/ 615148 h 2425842"/>
                <a:gd name="connsiteX24" fmla="*/ 12386023 w 12386023"/>
                <a:gd name="connsiteY24" fmla="*/ 176766 h 2425842"/>
                <a:gd name="connsiteX25" fmla="*/ 11779707 w 12386023"/>
                <a:gd name="connsiteY25" fmla="*/ 351341 h 2425842"/>
                <a:gd name="connsiteX26" fmla="*/ 11399982 w 12386023"/>
                <a:gd name="connsiteY26" fmla="*/ 963226 h 2425842"/>
                <a:gd name="connsiteX27" fmla="*/ 10943237 w 12386023"/>
                <a:gd name="connsiteY27" fmla="*/ 1577387 h 2425842"/>
                <a:gd name="connsiteX28" fmla="*/ 10375442 w 12386023"/>
                <a:gd name="connsiteY28" fmla="*/ 1534170 h 2425842"/>
                <a:gd name="connsiteX29" fmla="*/ 9868545 w 12386023"/>
                <a:gd name="connsiteY29" fmla="*/ 974601 h 2425842"/>
                <a:gd name="connsiteX30" fmla="*/ 9393890 w 12386023"/>
                <a:gd name="connsiteY30" fmla="*/ 496920 h 2425842"/>
                <a:gd name="connsiteX31" fmla="*/ 8791091 w 12386023"/>
                <a:gd name="connsiteY31" fmla="*/ 72450 h 2425842"/>
                <a:gd name="connsiteX32" fmla="*/ 7976795 w 12386023"/>
                <a:gd name="connsiteY32" fmla="*/ 21469 h 2425842"/>
                <a:gd name="connsiteX33" fmla="*/ 7390504 w 12386023"/>
                <a:gd name="connsiteY33" fmla="*/ 114944 h 2425842"/>
                <a:gd name="connsiteX34" fmla="*/ 6683417 w 12386023"/>
                <a:gd name="connsiteY34" fmla="*/ 62385 h 2425842"/>
                <a:gd name="connsiteX35" fmla="*/ 6243077 w 12386023"/>
                <a:gd name="connsiteY35" fmla="*/ 165413 h 2425842"/>
                <a:gd name="connsiteX36" fmla="*/ 5523063 w 12386023"/>
                <a:gd name="connsiteY36" fmla="*/ 208419 h 2425842"/>
                <a:gd name="connsiteX37" fmla="*/ 8892001 w 12386023"/>
                <a:gd name="connsiteY37" fmla="*/ 497882 h 2425842"/>
                <a:gd name="connsiteX38" fmla="*/ 9073222 w 12386023"/>
                <a:gd name="connsiteY38" fmla="*/ 800346 h 2425842"/>
                <a:gd name="connsiteX39" fmla="*/ 8714713 w 12386023"/>
                <a:gd name="connsiteY39" fmla="*/ 373300 h 2425842"/>
                <a:gd name="connsiteX40" fmla="*/ 8705072 w 12386023"/>
                <a:gd name="connsiteY40" fmla="*/ 200377 h 2425842"/>
                <a:gd name="connsiteX0" fmla="*/ 8705072 w 12386023"/>
                <a:gd name="connsiteY0" fmla="*/ 200377 h 2425842"/>
                <a:gd name="connsiteX1" fmla="*/ 8742561 w 12386023"/>
                <a:gd name="connsiteY1" fmla="*/ 436883 h 2425842"/>
                <a:gd name="connsiteX2" fmla="*/ 8676628 w 12386023"/>
                <a:gd name="connsiteY2" fmla="*/ 350336 h 2425842"/>
                <a:gd name="connsiteX3" fmla="*/ 8697801 w 12386023"/>
                <a:gd name="connsiteY3" fmla="*/ 507016 h 2425842"/>
                <a:gd name="connsiteX4" fmla="*/ 8652701 w 12386023"/>
                <a:gd name="connsiteY4" fmla="*/ 693016 h 2425842"/>
                <a:gd name="connsiteX5" fmla="*/ 421075 w 12386023"/>
                <a:gd name="connsiteY5" fmla="*/ 853171 h 2425842"/>
                <a:gd name="connsiteX6" fmla="*/ 1277876 w 12386023"/>
                <a:gd name="connsiteY6" fmla="*/ 760728 h 2425842"/>
                <a:gd name="connsiteX7" fmla="*/ 1972735 w 12386023"/>
                <a:gd name="connsiteY7" fmla="*/ 794716 h 2425842"/>
                <a:gd name="connsiteX8" fmla="*/ 2428745 w 12386023"/>
                <a:gd name="connsiteY8" fmla="*/ 735228 h 2425842"/>
                <a:gd name="connsiteX9" fmla="*/ 2906467 w 12386023"/>
                <a:gd name="connsiteY9" fmla="*/ 735228 h 2425842"/>
                <a:gd name="connsiteX10" fmla="*/ 3677336 w 12386023"/>
                <a:gd name="connsiteY10" fmla="*/ 777722 h 2425842"/>
                <a:gd name="connsiteX11" fmla="*/ 4556772 w 12386023"/>
                <a:gd name="connsiteY11" fmla="*/ 760728 h 2425842"/>
                <a:gd name="connsiteX12" fmla="*/ 5186490 w 12386023"/>
                <a:gd name="connsiteY12" fmla="*/ 769234 h 2425842"/>
                <a:gd name="connsiteX13" fmla="*/ 6022500 w 12386023"/>
                <a:gd name="connsiteY13" fmla="*/ 769234 h 2425842"/>
                <a:gd name="connsiteX14" fmla="*/ 7086513 w 12386023"/>
                <a:gd name="connsiteY14" fmla="*/ 794734 h 2425842"/>
                <a:gd name="connsiteX15" fmla="*/ 7835668 w 12386023"/>
                <a:gd name="connsiteY15" fmla="*/ 786228 h 2425842"/>
                <a:gd name="connsiteX16" fmla="*/ 8367663 w 12386023"/>
                <a:gd name="connsiteY16" fmla="*/ 777722 h 2425842"/>
                <a:gd name="connsiteX17" fmla="*/ 8988680 w 12386023"/>
                <a:gd name="connsiteY17" fmla="*/ 1180470 h 2425842"/>
                <a:gd name="connsiteX18" fmla="*/ 9558676 w 12386023"/>
                <a:gd name="connsiteY18" fmla="*/ 2007302 h 2425842"/>
                <a:gd name="connsiteX19" fmla="*/ 10490076 w 12386023"/>
                <a:gd name="connsiteY19" fmla="*/ 2425841 h 2425842"/>
                <a:gd name="connsiteX20" fmla="*/ 11536110 w 12386023"/>
                <a:gd name="connsiteY20" fmla="*/ 2007304 h 2425842"/>
                <a:gd name="connsiteX21" fmla="*/ 11827041 w 12386023"/>
                <a:gd name="connsiteY21" fmla="*/ 1361569 h 2425842"/>
                <a:gd name="connsiteX22" fmla="*/ 12137937 w 12386023"/>
                <a:gd name="connsiteY22" fmla="*/ 915462 h 2425842"/>
                <a:gd name="connsiteX23" fmla="*/ 12386023 w 12386023"/>
                <a:gd name="connsiteY23" fmla="*/ 615148 h 2425842"/>
                <a:gd name="connsiteX24" fmla="*/ 12386023 w 12386023"/>
                <a:gd name="connsiteY24" fmla="*/ 176766 h 2425842"/>
                <a:gd name="connsiteX25" fmla="*/ 11779707 w 12386023"/>
                <a:gd name="connsiteY25" fmla="*/ 351341 h 2425842"/>
                <a:gd name="connsiteX26" fmla="*/ 11399982 w 12386023"/>
                <a:gd name="connsiteY26" fmla="*/ 963226 h 2425842"/>
                <a:gd name="connsiteX27" fmla="*/ 10943237 w 12386023"/>
                <a:gd name="connsiteY27" fmla="*/ 1577387 h 2425842"/>
                <a:gd name="connsiteX28" fmla="*/ 10375442 w 12386023"/>
                <a:gd name="connsiteY28" fmla="*/ 1534170 h 2425842"/>
                <a:gd name="connsiteX29" fmla="*/ 9868545 w 12386023"/>
                <a:gd name="connsiteY29" fmla="*/ 974601 h 2425842"/>
                <a:gd name="connsiteX30" fmla="*/ 9393890 w 12386023"/>
                <a:gd name="connsiteY30" fmla="*/ 496920 h 2425842"/>
                <a:gd name="connsiteX31" fmla="*/ 8791091 w 12386023"/>
                <a:gd name="connsiteY31" fmla="*/ 72450 h 2425842"/>
                <a:gd name="connsiteX32" fmla="*/ 7976795 w 12386023"/>
                <a:gd name="connsiteY32" fmla="*/ 21469 h 2425842"/>
                <a:gd name="connsiteX33" fmla="*/ 7390504 w 12386023"/>
                <a:gd name="connsiteY33" fmla="*/ 114944 h 2425842"/>
                <a:gd name="connsiteX34" fmla="*/ 6683417 w 12386023"/>
                <a:gd name="connsiteY34" fmla="*/ 62385 h 2425842"/>
                <a:gd name="connsiteX35" fmla="*/ 6243077 w 12386023"/>
                <a:gd name="connsiteY35" fmla="*/ 165413 h 2425842"/>
                <a:gd name="connsiteX36" fmla="*/ 9248668 w 12386023"/>
                <a:gd name="connsiteY36" fmla="*/ 535967 h 2425842"/>
                <a:gd name="connsiteX37" fmla="*/ 8892001 w 12386023"/>
                <a:gd name="connsiteY37" fmla="*/ 497882 h 2425842"/>
                <a:gd name="connsiteX38" fmla="*/ 9073222 w 12386023"/>
                <a:gd name="connsiteY38" fmla="*/ 800346 h 2425842"/>
                <a:gd name="connsiteX39" fmla="*/ 8714713 w 12386023"/>
                <a:gd name="connsiteY39" fmla="*/ 373300 h 2425842"/>
                <a:gd name="connsiteX40" fmla="*/ 8705072 w 12386023"/>
                <a:gd name="connsiteY40" fmla="*/ 200377 h 2425842"/>
                <a:gd name="connsiteX0" fmla="*/ 8705072 w 12386023"/>
                <a:gd name="connsiteY0" fmla="*/ 148058 h 2373523"/>
                <a:gd name="connsiteX1" fmla="*/ 8742561 w 12386023"/>
                <a:gd name="connsiteY1" fmla="*/ 384564 h 2373523"/>
                <a:gd name="connsiteX2" fmla="*/ 8676628 w 12386023"/>
                <a:gd name="connsiteY2" fmla="*/ 298017 h 2373523"/>
                <a:gd name="connsiteX3" fmla="*/ 8697801 w 12386023"/>
                <a:gd name="connsiteY3" fmla="*/ 454697 h 2373523"/>
                <a:gd name="connsiteX4" fmla="*/ 8652701 w 12386023"/>
                <a:gd name="connsiteY4" fmla="*/ 640697 h 2373523"/>
                <a:gd name="connsiteX5" fmla="*/ 421075 w 12386023"/>
                <a:gd name="connsiteY5" fmla="*/ 800852 h 2373523"/>
                <a:gd name="connsiteX6" fmla="*/ 1277876 w 12386023"/>
                <a:gd name="connsiteY6" fmla="*/ 708409 h 2373523"/>
                <a:gd name="connsiteX7" fmla="*/ 1972735 w 12386023"/>
                <a:gd name="connsiteY7" fmla="*/ 742397 h 2373523"/>
                <a:gd name="connsiteX8" fmla="*/ 2428745 w 12386023"/>
                <a:gd name="connsiteY8" fmla="*/ 682909 h 2373523"/>
                <a:gd name="connsiteX9" fmla="*/ 2906467 w 12386023"/>
                <a:gd name="connsiteY9" fmla="*/ 682909 h 2373523"/>
                <a:gd name="connsiteX10" fmla="*/ 3677336 w 12386023"/>
                <a:gd name="connsiteY10" fmla="*/ 725403 h 2373523"/>
                <a:gd name="connsiteX11" fmla="*/ 4556772 w 12386023"/>
                <a:gd name="connsiteY11" fmla="*/ 708409 h 2373523"/>
                <a:gd name="connsiteX12" fmla="*/ 5186490 w 12386023"/>
                <a:gd name="connsiteY12" fmla="*/ 716915 h 2373523"/>
                <a:gd name="connsiteX13" fmla="*/ 6022500 w 12386023"/>
                <a:gd name="connsiteY13" fmla="*/ 716915 h 2373523"/>
                <a:gd name="connsiteX14" fmla="*/ 7086513 w 12386023"/>
                <a:gd name="connsiteY14" fmla="*/ 742415 h 2373523"/>
                <a:gd name="connsiteX15" fmla="*/ 7835668 w 12386023"/>
                <a:gd name="connsiteY15" fmla="*/ 733909 h 2373523"/>
                <a:gd name="connsiteX16" fmla="*/ 8367663 w 12386023"/>
                <a:gd name="connsiteY16" fmla="*/ 725403 h 2373523"/>
                <a:gd name="connsiteX17" fmla="*/ 8988680 w 12386023"/>
                <a:gd name="connsiteY17" fmla="*/ 1128151 h 2373523"/>
                <a:gd name="connsiteX18" fmla="*/ 9558676 w 12386023"/>
                <a:gd name="connsiteY18" fmla="*/ 1954983 h 2373523"/>
                <a:gd name="connsiteX19" fmla="*/ 10490076 w 12386023"/>
                <a:gd name="connsiteY19" fmla="*/ 2373522 h 2373523"/>
                <a:gd name="connsiteX20" fmla="*/ 11536110 w 12386023"/>
                <a:gd name="connsiteY20" fmla="*/ 1954985 h 2373523"/>
                <a:gd name="connsiteX21" fmla="*/ 11827041 w 12386023"/>
                <a:gd name="connsiteY21" fmla="*/ 1309250 h 2373523"/>
                <a:gd name="connsiteX22" fmla="*/ 12137937 w 12386023"/>
                <a:gd name="connsiteY22" fmla="*/ 863143 h 2373523"/>
                <a:gd name="connsiteX23" fmla="*/ 12386023 w 12386023"/>
                <a:gd name="connsiteY23" fmla="*/ 562829 h 2373523"/>
                <a:gd name="connsiteX24" fmla="*/ 12386023 w 12386023"/>
                <a:gd name="connsiteY24" fmla="*/ 124447 h 2373523"/>
                <a:gd name="connsiteX25" fmla="*/ 11779707 w 12386023"/>
                <a:gd name="connsiteY25" fmla="*/ 299022 h 2373523"/>
                <a:gd name="connsiteX26" fmla="*/ 11399982 w 12386023"/>
                <a:gd name="connsiteY26" fmla="*/ 910907 h 2373523"/>
                <a:gd name="connsiteX27" fmla="*/ 10943237 w 12386023"/>
                <a:gd name="connsiteY27" fmla="*/ 1525068 h 2373523"/>
                <a:gd name="connsiteX28" fmla="*/ 10375442 w 12386023"/>
                <a:gd name="connsiteY28" fmla="*/ 1481851 h 2373523"/>
                <a:gd name="connsiteX29" fmla="*/ 9868545 w 12386023"/>
                <a:gd name="connsiteY29" fmla="*/ 922282 h 2373523"/>
                <a:gd name="connsiteX30" fmla="*/ 9393890 w 12386023"/>
                <a:gd name="connsiteY30" fmla="*/ 444601 h 2373523"/>
                <a:gd name="connsiteX31" fmla="*/ 8791091 w 12386023"/>
                <a:gd name="connsiteY31" fmla="*/ 20131 h 2373523"/>
                <a:gd name="connsiteX32" fmla="*/ 7390504 w 12386023"/>
                <a:gd name="connsiteY32" fmla="*/ 62625 h 2373523"/>
                <a:gd name="connsiteX33" fmla="*/ 6683417 w 12386023"/>
                <a:gd name="connsiteY33" fmla="*/ 10066 h 2373523"/>
                <a:gd name="connsiteX34" fmla="*/ 6243077 w 12386023"/>
                <a:gd name="connsiteY34" fmla="*/ 113094 h 2373523"/>
                <a:gd name="connsiteX35" fmla="*/ 9248668 w 12386023"/>
                <a:gd name="connsiteY35" fmla="*/ 483648 h 2373523"/>
                <a:gd name="connsiteX36" fmla="*/ 8892001 w 12386023"/>
                <a:gd name="connsiteY36" fmla="*/ 445563 h 2373523"/>
                <a:gd name="connsiteX37" fmla="*/ 9073222 w 12386023"/>
                <a:gd name="connsiteY37" fmla="*/ 748027 h 2373523"/>
                <a:gd name="connsiteX38" fmla="*/ 8714713 w 12386023"/>
                <a:gd name="connsiteY38" fmla="*/ 320981 h 2373523"/>
                <a:gd name="connsiteX39" fmla="*/ 8705072 w 12386023"/>
                <a:gd name="connsiteY39" fmla="*/ 148058 h 2373523"/>
                <a:gd name="connsiteX0" fmla="*/ 8705072 w 12386023"/>
                <a:gd name="connsiteY0" fmla="*/ 148058 h 2373523"/>
                <a:gd name="connsiteX1" fmla="*/ 8742561 w 12386023"/>
                <a:gd name="connsiteY1" fmla="*/ 384564 h 2373523"/>
                <a:gd name="connsiteX2" fmla="*/ 8676628 w 12386023"/>
                <a:gd name="connsiteY2" fmla="*/ 298017 h 2373523"/>
                <a:gd name="connsiteX3" fmla="*/ 8697801 w 12386023"/>
                <a:gd name="connsiteY3" fmla="*/ 454697 h 2373523"/>
                <a:gd name="connsiteX4" fmla="*/ 8652701 w 12386023"/>
                <a:gd name="connsiteY4" fmla="*/ 640697 h 2373523"/>
                <a:gd name="connsiteX5" fmla="*/ 421075 w 12386023"/>
                <a:gd name="connsiteY5" fmla="*/ 800852 h 2373523"/>
                <a:gd name="connsiteX6" fmla="*/ 1277876 w 12386023"/>
                <a:gd name="connsiteY6" fmla="*/ 708409 h 2373523"/>
                <a:gd name="connsiteX7" fmla="*/ 1972735 w 12386023"/>
                <a:gd name="connsiteY7" fmla="*/ 742397 h 2373523"/>
                <a:gd name="connsiteX8" fmla="*/ 2428745 w 12386023"/>
                <a:gd name="connsiteY8" fmla="*/ 682909 h 2373523"/>
                <a:gd name="connsiteX9" fmla="*/ 2906467 w 12386023"/>
                <a:gd name="connsiteY9" fmla="*/ 682909 h 2373523"/>
                <a:gd name="connsiteX10" fmla="*/ 3677336 w 12386023"/>
                <a:gd name="connsiteY10" fmla="*/ 725403 h 2373523"/>
                <a:gd name="connsiteX11" fmla="*/ 4556772 w 12386023"/>
                <a:gd name="connsiteY11" fmla="*/ 708409 h 2373523"/>
                <a:gd name="connsiteX12" fmla="*/ 5186490 w 12386023"/>
                <a:gd name="connsiteY12" fmla="*/ 716915 h 2373523"/>
                <a:gd name="connsiteX13" fmla="*/ 6022500 w 12386023"/>
                <a:gd name="connsiteY13" fmla="*/ 716915 h 2373523"/>
                <a:gd name="connsiteX14" fmla="*/ 7086513 w 12386023"/>
                <a:gd name="connsiteY14" fmla="*/ 742415 h 2373523"/>
                <a:gd name="connsiteX15" fmla="*/ 7835668 w 12386023"/>
                <a:gd name="connsiteY15" fmla="*/ 733909 h 2373523"/>
                <a:gd name="connsiteX16" fmla="*/ 8367663 w 12386023"/>
                <a:gd name="connsiteY16" fmla="*/ 725403 h 2373523"/>
                <a:gd name="connsiteX17" fmla="*/ 8988680 w 12386023"/>
                <a:gd name="connsiteY17" fmla="*/ 1128151 h 2373523"/>
                <a:gd name="connsiteX18" fmla="*/ 9558676 w 12386023"/>
                <a:gd name="connsiteY18" fmla="*/ 1954983 h 2373523"/>
                <a:gd name="connsiteX19" fmla="*/ 10490076 w 12386023"/>
                <a:gd name="connsiteY19" fmla="*/ 2373522 h 2373523"/>
                <a:gd name="connsiteX20" fmla="*/ 11536110 w 12386023"/>
                <a:gd name="connsiteY20" fmla="*/ 1954985 h 2373523"/>
                <a:gd name="connsiteX21" fmla="*/ 11827041 w 12386023"/>
                <a:gd name="connsiteY21" fmla="*/ 1309250 h 2373523"/>
                <a:gd name="connsiteX22" fmla="*/ 12137937 w 12386023"/>
                <a:gd name="connsiteY22" fmla="*/ 863143 h 2373523"/>
                <a:gd name="connsiteX23" fmla="*/ 12386023 w 12386023"/>
                <a:gd name="connsiteY23" fmla="*/ 562829 h 2373523"/>
                <a:gd name="connsiteX24" fmla="*/ 12386023 w 12386023"/>
                <a:gd name="connsiteY24" fmla="*/ 124447 h 2373523"/>
                <a:gd name="connsiteX25" fmla="*/ 11779707 w 12386023"/>
                <a:gd name="connsiteY25" fmla="*/ 299022 h 2373523"/>
                <a:gd name="connsiteX26" fmla="*/ 11399982 w 12386023"/>
                <a:gd name="connsiteY26" fmla="*/ 910907 h 2373523"/>
                <a:gd name="connsiteX27" fmla="*/ 10943237 w 12386023"/>
                <a:gd name="connsiteY27" fmla="*/ 1525068 h 2373523"/>
                <a:gd name="connsiteX28" fmla="*/ 10375442 w 12386023"/>
                <a:gd name="connsiteY28" fmla="*/ 1481851 h 2373523"/>
                <a:gd name="connsiteX29" fmla="*/ 9868545 w 12386023"/>
                <a:gd name="connsiteY29" fmla="*/ 922282 h 2373523"/>
                <a:gd name="connsiteX30" fmla="*/ 9393890 w 12386023"/>
                <a:gd name="connsiteY30" fmla="*/ 444601 h 2373523"/>
                <a:gd name="connsiteX31" fmla="*/ 8791091 w 12386023"/>
                <a:gd name="connsiteY31" fmla="*/ 20131 h 2373523"/>
                <a:gd name="connsiteX32" fmla="*/ 7390504 w 12386023"/>
                <a:gd name="connsiteY32" fmla="*/ 62625 h 2373523"/>
                <a:gd name="connsiteX33" fmla="*/ 6243077 w 12386023"/>
                <a:gd name="connsiteY33" fmla="*/ 113094 h 2373523"/>
                <a:gd name="connsiteX34" fmla="*/ 9248668 w 12386023"/>
                <a:gd name="connsiteY34" fmla="*/ 483648 h 2373523"/>
                <a:gd name="connsiteX35" fmla="*/ 8892001 w 12386023"/>
                <a:gd name="connsiteY35" fmla="*/ 445563 h 2373523"/>
                <a:gd name="connsiteX36" fmla="*/ 9073222 w 12386023"/>
                <a:gd name="connsiteY36" fmla="*/ 748027 h 2373523"/>
                <a:gd name="connsiteX37" fmla="*/ 8714713 w 12386023"/>
                <a:gd name="connsiteY37" fmla="*/ 320981 h 2373523"/>
                <a:gd name="connsiteX38" fmla="*/ 8705072 w 12386023"/>
                <a:gd name="connsiteY38" fmla="*/ 148058 h 2373523"/>
                <a:gd name="connsiteX0" fmla="*/ 8705072 w 12386023"/>
                <a:gd name="connsiteY0" fmla="*/ 148058 h 2373523"/>
                <a:gd name="connsiteX1" fmla="*/ 8742561 w 12386023"/>
                <a:gd name="connsiteY1" fmla="*/ 384564 h 2373523"/>
                <a:gd name="connsiteX2" fmla="*/ 8676628 w 12386023"/>
                <a:gd name="connsiteY2" fmla="*/ 298017 h 2373523"/>
                <a:gd name="connsiteX3" fmla="*/ 8697801 w 12386023"/>
                <a:gd name="connsiteY3" fmla="*/ 454697 h 2373523"/>
                <a:gd name="connsiteX4" fmla="*/ 8652701 w 12386023"/>
                <a:gd name="connsiteY4" fmla="*/ 640697 h 2373523"/>
                <a:gd name="connsiteX5" fmla="*/ 421075 w 12386023"/>
                <a:gd name="connsiteY5" fmla="*/ 800852 h 2373523"/>
                <a:gd name="connsiteX6" fmla="*/ 1277876 w 12386023"/>
                <a:gd name="connsiteY6" fmla="*/ 708409 h 2373523"/>
                <a:gd name="connsiteX7" fmla="*/ 1972735 w 12386023"/>
                <a:gd name="connsiteY7" fmla="*/ 742397 h 2373523"/>
                <a:gd name="connsiteX8" fmla="*/ 2428745 w 12386023"/>
                <a:gd name="connsiteY8" fmla="*/ 682909 h 2373523"/>
                <a:gd name="connsiteX9" fmla="*/ 2906467 w 12386023"/>
                <a:gd name="connsiteY9" fmla="*/ 682909 h 2373523"/>
                <a:gd name="connsiteX10" fmla="*/ 3677336 w 12386023"/>
                <a:gd name="connsiteY10" fmla="*/ 725403 h 2373523"/>
                <a:gd name="connsiteX11" fmla="*/ 4556772 w 12386023"/>
                <a:gd name="connsiteY11" fmla="*/ 708409 h 2373523"/>
                <a:gd name="connsiteX12" fmla="*/ 5186490 w 12386023"/>
                <a:gd name="connsiteY12" fmla="*/ 716915 h 2373523"/>
                <a:gd name="connsiteX13" fmla="*/ 6022500 w 12386023"/>
                <a:gd name="connsiteY13" fmla="*/ 716915 h 2373523"/>
                <a:gd name="connsiteX14" fmla="*/ 7086513 w 12386023"/>
                <a:gd name="connsiteY14" fmla="*/ 742415 h 2373523"/>
                <a:gd name="connsiteX15" fmla="*/ 7835668 w 12386023"/>
                <a:gd name="connsiteY15" fmla="*/ 733909 h 2373523"/>
                <a:gd name="connsiteX16" fmla="*/ 8367663 w 12386023"/>
                <a:gd name="connsiteY16" fmla="*/ 725403 h 2373523"/>
                <a:gd name="connsiteX17" fmla="*/ 8988680 w 12386023"/>
                <a:gd name="connsiteY17" fmla="*/ 1128151 h 2373523"/>
                <a:gd name="connsiteX18" fmla="*/ 9558676 w 12386023"/>
                <a:gd name="connsiteY18" fmla="*/ 1954983 h 2373523"/>
                <a:gd name="connsiteX19" fmla="*/ 10490076 w 12386023"/>
                <a:gd name="connsiteY19" fmla="*/ 2373522 h 2373523"/>
                <a:gd name="connsiteX20" fmla="*/ 11536110 w 12386023"/>
                <a:gd name="connsiteY20" fmla="*/ 1954985 h 2373523"/>
                <a:gd name="connsiteX21" fmla="*/ 11827041 w 12386023"/>
                <a:gd name="connsiteY21" fmla="*/ 1309250 h 2373523"/>
                <a:gd name="connsiteX22" fmla="*/ 12137937 w 12386023"/>
                <a:gd name="connsiteY22" fmla="*/ 863143 h 2373523"/>
                <a:gd name="connsiteX23" fmla="*/ 12386023 w 12386023"/>
                <a:gd name="connsiteY23" fmla="*/ 562829 h 2373523"/>
                <a:gd name="connsiteX24" fmla="*/ 12386023 w 12386023"/>
                <a:gd name="connsiteY24" fmla="*/ 124447 h 2373523"/>
                <a:gd name="connsiteX25" fmla="*/ 11779707 w 12386023"/>
                <a:gd name="connsiteY25" fmla="*/ 299022 h 2373523"/>
                <a:gd name="connsiteX26" fmla="*/ 11399982 w 12386023"/>
                <a:gd name="connsiteY26" fmla="*/ 910907 h 2373523"/>
                <a:gd name="connsiteX27" fmla="*/ 10943237 w 12386023"/>
                <a:gd name="connsiteY27" fmla="*/ 1525068 h 2373523"/>
                <a:gd name="connsiteX28" fmla="*/ 10375442 w 12386023"/>
                <a:gd name="connsiteY28" fmla="*/ 1481851 h 2373523"/>
                <a:gd name="connsiteX29" fmla="*/ 9868545 w 12386023"/>
                <a:gd name="connsiteY29" fmla="*/ 922282 h 2373523"/>
                <a:gd name="connsiteX30" fmla="*/ 9393890 w 12386023"/>
                <a:gd name="connsiteY30" fmla="*/ 444601 h 2373523"/>
                <a:gd name="connsiteX31" fmla="*/ 8791091 w 12386023"/>
                <a:gd name="connsiteY31" fmla="*/ 20131 h 2373523"/>
                <a:gd name="connsiteX32" fmla="*/ 7390504 w 12386023"/>
                <a:gd name="connsiteY32" fmla="*/ 62625 h 2373523"/>
                <a:gd name="connsiteX33" fmla="*/ 9248668 w 12386023"/>
                <a:gd name="connsiteY33" fmla="*/ 483648 h 2373523"/>
                <a:gd name="connsiteX34" fmla="*/ 8892001 w 12386023"/>
                <a:gd name="connsiteY34" fmla="*/ 445563 h 2373523"/>
                <a:gd name="connsiteX35" fmla="*/ 9073222 w 12386023"/>
                <a:gd name="connsiteY35" fmla="*/ 748027 h 2373523"/>
                <a:gd name="connsiteX36" fmla="*/ 8714713 w 12386023"/>
                <a:gd name="connsiteY36" fmla="*/ 320981 h 2373523"/>
                <a:gd name="connsiteX37" fmla="*/ 8705072 w 12386023"/>
                <a:gd name="connsiteY37" fmla="*/ 148058 h 2373523"/>
                <a:gd name="connsiteX0" fmla="*/ 8705072 w 12386023"/>
                <a:gd name="connsiteY0" fmla="*/ 148058 h 2373523"/>
                <a:gd name="connsiteX1" fmla="*/ 8742561 w 12386023"/>
                <a:gd name="connsiteY1" fmla="*/ 384564 h 2373523"/>
                <a:gd name="connsiteX2" fmla="*/ 8676628 w 12386023"/>
                <a:gd name="connsiteY2" fmla="*/ 298017 h 2373523"/>
                <a:gd name="connsiteX3" fmla="*/ 8697801 w 12386023"/>
                <a:gd name="connsiteY3" fmla="*/ 454697 h 2373523"/>
                <a:gd name="connsiteX4" fmla="*/ 8652701 w 12386023"/>
                <a:gd name="connsiteY4" fmla="*/ 640697 h 2373523"/>
                <a:gd name="connsiteX5" fmla="*/ 421075 w 12386023"/>
                <a:gd name="connsiteY5" fmla="*/ 800852 h 2373523"/>
                <a:gd name="connsiteX6" fmla="*/ 1277876 w 12386023"/>
                <a:gd name="connsiteY6" fmla="*/ 708409 h 2373523"/>
                <a:gd name="connsiteX7" fmla="*/ 1972735 w 12386023"/>
                <a:gd name="connsiteY7" fmla="*/ 742397 h 2373523"/>
                <a:gd name="connsiteX8" fmla="*/ 2428745 w 12386023"/>
                <a:gd name="connsiteY8" fmla="*/ 682909 h 2373523"/>
                <a:gd name="connsiteX9" fmla="*/ 2906467 w 12386023"/>
                <a:gd name="connsiteY9" fmla="*/ 682909 h 2373523"/>
                <a:gd name="connsiteX10" fmla="*/ 3677336 w 12386023"/>
                <a:gd name="connsiteY10" fmla="*/ 725403 h 2373523"/>
                <a:gd name="connsiteX11" fmla="*/ 4556772 w 12386023"/>
                <a:gd name="connsiteY11" fmla="*/ 708409 h 2373523"/>
                <a:gd name="connsiteX12" fmla="*/ 5186490 w 12386023"/>
                <a:gd name="connsiteY12" fmla="*/ 716915 h 2373523"/>
                <a:gd name="connsiteX13" fmla="*/ 6022500 w 12386023"/>
                <a:gd name="connsiteY13" fmla="*/ 716915 h 2373523"/>
                <a:gd name="connsiteX14" fmla="*/ 7086513 w 12386023"/>
                <a:gd name="connsiteY14" fmla="*/ 742415 h 2373523"/>
                <a:gd name="connsiteX15" fmla="*/ 7835668 w 12386023"/>
                <a:gd name="connsiteY15" fmla="*/ 733909 h 2373523"/>
                <a:gd name="connsiteX16" fmla="*/ 8367663 w 12386023"/>
                <a:gd name="connsiteY16" fmla="*/ 725403 h 2373523"/>
                <a:gd name="connsiteX17" fmla="*/ 8988680 w 12386023"/>
                <a:gd name="connsiteY17" fmla="*/ 1128151 h 2373523"/>
                <a:gd name="connsiteX18" fmla="*/ 9558676 w 12386023"/>
                <a:gd name="connsiteY18" fmla="*/ 1954983 h 2373523"/>
                <a:gd name="connsiteX19" fmla="*/ 10490076 w 12386023"/>
                <a:gd name="connsiteY19" fmla="*/ 2373522 h 2373523"/>
                <a:gd name="connsiteX20" fmla="*/ 11536110 w 12386023"/>
                <a:gd name="connsiteY20" fmla="*/ 1954985 h 2373523"/>
                <a:gd name="connsiteX21" fmla="*/ 11827041 w 12386023"/>
                <a:gd name="connsiteY21" fmla="*/ 1309250 h 2373523"/>
                <a:gd name="connsiteX22" fmla="*/ 12137937 w 12386023"/>
                <a:gd name="connsiteY22" fmla="*/ 863143 h 2373523"/>
                <a:gd name="connsiteX23" fmla="*/ 12386023 w 12386023"/>
                <a:gd name="connsiteY23" fmla="*/ 562829 h 2373523"/>
                <a:gd name="connsiteX24" fmla="*/ 12386023 w 12386023"/>
                <a:gd name="connsiteY24" fmla="*/ 124447 h 2373523"/>
                <a:gd name="connsiteX25" fmla="*/ 11779707 w 12386023"/>
                <a:gd name="connsiteY25" fmla="*/ 299022 h 2373523"/>
                <a:gd name="connsiteX26" fmla="*/ 11399982 w 12386023"/>
                <a:gd name="connsiteY26" fmla="*/ 910907 h 2373523"/>
                <a:gd name="connsiteX27" fmla="*/ 10943237 w 12386023"/>
                <a:gd name="connsiteY27" fmla="*/ 1525068 h 2373523"/>
                <a:gd name="connsiteX28" fmla="*/ 10375442 w 12386023"/>
                <a:gd name="connsiteY28" fmla="*/ 1481851 h 2373523"/>
                <a:gd name="connsiteX29" fmla="*/ 9868545 w 12386023"/>
                <a:gd name="connsiteY29" fmla="*/ 922282 h 2373523"/>
                <a:gd name="connsiteX30" fmla="*/ 9393890 w 12386023"/>
                <a:gd name="connsiteY30" fmla="*/ 444601 h 2373523"/>
                <a:gd name="connsiteX31" fmla="*/ 8791091 w 12386023"/>
                <a:gd name="connsiteY31" fmla="*/ 20131 h 2373523"/>
                <a:gd name="connsiteX32" fmla="*/ 7390504 w 12386023"/>
                <a:gd name="connsiteY32" fmla="*/ 62625 h 2373523"/>
                <a:gd name="connsiteX33" fmla="*/ 9248668 w 12386023"/>
                <a:gd name="connsiteY33" fmla="*/ 483648 h 2373523"/>
                <a:gd name="connsiteX34" fmla="*/ 8892001 w 12386023"/>
                <a:gd name="connsiteY34" fmla="*/ 445563 h 2373523"/>
                <a:gd name="connsiteX35" fmla="*/ 9073222 w 12386023"/>
                <a:gd name="connsiteY35" fmla="*/ 748027 h 2373523"/>
                <a:gd name="connsiteX36" fmla="*/ 8705072 w 12386023"/>
                <a:gd name="connsiteY36" fmla="*/ 148058 h 2373523"/>
                <a:gd name="connsiteX0" fmla="*/ 8705072 w 12386023"/>
                <a:gd name="connsiteY0" fmla="*/ 148058 h 2373523"/>
                <a:gd name="connsiteX1" fmla="*/ 8742561 w 12386023"/>
                <a:gd name="connsiteY1" fmla="*/ 384564 h 2373523"/>
                <a:gd name="connsiteX2" fmla="*/ 8697801 w 12386023"/>
                <a:gd name="connsiteY2" fmla="*/ 454697 h 2373523"/>
                <a:gd name="connsiteX3" fmla="*/ 8652701 w 12386023"/>
                <a:gd name="connsiteY3" fmla="*/ 640697 h 2373523"/>
                <a:gd name="connsiteX4" fmla="*/ 421075 w 12386023"/>
                <a:gd name="connsiteY4" fmla="*/ 800852 h 2373523"/>
                <a:gd name="connsiteX5" fmla="*/ 1277876 w 12386023"/>
                <a:gd name="connsiteY5" fmla="*/ 708409 h 2373523"/>
                <a:gd name="connsiteX6" fmla="*/ 1972735 w 12386023"/>
                <a:gd name="connsiteY6" fmla="*/ 742397 h 2373523"/>
                <a:gd name="connsiteX7" fmla="*/ 2428745 w 12386023"/>
                <a:gd name="connsiteY7" fmla="*/ 682909 h 2373523"/>
                <a:gd name="connsiteX8" fmla="*/ 2906467 w 12386023"/>
                <a:gd name="connsiteY8" fmla="*/ 682909 h 2373523"/>
                <a:gd name="connsiteX9" fmla="*/ 3677336 w 12386023"/>
                <a:gd name="connsiteY9" fmla="*/ 725403 h 2373523"/>
                <a:gd name="connsiteX10" fmla="*/ 4556772 w 12386023"/>
                <a:gd name="connsiteY10" fmla="*/ 708409 h 2373523"/>
                <a:gd name="connsiteX11" fmla="*/ 5186490 w 12386023"/>
                <a:gd name="connsiteY11" fmla="*/ 716915 h 2373523"/>
                <a:gd name="connsiteX12" fmla="*/ 6022500 w 12386023"/>
                <a:gd name="connsiteY12" fmla="*/ 716915 h 2373523"/>
                <a:gd name="connsiteX13" fmla="*/ 7086513 w 12386023"/>
                <a:gd name="connsiteY13" fmla="*/ 742415 h 2373523"/>
                <a:gd name="connsiteX14" fmla="*/ 7835668 w 12386023"/>
                <a:gd name="connsiteY14" fmla="*/ 733909 h 2373523"/>
                <a:gd name="connsiteX15" fmla="*/ 8367663 w 12386023"/>
                <a:gd name="connsiteY15" fmla="*/ 725403 h 2373523"/>
                <a:gd name="connsiteX16" fmla="*/ 8988680 w 12386023"/>
                <a:gd name="connsiteY16" fmla="*/ 1128151 h 2373523"/>
                <a:gd name="connsiteX17" fmla="*/ 9558676 w 12386023"/>
                <a:gd name="connsiteY17" fmla="*/ 1954983 h 2373523"/>
                <a:gd name="connsiteX18" fmla="*/ 10490076 w 12386023"/>
                <a:gd name="connsiteY18" fmla="*/ 2373522 h 2373523"/>
                <a:gd name="connsiteX19" fmla="*/ 11536110 w 12386023"/>
                <a:gd name="connsiteY19" fmla="*/ 1954985 h 2373523"/>
                <a:gd name="connsiteX20" fmla="*/ 11827041 w 12386023"/>
                <a:gd name="connsiteY20" fmla="*/ 1309250 h 2373523"/>
                <a:gd name="connsiteX21" fmla="*/ 12137937 w 12386023"/>
                <a:gd name="connsiteY21" fmla="*/ 863143 h 2373523"/>
                <a:gd name="connsiteX22" fmla="*/ 12386023 w 12386023"/>
                <a:gd name="connsiteY22" fmla="*/ 562829 h 2373523"/>
                <a:gd name="connsiteX23" fmla="*/ 12386023 w 12386023"/>
                <a:gd name="connsiteY23" fmla="*/ 124447 h 2373523"/>
                <a:gd name="connsiteX24" fmla="*/ 11779707 w 12386023"/>
                <a:gd name="connsiteY24" fmla="*/ 299022 h 2373523"/>
                <a:gd name="connsiteX25" fmla="*/ 11399982 w 12386023"/>
                <a:gd name="connsiteY25" fmla="*/ 910907 h 2373523"/>
                <a:gd name="connsiteX26" fmla="*/ 10943237 w 12386023"/>
                <a:gd name="connsiteY26" fmla="*/ 1525068 h 2373523"/>
                <a:gd name="connsiteX27" fmla="*/ 10375442 w 12386023"/>
                <a:gd name="connsiteY27" fmla="*/ 1481851 h 2373523"/>
                <a:gd name="connsiteX28" fmla="*/ 9868545 w 12386023"/>
                <a:gd name="connsiteY28" fmla="*/ 922282 h 2373523"/>
                <a:gd name="connsiteX29" fmla="*/ 9393890 w 12386023"/>
                <a:gd name="connsiteY29" fmla="*/ 444601 h 2373523"/>
                <a:gd name="connsiteX30" fmla="*/ 8791091 w 12386023"/>
                <a:gd name="connsiteY30" fmla="*/ 20131 h 2373523"/>
                <a:gd name="connsiteX31" fmla="*/ 7390504 w 12386023"/>
                <a:gd name="connsiteY31" fmla="*/ 62625 h 2373523"/>
                <a:gd name="connsiteX32" fmla="*/ 9248668 w 12386023"/>
                <a:gd name="connsiteY32" fmla="*/ 483648 h 2373523"/>
                <a:gd name="connsiteX33" fmla="*/ 8892001 w 12386023"/>
                <a:gd name="connsiteY33" fmla="*/ 445563 h 2373523"/>
                <a:gd name="connsiteX34" fmla="*/ 9073222 w 12386023"/>
                <a:gd name="connsiteY34" fmla="*/ 748027 h 2373523"/>
                <a:gd name="connsiteX35" fmla="*/ 8705072 w 12386023"/>
                <a:gd name="connsiteY35" fmla="*/ 148058 h 2373523"/>
                <a:gd name="connsiteX0" fmla="*/ 8705072 w 12386023"/>
                <a:gd name="connsiteY0" fmla="*/ 148058 h 2373523"/>
                <a:gd name="connsiteX1" fmla="*/ 8697801 w 12386023"/>
                <a:gd name="connsiteY1" fmla="*/ 454697 h 2373523"/>
                <a:gd name="connsiteX2" fmla="*/ 8652701 w 12386023"/>
                <a:gd name="connsiteY2" fmla="*/ 640697 h 2373523"/>
                <a:gd name="connsiteX3" fmla="*/ 421075 w 12386023"/>
                <a:gd name="connsiteY3" fmla="*/ 800852 h 2373523"/>
                <a:gd name="connsiteX4" fmla="*/ 1277876 w 12386023"/>
                <a:gd name="connsiteY4" fmla="*/ 708409 h 2373523"/>
                <a:gd name="connsiteX5" fmla="*/ 1972735 w 12386023"/>
                <a:gd name="connsiteY5" fmla="*/ 742397 h 2373523"/>
                <a:gd name="connsiteX6" fmla="*/ 2428745 w 12386023"/>
                <a:gd name="connsiteY6" fmla="*/ 682909 h 2373523"/>
                <a:gd name="connsiteX7" fmla="*/ 2906467 w 12386023"/>
                <a:gd name="connsiteY7" fmla="*/ 682909 h 2373523"/>
                <a:gd name="connsiteX8" fmla="*/ 3677336 w 12386023"/>
                <a:gd name="connsiteY8" fmla="*/ 725403 h 2373523"/>
                <a:gd name="connsiteX9" fmla="*/ 4556772 w 12386023"/>
                <a:gd name="connsiteY9" fmla="*/ 708409 h 2373523"/>
                <a:gd name="connsiteX10" fmla="*/ 5186490 w 12386023"/>
                <a:gd name="connsiteY10" fmla="*/ 716915 h 2373523"/>
                <a:gd name="connsiteX11" fmla="*/ 6022500 w 12386023"/>
                <a:gd name="connsiteY11" fmla="*/ 716915 h 2373523"/>
                <a:gd name="connsiteX12" fmla="*/ 7086513 w 12386023"/>
                <a:gd name="connsiteY12" fmla="*/ 742415 h 2373523"/>
                <a:gd name="connsiteX13" fmla="*/ 7835668 w 12386023"/>
                <a:gd name="connsiteY13" fmla="*/ 733909 h 2373523"/>
                <a:gd name="connsiteX14" fmla="*/ 8367663 w 12386023"/>
                <a:gd name="connsiteY14" fmla="*/ 725403 h 2373523"/>
                <a:gd name="connsiteX15" fmla="*/ 8988680 w 12386023"/>
                <a:gd name="connsiteY15" fmla="*/ 1128151 h 2373523"/>
                <a:gd name="connsiteX16" fmla="*/ 9558676 w 12386023"/>
                <a:gd name="connsiteY16" fmla="*/ 1954983 h 2373523"/>
                <a:gd name="connsiteX17" fmla="*/ 10490076 w 12386023"/>
                <a:gd name="connsiteY17" fmla="*/ 2373522 h 2373523"/>
                <a:gd name="connsiteX18" fmla="*/ 11536110 w 12386023"/>
                <a:gd name="connsiteY18" fmla="*/ 1954985 h 2373523"/>
                <a:gd name="connsiteX19" fmla="*/ 11827041 w 12386023"/>
                <a:gd name="connsiteY19" fmla="*/ 1309250 h 2373523"/>
                <a:gd name="connsiteX20" fmla="*/ 12137937 w 12386023"/>
                <a:gd name="connsiteY20" fmla="*/ 863143 h 2373523"/>
                <a:gd name="connsiteX21" fmla="*/ 12386023 w 12386023"/>
                <a:gd name="connsiteY21" fmla="*/ 562829 h 2373523"/>
                <a:gd name="connsiteX22" fmla="*/ 12386023 w 12386023"/>
                <a:gd name="connsiteY22" fmla="*/ 124447 h 2373523"/>
                <a:gd name="connsiteX23" fmla="*/ 11779707 w 12386023"/>
                <a:gd name="connsiteY23" fmla="*/ 299022 h 2373523"/>
                <a:gd name="connsiteX24" fmla="*/ 11399982 w 12386023"/>
                <a:gd name="connsiteY24" fmla="*/ 910907 h 2373523"/>
                <a:gd name="connsiteX25" fmla="*/ 10943237 w 12386023"/>
                <a:gd name="connsiteY25" fmla="*/ 1525068 h 2373523"/>
                <a:gd name="connsiteX26" fmla="*/ 10375442 w 12386023"/>
                <a:gd name="connsiteY26" fmla="*/ 1481851 h 2373523"/>
                <a:gd name="connsiteX27" fmla="*/ 9868545 w 12386023"/>
                <a:gd name="connsiteY27" fmla="*/ 922282 h 2373523"/>
                <a:gd name="connsiteX28" fmla="*/ 9393890 w 12386023"/>
                <a:gd name="connsiteY28" fmla="*/ 444601 h 2373523"/>
                <a:gd name="connsiteX29" fmla="*/ 8791091 w 12386023"/>
                <a:gd name="connsiteY29" fmla="*/ 20131 h 2373523"/>
                <a:gd name="connsiteX30" fmla="*/ 7390504 w 12386023"/>
                <a:gd name="connsiteY30" fmla="*/ 62625 h 2373523"/>
                <a:gd name="connsiteX31" fmla="*/ 9248668 w 12386023"/>
                <a:gd name="connsiteY31" fmla="*/ 483648 h 2373523"/>
                <a:gd name="connsiteX32" fmla="*/ 8892001 w 12386023"/>
                <a:gd name="connsiteY32" fmla="*/ 445563 h 2373523"/>
                <a:gd name="connsiteX33" fmla="*/ 9073222 w 12386023"/>
                <a:gd name="connsiteY33" fmla="*/ 748027 h 2373523"/>
                <a:gd name="connsiteX34" fmla="*/ 8705072 w 12386023"/>
                <a:gd name="connsiteY34" fmla="*/ 148058 h 2373523"/>
                <a:gd name="connsiteX0" fmla="*/ 9073222 w 12386023"/>
                <a:gd name="connsiteY0" fmla="*/ 748027 h 2373523"/>
                <a:gd name="connsiteX1" fmla="*/ 8697801 w 12386023"/>
                <a:gd name="connsiteY1" fmla="*/ 454697 h 2373523"/>
                <a:gd name="connsiteX2" fmla="*/ 8652701 w 12386023"/>
                <a:gd name="connsiteY2" fmla="*/ 640697 h 2373523"/>
                <a:gd name="connsiteX3" fmla="*/ 421075 w 12386023"/>
                <a:gd name="connsiteY3" fmla="*/ 800852 h 2373523"/>
                <a:gd name="connsiteX4" fmla="*/ 1277876 w 12386023"/>
                <a:gd name="connsiteY4" fmla="*/ 708409 h 2373523"/>
                <a:gd name="connsiteX5" fmla="*/ 1972735 w 12386023"/>
                <a:gd name="connsiteY5" fmla="*/ 742397 h 2373523"/>
                <a:gd name="connsiteX6" fmla="*/ 2428745 w 12386023"/>
                <a:gd name="connsiteY6" fmla="*/ 682909 h 2373523"/>
                <a:gd name="connsiteX7" fmla="*/ 2906467 w 12386023"/>
                <a:gd name="connsiteY7" fmla="*/ 682909 h 2373523"/>
                <a:gd name="connsiteX8" fmla="*/ 3677336 w 12386023"/>
                <a:gd name="connsiteY8" fmla="*/ 725403 h 2373523"/>
                <a:gd name="connsiteX9" fmla="*/ 4556772 w 12386023"/>
                <a:gd name="connsiteY9" fmla="*/ 708409 h 2373523"/>
                <a:gd name="connsiteX10" fmla="*/ 5186490 w 12386023"/>
                <a:gd name="connsiteY10" fmla="*/ 716915 h 2373523"/>
                <a:gd name="connsiteX11" fmla="*/ 6022500 w 12386023"/>
                <a:gd name="connsiteY11" fmla="*/ 716915 h 2373523"/>
                <a:gd name="connsiteX12" fmla="*/ 7086513 w 12386023"/>
                <a:gd name="connsiteY12" fmla="*/ 742415 h 2373523"/>
                <a:gd name="connsiteX13" fmla="*/ 7835668 w 12386023"/>
                <a:gd name="connsiteY13" fmla="*/ 733909 h 2373523"/>
                <a:gd name="connsiteX14" fmla="*/ 8367663 w 12386023"/>
                <a:gd name="connsiteY14" fmla="*/ 725403 h 2373523"/>
                <a:gd name="connsiteX15" fmla="*/ 8988680 w 12386023"/>
                <a:gd name="connsiteY15" fmla="*/ 1128151 h 2373523"/>
                <a:gd name="connsiteX16" fmla="*/ 9558676 w 12386023"/>
                <a:gd name="connsiteY16" fmla="*/ 1954983 h 2373523"/>
                <a:gd name="connsiteX17" fmla="*/ 10490076 w 12386023"/>
                <a:gd name="connsiteY17" fmla="*/ 2373522 h 2373523"/>
                <a:gd name="connsiteX18" fmla="*/ 11536110 w 12386023"/>
                <a:gd name="connsiteY18" fmla="*/ 1954985 h 2373523"/>
                <a:gd name="connsiteX19" fmla="*/ 11827041 w 12386023"/>
                <a:gd name="connsiteY19" fmla="*/ 1309250 h 2373523"/>
                <a:gd name="connsiteX20" fmla="*/ 12137937 w 12386023"/>
                <a:gd name="connsiteY20" fmla="*/ 863143 h 2373523"/>
                <a:gd name="connsiteX21" fmla="*/ 12386023 w 12386023"/>
                <a:gd name="connsiteY21" fmla="*/ 562829 h 2373523"/>
                <a:gd name="connsiteX22" fmla="*/ 12386023 w 12386023"/>
                <a:gd name="connsiteY22" fmla="*/ 124447 h 2373523"/>
                <a:gd name="connsiteX23" fmla="*/ 11779707 w 12386023"/>
                <a:gd name="connsiteY23" fmla="*/ 299022 h 2373523"/>
                <a:gd name="connsiteX24" fmla="*/ 11399982 w 12386023"/>
                <a:gd name="connsiteY24" fmla="*/ 910907 h 2373523"/>
                <a:gd name="connsiteX25" fmla="*/ 10943237 w 12386023"/>
                <a:gd name="connsiteY25" fmla="*/ 1525068 h 2373523"/>
                <a:gd name="connsiteX26" fmla="*/ 10375442 w 12386023"/>
                <a:gd name="connsiteY26" fmla="*/ 1481851 h 2373523"/>
                <a:gd name="connsiteX27" fmla="*/ 9868545 w 12386023"/>
                <a:gd name="connsiteY27" fmla="*/ 922282 h 2373523"/>
                <a:gd name="connsiteX28" fmla="*/ 9393890 w 12386023"/>
                <a:gd name="connsiteY28" fmla="*/ 444601 h 2373523"/>
                <a:gd name="connsiteX29" fmla="*/ 8791091 w 12386023"/>
                <a:gd name="connsiteY29" fmla="*/ 20131 h 2373523"/>
                <a:gd name="connsiteX30" fmla="*/ 7390504 w 12386023"/>
                <a:gd name="connsiteY30" fmla="*/ 62625 h 2373523"/>
                <a:gd name="connsiteX31" fmla="*/ 9248668 w 12386023"/>
                <a:gd name="connsiteY31" fmla="*/ 483648 h 2373523"/>
                <a:gd name="connsiteX32" fmla="*/ 8892001 w 12386023"/>
                <a:gd name="connsiteY32" fmla="*/ 445563 h 2373523"/>
                <a:gd name="connsiteX33" fmla="*/ 9073222 w 12386023"/>
                <a:gd name="connsiteY33" fmla="*/ 748027 h 2373523"/>
                <a:gd name="connsiteX0" fmla="*/ 9073222 w 12386023"/>
                <a:gd name="connsiteY0" fmla="*/ 748027 h 2373523"/>
                <a:gd name="connsiteX1" fmla="*/ 8652701 w 12386023"/>
                <a:gd name="connsiteY1" fmla="*/ 640697 h 2373523"/>
                <a:gd name="connsiteX2" fmla="*/ 421075 w 12386023"/>
                <a:gd name="connsiteY2" fmla="*/ 800852 h 2373523"/>
                <a:gd name="connsiteX3" fmla="*/ 1277876 w 12386023"/>
                <a:gd name="connsiteY3" fmla="*/ 708409 h 2373523"/>
                <a:gd name="connsiteX4" fmla="*/ 1972735 w 12386023"/>
                <a:gd name="connsiteY4" fmla="*/ 742397 h 2373523"/>
                <a:gd name="connsiteX5" fmla="*/ 2428745 w 12386023"/>
                <a:gd name="connsiteY5" fmla="*/ 682909 h 2373523"/>
                <a:gd name="connsiteX6" fmla="*/ 2906467 w 12386023"/>
                <a:gd name="connsiteY6" fmla="*/ 682909 h 2373523"/>
                <a:gd name="connsiteX7" fmla="*/ 3677336 w 12386023"/>
                <a:gd name="connsiteY7" fmla="*/ 725403 h 2373523"/>
                <a:gd name="connsiteX8" fmla="*/ 4556772 w 12386023"/>
                <a:gd name="connsiteY8" fmla="*/ 708409 h 2373523"/>
                <a:gd name="connsiteX9" fmla="*/ 5186490 w 12386023"/>
                <a:gd name="connsiteY9" fmla="*/ 716915 h 2373523"/>
                <a:gd name="connsiteX10" fmla="*/ 6022500 w 12386023"/>
                <a:gd name="connsiteY10" fmla="*/ 716915 h 2373523"/>
                <a:gd name="connsiteX11" fmla="*/ 7086513 w 12386023"/>
                <a:gd name="connsiteY11" fmla="*/ 742415 h 2373523"/>
                <a:gd name="connsiteX12" fmla="*/ 7835668 w 12386023"/>
                <a:gd name="connsiteY12" fmla="*/ 733909 h 2373523"/>
                <a:gd name="connsiteX13" fmla="*/ 8367663 w 12386023"/>
                <a:gd name="connsiteY13" fmla="*/ 725403 h 2373523"/>
                <a:gd name="connsiteX14" fmla="*/ 8988680 w 12386023"/>
                <a:gd name="connsiteY14" fmla="*/ 1128151 h 2373523"/>
                <a:gd name="connsiteX15" fmla="*/ 9558676 w 12386023"/>
                <a:gd name="connsiteY15" fmla="*/ 1954983 h 2373523"/>
                <a:gd name="connsiteX16" fmla="*/ 10490076 w 12386023"/>
                <a:gd name="connsiteY16" fmla="*/ 2373522 h 2373523"/>
                <a:gd name="connsiteX17" fmla="*/ 11536110 w 12386023"/>
                <a:gd name="connsiteY17" fmla="*/ 1954985 h 2373523"/>
                <a:gd name="connsiteX18" fmla="*/ 11827041 w 12386023"/>
                <a:gd name="connsiteY18" fmla="*/ 1309250 h 2373523"/>
                <a:gd name="connsiteX19" fmla="*/ 12137937 w 12386023"/>
                <a:gd name="connsiteY19" fmla="*/ 863143 h 2373523"/>
                <a:gd name="connsiteX20" fmla="*/ 12386023 w 12386023"/>
                <a:gd name="connsiteY20" fmla="*/ 562829 h 2373523"/>
                <a:gd name="connsiteX21" fmla="*/ 12386023 w 12386023"/>
                <a:gd name="connsiteY21" fmla="*/ 124447 h 2373523"/>
                <a:gd name="connsiteX22" fmla="*/ 11779707 w 12386023"/>
                <a:gd name="connsiteY22" fmla="*/ 299022 h 2373523"/>
                <a:gd name="connsiteX23" fmla="*/ 11399982 w 12386023"/>
                <a:gd name="connsiteY23" fmla="*/ 910907 h 2373523"/>
                <a:gd name="connsiteX24" fmla="*/ 10943237 w 12386023"/>
                <a:gd name="connsiteY24" fmla="*/ 1525068 h 2373523"/>
                <a:gd name="connsiteX25" fmla="*/ 10375442 w 12386023"/>
                <a:gd name="connsiteY25" fmla="*/ 1481851 h 2373523"/>
                <a:gd name="connsiteX26" fmla="*/ 9868545 w 12386023"/>
                <a:gd name="connsiteY26" fmla="*/ 922282 h 2373523"/>
                <a:gd name="connsiteX27" fmla="*/ 9393890 w 12386023"/>
                <a:gd name="connsiteY27" fmla="*/ 444601 h 2373523"/>
                <a:gd name="connsiteX28" fmla="*/ 8791091 w 12386023"/>
                <a:gd name="connsiteY28" fmla="*/ 20131 h 2373523"/>
                <a:gd name="connsiteX29" fmla="*/ 7390504 w 12386023"/>
                <a:gd name="connsiteY29" fmla="*/ 62625 h 2373523"/>
                <a:gd name="connsiteX30" fmla="*/ 9248668 w 12386023"/>
                <a:gd name="connsiteY30" fmla="*/ 483648 h 2373523"/>
                <a:gd name="connsiteX31" fmla="*/ 8892001 w 12386023"/>
                <a:gd name="connsiteY31" fmla="*/ 445563 h 2373523"/>
                <a:gd name="connsiteX32" fmla="*/ 9073222 w 12386023"/>
                <a:gd name="connsiteY32" fmla="*/ 748027 h 2373523"/>
                <a:gd name="connsiteX0" fmla="*/ 9102751 w 12415552"/>
                <a:gd name="connsiteY0" fmla="*/ 748027 h 2373523"/>
                <a:gd name="connsiteX1" fmla="*/ 450604 w 12415552"/>
                <a:gd name="connsiteY1" fmla="*/ 800852 h 2373523"/>
                <a:gd name="connsiteX2" fmla="*/ 1307405 w 12415552"/>
                <a:gd name="connsiteY2" fmla="*/ 708409 h 2373523"/>
                <a:gd name="connsiteX3" fmla="*/ 2002264 w 12415552"/>
                <a:gd name="connsiteY3" fmla="*/ 742397 h 2373523"/>
                <a:gd name="connsiteX4" fmla="*/ 2458274 w 12415552"/>
                <a:gd name="connsiteY4" fmla="*/ 682909 h 2373523"/>
                <a:gd name="connsiteX5" fmla="*/ 2935996 w 12415552"/>
                <a:gd name="connsiteY5" fmla="*/ 682909 h 2373523"/>
                <a:gd name="connsiteX6" fmla="*/ 3706865 w 12415552"/>
                <a:gd name="connsiteY6" fmla="*/ 725403 h 2373523"/>
                <a:gd name="connsiteX7" fmla="*/ 4586301 w 12415552"/>
                <a:gd name="connsiteY7" fmla="*/ 708409 h 2373523"/>
                <a:gd name="connsiteX8" fmla="*/ 5216019 w 12415552"/>
                <a:gd name="connsiteY8" fmla="*/ 716915 h 2373523"/>
                <a:gd name="connsiteX9" fmla="*/ 6052029 w 12415552"/>
                <a:gd name="connsiteY9" fmla="*/ 716915 h 2373523"/>
                <a:gd name="connsiteX10" fmla="*/ 7116042 w 12415552"/>
                <a:gd name="connsiteY10" fmla="*/ 742415 h 2373523"/>
                <a:gd name="connsiteX11" fmla="*/ 7865197 w 12415552"/>
                <a:gd name="connsiteY11" fmla="*/ 733909 h 2373523"/>
                <a:gd name="connsiteX12" fmla="*/ 8397192 w 12415552"/>
                <a:gd name="connsiteY12" fmla="*/ 725403 h 2373523"/>
                <a:gd name="connsiteX13" fmla="*/ 9018209 w 12415552"/>
                <a:gd name="connsiteY13" fmla="*/ 1128151 h 2373523"/>
                <a:gd name="connsiteX14" fmla="*/ 9588205 w 12415552"/>
                <a:gd name="connsiteY14" fmla="*/ 1954983 h 2373523"/>
                <a:gd name="connsiteX15" fmla="*/ 10519605 w 12415552"/>
                <a:gd name="connsiteY15" fmla="*/ 2373522 h 2373523"/>
                <a:gd name="connsiteX16" fmla="*/ 11565639 w 12415552"/>
                <a:gd name="connsiteY16" fmla="*/ 1954985 h 2373523"/>
                <a:gd name="connsiteX17" fmla="*/ 11856570 w 12415552"/>
                <a:gd name="connsiteY17" fmla="*/ 1309250 h 2373523"/>
                <a:gd name="connsiteX18" fmla="*/ 12167466 w 12415552"/>
                <a:gd name="connsiteY18" fmla="*/ 863143 h 2373523"/>
                <a:gd name="connsiteX19" fmla="*/ 12415552 w 12415552"/>
                <a:gd name="connsiteY19" fmla="*/ 562829 h 2373523"/>
                <a:gd name="connsiteX20" fmla="*/ 12415552 w 12415552"/>
                <a:gd name="connsiteY20" fmla="*/ 124447 h 2373523"/>
                <a:gd name="connsiteX21" fmla="*/ 11809236 w 12415552"/>
                <a:gd name="connsiteY21" fmla="*/ 299022 h 2373523"/>
                <a:gd name="connsiteX22" fmla="*/ 11429511 w 12415552"/>
                <a:gd name="connsiteY22" fmla="*/ 910907 h 2373523"/>
                <a:gd name="connsiteX23" fmla="*/ 10972766 w 12415552"/>
                <a:gd name="connsiteY23" fmla="*/ 1525068 h 2373523"/>
                <a:gd name="connsiteX24" fmla="*/ 10404971 w 12415552"/>
                <a:gd name="connsiteY24" fmla="*/ 1481851 h 2373523"/>
                <a:gd name="connsiteX25" fmla="*/ 9898074 w 12415552"/>
                <a:gd name="connsiteY25" fmla="*/ 922282 h 2373523"/>
                <a:gd name="connsiteX26" fmla="*/ 9423419 w 12415552"/>
                <a:gd name="connsiteY26" fmla="*/ 444601 h 2373523"/>
                <a:gd name="connsiteX27" fmla="*/ 8820620 w 12415552"/>
                <a:gd name="connsiteY27" fmla="*/ 20131 h 2373523"/>
                <a:gd name="connsiteX28" fmla="*/ 7420033 w 12415552"/>
                <a:gd name="connsiteY28" fmla="*/ 62625 h 2373523"/>
                <a:gd name="connsiteX29" fmla="*/ 9278197 w 12415552"/>
                <a:gd name="connsiteY29" fmla="*/ 483648 h 2373523"/>
                <a:gd name="connsiteX30" fmla="*/ 8921530 w 12415552"/>
                <a:gd name="connsiteY30" fmla="*/ 445563 h 2373523"/>
                <a:gd name="connsiteX31" fmla="*/ 9102751 w 12415552"/>
                <a:gd name="connsiteY31" fmla="*/ 748027 h 2373523"/>
                <a:gd name="connsiteX0" fmla="*/ 9102753 w 12415554"/>
                <a:gd name="connsiteY0" fmla="*/ 748027 h 2373523"/>
                <a:gd name="connsiteX1" fmla="*/ 450606 w 12415554"/>
                <a:gd name="connsiteY1" fmla="*/ 800852 h 2373523"/>
                <a:gd name="connsiteX2" fmla="*/ 1307407 w 12415554"/>
                <a:gd name="connsiteY2" fmla="*/ 708409 h 2373523"/>
                <a:gd name="connsiteX3" fmla="*/ 2002266 w 12415554"/>
                <a:gd name="connsiteY3" fmla="*/ 742397 h 2373523"/>
                <a:gd name="connsiteX4" fmla="*/ 2458276 w 12415554"/>
                <a:gd name="connsiteY4" fmla="*/ 682909 h 2373523"/>
                <a:gd name="connsiteX5" fmla="*/ 2935998 w 12415554"/>
                <a:gd name="connsiteY5" fmla="*/ 682909 h 2373523"/>
                <a:gd name="connsiteX6" fmla="*/ 3706867 w 12415554"/>
                <a:gd name="connsiteY6" fmla="*/ 725403 h 2373523"/>
                <a:gd name="connsiteX7" fmla="*/ 4586303 w 12415554"/>
                <a:gd name="connsiteY7" fmla="*/ 708409 h 2373523"/>
                <a:gd name="connsiteX8" fmla="*/ 5216021 w 12415554"/>
                <a:gd name="connsiteY8" fmla="*/ 716915 h 2373523"/>
                <a:gd name="connsiteX9" fmla="*/ 6052031 w 12415554"/>
                <a:gd name="connsiteY9" fmla="*/ 716915 h 2373523"/>
                <a:gd name="connsiteX10" fmla="*/ 7116044 w 12415554"/>
                <a:gd name="connsiteY10" fmla="*/ 742415 h 2373523"/>
                <a:gd name="connsiteX11" fmla="*/ 7865199 w 12415554"/>
                <a:gd name="connsiteY11" fmla="*/ 733909 h 2373523"/>
                <a:gd name="connsiteX12" fmla="*/ 8397194 w 12415554"/>
                <a:gd name="connsiteY12" fmla="*/ 725403 h 2373523"/>
                <a:gd name="connsiteX13" fmla="*/ 9018211 w 12415554"/>
                <a:gd name="connsiteY13" fmla="*/ 1128151 h 2373523"/>
                <a:gd name="connsiteX14" fmla="*/ 9588207 w 12415554"/>
                <a:gd name="connsiteY14" fmla="*/ 1954983 h 2373523"/>
                <a:gd name="connsiteX15" fmla="*/ 10519607 w 12415554"/>
                <a:gd name="connsiteY15" fmla="*/ 2373522 h 2373523"/>
                <a:gd name="connsiteX16" fmla="*/ 11565641 w 12415554"/>
                <a:gd name="connsiteY16" fmla="*/ 1954985 h 2373523"/>
                <a:gd name="connsiteX17" fmla="*/ 11856572 w 12415554"/>
                <a:gd name="connsiteY17" fmla="*/ 1309250 h 2373523"/>
                <a:gd name="connsiteX18" fmla="*/ 12167468 w 12415554"/>
                <a:gd name="connsiteY18" fmla="*/ 863143 h 2373523"/>
                <a:gd name="connsiteX19" fmla="*/ 12415554 w 12415554"/>
                <a:gd name="connsiteY19" fmla="*/ 562829 h 2373523"/>
                <a:gd name="connsiteX20" fmla="*/ 12415554 w 12415554"/>
                <a:gd name="connsiteY20" fmla="*/ 124447 h 2373523"/>
                <a:gd name="connsiteX21" fmla="*/ 11809238 w 12415554"/>
                <a:gd name="connsiteY21" fmla="*/ 299022 h 2373523"/>
                <a:gd name="connsiteX22" fmla="*/ 11429513 w 12415554"/>
                <a:gd name="connsiteY22" fmla="*/ 910907 h 2373523"/>
                <a:gd name="connsiteX23" fmla="*/ 10972768 w 12415554"/>
                <a:gd name="connsiteY23" fmla="*/ 1525068 h 2373523"/>
                <a:gd name="connsiteX24" fmla="*/ 10404973 w 12415554"/>
                <a:gd name="connsiteY24" fmla="*/ 1481851 h 2373523"/>
                <a:gd name="connsiteX25" fmla="*/ 9898076 w 12415554"/>
                <a:gd name="connsiteY25" fmla="*/ 922282 h 2373523"/>
                <a:gd name="connsiteX26" fmla="*/ 9423421 w 12415554"/>
                <a:gd name="connsiteY26" fmla="*/ 444601 h 2373523"/>
                <a:gd name="connsiteX27" fmla="*/ 8820622 w 12415554"/>
                <a:gd name="connsiteY27" fmla="*/ 20131 h 2373523"/>
                <a:gd name="connsiteX28" fmla="*/ 7420035 w 12415554"/>
                <a:gd name="connsiteY28" fmla="*/ 62625 h 2373523"/>
                <a:gd name="connsiteX29" fmla="*/ 9278199 w 12415554"/>
                <a:gd name="connsiteY29" fmla="*/ 483648 h 2373523"/>
                <a:gd name="connsiteX30" fmla="*/ 9102753 w 12415554"/>
                <a:gd name="connsiteY30" fmla="*/ 748027 h 2373523"/>
                <a:gd name="connsiteX0" fmla="*/ 9102753 w 12415554"/>
                <a:gd name="connsiteY0" fmla="*/ 748027 h 2373523"/>
                <a:gd name="connsiteX1" fmla="*/ 450606 w 12415554"/>
                <a:gd name="connsiteY1" fmla="*/ 800852 h 2373523"/>
                <a:gd name="connsiteX2" fmla="*/ 1307407 w 12415554"/>
                <a:gd name="connsiteY2" fmla="*/ 708409 h 2373523"/>
                <a:gd name="connsiteX3" fmla="*/ 2002266 w 12415554"/>
                <a:gd name="connsiteY3" fmla="*/ 742397 h 2373523"/>
                <a:gd name="connsiteX4" fmla="*/ 2458276 w 12415554"/>
                <a:gd name="connsiteY4" fmla="*/ 682909 h 2373523"/>
                <a:gd name="connsiteX5" fmla="*/ 2935998 w 12415554"/>
                <a:gd name="connsiteY5" fmla="*/ 682909 h 2373523"/>
                <a:gd name="connsiteX6" fmla="*/ 3706867 w 12415554"/>
                <a:gd name="connsiteY6" fmla="*/ 725403 h 2373523"/>
                <a:gd name="connsiteX7" fmla="*/ 4586303 w 12415554"/>
                <a:gd name="connsiteY7" fmla="*/ 708409 h 2373523"/>
                <a:gd name="connsiteX8" fmla="*/ 5216021 w 12415554"/>
                <a:gd name="connsiteY8" fmla="*/ 716915 h 2373523"/>
                <a:gd name="connsiteX9" fmla="*/ 6052031 w 12415554"/>
                <a:gd name="connsiteY9" fmla="*/ 716915 h 2373523"/>
                <a:gd name="connsiteX10" fmla="*/ 7116044 w 12415554"/>
                <a:gd name="connsiteY10" fmla="*/ 742415 h 2373523"/>
                <a:gd name="connsiteX11" fmla="*/ 7865199 w 12415554"/>
                <a:gd name="connsiteY11" fmla="*/ 733909 h 2373523"/>
                <a:gd name="connsiteX12" fmla="*/ 8397194 w 12415554"/>
                <a:gd name="connsiteY12" fmla="*/ 725403 h 2373523"/>
                <a:gd name="connsiteX13" fmla="*/ 9018211 w 12415554"/>
                <a:gd name="connsiteY13" fmla="*/ 1128151 h 2373523"/>
                <a:gd name="connsiteX14" fmla="*/ 9588207 w 12415554"/>
                <a:gd name="connsiteY14" fmla="*/ 1954983 h 2373523"/>
                <a:gd name="connsiteX15" fmla="*/ 10519607 w 12415554"/>
                <a:gd name="connsiteY15" fmla="*/ 2373522 h 2373523"/>
                <a:gd name="connsiteX16" fmla="*/ 11565641 w 12415554"/>
                <a:gd name="connsiteY16" fmla="*/ 1954985 h 2373523"/>
                <a:gd name="connsiteX17" fmla="*/ 11856572 w 12415554"/>
                <a:gd name="connsiteY17" fmla="*/ 1309250 h 2373523"/>
                <a:gd name="connsiteX18" fmla="*/ 12167468 w 12415554"/>
                <a:gd name="connsiteY18" fmla="*/ 863143 h 2373523"/>
                <a:gd name="connsiteX19" fmla="*/ 12415554 w 12415554"/>
                <a:gd name="connsiteY19" fmla="*/ 562829 h 2373523"/>
                <a:gd name="connsiteX20" fmla="*/ 12415554 w 12415554"/>
                <a:gd name="connsiteY20" fmla="*/ 124447 h 2373523"/>
                <a:gd name="connsiteX21" fmla="*/ 11809238 w 12415554"/>
                <a:gd name="connsiteY21" fmla="*/ 299022 h 2373523"/>
                <a:gd name="connsiteX22" fmla="*/ 11429513 w 12415554"/>
                <a:gd name="connsiteY22" fmla="*/ 910907 h 2373523"/>
                <a:gd name="connsiteX23" fmla="*/ 10972768 w 12415554"/>
                <a:gd name="connsiteY23" fmla="*/ 1525068 h 2373523"/>
                <a:gd name="connsiteX24" fmla="*/ 10404973 w 12415554"/>
                <a:gd name="connsiteY24" fmla="*/ 1481851 h 2373523"/>
                <a:gd name="connsiteX25" fmla="*/ 9898076 w 12415554"/>
                <a:gd name="connsiteY25" fmla="*/ 922282 h 2373523"/>
                <a:gd name="connsiteX26" fmla="*/ 9423421 w 12415554"/>
                <a:gd name="connsiteY26" fmla="*/ 444601 h 2373523"/>
                <a:gd name="connsiteX27" fmla="*/ 8820622 w 12415554"/>
                <a:gd name="connsiteY27" fmla="*/ 20131 h 2373523"/>
                <a:gd name="connsiteX28" fmla="*/ 7420035 w 12415554"/>
                <a:gd name="connsiteY28" fmla="*/ 62625 h 2373523"/>
                <a:gd name="connsiteX29" fmla="*/ 9102753 w 12415554"/>
                <a:gd name="connsiteY29" fmla="*/ 748027 h 2373523"/>
                <a:gd name="connsiteX0" fmla="*/ 7302823 w 12298342"/>
                <a:gd name="connsiteY0" fmla="*/ 62625 h 2373523"/>
                <a:gd name="connsiteX1" fmla="*/ 333394 w 12298342"/>
                <a:gd name="connsiteY1" fmla="*/ 800852 h 2373523"/>
                <a:gd name="connsiteX2" fmla="*/ 1190195 w 12298342"/>
                <a:gd name="connsiteY2" fmla="*/ 708409 h 2373523"/>
                <a:gd name="connsiteX3" fmla="*/ 1885054 w 12298342"/>
                <a:gd name="connsiteY3" fmla="*/ 742397 h 2373523"/>
                <a:gd name="connsiteX4" fmla="*/ 2341064 w 12298342"/>
                <a:gd name="connsiteY4" fmla="*/ 682909 h 2373523"/>
                <a:gd name="connsiteX5" fmla="*/ 2818786 w 12298342"/>
                <a:gd name="connsiteY5" fmla="*/ 682909 h 2373523"/>
                <a:gd name="connsiteX6" fmla="*/ 3589655 w 12298342"/>
                <a:gd name="connsiteY6" fmla="*/ 725403 h 2373523"/>
                <a:gd name="connsiteX7" fmla="*/ 4469091 w 12298342"/>
                <a:gd name="connsiteY7" fmla="*/ 708409 h 2373523"/>
                <a:gd name="connsiteX8" fmla="*/ 5098809 w 12298342"/>
                <a:gd name="connsiteY8" fmla="*/ 716915 h 2373523"/>
                <a:gd name="connsiteX9" fmla="*/ 5934819 w 12298342"/>
                <a:gd name="connsiteY9" fmla="*/ 716915 h 2373523"/>
                <a:gd name="connsiteX10" fmla="*/ 6998832 w 12298342"/>
                <a:gd name="connsiteY10" fmla="*/ 742415 h 2373523"/>
                <a:gd name="connsiteX11" fmla="*/ 7747987 w 12298342"/>
                <a:gd name="connsiteY11" fmla="*/ 733909 h 2373523"/>
                <a:gd name="connsiteX12" fmla="*/ 8279982 w 12298342"/>
                <a:gd name="connsiteY12" fmla="*/ 725403 h 2373523"/>
                <a:gd name="connsiteX13" fmla="*/ 8900999 w 12298342"/>
                <a:gd name="connsiteY13" fmla="*/ 1128151 h 2373523"/>
                <a:gd name="connsiteX14" fmla="*/ 9470995 w 12298342"/>
                <a:gd name="connsiteY14" fmla="*/ 1954983 h 2373523"/>
                <a:gd name="connsiteX15" fmla="*/ 10402395 w 12298342"/>
                <a:gd name="connsiteY15" fmla="*/ 2373522 h 2373523"/>
                <a:gd name="connsiteX16" fmla="*/ 11448429 w 12298342"/>
                <a:gd name="connsiteY16" fmla="*/ 1954985 h 2373523"/>
                <a:gd name="connsiteX17" fmla="*/ 11739360 w 12298342"/>
                <a:gd name="connsiteY17" fmla="*/ 1309250 h 2373523"/>
                <a:gd name="connsiteX18" fmla="*/ 12050256 w 12298342"/>
                <a:gd name="connsiteY18" fmla="*/ 863143 h 2373523"/>
                <a:gd name="connsiteX19" fmla="*/ 12298342 w 12298342"/>
                <a:gd name="connsiteY19" fmla="*/ 562829 h 2373523"/>
                <a:gd name="connsiteX20" fmla="*/ 12298342 w 12298342"/>
                <a:gd name="connsiteY20" fmla="*/ 124447 h 2373523"/>
                <a:gd name="connsiteX21" fmla="*/ 11692026 w 12298342"/>
                <a:gd name="connsiteY21" fmla="*/ 299022 h 2373523"/>
                <a:gd name="connsiteX22" fmla="*/ 11312301 w 12298342"/>
                <a:gd name="connsiteY22" fmla="*/ 910907 h 2373523"/>
                <a:gd name="connsiteX23" fmla="*/ 10855556 w 12298342"/>
                <a:gd name="connsiteY23" fmla="*/ 1525068 h 2373523"/>
                <a:gd name="connsiteX24" fmla="*/ 10287761 w 12298342"/>
                <a:gd name="connsiteY24" fmla="*/ 1481851 h 2373523"/>
                <a:gd name="connsiteX25" fmla="*/ 9780864 w 12298342"/>
                <a:gd name="connsiteY25" fmla="*/ 922282 h 2373523"/>
                <a:gd name="connsiteX26" fmla="*/ 9306209 w 12298342"/>
                <a:gd name="connsiteY26" fmla="*/ 444601 h 2373523"/>
                <a:gd name="connsiteX27" fmla="*/ 8703410 w 12298342"/>
                <a:gd name="connsiteY27" fmla="*/ 20131 h 2373523"/>
                <a:gd name="connsiteX28" fmla="*/ 7302823 w 12298342"/>
                <a:gd name="connsiteY28" fmla="*/ 62625 h 2373523"/>
                <a:gd name="connsiteX0" fmla="*/ 8557475 w 12379789"/>
                <a:gd name="connsiteY0" fmla="*/ 304971 h 2354282"/>
                <a:gd name="connsiteX1" fmla="*/ 414841 w 12379789"/>
                <a:gd name="connsiteY1" fmla="*/ 781611 h 2354282"/>
                <a:gd name="connsiteX2" fmla="*/ 1271642 w 12379789"/>
                <a:gd name="connsiteY2" fmla="*/ 689168 h 2354282"/>
                <a:gd name="connsiteX3" fmla="*/ 1966501 w 12379789"/>
                <a:gd name="connsiteY3" fmla="*/ 723156 h 2354282"/>
                <a:gd name="connsiteX4" fmla="*/ 2422511 w 12379789"/>
                <a:gd name="connsiteY4" fmla="*/ 663668 h 2354282"/>
                <a:gd name="connsiteX5" fmla="*/ 2900233 w 12379789"/>
                <a:gd name="connsiteY5" fmla="*/ 663668 h 2354282"/>
                <a:gd name="connsiteX6" fmla="*/ 3671102 w 12379789"/>
                <a:gd name="connsiteY6" fmla="*/ 706162 h 2354282"/>
                <a:gd name="connsiteX7" fmla="*/ 4550538 w 12379789"/>
                <a:gd name="connsiteY7" fmla="*/ 689168 h 2354282"/>
                <a:gd name="connsiteX8" fmla="*/ 5180256 w 12379789"/>
                <a:gd name="connsiteY8" fmla="*/ 697674 h 2354282"/>
                <a:gd name="connsiteX9" fmla="*/ 6016266 w 12379789"/>
                <a:gd name="connsiteY9" fmla="*/ 697674 h 2354282"/>
                <a:gd name="connsiteX10" fmla="*/ 7080279 w 12379789"/>
                <a:gd name="connsiteY10" fmla="*/ 723174 h 2354282"/>
                <a:gd name="connsiteX11" fmla="*/ 7829434 w 12379789"/>
                <a:gd name="connsiteY11" fmla="*/ 714668 h 2354282"/>
                <a:gd name="connsiteX12" fmla="*/ 8361429 w 12379789"/>
                <a:gd name="connsiteY12" fmla="*/ 706162 h 2354282"/>
                <a:gd name="connsiteX13" fmla="*/ 8982446 w 12379789"/>
                <a:gd name="connsiteY13" fmla="*/ 1108910 h 2354282"/>
                <a:gd name="connsiteX14" fmla="*/ 9552442 w 12379789"/>
                <a:gd name="connsiteY14" fmla="*/ 1935742 h 2354282"/>
                <a:gd name="connsiteX15" fmla="*/ 10483842 w 12379789"/>
                <a:gd name="connsiteY15" fmla="*/ 2354281 h 2354282"/>
                <a:gd name="connsiteX16" fmla="*/ 11529876 w 12379789"/>
                <a:gd name="connsiteY16" fmla="*/ 1935744 h 2354282"/>
                <a:gd name="connsiteX17" fmla="*/ 11820807 w 12379789"/>
                <a:gd name="connsiteY17" fmla="*/ 1290009 h 2354282"/>
                <a:gd name="connsiteX18" fmla="*/ 12131703 w 12379789"/>
                <a:gd name="connsiteY18" fmla="*/ 843902 h 2354282"/>
                <a:gd name="connsiteX19" fmla="*/ 12379789 w 12379789"/>
                <a:gd name="connsiteY19" fmla="*/ 543588 h 2354282"/>
                <a:gd name="connsiteX20" fmla="*/ 12379789 w 12379789"/>
                <a:gd name="connsiteY20" fmla="*/ 105206 h 2354282"/>
                <a:gd name="connsiteX21" fmla="*/ 11773473 w 12379789"/>
                <a:gd name="connsiteY21" fmla="*/ 279781 h 2354282"/>
                <a:gd name="connsiteX22" fmla="*/ 11393748 w 12379789"/>
                <a:gd name="connsiteY22" fmla="*/ 891666 h 2354282"/>
                <a:gd name="connsiteX23" fmla="*/ 10937003 w 12379789"/>
                <a:gd name="connsiteY23" fmla="*/ 1505827 h 2354282"/>
                <a:gd name="connsiteX24" fmla="*/ 10369208 w 12379789"/>
                <a:gd name="connsiteY24" fmla="*/ 1462610 h 2354282"/>
                <a:gd name="connsiteX25" fmla="*/ 9862311 w 12379789"/>
                <a:gd name="connsiteY25" fmla="*/ 903041 h 2354282"/>
                <a:gd name="connsiteX26" fmla="*/ 9387656 w 12379789"/>
                <a:gd name="connsiteY26" fmla="*/ 425360 h 2354282"/>
                <a:gd name="connsiteX27" fmla="*/ 8784857 w 12379789"/>
                <a:gd name="connsiteY27" fmla="*/ 890 h 2354282"/>
                <a:gd name="connsiteX28" fmla="*/ 8557475 w 12379789"/>
                <a:gd name="connsiteY28" fmla="*/ 304971 h 2354282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3671104 w 12379791"/>
                <a:gd name="connsiteY6" fmla="*/ 614077 h 2262197"/>
                <a:gd name="connsiteX7" fmla="*/ 4550540 w 12379791"/>
                <a:gd name="connsiteY7" fmla="*/ 597083 h 2262197"/>
                <a:gd name="connsiteX8" fmla="*/ 5180258 w 12379791"/>
                <a:gd name="connsiteY8" fmla="*/ 605589 h 2262197"/>
                <a:gd name="connsiteX9" fmla="*/ 6016268 w 12379791"/>
                <a:gd name="connsiteY9" fmla="*/ 605589 h 2262197"/>
                <a:gd name="connsiteX10" fmla="*/ 7080281 w 12379791"/>
                <a:gd name="connsiteY10" fmla="*/ 631089 h 2262197"/>
                <a:gd name="connsiteX11" fmla="*/ 7829436 w 12379791"/>
                <a:gd name="connsiteY11" fmla="*/ 622583 h 2262197"/>
                <a:gd name="connsiteX12" fmla="*/ 8361431 w 12379791"/>
                <a:gd name="connsiteY12" fmla="*/ 614077 h 2262197"/>
                <a:gd name="connsiteX13" fmla="*/ 8982448 w 12379791"/>
                <a:gd name="connsiteY13" fmla="*/ 1016825 h 2262197"/>
                <a:gd name="connsiteX14" fmla="*/ 9552444 w 12379791"/>
                <a:gd name="connsiteY14" fmla="*/ 1843657 h 2262197"/>
                <a:gd name="connsiteX15" fmla="*/ 10483844 w 12379791"/>
                <a:gd name="connsiteY15" fmla="*/ 2262196 h 2262197"/>
                <a:gd name="connsiteX16" fmla="*/ 11529878 w 12379791"/>
                <a:gd name="connsiteY16" fmla="*/ 1843659 h 2262197"/>
                <a:gd name="connsiteX17" fmla="*/ 11820809 w 12379791"/>
                <a:gd name="connsiteY17" fmla="*/ 1197924 h 2262197"/>
                <a:gd name="connsiteX18" fmla="*/ 12131705 w 12379791"/>
                <a:gd name="connsiteY18" fmla="*/ 751817 h 2262197"/>
                <a:gd name="connsiteX19" fmla="*/ 12379791 w 12379791"/>
                <a:gd name="connsiteY19" fmla="*/ 451503 h 2262197"/>
                <a:gd name="connsiteX20" fmla="*/ 12379791 w 12379791"/>
                <a:gd name="connsiteY20" fmla="*/ 13121 h 2262197"/>
                <a:gd name="connsiteX21" fmla="*/ 11773475 w 12379791"/>
                <a:gd name="connsiteY21" fmla="*/ 187696 h 2262197"/>
                <a:gd name="connsiteX22" fmla="*/ 11393750 w 12379791"/>
                <a:gd name="connsiteY22" fmla="*/ 799581 h 2262197"/>
                <a:gd name="connsiteX23" fmla="*/ 10937005 w 12379791"/>
                <a:gd name="connsiteY23" fmla="*/ 1413742 h 2262197"/>
                <a:gd name="connsiteX24" fmla="*/ 10369210 w 12379791"/>
                <a:gd name="connsiteY24" fmla="*/ 1370525 h 2262197"/>
                <a:gd name="connsiteX25" fmla="*/ 9862313 w 12379791"/>
                <a:gd name="connsiteY25" fmla="*/ 810956 h 2262197"/>
                <a:gd name="connsiteX26" fmla="*/ 9387658 w 12379791"/>
                <a:gd name="connsiteY26" fmla="*/ 333275 h 2262197"/>
                <a:gd name="connsiteX27" fmla="*/ 8614705 w 12379791"/>
                <a:gd name="connsiteY27" fmla="*/ 45280 h 2262197"/>
                <a:gd name="connsiteX28" fmla="*/ 8557477 w 12379791"/>
                <a:gd name="connsiteY28" fmla="*/ 212886 h 2262197"/>
                <a:gd name="connsiteX0" fmla="*/ 8557477 w 12379791"/>
                <a:gd name="connsiteY0" fmla="*/ 220165 h 2269476"/>
                <a:gd name="connsiteX1" fmla="*/ 414843 w 12379791"/>
                <a:gd name="connsiteY1" fmla="*/ 696805 h 2269476"/>
                <a:gd name="connsiteX2" fmla="*/ 1271644 w 12379791"/>
                <a:gd name="connsiteY2" fmla="*/ 604362 h 2269476"/>
                <a:gd name="connsiteX3" fmla="*/ 1966503 w 12379791"/>
                <a:gd name="connsiteY3" fmla="*/ 638350 h 2269476"/>
                <a:gd name="connsiteX4" fmla="*/ 2422513 w 12379791"/>
                <a:gd name="connsiteY4" fmla="*/ 578862 h 2269476"/>
                <a:gd name="connsiteX5" fmla="*/ 2900235 w 12379791"/>
                <a:gd name="connsiteY5" fmla="*/ 578862 h 2269476"/>
                <a:gd name="connsiteX6" fmla="*/ 3671104 w 12379791"/>
                <a:gd name="connsiteY6" fmla="*/ 621356 h 2269476"/>
                <a:gd name="connsiteX7" fmla="*/ 4550540 w 12379791"/>
                <a:gd name="connsiteY7" fmla="*/ 604362 h 2269476"/>
                <a:gd name="connsiteX8" fmla="*/ 5180258 w 12379791"/>
                <a:gd name="connsiteY8" fmla="*/ 612868 h 2269476"/>
                <a:gd name="connsiteX9" fmla="*/ 6016268 w 12379791"/>
                <a:gd name="connsiteY9" fmla="*/ 612868 h 2269476"/>
                <a:gd name="connsiteX10" fmla="*/ 7080281 w 12379791"/>
                <a:gd name="connsiteY10" fmla="*/ 638368 h 2269476"/>
                <a:gd name="connsiteX11" fmla="*/ 7829436 w 12379791"/>
                <a:gd name="connsiteY11" fmla="*/ 629862 h 2269476"/>
                <a:gd name="connsiteX12" fmla="*/ 8361431 w 12379791"/>
                <a:gd name="connsiteY12" fmla="*/ 621356 h 2269476"/>
                <a:gd name="connsiteX13" fmla="*/ 8982448 w 12379791"/>
                <a:gd name="connsiteY13" fmla="*/ 1024104 h 2269476"/>
                <a:gd name="connsiteX14" fmla="*/ 9552444 w 12379791"/>
                <a:gd name="connsiteY14" fmla="*/ 1850936 h 2269476"/>
                <a:gd name="connsiteX15" fmla="*/ 10483844 w 12379791"/>
                <a:gd name="connsiteY15" fmla="*/ 2269475 h 2269476"/>
                <a:gd name="connsiteX16" fmla="*/ 11529878 w 12379791"/>
                <a:gd name="connsiteY16" fmla="*/ 1850938 h 2269476"/>
                <a:gd name="connsiteX17" fmla="*/ 11820809 w 12379791"/>
                <a:gd name="connsiteY17" fmla="*/ 1205203 h 2269476"/>
                <a:gd name="connsiteX18" fmla="*/ 12131705 w 12379791"/>
                <a:gd name="connsiteY18" fmla="*/ 759096 h 2269476"/>
                <a:gd name="connsiteX19" fmla="*/ 12379791 w 12379791"/>
                <a:gd name="connsiteY19" fmla="*/ 458782 h 2269476"/>
                <a:gd name="connsiteX20" fmla="*/ 12379791 w 12379791"/>
                <a:gd name="connsiteY20" fmla="*/ 20400 h 2269476"/>
                <a:gd name="connsiteX21" fmla="*/ 11773475 w 12379791"/>
                <a:gd name="connsiteY21" fmla="*/ 194975 h 2269476"/>
                <a:gd name="connsiteX22" fmla="*/ 11393750 w 12379791"/>
                <a:gd name="connsiteY22" fmla="*/ 806860 h 2269476"/>
                <a:gd name="connsiteX23" fmla="*/ 10937005 w 12379791"/>
                <a:gd name="connsiteY23" fmla="*/ 1421021 h 2269476"/>
                <a:gd name="connsiteX24" fmla="*/ 10369210 w 12379791"/>
                <a:gd name="connsiteY24" fmla="*/ 1377804 h 2269476"/>
                <a:gd name="connsiteX25" fmla="*/ 9862313 w 12379791"/>
                <a:gd name="connsiteY25" fmla="*/ 818235 h 2269476"/>
                <a:gd name="connsiteX26" fmla="*/ 9387658 w 12379791"/>
                <a:gd name="connsiteY26" fmla="*/ 340554 h 2269476"/>
                <a:gd name="connsiteX27" fmla="*/ 8614705 w 12379791"/>
                <a:gd name="connsiteY27" fmla="*/ 52559 h 2269476"/>
                <a:gd name="connsiteX28" fmla="*/ 8557477 w 12379791"/>
                <a:gd name="connsiteY28" fmla="*/ 220165 h 2269476"/>
                <a:gd name="connsiteX0" fmla="*/ 8557477 w 12379791"/>
                <a:gd name="connsiteY0" fmla="*/ 220165 h 2269476"/>
                <a:gd name="connsiteX1" fmla="*/ 414843 w 12379791"/>
                <a:gd name="connsiteY1" fmla="*/ 696805 h 2269476"/>
                <a:gd name="connsiteX2" fmla="*/ 1271644 w 12379791"/>
                <a:gd name="connsiteY2" fmla="*/ 604362 h 2269476"/>
                <a:gd name="connsiteX3" fmla="*/ 1966503 w 12379791"/>
                <a:gd name="connsiteY3" fmla="*/ 638350 h 2269476"/>
                <a:gd name="connsiteX4" fmla="*/ 2422513 w 12379791"/>
                <a:gd name="connsiteY4" fmla="*/ 578862 h 2269476"/>
                <a:gd name="connsiteX5" fmla="*/ 2900235 w 12379791"/>
                <a:gd name="connsiteY5" fmla="*/ 578862 h 2269476"/>
                <a:gd name="connsiteX6" fmla="*/ 3671104 w 12379791"/>
                <a:gd name="connsiteY6" fmla="*/ 621356 h 2269476"/>
                <a:gd name="connsiteX7" fmla="*/ 4550540 w 12379791"/>
                <a:gd name="connsiteY7" fmla="*/ 604362 h 2269476"/>
                <a:gd name="connsiteX8" fmla="*/ 5180258 w 12379791"/>
                <a:gd name="connsiteY8" fmla="*/ 612868 h 2269476"/>
                <a:gd name="connsiteX9" fmla="*/ 6016268 w 12379791"/>
                <a:gd name="connsiteY9" fmla="*/ 612868 h 2269476"/>
                <a:gd name="connsiteX10" fmla="*/ 7080281 w 12379791"/>
                <a:gd name="connsiteY10" fmla="*/ 638368 h 2269476"/>
                <a:gd name="connsiteX11" fmla="*/ 7829436 w 12379791"/>
                <a:gd name="connsiteY11" fmla="*/ 629862 h 2269476"/>
                <a:gd name="connsiteX12" fmla="*/ 8361431 w 12379791"/>
                <a:gd name="connsiteY12" fmla="*/ 621356 h 2269476"/>
                <a:gd name="connsiteX13" fmla="*/ 8982448 w 12379791"/>
                <a:gd name="connsiteY13" fmla="*/ 1024104 h 2269476"/>
                <a:gd name="connsiteX14" fmla="*/ 9552444 w 12379791"/>
                <a:gd name="connsiteY14" fmla="*/ 1850936 h 2269476"/>
                <a:gd name="connsiteX15" fmla="*/ 10483844 w 12379791"/>
                <a:gd name="connsiteY15" fmla="*/ 2269475 h 2269476"/>
                <a:gd name="connsiteX16" fmla="*/ 11529878 w 12379791"/>
                <a:gd name="connsiteY16" fmla="*/ 1850938 h 2269476"/>
                <a:gd name="connsiteX17" fmla="*/ 11820809 w 12379791"/>
                <a:gd name="connsiteY17" fmla="*/ 1205203 h 2269476"/>
                <a:gd name="connsiteX18" fmla="*/ 12131705 w 12379791"/>
                <a:gd name="connsiteY18" fmla="*/ 759096 h 2269476"/>
                <a:gd name="connsiteX19" fmla="*/ 12379791 w 12379791"/>
                <a:gd name="connsiteY19" fmla="*/ 458782 h 2269476"/>
                <a:gd name="connsiteX20" fmla="*/ 12379791 w 12379791"/>
                <a:gd name="connsiteY20" fmla="*/ 20400 h 2269476"/>
                <a:gd name="connsiteX21" fmla="*/ 11773475 w 12379791"/>
                <a:gd name="connsiteY21" fmla="*/ 194975 h 2269476"/>
                <a:gd name="connsiteX22" fmla="*/ 11393750 w 12379791"/>
                <a:gd name="connsiteY22" fmla="*/ 806860 h 2269476"/>
                <a:gd name="connsiteX23" fmla="*/ 10937005 w 12379791"/>
                <a:gd name="connsiteY23" fmla="*/ 1421021 h 2269476"/>
                <a:gd name="connsiteX24" fmla="*/ 10369210 w 12379791"/>
                <a:gd name="connsiteY24" fmla="*/ 1377804 h 2269476"/>
                <a:gd name="connsiteX25" fmla="*/ 9862313 w 12379791"/>
                <a:gd name="connsiteY25" fmla="*/ 818235 h 2269476"/>
                <a:gd name="connsiteX26" fmla="*/ 9387658 w 12379791"/>
                <a:gd name="connsiteY26" fmla="*/ 340554 h 2269476"/>
                <a:gd name="connsiteX27" fmla="*/ 8614705 w 12379791"/>
                <a:gd name="connsiteY27" fmla="*/ 52559 h 2269476"/>
                <a:gd name="connsiteX28" fmla="*/ 8557477 w 12379791"/>
                <a:gd name="connsiteY28" fmla="*/ 220165 h 2269476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3671104 w 12379791"/>
                <a:gd name="connsiteY6" fmla="*/ 614077 h 2262197"/>
                <a:gd name="connsiteX7" fmla="*/ 4550540 w 12379791"/>
                <a:gd name="connsiteY7" fmla="*/ 597083 h 2262197"/>
                <a:gd name="connsiteX8" fmla="*/ 5180258 w 12379791"/>
                <a:gd name="connsiteY8" fmla="*/ 605589 h 2262197"/>
                <a:gd name="connsiteX9" fmla="*/ 6016268 w 12379791"/>
                <a:gd name="connsiteY9" fmla="*/ 605589 h 2262197"/>
                <a:gd name="connsiteX10" fmla="*/ 7080281 w 12379791"/>
                <a:gd name="connsiteY10" fmla="*/ 631089 h 2262197"/>
                <a:gd name="connsiteX11" fmla="*/ 7829436 w 12379791"/>
                <a:gd name="connsiteY11" fmla="*/ 622583 h 2262197"/>
                <a:gd name="connsiteX12" fmla="*/ 8361431 w 12379791"/>
                <a:gd name="connsiteY12" fmla="*/ 614077 h 2262197"/>
                <a:gd name="connsiteX13" fmla="*/ 8982448 w 12379791"/>
                <a:gd name="connsiteY13" fmla="*/ 1016825 h 2262197"/>
                <a:gd name="connsiteX14" fmla="*/ 9552444 w 12379791"/>
                <a:gd name="connsiteY14" fmla="*/ 1843657 h 2262197"/>
                <a:gd name="connsiteX15" fmla="*/ 10483844 w 12379791"/>
                <a:gd name="connsiteY15" fmla="*/ 2262196 h 2262197"/>
                <a:gd name="connsiteX16" fmla="*/ 11529878 w 12379791"/>
                <a:gd name="connsiteY16" fmla="*/ 1843659 h 2262197"/>
                <a:gd name="connsiteX17" fmla="*/ 11820809 w 12379791"/>
                <a:gd name="connsiteY17" fmla="*/ 1197924 h 2262197"/>
                <a:gd name="connsiteX18" fmla="*/ 12131705 w 12379791"/>
                <a:gd name="connsiteY18" fmla="*/ 751817 h 2262197"/>
                <a:gd name="connsiteX19" fmla="*/ 12379791 w 12379791"/>
                <a:gd name="connsiteY19" fmla="*/ 451503 h 2262197"/>
                <a:gd name="connsiteX20" fmla="*/ 12379791 w 12379791"/>
                <a:gd name="connsiteY20" fmla="*/ 13121 h 2262197"/>
                <a:gd name="connsiteX21" fmla="*/ 11773475 w 12379791"/>
                <a:gd name="connsiteY21" fmla="*/ 187696 h 2262197"/>
                <a:gd name="connsiteX22" fmla="*/ 11393750 w 12379791"/>
                <a:gd name="connsiteY22" fmla="*/ 799581 h 2262197"/>
                <a:gd name="connsiteX23" fmla="*/ 10937005 w 12379791"/>
                <a:gd name="connsiteY23" fmla="*/ 1413742 h 2262197"/>
                <a:gd name="connsiteX24" fmla="*/ 10369210 w 12379791"/>
                <a:gd name="connsiteY24" fmla="*/ 1370525 h 2262197"/>
                <a:gd name="connsiteX25" fmla="*/ 9862313 w 12379791"/>
                <a:gd name="connsiteY25" fmla="*/ 810956 h 2262197"/>
                <a:gd name="connsiteX26" fmla="*/ 9387658 w 12379791"/>
                <a:gd name="connsiteY26" fmla="*/ 333275 h 2262197"/>
                <a:gd name="connsiteX27" fmla="*/ 8557477 w 12379791"/>
                <a:gd name="connsiteY27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3671104 w 12379791"/>
                <a:gd name="connsiteY6" fmla="*/ 614077 h 2262197"/>
                <a:gd name="connsiteX7" fmla="*/ 4550540 w 12379791"/>
                <a:gd name="connsiteY7" fmla="*/ 597083 h 2262197"/>
                <a:gd name="connsiteX8" fmla="*/ 5180258 w 12379791"/>
                <a:gd name="connsiteY8" fmla="*/ 605589 h 2262197"/>
                <a:gd name="connsiteX9" fmla="*/ 6016268 w 12379791"/>
                <a:gd name="connsiteY9" fmla="*/ 605589 h 2262197"/>
                <a:gd name="connsiteX10" fmla="*/ 7080281 w 12379791"/>
                <a:gd name="connsiteY10" fmla="*/ 631089 h 2262197"/>
                <a:gd name="connsiteX11" fmla="*/ 7829436 w 12379791"/>
                <a:gd name="connsiteY11" fmla="*/ 622583 h 2262197"/>
                <a:gd name="connsiteX12" fmla="*/ 8361431 w 12379791"/>
                <a:gd name="connsiteY12" fmla="*/ 614077 h 2262197"/>
                <a:gd name="connsiteX13" fmla="*/ 8982448 w 12379791"/>
                <a:gd name="connsiteY13" fmla="*/ 1016825 h 2262197"/>
                <a:gd name="connsiteX14" fmla="*/ 9552444 w 12379791"/>
                <a:gd name="connsiteY14" fmla="*/ 1843657 h 2262197"/>
                <a:gd name="connsiteX15" fmla="*/ 10483844 w 12379791"/>
                <a:gd name="connsiteY15" fmla="*/ 2262196 h 2262197"/>
                <a:gd name="connsiteX16" fmla="*/ 11529878 w 12379791"/>
                <a:gd name="connsiteY16" fmla="*/ 1843659 h 2262197"/>
                <a:gd name="connsiteX17" fmla="*/ 11820809 w 12379791"/>
                <a:gd name="connsiteY17" fmla="*/ 1197924 h 2262197"/>
                <a:gd name="connsiteX18" fmla="*/ 12131705 w 12379791"/>
                <a:gd name="connsiteY18" fmla="*/ 751817 h 2262197"/>
                <a:gd name="connsiteX19" fmla="*/ 12379791 w 12379791"/>
                <a:gd name="connsiteY19" fmla="*/ 451503 h 2262197"/>
                <a:gd name="connsiteX20" fmla="*/ 12379791 w 12379791"/>
                <a:gd name="connsiteY20" fmla="*/ 13121 h 2262197"/>
                <a:gd name="connsiteX21" fmla="*/ 11773475 w 12379791"/>
                <a:gd name="connsiteY21" fmla="*/ 187696 h 2262197"/>
                <a:gd name="connsiteX22" fmla="*/ 11393750 w 12379791"/>
                <a:gd name="connsiteY22" fmla="*/ 799581 h 2262197"/>
                <a:gd name="connsiteX23" fmla="*/ 10937005 w 12379791"/>
                <a:gd name="connsiteY23" fmla="*/ 1413742 h 2262197"/>
                <a:gd name="connsiteX24" fmla="*/ 10369210 w 12379791"/>
                <a:gd name="connsiteY24" fmla="*/ 1370525 h 2262197"/>
                <a:gd name="connsiteX25" fmla="*/ 9862313 w 12379791"/>
                <a:gd name="connsiteY25" fmla="*/ 810956 h 2262197"/>
                <a:gd name="connsiteX26" fmla="*/ 9450348 w 12379791"/>
                <a:gd name="connsiteY26" fmla="*/ 299156 h 2262197"/>
                <a:gd name="connsiteX27" fmla="*/ 8557477 w 12379791"/>
                <a:gd name="connsiteY27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3671104 w 12379791"/>
                <a:gd name="connsiteY6" fmla="*/ 614077 h 2262197"/>
                <a:gd name="connsiteX7" fmla="*/ 4550540 w 12379791"/>
                <a:gd name="connsiteY7" fmla="*/ 597083 h 2262197"/>
                <a:gd name="connsiteX8" fmla="*/ 5180258 w 12379791"/>
                <a:gd name="connsiteY8" fmla="*/ 605589 h 2262197"/>
                <a:gd name="connsiteX9" fmla="*/ 6016268 w 12379791"/>
                <a:gd name="connsiteY9" fmla="*/ 605589 h 2262197"/>
                <a:gd name="connsiteX10" fmla="*/ 7080281 w 12379791"/>
                <a:gd name="connsiteY10" fmla="*/ 631089 h 2262197"/>
                <a:gd name="connsiteX11" fmla="*/ 7829436 w 12379791"/>
                <a:gd name="connsiteY11" fmla="*/ 622583 h 2262197"/>
                <a:gd name="connsiteX12" fmla="*/ 8361431 w 12379791"/>
                <a:gd name="connsiteY12" fmla="*/ 614077 h 2262197"/>
                <a:gd name="connsiteX13" fmla="*/ 8982448 w 12379791"/>
                <a:gd name="connsiteY13" fmla="*/ 1016825 h 2262197"/>
                <a:gd name="connsiteX14" fmla="*/ 9552444 w 12379791"/>
                <a:gd name="connsiteY14" fmla="*/ 1843657 h 2262197"/>
                <a:gd name="connsiteX15" fmla="*/ 10483844 w 12379791"/>
                <a:gd name="connsiteY15" fmla="*/ 2262196 h 2262197"/>
                <a:gd name="connsiteX16" fmla="*/ 11529878 w 12379791"/>
                <a:gd name="connsiteY16" fmla="*/ 1843659 h 2262197"/>
                <a:gd name="connsiteX17" fmla="*/ 11820809 w 12379791"/>
                <a:gd name="connsiteY17" fmla="*/ 1197924 h 2262197"/>
                <a:gd name="connsiteX18" fmla="*/ 12131705 w 12379791"/>
                <a:gd name="connsiteY18" fmla="*/ 751817 h 2262197"/>
                <a:gd name="connsiteX19" fmla="*/ 12379791 w 12379791"/>
                <a:gd name="connsiteY19" fmla="*/ 451503 h 2262197"/>
                <a:gd name="connsiteX20" fmla="*/ 12379791 w 12379791"/>
                <a:gd name="connsiteY20" fmla="*/ 13121 h 2262197"/>
                <a:gd name="connsiteX21" fmla="*/ 11773475 w 12379791"/>
                <a:gd name="connsiteY21" fmla="*/ 187696 h 2262197"/>
                <a:gd name="connsiteX22" fmla="*/ 11393750 w 12379791"/>
                <a:gd name="connsiteY22" fmla="*/ 799581 h 2262197"/>
                <a:gd name="connsiteX23" fmla="*/ 10937005 w 12379791"/>
                <a:gd name="connsiteY23" fmla="*/ 1413742 h 2262197"/>
                <a:gd name="connsiteX24" fmla="*/ 10369210 w 12379791"/>
                <a:gd name="connsiteY24" fmla="*/ 1370525 h 2262197"/>
                <a:gd name="connsiteX25" fmla="*/ 9862313 w 12379791"/>
                <a:gd name="connsiteY25" fmla="*/ 810956 h 2262197"/>
                <a:gd name="connsiteX26" fmla="*/ 9450348 w 12379791"/>
                <a:gd name="connsiteY26" fmla="*/ 299156 h 2262197"/>
                <a:gd name="connsiteX27" fmla="*/ 8557477 w 12379791"/>
                <a:gd name="connsiteY27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4550540 w 12379791"/>
                <a:gd name="connsiteY6" fmla="*/ 597083 h 2262197"/>
                <a:gd name="connsiteX7" fmla="*/ 5180258 w 12379791"/>
                <a:gd name="connsiteY7" fmla="*/ 605589 h 2262197"/>
                <a:gd name="connsiteX8" fmla="*/ 6016268 w 12379791"/>
                <a:gd name="connsiteY8" fmla="*/ 605589 h 2262197"/>
                <a:gd name="connsiteX9" fmla="*/ 7080281 w 12379791"/>
                <a:gd name="connsiteY9" fmla="*/ 631089 h 2262197"/>
                <a:gd name="connsiteX10" fmla="*/ 7829436 w 12379791"/>
                <a:gd name="connsiteY10" fmla="*/ 622583 h 2262197"/>
                <a:gd name="connsiteX11" fmla="*/ 8361431 w 12379791"/>
                <a:gd name="connsiteY11" fmla="*/ 614077 h 2262197"/>
                <a:gd name="connsiteX12" fmla="*/ 8982448 w 12379791"/>
                <a:gd name="connsiteY12" fmla="*/ 1016825 h 2262197"/>
                <a:gd name="connsiteX13" fmla="*/ 9552444 w 12379791"/>
                <a:gd name="connsiteY13" fmla="*/ 1843657 h 2262197"/>
                <a:gd name="connsiteX14" fmla="*/ 10483844 w 12379791"/>
                <a:gd name="connsiteY14" fmla="*/ 2262196 h 2262197"/>
                <a:gd name="connsiteX15" fmla="*/ 11529878 w 12379791"/>
                <a:gd name="connsiteY15" fmla="*/ 1843659 h 2262197"/>
                <a:gd name="connsiteX16" fmla="*/ 11820809 w 12379791"/>
                <a:gd name="connsiteY16" fmla="*/ 1197924 h 2262197"/>
                <a:gd name="connsiteX17" fmla="*/ 12131705 w 12379791"/>
                <a:gd name="connsiteY17" fmla="*/ 751817 h 2262197"/>
                <a:gd name="connsiteX18" fmla="*/ 12379791 w 12379791"/>
                <a:gd name="connsiteY18" fmla="*/ 451503 h 2262197"/>
                <a:gd name="connsiteX19" fmla="*/ 12379791 w 12379791"/>
                <a:gd name="connsiteY19" fmla="*/ 13121 h 2262197"/>
                <a:gd name="connsiteX20" fmla="*/ 11773475 w 12379791"/>
                <a:gd name="connsiteY20" fmla="*/ 187696 h 2262197"/>
                <a:gd name="connsiteX21" fmla="*/ 11393750 w 12379791"/>
                <a:gd name="connsiteY21" fmla="*/ 799581 h 2262197"/>
                <a:gd name="connsiteX22" fmla="*/ 10937005 w 12379791"/>
                <a:gd name="connsiteY22" fmla="*/ 1413742 h 2262197"/>
                <a:gd name="connsiteX23" fmla="*/ 10369210 w 12379791"/>
                <a:gd name="connsiteY23" fmla="*/ 1370525 h 2262197"/>
                <a:gd name="connsiteX24" fmla="*/ 9862313 w 12379791"/>
                <a:gd name="connsiteY24" fmla="*/ 810956 h 2262197"/>
                <a:gd name="connsiteX25" fmla="*/ 9450348 w 12379791"/>
                <a:gd name="connsiteY25" fmla="*/ 299156 h 2262197"/>
                <a:gd name="connsiteX26" fmla="*/ 8557477 w 12379791"/>
                <a:gd name="connsiteY26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5180258 w 12379791"/>
                <a:gd name="connsiteY6" fmla="*/ 605589 h 2262197"/>
                <a:gd name="connsiteX7" fmla="*/ 6016268 w 12379791"/>
                <a:gd name="connsiteY7" fmla="*/ 605589 h 2262197"/>
                <a:gd name="connsiteX8" fmla="*/ 7080281 w 12379791"/>
                <a:gd name="connsiteY8" fmla="*/ 631089 h 2262197"/>
                <a:gd name="connsiteX9" fmla="*/ 7829436 w 12379791"/>
                <a:gd name="connsiteY9" fmla="*/ 622583 h 2262197"/>
                <a:gd name="connsiteX10" fmla="*/ 8361431 w 12379791"/>
                <a:gd name="connsiteY10" fmla="*/ 614077 h 2262197"/>
                <a:gd name="connsiteX11" fmla="*/ 8982448 w 12379791"/>
                <a:gd name="connsiteY11" fmla="*/ 1016825 h 2262197"/>
                <a:gd name="connsiteX12" fmla="*/ 9552444 w 12379791"/>
                <a:gd name="connsiteY12" fmla="*/ 1843657 h 2262197"/>
                <a:gd name="connsiteX13" fmla="*/ 10483844 w 12379791"/>
                <a:gd name="connsiteY13" fmla="*/ 2262196 h 2262197"/>
                <a:gd name="connsiteX14" fmla="*/ 11529878 w 12379791"/>
                <a:gd name="connsiteY14" fmla="*/ 1843659 h 2262197"/>
                <a:gd name="connsiteX15" fmla="*/ 11820809 w 12379791"/>
                <a:gd name="connsiteY15" fmla="*/ 1197924 h 2262197"/>
                <a:gd name="connsiteX16" fmla="*/ 12131705 w 12379791"/>
                <a:gd name="connsiteY16" fmla="*/ 751817 h 2262197"/>
                <a:gd name="connsiteX17" fmla="*/ 12379791 w 12379791"/>
                <a:gd name="connsiteY17" fmla="*/ 451503 h 2262197"/>
                <a:gd name="connsiteX18" fmla="*/ 12379791 w 12379791"/>
                <a:gd name="connsiteY18" fmla="*/ 13121 h 2262197"/>
                <a:gd name="connsiteX19" fmla="*/ 11773475 w 12379791"/>
                <a:gd name="connsiteY19" fmla="*/ 187696 h 2262197"/>
                <a:gd name="connsiteX20" fmla="*/ 11393750 w 12379791"/>
                <a:gd name="connsiteY20" fmla="*/ 799581 h 2262197"/>
                <a:gd name="connsiteX21" fmla="*/ 10937005 w 12379791"/>
                <a:gd name="connsiteY21" fmla="*/ 1413742 h 2262197"/>
                <a:gd name="connsiteX22" fmla="*/ 10369210 w 12379791"/>
                <a:gd name="connsiteY22" fmla="*/ 1370525 h 2262197"/>
                <a:gd name="connsiteX23" fmla="*/ 9862313 w 12379791"/>
                <a:gd name="connsiteY23" fmla="*/ 810956 h 2262197"/>
                <a:gd name="connsiteX24" fmla="*/ 9450348 w 12379791"/>
                <a:gd name="connsiteY24" fmla="*/ 299156 h 2262197"/>
                <a:gd name="connsiteX25" fmla="*/ 8557477 w 12379791"/>
                <a:gd name="connsiteY25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6016268 w 12379791"/>
                <a:gd name="connsiteY6" fmla="*/ 605589 h 2262197"/>
                <a:gd name="connsiteX7" fmla="*/ 7080281 w 12379791"/>
                <a:gd name="connsiteY7" fmla="*/ 631089 h 2262197"/>
                <a:gd name="connsiteX8" fmla="*/ 7829436 w 12379791"/>
                <a:gd name="connsiteY8" fmla="*/ 622583 h 2262197"/>
                <a:gd name="connsiteX9" fmla="*/ 8361431 w 12379791"/>
                <a:gd name="connsiteY9" fmla="*/ 614077 h 2262197"/>
                <a:gd name="connsiteX10" fmla="*/ 8982448 w 12379791"/>
                <a:gd name="connsiteY10" fmla="*/ 1016825 h 2262197"/>
                <a:gd name="connsiteX11" fmla="*/ 9552444 w 12379791"/>
                <a:gd name="connsiteY11" fmla="*/ 1843657 h 2262197"/>
                <a:gd name="connsiteX12" fmla="*/ 10483844 w 12379791"/>
                <a:gd name="connsiteY12" fmla="*/ 2262196 h 2262197"/>
                <a:gd name="connsiteX13" fmla="*/ 11529878 w 12379791"/>
                <a:gd name="connsiteY13" fmla="*/ 1843659 h 2262197"/>
                <a:gd name="connsiteX14" fmla="*/ 11820809 w 12379791"/>
                <a:gd name="connsiteY14" fmla="*/ 1197924 h 2262197"/>
                <a:gd name="connsiteX15" fmla="*/ 12131705 w 12379791"/>
                <a:gd name="connsiteY15" fmla="*/ 751817 h 2262197"/>
                <a:gd name="connsiteX16" fmla="*/ 12379791 w 12379791"/>
                <a:gd name="connsiteY16" fmla="*/ 451503 h 2262197"/>
                <a:gd name="connsiteX17" fmla="*/ 12379791 w 12379791"/>
                <a:gd name="connsiteY17" fmla="*/ 13121 h 2262197"/>
                <a:gd name="connsiteX18" fmla="*/ 11773475 w 12379791"/>
                <a:gd name="connsiteY18" fmla="*/ 187696 h 2262197"/>
                <a:gd name="connsiteX19" fmla="*/ 11393750 w 12379791"/>
                <a:gd name="connsiteY19" fmla="*/ 799581 h 2262197"/>
                <a:gd name="connsiteX20" fmla="*/ 10937005 w 12379791"/>
                <a:gd name="connsiteY20" fmla="*/ 1413742 h 2262197"/>
                <a:gd name="connsiteX21" fmla="*/ 10369210 w 12379791"/>
                <a:gd name="connsiteY21" fmla="*/ 1370525 h 2262197"/>
                <a:gd name="connsiteX22" fmla="*/ 9862313 w 12379791"/>
                <a:gd name="connsiteY22" fmla="*/ 810956 h 2262197"/>
                <a:gd name="connsiteX23" fmla="*/ 9450348 w 12379791"/>
                <a:gd name="connsiteY23" fmla="*/ 299156 h 2262197"/>
                <a:gd name="connsiteX24" fmla="*/ 8557477 w 12379791"/>
                <a:gd name="connsiteY24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7080281 w 12379791"/>
                <a:gd name="connsiteY6" fmla="*/ 631089 h 2262197"/>
                <a:gd name="connsiteX7" fmla="*/ 7829436 w 12379791"/>
                <a:gd name="connsiteY7" fmla="*/ 622583 h 2262197"/>
                <a:gd name="connsiteX8" fmla="*/ 8361431 w 12379791"/>
                <a:gd name="connsiteY8" fmla="*/ 614077 h 2262197"/>
                <a:gd name="connsiteX9" fmla="*/ 8982448 w 12379791"/>
                <a:gd name="connsiteY9" fmla="*/ 1016825 h 2262197"/>
                <a:gd name="connsiteX10" fmla="*/ 9552444 w 12379791"/>
                <a:gd name="connsiteY10" fmla="*/ 1843657 h 2262197"/>
                <a:gd name="connsiteX11" fmla="*/ 10483844 w 12379791"/>
                <a:gd name="connsiteY11" fmla="*/ 2262196 h 2262197"/>
                <a:gd name="connsiteX12" fmla="*/ 11529878 w 12379791"/>
                <a:gd name="connsiteY12" fmla="*/ 1843659 h 2262197"/>
                <a:gd name="connsiteX13" fmla="*/ 11820809 w 12379791"/>
                <a:gd name="connsiteY13" fmla="*/ 1197924 h 2262197"/>
                <a:gd name="connsiteX14" fmla="*/ 12131705 w 12379791"/>
                <a:gd name="connsiteY14" fmla="*/ 751817 h 2262197"/>
                <a:gd name="connsiteX15" fmla="*/ 12379791 w 12379791"/>
                <a:gd name="connsiteY15" fmla="*/ 451503 h 2262197"/>
                <a:gd name="connsiteX16" fmla="*/ 12379791 w 12379791"/>
                <a:gd name="connsiteY16" fmla="*/ 13121 h 2262197"/>
                <a:gd name="connsiteX17" fmla="*/ 11773475 w 12379791"/>
                <a:gd name="connsiteY17" fmla="*/ 187696 h 2262197"/>
                <a:gd name="connsiteX18" fmla="*/ 11393750 w 12379791"/>
                <a:gd name="connsiteY18" fmla="*/ 799581 h 2262197"/>
                <a:gd name="connsiteX19" fmla="*/ 10937005 w 12379791"/>
                <a:gd name="connsiteY19" fmla="*/ 1413742 h 2262197"/>
                <a:gd name="connsiteX20" fmla="*/ 10369210 w 12379791"/>
                <a:gd name="connsiteY20" fmla="*/ 1370525 h 2262197"/>
                <a:gd name="connsiteX21" fmla="*/ 9862313 w 12379791"/>
                <a:gd name="connsiteY21" fmla="*/ 810956 h 2262197"/>
                <a:gd name="connsiteX22" fmla="*/ 9450348 w 12379791"/>
                <a:gd name="connsiteY22" fmla="*/ 299156 h 2262197"/>
                <a:gd name="connsiteX23" fmla="*/ 8557477 w 12379791"/>
                <a:gd name="connsiteY23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7829436 w 12379791"/>
                <a:gd name="connsiteY6" fmla="*/ 622583 h 2262197"/>
                <a:gd name="connsiteX7" fmla="*/ 8361431 w 12379791"/>
                <a:gd name="connsiteY7" fmla="*/ 614077 h 2262197"/>
                <a:gd name="connsiteX8" fmla="*/ 8982448 w 12379791"/>
                <a:gd name="connsiteY8" fmla="*/ 1016825 h 2262197"/>
                <a:gd name="connsiteX9" fmla="*/ 9552444 w 12379791"/>
                <a:gd name="connsiteY9" fmla="*/ 1843657 h 2262197"/>
                <a:gd name="connsiteX10" fmla="*/ 10483844 w 12379791"/>
                <a:gd name="connsiteY10" fmla="*/ 2262196 h 2262197"/>
                <a:gd name="connsiteX11" fmla="*/ 11529878 w 12379791"/>
                <a:gd name="connsiteY11" fmla="*/ 1843659 h 2262197"/>
                <a:gd name="connsiteX12" fmla="*/ 11820809 w 12379791"/>
                <a:gd name="connsiteY12" fmla="*/ 1197924 h 2262197"/>
                <a:gd name="connsiteX13" fmla="*/ 12131705 w 12379791"/>
                <a:gd name="connsiteY13" fmla="*/ 751817 h 2262197"/>
                <a:gd name="connsiteX14" fmla="*/ 12379791 w 12379791"/>
                <a:gd name="connsiteY14" fmla="*/ 451503 h 2262197"/>
                <a:gd name="connsiteX15" fmla="*/ 12379791 w 12379791"/>
                <a:gd name="connsiteY15" fmla="*/ 13121 h 2262197"/>
                <a:gd name="connsiteX16" fmla="*/ 11773475 w 12379791"/>
                <a:gd name="connsiteY16" fmla="*/ 187696 h 2262197"/>
                <a:gd name="connsiteX17" fmla="*/ 11393750 w 12379791"/>
                <a:gd name="connsiteY17" fmla="*/ 799581 h 2262197"/>
                <a:gd name="connsiteX18" fmla="*/ 10937005 w 12379791"/>
                <a:gd name="connsiteY18" fmla="*/ 1413742 h 2262197"/>
                <a:gd name="connsiteX19" fmla="*/ 10369210 w 12379791"/>
                <a:gd name="connsiteY19" fmla="*/ 1370525 h 2262197"/>
                <a:gd name="connsiteX20" fmla="*/ 9862313 w 12379791"/>
                <a:gd name="connsiteY20" fmla="*/ 810956 h 2262197"/>
                <a:gd name="connsiteX21" fmla="*/ 9450348 w 12379791"/>
                <a:gd name="connsiteY21" fmla="*/ 299156 h 2262197"/>
                <a:gd name="connsiteX22" fmla="*/ 8557477 w 12379791"/>
                <a:gd name="connsiteY22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8361431 w 12379791"/>
                <a:gd name="connsiteY6" fmla="*/ 614077 h 2262197"/>
                <a:gd name="connsiteX7" fmla="*/ 8982448 w 12379791"/>
                <a:gd name="connsiteY7" fmla="*/ 1016825 h 2262197"/>
                <a:gd name="connsiteX8" fmla="*/ 9552444 w 12379791"/>
                <a:gd name="connsiteY8" fmla="*/ 1843657 h 2262197"/>
                <a:gd name="connsiteX9" fmla="*/ 10483844 w 12379791"/>
                <a:gd name="connsiteY9" fmla="*/ 2262196 h 2262197"/>
                <a:gd name="connsiteX10" fmla="*/ 11529878 w 12379791"/>
                <a:gd name="connsiteY10" fmla="*/ 1843659 h 2262197"/>
                <a:gd name="connsiteX11" fmla="*/ 11820809 w 12379791"/>
                <a:gd name="connsiteY11" fmla="*/ 1197924 h 2262197"/>
                <a:gd name="connsiteX12" fmla="*/ 12131705 w 12379791"/>
                <a:gd name="connsiteY12" fmla="*/ 751817 h 2262197"/>
                <a:gd name="connsiteX13" fmla="*/ 12379791 w 12379791"/>
                <a:gd name="connsiteY13" fmla="*/ 451503 h 2262197"/>
                <a:gd name="connsiteX14" fmla="*/ 12379791 w 12379791"/>
                <a:gd name="connsiteY14" fmla="*/ 13121 h 2262197"/>
                <a:gd name="connsiteX15" fmla="*/ 11773475 w 12379791"/>
                <a:gd name="connsiteY15" fmla="*/ 187696 h 2262197"/>
                <a:gd name="connsiteX16" fmla="*/ 11393750 w 12379791"/>
                <a:gd name="connsiteY16" fmla="*/ 799581 h 2262197"/>
                <a:gd name="connsiteX17" fmla="*/ 10937005 w 12379791"/>
                <a:gd name="connsiteY17" fmla="*/ 1413742 h 2262197"/>
                <a:gd name="connsiteX18" fmla="*/ 10369210 w 12379791"/>
                <a:gd name="connsiteY18" fmla="*/ 1370525 h 2262197"/>
                <a:gd name="connsiteX19" fmla="*/ 9862313 w 12379791"/>
                <a:gd name="connsiteY19" fmla="*/ 810956 h 2262197"/>
                <a:gd name="connsiteX20" fmla="*/ 9450348 w 12379791"/>
                <a:gd name="connsiteY20" fmla="*/ 299156 h 2262197"/>
                <a:gd name="connsiteX21" fmla="*/ 8557477 w 12379791"/>
                <a:gd name="connsiteY21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8370387 w 12379791"/>
                <a:gd name="connsiteY6" fmla="*/ 545838 h 2262197"/>
                <a:gd name="connsiteX7" fmla="*/ 8982448 w 12379791"/>
                <a:gd name="connsiteY7" fmla="*/ 1016825 h 2262197"/>
                <a:gd name="connsiteX8" fmla="*/ 9552444 w 12379791"/>
                <a:gd name="connsiteY8" fmla="*/ 1843657 h 2262197"/>
                <a:gd name="connsiteX9" fmla="*/ 10483844 w 12379791"/>
                <a:gd name="connsiteY9" fmla="*/ 2262196 h 2262197"/>
                <a:gd name="connsiteX10" fmla="*/ 11529878 w 12379791"/>
                <a:gd name="connsiteY10" fmla="*/ 1843659 h 2262197"/>
                <a:gd name="connsiteX11" fmla="*/ 11820809 w 12379791"/>
                <a:gd name="connsiteY11" fmla="*/ 1197924 h 2262197"/>
                <a:gd name="connsiteX12" fmla="*/ 12131705 w 12379791"/>
                <a:gd name="connsiteY12" fmla="*/ 751817 h 2262197"/>
                <a:gd name="connsiteX13" fmla="*/ 12379791 w 12379791"/>
                <a:gd name="connsiteY13" fmla="*/ 451503 h 2262197"/>
                <a:gd name="connsiteX14" fmla="*/ 12379791 w 12379791"/>
                <a:gd name="connsiteY14" fmla="*/ 13121 h 2262197"/>
                <a:gd name="connsiteX15" fmla="*/ 11773475 w 12379791"/>
                <a:gd name="connsiteY15" fmla="*/ 187696 h 2262197"/>
                <a:gd name="connsiteX16" fmla="*/ 11393750 w 12379791"/>
                <a:gd name="connsiteY16" fmla="*/ 799581 h 2262197"/>
                <a:gd name="connsiteX17" fmla="*/ 10937005 w 12379791"/>
                <a:gd name="connsiteY17" fmla="*/ 1413742 h 2262197"/>
                <a:gd name="connsiteX18" fmla="*/ 10369210 w 12379791"/>
                <a:gd name="connsiteY18" fmla="*/ 1370525 h 2262197"/>
                <a:gd name="connsiteX19" fmla="*/ 9862313 w 12379791"/>
                <a:gd name="connsiteY19" fmla="*/ 810956 h 2262197"/>
                <a:gd name="connsiteX20" fmla="*/ 9450348 w 12379791"/>
                <a:gd name="connsiteY20" fmla="*/ 299156 h 2262197"/>
                <a:gd name="connsiteX21" fmla="*/ 8557477 w 12379791"/>
                <a:gd name="connsiteY21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8982448 w 12379791"/>
                <a:gd name="connsiteY6" fmla="*/ 1016825 h 2262197"/>
                <a:gd name="connsiteX7" fmla="*/ 9552444 w 12379791"/>
                <a:gd name="connsiteY7" fmla="*/ 1843657 h 2262197"/>
                <a:gd name="connsiteX8" fmla="*/ 10483844 w 12379791"/>
                <a:gd name="connsiteY8" fmla="*/ 2262196 h 2262197"/>
                <a:gd name="connsiteX9" fmla="*/ 11529878 w 12379791"/>
                <a:gd name="connsiteY9" fmla="*/ 1843659 h 2262197"/>
                <a:gd name="connsiteX10" fmla="*/ 11820809 w 12379791"/>
                <a:gd name="connsiteY10" fmla="*/ 1197924 h 2262197"/>
                <a:gd name="connsiteX11" fmla="*/ 12131705 w 12379791"/>
                <a:gd name="connsiteY11" fmla="*/ 751817 h 2262197"/>
                <a:gd name="connsiteX12" fmla="*/ 12379791 w 12379791"/>
                <a:gd name="connsiteY12" fmla="*/ 451503 h 2262197"/>
                <a:gd name="connsiteX13" fmla="*/ 12379791 w 12379791"/>
                <a:gd name="connsiteY13" fmla="*/ 13121 h 2262197"/>
                <a:gd name="connsiteX14" fmla="*/ 11773475 w 12379791"/>
                <a:gd name="connsiteY14" fmla="*/ 187696 h 2262197"/>
                <a:gd name="connsiteX15" fmla="*/ 11393750 w 12379791"/>
                <a:gd name="connsiteY15" fmla="*/ 799581 h 2262197"/>
                <a:gd name="connsiteX16" fmla="*/ 10937005 w 12379791"/>
                <a:gd name="connsiteY16" fmla="*/ 1413742 h 2262197"/>
                <a:gd name="connsiteX17" fmla="*/ 10369210 w 12379791"/>
                <a:gd name="connsiteY17" fmla="*/ 1370525 h 2262197"/>
                <a:gd name="connsiteX18" fmla="*/ 9862313 w 12379791"/>
                <a:gd name="connsiteY18" fmla="*/ 810956 h 2262197"/>
                <a:gd name="connsiteX19" fmla="*/ 9450348 w 12379791"/>
                <a:gd name="connsiteY19" fmla="*/ 299156 h 2262197"/>
                <a:gd name="connsiteX20" fmla="*/ 8557477 w 12379791"/>
                <a:gd name="connsiteY20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8622972 w 12379791"/>
                <a:gd name="connsiteY5" fmla="*/ 537465 h 2262197"/>
                <a:gd name="connsiteX6" fmla="*/ 8982448 w 12379791"/>
                <a:gd name="connsiteY6" fmla="*/ 1016825 h 2262197"/>
                <a:gd name="connsiteX7" fmla="*/ 9552444 w 12379791"/>
                <a:gd name="connsiteY7" fmla="*/ 1843657 h 2262197"/>
                <a:gd name="connsiteX8" fmla="*/ 10483844 w 12379791"/>
                <a:gd name="connsiteY8" fmla="*/ 2262196 h 2262197"/>
                <a:gd name="connsiteX9" fmla="*/ 11529878 w 12379791"/>
                <a:gd name="connsiteY9" fmla="*/ 1843659 h 2262197"/>
                <a:gd name="connsiteX10" fmla="*/ 11820809 w 12379791"/>
                <a:gd name="connsiteY10" fmla="*/ 1197924 h 2262197"/>
                <a:gd name="connsiteX11" fmla="*/ 12131705 w 12379791"/>
                <a:gd name="connsiteY11" fmla="*/ 751817 h 2262197"/>
                <a:gd name="connsiteX12" fmla="*/ 12379791 w 12379791"/>
                <a:gd name="connsiteY12" fmla="*/ 451503 h 2262197"/>
                <a:gd name="connsiteX13" fmla="*/ 12379791 w 12379791"/>
                <a:gd name="connsiteY13" fmla="*/ 13121 h 2262197"/>
                <a:gd name="connsiteX14" fmla="*/ 11773475 w 12379791"/>
                <a:gd name="connsiteY14" fmla="*/ 187696 h 2262197"/>
                <a:gd name="connsiteX15" fmla="*/ 11393750 w 12379791"/>
                <a:gd name="connsiteY15" fmla="*/ 799581 h 2262197"/>
                <a:gd name="connsiteX16" fmla="*/ 10937005 w 12379791"/>
                <a:gd name="connsiteY16" fmla="*/ 1413742 h 2262197"/>
                <a:gd name="connsiteX17" fmla="*/ 10369210 w 12379791"/>
                <a:gd name="connsiteY17" fmla="*/ 1370525 h 2262197"/>
                <a:gd name="connsiteX18" fmla="*/ 9862313 w 12379791"/>
                <a:gd name="connsiteY18" fmla="*/ 810956 h 2262197"/>
                <a:gd name="connsiteX19" fmla="*/ 9450348 w 12379791"/>
                <a:gd name="connsiteY19" fmla="*/ 299156 h 2262197"/>
                <a:gd name="connsiteX20" fmla="*/ 8557477 w 12379791"/>
                <a:gd name="connsiteY20" fmla="*/ 212886 h 2262197"/>
                <a:gd name="connsiteX0" fmla="*/ 8568147 w 12390461"/>
                <a:gd name="connsiteY0" fmla="*/ 212886 h 2262197"/>
                <a:gd name="connsiteX1" fmla="*/ 425513 w 12390461"/>
                <a:gd name="connsiteY1" fmla="*/ 689526 h 2262197"/>
                <a:gd name="connsiteX2" fmla="*/ 1282314 w 12390461"/>
                <a:gd name="connsiteY2" fmla="*/ 597083 h 2262197"/>
                <a:gd name="connsiteX3" fmla="*/ 2433183 w 12390461"/>
                <a:gd name="connsiteY3" fmla="*/ 571583 h 2262197"/>
                <a:gd name="connsiteX4" fmla="*/ 8633642 w 12390461"/>
                <a:gd name="connsiteY4" fmla="*/ 537465 h 2262197"/>
                <a:gd name="connsiteX5" fmla="*/ 8993118 w 12390461"/>
                <a:gd name="connsiteY5" fmla="*/ 1016825 h 2262197"/>
                <a:gd name="connsiteX6" fmla="*/ 9563114 w 12390461"/>
                <a:gd name="connsiteY6" fmla="*/ 1843657 h 2262197"/>
                <a:gd name="connsiteX7" fmla="*/ 10494514 w 12390461"/>
                <a:gd name="connsiteY7" fmla="*/ 2262196 h 2262197"/>
                <a:gd name="connsiteX8" fmla="*/ 11540548 w 12390461"/>
                <a:gd name="connsiteY8" fmla="*/ 1843659 h 2262197"/>
                <a:gd name="connsiteX9" fmla="*/ 11831479 w 12390461"/>
                <a:gd name="connsiteY9" fmla="*/ 1197924 h 2262197"/>
                <a:gd name="connsiteX10" fmla="*/ 12142375 w 12390461"/>
                <a:gd name="connsiteY10" fmla="*/ 751817 h 2262197"/>
                <a:gd name="connsiteX11" fmla="*/ 12390461 w 12390461"/>
                <a:gd name="connsiteY11" fmla="*/ 451503 h 2262197"/>
                <a:gd name="connsiteX12" fmla="*/ 12390461 w 12390461"/>
                <a:gd name="connsiteY12" fmla="*/ 13121 h 2262197"/>
                <a:gd name="connsiteX13" fmla="*/ 11784145 w 12390461"/>
                <a:gd name="connsiteY13" fmla="*/ 187696 h 2262197"/>
                <a:gd name="connsiteX14" fmla="*/ 11404420 w 12390461"/>
                <a:gd name="connsiteY14" fmla="*/ 799581 h 2262197"/>
                <a:gd name="connsiteX15" fmla="*/ 10947675 w 12390461"/>
                <a:gd name="connsiteY15" fmla="*/ 1413742 h 2262197"/>
                <a:gd name="connsiteX16" fmla="*/ 10379880 w 12390461"/>
                <a:gd name="connsiteY16" fmla="*/ 1370525 h 2262197"/>
                <a:gd name="connsiteX17" fmla="*/ 9872983 w 12390461"/>
                <a:gd name="connsiteY17" fmla="*/ 810956 h 2262197"/>
                <a:gd name="connsiteX18" fmla="*/ 9461018 w 12390461"/>
                <a:gd name="connsiteY18" fmla="*/ 299156 h 2262197"/>
                <a:gd name="connsiteX19" fmla="*/ 8568147 w 12390461"/>
                <a:gd name="connsiteY19" fmla="*/ 212886 h 2262197"/>
                <a:gd name="connsiteX0" fmla="*/ 8767043 w 12589357"/>
                <a:gd name="connsiteY0" fmla="*/ 212886 h 2262197"/>
                <a:gd name="connsiteX1" fmla="*/ 624409 w 12589357"/>
                <a:gd name="connsiteY1" fmla="*/ 689526 h 2262197"/>
                <a:gd name="connsiteX2" fmla="*/ 1481210 w 12589357"/>
                <a:gd name="connsiteY2" fmla="*/ 597083 h 2262197"/>
                <a:gd name="connsiteX3" fmla="*/ 8832538 w 12589357"/>
                <a:gd name="connsiteY3" fmla="*/ 537465 h 2262197"/>
                <a:gd name="connsiteX4" fmla="*/ 9192014 w 12589357"/>
                <a:gd name="connsiteY4" fmla="*/ 1016825 h 2262197"/>
                <a:gd name="connsiteX5" fmla="*/ 9762010 w 12589357"/>
                <a:gd name="connsiteY5" fmla="*/ 1843657 h 2262197"/>
                <a:gd name="connsiteX6" fmla="*/ 10693410 w 12589357"/>
                <a:gd name="connsiteY6" fmla="*/ 2262196 h 2262197"/>
                <a:gd name="connsiteX7" fmla="*/ 11739444 w 12589357"/>
                <a:gd name="connsiteY7" fmla="*/ 1843659 h 2262197"/>
                <a:gd name="connsiteX8" fmla="*/ 12030375 w 12589357"/>
                <a:gd name="connsiteY8" fmla="*/ 1197924 h 2262197"/>
                <a:gd name="connsiteX9" fmla="*/ 12341271 w 12589357"/>
                <a:gd name="connsiteY9" fmla="*/ 751817 h 2262197"/>
                <a:gd name="connsiteX10" fmla="*/ 12589357 w 12589357"/>
                <a:gd name="connsiteY10" fmla="*/ 451503 h 2262197"/>
                <a:gd name="connsiteX11" fmla="*/ 12589357 w 12589357"/>
                <a:gd name="connsiteY11" fmla="*/ 13121 h 2262197"/>
                <a:gd name="connsiteX12" fmla="*/ 11983041 w 12589357"/>
                <a:gd name="connsiteY12" fmla="*/ 187696 h 2262197"/>
                <a:gd name="connsiteX13" fmla="*/ 11603316 w 12589357"/>
                <a:gd name="connsiteY13" fmla="*/ 799581 h 2262197"/>
                <a:gd name="connsiteX14" fmla="*/ 11146571 w 12589357"/>
                <a:gd name="connsiteY14" fmla="*/ 1413742 h 2262197"/>
                <a:gd name="connsiteX15" fmla="*/ 10578776 w 12589357"/>
                <a:gd name="connsiteY15" fmla="*/ 1370525 h 2262197"/>
                <a:gd name="connsiteX16" fmla="*/ 10071879 w 12589357"/>
                <a:gd name="connsiteY16" fmla="*/ 810956 h 2262197"/>
                <a:gd name="connsiteX17" fmla="*/ 9659914 w 12589357"/>
                <a:gd name="connsiteY17" fmla="*/ 299156 h 2262197"/>
                <a:gd name="connsiteX18" fmla="*/ 8767043 w 12589357"/>
                <a:gd name="connsiteY18" fmla="*/ 212886 h 2262197"/>
                <a:gd name="connsiteX0" fmla="*/ 8142648 w 11964962"/>
                <a:gd name="connsiteY0" fmla="*/ 212886 h 2262197"/>
                <a:gd name="connsiteX1" fmla="*/ 14 w 11964962"/>
                <a:gd name="connsiteY1" fmla="*/ 689526 h 2262197"/>
                <a:gd name="connsiteX2" fmla="*/ 8208143 w 11964962"/>
                <a:gd name="connsiteY2" fmla="*/ 537465 h 2262197"/>
                <a:gd name="connsiteX3" fmla="*/ 8567619 w 11964962"/>
                <a:gd name="connsiteY3" fmla="*/ 1016825 h 2262197"/>
                <a:gd name="connsiteX4" fmla="*/ 9137615 w 11964962"/>
                <a:gd name="connsiteY4" fmla="*/ 1843657 h 2262197"/>
                <a:gd name="connsiteX5" fmla="*/ 10069015 w 11964962"/>
                <a:gd name="connsiteY5" fmla="*/ 2262196 h 2262197"/>
                <a:gd name="connsiteX6" fmla="*/ 11115049 w 11964962"/>
                <a:gd name="connsiteY6" fmla="*/ 1843659 h 2262197"/>
                <a:gd name="connsiteX7" fmla="*/ 11405980 w 11964962"/>
                <a:gd name="connsiteY7" fmla="*/ 1197924 h 2262197"/>
                <a:gd name="connsiteX8" fmla="*/ 11716876 w 11964962"/>
                <a:gd name="connsiteY8" fmla="*/ 751817 h 2262197"/>
                <a:gd name="connsiteX9" fmla="*/ 11964962 w 11964962"/>
                <a:gd name="connsiteY9" fmla="*/ 451503 h 2262197"/>
                <a:gd name="connsiteX10" fmla="*/ 11964962 w 11964962"/>
                <a:gd name="connsiteY10" fmla="*/ 13121 h 2262197"/>
                <a:gd name="connsiteX11" fmla="*/ 11358646 w 11964962"/>
                <a:gd name="connsiteY11" fmla="*/ 187696 h 2262197"/>
                <a:gd name="connsiteX12" fmla="*/ 10978921 w 11964962"/>
                <a:gd name="connsiteY12" fmla="*/ 799581 h 2262197"/>
                <a:gd name="connsiteX13" fmla="*/ 10522176 w 11964962"/>
                <a:gd name="connsiteY13" fmla="*/ 1413742 h 2262197"/>
                <a:gd name="connsiteX14" fmla="*/ 9954381 w 11964962"/>
                <a:gd name="connsiteY14" fmla="*/ 1370525 h 2262197"/>
                <a:gd name="connsiteX15" fmla="*/ 9447484 w 11964962"/>
                <a:gd name="connsiteY15" fmla="*/ 810956 h 2262197"/>
                <a:gd name="connsiteX16" fmla="*/ 9035519 w 11964962"/>
                <a:gd name="connsiteY16" fmla="*/ 299156 h 2262197"/>
                <a:gd name="connsiteX17" fmla="*/ 8142648 w 11964962"/>
                <a:gd name="connsiteY17" fmla="*/ 212886 h 2262197"/>
                <a:gd name="connsiteX0" fmla="*/ 60187 w 3882501"/>
                <a:gd name="connsiteY0" fmla="*/ 212886 h 2262197"/>
                <a:gd name="connsiteX1" fmla="*/ 125682 w 3882501"/>
                <a:gd name="connsiteY1" fmla="*/ 537465 h 2262197"/>
                <a:gd name="connsiteX2" fmla="*/ 485158 w 3882501"/>
                <a:gd name="connsiteY2" fmla="*/ 1016825 h 2262197"/>
                <a:gd name="connsiteX3" fmla="*/ 1055154 w 3882501"/>
                <a:gd name="connsiteY3" fmla="*/ 1843657 h 2262197"/>
                <a:gd name="connsiteX4" fmla="*/ 1986554 w 3882501"/>
                <a:gd name="connsiteY4" fmla="*/ 2262196 h 2262197"/>
                <a:gd name="connsiteX5" fmla="*/ 3032588 w 3882501"/>
                <a:gd name="connsiteY5" fmla="*/ 1843659 h 2262197"/>
                <a:gd name="connsiteX6" fmla="*/ 3323519 w 3882501"/>
                <a:gd name="connsiteY6" fmla="*/ 1197924 h 2262197"/>
                <a:gd name="connsiteX7" fmla="*/ 3634415 w 3882501"/>
                <a:gd name="connsiteY7" fmla="*/ 751817 h 2262197"/>
                <a:gd name="connsiteX8" fmla="*/ 3882501 w 3882501"/>
                <a:gd name="connsiteY8" fmla="*/ 451503 h 2262197"/>
                <a:gd name="connsiteX9" fmla="*/ 3882501 w 3882501"/>
                <a:gd name="connsiteY9" fmla="*/ 13121 h 2262197"/>
                <a:gd name="connsiteX10" fmla="*/ 3276185 w 3882501"/>
                <a:gd name="connsiteY10" fmla="*/ 187696 h 2262197"/>
                <a:gd name="connsiteX11" fmla="*/ 2896460 w 3882501"/>
                <a:gd name="connsiteY11" fmla="*/ 799581 h 2262197"/>
                <a:gd name="connsiteX12" fmla="*/ 2439715 w 3882501"/>
                <a:gd name="connsiteY12" fmla="*/ 1413742 h 2262197"/>
                <a:gd name="connsiteX13" fmla="*/ 1871920 w 3882501"/>
                <a:gd name="connsiteY13" fmla="*/ 1370525 h 2262197"/>
                <a:gd name="connsiteX14" fmla="*/ 1365023 w 3882501"/>
                <a:gd name="connsiteY14" fmla="*/ 810956 h 2262197"/>
                <a:gd name="connsiteX15" fmla="*/ 953058 w 3882501"/>
                <a:gd name="connsiteY15" fmla="*/ 299156 h 2262197"/>
                <a:gd name="connsiteX16" fmla="*/ 60187 w 3882501"/>
                <a:gd name="connsiteY16" fmla="*/ 212886 h 2262197"/>
                <a:gd name="connsiteX0" fmla="*/ 60187 w 3882501"/>
                <a:gd name="connsiteY0" fmla="*/ 212886 h 2262197"/>
                <a:gd name="connsiteX1" fmla="*/ 125682 w 3882501"/>
                <a:gd name="connsiteY1" fmla="*/ 537465 h 2262197"/>
                <a:gd name="connsiteX2" fmla="*/ 485158 w 3882501"/>
                <a:gd name="connsiteY2" fmla="*/ 1016825 h 2262197"/>
                <a:gd name="connsiteX3" fmla="*/ 1055154 w 3882501"/>
                <a:gd name="connsiteY3" fmla="*/ 1843657 h 2262197"/>
                <a:gd name="connsiteX4" fmla="*/ 1986554 w 3882501"/>
                <a:gd name="connsiteY4" fmla="*/ 2262196 h 2262197"/>
                <a:gd name="connsiteX5" fmla="*/ 3032588 w 3882501"/>
                <a:gd name="connsiteY5" fmla="*/ 1843659 h 2262197"/>
                <a:gd name="connsiteX6" fmla="*/ 3323519 w 3882501"/>
                <a:gd name="connsiteY6" fmla="*/ 1197924 h 2262197"/>
                <a:gd name="connsiteX7" fmla="*/ 3634415 w 3882501"/>
                <a:gd name="connsiteY7" fmla="*/ 751817 h 2262197"/>
                <a:gd name="connsiteX8" fmla="*/ 3882501 w 3882501"/>
                <a:gd name="connsiteY8" fmla="*/ 451503 h 2262197"/>
                <a:gd name="connsiteX9" fmla="*/ 3882501 w 3882501"/>
                <a:gd name="connsiteY9" fmla="*/ 13121 h 2262197"/>
                <a:gd name="connsiteX10" fmla="*/ 3276185 w 3882501"/>
                <a:gd name="connsiteY10" fmla="*/ 187696 h 2262197"/>
                <a:gd name="connsiteX11" fmla="*/ 2896460 w 3882501"/>
                <a:gd name="connsiteY11" fmla="*/ 799581 h 2262197"/>
                <a:gd name="connsiteX12" fmla="*/ 2439715 w 3882501"/>
                <a:gd name="connsiteY12" fmla="*/ 1413742 h 2262197"/>
                <a:gd name="connsiteX13" fmla="*/ 1871920 w 3882501"/>
                <a:gd name="connsiteY13" fmla="*/ 1370525 h 2262197"/>
                <a:gd name="connsiteX14" fmla="*/ 1579966 w 3882501"/>
                <a:gd name="connsiteY14" fmla="*/ 185419 h 2262197"/>
                <a:gd name="connsiteX15" fmla="*/ 953058 w 3882501"/>
                <a:gd name="connsiteY15" fmla="*/ 299156 h 2262197"/>
                <a:gd name="connsiteX16" fmla="*/ 60187 w 3882501"/>
                <a:gd name="connsiteY16" fmla="*/ 212886 h 2262197"/>
                <a:gd name="connsiteX0" fmla="*/ 62173 w 3884487"/>
                <a:gd name="connsiteY0" fmla="*/ 212886 h 2262197"/>
                <a:gd name="connsiteX1" fmla="*/ 127668 w 3884487"/>
                <a:gd name="connsiteY1" fmla="*/ 537465 h 2262197"/>
                <a:gd name="connsiteX2" fmla="*/ 487144 w 3884487"/>
                <a:gd name="connsiteY2" fmla="*/ 1016825 h 2262197"/>
                <a:gd name="connsiteX3" fmla="*/ 1057140 w 3884487"/>
                <a:gd name="connsiteY3" fmla="*/ 1843657 h 2262197"/>
                <a:gd name="connsiteX4" fmla="*/ 1988540 w 3884487"/>
                <a:gd name="connsiteY4" fmla="*/ 2262196 h 2262197"/>
                <a:gd name="connsiteX5" fmla="*/ 3034574 w 3884487"/>
                <a:gd name="connsiteY5" fmla="*/ 1843659 h 2262197"/>
                <a:gd name="connsiteX6" fmla="*/ 3325505 w 3884487"/>
                <a:gd name="connsiteY6" fmla="*/ 1197924 h 2262197"/>
                <a:gd name="connsiteX7" fmla="*/ 3636401 w 3884487"/>
                <a:gd name="connsiteY7" fmla="*/ 751817 h 2262197"/>
                <a:gd name="connsiteX8" fmla="*/ 3884487 w 3884487"/>
                <a:gd name="connsiteY8" fmla="*/ 451503 h 2262197"/>
                <a:gd name="connsiteX9" fmla="*/ 3884487 w 3884487"/>
                <a:gd name="connsiteY9" fmla="*/ 13121 h 2262197"/>
                <a:gd name="connsiteX10" fmla="*/ 3278171 w 3884487"/>
                <a:gd name="connsiteY10" fmla="*/ 187696 h 2262197"/>
                <a:gd name="connsiteX11" fmla="*/ 2898446 w 3884487"/>
                <a:gd name="connsiteY11" fmla="*/ 799581 h 2262197"/>
                <a:gd name="connsiteX12" fmla="*/ 2441701 w 3884487"/>
                <a:gd name="connsiteY12" fmla="*/ 1413742 h 2262197"/>
                <a:gd name="connsiteX13" fmla="*/ 1873906 w 3884487"/>
                <a:gd name="connsiteY13" fmla="*/ 1370525 h 2262197"/>
                <a:gd name="connsiteX14" fmla="*/ 1581952 w 3884487"/>
                <a:gd name="connsiteY14" fmla="*/ 185419 h 2262197"/>
                <a:gd name="connsiteX15" fmla="*/ 981914 w 3884487"/>
                <a:gd name="connsiteY15" fmla="*/ 94434 h 2262197"/>
                <a:gd name="connsiteX16" fmla="*/ 62173 w 3884487"/>
                <a:gd name="connsiteY16" fmla="*/ 212886 h 2262197"/>
                <a:gd name="connsiteX0" fmla="*/ 62175 w 3884485"/>
                <a:gd name="connsiteY0" fmla="*/ 30910 h 2262197"/>
                <a:gd name="connsiteX1" fmla="*/ 127666 w 3884485"/>
                <a:gd name="connsiteY1" fmla="*/ 537465 h 2262197"/>
                <a:gd name="connsiteX2" fmla="*/ 487142 w 3884485"/>
                <a:gd name="connsiteY2" fmla="*/ 1016825 h 2262197"/>
                <a:gd name="connsiteX3" fmla="*/ 1057138 w 3884485"/>
                <a:gd name="connsiteY3" fmla="*/ 1843657 h 2262197"/>
                <a:gd name="connsiteX4" fmla="*/ 1988538 w 3884485"/>
                <a:gd name="connsiteY4" fmla="*/ 2262196 h 2262197"/>
                <a:gd name="connsiteX5" fmla="*/ 3034572 w 3884485"/>
                <a:gd name="connsiteY5" fmla="*/ 1843659 h 2262197"/>
                <a:gd name="connsiteX6" fmla="*/ 3325503 w 3884485"/>
                <a:gd name="connsiteY6" fmla="*/ 1197924 h 2262197"/>
                <a:gd name="connsiteX7" fmla="*/ 3636399 w 3884485"/>
                <a:gd name="connsiteY7" fmla="*/ 751817 h 2262197"/>
                <a:gd name="connsiteX8" fmla="*/ 3884485 w 3884485"/>
                <a:gd name="connsiteY8" fmla="*/ 451503 h 2262197"/>
                <a:gd name="connsiteX9" fmla="*/ 3884485 w 3884485"/>
                <a:gd name="connsiteY9" fmla="*/ 13121 h 2262197"/>
                <a:gd name="connsiteX10" fmla="*/ 3278169 w 3884485"/>
                <a:gd name="connsiteY10" fmla="*/ 187696 h 2262197"/>
                <a:gd name="connsiteX11" fmla="*/ 2898444 w 3884485"/>
                <a:gd name="connsiteY11" fmla="*/ 799581 h 2262197"/>
                <a:gd name="connsiteX12" fmla="*/ 2441699 w 3884485"/>
                <a:gd name="connsiteY12" fmla="*/ 1413742 h 2262197"/>
                <a:gd name="connsiteX13" fmla="*/ 1873904 w 3884485"/>
                <a:gd name="connsiteY13" fmla="*/ 1370525 h 2262197"/>
                <a:gd name="connsiteX14" fmla="*/ 1581950 w 3884485"/>
                <a:gd name="connsiteY14" fmla="*/ 185419 h 2262197"/>
                <a:gd name="connsiteX15" fmla="*/ 981912 w 3884485"/>
                <a:gd name="connsiteY15" fmla="*/ 94434 h 2262197"/>
                <a:gd name="connsiteX16" fmla="*/ 62175 w 3884485"/>
                <a:gd name="connsiteY16" fmla="*/ 30910 h 2262197"/>
                <a:gd name="connsiteX0" fmla="*/ 61263 w 3883573"/>
                <a:gd name="connsiteY0" fmla="*/ 30910 h 2262197"/>
                <a:gd name="connsiteX1" fmla="*/ 126754 w 3883573"/>
                <a:gd name="connsiteY1" fmla="*/ 537465 h 2262197"/>
                <a:gd name="connsiteX2" fmla="*/ 459363 w 3883573"/>
                <a:gd name="connsiteY2" fmla="*/ 1062319 h 2262197"/>
                <a:gd name="connsiteX3" fmla="*/ 1056226 w 3883573"/>
                <a:gd name="connsiteY3" fmla="*/ 1843657 h 2262197"/>
                <a:gd name="connsiteX4" fmla="*/ 1987626 w 3883573"/>
                <a:gd name="connsiteY4" fmla="*/ 2262196 h 2262197"/>
                <a:gd name="connsiteX5" fmla="*/ 3033660 w 3883573"/>
                <a:gd name="connsiteY5" fmla="*/ 1843659 h 2262197"/>
                <a:gd name="connsiteX6" fmla="*/ 3324591 w 3883573"/>
                <a:gd name="connsiteY6" fmla="*/ 1197924 h 2262197"/>
                <a:gd name="connsiteX7" fmla="*/ 3635487 w 3883573"/>
                <a:gd name="connsiteY7" fmla="*/ 751817 h 2262197"/>
                <a:gd name="connsiteX8" fmla="*/ 3883573 w 3883573"/>
                <a:gd name="connsiteY8" fmla="*/ 451503 h 2262197"/>
                <a:gd name="connsiteX9" fmla="*/ 3883573 w 3883573"/>
                <a:gd name="connsiteY9" fmla="*/ 13121 h 2262197"/>
                <a:gd name="connsiteX10" fmla="*/ 3277257 w 3883573"/>
                <a:gd name="connsiteY10" fmla="*/ 187696 h 2262197"/>
                <a:gd name="connsiteX11" fmla="*/ 2897532 w 3883573"/>
                <a:gd name="connsiteY11" fmla="*/ 799581 h 2262197"/>
                <a:gd name="connsiteX12" fmla="*/ 2440787 w 3883573"/>
                <a:gd name="connsiteY12" fmla="*/ 1413742 h 2262197"/>
                <a:gd name="connsiteX13" fmla="*/ 1872992 w 3883573"/>
                <a:gd name="connsiteY13" fmla="*/ 1370525 h 2262197"/>
                <a:gd name="connsiteX14" fmla="*/ 1581038 w 3883573"/>
                <a:gd name="connsiteY14" fmla="*/ 185419 h 2262197"/>
                <a:gd name="connsiteX15" fmla="*/ 981000 w 3883573"/>
                <a:gd name="connsiteY15" fmla="*/ 94434 h 2262197"/>
                <a:gd name="connsiteX16" fmla="*/ 61263 w 3883573"/>
                <a:gd name="connsiteY16" fmla="*/ 30910 h 2262197"/>
                <a:gd name="connsiteX0" fmla="*/ 61263 w 3883573"/>
                <a:gd name="connsiteY0" fmla="*/ 30910 h 2277068"/>
                <a:gd name="connsiteX1" fmla="*/ 126754 w 3883573"/>
                <a:gd name="connsiteY1" fmla="*/ 537465 h 2277068"/>
                <a:gd name="connsiteX2" fmla="*/ 459363 w 3883573"/>
                <a:gd name="connsiteY2" fmla="*/ 1062319 h 2277068"/>
                <a:gd name="connsiteX3" fmla="*/ 1235346 w 3883573"/>
                <a:gd name="connsiteY3" fmla="*/ 1252241 h 2277068"/>
                <a:gd name="connsiteX4" fmla="*/ 1987626 w 3883573"/>
                <a:gd name="connsiteY4" fmla="*/ 2262196 h 2277068"/>
                <a:gd name="connsiteX5" fmla="*/ 3033660 w 3883573"/>
                <a:gd name="connsiteY5" fmla="*/ 1843659 h 2277068"/>
                <a:gd name="connsiteX6" fmla="*/ 3324591 w 3883573"/>
                <a:gd name="connsiteY6" fmla="*/ 1197924 h 2277068"/>
                <a:gd name="connsiteX7" fmla="*/ 3635487 w 3883573"/>
                <a:gd name="connsiteY7" fmla="*/ 751817 h 2277068"/>
                <a:gd name="connsiteX8" fmla="*/ 3883573 w 3883573"/>
                <a:gd name="connsiteY8" fmla="*/ 451503 h 2277068"/>
                <a:gd name="connsiteX9" fmla="*/ 3883573 w 3883573"/>
                <a:gd name="connsiteY9" fmla="*/ 13121 h 2277068"/>
                <a:gd name="connsiteX10" fmla="*/ 3277257 w 3883573"/>
                <a:gd name="connsiteY10" fmla="*/ 187696 h 2277068"/>
                <a:gd name="connsiteX11" fmla="*/ 2897532 w 3883573"/>
                <a:gd name="connsiteY11" fmla="*/ 799581 h 2277068"/>
                <a:gd name="connsiteX12" fmla="*/ 2440787 w 3883573"/>
                <a:gd name="connsiteY12" fmla="*/ 1413742 h 2277068"/>
                <a:gd name="connsiteX13" fmla="*/ 1872992 w 3883573"/>
                <a:gd name="connsiteY13" fmla="*/ 1370525 h 2277068"/>
                <a:gd name="connsiteX14" fmla="*/ 1581038 w 3883573"/>
                <a:gd name="connsiteY14" fmla="*/ 185419 h 2277068"/>
                <a:gd name="connsiteX15" fmla="*/ 981000 w 3883573"/>
                <a:gd name="connsiteY15" fmla="*/ 94434 h 2277068"/>
                <a:gd name="connsiteX16" fmla="*/ 61263 w 3883573"/>
                <a:gd name="connsiteY16" fmla="*/ 30910 h 2277068"/>
                <a:gd name="connsiteX0" fmla="*/ 61263 w 3883573"/>
                <a:gd name="connsiteY0" fmla="*/ 30910 h 2277068"/>
                <a:gd name="connsiteX1" fmla="*/ 126754 w 3883573"/>
                <a:gd name="connsiteY1" fmla="*/ 537465 h 2277068"/>
                <a:gd name="connsiteX2" fmla="*/ 459363 w 3883573"/>
                <a:gd name="connsiteY2" fmla="*/ 1062319 h 2277068"/>
                <a:gd name="connsiteX3" fmla="*/ 1235346 w 3883573"/>
                <a:gd name="connsiteY3" fmla="*/ 1252241 h 2277068"/>
                <a:gd name="connsiteX4" fmla="*/ 1987626 w 3883573"/>
                <a:gd name="connsiteY4" fmla="*/ 2262196 h 2277068"/>
                <a:gd name="connsiteX5" fmla="*/ 3033660 w 3883573"/>
                <a:gd name="connsiteY5" fmla="*/ 1843659 h 2277068"/>
                <a:gd name="connsiteX6" fmla="*/ 3324591 w 3883573"/>
                <a:gd name="connsiteY6" fmla="*/ 1197924 h 2277068"/>
                <a:gd name="connsiteX7" fmla="*/ 3635487 w 3883573"/>
                <a:gd name="connsiteY7" fmla="*/ 751817 h 2277068"/>
                <a:gd name="connsiteX8" fmla="*/ 3883573 w 3883573"/>
                <a:gd name="connsiteY8" fmla="*/ 451503 h 2277068"/>
                <a:gd name="connsiteX9" fmla="*/ 3883573 w 3883573"/>
                <a:gd name="connsiteY9" fmla="*/ 13121 h 2277068"/>
                <a:gd name="connsiteX10" fmla="*/ 3277257 w 3883573"/>
                <a:gd name="connsiteY10" fmla="*/ 187696 h 2277068"/>
                <a:gd name="connsiteX11" fmla="*/ 2897532 w 3883573"/>
                <a:gd name="connsiteY11" fmla="*/ 799581 h 2277068"/>
                <a:gd name="connsiteX12" fmla="*/ 2440787 w 3883573"/>
                <a:gd name="connsiteY12" fmla="*/ 1413742 h 2277068"/>
                <a:gd name="connsiteX13" fmla="*/ 2320781 w 3883573"/>
                <a:gd name="connsiteY13" fmla="*/ 210442 h 2277068"/>
                <a:gd name="connsiteX14" fmla="*/ 1581038 w 3883573"/>
                <a:gd name="connsiteY14" fmla="*/ 185419 h 2277068"/>
                <a:gd name="connsiteX15" fmla="*/ 981000 w 3883573"/>
                <a:gd name="connsiteY15" fmla="*/ 94434 h 2277068"/>
                <a:gd name="connsiteX16" fmla="*/ 61263 w 3883573"/>
                <a:gd name="connsiteY16" fmla="*/ 30910 h 2277068"/>
                <a:gd name="connsiteX0" fmla="*/ 61263 w 3883573"/>
                <a:gd name="connsiteY0" fmla="*/ 30910 h 2277068"/>
                <a:gd name="connsiteX1" fmla="*/ 126754 w 3883573"/>
                <a:gd name="connsiteY1" fmla="*/ 537465 h 2277068"/>
                <a:gd name="connsiteX2" fmla="*/ 459363 w 3883573"/>
                <a:gd name="connsiteY2" fmla="*/ 1062319 h 2277068"/>
                <a:gd name="connsiteX3" fmla="*/ 1235346 w 3883573"/>
                <a:gd name="connsiteY3" fmla="*/ 1252241 h 2277068"/>
                <a:gd name="connsiteX4" fmla="*/ 1987626 w 3883573"/>
                <a:gd name="connsiteY4" fmla="*/ 2262196 h 2277068"/>
                <a:gd name="connsiteX5" fmla="*/ 3033660 w 3883573"/>
                <a:gd name="connsiteY5" fmla="*/ 1843659 h 2277068"/>
                <a:gd name="connsiteX6" fmla="*/ 3324591 w 3883573"/>
                <a:gd name="connsiteY6" fmla="*/ 1197924 h 2277068"/>
                <a:gd name="connsiteX7" fmla="*/ 3635487 w 3883573"/>
                <a:gd name="connsiteY7" fmla="*/ 751817 h 2277068"/>
                <a:gd name="connsiteX8" fmla="*/ 3883573 w 3883573"/>
                <a:gd name="connsiteY8" fmla="*/ 451503 h 2277068"/>
                <a:gd name="connsiteX9" fmla="*/ 3883573 w 3883573"/>
                <a:gd name="connsiteY9" fmla="*/ 13121 h 2277068"/>
                <a:gd name="connsiteX10" fmla="*/ 3277257 w 3883573"/>
                <a:gd name="connsiteY10" fmla="*/ 187696 h 2277068"/>
                <a:gd name="connsiteX11" fmla="*/ 2897532 w 3883573"/>
                <a:gd name="connsiteY11" fmla="*/ 799581 h 2277068"/>
                <a:gd name="connsiteX12" fmla="*/ 2320781 w 3883573"/>
                <a:gd name="connsiteY12" fmla="*/ 210442 h 2277068"/>
                <a:gd name="connsiteX13" fmla="*/ 1581038 w 3883573"/>
                <a:gd name="connsiteY13" fmla="*/ 185419 h 2277068"/>
                <a:gd name="connsiteX14" fmla="*/ 981000 w 3883573"/>
                <a:gd name="connsiteY14" fmla="*/ 94434 h 2277068"/>
                <a:gd name="connsiteX15" fmla="*/ 61263 w 3883573"/>
                <a:gd name="connsiteY15" fmla="*/ 30910 h 2277068"/>
                <a:gd name="connsiteX0" fmla="*/ 61263 w 3883573"/>
                <a:gd name="connsiteY0" fmla="*/ 30910 h 2277068"/>
                <a:gd name="connsiteX1" fmla="*/ 126754 w 3883573"/>
                <a:gd name="connsiteY1" fmla="*/ 537465 h 2277068"/>
                <a:gd name="connsiteX2" fmla="*/ 459363 w 3883573"/>
                <a:gd name="connsiteY2" fmla="*/ 1062319 h 2277068"/>
                <a:gd name="connsiteX3" fmla="*/ 1235346 w 3883573"/>
                <a:gd name="connsiteY3" fmla="*/ 1252241 h 2277068"/>
                <a:gd name="connsiteX4" fmla="*/ 1987626 w 3883573"/>
                <a:gd name="connsiteY4" fmla="*/ 2262196 h 2277068"/>
                <a:gd name="connsiteX5" fmla="*/ 3033660 w 3883573"/>
                <a:gd name="connsiteY5" fmla="*/ 1843659 h 2277068"/>
                <a:gd name="connsiteX6" fmla="*/ 3324591 w 3883573"/>
                <a:gd name="connsiteY6" fmla="*/ 1197924 h 2277068"/>
                <a:gd name="connsiteX7" fmla="*/ 3635487 w 3883573"/>
                <a:gd name="connsiteY7" fmla="*/ 751817 h 2277068"/>
                <a:gd name="connsiteX8" fmla="*/ 3883573 w 3883573"/>
                <a:gd name="connsiteY8" fmla="*/ 451503 h 2277068"/>
                <a:gd name="connsiteX9" fmla="*/ 3883573 w 3883573"/>
                <a:gd name="connsiteY9" fmla="*/ 13121 h 2277068"/>
                <a:gd name="connsiteX10" fmla="*/ 3277257 w 3883573"/>
                <a:gd name="connsiteY10" fmla="*/ 187696 h 2277068"/>
                <a:gd name="connsiteX11" fmla="*/ 2790063 w 3883573"/>
                <a:gd name="connsiteY11" fmla="*/ 287779 h 2277068"/>
                <a:gd name="connsiteX12" fmla="*/ 2320781 w 3883573"/>
                <a:gd name="connsiteY12" fmla="*/ 210442 h 2277068"/>
                <a:gd name="connsiteX13" fmla="*/ 1581038 w 3883573"/>
                <a:gd name="connsiteY13" fmla="*/ 185419 h 2277068"/>
                <a:gd name="connsiteX14" fmla="*/ 981000 w 3883573"/>
                <a:gd name="connsiteY14" fmla="*/ 94434 h 2277068"/>
                <a:gd name="connsiteX15" fmla="*/ 61263 w 3883573"/>
                <a:gd name="connsiteY15" fmla="*/ 30910 h 2277068"/>
                <a:gd name="connsiteX0" fmla="*/ 61263 w 3883573"/>
                <a:gd name="connsiteY0" fmla="*/ 30910 h 1851428"/>
                <a:gd name="connsiteX1" fmla="*/ 126754 w 3883573"/>
                <a:gd name="connsiteY1" fmla="*/ 537465 h 1851428"/>
                <a:gd name="connsiteX2" fmla="*/ 459363 w 3883573"/>
                <a:gd name="connsiteY2" fmla="*/ 1062319 h 1851428"/>
                <a:gd name="connsiteX3" fmla="*/ 1235346 w 3883573"/>
                <a:gd name="connsiteY3" fmla="*/ 1252241 h 1851428"/>
                <a:gd name="connsiteX4" fmla="*/ 2023449 w 3883573"/>
                <a:gd name="connsiteY4" fmla="*/ 999753 h 1851428"/>
                <a:gd name="connsiteX5" fmla="*/ 3033660 w 3883573"/>
                <a:gd name="connsiteY5" fmla="*/ 1843659 h 1851428"/>
                <a:gd name="connsiteX6" fmla="*/ 3324591 w 3883573"/>
                <a:gd name="connsiteY6" fmla="*/ 1197924 h 1851428"/>
                <a:gd name="connsiteX7" fmla="*/ 3635487 w 3883573"/>
                <a:gd name="connsiteY7" fmla="*/ 751817 h 1851428"/>
                <a:gd name="connsiteX8" fmla="*/ 3883573 w 3883573"/>
                <a:gd name="connsiteY8" fmla="*/ 451503 h 1851428"/>
                <a:gd name="connsiteX9" fmla="*/ 3883573 w 3883573"/>
                <a:gd name="connsiteY9" fmla="*/ 13121 h 1851428"/>
                <a:gd name="connsiteX10" fmla="*/ 3277257 w 3883573"/>
                <a:gd name="connsiteY10" fmla="*/ 187696 h 1851428"/>
                <a:gd name="connsiteX11" fmla="*/ 2790063 w 3883573"/>
                <a:gd name="connsiteY11" fmla="*/ 287779 h 1851428"/>
                <a:gd name="connsiteX12" fmla="*/ 2320781 w 3883573"/>
                <a:gd name="connsiteY12" fmla="*/ 210442 h 1851428"/>
                <a:gd name="connsiteX13" fmla="*/ 1581038 w 3883573"/>
                <a:gd name="connsiteY13" fmla="*/ 185419 h 1851428"/>
                <a:gd name="connsiteX14" fmla="*/ 981000 w 3883573"/>
                <a:gd name="connsiteY14" fmla="*/ 94434 h 1851428"/>
                <a:gd name="connsiteX15" fmla="*/ 61263 w 3883573"/>
                <a:gd name="connsiteY15" fmla="*/ 30910 h 1851428"/>
                <a:gd name="connsiteX0" fmla="*/ 61263 w 3883573"/>
                <a:gd name="connsiteY0" fmla="*/ 30910 h 1847024"/>
                <a:gd name="connsiteX1" fmla="*/ 126754 w 3883573"/>
                <a:gd name="connsiteY1" fmla="*/ 537465 h 1847024"/>
                <a:gd name="connsiteX2" fmla="*/ 459363 w 3883573"/>
                <a:gd name="connsiteY2" fmla="*/ 1062319 h 1847024"/>
                <a:gd name="connsiteX3" fmla="*/ 1235346 w 3883573"/>
                <a:gd name="connsiteY3" fmla="*/ 1252241 h 1847024"/>
                <a:gd name="connsiteX4" fmla="*/ 2023449 w 3883573"/>
                <a:gd name="connsiteY4" fmla="*/ 999753 h 1847024"/>
                <a:gd name="connsiteX5" fmla="*/ 2490859 w 3883573"/>
                <a:gd name="connsiteY5" fmla="*/ 1155322 h 1847024"/>
                <a:gd name="connsiteX6" fmla="*/ 3033660 w 3883573"/>
                <a:gd name="connsiteY6" fmla="*/ 1843659 h 1847024"/>
                <a:gd name="connsiteX7" fmla="*/ 3324591 w 3883573"/>
                <a:gd name="connsiteY7" fmla="*/ 1197924 h 1847024"/>
                <a:gd name="connsiteX8" fmla="*/ 3635487 w 3883573"/>
                <a:gd name="connsiteY8" fmla="*/ 751817 h 1847024"/>
                <a:gd name="connsiteX9" fmla="*/ 3883573 w 3883573"/>
                <a:gd name="connsiteY9" fmla="*/ 451503 h 1847024"/>
                <a:gd name="connsiteX10" fmla="*/ 3883573 w 3883573"/>
                <a:gd name="connsiteY10" fmla="*/ 13121 h 1847024"/>
                <a:gd name="connsiteX11" fmla="*/ 3277257 w 3883573"/>
                <a:gd name="connsiteY11" fmla="*/ 187696 h 1847024"/>
                <a:gd name="connsiteX12" fmla="*/ 2790063 w 3883573"/>
                <a:gd name="connsiteY12" fmla="*/ 287779 h 1847024"/>
                <a:gd name="connsiteX13" fmla="*/ 2320781 w 3883573"/>
                <a:gd name="connsiteY13" fmla="*/ 210442 h 1847024"/>
                <a:gd name="connsiteX14" fmla="*/ 1581038 w 3883573"/>
                <a:gd name="connsiteY14" fmla="*/ 185419 h 1847024"/>
                <a:gd name="connsiteX15" fmla="*/ 981000 w 3883573"/>
                <a:gd name="connsiteY15" fmla="*/ 94434 h 1847024"/>
                <a:gd name="connsiteX16" fmla="*/ 61263 w 3883573"/>
                <a:gd name="connsiteY16" fmla="*/ 30910 h 1847024"/>
                <a:gd name="connsiteX0" fmla="*/ 61263 w 3883573"/>
                <a:gd name="connsiteY0" fmla="*/ 30910 h 1847024"/>
                <a:gd name="connsiteX1" fmla="*/ 126754 w 3883573"/>
                <a:gd name="connsiteY1" fmla="*/ 537465 h 1847024"/>
                <a:gd name="connsiteX2" fmla="*/ 459363 w 3883573"/>
                <a:gd name="connsiteY2" fmla="*/ 1062319 h 1847024"/>
                <a:gd name="connsiteX3" fmla="*/ 1235346 w 3883573"/>
                <a:gd name="connsiteY3" fmla="*/ 1252241 h 1847024"/>
                <a:gd name="connsiteX4" fmla="*/ 1736869 w 3883573"/>
                <a:gd name="connsiteY4" fmla="*/ 1011123 h 1847024"/>
                <a:gd name="connsiteX5" fmla="*/ 2490859 w 3883573"/>
                <a:gd name="connsiteY5" fmla="*/ 1155322 h 1847024"/>
                <a:gd name="connsiteX6" fmla="*/ 3033660 w 3883573"/>
                <a:gd name="connsiteY6" fmla="*/ 1843659 h 1847024"/>
                <a:gd name="connsiteX7" fmla="*/ 3324591 w 3883573"/>
                <a:gd name="connsiteY7" fmla="*/ 1197924 h 1847024"/>
                <a:gd name="connsiteX8" fmla="*/ 3635487 w 3883573"/>
                <a:gd name="connsiteY8" fmla="*/ 751817 h 1847024"/>
                <a:gd name="connsiteX9" fmla="*/ 3883573 w 3883573"/>
                <a:gd name="connsiteY9" fmla="*/ 451503 h 1847024"/>
                <a:gd name="connsiteX10" fmla="*/ 3883573 w 3883573"/>
                <a:gd name="connsiteY10" fmla="*/ 13121 h 1847024"/>
                <a:gd name="connsiteX11" fmla="*/ 3277257 w 3883573"/>
                <a:gd name="connsiteY11" fmla="*/ 187696 h 1847024"/>
                <a:gd name="connsiteX12" fmla="*/ 2790063 w 3883573"/>
                <a:gd name="connsiteY12" fmla="*/ 287779 h 1847024"/>
                <a:gd name="connsiteX13" fmla="*/ 2320781 w 3883573"/>
                <a:gd name="connsiteY13" fmla="*/ 210442 h 1847024"/>
                <a:gd name="connsiteX14" fmla="*/ 1581038 w 3883573"/>
                <a:gd name="connsiteY14" fmla="*/ 185419 h 1847024"/>
                <a:gd name="connsiteX15" fmla="*/ 981000 w 3883573"/>
                <a:gd name="connsiteY15" fmla="*/ 94434 h 1847024"/>
                <a:gd name="connsiteX16" fmla="*/ 61263 w 3883573"/>
                <a:gd name="connsiteY16" fmla="*/ 30910 h 1847024"/>
                <a:gd name="connsiteX0" fmla="*/ 61263 w 3883573"/>
                <a:gd name="connsiteY0" fmla="*/ 30910 h 1847024"/>
                <a:gd name="connsiteX1" fmla="*/ 126754 w 3883573"/>
                <a:gd name="connsiteY1" fmla="*/ 537465 h 1847024"/>
                <a:gd name="connsiteX2" fmla="*/ 459363 w 3883573"/>
                <a:gd name="connsiteY2" fmla="*/ 1062319 h 1847024"/>
                <a:gd name="connsiteX3" fmla="*/ 903987 w 3883573"/>
                <a:gd name="connsiteY3" fmla="*/ 1127135 h 1847024"/>
                <a:gd name="connsiteX4" fmla="*/ 1736869 w 3883573"/>
                <a:gd name="connsiteY4" fmla="*/ 1011123 h 1847024"/>
                <a:gd name="connsiteX5" fmla="*/ 2490859 w 3883573"/>
                <a:gd name="connsiteY5" fmla="*/ 1155322 h 1847024"/>
                <a:gd name="connsiteX6" fmla="*/ 3033660 w 3883573"/>
                <a:gd name="connsiteY6" fmla="*/ 1843659 h 1847024"/>
                <a:gd name="connsiteX7" fmla="*/ 3324591 w 3883573"/>
                <a:gd name="connsiteY7" fmla="*/ 1197924 h 1847024"/>
                <a:gd name="connsiteX8" fmla="*/ 3635487 w 3883573"/>
                <a:gd name="connsiteY8" fmla="*/ 751817 h 1847024"/>
                <a:gd name="connsiteX9" fmla="*/ 3883573 w 3883573"/>
                <a:gd name="connsiteY9" fmla="*/ 451503 h 1847024"/>
                <a:gd name="connsiteX10" fmla="*/ 3883573 w 3883573"/>
                <a:gd name="connsiteY10" fmla="*/ 13121 h 1847024"/>
                <a:gd name="connsiteX11" fmla="*/ 3277257 w 3883573"/>
                <a:gd name="connsiteY11" fmla="*/ 187696 h 1847024"/>
                <a:gd name="connsiteX12" fmla="*/ 2790063 w 3883573"/>
                <a:gd name="connsiteY12" fmla="*/ 287779 h 1847024"/>
                <a:gd name="connsiteX13" fmla="*/ 2320781 w 3883573"/>
                <a:gd name="connsiteY13" fmla="*/ 210442 h 1847024"/>
                <a:gd name="connsiteX14" fmla="*/ 1581038 w 3883573"/>
                <a:gd name="connsiteY14" fmla="*/ 185419 h 1847024"/>
                <a:gd name="connsiteX15" fmla="*/ 981000 w 3883573"/>
                <a:gd name="connsiteY15" fmla="*/ 94434 h 1847024"/>
                <a:gd name="connsiteX16" fmla="*/ 61263 w 3883573"/>
                <a:gd name="connsiteY16" fmla="*/ 30910 h 1847024"/>
                <a:gd name="connsiteX0" fmla="*/ 61263 w 3883573"/>
                <a:gd name="connsiteY0" fmla="*/ 30910 h 1847000"/>
                <a:gd name="connsiteX1" fmla="*/ 126754 w 3883573"/>
                <a:gd name="connsiteY1" fmla="*/ 537465 h 1847000"/>
                <a:gd name="connsiteX2" fmla="*/ 459363 w 3883573"/>
                <a:gd name="connsiteY2" fmla="*/ 1062319 h 1847000"/>
                <a:gd name="connsiteX3" fmla="*/ 903987 w 3883573"/>
                <a:gd name="connsiteY3" fmla="*/ 1127135 h 1847000"/>
                <a:gd name="connsiteX4" fmla="*/ 1736869 w 3883573"/>
                <a:gd name="connsiteY4" fmla="*/ 1011123 h 1847000"/>
                <a:gd name="connsiteX5" fmla="*/ 2069939 w 3883573"/>
                <a:gd name="connsiteY5" fmla="*/ 1166694 h 1847000"/>
                <a:gd name="connsiteX6" fmla="*/ 2490859 w 3883573"/>
                <a:gd name="connsiteY6" fmla="*/ 1155322 h 1847000"/>
                <a:gd name="connsiteX7" fmla="*/ 3033660 w 3883573"/>
                <a:gd name="connsiteY7" fmla="*/ 1843659 h 1847000"/>
                <a:gd name="connsiteX8" fmla="*/ 3324591 w 3883573"/>
                <a:gd name="connsiteY8" fmla="*/ 1197924 h 1847000"/>
                <a:gd name="connsiteX9" fmla="*/ 3635487 w 3883573"/>
                <a:gd name="connsiteY9" fmla="*/ 751817 h 1847000"/>
                <a:gd name="connsiteX10" fmla="*/ 3883573 w 3883573"/>
                <a:gd name="connsiteY10" fmla="*/ 451503 h 1847000"/>
                <a:gd name="connsiteX11" fmla="*/ 3883573 w 3883573"/>
                <a:gd name="connsiteY11" fmla="*/ 13121 h 1847000"/>
                <a:gd name="connsiteX12" fmla="*/ 3277257 w 3883573"/>
                <a:gd name="connsiteY12" fmla="*/ 187696 h 1847000"/>
                <a:gd name="connsiteX13" fmla="*/ 2790063 w 3883573"/>
                <a:gd name="connsiteY13" fmla="*/ 287779 h 1847000"/>
                <a:gd name="connsiteX14" fmla="*/ 2320781 w 3883573"/>
                <a:gd name="connsiteY14" fmla="*/ 210442 h 1847000"/>
                <a:gd name="connsiteX15" fmla="*/ 1581038 w 3883573"/>
                <a:gd name="connsiteY15" fmla="*/ 185419 h 1847000"/>
                <a:gd name="connsiteX16" fmla="*/ 981000 w 3883573"/>
                <a:gd name="connsiteY16" fmla="*/ 94434 h 1847000"/>
                <a:gd name="connsiteX17" fmla="*/ 61263 w 3883573"/>
                <a:gd name="connsiteY17" fmla="*/ 30910 h 1847000"/>
                <a:gd name="connsiteX0" fmla="*/ 61263 w 3883573"/>
                <a:gd name="connsiteY0" fmla="*/ 30910 h 1220392"/>
                <a:gd name="connsiteX1" fmla="*/ 126754 w 3883573"/>
                <a:gd name="connsiteY1" fmla="*/ 537465 h 1220392"/>
                <a:gd name="connsiteX2" fmla="*/ 459363 w 3883573"/>
                <a:gd name="connsiteY2" fmla="*/ 1062319 h 1220392"/>
                <a:gd name="connsiteX3" fmla="*/ 903987 w 3883573"/>
                <a:gd name="connsiteY3" fmla="*/ 1127135 h 1220392"/>
                <a:gd name="connsiteX4" fmla="*/ 1736869 w 3883573"/>
                <a:gd name="connsiteY4" fmla="*/ 1011123 h 1220392"/>
                <a:gd name="connsiteX5" fmla="*/ 2069939 w 3883573"/>
                <a:gd name="connsiteY5" fmla="*/ 1166694 h 1220392"/>
                <a:gd name="connsiteX6" fmla="*/ 2490859 w 3883573"/>
                <a:gd name="connsiteY6" fmla="*/ 1155322 h 1220392"/>
                <a:gd name="connsiteX7" fmla="*/ 3324591 w 3883573"/>
                <a:gd name="connsiteY7" fmla="*/ 1197924 h 1220392"/>
                <a:gd name="connsiteX8" fmla="*/ 3635487 w 3883573"/>
                <a:gd name="connsiteY8" fmla="*/ 751817 h 1220392"/>
                <a:gd name="connsiteX9" fmla="*/ 3883573 w 3883573"/>
                <a:gd name="connsiteY9" fmla="*/ 451503 h 1220392"/>
                <a:gd name="connsiteX10" fmla="*/ 3883573 w 3883573"/>
                <a:gd name="connsiteY10" fmla="*/ 13121 h 1220392"/>
                <a:gd name="connsiteX11" fmla="*/ 3277257 w 3883573"/>
                <a:gd name="connsiteY11" fmla="*/ 187696 h 1220392"/>
                <a:gd name="connsiteX12" fmla="*/ 2790063 w 3883573"/>
                <a:gd name="connsiteY12" fmla="*/ 287779 h 1220392"/>
                <a:gd name="connsiteX13" fmla="*/ 2320781 w 3883573"/>
                <a:gd name="connsiteY13" fmla="*/ 210442 h 1220392"/>
                <a:gd name="connsiteX14" fmla="*/ 1581038 w 3883573"/>
                <a:gd name="connsiteY14" fmla="*/ 185419 h 1220392"/>
                <a:gd name="connsiteX15" fmla="*/ 981000 w 3883573"/>
                <a:gd name="connsiteY15" fmla="*/ 94434 h 1220392"/>
                <a:gd name="connsiteX16" fmla="*/ 61263 w 3883573"/>
                <a:gd name="connsiteY16" fmla="*/ 30910 h 1220392"/>
                <a:gd name="connsiteX0" fmla="*/ 61263 w 3883573"/>
                <a:gd name="connsiteY0" fmla="*/ 30910 h 1174361"/>
                <a:gd name="connsiteX1" fmla="*/ 126754 w 3883573"/>
                <a:gd name="connsiteY1" fmla="*/ 537465 h 1174361"/>
                <a:gd name="connsiteX2" fmla="*/ 459363 w 3883573"/>
                <a:gd name="connsiteY2" fmla="*/ 1062319 h 1174361"/>
                <a:gd name="connsiteX3" fmla="*/ 903987 w 3883573"/>
                <a:gd name="connsiteY3" fmla="*/ 1127135 h 1174361"/>
                <a:gd name="connsiteX4" fmla="*/ 1736869 w 3883573"/>
                <a:gd name="connsiteY4" fmla="*/ 1011123 h 1174361"/>
                <a:gd name="connsiteX5" fmla="*/ 2069939 w 3883573"/>
                <a:gd name="connsiteY5" fmla="*/ 1166694 h 1174361"/>
                <a:gd name="connsiteX6" fmla="*/ 2490859 w 3883573"/>
                <a:gd name="connsiteY6" fmla="*/ 1155322 h 1174361"/>
                <a:gd name="connsiteX7" fmla="*/ 3243989 w 3883573"/>
                <a:gd name="connsiteY7" fmla="*/ 959085 h 1174361"/>
                <a:gd name="connsiteX8" fmla="*/ 3635487 w 3883573"/>
                <a:gd name="connsiteY8" fmla="*/ 751817 h 1174361"/>
                <a:gd name="connsiteX9" fmla="*/ 3883573 w 3883573"/>
                <a:gd name="connsiteY9" fmla="*/ 451503 h 1174361"/>
                <a:gd name="connsiteX10" fmla="*/ 3883573 w 3883573"/>
                <a:gd name="connsiteY10" fmla="*/ 13121 h 1174361"/>
                <a:gd name="connsiteX11" fmla="*/ 3277257 w 3883573"/>
                <a:gd name="connsiteY11" fmla="*/ 187696 h 1174361"/>
                <a:gd name="connsiteX12" fmla="*/ 2790063 w 3883573"/>
                <a:gd name="connsiteY12" fmla="*/ 287779 h 1174361"/>
                <a:gd name="connsiteX13" fmla="*/ 2320781 w 3883573"/>
                <a:gd name="connsiteY13" fmla="*/ 210442 h 1174361"/>
                <a:gd name="connsiteX14" fmla="*/ 1581038 w 3883573"/>
                <a:gd name="connsiteY14" fmla="*/ 185419 h 1174361"/>
                <a:gd name="connsiteX15" fmla="*/ 981000 w 3883573"/>
                <a:gd name="connsiteY15" fmla="*/ 94434 h 1174361"/>
                <a:gd name="connsiteX16" fmla="*/ 61263 w 3883573"/>
                <a:gd name="connsiteY16" fmla="*/ 30910 h 1174361"/>
                <a:gd name="connsiteX0" fmla="*/ 61263 w 3883573"/>
                <a:gd name="connsiteY0" fmla="*/ 30910 h 1174361"/>
                <a:gd name="connsiteX1" fmla="*/ 126754 w 3883573"/>
                <a:gd name="connsiteY1" fmla="*/ 537465 h 1174361"/>
                <a:gd name="connsiteX2" fmla="*/ 459363 w 3883573"/>
                <a:gd name="connsiteY2" fmla="*/ 1062319 h 1174361"/>
                <a:gd name="connsiteX3" fmla="*/ 903987 w 3883573"/>
                <a:gd name="connsiteY3" fmla="*/ 1127135 h 1174361"/>
                <a:gd name="connsiteX4" fmla="*/ 1736869 w 3883573"/>
                <a:gd name="connsiteY4" fmla="*/ 1011123 h 1174361"/>
                <a:gd name="connsiteX5" fmla="*/ 2069939 w 3883573"/>
                <a:gd name="connsiteY5" fmla="*/ 1166694 h 1174361"/>
                <a:gd name="connsiteX6" fmla="*/ 2490859 w 3883573"/>
                <a:gd name="connsiteY6" fmla="*/ 1155322 h 1174361"/>
                <a:gd name="connsiteX7" fmla="*/ 3360418 w 3883573"/>
                <a:gd name="connsiteY7" fmla="*/ 1050071 h 1174361"/>
                <a:gd name="connsiteX8" fmla="*/ 3635487 w 3883573"/>
                <a:gd name="connsiteY8" fmla="*/ 751817 h 1174361"/>
                <a:gd name="connsiteX9" fmla="*/ 3883573 w 3883573"/>
                <a:gd name="connsiteY9" fmla="*/ 451503 h 1174361"/>
                <a:gd name="connsiteX10" fmla="*/ 3883573 w 3883573"/>
                <a:gd name="connsiteY10" fmla="*/ 13121 h 1174361"/>
                <a:gd name="connsiteX11" fmla="*/ 3277257 w 3883573"/>
                <a:gd name="connsiteY11" fmla="*/ 187696 h 1174361"/>
                <a:gd name="connsiteX12" fmla="*/ 2790063 w 3883573"/>
                <a:gd name="connsiteY12" fmla="*/ 287779 h 1174361"/>
                <a:gd name="connsiteX13" fmla="*/ 2320781 w 3883573"/>
                <a:gd name="connsiteY13" fmla="*/ 210442 h 1174361"/>
                <a:gd name="connsiteX14" fmla="*/ 1581038 w 3883573"/>
                <a:gd name="connsiteY14" fmla="*/ 185419 h 1174361"/>
                <a:gd name="connsiteX15" fmla="*/ 981000 w 3883573"/>
                <a:gd name="connsiteY15" fmla="*/ 94434 h 1174361"/>
                <a:gd name="connsiteX16" fmla="*/ 61263 w 3883573"/>
                <a:gd name="connsiteY16" fmla="*/ 30910 h 1174361"/>
                <a:gd name="connsiteX0" fmla="*/ 61263 w 3892533"/>
                <a:gd name="connsiteY0" fmla="*/ 24870 h 1168321"/>
                <a:gd name="connsiteX1" fmla="*/ 126754 w 3892533"/>
                <a:gd name="connsiteY1" fmla="*/ 531425 h 1168321"/>
                <a:gd name="connsiteX2" fmla="*/ 459363 w 3892533"/>
                <a:gd name="connsiteY2" fmla="*/ 1056279 h 1168321"/>
                <a:gd name="connsiteX3" fmla="*/ 903987 w 3892533"/>
                <a:gd name="connsiteY3" fmla="*/ 1121095 h 1168321"/>
                <a:gd name="connsiteX4" fmla="*/ 1736869 w 3892533"/>
                <a:gd name="connsiteY4" fmla="*/ 1005083 h 1168321"/>
                <a:gd name="connsiteX5" fmla="*/ 2069939 w 3892533"/>
                <a:gd name="connsiteY5" fmla="*/ 1160654 h 1168321"/>
                <a:gd name="connsiteX6" fmla="*/ 2490859 w 3892533"/>
                <a:gd name="connsiteY6" fmla="*/ 1149282 h 1168321"/>
                <a:gd name="connsiteX7" fmla="*/ 3360418 w 3892533"/>
                <a:gd name="connsiteY7" fmla="*/ 1044031 h 1168321"/>
                <a:gd name="connsiteX8" fmla="*/ 3635487 w 3892533"/>
                <a:gd name="connsiteY8" fmla="*/ 745777 h 1168321"/>
                <a:gd name="connsiteX9" fmla="*/ 3883573 w 3892533"/>
                <a:gd name="connsiteY9" fmla="*/ 445463 h 1168321"/>
                <a:gd name="connsiteX10" fmla="*/ 3892534 w 3892533"/>
                <a:gd name="connsiteY10" fmla="*/ 166306 h 1168321"/>
                <a:gd name="connsiteX11" fmla="*/ 3277257 w 3892533"/>
                <a:gd name="connsiteY11" fmla="*/ 181656 h 1168321"/>
                <a:gd name="connsiteX12" fmla="*/ 2790063 w 3892533"/>
                <a:gd name="connsiteY12" fmla="*/ 281739 h 1168321"/>
                <a:gd name="connsiteX13" fmla="*/ 2320781 w 3892533"/>
                <a:gd name="connsiteY13" fmla="*/ 204402 h 1168321"/>
                <a:gd name="connsiteX14" fmla="*/ 1581038 w 3892533"/>
                <a:gd name="connsiteY14" fmla="*/ 179379 h 1168321"/>
                <a:gd name="connsiteX15" fmla="*/ 981000 w 3892533"/>
                <a:gd name="connsiteY15" fmla="*/ 88394 h 1168321"/>
                <a:gd name="connsiteX16" fmla="*/ 61263 w 3892533"/>
                <a:gd name="connsiteY16" fmla="*/ 24870 h 1168321"/>
                <a:gd name="connsiteX0" fmla="*/ 61263 w 3892535"/>
                <a:gd name="connsiteY0" fmla="*/ 24870 h 1280796"/>
                <a:gd name="connsiteX1" fmla="*/ 126754 w 3892535"/>
                <a:gd name="connsiteY1" fmla="*/ 531425 h 1280796"/>
                <a:gd name="connsiteX2" fmla="*/ 459363 w 3892535"/>
                <a:gd name="connsiteY2" fmla="*/ 1056279 h 1280796"/>
                <a:gd name="connsiteX3" fmla="*/ 966682 w 3892535"/>
                <a:gd name="connsiteY3" fmla="*/ 1280322 h 1280796"/>
                <a:gd name="connsiteX4" fmla="*/ 1736869 w 3892535"/>
                <a:gd name="connsiteY4" fmla="*/ 1005083 h 1280796"/>
                <a:gd name="connsiteX5" fmla="*/ 2069939 w 3892535"/>
                <a:gd name="connsiteY5" fmla="*/ 1160654 h 1280796"/>
                <a:gd name="connsiteX6" fmla="*/ 2490859 w 3892535"/>
                <a:gd name="connsiteY6" fmla="*/ 1149282 h 1280796"/>
                <a:gd name="connsiteX7" fmla="*/ 3360418 w 3892535"/>
                <a:gd name="connsiteY7" fmla="*/ 1044031 h 1280796"/>
                <a:gd name="connsiteX8" fmla="*/ 3635487 w 3892535"/>
                <a:gd name="connsiteY8" fmla="*/ 745777 h 1280796"/>
                <a:gd name="connsiteX9" fmla="*/ 3883573 w 3892535"/>
                <a:gd name="connsiteY9" fmla="*/ 445463 h 1280796"/>
                <a:gd name="connsiteX10" fmla="*/ 3892534 w 3892535"/>
                <a:gd name="connsiteY10" fmla="*/ 166306 h 1280796"/>
                <a:gd name="connsiteX11" fmla="*/ 3277257 w 3892535"/>
                <a:gd name="connsiteY11" fmla="*/ 181656 h 1280796"/>
                <a:gd name="connsiteX12" fmla="*/ 2790063 w 3892535"/>
                <a:gd name="connsiteY12" fmla="*/ 281739 h 1280796"/>
                <a:gd name="connsiteX13" fmla="*/ 2320781 w 3892535"/>
                <a:gd name="connsiteY13" fmla="*/ 204402 h 1280796"/>
                <a:gd name="connsiteX14" fmla="*/ 1581038 w 3892535"/>
                <a:gd name="connsiteY14" fmla="*/ 179379 h 1280796"/>
                <a:gd name="connsiteX15" fmla="*/ 981000 w 3892535"/>
                <a:gd name="connsiteY15" fmla="*/ 88394 h 1280796"/>
                <a:gd name="connsiteX16" fmla="*/ 61263 w 3892535"/>
                <a:gd name="connsiteY16" fmla="*/ 24870 h 1280796"/>
                <a:gd name="connsiteX0" fmla="*/ 61263 w 3892533"/>
                <a:gd name="connsiteY0" fmla="*/ 24870 h 1288550"/>
                <a:gd name="connsiteX1" fmla="*/ 126754 w 3892533"/>
                <a:gd name="connsiteY1" fmla="*/ 531425 h 1288550"/>
                <a:gd name="connsiteX2" fmla="*/ 459363 w 3892533"/>
                <a:gd name="connsiteY2" fmla="*/ 1056279 h 1288550"/>
                <a:gd name="connsiteX3" fmla="*/ 966682 w 3892533"/>
                <a:gd name="connsiteY3" fmla="*/ 1280322 h 1288550"/>
                <a:gd name="connsiteX4" fmla="*/ 1584621 w 3892533"/>
                <a:gd name="connsiteY4" fmla="*/ 1232549 h 1288550"/>
                <a:gd name="connsiteX5" fmla="*/ 2069939 w 3892533"/>
                <a:gd name="connsiteY5" fmla="*/ 1160654 h 1288550"/>
                <a:gd name="connsiteX6" fmla="*/ 2490859 w 3892533"/>
                <a:gd name="connsiteY6" fmla="*/ 1149282 h 1288550"/>
                <a:gd name="connsiteX7" fmla="*/ 3360418 w 3892533"/>
                <a:gd name="connsiteY7" fmla="*/ 1044031 h 1288550"/>
                <a:gd name="connsiteX8" fmla="*/ 3635487 w 3892533"/>
                <a:gd name="connsiteY8" fmla="*/ 745777 h 1288550"/>
                <a:gd name="connsiteX9" fmla="*/ 3883573 w 3892533"/>
                <a:gd name="connsiteY9" fmla="*/ 445463 h 1288550"/>
                <a:gd name="connsiteX10" fmla="*/ 3892534 w 3892533"/>
                <a:gd name="connsiteY10" fmla="*/ 166306 h 1288550"/>
                <a:gd name="connsiteX11" fmla="*/ 3277257 w 3892533"/>
                <a:gd name="connsiteY11" fmla="*/ 181656 h 1288550"/>
                <a:gd name="connsiteX12" fmla="*/ 2790063 w 3892533"/>
                <a:gd name="connsiteY12" fmla="*/ 281739 h 1288550"/>
                <a:gd name="connsiteX13" fmla="*/ 2320781 w 3892533"/>
                <a:gd name="connsiteY13" fmla="*/ 204402 h 1288550"/>
                <a:gd name="connsiteX14" fmla="*/ 1581038 w 3892533"/>
                <a:gd name="connsiteY14" fmla="*/ 179379 h 1288550"/>
                <a:gd name="connsiteX15" fmla="*/ 981000 w 3892533"/>
                <a:gd name="connsiteY15" fmla="*/ 88394 h 1288550"/>
                <a:gd name="connsiteX16" fmla="*/ 61263 w 3892533"/>
                <a:gd name="connsiteY16" fmla="*/ 24870 h 1288550"/>
                <a:gd name="connsiteX0" fmla="*/ 61263 w 3892535"/>
                <a:gd name="connsiteY0" fmla="*/ 24870 h 1288550"/>
                <a:gd name="connsiteX1" fmla="*/ 126754 w 3892535"/>
                <a:gd name="connsiteY1" fmla="*/ 531425 h 1288550"/>
                <a:gd name="connsiteX2" fmla="*/ 459363 w 3892535"/>
                <a:gd name="connsiteY2" fmla="*/ 1056279 h 1288550"/>
                <a:gd name="connsiteX3" fmla="*/ 966682 w 3892535"/>
                <a:gd name="connsiteY3" fmla="*/ 1280322 h 1288550"/>
                <a:gd name="connsiteX4" fmla="*/ 1584621 w 3892535"/>
                <a:gd name="connsiteY4" fmla="*/ 1232549 h 1288550"/>
                <a:gd name="connsiteX5" fmla="*/ 2069939 w 3892535"/>
                <a:gd name="connsiteY5" fmla="*/ 1160654 h 1288550"/>
                <a:gd name="connsiteX6" fmla="*/ 2338605 w 3892535"/>
                <a:gd name="connsiteY6" fmla="*/ 1285763 h 1288550"/>
                <a:gd name="connsiteX7" fmla="*/ 2490859 w 3892535"/>
                <a:gd name="connsiteY7" fmla="*/ 1149282 h 1288550"/>
                <a:gd name="connsiteX8" fmla="*/ 3360418 w 3892535"/>
                <a:gd name="connsiteY8" fmla="*/ 1044031 h 1288550"/>
                <a:gd name="connsiteX9" fmla="*/ 3635487 w 3892535"/>
                <a:gd name="connsiteY9" fmla="*/ 745777 h 1288550"/>
                <a:gd name="connsiteX10" fmla="*/ 3883573 w 3892535"/>
                <a:gd name="connsiteY10" fmla="*/ 445463 h 1288550"/>
                <a:gd name="connsiteX11" fmla="*/ 3892534 w 3892535"/>
                <a:gd name="connsiteY11" fmla="*/ 166306 h 1288550"/>
                <a:gd name="connsiteX12" fmla="*/ 3277257 w 3892535"/>
                <a:gd name="connsiteY12" fmla="*/ 181656 h 1288550"/>
                <a:gd name="connsiteX13" fmla="*/ 2790063 w 3892535"/>
                <a:gd name="connsiteY13" fmla="*/ 281739 h 1288550"/>
                <a:gd name="connsiteX14" fmla="*/ 2320781 w 3892535"/>
                <a:gd name="connsiteY14" fmla="*/ 204402 h 1288550"/>
                <a:gd name="connsiteX15" fmla="*/ 1581038 w 3892535"/>
                <a:gd name="connsiteY15" fmla="*/ 179379 h 1288550"/>
                <a:gd name="connsiteX16" fmla="*/ 981000 w 3892535"/>
                <a:gd name="connsiteY16" fmla="*/ 88394 h 1288550"/>
                <a:gd name="connsiteX17" fmla="*/ 61263 w 3892535"/>
                <a:gd name="connsiteY17" fmla="*/ 24870 h 1288550"/>
                <a:gd name="connsiteX0" fmla="*/ 61263 w 3892533"/>
                <a:gd name="connsiteY0" fmla="*/ 24870 h 1288550"/>
                <a:gd name="connsiteX1" fmla="*/ 126754 w 3892533"/>
                <a:gd name="connsiteY1" fmla="*/ 531425 h 1288550"/>
                <a:gd name="connsiteX2" fmla="*/ 459363 w 3892533"/>
                <a:gd name="connsiteY2" fmla="*/ 1056279 h 1288550"/>
                <a:gd name="connsiteX3" fmla="*/ 966682 w 3892533"/>
                <a:gd name="connsiteY3" fmla="*/ 1280322 h 1288550"/>
                <a:gd name="connsiteX4" fmla="*/ 1584621 w 3892533"/>
                <a:gd name="connsiteY4" fmla="*/ 1232549 h 1288550"/>
                <a:gd name="connsiteX5" fmla="*/ 2069939 w 3892533"/>
                <a:gd name="connsiteY5" fmla="*/ 1160654 h 1288550"/>
                <a:gd name="connsiteX6" fmla="*/ 2338605 w 3892533"/>
                <a:gd name="connsiteY6" fmla="*/ 1285763 h 1288550"/>
                <a:gd name="connsiteX7" fmla="*/ 2490859 w 3892533"/>
                <a:gd name="connsiteY7" fmla="*/ 1149282 h 1288550"/>
                <a:gd name="connsiteX8" fmla="*/ 2768487 w 3892533"/>
                <a:gd name="connsiteY8" fmla="*/ 1206147 h 1288550"/>
                <a:gd name="connsiteX9" fmla="*/ 3360418 w 3892533"/>
                <a:gd name="connsiteY9" fmla="*/ 1044031 h 1288550"/>
                <a:gd name="connsiteX10" fmla="*/ 3635487 w 3892533"/>
                <a:gd name="connsiteY10" fmla="*/ 745777 h 1288550"/>
                <a:gd name="connsiteX11" fmla="*/ 3883573 w 3892533"/>
                <a:gd name="connsiteY11" fmla="*/ 445463 h 1288550"/>
                <a:gd name="connsiteX12" fmla="*/ 3892534 w 3892533"/>
                <a:gd name="connsiteY12" fmla="*/ 166306 h 1288550"/>
                <a:gd name="connsiteX13" fmla="*/ 3277257 w 3892533"/>
                <a:gd name="connsiteY13" fmla="*/ 181656 h 1288550"/>
                <a:gd name="connsiteX14" fmla="*/ 2790063 w 3892533"/>
                <a:gd name="connsiteY14" fmla="*/ 281739 h 1288550"/>
                <a:gd name="connsiteX15" fmla="*/ 2320781 w 3892533"/>
                <a:gd name="connsiteY15" fmla="*/ 204402 h 1288550"/>
                <a:gd name="connsiteX16" fmla="*/ 1581038 w 3892533"/>
                <a:gd name="connsiteY16" fmla="*/ 179379 h 1288550"/>
                <a:gd name="connsiteX17" fmla="*/ 981000 w 3892533"/>
                <a:gd name="connsiteY17" fmla="*/ 88394 h 1288550"/>
                <a:gd name="connsiteX18" fmla="*/ 61263 w 3892533"/>
                <a:gd name="connsiteY18" fmla="*/ 24870 h 1288550"/>
                <a:gd name="connsiteX0" fmla="*/ 61263 w 3892535"/>
                <a:gd name="connsiteY0" fmla="*/ 24870 h 1289751"/>
                <a:gd name="connsiteX1" fmla="*/ 126754 w 3892535"/>
                <a:gd name="connsiteY1" fmla="*/ 531425 h 1289751"/>
                <a:gd name="connsiteX2" fmla="*/ 459363 w 3892535"/>
                <a:gd name="connsiteY2" fmla="*/ 1056279 h 1289751"/>
                <a:gd name="connsiteX3" fmla="*/ 966682 w 3892535"/>
                <a:gd name="connsiteY3" fmla="*/ 1280322 h 1289751"/>
                <a:gd name="connsiteX4" fmla="*/ 1584621 w 3892535"/>
                <a:gd name="connsiteY4" fmla="*/ 1232549 h 1289751"/>
                <a:gd name="connsiteX5" fmla="*/ 1881860 w 3892535"/>
                <a:gd name="connsiteY5" fmla="*/ 1092415 h 1289751"/>
                <a:gd name="connsiteX6" fmla="*/ 2069939 w 3892535"/>
                <a:gd name="connsiteY6" fmla="*/ 1160654 h 1289751"/>
                <a:gd name="connsiteX7" fmla="*/ 2338605 w 3892535"/>
                <a:gd name="connsiteY7" fmla="*/ 1285763 h 1289751"/>
                <a:gd name="connsiteX8" fmla="*/ 2490859 w 3892535"/>
                <a:gd name="connsiteY8" fmla="*/ 1149282 h 1289751"/>
                <a:gd name="connsiteX9" fmla="*/ 2768487 w 3892535"/>
                <a:gd name="connsiteY9" fmla="*/ 1206147 h 1289751"/>
                <a:gd name="connsiteX10" fmla="*/ 3360418 w 3892535"/>
                <a:gd name="connsiteY10" fmla="*/ 1044031 h 1289751"/>
                <a:gd name="connsiteX11" fmla="*/ 3635487 w 3892535"/>
                <a:gd name="connsiteY11" fmla="*/ 745777 h 1289751"/>
                <a:gd name="connsiteX12" fmla="*/ 3883573 w 3892535"/>
                <a:gd name="connsiteY12" fmla="*/ 445463 h 1289751"/>
                <a:gd name="connsiteX13" fmla="*/ 3892534 w 3892535"/>
                <a:gd name="connsiteY13" fmla="*/ 166306 h 1289751"/>
                <a:gd name="connsiteX14" fmla="*/ 3277257 w 3892535"/>
                <a:gd name="connsiteY14" fmla="*/ 181656 h 1289751"/>
                <a:gd name="connsiteX15" fmla="*/ 2790063 w 3892535"/>
                <a:gd name="connsiteY15" fmla="*/ 281739 h 1289751"/>
                <a:gd name="connsiteX16" fmla="*/ 2320781 w 3892535"/>
                <a:gd name="connsiteY16" fmla="*/ 204402 h 1289751"/>
                <a:gd name="connsiteX17" fmla="*/ 1581038 w 3892535"/>
                <a:gd name="connsiteY17" fmla="*/ 179379 h 1289751"/>
                <a:gd name="connsiteX18" fmla="*/ 981000 w 3892535"/>
                <a:gd name="connsiteY18" fmla="*/ 88394 h 1289751"/>
                <a:gd name="connsiteX19" fmla="*/ 61263 w 3892535"/>
                <a:gd name="connsiteY19" fmla="*/ 24870 h 1289751"/>
                <a:gd name="connsiteX0" fmla="*/ 61263 w 3892533"/>
                <a:gd name="connsiteY0" fmla="*/ 24870 h 1411420"/>
                <a:gd name="connsiteX1" fmla="*/ 126754 w 3892533"/>
                <a:gd name="connsiteY1" fmla="*/ 531425 h 1411420"/>
                <a:gd name="connsiteX2" fmla="*/ 459363 w 3892533"/>
                <a:gd name="connsiteY2" fmla="*/ 1056279 h 1411420"/>
                <a:gd name="connsiteX3" fmla="*/ 966682 w 3892533"/>
                <a:gd name="connsiteY3" fmla="*/ 1280322 h 1411420"/>
                <a:gd name="connsiteX4" fmla="*/ 1407205 w 3892533"/>
                <a:gd name="connsiteY4" fmla="*/ 1410866 h 1411420"/>
                <a:gd name="connsiteX5" fmla="*/ 1584621 w 3892533"/>
                <a:gd name="connsiteY5" fmla="*/ 1232549 h 1411420"/>
                <a:gd name="connsiteX6" fmla="*/ 1881860 w 3892533"/>
                <a:gd name="connsiteY6" fmla="*/ 1092415 h 1411420"/>
                <a:gd name="connsiteX7" fmla="*/ 2069939 w 3892533"/>
                <a:gd name="connsiteY7" fmla="*/ 1160654 h 1411420"/>
                <a:gd name="connsiteX8" fmla="*/ 2338605 w 3892533"/>
                <a:gd name="connsiteY8" fmla="*/ 1285763 h 1411420"/>
                <a:gd name="connsiteX9" fmla="*/ 2490859 w 3892533"/>
                <a:gd name="connsiteY9" fmla="*/ 1149282 h 1411420"/>
                <a:gd name="connsiteX10" fmla="*/ 2768487 w 3892533"/>
                <a:gd name="connsiteY10" fmla="*/ 1206147 h 1411420"/>
                <a:gd name="connsiteX11" fmla="*/ 3360418 w 3892533"/>
                <a:gd name="connsiteY11" fmla="*/ 1044031 h 1411420"/>
                <a:gd name="connsiteX12" fmla="*/ 3635487 w 3892533"/>
                <a:gd name="connsiteY12" fmla="*/ 745777 h 1411420"/>
                <a:gd name="connsiteX13" fmla="*/ 3883573 w 3892533"/>
                <a:gd name="connsiteY13" fmla="*/ 445463 h 1411420"/>
                <a:gd name="connsiteX14" fmla="*/ 3892534 w 3892533"/>
                <a:gd name="connsiteY14" fmla="*/ 166306 h 1411420"/>
                <a:gd name="connsiteX15" fmla="*/ 3277257 w 3892533"/>
                <a:gd name="connsiteY15" fmla="*/ 181656 h 1411420"/>
                <a:gd name="connsiteX16" fmla="*/ 2790063 w 3892533"/>
                <a:gd name="connsiteY16" fmla="*/ 281739 h 1411420"/>
                <a:gd name="connsiteX17" fmla="*/ 2320781 w 3892533"/>
                <a:gd name="connsiteY17" fmla="*/ 204402 h 1411420"/>
                <a:gd name="connsiteX18" fmla="*/ 1581038 w 3892533"/>
                <a:gd name="connsiteY18" fmla="*/ 179379 h 1411420"/>
                <a:gd name="connsiteX19" fmla="*/ 981000 w 3892533"/>
                <a:gd name="connsiteY19" fmla="*/ 88394 h 1411420"/>
                <a:gd name="connsiteX20" fmla="*/ 61263 w 3892533"/>
                <a:gd name="connsiteY20" fmla="*/ 24870 h 1411420"/>
                <a:gd name="connsiteX0" fmla="*/ 61263 w 3892534"/>
                <a:gd name="connsiteY0" fmla="*/ 24870 h 1411420"/>
                <a:gd name="connsiteX1" fmla="*/ 126754 w 3892534"/>
                <a:gd name="connsiteY1" fmla="*/ 531425 h 1411420"/>
                <a:gd name="connsiteX2" fmla="*/ 459363 w 3892534"/>
                <a:gd name="connsiteY2" fmla="*/ 1056279 h 1411420"/>
                <a:gd name="connsiteX3" fmla="*/ 966682 w 3892534"/>
                <a:gd name="connsiteY3" fmla="*/ 1280322 h 1411420"/>
                <a:gd name="connsiteX4" fmla="*/ 1407205 w 3892534"/>
                <a:gd name="connsiteY4" fmla="*/ 1410866 h 1411420"/>
                <a:gd name="connsiteX5" fmla="*/ 1584621 w 3892534"/>
                <a:gd name="connsiteY5" fmla="*/ 1232549 h 1411420"/>
                <a:gd name="connsiteX6" fmla="*/ 1881860 w 3892534"/>
                <a:gd name="connsiteY6" fmla="*/ 1092415 h 1411420"/>
                <a:gd name="connsiteX7" fmla="*/ 2069939 w 3892534"/>
                <a:gd name="connsiteY7" fmla="*/ 1160654 h 1411420"/>
                <a:gd name="connsiteX8" fmla="*/ 2338605 w 3892534"/>
                <a:gd name="connsiteY8" fmla="*/ 1285763 h 1411420"/>
                <a:gd name="connsiteX9" fmla="*/ 2490859 w 3892534"/>
                <a:gd name="connsiteY9" fmla="*/ 1149282 h 1411420"/>
                <a:gd name="connsiteX10" fmla="*/ 2768487 w 3892534"/>
                <a:gd name="connsiteY10" fmla="*/ 1206147 h 1411420"/>
                <a:gd name="connsiteX11" fmla="*/ 3360418 w 3892534"/>
                <a:gd name="connsiteY11" fmla="*/ 1044031 h 1411420"/>
                <a:gd name="connsiteX12" fmla="*/ 3635487 w 3892534"/>
                <a:gd name="connsiteY12" fmla="*/ 745777 h 1411420"/>
                <a:gd name="connsiteX13" fmla="*/ 3892534 w 3892534"/>
                <a:gd name="connsiteY13" fmla="*/ 166306 h 1411420"/>
                <a:gd name="connsiteX14" fmla="*/ 3277257 w 3892534"/>
                <a:gd name="connsiteY14" fmla="*/ 181656 h 1411420"/>
                <a:gd name="connsiteX15" fmla="*/ 2790063 w 3892534"/>
                <a:gd name="connsiteY15" fmla="*/ 281739 h 1411420"/>
                <a:gd name="connsiteX16" fmla="*/ 2320781 w 3892534"/>
                <a:gd name="connsiteY16" fmla="*/ 204402 h 1411420"/>
                <a:gd name="connsiteX17" fmla="*/ 1581038 w 3892534"/>
                <a:gd name="connsiteY17" fmla="*/ 179379 h 1411420"/>
                <a:gd name="connsiteX18" fmla="*/ 981000 w 3892534"/>
                <a:gd name="connsiteY18" fmla="*/ 88394 h 1411420"/>
                <a:gd name="connsiteX19" fmla="*/ 61263 w 3892534"/>
                <a:gd name="connsiteY19" fmla="*/ 24870 h 1411420"/>
                <a:gd name="connsiteX0" fmla="*/ 61263 w 3635487"/>
                <a:gd name="connsiteY0" fmla="*/ 24870 h 1411420"/>
                <a:gd name="connsiteX1" fmla="*/ 126754 w 3635487"/>
                <a:gd name="connsiteY1" fmla="*/ 531425 h 1411420"/>
                <a:gd name="connsiteX2" fmla="*/ 459363 w 3635487"/>
                <a:gd name="connsiteY2" fmla="*/ 1056279 h 1411420"/>
                <a:gd name="connsiteX3" fmla="*/ 966682 w 3635487"/>
                <a:gd name="connsiteY3" fmla="*/ 1280322 h 1411420"/>
                <a:gd name="connsiteX4" fmla="*/ 1407205 w 3635487"/>
                <a:gd name="connsiteY4" fmla="*/ 1410866 h 1411420"/>
                <a:gd name="connsiteX5" fmla="*/ 1584621 w 3635487"/>
                <a:gd name="connsiteY5" fmla="*/ 1232549 h 1411420"/>
                <a:gd name="connsiteX6" fmla="*/ 1881860 w 3635487"/>
                <a:gd name="connsiteY6" fmla="*/ 1092415 h 1411420"/>
                <a:gd name="connsiteX7" fmla="*/ 2069939 w 3635487"/>
                <a:gd name="connsiteY7" fmla="*/ 1160654 h 1411420"/>
                <a:gd name="connsiteX8" fmla="*/ 2338605 w 3635487"/>
                <a:gd name="connsiteY8" fmla="*/ 1285763 h 1411420"/>
                <a:gd name="connsiteX9" fmla="*/ 2490859 w 3635487"/>
                <a:gd name="connsiteY9" fmla="*/ 1149282 h 1411420"/>
                <a:gd name="connsiteX10" fmla="*/ 2768487 w 3635487"/>
                <a:gd name="connsiteY10" fmla="*/ 1206147 h 1411420"/>
                <a:gd name="connsiteX11" fmla="*/ 3360418 w 3635487"/>
                <a:gd name="connsiteY11" fmla="*/ 1044031 h 1411420"/>
                <a:gd name="connsiteX12" fmla="*/ 3635487 w 3635487"/>
                <a:gd name="connsiteY12" fmla="*/ 745777 h 1411420"/>
                <a:gd name="connsiteX13" fmla="*/ 3585596 w 3635487"/>
                <a:gd name="connsiteY13" fmla="*/ 222686 h 1411420"/>
                <a:gd name="connsiteX14" fmla="*/ 3277257 w 3635487"/>
                <a:gd name="connsiteY14" fmla="*/ 181656 h 1411420"/>
                <a:gd name="connsiteX15" fmla="*/ 2790063 w 3635487"/>
                <a:gd name="connsiteY15" fmla="*/ 281739 h 1411420"/>
                <a:gd name="connsiteX16" fmla="*/ 2320781 w 3635487"/>
                <a:gd name="connsiteY16" fmla="*/ 204402 h 1411420"/>
                <a:gd name="connsiteX17" fmla="*/ 1581038 w 3635487"/>
                <a:gd name="connsiteY17" fmla="*/ 179379 h 1411420"/>
                <a:gd name="connsiteX18" fmla="*/ 981000 w 3635487"/>
                <a:gd name="connsiteY18" fmla="*/ 88394 h 1411420"/>
                <a:gd name="connsiteX19" fmla="*/ 61263 w 3635487"/>
                <a:gd name="connsiteY19" fmla="*/ 24870 h 1411420"/>
                <a:gd name="connsiteX0" fmla="*/ 94360 w 3556971"/>
                <a:gd name="connsiteY0" fmla="*/ 63653 h 1326168"/>
                <a:gd name="connsiteX1" fmla="*/ 48238 w 3556971"/>
                <a:gd name="connsiteY1" fmla="*/ 446173 h 1326168"/>
                <a:gd name="connsiteX2" fmla="*/ 380847 w 3556971"/>
                <a:gd name="connsiteY2" fmla="*/ 971027 h 1326168"/>
                <a:gd name="connsiteX3" fmla="*/ 888166 w 3556971"/>
                <a:gd name="connsiteY3" fmla="*/ 1195070 h 1326168"/>
                <a:gd name="connsiteX4" fmla="*/ 1328689 w 3556971"/>
                <a:gd name="connsiteY4" fmla="*/ 1325614 h 1326168"/>
                <a:gd name="connsiteX5" fmla="*/ 1506105 w 3556971"/>
                <a:gd name="connsiteY5" fmla="*/ 1147297 h 1326168"/>
                <a:gd name="connsiteX6" fmla="*/ 1803344 w 3556971"/>
                <a:gd name="connsiteY6" fmla="*/ 1007163 h 1326168"/>
                <a:gd name="connsiteX7" fmla="*/ 1991423 w 3556971"/>
                <a:gd name="connsiteY7" fmla="*/ 1075402 h 1326168"/>
                <a:gd name="connsiteX8" fmla="*/ 2260089 w 3556971"/>
                <a:gd name="connsiteY8" fmla="*/ 1200511 h 1326168"/>
                <a:gd name="connsiteX9" fmla="*/ 2412343 w 3556971"/>
                <a:gd name="connsiteY9" fmla="*/ 1064030 h 1326168"/>
                <a:gd name="connsiteX10" fmla="*/ 2689971 w 3556971"/>
                <a:gd name="connsiteY10" fmla="*/ 1120895 h 1326168"/>
                <a:gd name="connsiteX11" fmla="*/ 3281902 w 3556971"/>
                <a:gd name="connsiteY11" fmla="*/ 958779 h 1326168"/>
                <a:gd name="connsiteX12" fmla="*/ 3556971 w 3556971"/>
                <a:gd name="connsiteY12" fmla="*/ 660525 h 1326168"/>
                <a:gd name="connsiteX13" fmla="*/ 3507080 w 3556971"/>
                <a:gd name="connsiteY13" fmla="*/ 137434 h 1326168"/>
                <a:gd name="connsiteX14" fmla="*/ 3198741 w 3556971"/>
                <a:gd name="connsiteY14" fmla="*/ 96404 h 1326168"/>
                <a:gd name="connsiteX15" fmla="*/ 2711547 w 3556971"/>
                <a:gd name="connsiteY15" fmla="*/ 196487 h 1326168"/>
                <a:gd name="connsiteX16" fmla="*/ 2242265 w 3556971"/>
                <a:gd name="connsiteY16" fmla="*/ 119150 h 1326168"/>
                <a:gd name="connsiteX17" fmla="*/ 1502522 w 3556971"/>
                <a:gd name="connsiteY17" fmla="*/ 94127 h 1326168"/>
                <a:gd name="connsiteX18" fmla="*/ 902484 w 3556971"/>
                <a:gd name="connsiteY18" fmla="*/ 3142 h 1326168"/>
                <a:gd name="connsiteX19" fmla="*/ 94360 w 3556971"/>
                <a:gd name="connsiteY19" fmla="*/ 63653 h 1326168"/>
                <a:gd name="connsiteX0" fmla="*/ 57946 w 3520557"/>
                <a:gd name="connsiteY0" fmla="*/ 61876 h 1324391"/>
                <a:gd name="connsiteX1" fmla="*/ 95534 w 3520557"/>
                <a:gd name="connsiteY1" fmla="*/ 354189 h 1324391"/>
                <a:gd name="connsiteX2" fmla="*/ 344433 w 3520557"/>
                <a:gd name="connsiteY2" fmla="*/ 969250 h 1324391"/>
                <a:gd name="connsiteX3" fmla="*/ 851752 w 3520557"/>
                <a:gd name="connsiteY3" fmla="*/ 1193293 h 1324391"/>
                <a:gd name="connsiteX4" fmla="*/ 1292275 w 3520557"/>
                <a:gd name="connsiteY4" fmla="*/ 1323837 h 1324391"/>
                <a:gd name="connsiteX5" fmla="*/ 1469691 w 3520557"/>
                <a:gd name="connsiteY5" fmla="*/ 1145520 h 1324391"/>
                <a:gd name="connsiteX6" fmla="*/ 1766930 w 3520557"/>
                <a:gd name="connsiteY6" fmla="*/ 1005386 h 1324391"/>
                <a:gd name="connsiteX7" fmla="*/ 1955009 w 3520557"/>
                <a:gd name="connsiteY7" fmla="*/ 1073625 h 1324391"/>
                <a:gd name="connsiteX8" fmla="*/ 2223675 w 3520557"/>
                <a:gd name="connsiteY8" fmla="*/ 1198734 h 1324391"/>
                <a:gd name="connsiteX9" fmla="*/ 2375929 w 3520557"/>
                <a:gd name="connsiteY9" fmla="*/ 1062253 h 1324391"/>
                <a:gd name="connsiteX10" fmla="*/ 2653557 w 3520557"/>
                <a:gd name="connsiteY10" fmla="*/ 1119118 h 1324391"/>
                <a:gd name="connsiteX11" fmla="*/ 3245488 w 3520557"/>
                <a:gd name="connsiteY11" fmla="*/ 957002 h 1324391"/>
                <a:gd name="connsiteX12" fmla="*/ 3520557 w 3520557"/>
                <a:gd name="connsiteY12" fmla="*/ 658748 h 1324391"/>
                <a:gd name="connsiteX13" fmla="*/ 3470666 w 3520557"/>
                <a:gd name="connsiteY13" fmla="*/ 135657 h 1324391"/>
                <a:gd name="connsiteX14" fmla="*/ 3162327 w 3520557"/>
                <a:gd name="connsiteY14" fmla="*/ 94627 h 1324391"/>
                <a:gd name="connsiteX15" fmla="*/ 2675133 w 3520557"/>
                <a:gd name="connsiteY15" fmla="*/ 194710 h 1324391"/>
                <a:gd name="connsiteX16" fmla="*/ 2205851 w 3520557"/>
                <a:gd name="connsiteY16" fmla="*/ 117373 h 1324391"/>
                <a:gd name="connsiteX17" fmla="*/ 1466108 w 3520557"/>
                <a:gd name="connsiteY17" fmla="*/ 92350 h 1324391"/>
                <a:gd name="connsiteX18" fmla="*/ 866070 w 3520557"/>
                <a:gd name="connsiteY18" fmla="*/ 1365 h 1324391"/>
                <a:gd name="connsiteX19" fmla="*/ 57946 w 3520557"/>
                <a:gd name="connsiteY19" fmla="*/ 61876 h 1324391"/>
                <a:gd name="connsiteX0" fmla="*/ 119984 w 3436101"/>
                <a:gd name="connsiteY0" fmla="*/ 39450 h 1335792"/>
                <a:gd name="connsiteX1" fmla="*/ 11078 w 3436101"/>
                <a:gd name="connsiteY1" fmla="*/ 365590 h 1335792"/>
                <a:gd name="connsiteX2" fmla="*/ 259977 w 3436101"/>
                <a:gd name="connsiteY2" fmla="*/ 980651 h 1335792"/>
                <a:gd name="connsiteX3" fmla="*/ 767296 w 3436101"/>
                <a:gd name="connsiteY3" fmla="*/ 1204694 h 1335792"/>
                <a:gd name="connsiteX4" fmla="*/ 1207819 w 3436101"/>
                <a:gd name="connsiteY4" fmla="*/ 1335238 h 1335792"/>
                <a:gd name="connsiteX5" fmla="*/ 1385235 w 3436101"/>
                <a:gd name="connsiteY5" fmla="*/ 1156921 h 1335792"/>
                <a:gd name="connsiteX6" fmla="*/ 1682474 w 3436101"/>
                <a:gd name="connsiteY6" fmla="*/ 1016787 h 1335792"/>
                <a:gd name="connsiteX7" fmla="*/ 1870553 w 3436101"/>
                <a:gd name="connsiteY7" fmla="*/ 1085026 h 1335792"/>
                <a:gd name="connsiteX8" fmla="*/ 2139219 w 3436101"/>
                <a:gd name="connsiteY8" fmla="*/ 1210135 h 1335792"/>
                <a:gd name="connsiteX9" fmla="*/ 2291473 w 3436101"/>
                <a:gd name="connsiteY9" fmla="*/ 1073654 h 1335792"/>
                <a:gd name="connsiteX10" fmla="*/ 2569101 w 3436101"/>
                <a:gd name="connsiteY10" fmla="*/ 1130519 h 1335792"/>
                <a:gd name="connsiteX11" fmla="*/ 3161032 w 3436101"/>
                <a:gd name="connsiteY11" fmla="*/ 968403 h 1335792"/>
                <a:gd name="connsiteX12" fmla="*/ 3436101 w 3436101"/>
                <a:gd name="connsiteY12" fmla="*/ 670149 h 1335792"/>
                <a:gd name="connsiteX13" fmla="*/ 3386210 w 3436101"/>
                <a:gd name="connsiteY13" fmla="*/ 147058 h 1335792"/>
                <a:gd name="connsiteX14" fmla="*/ 3077871 w 3436101"/>
                <a:gd name="connsiteY14" fmla="*/ 106028 h 1335792"/>
                <a:gd name="connsiteX15" fmla="*/ 2590677 w 3436101"/>
                <a:gd name="connsiteY15" fmla="*/ 206111 h 1335792"/>
                <a:gd name="connsiteX16" fmla="*/ 2121395 w 3436101"/>
                <a:gd name="connsiteY16" fmla="*/ 128774 h 1335792"/>
                <a:gd name="connsiteX17" fmla="*/ 1381652 w 3436101"/>
                <a:gd name="connsiteY17" fmla="*/ 103751 h 1335792"/>
                <a:gd name="connsiteX18" fmla="*/ 781614 w 3436101"/>
                <a:gd name="connsiteY18" fmla="*/ 12766 h 1335792"/>
                <a:gd name="connsiteX19" fmla="*/ 119984 w 3436101"/>
                <a:gd name="connsiteY19" fmla="*/ 39450 h 1335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436101" h="1335792">
                  <a:moveTo>
                    <a:pt x="119984" y="39450"/>
                  </a:moveTo>
                  <a:cubicBezTo>
                    <a:pt x="-8439" y="98254"/>
                    <a:pt x="-12254" y="208723"/>
                    <a:pt x="11078" y="365590"/>
                  </a:cubicBezTo>
                  <a:cubicBezTo>
                    <a:pt x="34410" y="522457"/>
                    <a:pt x="133941" y="840800"/>
                    <a:pt x="259977" y="980651"/>
                  </a:cubicBezTo>
                  <a:cubicBezTo>
                    <a:pt x="386013" y="1120502"/>
                    <a:pt x="609322" y="1145596"/>
                    <a:pt x="767296" y="1204694"/>
                  </a:cubicBezTo>
                  <a:cubicBezTo>
                    <a:pt x="925270" y="1263792"/>
                    <a:pt x="1104829" y="1343200"/>
                    <a:pt x="1207819" y="1335238"/>
                  </a:cubicBezTo>
                  <a:cubicBezTo>
                    <a:pt x="1310809" y="1327276"/>
                    <a:pt x="1306126" y="1209996"/>
                    <a:pt x="1385235" y="1156921"/>
                  </a:cubicBezTo>
                  <a:cubicBezTo>
                    <a:pt x="1464344" y="1103846"/>
                    <a:pt x="1601588" y="1028769"/>
                    <a:pt x="1682474" y="1016787"/>
                  </a:cubicBezTo>
                  <a:cubicBezTo>
                    <a:pt x="1763360" y="1004805"/>
                    <a:pt x="1794429" y="1069862"/>
                    <a:pt x="1870553" y="1085026"/>
                  </a:cubicBezTo>
                  <a:cubicBezTo>
                    <a:pt x="1946677" y="1100191"/>
                    <a:pt x="2069066" y="1212030"/>
                    <a:pt x="2139219" y="1210135"/>
                  </a:cubicBezTo>
                  <a:cubicBezTo>
                    <a:pt x="2209372" y="1208240"/>
                    <a:pt x="2219827" y="1102087"/>
                    <a:pt x="2291473" y="1073654"/>
                  </a:cubicBezTo>
                  <a:cubicBezTo>
                    <a:pt x="2363119" y="1045221"/>
                    <a:pt x="2424175" y="1148061"/>
                    <a:pt x="2569101" y="1130519"/>
                  </a:cubicBezTo>
                  <a:cubicBezTo>
                    <a:pt x="2714027" y="1112977"/>
                    <a:pt x="3016531" y="1029967"/>
                    <a:pt x="3161032" y="968403"/>
                  </a:cubicBezTo>
                  <a:cubicBezTo>
                    <a:pt x="3273278" y="807660"/>
                    <a:pt x="3339825" y="850615"/>
                    <a:pt x="3436101" y="670149"/>
                  </a:cubicBezTo>
                  <a:lnTo>
                    <a:pt x="3386210" y="147058"/>
                  </a:lnTo>
                  <a:cubicBezTo>
                    <a:pt x="3289934" y="72761"/>
                    <a:pt x="3677026" y="123414"/>
                    <a:pt x="3077871" y="106028"/>
                  </a:cubicBezTo>
                  <a:cubicBezTo>
                    <a:pt x="2867259" y="170760"/>
                    <a:pt x="2909204" y="102234"/>
                    <a:pt x="2590677" y="206111"/>
                  </a:cubicBezTo>
                  <a:cubicBezTo>
                    <a:pt x="2431264" y="209902"/>
                    <a:pt x="2322899" y="145834"/>
                    <a:pt x="2121395" y="128774"/>
                  </a:cubicBezTo>
                  <a:cubicBezTo>
                    <a:pt x="1919891" y="111714"/>
                    <a:pt x="1604949" y="123086"/>
                    <a:pt x="1381652" y="103751"/>
                  </a:cubicBezTo>
                  <a:cubicBezTo>
                    <a:pt x="1158355" y="84416"/>
                    <a:pt x="991892" y="23483"/>
                    <a:pt x="781614" y="12766"/>
                  </a:cubicBezTo>
                  <a:cubicBezTo>
                    <a:pt x="571336" y="2049"/>
                    <a:pt x="248407" y="-19354"/>
                    <a:pt x="119984" y="39450"/>
                  </a:cubicBezTo>
                  <a:close/>
                </a:path>
              </a:pathLst>
            </a:custGeom>
            <a:solidFill>
              <a:srgbClr val="E3D16D">
                <a:alpha val="80000"/>
              </a:srgbClr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600"/>
            </a:p>
          </p:txBody>
        </p:sp>
        <p:sp>
          <p:nvSpPr>
            <p:cNvPr id="3368" name="!!mucus">
              <a:extLst>
                <a:ext uri="{FF2B5EF4-FFF2-40B4-BE49-F238E27FC236}">
                  <a16:creationId xmlns:a16="http://schemas.microsoft.com/office/drawing/2014/main" id="{947C16A7-FF68-3B2C-E3E9-060221844507}"/>
                </a:ext>
              </a:extLst>
            </p:cNvPr>
            <p:cNvSpPr/>
            <p:nvPr/>
          </p:nvSpPr>
          <p:spPr>
            <a:xfrm rot="2996921">
              <a:off x="1888973" y="3763686"/>
              <a:ext cx="1407123" cy="252214"/>
            </a:xfrm>
            <a:custGeom>
              <a:avLst/>
              <a:gdLst>
                <a:gd name="connsiteX0" fmla="*/ 0 w 11280654"/>
                <a:gd name="connsiteY0" fmla="*/ 91352 h 1986246"/>
                <a:gd name="connsiteX1" fmla="*/ 10868 w 11280654"/>
                <a:gd name="connsiteY1" fmla="*/ 745642 h 1986246"/>
                <a:gd name="connsiteX2" fmla="*/ 260587 w 11280654"/>
                <a:gd name="connsiteY2" fmla="*/ 915580 h 1986246"/>
                <a:gd name="connsiteX3" fmla="*/ 282300 w 11280654"/>
                <a:gd name="connsiteY3" fmla="*/ 1077031 h 1986246"/>
                <a:gd name="connsiteX4" fmla="*/ 510305 w 11280654"/>
                <a:gd name="connsiteY4" fmla="*/ 1416926 h 1986246"/>
                <a:gd name="connsiteX5" fmla="*/ 640587 w 11280654"/>
                <a:gd name="connsiteY5" fmla="*/ 1595370 h 1986246"/>
                <a:gd name="connsiteX6" fmla="*/ 694882 w 11280654"/>
                <a:gd name="connsiteY6" fmla="*/ 1790808 h 1986246"/>
                <a:gd name="connsiteX7" fmla="*/ 857746 w 11280654"/>
                <a:gd name="connsiteY7" fmla="*/ 1986246 h 1986246"/>
                <a:gd name="connsiteX8" fmla="*/ 1020610 w 11280654"/>
                <a:gd name="connsiteY8" fmla="*/ 1858784 h 1986246"/>
                <a:gd name="connsiteX9" fmla="*/ 1042324 w 11280654"/>
                <a:gd name="connsiteY9" fmla="*/ 1595370 h 1986246"/>
                <a:gd name="connsiteX10" fmla="*/ 1194319 w 11280654"/>
                <a:gd name="connsiteY10" fmla="*/ 1510401 h 1986246"/>
                <a:gd name="connsiteX11" fmla="*/ 1302887 w 11280654"/>
                <a:gd name="connsiteY11" fmla="*/ 1229994 h 1986246"/>
                <a:gd name="connsiteX12" fmla="*/ 1411455 w 11280654"/>
                <a:gd name="connsiteY12" fmla="*/ 873105 h 1986246"/>
                <a:gd name="connsiteX13" fmla="*/ 1563450 w 11280654"/>
                <a:gd name="connsiteY13" fmla="*/ 737154 h 1986246"/>
                <a:gd name="connsiteX14" fmla="*/ 1867441 w 11280654"/>
                <a:gd name="connsiteY14" fmla="*/ 737154 h 1986246"/>
                <a:gd name="connsiteX15" fmla="*/ 2442864 w 11280654"/>
                <a:gd name="connsiteY15" fmla="*/ 754148 h 1986246"/>
                <a:gd name="connsiteX16" fmla="*/ 3582863 w 11280654"/>
                <a:gd name="connsiteY16" fmla="*/ 754148 h 1986246"/>
                <a:gd name="connsiteX17" fmla="*/ 4277722 w 11280654"/>
                <a:gd name="connsiteY17" fmla="*/ 788136 h 1986246"/>
                <a:gd name="connsiteX18" fmla="*/ 4733732 w 11280654"/>
                <a:gd name="connsiteY18" fmla="*/ 728648 h 1986246"/>
                <a:gd name="connsiteX19" fmla="*/ 5211454 w 11280654"/>
                <a:gd name="connsiteY19" fmla="*/ 728648 h 1986246"/>
                <a:gd name="connsiteX20" fmla="*/ 5982323 w 11280654"/>
                <a:gd name="connsiteY20" fmla="*/ 771142 h 1986246"/>
                <a:gd name="connsiteX21" fmla="*/ 6861759 w 11280654"/>
                <a:gd name="connsiteY21" fmla="*/ 754148 h 1986246"/>
                <a:gd name="connsiteX22" fmla="*/ 7491477 w 11280654"/>
                <a:gd name="connsiteY22" fmla="*/ 762654 h 1986246"/>
                <a:gd name="connsiteX23" fmla="*/ 8327487 w 11280654"/>
                <a:gd name="connsiteY23" fmla="*/ 762654 h 1986246"/>
                <a:gd name="connsiteX24" fmla="*/ 9391500 w 11280654"/>
                <a:gd name="connsiteY24" fmla="*/ 788154 h 1986246"/>
                <a:gd name="connsiteX25" fmla="*/ 10140655 w 11280654"/>
                <a:gd name="connsiteY25" fmla="*/ 779648 h 1986246"/>
                <a:gd name="connsiteX26" fmla="*/ 10672650 w 11280654"/>
                <a:gd name="connsiteY26" fmla="*/ 771142 h 1986246"/>
                <a:gd name="connsiteX27" fmla="*/ 11150373 w 11280654"/>
                <a:gd name="connsiteY27" fmla="*/ 737154 h 1986246"/>
                <a:gd name="connsiteX28" fmla="*/ 11280654 w 11280654"/>
                <a:gd name="connsiteY28" fmla="*/ 754148 h 1986246"/>
                <a:gd name="connsiteX29" fmla="*/ 11280654 w 11280654"/>
                <a:gd name="connsiteY29" fmla="*/ 133791 h 1986246"/>
                <a:gd name="connsiteX30" fmla="*/ 11096078 w 11280654"/>
                <a:gd name="connsiteY30" fmla="*/ 65870 h 1986246"/>
                <a:gd name="connsiteX31" fmla="*/ 10281782 w 11280654"/>
                <a:gd name="connsiteY31" fmla="*/ 14889 h 1986246"/>
                <a:gd name="connsiteX32" fmla="*/ 9695491 w 11280654"/>
                <a:gd name="connsiteY32" fmla="*/ 108364 h 1986246"/>
                <a:gd name="connsiteX33" fmla="*/ 8794341 w 11280654"/>
                <a:gd name="connsiteY33" fmla="*/ 201839 h 1986246"/>
                <a:gd name="connsiteX34" fmla="*/ 7828050 w 11280654"/>
                <a:gd name="connsiteY34" fmla="*/ 201839 h 1986246"/>
                <a:gd name="connsiteX35" fmla="*/ 6101760 w 11280654"/>
                <a:gd name="connsiteY35" fmla="*/ 193333 h 1986246"/>
                <a:gd name="connsiteX36" fmla="*/ 5016032 w 11280654"/>
                <a:gd name="connsiteY36" fmla="*/ 65870 h 1986246"/>
                <a:gd name="connsiteX37" fmla="*/ 3224600 w 11280654"/>
                <a:gd name="connsiteY37" fmla="*/ 57364 h 1986246"/>
                <a:gd name="connsiteX38" fmla="*/ 2171455 w 11280654"/>
                <a:gd name="connsiteY38" fmla="*/ 82864 h 1986246"/>
                <a:gd name="connsiteX39" fmla="*/ 760023 w 11280654"/>
                <a:gd name="connsiteY39" fmla="*/ 116852 h 1986246"/>
                <a:gd name="connsiteX40" fmla="*/ 0 w 11280654"/>
                <a:gd name="connsiteY40" fmla="*/ 91352 h 1986246"/>
                <a:gd name="connsiteX0" fmla="*/ 0 w 11280654"/>
                <a:gd name="connsiteY0" fmla="*/ 91352 h 1994638"/>
                <a:gd name="connsiteX1" fmla="*/ 10868 w 11280654"/>
                <a:gd name="connsiteY1" fmla="*/ 745642 h 1994638"/>
                <a:gd name="connsiteX2" fmla="*/ 260587 w 11280654"/>
                <a:gd name="connsiteY2" fmla="*/ 915580 h 1994638"/>
                <a:gd name="connsiteX3" fmla="*/ 282300 w 11280654"/>
                <a:gd name="connsiteY3" fmla="*/ 1077031 h 1994638"/>
                <a:gd name="connsiteX4" fmla="*/ 510305 w 11280654"/>
                <a:gd name="connsiteY4" fmla="*/ 1416926 h 1994638"/>
                <a:gd name="connsiteX5" fmla="*/ 640587 w 11280654"/>
                <a:gd name="connsiteY5" fmla="*/ 1595370 h 1994638"/>
                <a:gd name="connsiteX6" fmla="*/ 694882 w 11280654"/>
                <a:gd name="connsiteY6" fmla="*/ 1790808 h 1994638"/>
                <a:gd name="connsiteX7" fmla="*/ 857746 w 11280654"/>
                <a:gd name="connsiteY7" fmla="*/ 1986246 h 1994638"/>
                <a:gd name="connsiteX8" fmla="*/ 1020610 w 11280654"/>
                <a:gd name="connsiteY8" fmla="*/ 1858784 h 1994638"/>
                <a:gd name="connsiteX9" fmla="*/ 1042324 w 11280654"/>
                <a:gd name="connsiteY9" fmla="*/ 1595370 h 1994638"/>
                <a:gd name="connsiteX10" fmla="*/ 1194319 w 11280654"/>
                <a:gd name="connsiteY10" fmla="*/ 1510401 h 1994638"/>
                <a:gd name="connsiteX11" fmla="*/ 1302887 w 11280654"/>
                <a:gd name="connsiteY11" fmla="*/ 1229994 h 1994638"/>
                <a:gd name="connsiteX12" fmla="*/ 1411455 w 11280654"/>
                <a:gd name="connsiteY12" fmla="*/ 873105 h 1994638"/>
                <a:gd name="connsiteX13" fmla="*/ 1563450 w 11280654"/>
                <a:gd name="connsiteY13" fmla="*/ 737154 h 1994638"/>
                <a:gd name="connsiteX14" fmla="*/ 1867441 w 11280654"/>
                <a:gd name="connsiteY14" fmla="*/ 737154 h 1994638"/>
                <a:gd name="connsiteX15" fmla="*/ 2442864 w 11280654"/>
                <a:gd name="connsiteY15" fmla="*/ 754148 h 1994638"/>
                <a:gd name="connsiteX16" fmla="*/ 3582863 w 11280654"/>
                <a:gd name="connsiteY16" fmla="*/ 754148 h 1994638"/>
                <a:gd name="connsiteX17" fmla="*/ 4277722 w 11280654"/>
                <a:gd name="connsiteY17" fmla="*/ 788136 h 1994638"/>
                <a:gd name="connsiteX18" fmla="*/ 4733732 w 11280654"/>
                <a:gd name="connsiteY18" fmla="*/ 728648 h 1994638"/>
                <a:gd name="connsiteX19" fmla="*/ 5211454 w 11280654"/>
                <a:gd name="connsiteY19" fmla="*/ 728648 h 1994638"/>
                <a:gd name="connsiteX20" fmla="*/ 5982323 w 11280654"/>
                <a:gd name="connsiteY20" fmla="*/ 771142 h 1994638"/>
                <a:gd name="connsiteX21" fmla="*/ 6861759 w 11280654"/>
                <a:gd name="connsiteY21" fmla="*/ 754148 h 1994638"/>
                <a:gd name="connsiteX22" fmla="*/ 7491477 w 11280654"/>
                <a:gd name="connsiteY22" fmla="*/ 762654 h 1994638"/>
                <a:gd name="connsiteX23" fmla="*/ 8327487 w 11280654"/>
                <a:gd name="connsiteY23" fmla="*/ 762654 h 1994638"/>
                <a:gd name="connsiteX24" fmla="*/ 9391500 w 11280654"/>
                <a:gd name="connsiteY24" fmla="*/ 788154 h 1994638"/>
                <a:gd name="connsiteX25" fmla="*/ 10140655 w 11280654"/>
                <a:gd name="connsiteY25" fmla="*/ 779648 h 1994638"/>
                <a:gd name="connsiteX26" fmla="*/ 10672650 w 11280654"/>
                <a:gd name="connsiteY26" fmla="*/ 771142 h 1994638"/>
                <a:gd name="connsiteX27" fmla="*/ 11150373 w 11280654"/>
                <a:gd name="connsiteY27" fmla="*/ 737154 h 1994638"/>
                <a:gd name="connsiteX28" fmla="*/ 11280654 w 11280654"/>
                <a:gd name="connsiteY28" fmla="*/ 754148 h 1994638"/>
                <a:gd name="connsiteX29" fmla="*/ 11280654 w 11280654"/>
                <a:gd name="connsiteY29" fmla="*/ 133791 h 1994638"/>
                <a:gd name="connsiteX30" fmla="*/ 11096078 w 11280654"/>
                <a:gd name="connsiteY30" fmla="*/ 65870 h 1994638"/>
                <a:gd name="connsiteX31" fmla="*/ 10281782 w 11280654"/>
                <a:gd name="connsiteY31" fmla="*/ 14889 h 1994638"/>
                <a:gd name="connsiteX32" fmla="*/ 9695491 w 11280654"/>
                <a:gd name="connsiteY32" fmla="*/ 108364 h 1994638"/>
                <a:gd name="connsiteX33" fmla="*/ 8794341 w 11280654"/>
                <a:gd name="connsiteY33" fmla="*/ 201839 h 1994638"/>
                <a:gd name="connsiteX34" fmla="*/ 7828050 w 11280654"/>
                <a:gd name="connsiteY34" fmla="*/ 201839 h 1994638"/>
                <a:gd name="connsiteX35" fmla="*/ 6101760 w 11280654"/>
                <a:gd name="connsiteY35" fmla="*/ 193333 h 1994638"/>
                <a:gd name="connsiteX36" fmla="*/ 5016032 w 11280654"/>
                <a:gd name="connsiteY36" fmla="*/ 65870 h 1994638"/>
                <a:gd name="connsiteX37" fmla="*/ 3224600 w 11280654"/>
                <a:gd name="connsiteY37" fmla="*/ 57364 h 1994638"/>
                <a:gd name="connsiteX38" fmla="*/ 2171455 w 11280654"/>
                <a:gd name="connsiteY38" fmla="*/ 82864 h 1994638"/>
                <a:gd name="connsiteX39" fmla="*/ 760023 w 11280654"/>
                <a:gd name="connsiteY39" fmla="*/ 116852 h 1994638"/>
                <a:gd name="connsiteX40" fmla="*/ 0 w 11280654"/>
                <a:gd name="connsiteY40" fmla="*/ 91352 h 1994638"/>
                <a:gd name="connsiteX0" fmla="*/ 2673914 w 11269790"/>
                <a:gd name="connsiteY0" fmla="*/ 66415 h 1994638"/>
                <a:gd name="connsiteX1" fmla="*/ 4 w 11269790"/>
                <a:gd name="connsiteY1" fmla="*/ 745642 h 1994638"/>
                <a:gd name="connsiteX2" fmla="*/ 249723 w 11269790"/>
                <a:gd name="connsiteY2" fmla="*/ 915580 h 1994638"/>
                <a:gd name="connsiteX3" fmla="*/ 271436 w 11269790"/>
                <a:gd name="connsiteY3" fmla="*/ 1077031 h 1994638"/>
                <a:gd name="connsiteX4" fmla="*/ 499441 w 11269790"/>
                <a:gd name="connsiteY4" fmla="*/ 1416926 h 1994638"/>
                <a:gd name="connsiteX5" fmla="*/ 629723 w 11269790"/>
                <a:gd name="connsiteY5" fmla="*/ 1595370 h 1994638"/>
                <a:gd name="connsiteX6" fmla="*/ 684018 w 11269790"/>
                <a:gd name="connsiteY6" fmla="*/ 1790808 h 1994638"/>
                <a:gd name="connsiteX7" fmla="*/ 846882 w 11269790"/>
                <a:gd name="connsiteY7" fmla="*/ 1986246 h 1994638"/>
                <a:gd name="connsiteX8" fmla="*/ 1009746 w 11269790"/>
                <a:gd name="connsiteY8" fmla="*/ 1858784 h 1994638"/>
                <a:gd name="connsiteX9" fmla="*/ 1031460 w 11269790"/>
                <a:gd name="connsiteY9" fmla="*/ 1595370 h 1994638"/>
                <a:gd name="connsiteX10" fmla="*/ 1183455 w 11269790"/>
                <a:gd name="connsiteY10" fmla="*/ 1510401 h 1994638"/>
                <a:gd name="connsiteX11" fmla="*/ 1292023 w 11269790"/>
                <a:gd name="connsiteY11" fmla="*/ 1229994 h 1994638"/>
                <a:gd name="connsiteX12" fmla="*/ 1400591 w 11269790"/>
                <a:gd name="connsiteY12" fmla="*/ 873105 h 1994638"/>
                <a:gd name="connsiteX13" fmla="*/ 1552586 w 11269790"/>
                <a:gd name="connsiteY13" fmla="*/ 737154 h 1994638"/>
                <a:gd name="connsiteX14" fmla="*/ 1856577 w 11269790"/>
                <a:gd name="connsiteY14" fmla="*/ 737154 h 1994638"/>
                <a:gd name="connsiteX15" fmla="*/ 2432000 w 11269790"/>
                <a:gd name="connsiteY15" fmla="*/ 754148 h 1994638"/>
                <a:gd name="connsiteX16" fmla="*/ 3571999 w 11269790"/>
                <a:gd name="connsiteY16" fmla="*/ 754148 h 1994638"/>
                <a:gd name="connsiteX17" fmla="*/ 4266858 w 11269790"/>
                <a:gd name="connsiteY17" fmla="*/ 788136 h 1994638"/>
                <a:gd name="connsiteX18" fmla="*/ 4722868 w 11269790"/>
                <a:gd name="connsiteY18" fmla="*/ 728648 h 1994638"/>
                <a:gd name="connsiteX19" fmla="*/ 5200590 w 11269790"/>
                <a:gd name="connsiteY19" fmla="*/ 728648 h 1994638"/>
                <a:gd name="connsiteX20" fmla="*/ 5971459 w 11269790"/>
                <a:gd name="connsiteY20" fmla="*/ 771142 h 1994638"/>
                <a:gd name="connsiteX21" fmla="*/ 6850895 w 11269790"/>
                <a:gd name="connsiteY21" fmla="*/ 754148 h 1994638"/>
                <a:gd name="connsiteX22" fmla="*/ 7480613 w 11269790"/>
                <a:gd name="connsiteY22" fmla="*/ 762654 h 1994638"/>
                <a:gd name="connsiteX23" fmla="*/ 8316623 w 11269790"/>
                <a:gd name="connsiteY23" fmla="*/ 762654 h 1994638"/>
                <a:gd name="connsiteX24" fmla="*/ 9380636 w 11269790"/>
                <a:gd name="connsiteY24" fmla="*/ 788154 h 1994638"/>
                <a:gd name="connsiteX25" fmla="*/ 10129791 w 11269790"/>
                <a:gd name="connsiteY25" fmla="*/ 779648 h 1994638"/>
                <a:gd name="connsiteX26" fmla="*/ 10661786 w 11269790"/>
                <a:gd name="connsiteY26" fmla="*/ 771142 h 1994638"/>
                <a:gd name="connsiteX27" fmla="*/ 11139509 w 11269790"/>
                <a:gd name="connsiteY27" fmla="*/ 737154 h 1994638"/>
                <a:gd name="connsiteX28" fmla="*/ 11269790 w 11269790"/>
                <a:gd name="connsiteY28" fmla="*/ 754148 h 1994638"/>
                <a:gd name="connsiteX29" fmla="*/ 11269790 w 11269790"/>
                <a:gd name="connsiteY29" fmla="*/ 133791 h 1994638"/>
                <a:gd name="connsiteX30" fmla="*/ 11085214 w 11269790"/>
                <a:gd name="connsiteY30" fmla="*/ 65870 h 1994638"/>
                <a:gd name="connsiteX31" fmla="*/ 10270918 w 11269790"/>
                <a:gd name="connsiteY31" fmla="*/ 14889 h 1994638"/>
                <a:gd name="connsiteX32" fmla="*/ 9684627 w 11269790"/>
                <a:gd name="connsiteY32" fmla="*/ 108364 h 1994638"/>
                <a:gd name="connsiteX33" fmla="*/ 8783477 w 11269790"/>
                <a:gd name="connsiteY33" fmla="*/ 201839 h 1994638"/>
                <a:gd name="connsiteX34" fmla="*/ 7817186 w 11269790"/>
                <a:gd name="connsiteY34" fmla="*/ 201839 h 1994638"/>
                <a:gd name="connsiteX35" fmla="*/ 6090896 w 11269790"/>
                <a:gd name="connsiteY35" fmla="*/ 193333 h 1994638"/>
                <a:gd name="connsiteX36" fmla="*/ 5005168 w 11269790"/>
                <a:gd name="connsiteY36" fmla="*/ 65870 h 1994638"/>
                <a:gd name="connsiteX37" fmla="*/ 3213736 w 11269790"/>
                <a:gd name="connsiteY37" fmla="*/ 57364 h 1994638"/>
                <a:gd name="connsiteX38" fmla="*/ 2160591 w 11269790"/>
                <a:gd name="connsiteY38" fmla="*/ 82864 h 1994638"/>
                <a:gd name="connsiteX39" fmla="*/ 749159 w 11269790"/>
                <a:gd name="connsiteY39" fmla="*/ 116852 h 1994638"/>
                <a:gd name="connsiteX40" fmla="*/ 2673914 w 11269790"/>
                <a:gd name="connsiteY40" fmla="*/ 66415 h 1994638"/>
                <a:gd name="connsiteX0" fmla="*/ 2673914 w 11269790"/>
                <a:gd name="connsiteY0" fmla="*/ 66415 h 1994638"/>
                <a:gd name="connsiteX1" fmla="*/ 4 w 11269790"/>
                <a:gd name="connsiteY1" fmla="*/ 745642 h 1994638"/>
                <a:gd name="connsiteX2" fmla="*/ 249723 w 11269790"/>
                <a:gd name="connsiteY2" fmla="*/ 915580 h 1994638"/>
                <a:gd name="connsiteX3" fmla="*/ 271436 w 11269790"/>
                <a:gd name="connsiteY3" fmla="*/ 1077031 h 1994638"/>
                <a:gd name="connsiteX4" fmla="*/ 499441 w 11269790"/>
                <a:gd name="connsiteY4" fmla="*/ 1416926 h 1994638"/>
                <a:gd name="connsiteX5" fmla="*/ 629723 w 11269790"/>
                <a:gd name="connsiteY5" fmla="*/ 1595370 h 1994638"/>
                <a:gd name="connsiteX6" fmla="*/ 684018 w 11269790"/>
                <a:gd name="connsiteY6" fmla="*/ 1790808 h 1994638"/>
                <a:gd name="connsiteX7" fmla="*/ 846882 w 11269790"/>
                <a:gd name="connsiteY7" fmla="*/ 1986246 h 1994638"/>
                <a:gd name="connsiteX8" fmla="*/ 1009746 w 11269790"/>
                <a:gd name="connsiteY8" fmla="*/ 1858784 h 1994638"/>
                <a:gd name="connsiteX9" fmla="*/ 1031460 w 11269790"/>
                <a:gd name="connsiteY9" fmla="*/ 1595370 h 1994638"/>
                <a:gd name="connsiteX10" fmla="*/ 1183455 w 11269790"/>
                <a:gd name="connsiteY10" fmla="*/ 1510401 h 1994638"/>
                <a:gd name="connsiteX11" fmla="*/ 1292023 w 11269790"/>
                <a:gd name="connsiteY11" fmla="*/ 1229994 h 1994638"/>
                <a:gd name="connsiteX12" fmla="*/ 1400591 w 11269790"/>
                <a:gd name="connsiteY12" fmla="*/ 873105 h 1994638"/>
                <a:gd name="connsiteX13" fmla="*/ 1552586 w 11269790"/>
                <a:gd name="connsiteY13" fmla="*/ 737154 h 1994638"/>
                <a:gd name="connsiteX14" fmla="*/ 1856577 w 11269790"/>
                <a:gd name="connsiteY14" fmla="*/ 737154 h 1994638"/>
                <a:gd name="connsiteX15" fmla="*/ 2432000 w 11269790"/>
                <a:gd name="connsiteY15" fmla="*/ 754148 h 1994638"/>
                <a:gd name="connsiteX16" fmla="*/ 3571999 w 11269790"/>
                <a:gd name="connsiteY16" fmla="*/ 754148 h 1994638"/>
                <a:gd name="connsiteX17" fmla="*/ 4266858 w 11269790"/>
                <a:gd name="connsiteY17" fmla="*/ 788136 h 1994638"/>
                <a:gd name="connsiteX18" fmla="*/ 4722868 w 11269790"/>
                <a:gd name="connsiteY18" fmla="*/ 728648 h 1994638"/>
                <a:gd name="connsiteX19" fmla="*/ 5200590 w 11269790"/>
                <a:gd name="connsiteY19" fmla="*/ 728648 h 1994638"/>
                <a:gd name="connsiteX20" fmla="*/ 5971459 w 11269790"/>
                <a:gd name="connsiteY20" fmla="*/ 771142 h 1994638"/>
                <a:gd name="connsiteX21" fmla="*/ 6850895 w 11269790"/>
                <a:gd name="connsiteY21" fmla="*/ 754148 h 1994638"/>
                <a:gd name="connsiteX22" fmla="*/ 7480613 w 11269790"/>
                <a:gd name="connsiteY22" fmla="*/ 762654 h 1994638"/>
                <a:gd name="connsiteX23" fmla="*/ 8316623 w 11269790"/>
                <a:gd name="connsiteY23" fmla="*/ 762654 h 1994638"/>
                <a:gd name="connsiteX24" fmla="*/ 9380636 w 11269790"/>
                <a:gd name="connsiteY24" fmla="*/ 788154 h 1994638"/>
                <a:gd name="connsiteX25" fmla="*/ 10129791 w 11269790"/>
                <a:gd name="connsiteY25" fmla="*/ 779648 h 1994638"/>
                <a:gd name="connsiteX26" fmla="*/ 10661786 w 11269790"/>
                <a:gd name="connsiteY26" fmla="*/ 771142 h 1994638"/>
                <a:gd name="connsiteX27" fmla="*/ 11139509 w 11269790"/>
                <a:gd name="connsiteY27" fmla="*/ 737154 h 1994638"/>
                <a:gd name="connsiteX28" fmla="*/ 11269790 w 11269790"/>
                <a:gd name="connsiteY28" fmla="*/ 754148 h 1994638"/>
                <a:gd name="connsiteX29" fmla="*/ 11269790 w 11269790"/>
                <a:gd name="connsiteY29" fmla="*/ 133791 h 1994638"/>
                <a:gd name="connsiteX30" fmla="*/ 11085214 w 11269790"/>
                <a:gd name="connsiteY30" fmla="*/ 65870 h 1994638"/>
                <a:gd name="connsiteX31" fmla="*/ 10270918 w 11269790"/>
                <a:gd name="connsiteY31" fmla="*/ 14889 h 1994638"/>
                <a:gd name="connsiteX32" fmla="*/ 9684627 w 11269790"/>
                <a:gd name="connsiteY32" fmla="*/ 108364 h 1994638"/>
                <a:gd name="connsiteX33" fmla="*/ 8783477 w 11269790"/>
                <a:gd name="connsiteY33" fmla="*/ 201839 h 1994638"/>
                <a:gd name="connsiteX34" fmla="*/ 7817186 w 11269790"/>
                <a:gd name="connsiteY34" fmla="*/ 201839 h 1994638"/>
                <a:gd name="connsiteX35" fmla="*/ 6090896 w 11269790"/>
                <a:gd name="connsiteY35" fmla="*/ 193333 h 1994638"/>
                <a:gd name="connsiteX36" fmla="*/ 5005168 w 11269790"/>
                <a:gd name="connsiteY36" fmla="*/ 65870 h 1994638"/>
                <a:gd name="connsiteX37" fmla="*/ 3213736 w 11269790"/>
                <a:gd name="connsiteY37" fmla="*/ 57364 h 1994638"/>
                <a:gd name="connsiteX38" fmla="*/ 2160591 w 11269790"/>
                <a:gd name="connsiteY38" fmla="*/ 82864 h 1994638"/>
                <a:gd name="connsiteX39" fmla="*/ 2673914 w 11269790"/>
                <a:gd name="connsiteY39" fmla="*/ 66415 h 1994638"/>
                <a:gd name="connsiteX0" fmla="*/ 2673914 w 11269790"/>
                <a:gd name="connsiteY0" fmla="*/ 66415 h 1994638"/>
                <a:gd name="connsiteX1" fmla="*/ 4 w 11269790"/>
                <a:gd name="connsiteY1" fmla="*/ 745642 h 1994638"/>
                <a:gd name="connsiteX2" fmla="*/ 249723 w 11269790"/>
                <a:gd name="connsiteY2" fmla="*/ 915580 h 1994638"/>
                <a:gd name="connsiteX3" fmla="*/ 271436 w 11269790"/>
                <a:gd name="connsiteY3" fmla="*/ 1077031 h 1994638"/>
                <a:gd name="connsiteX4" fmla="*/ 499441 w 11269790"/>
                <a:gd name="connsiteY4" fmla="*/ 1416926 h 1994638"/>
                <a:gd name="connsiteX5" fmla="*/ 629723 w 11269790"/>
                <a:gd name="connsiteY5" fmla="*/ 1595370 h 1994638"/>
                <a:gd name="connsiteX6" fmla="*/ 684018 w 11269790"/>
                <a:gd name="connsiteY6" fmla="*/ 1790808 h 1994638"/>
                <a:gd name="connsiteX7" fmla="*/ 846882 w 11269790"/>
                <a:gd name="connsiteY7" fmla="*/ 1986246 h 1994638"/>
                <a:gd name="connsiteX8" fmla="*/ 1009746 w 11269790"/>
                <a:gd name="connsiteY8" fmla="*/ 1858784 h 1994638"/>
                <a:gd name="connsiteX9" fmla="*/ 1031460 w 11269790"/>
                <a:gd name="connsiteY9" fmla="*/ 1595370 h 1994638"/>
                <a:gd name="connsiteX10" fmla="*/ 1183455 w 11269790"/>
                <a:gd name="connsiteY10" fmla="*/ 1510401 h 1994638"/>
                <a:gd name="connsiteX11" fmla="*/ 1292023 w 11269790"/>
                <a:gd name="connsiteY11" fmla="*/ 1229994 h 1994638"/>
                <a:gd name="connsiteX12" fmla="*/ 1400591 w 11269790"/>
                <a:gd name="connsiteY12" fmla="*/ 873105 h 1994638"/>
                <a:gd name="connsiteX13" fmla="*/ 1552586 w 11269790"/>
                <a:gd name="connsiteY13" fmla="*/ 737154 h 1994638"/>
                <a:gd name="connsiteX14" fmla="*/ 1856577 w 11269790"/>
                <a:gd name="connsiteY14" fmla="*/ 737154 h 1994638"/>
                <a:gd name="connsiteX15" fmla="*/ 2432000 w 11269790"/>
                <a:gd name="connsiteY15" fmla="*/ 754148 h 1994638"/>
                <a:gd name="connsiteX16" fmla="*/ 3571999 w 11269790"/>
                <a:gd name="connsiteY16" fmla="*/ 754148 h 1994638"/>
                <a:gd name="connsiteX17" fmla="*/ 4266858 w 11269790"/>
                <a:gd name="connsiteY17" fmla="*/ 788136 h 1994638"/>
                <a:gd name="connsiteX18" fmla="*/ 4722868 w 11269790"/>
                <a:gd name="connsiteY18" fmla="*/ 728648 h 1994638"/>
                <a:gd name="connsiteX19" fmla="*/ 5200590 w 11269790"/>
                <a:gd name="connsiteY19" fmla="*/ 728648 h 1994638"/>
                <a:gd name="connsiteX20" fmla="*/ 5971459 w 11269790"/>
                <a:gd name="connsiteY20" fmla="*/ 771142 h 1994638"/>
                <a:gd name="connsiteX21" fmla="*/ 6850895 w 11269790"/>
                <a:gd name="connsiteY21" fmla="*/ 754148 h 1994638"/>
                <a:gd name="connsiteX22" fmla="*/ 7480613 w 11269790"/>
                <a:gd name="connsiteY22" fmla="*/ 762654 h 1994638"/>
                <a:gd name="connsiteX23" fmla="*/ 8316623 w 11269790"/>
                <a:gd name="connsiteY23" fmla="*/ 762654 h 1994638"/>
                <a:gd name="connsiteX24" fmla="*/ 9380636 w 11269790"/>
                <a:gd name="connsiteY24" fmla="*/ 788154 h 1994638"/>
                <a:gd name="connsiteX25" fmla="*/ 10129791 w 11269790"/>
                <a:gd name="connsiteY25" fmla="*/ 779648 h 1994638"/>
                <a:gd name="connsiteX26" fmla="*/ 10661786 w 11269790"/>
                <a:gd name="connsiteY26" fmla="*/ 771142 h 1994638"/>
                <a:gd name="connsiteX27" fmla="*/ 11139509 w 11269790"/>
                <a:gd name="connsiteY27" fmla="*/ 737154 h 1994638"/>
                <a:gd name="connsiteX28" fmla="*/ 11269790 w 11269790"/>
                <a:gd name="connsiteY28" fmla="*/ 754148 h 1994638"/>
                <a:gd name="connsiteX29" fmla="*/ 11269790 w 11269790"/>
                <a:gd name="connsiteY29" fmla="*/ 133791 h 1994638"/>
                <a:gd name="connsiteX30" fmla="*/ 11085214 w 11269790"/>
                <a:gd name="connsiteY30" fmla="*/ 65870 h 1994638"/>
                <a:gd name="connsiteX31" fmla="*/ 10270918 w 11269790"/>
                <a:gd name="connsiteY31" fmla="*/ 14889 h 1994638"/>
                <a:gd name="connsiteX32" fmla="*/ 9684627 w 11269790"/>
                <a:gd name="connsiteY32" fmla="*/ 108364 h 1994638"/>
                <a:gd name="connsiteX33" fmla="*/ 8783477 w 11269790"/>
                <a:gd name="connsiteY33" fmla="*/ 201839 h 1994638"/>
                <a:gd name="connsiteX34" fmla="*/ 7817186 w 11269790"/>
                <a:gd name="connsiteY34" fmla="*/ 201839 h 1994638"/>
                <a:gd name="connsiteX35" fmla="*/ 6090896 w 11269790"/>
                <a:gd name="connsiteY35" fmla="*/ 193333 h 1994638"/>
                <a:gd name="connsiteX36" fmla="*/ 5005168 w 11269790"/>
                <a:gd name="connsiteY36" fmla="*/ 65870 h 1994638"/>
                <a:gd name="connsiteX37" fmla="*/ 3213736 w 11269790"/>
                <a:gd name="connsiteY37" fmla="*/ 57364 h 1994638"/>
                <a:gd name="connsiteX38" fmla="*/ 2673914 w 11269790"/>
                <a:gd name="connsiteY38" fmla="*/ 66415 h 1994638"/>
                <a:gd name="connsiteX0" fmla="*/ 2598674 w 11194550"/>
                <a:gd name="connsiteY0" fmla="*/ 66415 h 1994638"/>
                <a:gd name="connsiteX1" fmla="*/ 174483 w 11194550"/>
                <a:gd name="connsiteY1" fmla="*/ 915580 h 1994638"/>
                <a:gd name="connsiteX2" fmla="*/ 196196 w 11194550"/>
                <a:gd name="connsiteY2" fmla="*/ 1077031 h 1994638"/>
                <a:gd name="connsiteX3" fmla="*/ 424201 w 11194550"/>
                <a:gd name="connsiteY3" fmla="*/ 1416926 h 1994638"/>
                <a:gd name="connsiteX4" fmla="*/ 554483 w 11194550"/>
                <a:gd name="connsiteY4" fmla="*/ 1595370 h 1994638"/>
                <a:gd name="connsiteX5" fmla="*/ 608778 w 11194550"/>
                <a:gd name="connsiteY5" fmla="*/ 1790808 h 1994638"/>
                <a:gd name="connsiteX6" fmla="*/ 771642 w 11194550"/>
                <a:gd name="connsiteY6" fmla="*/ 1986246 h 1994638"/>
                <a:gd name="connsiteX7" fmla="*/ 934506 w 11194550"/>
                <a:gd name="connsiteY7" fmla="*/ 1858784 h 1994638"/>
                <a:gd name="connsiteX8" fmla="*/ 956220 w 11194550"/>
                <a:gd name="connsiteY8" fmla="*/ 1595370 h 1994638"/>
                <a:gd name="connsiteX9" fmla="*/ 1108215 w 11194550"/>
                <a:gd name="connsiteY9" fmla="*/ 1510401 h 1994638"/>
                <a:gd name="connsiteX10" fmla="*/ 1216783 w 11194550"/>
                <a:gd name="connsiteY10" fmla="*/ 1229994 h 1994638"/>
                <a:gd name="connsiteX11" fmla="*/ 1325351 w 11194550"/>
                <a:gd name="connsiteY11" fmla="*/ 873105 h 1994638"/>
                <a:gd name="connsiteX12" fmla="*/ 1477346 w 11194550"/>
                <a:gd name="connsiteY12" fmla="*/ 737154 h 1994638"/>
                <a:gd name="connsiteX13" fmla="*/ 1781337 w 11194550"/>
                <a:gd name="connsiteY13" fmla="*/ 737154 h 1994638"/>
                <a:gd name="connsiteX14" fmla="*/ 2356760 w 11194550"/>
                <a:gd name="connsiteY14" fmla="*/ 754148 h 1994638"/>
                <a:gd name="connsiteX15" fmla="*/ 3496759 w 11194550"/>
                <a:gd name="connsiteY15" fmla="*/ 754148 h 1994638"/>
                <a:gd name="connsiteX16" fmla="*/ 4191618 w 11194550"/>
                <a:gd name="connsiteY16" fmla="*/ 788136 h 1994638"/>
                <a:gd name="connsiteX17" fmla="*/ 4647628 w 11194550"/>
                <a:gd name="connsiteY17" fmla="*/ 728648 h 1994638"/>
                <a:gd name="connsiteX18" fmla="*/ 5125350 w 11194550"/>
                <a:gd name="connsiteY18" fmla="*/ 728648 h 1994638"/>
                <a:gd name="connsiteX19" fmla="*/ 5896219 w 11194550"/>
                <a:gd name="connsiteY19" fmla="*/ 771142 h 1994638"/>
                <a:gd name="connsiteX20" fmla="*/ 6775655 w 11194550"/>
                <a:gd name="connsiteY20" fmla="*/ 754148 h 1994638"/>
                <a:gd name="connsiteX21" fmla="*/ 7405373 w 11194550"/>
                <a:gd name="connsiteY21" fmla="*/ 762654 h 1994638"/>
                <a:gd name="connsiteX22" fmla="*/ 8241383 w 11194550"/>
                <a:gd name="connsiteY22" fmla="*/ 762654 h 1994638"/>
                <a:gd name="connsiteX23" fmla="*/ 9305396 w 11194550"/>
                <a:gd name="connsiteY23" fmla="*/ 788154 h 1994638"/>
                <a:gd name="connsiteX24" fmla="*/ 10054551 w 11194550"/>
                <a:gd name="connsiteY24" fmla="*/ 779648 h 1994638"/>
                <a:gd name="connsiteX25" fmla="*/ 10586546 w 11194550"/>
                <a:gd name="connsiteY25" fmla="*/ 771142 h 1994638"/>
                <a:gd name="connsiteX26" fmla="*/ 11064269 w 11194550"/>
                <a:gd name="connsiteY26" fmla="*/ 737154 h 1994638"/>
                <a:gd name="connsiteX27" fmla="*/ 11194550 w 11194550"/>
                <a:gd name="connsiteY27" fmla="*/ 754148 h 1994638"/>
                <a:gd name="connsiteX28" fmla="*/ 11194550 w 11194550"/>
                <a:gd name="connsiteY28" fmla="*/ 133791 h 1994638"/>
                <a:gd name="connsiteX29" fmla="*/ 11009974 w 11194550"/>
                <a:gd name="connsiteY29" fmla="*/ 65870 h 1994638"/>
                <a:gd name="connsiteX30" fmla="*/ 10195678 w 11194550"/>
                <a:gd name="connsiteY30" fmla="*/ 14889 h 1994638"/>
                <a:gd name="connsiteX31" fmla="*/ 9609387 w 11194550"/>
                <a:gd name="connsiteY31" fmla="*/ 108364 h 1994638"/>
                <a:gd name="connsiteX32" fmla="*/ 8708237 w 11194550"/>
                <a:gd name="connsiteY32" fmla="*/ 201839 h 1994638"/>
                <a:gd name="connsiteX33" fmla="*/ 7741946 w 11194550"/>
                <a:gd name="connsiteY33" fmla="*/ 201839 h 1994638"/>
                <a:gd name="connsiteX34" fmla="*/ 6015656 w 11194550"/>
                <a:gd name="connsiteY34" fmla="*/ 193333 h 1994638"/>
                <a:gd name="connsiteX35" fmla="*/ 4929928 w 11194550"/>
                <a:gd name="connsiteY35" fmla="*/ 65870 h 1994638"/>
                <a:gd name="connsiteX36" fmla="*/ 3138496 w 11194550"/>
                <a:gd name="connsiteY36" fmla="*/ 57364 h 1994638"/>
                <a:gd name="connsiteX37" fmla="*/ 2598674 w 11194550"/>
                <a:gd name="connsiteY37" fmla="*/ 66415 h 1994638"/>
                <a:gd name="connsiteX0" fmla="*/ 2523012 w 11118888"/>
                <a:gd name="connsiteY0" fmla="*/ 66415 h 1994638"/>
                <a:gd name="connsiteX1" fmla="*/ 2391070 w 11118888"/>
                <a:gd name="connsiteY1" fmla="*/ 622730 h 1994638"/>
                <a:gd name="connsiteX2" fmla="*/ 120534 w 11118888"/>
                <a:gd name="connsiteY2" fmla="*/ 1077031 h 1994638"/>
                <a:gd name="connsiteX3" fmla="*/ 348539 w 11118888"/>
                <a:gd name="connsiteY3" fmla="*/ 1416926 h 1994638"/>
                <a:gd name="connsiteX4" fmla="*/ 478821 w 11118888"/>
                <a:gd name="connsiteY4" fmla="*/ 1595370 h 1994638"/>
                <a:gd name="connsiteX5" fmla="*/ 533116 w 11118888"/>
                <a:gd name="connsiteY5" fmla="*/ 1790808 h 1994638"/>
                <a:gd name="connsiteX6" fmla="*/ 695980 w 11118888"/>
                <a:gd name="connsiteY6" fmla="*/ 1986246 h 1994638"/>
                <a:gd name="connsiteX7" fmla="*/ 858844 w 11118888"/>
                <a:gd name="connsiteY7" fmla="*/ 1858784 h 1994638"/>
                <a:gd name="connsiteX8" fmla="*/ 880558 w 11118888"/>
                <a:gd name="connsiteY8" fmla="*/ 1595370 h 1994638"/>
                <a:gd name="connsiteX9" fmla="*/ 1032553 w 11118888"/>
                <a:gd name="connsiteY9" fmla="*/ 1510401 h 1994638"/>
                <a:gd name="connsiteX10" fmla="*/ 1141121 w 11118888"/>
                <a:gd name="connsiteY10" fmla="*/ 1229994 h 1994638"/>
                <a:gd name="connsiteX11" fmla="*/ 1249689 w 11118888"/>
                <a:gd name="connsiteY11" fmla="*/ 873105 h 1994638"/>
                <a:gd name="connsiteX12" fmla="*/ 1401684 w 11118888"/>
                <a:gd name="connsiteY12" fmla="*/ 737154 h 1994638"/>
                <a:gd name="connsiteX13" fmla="*/ 1705675 w 11118888"/>
                <a:gd name="connsiteY13" fmla="*/ 737154 h 1994638"/>
                <a:gd name="connsiteX14" fmla="*/ 2281098 w 11118888"/>
                <a:gd name="connsiteY14" fmla="*/ 754148 h 1994638"/>
                <a:gd name="connsiteX15" fmla="*/ 3421097 w 11118888"/>
                <a:gd name="connsiteY15" fmla="*/ 754148 h 1994638"/>
                <a:gd name="connsiteX16" fmla="*/ 4115956 w 11118888"/>
                <a:gd name="connsiteY16" fmla="*/ 788136 h 1994638"/>
                <a:gd name="connsiteX17" fmla="*/ 4571966 w 11118888"/>
                <a:gd name="connsiteY17" fmla="*/ 728648 h 1994638"/>
                <a:gd name="connsiteX18" fmla="*/ 5049688 w 11118888"/>
                <a:gd name="connsiteY18" fmla="*/ 728648 h 1994638"/>
                <a:gd name="connsiteX19" fmla="*/ 5820557 w 11118888"/>
                <a:gd name="connsiteY19" fmla="*/ 771142 h 1994638"/>
                <a:gd name="connsiteX20" fmla="*/ 6699993 w 11118888"/>
                <a:gd name="connsiteY20" fmla="*/ 754148 h 1994638"/>
                <a:gd name="connsiteX21" fmla="*/ 7329711 w 11118888"/>
                <a:gd name="connsiteY21" fmla="*/ 762654 h 1994638"/>
                <a:gd name="connsiteX22" fmla="*/ 8165721 w 11118888"/>
                <a:gd name="connsiteY22" fmla="*/ 762654 h 1994638"/>
                <a:gd name="connsiteX23" fmla="*/ 9229734 w 11118888"/>
                <a:gd name="connsiteY23" fmla="*/ 788154 h 1994638"/>
                <a:gd name="connsiteX24" fmla="*/ 9978889 w 11118888"/>
                <a:gd name="connsiteY24" fmla="*/ 779648 h 1994638"/>
                <a:gd name="connsiteX25" fmla="*/ 10510884 w 11118888"/>
                <a:gd name="connsiteY25" fmla="*/ 771142 h 1994638"/>
                <a:gd name="connsiteX26" fmla="*/ 10988607 w 11118888"/>
                <a:gd name="connsiteY26" fmla="*/ 737154 h 1994638"/>
                <a:gd name="connsiteX27" fmla="*/ 11118888 w 11118888"/>
                <a:gd name="connsiteY27" fmla="*/ 754148 h 1994638"/>
                <a:gd name="connsiteX28" fmla="*/ 11118888 w 11118888"/>
                <a:gd name="connsiteY28" fmla="*/ 133791 h 1994638"/>
                <a:gd name="connsiteX29" fmla="*/ 10934312 w 11118888"/>
                <a:gd name="connsiteY29" fmla="*/ 65870 h 1994638"/>
                <a:gd name="connsiteX30" fmla="*/ 10120016 w 11118888"/>
                <a:gd name="connsiteY30" fmla="*/ 14889 h 1994638"/>
                <a:gd name="connsiteX31" fmla="*/ 9533725 w 11118888"/>
                <a:gd name="connsiteY31" fmla="*/ 108364 h 1994638"/>
                <a:gd name="connsiteX32" fmla="*/ 8632575 w 11118888"/>
                <a:gd name="connsiteY32" fmla="*/ 201839 h 1994638"/>
                <a:gd name="connsiteX33" fmla="*/ 7666284 w 11118888"/>
                <a:gd name="connsiteY33" fmla="*/ 201839 h 1994638"/>
                <a:gd name="connsiteX34" fmla="*/ 5939994 w 11118888"/>
                <a:gd name="connsiteY34" fmla="*/ 193333 h 1994638"/>
                <a:gd name="connsiteX35" fmla="*/ 4854266 w 11118888"/>
                <a:gd name="connsiteY35" fmla="*/ 65870 h 1994638"/>
                <a:gd name="connsiteX36" fmla="*/ 3062834 w 11118888"/>
                <a:gd name="connsiteY36" fmla="*/ 57364 h 1994638"/>
                <a:gd name="connsiteX37" fmla="*/ 2523012 w 11118888"/>
                <a:gd name="connsiteY37" fmla="*/ 66415 h 1994638"/>
                <a:gd name="connsiteX0" fmla="*/ 2523012 w 11118888"/>
                <a:gd name="connsiteY0" fmla="*/ 66415 h 1994638"/>
                <a:gd name="connsiteX1" fmla="*/ 2391070 w 11118888"/>
                <a:gd name="connsiteY1" fmla="*/ 622730 h 1994638"/>
                <a:gd name="connsiteX2" fmla="*/ 120534 w 11118888"/>
                <a:gd name="connsiteY2" fmla="*/ 1077031 h 1994638"/>
                <a:gd name="connsiteX3" fmla="*/ 348539 w 11118888"/>
                <a:gd name="connsiteY3" fmla="*/ 1416926 h 1994638"/>
                <a:gd name="connsiteX4" fmla="*/ 478821 w 11118888"/>
                <a:gd name="connsiteY4" fmla="*/ 1595370 h 1994638"/>
                <a:gd name="connsiteX5" fmla="*/ 533116 w 11118888"/>
                <a:gd name="connsiteY5" fmla="*/ 1790808 h 1994638"/>
                <a:gd name="connsiteX6" fmla="*/ 695980 w 11118888"/>
                <a:gd name="connsiteY6" fmla="*/ 1986246 h 1994638"/>
                <a:gd name="connsiteX7" fmla="*/ 858844 w 11118888"/>
                <a:gd name="connsiteY7" fmla="*/ 1858784 h 1994638"/>
                <a:gd name="connsiteX8" fmla="*/ 880558 w 11118888"/>
                <a:gd name="connsiteY8" fmla="*/ 1595370 h 1994638"/>
                <a:gd name="connsiteX9" fmla="*/ 1032553 w 11118888"/>
                <a:gd name="connsiteY9" fmla="*/ 1510401 h 1994638"/>
                <a:gd name="connsiteX10" fmla="*/ 1141121 w 11118888"/>
                <a:gd name="connsiteY10" fmla="*/ 1229994 h 1994638"/>
                <a:gd name="connsiteX11" fmla="*/ 1249689 w 11118888"/>
                <a:gd name="connsiteY11" fmla="*/ 873105 h 1994638"/>
                <a:gd name="connsiteX12" fmla="*/ 1401684 w 11118888"/>
                <a:gd name="connsiteY12" fmla="*/ 737154 h 1994638"/>
                <a:gd name="connsiteX13" fmla="*/ 1705675 w 11118888"/>
                <a:gd name="connsiteY13" fmla="*/ 737154 h 1994638"/>
                <a:gd name="connsiteX14" fmla="*/ 2281098 w 11118888"/>
                <a:gd name="connsiteY14" fmla="*/ 754148 h 1994638"/>
                <a:gd name="connsiteX15" fmla="*/ 3421097 w 11118888"/>
                <a:gd name="connsiteY15" fmla="*/ 754148 h 1994638"/>
                <a:gd name="connsiteX16" fmla="*/ 4115956 w 11118888"/>
                <a:gd name="connsiteY16" fmla="*/ 788136 h 1994638"/>
                <a:gd name="connsiteX17" fmla="*/ 4571966 w 11118888"/>
                <a:gd name="connsiteY17" fmla="*/ 728648 h 1994638"/>
                <a:gd name="connsiteX18" fmla="*/ 5049688 w 11118888"/>
                <a:gd name="connsiteY18" fmla="*/ 728648 h 1994638"/>
                <a:gd name="connsiteX19" fmla="*/ 5820557 w 11118888"/>
                <a:gd name="connsiteY19" fmla="*/ 771142 h 1994638"/>
                <a:gd name="connsiteX20" fmla="*/ 6699993 w 11118888"/>
                <a:gd name="connsiteY20" fmla="*/ 754148 h 1994638"/>
                <a:gd name="connsiteX21" fmla="*/ 7329711 w 11118888"/>
                <a:gd name="connsiteY21" fmla="*/ 762654 h 1994638"/>
                <a:gd name="connsiteX22" fmla="*/ 8165721 w 11118888"/>
                <a:gd name="connsiteY22" fmla="*/ 762654 h 1994638"/>
                <a:gd name="connsiteX23" fmla="*/ 9229734 w 11118888"/>
                <a:gd name="connsiteY23" fmla="*/ 788154 h 1994638"/>
                <a:gd name="connsiteX24" fmla="*/ 9978889 w 11118888"/>
                <a:gd name="connsiteY24" fmla="*/ 779648 h 1994638"/>
                <a:gd name="connsiteX25" fmla="*/ 10510884 w 11118888"/>
                <a:gd name="connsiteY25" fmla="*/ 771142 h 1994638"/>
                <a:gd name="connsiteX26" fmla="*/ 10988607 w 11118888"/>
                <a:gd name="connsiteY26" fmla="*/ 737154 h 1994638"/>
                <a:gd name="connsiteX27" fmla="*/ 11118888 w 11118888"/>
                <a:gd name="connsiteY27" fmla="*/ 754148 h 1994638"/>
                <a:gd name="connsiteX28" fmla="*/ 11118888 w 11118888"/>
                <a:gd name="connsiteY28" fmla="*/ 133791 h 1994638"/>
                <a:gd name="connsiteX29" fmla="*/ 10934312 w 11118888"/>
                <a:gd name="connsiteY29" fmla="*/ 65870 h 1994638"/>
                <a:gd name="connsiteX30" fmla="*/ 10120016 w 11118888"/>
                <a:gd name="connsiteY30" fmla="*/ 14889 h 1994638"/>
                <a:gd name="connsiteX31" fmla="*/ 9533725 w 11118888"/>
                <a:gd name="connsiteY31" fmla="*/ 108364 h 1994638"/>
                <a:gd name="connsiteX32" fmla="*/ 8632575 w 11118888"/>
                <a:gd name="connsiteY32" fmla="*/ 201839 h 1994638"/>
                <a:gd name="connsiteX33" fmla="*/ 7666284 w 11118888"/>
                <a:gd name="connsiteY33" fmla="*/ 201839 h 1994638"/>
                <a:gd name="connsiteX34" fmla="*/ 5939994 w 11118888"/>
                <a:gd name="connsiteY34" fmla="*/ 193333 h 1994638"/>
                <a:gd name="connsiteX35" fmla="*/ 4854266 w 11118888"/>
                <a:gd name="connsiteY35" fmla="*/ 65870 h 1994638"/>
                <a:gd name="connsiteX36" fmla="*/ 3062834 w 11118888"/>
                <a:gd name="connsiteY36" fmla="*/ 57364 h 1994638"/>
                <a:gd name="connsiteX37" fmla="*/ 2523012 w 11118888"/>
                <a:gd name="connsiteY37" fmla="*/ 66415 h 1994638"/>
                <a:gd name="connsiteX0" fmla="*/ 2532379 w 11128255"/>
                <a:gd name="connsiteY0" fmla="*/ 66415 h 1994638"/>
                <a:gd name="connsiteX1" fmla="*/ 129901 w 11128255"/>
                <a:gd name="connsiteY1" fmla="*/ 1077031 h 1994638"/>
                <a:gd name="connsiteX2" fmla="*/ 357906 w 11128255"/>
                <a:gd name="connsiteY2" fmla="*/ 1416926 h 1994638"/>
                <a:gd name="connsiteX3" fmla="*/ 488188 w 11128255"/>
                <a:gd name="connsiteY3" fmla="*/ 1595370 h 1994638"/>
                <a:gd name="connsiteX4" fmla="*/ 542483 w 11128255"/>
                <a:gd name="connsiteY4" fmla="*/ 1790808 h 1994638"/>
                <a:gd name="connsiteX5" fmla="*/ 705347 w 11128255"/>
                <a:gd name="connsiteY5" fmla="*/ 1986246 h 1994638"/>
                <a:gd name="connsiteX6" fmla="*/ 868211 w 11128255"/>
                <a:gd name="connsiteY6" fmla="*/ 1858784 h 1994638"/>
                <a:gd name="connsiteX7" fmla="*/ 889925 w 11128255"/>
                <a:gd name="connsiteY7" fmla="*/ 1595370 h 1994638"/>
                <a:gd name="connsiteX8" fmla="*/ 1041920 w 11128255"/>
                <a:gd name="connsiteY8" fmla="*/ 1510401 h 1994638"/>
                <a:gd name="connsiteX9" fmla="*/ 1150488 w 11128255"/>
                <a:gd name="connsiteY9" fmla="*/ 1229994 h 1994638"/>
                <a:gd name="connsiteX10" fmla="*/ 1259056 w 11128255"/>
                <a:gd name="connsiteY10" fmla="*/ 873105 h 1994638"/>
                <a:gd name="connsiteX11" fmla="*/ 1411051 w 11128255"/>
                <a:gd name="connsiteY11" fmla="*/ 737154 h 1994638"/>
                <a:gd name="connsiteX12" fmla="*/ 1715042 w 11128255"/>
                <a:gd name="connsiteY12" fmla="*/ 737154 h 1994638"/>
                <a:gd name="connsiteX13" fmla="*/ 2290465 w 11128255"/>
                <a:gd name="connsiteY13" fmla="*/ 754148 h 1994638"/>
                <a:gd name="connsiteX14" fmla="*/ 3430464 w 11128255"/>
                <a:gd name="connsiteY14" fmla="*/ 754148 h 1994638"/>
                <a:gd name="connsiteX15" fmla="*/ 4125323 w 11128255"/>
                <a:gd name="connsiteY15" fmla="*/ 788136 h 1994638"/>
                <a:gd name="connsiteX16" fmla="*/ 4581333 w 11128255"/>
                <a:gd name="connsiteY16" fmla="*/ 728648 h 1994638"/>
                <a:gd name="connsiteX17" fmla="*/ 5059055 w 11128255"/>
                <a:gd name="connsiteY17" fmla="*/ 728648 h 1994638"/>
                <a:gd name="connsiteX18" fmla="*/ 5829924 w 11128255"/>
                <a:gd name="connsiteY18" fmla="*/ 771142 h 1994638"/>
                <a:gd name="connsiteX19" fmla="*/ 6709360 w 11128255"/>
                <a:gd name="connsiteY19" fmla="*/ 754148 h 1994638"/>
                <a:gd name="connsiteX20" fmla="*/ 7339078 w 11128255"/>
                <a:gd name="connsiteY20" fmla="*/ 762654 h 1994638"/>
                <a:gd name="connsiteX21" fmla="*/ 8175088 w 11128255"/>
                <a:gd name="connsiteY21" fmla="*/ 762654 h 1994638"/>
                <a:gd name="connsiteX22" fmla="*/ 9239101 w 11128255"/>
                <a:gd name="connsiteY22" fmla="*/ 788154 h 1994638"/>
                <a:gd name="connsiteX23" fmla="*/ 9988256 w 11128255"/>
                <a:gd name="connsiteY23" fmla="*/ 779648 h 1994638"/>
                <a:gd name="connsiteX24" fmla="*/ 10520251 w 11128255"/>
                <a:gd name="connsiteY24" fmla="*/ 771142 h 1994638"/>
                <a:gd name="connsiteX25" fmla="*/ 10997974 w 11128255"/>
                <a:gd name="connsiteY25" fmla="*/ 737154 h 1994638"/>
                <a:gd name="connsiteX26" fmla="*/ 11128255 w 11128255"/>
                <a:gd name="connsiteY26" fmla="*/ 754148 h 1994638"/>
                <a:gd name="connsiteX27" fmla="*/ 11128255 w 11128255"/>
                <a:gd name="connsiteY27" fmla="*/ 133791 h 1994638"/>
                <a:gd name="connsiteX28" fmla="*/ 10943679 w 11128255"/>
                <a:gd name="connsiteY28" fmla="*/ 65870 h 1994638"/>
                <a:gd name="connsiteX29" fmla="*/ 10129383 w 11128255"/>
                <a:gd name="connsiteY29" fmla="*/ 14889 h 1994638"/>
                <a:gd name="connsiteX30" fmla="*/ 9543092 w 11128255"/>
                <a:gd name="connsiteY30" fmla="*/ 108364 h 1994638"/>
                <a:gd name="connsiteX31" fmla="*/ 8641942 w 11128255"/>
                <a:gd name="connsiteY31" fmla="*/ 201839 h 1994638"/>
                <a:gd name="connsiteX32" fmla="*/ 7675651 w 11128255"/>
                <a:gd name="connsiteY32" fmla="*/ 201839 h 1994638"/>
                <a:gd name="connsiteX33" fmla="*/ 5949361 w 11128255"/>
                <a:gd name="connsiteY33" fmla="*/ 193333 h 1994638"/>
                <a:gd name="connsiteX34" fmla="*/ 4863633 w 11128255"/>
                <a:gd name="connsiteY34" fmla="*/ 65870 h 1994638"/>
                <a:gd name="connsiteX35" fmla="*/ 3072201 w 11128255"/>
                <a:gd name="connsiteY35" fmla="*/ 57364 h 1994638"/>
                <a:gd name="connsiteX36" fmla="*/ 2532379 w 11128255"/>
                <a:gd name="connsiteY36" fmla="*/ 66415 h 1994638"/>
                <a:gd name="connsiteX0" fmla="*/ 2290884 w 10886760"/>
                <a:gd name="connsiteY0" fmla="*/ 66415 h 1994638"/>
                <a:gd name="connsiteX1" fmla="*/ 2173324 w 10886760"/>
                <a:gd name="connsiteY1" fmla="*/ 625754 h 1994638"/>
                <a:gd name="connsiteX2" fmla="*/ 116411 w 10886760"/>
                <a:gd name="connsiteY2" fmla="*/ 1416926 h 1994638"/>
                <a:gd name="connsiteX3" fmla="*/ 246693 w 10886760"/>
                <a:gd name="connsiteY3" fmla="*/ 1595370 h 1994638"/>
                <a:gd name="connsiteX4" fmla="*/ 300988 w 10886760"/>
                <a:gd name="connsiteY4" fmla="*/ 1790808 h 1994638"/>
                <a:gd name="connsiteX5" fmla="*/ 463852 w 10886760"/>
                <a:gd name="connsiteY5" fmla="*/ 1986246 h 1994638"/>
                <a:gd name="connsiteX6" fmla="*/ 626716 w 10886760"/>
                <a:gd name="connsiteY6" fmla="*/ 1858784 h 1994638"/>
                <a:gd name="connsiteX7" fmla="*/ 648430 w 10886760"/>
                <a:gd name="connsiteY7" fmla="*/ 1595370 h 1994638"/>
                <a:gd name="connsiteX8" fmla="*/ 800425 w 10886760"/>
                <a:gd name="connsiteY8" fmla="*/ 1510401 h 1994638"/>
                <a:gd name="connsiteX9" fmla="*/ 908993 w 10886760"/>
                <a:gd name="connsiteY9" fmla="*/ 1229994 h 1994638"/>
                <a:gd name="connsiteX10" fmla="*/ 1017561 w 10886760"/>
                <a:gd name="connsiteY10" fmla="*/ 873105 h 1994638"/>
                <a:gd name="connsiteX11" fmla="*/ 1169556 w 10886760"/>
                <a:gd name="connsiteY11" fmla="*/ 737154 h 1994638"/>
                <a:gd name="connsiteX12" fmla="*/ 1473547 w 10886760"/>
                <a:gd name="connsiteY12" fmla="*/ 737154 h 1994638"/>
                <a:gd name="connsiteX13" fmla="*/ 2048970 w 10886760"/>
                <a:gd name="connsiteY13" fmla="*/ 754148 h 1994638"/>
                <a:gd name="connsiteX14" fmla="*/ 3188969 w 10886760"/>
                <a:gd name="connsiteY14" fmla="*/ 754148 h 1994638"/>
                <a:gd name="connsiteX15" fmla="*/ 3883828 w 10886760"/>
                <a:gd name="connsiteY15" fmla="*/ 788136 h 1994638"/>
                <a:gd name="connsiteX16" fmla="*/ 4339838 w 10886760"/>
                <a:gd name="connsiteY16" fmla="*/ 728648 h 1994638"/>
                <a:gd name="connsiteX17" fmla="*/ 4817560 w 10886760"/>
                <a:gd name="connsiteY17" fmla="*/ 728648 h 1994638"/>
                <a:gd name="connsiteX18" fmla="*/ 5588429 w 10886760"/>
                <a:gd name="connsiteY18" fmla="*/ 771142 h 1994638"/>
                <a:gd name="connsiteX19" fmla="*/ 6467865 w 10886760"/>
                <a:gd name="connsiteY19" fmla="*/ 754148 h 1994638"/>
                <a:gd name="connsiteX20" fmla="*/ 7097583 w 10886760"/>
                <a:gd name="connsiteY20" fmla="*/ 762654 h 1994638"/>
                <a:gd name="connsiteX21" fmla="*/ 7933593 w 10886760"/>
                <a:gd name="connsiteY21" fmla="*/ 762654 h 1994638"/>
                <a:gd name="connsiteX22" fmla="*/ 8997606 w 10886760"/>
                <a:gd name="connsiteY22" fmla="*/ 788154 h 1994638"/>
                <a:gd name="connsiteX23" fmla="*/ 9746761 w 10886760"/>
                <a:gd name="connsiteY23" fmla="*/ 779648 h 1994638"/>
                <a:gd name="connsiteX24" fmla="*/ 10278756 w 10886760"/>
                <a:gd name="connsiteY24" fmla="*/ 771142 h 1994638"/>
                <a:gd name="connsiteX25" fmla="*/ 10756479 w 10886760"/>
                <a:gd name="connsiteY25" fmla="*/ 737154 h 1994638"/>
                <a:gd name="connsiteX26" fmla="*/ 10886760 w 10886760"/>
                <a:gd name="connsiteY26" fmla="*/ 754148 h 1994638"/>
                <a:gd name="connsiteX27" fmla="*/ 10886760 w 10886760"/>
                <a:gd name="connsiteY27" fmla="*/ 133791 h 1994638"/>
                <a:gd name="connsiteX28" fmla="*/ 10702184 w 10886760"/>
                <a:gd name="connsiteY28" fmla="*/ 65870 h 1994638"/>
                <a:gd name="connsiteX29" fmla="*/ 9887888 w 10886760"/>
                <a:gd name="connsiteY29" fmla="*/ 14889 h 1994638"/>
                <a:gd name="connsiteX30" fmla="*/ 9301597 w 10886760"/>
                <a:gd name="connsiteY30" fmla="*/ 108364 h 1994638"/>
                <a:gd name="connsiteX31" fmla="*/ 8400447 w 10886760"/>
                <a:gd name="connsiteY31" fmla="*/ 201839 h 1994638"/>
                <a:gd name="connsiteX32" fmla="*/ 7434156 w 10886760"/>
                <a:gd name="connsiteY32" fmla="*/ 201839 h 1994638"/>
                <a:gd name="connsiteX33" fmla="*/ 5707866 w 10886760"/>
                <a:gd name="connsiteY33" fmla="*/ 193333 h 1994638"/>
                <a:gd name="connsiteX34" fmla="*/ 4622138 w 10886760"/>
                <a:gd name="connsiteY34" fmla="*/ 65870 h 1994638"/>
                <a:gd name="connsiteX35" fmla="*/ 2830706 w 10886760"/>
                <a:gd name="connsiteY35" fmla="*/ 57364 h 1994638"/>
                <a:gd name="connsiteX36" fmla="*/ 2290884 w 10886760"/>
                <a:gd name="connsiteY36" fmla="*/ 66415 h 1994638"/>
                <a:gd name="connsiteX0" fmla="*/ 2179017 w 10774893"/>
                <a:gd name="connsiteY0" fmla="*/ 66415 h 1994638"/>
                <a:gd name="connsiteX1" fmla="*/ 2061457 w 10774893"/>
                <a:gd name="connsiteY1" fmla="*/ 625754 h 1994638"/>
                <a:gd name="connsiteX2" fmla="*/ 134826 w 10774893"/>
                <a:gd name="connsiteY2" fmla="*/ 1595370 h 1994638"/>
                <a:gd name="connsiteX3" fmla="*/ 189121 w 10774893"/>
                <a:gd name="connsiteY3" fmla="*/ 1790808 h 1994638"/>
                <a:gd name="connsiteX4" fmla="*/ 351985 w 10774893"/>
                <a:gd name="connsiteY4" fmla="*/ 1986246 h 1994638"/>
                <a:gd name="connsiteX5" fmla="*/ 514849 w 10774893"/>
                <a:gd name="connsiteY5" fmla="*/ 1858784 h 1994638"/>
                <a:gd name="connsiteX6" fmla="*/ 536563 w 10774893"/>
                <a:gd name="connsiteY6" fmla="*/ 1595370 h 1994638"/>
                <a:gd name="connsiteX7" fmla="*/ 688558 w 10774893"/>
                <a:gd name="connsiteY7" fmla="*/ 1510401 h 1994638"/>
                <a:gd name="connsiteX8" fmla="*/ 797126 w 10774893"/>
                <a:gd name="connsiteY8" fmla="*/ 1229994 h 1994638"/>
                <a:gd name="connsiteX9" fmla="*/ 905694 w 10774893"/>
                <a:gd name="connsiteY9" fmla="*/ 873105 h 1994638"/>
                <a:gd name="connsiteX10" fmla="*/ 1057689 w 10774893"/>
                <a:gd name="connsiteY10" fmla="*/ 737154 h 1994638"/>
                <a:gd name="connsiteX11" fmla="*/ 1361680 w 10774893"/>
                <a:gd name="connsiteY11" fmla="*/ 737154 h 1994638"/>
                <a:gd name="connsiteX12" fmla="*/ 1937103 w 10774893"/>
                <a:gd name="connsiteY12" fmla="*/ 754148 h 1994638"/>
                <a:gd name="connsiteX13" fmla="*/ 3077102 w 10774893"/>
                <a:gd name="connsiteY13" fmla="*/ 754148 h 1994638"/>
                <a:gd name="connsiteX14" fmla="*/ 3771961 w 10774893"/>
                <a:gd name="connsiteY14" fmla="*/ 788136 h 1994638"/>
                <a:gd name="connsiteX15" fmla="*/ 4227971 w 10774893"/>
                <a:gd name="connsiteY15" fmla="*/ 728648 h 1994638"/>
                <a:gd name="connsiteX16" fmla="*/ 4705693 w 10774893"/>
                <a:gd name="connsiteY16" fmla="*/ 728648 h 1994638"/>
                <a:gd name="connsiteX17" fmla="*/ 5476562 w 10774893"/>
                <a:gd name="connsiteY17" fmla="*/ 771142 h 1994638"/>
                <a:gd name="connsiteX18" fmla="*/ 6355998 w 10774893"/>
                <a:gd name="connsiteY18" fmla="*/ 754148 h 1994638"/>
                <a:gd name="connsiteX19" fmla="*/ 6985716 w 10774893"/>
                <a:gd name="connsiteY19" fmla="*/ 762654 h 1994638"/>
                <a:gd name="connsiteX20" fmla="*/ 7821726 w 10774893"/>
                <a:gd name="connsiteY20" fmla="*/ 762654 h 1994638"/>
                <a:gd name="connsiteX21" fmla="*/ 8885739 w 10774893"/>
                <a:gd name="connsiteY21" fmla="*/ 788154 h 1994638"/>
                <a:gd name="connsiteX22" fmla="*/ 9634894 w 10774893"/>
                <a:gd name="connsiteY22" fmla="*/ 779648 h 1994638"/>
                <a:gd name="connsiteX23" fmla="*/ 10166889 w 10774893"/>
                <a:gd name="connsiteY23" fmla="*/ 771142 h 1994638"/>
                <a:gd name="connsiteX24" fmla="*/ 10644612 w 10774893"/>
                <a:gd name="connsiteY24" fmla="*/ 737154 h 1994638"/>
                <a:gd name="connsiteX25" fmla="*/ 10774893 w 10774893"/>
                <a:gd name="connsiteY25" fmla="*/ 754148 h 1994638"/>
                <a:gd name="connsiteX26" fmla="*/ 10774893 w 10774893"/>
                <a:gd name="connsiteY26" fmla="*/ 133791 h 1994638"/>
                <a:gd name="connsiteX27" fmla="*/ 10590317 w 10774893"/>
                <a:gd name="connsiteY27" fmla="*/ 65870 h 1994638"/>
                <a:gd name="connsiteX28" fmla="*/ 9776021 w 10774893"/>
                <a:gd name="connsiteY28" fmla="*/ 14889 h 1994638"/>
                <a:gd name="connsiteX29" fmla="*/ 9189730 w 10774893"/>
                <a:gd name="connsiteY29" fmla="*/ 108364 h 1994638"/>
                <a:gd name="connsiteX30" fmla="*/ 8288580 w 10774893"/>
                <a:gd name="connsiteY30" fmla="*/ 201839 h 1994638"/>
                <a:gd name="connsiteX31" fmla="*/ 7322289 w 10774893"/>
                <a:gd name="connsiteY31" fmla="*/ 201839 h 1994638"/>
                <a:gd name="connsiteX32" fmla="*/ 5595999 w 10774893"/>
                <a:gd name="connsiteY32" fmla="*/ 193333 h 1994638"/>
                <a:gd name="connsiteX33" fmla="*/ 4510271 w 10774893"/>
                <a:gd name="connsiteY33" fmla="*/ 65870 h 1994638"/>
                <a:gd name="connsiteX34" fmla="*/ 2718839 w 10774893"/>
                <a:gd name="connsiteY34" fmla="*/ 57364 h 1994638"/>
                <a:gd name="connsiteX35" fmla="*/ 2179017 w 10774893"/>
                <a:gd name="connsiteY35" fmla="*/ 66415 h 1994638"/>
                <a:gd name="connsiteX0" fmla="*/ 2100767 w 10696643"/>
                <a:gd name="connsiteY0" fmla="*/ 66415 h 2006207"/>
                <a:gd name="connsiteX1" fmla="*/ 1983207 w 10696643"/>
                <a:gd name="connsiteY1" fmla="*/ 625754 h 2006207"/>
                <a:gd name="connsiteX2" fmla="*/ 110871 w 10696643"/>
                <a:gd name="connsiteY2" fmla="*/ 1790808 h 2006207"/>
                <a:gd name="connsiteX3" fmla="*/ 273735 w 10696643"/>
                <a:gd name="connsiteY3" fmla="*/ 1986246 h 2006207"/>
                <a:gd name="connsiteX4" fmla="*/ 436599 w 10696643"/>
                <a:gd name="connsiteY4" fmla="*/ 1858784 h 2006207"/>
                <a:gd name="connsiteX5" fmla="*/ 458313 w 10696643"/>
                <a:gd name="connsiteY5" fmla="*/ 1595370 h 2006207"/>
                <a:gd name="connsiteX6" fmla="*/ 610308 w 10696643"/>
                <a:gd name="connsiteY6" fmla="*/ 1510401 h 2006207"/>
                <a:gd name="connsiteX7" fmla="*/ 718876 w 10696643"/>
                <a:gd name="connsiteY7" fmla="*/ 1229994 h 2006207"/>
                <a:gd name="connsiteX8" fmla="*/ 827444 w 10696643"/>
                <a:gd name="connsiteY8" fmla="*/ 873105 h 2006207"/>
                <a:gd name="connsiteX9" fmla="*/ 979439 w 10696643"/>
                <a:gd name="connsiteY9" fmla="*/ 737154 h 2006207"/>
                <a:gd name="connsiteX10" fmla="*/ 1283430 w 10696643"/>
                <a:gd name="connsiteY10" fmla="*/ 737154 h 2006207"/>
                <a:gd name="connsiteX11" fmla="*/ 1858853 w 10696643"/>
                <a:gd name="connsiteY11" fmla="*/ 754148 h 2006207"/>
                <a:gd name="connsiteX12" fmla="*/ 2998852 w 10696643"/>
                <a:gd name="connsiteY12" fmla="*/ 754148 h 2006207"/>
                <a:gd name="connsiteX13" fmla="*/ 3693711 w 10696643"/>
                <a:gd name="connsiteY13" fmla="*/ 788136 h 2006207"/>
                <a:gd name="connsiteX14" fmla="*/ 4149721 w 10696643"/>
                <a:gd name="connsiteY14" fmla="*/ 728648 h 2006207"/>
                <a:gd name="connsiteX15" fmla="*/ 4627443 w 10696643"/>
                <a:gd name="connsiteY15" fmla="*/ 728648 h 2006207"/>
                <a:gd name="connsiteX16" fmla="*/ 5398312 w 10696643"/>
                <a:gd name="connsiteY16" fmla="*/ 771142 h 2006207"/>
                <a:gd name="connsiteX17" fmla="*/ 6277748 w 10696643"/>
                <a:gd name="connsiteY17" fmla="*/ 754148 h 2006207"/>
                <a:gd name="connsiteX18" fmla="*/ 6907466 w 10696643"/>
                <a:gd name="connsiteY18" fmla="*/ 762654 h 2006207"/>
                <a:gd name="connsiteX19" fmla="*/ 7743476 w 10696643"/>
                <a:gd name="connsiteY19" fmla="*/ 762654 h 2006207"/>
                <a:gd name="connsiteX20" fmla="*/ 8807489 w 10696643"/>
                <a:gd name="connsiteY20" fmla="*/ 788154 h 2006207"/>
                <a:gd name="connsiteX21" fmla="*/ 9556644 w 10696643"/>
                <a:gd name="connsiteY21" fmla="*/ 779648 h 2006207"/>
                <a:gd name="connsiteX22" fmla="*/ 10088639 w 10696643"/>
                <a:gd name="connsiteY22" fmla="*/ 771142 h 2006207"/>
                <a:gd name="connsiteX23" fmla="*/ 10566362 w 10696643"/>
                <a:gd name="connsiteY23" fmla="*/ 737154 h 2006207"/>
                <a:gd name="connsiteX24" fmla="*/ 10696643 w 10696643"/>
                <a:gd name="connsiteY24" fmla="*/ 754148 h 2006207"/>
                <a:gd name="connsiteX25" fmla="*/ 10696643 w 10696643"/>
                <a:gd name="connsiteY25" fmla="*/ 133791 h 2006207"/>
                <a:gd name="connsiteX26" fmla="*/ 10512067 w 10696643"/>
                <a:gd name="connsiteY26" fmla="*/ 65870 h 2006207"/>
                <a:gd name="connsiteX27" fmla="*/ 9697771 w 10696643"/>
                <a:gd name="connsiteY27" fmla="*/ 14889 h 2006207"/>
                <a:gd name="connsiteX28" fmla="*/ 9111480 w 10696643"/>
                <a:gd name="connsiteY28" fmla="*/ 108364 h 2006207"/>
                <a:gd name="connsiteX29" fmla="*/ 8210330 w 10696643"/>
                <a:gd name="connsiteY29" fmla="*/ 201839 h 2006207"/>
                <a:gd name="connsiteX30" fmla="*/ 7244039 w 10696643"/>
                <a:gd name="connsiteY30" fmla="*/ 201839 h 2006207"/>
                <a:gd name="connsiteX31" fmla="*/ 5517749 w 10696643"/>
                <a:gd name="connsiteY31" fmla="*/ 193333 h 2006207"/>
                <a:gd name="connsiteX32" fmla="*/ 4432021 w 10696643"/>
                <a:gd name="connsiteY32" fmla="*/ 65870 h 2006207"/>
                <a:gd name="connsiteX33" fmla="*/ 2640589 w 10696643"/>
                <a:gd name="connsiteY33" fmla="*/ 57364 h 2006207"/>
                <a:gd name="connsiteX34" fmla="*/ 2100767 w 10696643"/>
                <a:gd name="connsiteY34" fmla="*/ 66415 h 2006207"/>
                <a:gd name="connsiteX0" fmla="*/ 1827032 w 10422908"/>
                <a:gd name="connsiteY0" fmla="*/ 66415 h 1986245"/>
                <a:gd name="connsiteX1" fmla="*/ 1709472 w 10422908"/>
                <a:gd name="connsiteY1" fmla="*/ 625754 h 1986245"/>
                <a:gd name="connsiteX2" fmla="*/ 0 w 10422908"/>
                <a:gd name="connsiteY2" fmla="*/ 1986246 h 1986245"/>
                <a:gd name="connsiteX3" fmla="*/ 162864 w 10422908"/>
                <a:gd name="connsiteY3" fmla="*/ 1858784 h 1986245"/>
                <a:gd name="connsiteX4" fmla="*/ 184578 w 10422908"/>
                <a:gd name="connsiteY4" fmla="*/ 1595370 h 1986245"/>
                <a:gd name="connsiteX5" fmla="*/ 336573 w 10422908"/>
                <a:gd name="connsiteY5" fmla="*/ 1510401 h 1986245"/>
                <a:gd name="connsiteX6" fmla="*/ 445141 w 10422908"/>
                <a:gd name="connsiteY6" fmla="*/ 1229994 h 1986245"/>
                <a:gd name="connsiteX7" fmla="*/ 553709 w 10422908"/>
                <a:gd name="connsiteY7" fmla="*/ 873105 h 1986245"/>
                <a:gd name="connsiteX8" fmla="*/ 705704 w 10422908"/>
                <a:gd name="connsiteY8" fmla="*/ 737154 h 1986245"/>
                <a:gd name="connsiteX9" fmla="*/ 1009695 w 10422908"/>
                <a:gd name="connsiteY9" fmla="*/ 737154 h 1986245"/>
                <a:gd name="connsiteX10" fmla="*/ 1585118 w 10422908"/>
                <a:gd name="connsiteY10" fmla="*/ 754148 h 1986245"/>
                <a:gd name="connsiteX11" fmla="*/ 2725117 w 10422908"/>
                <a:gd name="connsiteY11" fmla="*/ 754148 h 1986245"/>
                <a:gd name="connsiteX12" fmla="*/ 3419976 w 10422908"/>
                <a:gd name="connsiteY12" fmla="*/ 788136 h 1986245"/>
                <a:gd name="connsiteX13" fmla="*/ 3875986 w 10422908"/>
                <a:gd name="connsiteY13" fmla="*/ 728648 h 1986245"/>
                <a:gd name="connsiteX14" fmla="*/ 4353708 w 10422908"/>
                <a:gd name="connsiteY14" fmla="*/ 728648 h 1986245"/>
                <a:gd name="connsiteX15" fmla="*/ 5124577 w 10422908"/>
                <a:gd name="connsiteY15" fmla="*/ 771142 h 1986245"/>
                <a:gd name="connsiteX16" fmla="*/ 6004013 w 10422908"/>
                <a:gd name="connsiteY16" fmla="*/ 754148 h 1986245"/>
                <a:gd name="connsiteX17" fmla="*/ 6633731 w 10422908"/>
                <a:gd name="connsiteY17" fmla="*/ 762654 h 1986245"/>
                <a:gd name="connsiteX18" fmla="*/ 7469741 w 10422908"/>
                <a:gd name="connsiteY18" fmla="*/ 762654 h 1986245"/>
                <a:gd name="connsiteX19" fmla="*/ 8533754 w 10422908"/>
                <a:gd name="connsiteY19" fmla="*/ 788154 h 1986245"/>
                <a:gd name="connsiteX20" fmla="*/ 9282909 w 10422908"/>
                <a:gd name="connsiteY20" fmla="*/ 779648 h 1986245"/>
                <a:gd name="connsiteX21" fmla="*/ 9814904 w 10422908"/>
                <a:gd name="connsiteY21" fmla="*/ 771142 h 1986245"/>
                <a:gd name="connsiteX22" fmla="*/ 10292627 w 10422908"/>
                <a:gd name="connsiteY22" fmla="*/ 737154 h 1986245"/>
                <a:gd name="connsiteX23" fmla="*/ 10422908 w 10422908"/>
                <a:gd name="connsiteY23" fmla="*/ 754148 h 1986245"/>
                <a:gd name="connsiteX24" fmla="*/ 10422908 w 10422908"/>
                <a:gd name="connsiteY24" fmla="*/ 133791 h 1986245"/>
                <a:gd name="connsiteX25" fmla="*/ 10238332 w 10422908"/>
                <a:gd name="connsiteY25" fmla="*/ 65870 h 1986245"/>
                <a:gd name="connsiteX26" fmla="*/ 9424036 w 10422908"/>
                <a:gd name="connsiteY26" fmla="*/ 14889 h 1986245"/>
                <a:gd name="connsiteX27" fmla="*/ 8837745 w 10422908"/>
                <a:gd name="connsiteY27" fmla="*/ 108364 h 1986245"/>
                <a:gd name="connsiteX28" fmla="*/ 7936595 w 10422908"/>
                <a:gd name="connsiteY28" fmla="*/ 201839 h 1986245"/>
                <a:gd name="connsiteX29" fmla="*/ 6970304 w 10422908"/>
                <a:gd name="connsiteY29" fmla="*/ 201839 h 1986245"/>
                <a:gd name="connsiteX30" fmla="*/ 5244014 w 10422908"/>
                <a:gd name="connsiteY30" fmla="*/ 193333 h 1986245"/>
                <a:gd name="connsiteX31" fmla="*/ 4158286 w 10422908"/>
                <a:gd name="connsiteY31" fmla="*/ 65870 h 1986245"/>
                <a:gd name="connsiteX32" fmla="*/ 2366854 w 10422908"/>
                <a:gd name="connsiteY32" fmla="*/ 57364 h 1986245"/>
                <a:gd name="connsiteX33" fmla="*/ 1827032 w 10422908"/>
                <a:gd name="connsiteY33" fmla="*/ 66415 h 1986245"/>
                <a:gd name="connsiteX0" fmla="*/ 1786453 w 10382329"/>
                <a:gd name="connsiteY0" fmla="*/ 66415 h 1901488"/>
                <a:gd name="connsiteX1" fmla="*/ 1668893 w 10382329"/>
                <a:gd name="connsiteY1" fmla="*/ 625754 h 1901488"/>
                <a:gd name="connsiteX2" fmla="*/ 122285 w 10382329"/>
                <a:gd name="connsiteY2" fmla="*/ 1858784 h 1901488"/>
                <a:gd name="connsiteX3" fmla="*/ 143999 w 10382329"/>
                <a:gd name="connsiteY3" fmla="*/ 1595370 h 1901488"/>
                <a:gd name="connsiteX4" fmla="*/ 295994 w 10382329"/>
                <a:gd name="connsiteY4" fmla="*/ 1510401 h 1901488"/>
                <a:gd name="connsiteX5" fmla="*/ 404562 w 10382329"/>
                <a:gd name="connsiteY5" fmla="*/ 1229994 h 1901488"/>
                <a:gd name="connsiteX6" fmla="*/ 513130 w 10382329"/>
                <a:gd name="connsiteY6" fmla="*/ 873105 h 1901488"/>
                <a:gd name="connsiteX7" fmla="*/ 665125 w 10382329"/>
                <a:gd name="connsiteY7" fmla="*/ 737154 h 1901488"/>
                <a:gd name="connsiteX8" fmla="*/ 969116 w 10382329"/>
                <a:gd name="connsiteY8" fmla="*/ 737154 h 1901488"/>
                <a:gd name="connsiteX9" fmla="*/ 1544539 w 10382329"/>
                <a:gd name="connsiteY9" fmla="*/ 754148 h 1901488"/>
                <a:gd name="connsiteX10" fmla="*/ 2684538 w 10382329"/>
                <a:gd name="connsiteY10" fmla="*/ 754148 h 1901488"/>
                <a:gd name="connsiteX11" fmla="*/ 3379397 w 10382329"/>
                <a:gd name="connsiteY11" fmla="*/ 788136 h 1901488"/>
                <a:gd name="connsiteX12" fmla="*/ 3835407 w 10382329"/>
                <a:gd name="connsiteY12" fmla="*/ 728648 h 1901488"/>
                <a:gd name="connsiteX13" fmla="*/ 4313129 w 10382329"/>
                <a:gd name="connsiteY13" fmla="*/ 728648 h 1901488"/>
                <a:gd name="connsiteX14" fmla="*/ 5083998 w 10382329"/>
                <a:gd name="connsiteY14" fmla="*/ 771142 h 1901488"/>
                <a:gd name="connsiteX15" fmla="*/ 5963434 w 10382329"/>
                <a:gd name="connsiteY15" fmla="*/ 754148 h 1901488"/>
                <a:gd name="connsiteX16" fmla="*/ 6593152 w 10382329"/>
                <a:gd name="connsiteY16" fmla="*/ 762654 h 1901488"/>
                <a:gd name="connsiteX17" fmla="*/ 7429162 w 10382329"/>
                <a:gd name="connsiteY17" fmla="*/ 762654 h 1901488"/>
                <a:gd name="connsiteX18" fmla="*/ 8493175 w 10382329"/>
                <a:gd name="connsiteY18" fmla="*/ 788154 h 1901488"/>
                <a:gd name="connsiteX19" fmla="*/ 9242330 w 10382329"/>
                <a:gd name="connsiteY19" fmla="*/ 779648 h 1901488"/>
                <a:gd name="connsiteX20" fmla="*/ 9774325 w 10382329"/>
                <a:gd name="connsiteY20" fmla="*/ 771142 h 1901488"/>
                <a:gd name="connsiteX21" fmla="*/ 10252048 w 10382329"/>
                <a:gd name="connsiteY21" fmla="*/ 737154 h 1901488"/>
                <a:gd name="connsiteX22" fmla="*/ 10382329 w 10382329"/>
                <a:gd name="connsiteY22" fmla="*/ 754148 h 1901488"/>
                <a:gd name="connsiteX23" fmla="*/ 10382329 w 10382329"/>
                <a:gd name="connsiteY23" fmla="*/ 133791 h 1901488"/>
                <a:gd name="connsiteX24" fmla="*/ 10197753 w 10382329"/>
                <a:gd name="connsiteY24" fmla="*/ 65870 h 1901488"/>
                <a:gd name="connsiteX25" fmla="*/ 9383457 w 10382329"/>
                <a:gd name="connsiteY25" fmla="*/ 14889 h 1901488"/>
                <a:gd name="connsiteX26" fmla="*/ 8797166 w 10382329"/>
                <a:gd name="connsiteY26" fmla="*/ 108364 h 1901488"/>
                <a:gd name="connsiteX27" fmla="*/ 7896016 w 10382329"/>
                <a:gd name="connsiteY27" fmla="*/ 201839 h 1901488"/>
                <a:gd name="connsiteX28" fmla="*/ 6929725 w 10382329"/>
                <a:gd name="connsiteY28" fmla="*/ 201839 h 1901488"/>
                <a:gd name="connsiteX29" fmla="*/ 5203435 w 10382329"/>
                <a:gd name="connsiteY29" fmla="*/ 193333 h 1901488"/>
                <a:gd name="connsiteX30" fmla="*/ 4117707 w 10382329"/>
                <a:gd name="connsiteY30" fmla="*/ 65870 h 1901488"/>
                <a:gd name="connsiteX31" fmla="*/ 2326275 w 10382329"/>
                <a:gd name="connsiteY31" fmla="*/ 57364 h 1901488"/>
                <a:gd name="connsiteX32" fmla="*/ 1786453 w 10382329"/>
                <a:gd name="connsiteY32" fmla="*/ 66415 h 1901488"/>
                <a:gd name="connsiteX0" fmla="*/ 1724759 w 10320635"/>
                <a:gd name="connsiteY0" fmla="*/ 66415 h 1652063"/>
                <a:gd name="connsiteX1" fmla="*/ 1607199 w 10320635"/>
                <a:gd name="connsiteY1" fmla="*/ 625754 h 1652063"/>
                <a:gd name="connsiteX2" fmla="*/ 82305 w 10320635"/>
                <a:gd name="connsiteY2" fmla="*/ 1595370 h 1652063"/>
                <a:gd name="connsiteX3" fmla="*/ 234300 w 10320635"/>
                <a:gd name="connsiteY3" fmla="*/ 1510401 h 1652063"/>
                <a:gd name="connsiteX4" fmla="*/ 342868 w 10320635"/>
                <a:gd name="connsiteY4" fmla="*/ 1229994 h 1652063"/>
                <a:gd name="connsiteX5" fmla="*/ 451436 w 10320635"/>
                <a:gd name="connsiteY5" fmla="*/ 873105 h 1652063"/>
                <a:gd name="connsiteX6" fmla="*/ 603431 w 10320635"/>
                <a:gd name="connsiteY6" fmla="*/ 737154 h 1652063"/>
                <a:gd name="connsiteX7" fmla="*/ 907422 w 10320635"/>
                <a:gd name="connsiteY7" fmla="*/ 737154 h 1652063"/>
                <a:gd name="connsiteX8" fmla="*/ 1482845 w 10320635"/>
                <a:gd name="connsiteY8" fmla="*/ 754148 h 1652063"/>
                <a:gd name="connsiteX9" fmla="*/ 2622844 w 10320635"/>
                <a:gd name="connsiteY9" fmla="*/ 754148 h 1652063"/>
                <a:gd name="connsiteX10" fmla="*/ 3317703 w 10320635"/>
                <a:gd name="connsiteY10" fmla="*/ 788136 h 1652063"/>
                <a:gd name="connsiteX11" fmla="*/ 3773713 w 10320635"/>
                <a:gd name="connsiteY11" fmla="*/ 728648 h 1652063"/>
                <a:gd name="connsiteX12" fmla="*/ 4251435 w 10320635"/>
                <a:gd name="connsiteY12" fmla="*/ 728648 h 1652063"/>
                <a:gd name="connsiteX13" fmla="*/ 5022304 w 10320635"/>
                <a:gd name="connsiteY13" fmla="*/ 771142 h 1652063"/>
                <a:gd name="connsiteX14" fmla="*/ 5901740 w 10320635"/>
                <a:gd name="connsiteY14" fmla="*/ 754148 h 1652063"/>
                <a:gd name="connsiteX15" fmla="*/ 6531458 w 10320635"/>
                <a:gd name="connsiteY15" fmla="*/ 762654 h 1652063"/>
                <a:gd name="connsiteX16" fmla="*/ 7367468 w 10320635"/>
                <a:gd name="connsiteY16" fmla="*/ 762654 h 1652063"/>
                <a:gd name="connsiteX17" fmla="*/ 8431481 w 10320635"/>
                <a:gd name="connsiteY17" fmla="*/ 788154 h 1652063"/>
                <a:gd name="connsiteX18" fmla="*/ 9180636 w 10320635"/>
                <a:gd name="connsiteY18" fmla="*/ 779648 h 1652063"/>
                <a:gd name="connsiteX19" fmla="*/ 9712631 w 10320635"/>
                <a:gd name="connsiteY19" fmla="*/ 771142 h 1652063"/>
                <a:gd name="connsiteX20" fmla="*/ 10190354 w 10320635"/>
                <a:gd name="connsiteY20" fmla="*/ 737154 h 1652063"/>
                <a:gd name="connsiteX21" fmla="*/ 10320635 w 10320635"/>
                <a:gd name="connsiteY21" fmla="*/ 754148 h 1652063"/>
                <a:gd name="connsiteX22" fmla="*/ 10320635 w 10320635"/>
                <a:gd name="connsiteY22" fmla="*/ 133791 h 1652063"/>
                <a:gd name="connsiteX23" fmla="*/ 10136059 w 10320635"/>
                <a:gd name="connsiteY23" fmla="*/ 65870 h 1652063"/>
                <a:gd name="connsiteX24" fmla="*/ 9321763 w 10320635"/>
                <a:gd name="connsiteY24" fmla="*/ 14889 h 1652063"/>
                <a:gd name="connsiteX25" fmla="*/ 8735472 w 10320635"/>
                <a:gd name="connsiteY25" fmla="*/ 108364 h 1652063"/>
                <a:gd name="connsiteX26" fmla="*/ 7834322 w 10320635"/>
                <a:gd name="connsiteY26" fmla="*/ 201839 h 1652063"/>
                <a:gd name="connsiteX27" fmla="*/ 6868031 w 10320635"/>
                <a:gd name="connsiteY27" fmla="*/ 201839 h 1652063"/>
                <a:gd name="connsiteX28" fmla="*/ 5141741 w 10320635"/>
                <a:gd name="connsiteY28" fmla="*/ 193333 h 1652063"/>
                <a:gd name="connsiteX29" fmla="*/ 4056013 w 10320635"/>
                <a:gd name="connsiteY29" fmla="*/ 65870 h 1652063"/>
                <a:gd name="connsiteX30" fmla="*/ 2264581 w 10320635"/>
                <a:gd name="connsiteY30" fmla="*/ 57364 h 1652063"/>
                <a:gd name="connsiteX31" fmla="*/ 1724759 w 10320635"/>
                <a:gd name="connsiteY31" fmla="*/ 66415 h 1652063"/>
                <a:gd name="connsiteX0" fmla="*/ 1567192 w 10163068"/>
                <a:gd name="connsiteY0" fmla="*/ 66415 h 1535484"/>
                <a:gd name="connsiteX1" fmla="*/ 1449632 w 10163068"/>
                <a:gd name="connsiteY1" fmla="*/ 625754 h 1535484"/>
                <a:gd name="connsiteX2" fmla="*/ 76733 w 10163068"/>
                <a:gd name="connsiteY2" fmla="*/ 1510401 h 1535484"/>
                <a:gd name="connsiteX3" fmla="*/ 185301 w 10163068"/>
                <a:gd name="connsiteY3" fmla="*/ 1229994 h 1535484"/>
                <a:gd name="connsiteX4" fmla="*/ 293869 w 10163068"/>
                <a:gd name="connsiteY4" fmla="*/ 873105 h 1535484"/>
                <a:gd name="connsiteX5" fmla="*/ 445864 w 10163068"/>
                <a:gd name="connsiteY5" fmla="*/ 737154 h 1535484"/>
                <a:gd name="connsiteX6" fmla="*/ 749855 w 10163068"/>
                <a:gd name="connsiteY6" fmla="*/ 737154 h 1535484"/>
                <a:gd name="connsiteX7" fmla="*/ 1325278 w 10163068"/>
                <a:gd name="connsiteY7" fmla="*/ 754148 h 1535484"/>
                <a:gd name="connsiteX8" fmla="*/ 2465277 w 10163068"/>
                <a:gd name="connsiteY8" fmla="*/ 754148 h 1535484"/>
                <a:gd name="connsiteX9" fmla="*/ 3160136 w 10163068"/>
                <a:gd name="connsiteY9" fmla="*/ 788136 h 1535484"/>
                <a:gd name="connsiteX10" fmla="*/ 3616146 w 10163068"/>
                <a:gd name="connsiteY10" fmla="*/ 728648 h 1535484"/>
                <a:gd name="connsiteX11" fmla="*/ 4093868 w 10163068"/>
                <a:gd name="connsiteY11" fmla="*/ 728648 h 1535484"/>
                <a:gd name="connsiteX12" fmla="*/ 4864737 w 10163068"/>
                <a:gd name="connsiteY12" fmla="*/ 771142 h 1535484"/>
                <a:gd name="connsiteX13" fmla="*/ 5744173 w 10163068"/>
                <a:gd name="connsiteY13" fmla="*/ 754148 h 1535484"/>
                <a:gd name="connsiteX14" fmla="*/ 6373891 w 10163068"/>
                <a:gd name="connsiteY14" fmla="*/ 762654 h 1535484"/>
                <a:gd name="connsiteX15" fmla="*/ 7209901 w 10163068"/>
                <a:gd name="connsiteY15" fmla="*/ 762654 h 1535484"/>
                <a:gd name="connsiteX16" fmla="*/ 8273914 w 10163068"/>
                <a:gd name="connsiteY16" fmla="*/ 788154 h 1535484"/>
                <a:gd name="connsiteX17" fmla="*/ 9023069 w 10163068"/>
                <a:gd name="connsiteY17" fmla="*/ 779648 h 1535484"/>
                <a:gd name="connsiteX18" fmla="*/ 9555064 w 10163068"/>
                <a:gd name="connsiteY18" fmla="*/ 771142 h 1535484"/>
                <a:gd name="connsiteX19" fmla="*/ 10032787 w 10163068"/>
                <a:gd name="connsiteY19" fmla="*/ 737154 h 1535484"/>
                <a:gd name="connsiteX20" fmla="*/ 10163068 w 10163068"/>
                <a:gd name="connsiteY20" fmla="*/ 754148 h 1535484"/>
                <a:gd name="connsiteX21" fmla="*/ 10163068 w 10163068"/>
                <a:gd name="connsiteY21" fmla="*/ 133791 h 1535484"/>
                <a:gd name="connsiteX22" fmla="*/ 9978492 w 10163068"/>
                <a:gd name="connsiteY22" fmla="*/ 65870 h 1535484"/>
                <a:gd name="connsiteX23" fmla="*/ 9164196 w 10163068"/>
                <a:gd name="connsiteY23" fmla="*/ 14889 h 1535484"/>
                <a:gd name="connsiteX24" fmla="*/ 8577905 w 10163068"/>
                <a:gd name="connsiteY24" fmla="*/ 108364 h 1535484"/>
                <a:gd name="connsiteX25" fmla="*/ 7676755 w 10163068"/>
                <a:gd name="connsiteY25" fmla="*/ 201839 h 1535484"/>
                <a:gd name="connsiteX26" fmla="*/ 6710464 w 10163068"/>
                <a:gd name="connsiteY26" fmla="*/ 201839 h 1535484"/>
                <a:gd name="connsiteX27" fmla="*/ 4984174 w 10163068"/>
                <a:gd name="connsiteY27" fmla="*/ 193333 h 1535484"/>
                <a:gd name="connsiteX28" fmla="*/ 3898446 w 10163068"/>
                <a:gd name="connsiteY28" fmla="*/ 65870 h 1535484"/>
                <a:gd name="connsiteX29" fmla="*/ 2107014 w 10163068"/>
                <a:gd name="connsiteY29" fmla="*/ 57364 h 1535484"/>
                <a:gd name="connsiteX30" fmla="*/ 1567192 w 10163068"/>
                <a:gd name="connsiteY30" fmla="*/ 66415 h 1535484"/>
                <a:gd name="connsiteX0" fmla="*/ 1453651 w 10049527"/>
                <a:gd name="connsiteY0" fmla="*/ 66415 h 1233597"/>
                <a:gd name="connsiteX1" fmla="*/ 1336091 w 10049527"/>
                <a:gd name="connsiteY1" fmla="*/ 625754 h 1233597"/>
                <a:gd name="connsiteX2" fmla="*/ 71760 w 10049527"/>
                <a:gd name="connsiteY2" fmla="*/ 1229994 h 1233597"/>
                <a:gd name="connsiteX3" fmla="*/ 180328 w 10049527"/>
                <a:gd name="connsiteY3" fmla="*/ 873105 h 1233597"/>
                <a:gd name="connsiteX4" fmla="*/ 332323 w 10049527"/>
                <a:gd name="connsiteY4" fmla="*/ 737154 h 1233597"/>
                <a:gd name="connsiteX5" fmla="*/ 636314 w 10049527"/>
                <a:gd name="connsiteY5" fmla="*/ 737154 h 1233597"/>
                <a:gd name="connsiteX6" fmla="*/ 1211737 w 10049527"/>
                <a:gd name="connsiteY6" fmla="*/ 754148 h 1233597"/>
                <a:gd name="connsiteX7" fmla="*/ 2351736 w 10049527"/>
                <a:gd name="connsiteY7" fmla="*/ 754148 h 1233597"/>
                <a:gd name="connsiteX8" fmla="*/ 3046595 w 10049527"/>
                <a:gd name="connsiteY8" fmla="*/ 788136 h 1233597"/>
                <a:gd name="connsiteX9" fmla="*/ 3502605 w 10049527"/>
                <a:gd name="connsiteY9" fmla="*/ 728648 h 1233597"/>
                <a:gd name="connsiteX10" fmla="*/ 3980327 w 10049527"/>
                <a:gd name="connsiteY10" fmla="*/ 728648 h 1233597"/>
                <a:gd name="connsiteX11" fmla="*/ 4751196 w 10049527"/>
                <a:gd name="connsiteY11" fmla="*/ 771142 h 1233597"/>
                <a:gd name="connsiteX12" fmla="*/ 5630632 w 10049527"/>
                <a:gd name="connsiteY12" fmla="*/ 754148 h 1233597"/>
                <a:gd name="connsiteX13" fmla="*/ 6260350 w 10049527"/>
                <a:gd name="connsiteY13" fmla="*/ 762654 h 1233597"/>
                <a:gd name="connsiteX14" fmla="*/ 7096360 w 10049527"/>
                <a:gd name="connsiteY14" fmla="*/ 762654 h 1233597"/>
                <a:gd name="connsiteX15" fmla="*/ 8160373 w 10049527"/>
                <a:gd name="connsiteY15" fmla="*/ 788154 h 1233597"/>
                <a:gd name="connsiteX16" fmla="*/ 8909528 w 10049527"/>
                <a:gd name="connsiteY16" fmla="*/ 779648 h 1233597"/>
                <a:gd name="connsiteX17" fmla="*/ 9441523 w 10049527"/>
                <a:gd name="connsiteY17" fmla="*/ 771142 h 1233597"/>
                <a:gd name="connsiteX18" fmla="*/ 9919246 w 10049527"/>
                <a:gd name="connsiteY18" fmla="*/ 737154 h 1233597"/>
                <a:gd name="connsiteX19" fmla="*/ 10049527 w 10049527"/>
                <a:gd name="connsiteY19" fmla="*/ 754148 h 1233597"/>
                <a:gd name="connsiteX20" fmla="*/ 10049527 w 10049527"/>
                <a:gd name="connsiteY20" fmla="*/ 133791 h 1233597"/>
                <a:gd name="connsiteX21" fmla="*/ 9864951 w 10049527"/>
                <a:gd name="connsiteY21" fmla="*/ 65870 h 1233597"/>
                <a:gd name="connsiteX22" fmla="*/ 9050655 w 10049527"/>
                <a:gd name="connsiteY22" fmla="*/ 14889 h 1233597"/>
                <a:gd name="connsiteX23" fmla="*/ 8464364 w 10049527"/>
                <a:gd name="connsiteY23" fmla="*/ 108364 h 1233597"/>
                <a:gd name="connsiteX24" fmla="*/ 7563214 w 10049527"/>
                <a:gd name="connsiteY24" fmla="*/ 201839 h 1233597"/>
                <a:gd name="connsiteX25" fmla="*/ 6596923 w 10049527"/>
                <a:gd name="connsiteY25" fmla="*/ 201839 h 1233597"/>
                <a:gd name="connsiteX26" fmla="*/ 4870633 w 10049527"/>
                <a:gd name="connsiteY26" fmla="*/ 193333 h 1233597"/>
                <a:gd name="connsiteX27" fmla="*/ 3784905 w 10049527"/>
                <a:gd name="connsiteY27" fmla="*/ 65870 h 1233597"/>
                <a:gd name="connsiteX28" fmla="*/ 1993473 w 10049527"/>
                <a:gd name="connsiteY28" fmla="*/ 57364 h 1233597"/>
                <a:gd name="connsiteX29" fmla="*/ 1453651 w 10049527"/>
                <a:gd name="connsiteY29" fmla="*/ 66415 h 1233597"/>
                <a:gd name="connsiteX0" fmla="*/ 1428093 w 10023969"/>
                <a:gd name="connsiteY0" fmla="*/ 66415 h 1230579"/>
                <a:gd name="connsiteX1" fmla="*/ 1310533 w 10023969"/>
                <a:gd name="connsiteY1" fmla="*/ 625754 h 1230579"/>
                <a:gd name="connsiteX2" fmla="*/ 46202 w 10023969"/>
                <a:gd name="connsiteY2" fmla="*/ 1229994 h 1230579"/>
                <a:gd name="connsiteX3" fmla="*/ 306765 w 10023969"/>
                <a:gd name="connsiteY3" fmla="*/ 737154 h 1230579"/>
                <a:gd name="connsiteX4" fmla="*/ 610756 w 10023969"/>
                <a:gd name="connsiteY4" fmla="*/ 737154 h 1230579"/>
                <a:gd name="connsiteX5" fmla="*/ 1186179 w 10023969"/>
                <a:gd name="connsiteY5" fmla="*/ 754148 h 1230579"/>
                <a:gd name="connsiteX6" fmla="*/ 2326178 w 10023969"/>
                <a:gd name="connsiteY6" fmla="*/ 754148 h 1230579"/>
                <a:gd name="connsiteX7" fmla="*/ 3021037 w 10023969"/>
                <a:gd name="connsiteY7" fmla="*/ 788136 h 1230579"/>
                <a:gd name="connsiteX8" fmla="*/ 3477047 w 10023969"/>
                <a:gd name="connsiteY8" fmla="*/ 728648 h 1230579"/>
                <a:gd name="connsiteX9" fmla="*/ 3954769 w 10023969"/>
                <a:gd name="connsiteY9" fmla="*/ 728648 h 1230579"/>
                <a:gd name="connsiteX10" fmla="*/ 4725638 w 10023969"/>
                <a:gd name="connsiteY10" fmla="*/ 771142 h 1230579"/>
                <a:gd name="connsiteX11" fmla="*/ 5605074 w 10023969"/>
                <a:gd name="connsiteY11" fmla="*/ 754148 h 1230579"/>
                <a:gd name="connsiteX12" fmla="*/ 6234792 w 10023969"/>
                <a:gd name="connsiteY12" fmla="*/ 762654 h 1230579"/>
                <a:gd name="connsiteX13" fmla="*/ 7070802 w 10023969"/>
                <a:gd name="connsiteY13" fmla="*/ 762654 h 1230579"/>
                <a:gd name="connsiteX14" fmla="*/ 8134815 w 10023969"/>
                <a:gd name="connsiteY14" fmla="*/ 788154 h 1230579"/>
                <a:gd name="connsiteX15" fmla="*/ 8883970 w 10023969"/>
                <a:gd name="connsiteY15" fmla="*/ 779648 h 1230579"/>
                <a:gd name="connsiteX16" fmla="*/ 9415965 w 10023969"/>
                <a:gd name="connsiteY16" fmla="*/ 771142 h 1230579"/>
                <a:gd name="connsiteX17" fmla="*/ 9893688 w 10023969"/>
                <a:gd name="connsiteY17" fmla="*/ 737154 h 1230579"/>
                <a:gd name="connsiteX18" fmla="*/ 10023969 w 10023969"/>
                <a:gd name="connsiteY18" fmla="*/ 754148 h 1230579"/>
                <a:gd name="connsiteX19" fmla="*/ 10023969 w 10023969"/>
                <a:gd name="connsiteY19" fmla="*/ 133791 h 1230579"/>
                <a:gd name="connsiteX20" fmla="*/ 9839393 w 10023969"/>
                <a:gd name="connsiteY20" fmla="*/ 65870 h 1230579"/>
                <a:gd name="connsiteX21" fmla="*/ 9025097 w 10023969"/>
                <a:gd name="connsiteY21" fmla="*/ 14889 h 1230579"/>
                <a:gd name="connsiteX22" fmla="*/ 8438806 w 10023969"/>
                <a:gd name="connsiteY22" fmla="*/ 108364 h 1230579"/>
                <a:gd name="connsiteX23" fmla="*/ 7537656 w 10023969"/>
                <a:gd name="connsiteY23" fmla="*/ 201839 h 1230579"/>
                <a:gd name="connsiteX24" fmla="*/ 6571365 w 10023969"/>
                <a:gd name="connsiteY24" fmla="*/ 201839 h 1230579"/>
                <a:gd name="connsiteX25" fmla="*/ 4845075 w 10023969"/>
                <a:gd name="connsiteY25" fmla="*/ 193333 h 1230579"/>
                <a:gd name="connsiteX26" fmla="*/ 3759347 w 10023969"/>
                <a:gd name="connsiteY26" fmla="*/ 65870 h 1230579"/>
                <a:gd name="connsiteX27" fmla="*/ 1967915 w 10023969"/>
                <a:gd name="connsiteY27" fmla="*/ 57364 h 1230579"/>
                <a:gd name="connsiteX28" fmla="*/ 1428093 w 10023969"/>
                <a:gd name="connsiteY28" fmla="*/ 66415 h 1230579"/>
                <a:gd name="connsiteX0" fmla="*/ 1143230 w 9739106"/>
                <a:gd name="connsiteY0" fmla="*/ 66415 h 797578"/>
                <a:gd name="connsiteX1" fmla="*/ 1025670 w 9739106"/>
                <a:gd name="connsiteY1" fmla="*/ 625754 h 797578"/>
                <a:gd name="connsiteX2" fmla="*/ 21902 w 9739106"/>
                <a:gd name="connsiteY2" fmla="*/ 737154 h 797578"/>
                <a:gd name="connsiteX3" fmla="*/ 325893 w 9739106"/>
                <a:gd name="connsiteY3" fmla="*/ 737154 h 797578"/>
                <a:gd name="connsiteX4" fmla="*/ 901316 w 9739106"/>
                <a:gd name="connsiteY4" fmla="*/ 754148 h 797578"/>
                <a:gd name="connsiteX5" fmla="*/ 2041315 w 9739106"/>
                <a:gd name="connsiteY5" fmla="*/ 754148 h 797578"/>
                <a:gd name="connsiteX6" fmla="*/ 2736174 w 9739106"/>
                <a:gd name="connsiteY6" fmla="*/ 788136 h 797578"/>
                <a:gd name="connsiteX7" fmla="*/ 3192184 w 9739106"/>
                <a:gd name="connsiteY7" fmla="*/ 728648 h 797578"/>
                <a:gd name="connsiteX8" fmla="*/ 3669906 w 9739106"/>
                <a:gd name="connsiteY8" fmla="*/ 728648 h 797578"/>
                <a:gd name="connsiteX9" fmla="*/ 4440775 w 9739106"/>
                <a:gd name="connsiteY9" fmla="*/ 771142 h 797578"/>
                <a:gd name="connsiteX10" fmla="*/ 5320211 w 9739106"/>
                <a:gd name="connsiteY10" fmla="*/ 754148 h 797578"/>
                <a:gd name="connsiteX11" fmla="*/ 5949929 w 9739106"/>
                <a:gd name="connsiteY11" fmla="*/ 762654 h 797578"/>
                <a:gd name="connsiteX12" fmla="*/ 6785939 w 9739106"/>
                <a:gd name="connsiteY12" fmla="*/ 762654 h 797578"/>
                <a:gd name="connsiteX13" fmla="*/ 7849952 w 9739106"/>
                <a:gd name="connsiteY13" fmla="*/ 788154 h 797578"/>
                <a:gd name="connsiteX14" fmla="*/ 8599107 w 9739106"/>
                <a:gd name="connsiteY14" fmla="*/ 779648 h 797578"/>
                <a:gd name="connsiteX15" fmla="*/ 9131102 w 9739106"/>
                <a:gd name="connsiteY15" fmla="*/ 771142 h 797578"/>
                <a:gd name="connsiteX16" fmla="*/ 9608825 w 9739106"/>
                <a:gd name="connsiteY16" fmla="*/ 737154 h 797578"/>
                <a:gd name="connsiteX17" fmla="*/ 9739106 w 9739106"/>
                <a:gd name="connsiteY17" fmla="*/ 754148 h 797578"/>
                <a:gd name="connsiteX18" fmla="*/ 9739106 w 9739106"/>
                <a:gd name="connsiteY18" fmla="*/ 133791 h 797578"/>
                <a:gd name="connsiteX19" fmla="*/ 9554530 w 9739106"/>
                <a:gd name="connsiteY19" fmla="*/ 65870 h 797578"/>
                <a:gd name="connsiteX20" fmla="*/ 8740234 w 9739106"/>
                <a:gd name="connsiteY20" fmla="*/ 14889 h 797578"/>
                <a:gd name="connsiteX21" fmla="*/ 8153943 w 9739106"/>
                <a:gd name="connsiteY21" fmla="*/ 108364 h 797578"/>
                <a:gd name="connsiteX22" fmla="*/ 7252793 w 9739106"/>
                <a:gd name="connsiteY22" fmla="*/ 201839 h 797578"/>
                <a:gd name="connsiteX23" fmla="*/ 6286502 w 9739106"/>
                <a:gd name="connsiteY23" fmla="*/ 201839 h 797578"/>
                <a:gd name="connsiteX24" fmla="*/ 4560212 w 9739106"/>
                <a:gd name="connsiteY24" fmla="*/ 193333 h 797578"/>
                <a:gd name="connsiteX25" fmla="*/ 3474484 w 9739106"/>
                <a:gd name="connsiteY25" fmla="*/ 65870 h 797578"/>
                <a:gd name="connsiteX26" fmla="*/ 1683052 w 9739106"/>
                <a:gd name="connsiteY26" fmla="*/ 57364 h 797578"/>
                <a:gd name="connsiteX27" fmla="*/ 1143230 w 9739106"/>
                <a:gd name="connsiteY27" fmla="*/ 66415 h 797578"/>
                <a:gd name="connsiteX0" fmla="*/ 817337 w 9413213"/>
                <a:gd name="connsiteY0" fmla="*/ 66415 h 797576"/>
                <a:gd name="connsiteX1" fmla="*/ 699777 w 9413213"/>
                <a:gd name="connsiteY1" fmla="*/ 625754 h 797576"/>
                <a:gd name="connsiteX2" fmla="*/ 0 w 9413213"/>
                <a:gd name="connsiteY2" fmla="*/ 737154 h 797576"/>
                <a:gd name="connsiteX3" fmla="*/ 575423 w 9413213"/>
                <a:gd name="connsiteY3" fmla="*/ 754148 h 797576"/>
                <a:gd name="connsiteX4" fmla="*/ 1715422 w 9413213"/>
                <a:gd name="connsiteY4" fmla="*/ 754148 h 797576"/>
                <a:gd name="connsiteX5" fmla="*/ 2410281 w 9413213"/>
                <a:gd name="connsiteY5" fmla="*/ 788136 h 797576"/>
                <a:gd name="connsiteX6" fmla="*/ 2866291 w 9413213"/>
                <a:gd name="connsiteY6" fmla="*/ 728648 h 797576"/>
                <a:gd name="connsiteX7" fmla="*/ 3344013 w 9413213"/>
                <a:gd name="connsiteY7" fmla="*/ 728648 h 797576"/>
                <a:gd name="connsiteX8" fmla="*/ 4114882 w 9413213"/>
                <a:gd name="connsiteY8" fmla="*/ 771142 h 797576"/>
                <a:gd name="connsiteX9" fmla="*/ 4994318 w 9413213"/>
                <a:gd name="connsiteY9" fmla="*/ 754148 h 797576"/>
                <a:gd name="connsiteX10" fmla="*/ 5624036 w 9413213"/>
                <a:gd name="connsiteY10" fmla="*/ 762654 h 797576"/>
                <a:gd name="connsiteX11" fmla="*/ 6460046 w 9413213"/>
                <a:gd name="connsiteY11" fmla="*/ 762654 h 797576"/>
                <a:gd name="connsiteX12" fmla="*/ 7524059 w 9413213"/>
                <a:gd name="connsiteY12" fmla="*/ 788154 h 797576"/>
                <a:gd name="connsiteX13" fmla="*/ 8273214 w 9413213"/>
                <a:gd name="connsiteY13" fmla="*/ 779648 h 797576"/>
                <a:gd name="connsiteX14" fmla="*/ 8805209 w 9413213"/>
                <a:gd name="connsiteY14" fmla="*/ 771142 h 797576"/>
                <a:gd name="connsiteX15" fmla="*/ 9282932 w 9413213"/>
                <a:gd name="connsiteY15" fmla="*/ 737154 h 797576"/>
                <a:gd name="connsiteX16" fmla="*/ 9413213 w 9413213"/>
                <a:gd name="connsiteY16" fmla="*/ 754148 h 797576"/>
                <a:gd name="connsiteX17" fmla="*/ 9413213 w 9413213"/>
                <a:gd name="connsiteY17" fmla="*/ 133791 h 797576"/>
                <a:gd name="connsiteX18" fmla="*/ 9228637 w 9413213"/>
                <a:gd name="connsiteY18" fmla="*/ 65870 h 797576"/>
                <a:gd name="connsiteX19" fmla="*/ 8414341 w 9413213"/>
                <a:gd name="connsiteY19" fmla="*/ 14889 h 797576"/>
                <a:gd name="connsiteX20" fmla="*/ 7828050 w 9413213"/>
                <a:gd name="connsiteY20" fmla="*/ 108364 h 797576"/>
                <a:gd name="connsiteX21" fmla="*/ 6926900 w 9413213"/>
                <a:gd name="connsiteY21" fmla="*/ 201839 h 797576"/>
                <a:gd name="connsiteX22" fmla="*/ 5960609 w 9413213"/>
                <a:gd name="connsiteY22" fmla="*/ 201839 h 797576"/>
                <a:gd name="connsiteX23" fmla="*/ 4234319 w 9413213"/>
                <a:gd name="connsiteY23" fmla="*/ 193333 h 797576"/>
                <a:gd name="connsiteX24" fmla="*/ 3148591 w 9413213"/>
                <a:gd name="connsiteY24" fmla="*/ 65870 h 797576"/>
                <a:gd name="connsiteX25" fmla="*/ 1357159 w 9413213"/>
                <a:gd name="connsiteY25" fmla="*/ 57364 h 797576"/>
                <a:gd name="connsiteX26" fmla="*/ 817337 w 9413213"/>
                <a:gd name="connsiteY26" fmla="*/ 66415 h 797576"/>
                <a:gd name="connsiteX0" fmla="*/ 299581 w 8895457"/>
                <a:gd name="connsiteY0" fmla="*/ 66415 h 797578"/>
                <a:gd name="connsiteX1" fmla="*/ 182021 w 8895457"/>
                <a:gd name="connsiteY1" fmla="*/ 625754 h 797578"/>
                <a:gd name="connsiteX2" fmla="*/ 57667 w 8895457"/>
                <a:gd name="connsiteY2" fmla="*/ 754148 h 797578"/>
                <a:gd name="connsiteX3" fmla="*/ 1197666 w 8895457"/>
                <a:gd name="connsiteY3" fmla="*/ 754148 h 797578"/>
                <a:gd name="connsiteX4" fmla="*/ 1892525 w 8895457"/>
                <a:gd name="connsiteY4" fmla="*/ 788136 h 797578"/>
                <a:gd name="connsiteX5" fmla="*/ 2348535 w 8895457"/>
                <a:gd name="connsiteY5" fmla="*/ 728648 h 797578"/>
                <a:gd name="connsiteX6" fmla="*/ 2826257 w 8895457"/>
                <a:gd name="connsiteY6" fmla="*/ 728648 h 797578"/>
                <a:gd name="connsiteX7" fmla="*/ 3597126 w 8895457"/>
                <a:gd name="connsiteY7" fmla="*/ 771142 h 797578"/>
                <a:gd name="connsiteX8" fmla="*/ 4476562 w 8895457"/>
                <a:gd name="connsiteY8" fmla="*/ 754148 h 797578"/>
                <a:gd name="connsiteX9" fmla="*/ 5106280 w 8895457"/>
                <a:gd name="connsiteY9" fmla="*/ 762654 h 797578"/>
                <a:gd name="connsiteX10" fmla="*/ 5942290 w 8895457"/>
                <a:gd name="connsiteY10" fmla="*/ 762654 h 797578"/>
                <a:gd name="connsiteX11" fmla="*/ 7006303 w 8895457"/>
                <a:gd name="connsiteY11" fmla="*/ 788154 h 797578"/>
                <a:gd name="connsiteX12" fmla="*/ 7755458 w 8895457"/>
                <a:gd name="connsiteY12" fmla="*/ 779648 h 797578"/>
                <a:gd name="connsiteX13" fmla="*/ 8287453 w 8895457"/>
                <a:gd name="connsiteY13" fmla="*/ 771142 h 797578"/>
                <a:gd name="connsiteX14" fmla="*/ 8765176 w 8895457"/>
                <a:gd name="connsiteY14" fmla="*/ 737154 h 797578"/>
                <a:gd name="connsiteX15" fmla="*/ 8895457 w 8895457"/>
                <a:gd name="connsiteY15" fmla="*/ 754148 h 797578"/>
                <a:gd name="connsiteX16" fmla="*/ 8895457 w 8895457"/>
                <a:gd name="connsiteY16" fmla="*/ 133791 h 797578"/>
                <a:gd name="connsiteX17" fmla="*/ 8710881 w 8895457"/>
                <a:gd name="connsiteY17" fmla="*/ 65870 h 797578"/>
                <a:gd name="connsiteX18" fmla="*/ 7896585 w 8895457"/>
                <a:gd name="connsiteY18" fmla="*/ 14889 h 797578"/>
                <a:gd name="connsiteX19" fmla="*/ 7310294 w 8895457"/>
                <a:gd name="connsiteY19" fmla="*/ 108364 h 797578"/>
                <a:gd name="connsiteX20" fmla="*/ 6409144 w 8895457"/>
                <a:gd name="connsiteY20" fmla="*/ 201839 h 797578"/>
                <a:gd name="connsiteX21" fmla="*/ 5442853 w 8895457"/>
                <a:gd name="connsiteY21" fmla="*/ 201839 h 797578"/>
                <a:gd name="connsiteX22" fmla="*/ 3716563 w 8895457"/>
                <a:gd name="connsiteY22" fmla="*/ 193333 h 797578"/>
                <a:gd name="connsiteX23" fmla="*/ 2630835 w 8895457"/>
                <a:gd name="connsiteY23" fmla="*/ 65870 h 797578"/>
                <a:gd name="connsiteX24" fmla="*/ 839403 w 8895457"/>
                <a:gd name="connsiteY24" fmla="*/ 57364 h 797578"/>
                <a:gd name="connsiteX25" fmla="*/ 299581 w 8895457"/>
                <a:gd name="connsiteY25" fmla="*/ 66415 h 797578"/>
                <a:gd name="connsiteX0" fmla="*/ 300385 w 8896261"/>
                <a:gd name="connsiteY0" fmla="*/ 66415 h 797969"/>
                <a:gd name="connsiteX1" fmla="*/ 182825 w 8896261"/>
                <a:gd name="connsiteY1" fmla="*/ 625754 h 797969"/>
                <a:gd name="connsiteX2" fmla="*/ 1198470 w 8896261"/>
                <a:gd name="connsiteY2" fmla="*/ 754148 h 797969"/>
                <a:gd name="connsiteX3" fmla="*/ 1893329 w 8896261"/>
                <a:gd name="connsiteY3" fmla="*/ 788136 h 797969"/>
                <a:gd name="connsiteX4" fmla="*/ 2349339 w 8896261"/>
                <a:gd name="connsiteY4" fmla="*/ 728648 h 797969"/>
                <a:gd name="connsiteX5" fmla="*/ 2827061 w 8896261"/>
                <a:gd name="connsiteY5" fmla="*/ 728648 h 797969"/>
                <a:gd name="connsiteX6" fmla="*/ 3597930 w 8896261"/>
                <a:gd name="connsiteY6" fmla="*/ 771142 h 797969"/>
                <a:gd name="connsiteX7" fmla="*/ 4477366 w 8896261"/>
                <a:gd name="connsiteY7" fmla="*/ 754148 h 797969"/>
                <a:gd name="connsiteX8" fmla="*/ 5107084 w 8896261"/>
                <a:gd name="connsiteY8" fmla="*/ 762654 h 797969"/>
                <a:gd name="connsiteX9" fmla="*/ 5943094 w 8896261"/>
                <a:gd name="connsiteY9" fmla="*/ 762654 h 797969"/>
                <a:gd name="connsiteX10" fmla="*/ 7007107 w 8896261"/>
                <a:gd name="connsiteY10" fmla="*/ 788154 h 797969"/>
                <a:gd name="connsiteX11" fmla="*/ 7756262 w 8896261"/>
                <a:gd name="connsiteY11" fmla="*/ 779648 h 797969"/>
                <a:gd name="connsiteX12" fmla="*/ 8288257 w 8896261"/>
                <a:gd name="connsiteY12" fmla="*/ 771142 h 797969"/>
                <a:gd name="connsiteX13" fmla="*/ 8765980 w 8896261"/>
                <a:gd name="connsiteY13" fmla="*/ 737154 h 797969"/>
                <a:gd name="connsiteX14" fmla="*/ 8896261 w 8896261"/>
                <a:gd name="connsiteY14" fmla="*/ 754148 h 797969"/>
                <a:gd name="connsiteX15" fmla="*/ 8896261 w 8896261"/>
                <a:gd name="connsiteY15" fmla="*/ 133791 h 797969"/>
                <a:gd name="connsiteX16" fmla="*/ 8711685 w 8896261"/>
                <a:gd name="connsiteY16" fmla="*/ 65870 h 797969"/>
                <a:gd name="connsiteX17" fmla="*/ 7897389 w 8896261"/>
                <a:gd name="connsiteY17" fmla="*/ 14889 h 797969"/>
                <a:gd name="connsiteX18" fmla="*/ 7311098 w 8896261"/>
                <a:gd name="connsiteY18" fmla="*/ 108364 h 797969"/>
                <a:gd name="connsiteX19" fmla="*/ 6409948 w 8896261"/>
                <a:gd name="connsiteY19" fmla="*/ 201839 h 797969"/>
                <a:gd name="connsiteX20" fmla="*/ 5443657 w 8896261"/>
                <a:gd name="connsiteY20" fmla="*/ 201839 h 797969"/>
                <a:gd name="connsiteX21" fmla="*/ 3717367 w 8896261"/>
                <a:gd name="connsiteY21" fmla="*/ 193333 h 797969"/>
                <a:gd name="connsiteX22" fmla="*/ 2631639 w 8896261"/>
                <a:gd name="connsiteY22" fmla="*/ 65870 h 797969"/>
                <a:gd name="connsiteX23" fmla="*/ 840207 w 8896261"/>
                <a:gd name="connsiteY23" fmla="*/ 57364 h 797969"/>
                <a:gd name="connsiteX24" fmla="*/ 300385 w 8896261"/>
                <a:gd name="connsiteY24" fmla="*/ 66415 h 797969"/>
                <a:gd name="connsiteX0" fmla="*/ 263649 w 8859525"/>
                <a:gd name="connsiteY0" fmla="*/ 66415 h 795901"/>
                <a:gd name="connsiteX1" fmla="*/ 238952 w 8859525"/>
                <a:gd name="connsiteY1" fmla="*/ 726571 h 795901"/>
                <a:gd name="connsiteX2" fmla="*/ 1161734 w 8859525"/>
                <a:gd name="connsiteY2" fmla="*/ 754148 h 795901"/>
                <a:gd name="connsiteX3" fmla="*/ 1856593 w 8859525"/>
                <a:gd name="connsiteY3" fmla="*/ 788136 h 795901"/>
                <a:gd name="connsiteX4" fmla="*/ 2312603 w 8859525"/>
                <a:gd name="connsiteY4" fmla="*/ 728648 h 795901"/>
                <a:gd name="connsiteX5" fmla="*/ 2790325 w 8859525"/>
                <a:gd name="connsiteY5" fmla="*/ 728648 h 795901"/>
                <a:gd name="connsiteX6" fmla="*/ 3561194 w 8859525"/>
                <a:gd name="connsiteY6" fmla="*/ 771142 h 795901"/>
                <a:gd name="connsiteX7" fmla="*/ 4440630 w 8859525"/>
                <a:gd name="connsiteY7" fmla="*/ 754148 h 795901"/>
                <a:gd name="connsiteX8" fmla="*/ 5070348 w 8859525"/>
                <a:gd name="connsiteY8" fmla="*/ 762654 h 795901"/>
                <a:gd name="connsiteX9" fmla="*/ 5906358 w 8859525"/>
                <a:gd name="connsiteY9" fmla="*/ 762654 h 795901"/>
                <a:gd name="connsiteX10" fmla="*/ 6970371 w 8859525"/>
                <a:gd name="connsiteY10" fmla="*/ 788154 h 795901"/>
                <a:gd name="connsiteX11" fmla="*/ 7719526 w 8859525"/>
                <a:gd name="connsiteY11" fmla="*/ 779648 h 795901"/>
                <a:gd name="connsiteX12" fmla="*/ 8251521 w 8859525"/>
                <a:gd name="connsiteY12" fmla="*/ 771142 h 795901"/>
                <a:gd name="connsiteX13" fmla="*/ 8729244 w 8859525"/>
                <a:gd name="connsiteY13" fmla="*/ 737154 h 795901"/>
                <a:gd name="connsiteX14" fmla="*/ 8859525 w 8859525"/>
                <a:gd name="connsiteY14" fmla="*/ 754148 h 795901"/>
                <a:gd name="connsiteX15" fmla="*/ 8859525 w 8859525"/>
                <a:gd name="connsiteY15" fmla="*/ 133791 h 795901"/>
                <a:gd name="connsiteX16" fmla="*/ 8674949 w 8859525"/>
                <a:gd name="connsiteY16" fmla="*/ 65870 h 795901"/>
                <a:gd name="connsiteX17" fmla="*/ 7860653 w 8859525"/>
                <a:gd name="connsiteY17" fmla="*/ 14889 h 795901"/>
                <a:gd name="connsiteX18" fmla="*/ 7274362 w 8859525"/>
                <a:gd name="connsiteY18" fmla="*/ 108364 h 795901"/>
                <a:gd name="connsiteX19" fmla="*/ 6373212 w 8859525"/>
                <a:gd name="connsiteY19" fmla="*/ 201839 h 795901"/>
                <a:gd name="connsiteX20" fmla="*/ 5406921 w 8859525"/>
                <a:gd name="connsiteY20" fmla="*/ 201839 h 795901"/>
                <a:gd name="connsiteX21" fmla="*/ 3680631 w 8859525"/>
                <a:gd name="connsiteY21" fmla="*/ 193333 h 795901"/>
                <a:gd name="connsiteX22" fmla="*/ 2594903 w 8859525"/>
                <a:gd name="connsiteY22" fmla="*/ 65870 h 795901"/>
                <a:gd name="connsiteX23" fmla="*/ 803471 w 8859525"/>
                <a:gd name="connsiteY23" fmla="*/ 57364 h 795901"/>
                <a:gd name="connsiteX24" fmla="*/ 263649 w 8859525"/>
                <a:gd name="connsiteY24" fmla="*/ 66415 h 795901"/>
                <a:gd name="connsiteX0" fmla="*/ 224684 w 8820560"/>
                <a:gd name="connsiteY0" fmla="*/ 66415 h 815564"/>
                <a:gd name="connsiteX1" fmla="*/ 199987 w 8820560"/>
                <a:gd name="connsiteY1" fmla="*/ 726571 h 815564"/>
                <a:gd name="connsiteX2" fmla="*/ 1122769 w 8820560"/>
                <a:gd name="connsiteY2" fmla="*/ 754148 h 815564"/>
                <a:gd name="connsiteX3" fmla="*/ 1817628 w 8820560"/>
                <a:gd name="connsiteY3" fmla="*/ 788136 h 815564"/>
                <a:gd name="connsiteX4" fmla="*/ 2273638 w 8820560"/>
                <a:gd name="connsiteY4" fmla="*/ 728648 h 815564"/>
                <a:gd name="connsiteX5" fmla="*/ 2751360 w 8820560"/>
                <a:gd name="connsiteY5" fmla="*/ 728648 h 815564"/>
                <a:gd name="connsiteX6" fmla="*/ 3522229 w 8820560"/>
                <a:gd name="connsiteY6" fmla="*/ 771142 h 815564"/>
                <a:gd name="connsiteX7" fmla="*/ 4401665 w 8820560"/>
                <a:gd name="connsiteY7" fmla="*/ 754148 h 815564"/>
                <a:gd name="connsiteX8" fmla="*/ 5031383 w 8820560"/>
                <a:gd name="connsiteY8" fmla="*/ 762654 h 815564"/>
                <a:gd name="connsiteX9" fmla="*/ 5867393 w 8820560"/>
                <a:gd name="connsiteY9" fmla="*/ 762654 h 815564"/>
                <a:gd name="connsiteX10" fmla="*/ 6931406 w 8820560"/>
                <a:gd name="connsiteY10" fmla="*/ 788154 h 815564"/>
                <a:gd name="connsiteX11" fmla="*/ 7680561 w 8820560"/>
                <a:gd name="connsiteY11" fmla="*/ 779648 h 815564"/>
                <a:gd name="connsiteX12" fmla="*/ 8212556 w 8820560"/>
                <a:gd name="connsiteY12" fmla="*/ 771142 h 815564"/>
                <a:gd name="connsiteX13" fmla="*/ 8690279 w 8820560"/>
                <a:gd name="connsiteY13" fmla="*/ 737154 h 815564"/>
                <a:gd name="connsiteX14" fmla="*/ 8820560 w 8820560"/>
                <a:gd name="connsiteY14" fmla="*/ 754148 h 815564"/>
                <a:gd name="connsiteX15" fmla="*/ 8820560 w 8820560"/>
                <a:gd name="connsiteY15" fmla="*/ 133791 h 815564"/>
                <a:gd name="connsiteX16" fmla="*/ 8635984 w 8820560"/>
                <a:gd name="connsiteY16" fmla="*/ 65870 h 815564"/>
                <a:gd name="connsiteX17" fmla="*/ 7821688 w 8820560"/>
                <a:gd name="connsiteY17" fmla="*/ 14889 h 815564"/>
                <a:gd name="connsiteX18" fmla="*/ 7235397 w 8820560"/>
                <a:gd name="connsiteY18" fmla="*/ 108364 h 815564"/>
                <a:gd name="connsiteX19" fmla="*/ 6334247 w 8820560"/>
                <a:gd name="connsiteY19" fmla="*/ 201839 h 815564"/>
                <a:gd name="connsiteX20" fmla="*/ 5367956 w 8820560"/>
                <a:gd name="connsiteY20" fmla="*/ 201839 h 815564"/>
                <a:gd name="connsiteX21" fmla="*/ 3641666 w 8820560"/>
                <a:gd name="connsiteY21" fmla="*/ 193333 h 815564"/>
                <a:gd name="connsiteX22" fmla="*/ 2555938 w 8820560"/>
                <a:gd name="connsiteY22" fmla="*/ 65870 h 815564"/>
                <a:gd name="connsiteX23" fmla="*/ 764506 w 8820560"/>
                <a:gd name="connsiteY23" fmla="*/ 57364 h 815564"/>
                <a:gd name="connsiteX24" fmla="*/ 224684 w 8820560"/>
                <a:gd name="connsiteY24" fmla="*/ 66415 h 815564"/>
                <a:gd name="connsiteX0" fmla="*/ 93047 w 8688923"/>
                <a:gd name="connsiteY0" fmla="*/ 66415 h 795903"/>
                <a:gd name="connsiteX1" fmla="*/ 71109 w 8688923"/>
                <a:gd name="connsiteY1" fmla="*/ 350379 h 795903"/>
                <a:gd name="connsiteX2" fmla="*/ 68350 w 8688923"/>
                <a:gd name="connsiteY2" fmla="*/ 726571 h 795903"/>
                <a:gd name="connsiteX3" fmla="*/ 991132 w 8688923"/>
                <a:gd name="connsiteY3" fmla="*/ 754148 h 795903"/>
                <a:gd name="connsiteX4" fmla="*/ 1685991 w 8688923"/>
                <a:gd name="connsiteY4" fmla="*/ 788136 h 795903"/>
                <a:gd name="connsiteX5" fmla="*/ 2142001 w 8688923"/>
                <a:gd name="connsiteY5" fmla="*/ 728648 h 795903"/>
                <a:gd name="connsiteX6" fmla="*/ 2619723 w 8688923"/>
                <a:gd name="connsiteY6" fmla="*/ 728648 h 795903"/>
                <a:gd name="connsiteX7" fmla="*/ 3390592 w 8688923"/>
                <a:gd name="connsiteY7" fmla="*/ 771142 h 795903"/>
                <a:gd name="connsiteX8" fmla="*/ 4270028 w 8688923"/>
                <a:gd name="connsiteY8" fmla="*/ 754148 h 795903"/>
                <a:gd name="connsiteX9" fmla="*/ 4899746 w 8688923"/>
                <a:gd name="connsiteY9" fmla="*/ 762654 h 795903"/>
                <a:gd name="connsiteX10" fmla="*/ 5735756 w 8688923"/>
                <a:gd name="connsiteY10" fmla="*/ 762654 h 795903"/>
                <a:gd name="connsiteX11" fmla="*/ 6799769 w 8688923"/>
                <a:gd name="connsiteY11" fmla="*/ 788154 h 795903"/>
                <a:gd name="connsiteX12" fmla="*/ 7548924 w 8688923"/>
                <a:gd name="connsiteY12" fmla="*/ 779648 h 795903"/>
                <a:gd name="connsiteX13" fmla="*/ 8080919 w 8688923"/>
                <a:gd name="connsiteY13" fmla="*/ 771142 h 795903"/>
                <a:gd name="connsiteX14" fmla="*/ 8558642 w 8688923"/>
                <a:gd name="connsiteY14" fmla="*/ 737154 h 795903"/>
                <a:gd name="connsiteX15" fmla="*/ 8688923 w 8688923"/>
                <a:gd name="connsiteY15" fmla="*/ 754148 h 795903"/>
                <a:gd name="connsiteX16" fmla="*/ 8688923 w 8688923"/>
                <a:gd name="connsiteY16" fmla="*/ 133791 h 795903"/>
                <a:gd name="connsiteX17" fmla="*/ 8504347 w 8688923"/>
                <a:gd name="connsiteY17" fmla="*/ 65870 h 795903"/>
                <a:gd name="connsiteX18" fmla="*/ 7690051 w 8688923"/>
                <a:gd name="connsiteY18" fmla="*/ 14889 h 795903"/>
                <a:gd name="connsiteX19" fmla="*/ 7103760 w 8688923"/>
                <a:gd name="connsiteY19" fmla="*/ 108364 h 795903"/>
                <a:gd name="connsiteX20" fmla="*/ 6202610 w 8688923"/>
                <a:gd name="connsiteY20" fmla="*/ 201839 h 795903"/>
                <a:gd name="connsiteX21" fmla="*/ 5236319 w 8688923"/>
                <a:gd name="connsiteY21" fmla="*/ 201839 h 795903"/>
                <a:gd name="connsiteX22" fmla="*/ 3510029 w 8688923"/>
                <a:gd name="connsiteY22" fmla="*/ 193333 h 795903"/>
                <a:gd name="connsiteX23" fmla="*/ 2424301 w 8688923"/>
                <a:gd name="connsiteY23" fmla="*/ 65870 h 795903"/>
                <a:gd name="connsiteX24" fmla="*/ 632869 w 8688923"/>
                <a:gd name="connsiteY24" fmla="*/ 57364 h 795903"/>
                <a:gd name="connsiteX25" fmla="*/ 93047 w 8688923"/>
                <a:gd name="connsiteY25" fmla="*/ 66415 h 795903"/>
                <a:gd name="connsiteX0" fmla="*/ 91443 w 8687319"/>
                <a:gd name="connsiteY0" fmla="*/ 66415 h 795901"/>
                <a:gd name="connsiteX1" fmla="*/ 69505 w 8687319"/>
                <a:gd name="connsiteY1" fmla="*/ 350379 h 795901"/>
                <a:gd name="connsiteX2" fmla="*/ 66746 w 8687319"/>
                <a:gd name="connsiteY2" fmla="*/ 726571 h 795901"/>
                <a:gd name="connsiteX3" fmla="*/ 989528 w 8687319"/>
                <a:gd name="connsiteY3" fmla="*/ 754148 h 795901"/>
                <a:gd name="connsiteX4" fmla="*/ 1684387 w 8687319"/>
                <a:gd name="connsiteY4" fmla="*/ 788136 h 795901"/>
                <a:gd name="connsiteX5" fmla="*/ 2140397 w 8687319"/>
                <a:gd name="connsiteY5" fmla="*/ 728648 h 795901"/>
                <a:gd name="connsiteX6" fmla="*/ 2618119 w 8687319"/>
                <a:gd name="connsiteY6" fmla="*/ 728648 h 795901"/>
                <a:gd name="connsiteX7" fmla="*/ 3388988 w 8687319"/>
                <a:gd name="connsiteY7" fmla="*/ 771142 h 795901"/>
                <a:gd name="connsiteX8" fmla="*/ 4268424 w 8687319"/>
                <a:gd name="connsiteY8" fmla="*/ 754148 h 795901"/>
                <a:gd name="connsiteX9" fmla="*/ 4898142 w 8687319"/>
                <a:gd name="connsiteY9" fmla="*/ 762654 h 795901"/>
                <a:gd name="connsiteX10" fmla="*/ 5734152 w 8687319"/>
                <a:gd name="connsiteY10" fmla="*/ 762654 h 795901"/>
                <a:gd name="connsiteX11" fmla="*/ 6798165 w 8687319"/>
                <a:gd name="connsiteY11" fmla="*/ 788154 h 795901"/>
                <a:gd name="connsiteX12" fmla="*/ 7547320 w 8687319"/>
                <a:gd name="connsiteY12" fmla="*/ 779648 h 795901"/>
                <a:gd name="connsiteX13" fmla="*/ 8079315 w 8687319"/>
                <a:gd name="connsiteY13" fmla="*/ 771142 h 795901"/>
                <a:gd name="connsiteX14" fmla="*/ 8557038 w 8687319"/>
                <a:gd name="connsiteY14" fmla="*/ 737154 h 795901"/>
                <a:gd name="connsiteX15" fmla="*/ 8687319 w 8687319"/>
                <a:gd name="connsiteY15" fmla="*/ 754148 h 795901"/>
                <a:gd name="connsiteX16" fmla="*/ 8687319 w 8687319"/>
                <a:gd name="connsiteY16" fmla="*/ 133791 h 795901"/>
                <a:gd name="connsiteX17" fmla="*/ 8502743 w 8687319"/>
                <a:gd name="connsiteY17" fmla="*/ 65870 h 795901"/>
                <a:gd name="connsiteX18" fmla="*/ 7688447 w 8687319"/>
                <a:gd name="connsiteY18" fmla="*/ 14889 h 795901"/>
                <a:gd name="connsiteX19" fmla="*/ 7102156 w 8687319"/>
                <a:gd name="connsiteY19" fmla="*/ 108364 h 795901"/>
                <a:gd name="connsiteX20" fmla="*/ 6201006 w 8687319"/>
                <a:gd name="connsiteY20" fmla="*/ 201839 h 795901"/>
                <a:gd name="connsiteX21" fmla="*/ 5234715 w 8687319"/>
                <a:gd name="connsiteY21" fmla="*/ 201839 h 795901"/>
                <a:gd name="connsiteX22" fmla="*/ 3508425 w 8687319"/>
                <a:gd name="connsiteY22" fmla="*/ 193333 h 795901"/>
                <a:gd name="connsiteX23" fmla="*/ 2422697 w 8687319"/>
                <a:gd name="connsiteY23" fmla="*/ 65870 h 795901"/>
                <a:gd name="connsiteX24" fmla="*/ 631265 w 8687319"/>
                <a:gd name="connsiteY24" fmla="*/ 57364 h 795901"/>
                <a:gd name="connsiteX25" fmla="*/ 91443 w 8687319"/>
                <a:gd name="connsiteY25" fmla="*/ 66415 h 795901"/>
                <a:gd name="connsiteX0" fmla="*/ 91443 w 8687319"/>
                <a:gd name="connsiteY0" fmla="*/ 66415 h 795903"/>
                <a:gd name="connsiteX1" fmla="*/ 69505 w 8687319"/>
                <a:gd name="connsiteY1" fmla="*/ 350379 h 795903"/>
                <a:gd name="connsiteX2" fmla="*/ 66746 w 8687319"/>
                <a:gd name="connsiteY2" fmla="*/ 726571 h 795903"/>
                <a:gd name="connsiteX3" fmla="*/ 989528 w 8687319"/>
                <a:gd name="connsiteY3" fmla="*/ 754148 h 795903"/>
                <a:gd name="connsiteX4" fmla="*/ 1684387 w 8687319"/>
                <a:gd name="connsiteY4" fmla="*/ 788136 h 795903"/>
                <a:gd name="connsiteX5" fmla="*/ 2140397 w 8687319"/>
                <a:gd name="connsiteY5" fmla="*/ 728648 h 795903"/>
                <a:gd name="connsiteX6" fmla="*/ 2618119 w 8687319"/>
                <a:gd name="connsiteY6" fmla="*/ 728648 h 795903"/>
                <a:gd name="connsiteX7" fmla="*/ 3388988 w 8687319"/>
                <a:gd name="connsiteY7" fmla="*/ 771142 h 795903"/>
                <a:gd name="connsiteX8" fmla="*/ 4268424 w 8687319"/>
                <a:gd name="connsiteY8" fmla="*/ 754148 h 795903"/>
                <a:gd name="connsiteX9" fmla="*/ 4898142 w 8687319"/>
                <a:gd name="connsiteY9" fmla="*/ 762654 h 795903"/>
                <a:gd name="connsiteX10" fmla="*/ 5734152 w 8687319"/>
                <a:gd name="connsiteY10" fmla="*/ 762654 h 795903"/>
                <a:gd name="connsiteX11" fmla="*/ 6798165 w 8687319"/>
                <a:gd name="connsiteY11" fmla="*/ 788154 h 795903"/>
                <a:gd name="connsiteX12" fmla="*/ 7547320 w 8687319"/>
                <a:gd name="connsiteY12" fmla="*/ 779648 h 795903"/>
                <a:gd name="connsiteX13" fmla="*/ 8079315 w 8687319"/>
                <a:gd name="connsiteY13" fmla="*/ 771142 h 795903"/>
                <a:gd name="connsiteX14" fmla="*/ 8557038 w 8687319"/>
                <a:gd name="connsiteY14" fmla="*/ 737154 h 795903"/>
                <a:gd name="connsiteX15" fmla="*/ 8687319 w 8687319"/>
                <a:gd name="connsiteY15" fmla="*/ 754148 h 795903"/>
                <a:gd name="connsiteX16" fmla="*/ 8687319 w 8687319"/>
                <a:gd name="connsiteY16" fmla="*/ 133791 h 795903"/>
                <a:gd name="connsiteX17" fmla="*/ 8502743 w 8687319"/>
                <a:gd name="connsiteY17" fmla="*/ 65870 h 795903"/>
                <a:gd name="connsiteX18" fmla="*/ 7688447 w 8687319"/>
                <a:gd name="connsiteY18" fmla="*/ 14889 h 795903"/>
                <a:gd name="connsiteX19" fmla="*/ 7102156 w 8687319"/>
                <a:gd name="connsiteY19" fmla="*/ 108364 h 795903"/>
                <a:gd name="connsiteX20" fmla="*/ 6201006 w 8687319"/>
                <a:gd name="connsiteY20" fmla="*/ 201839 h 795903"/>
                <a:gd name="connsiteX21" fmla="*/ 5234715 w 8687319"/>
                <a:gd name="connsiteY21" fmla="*/ 201839 h 795903"/>
                <a:gd name="connsiteX22" fmla="*/ 3508425 w 8687319"/>
                <a:gd name="connsiteY22" fmla="*/ 193333 h 795903"/>
                <a:gd name="connsiteX23" fmla="*/ 2422697 w 8687319"/>
                <a:gd name="connsiteY23" fmla="*/ 65870 h 795903"/>
                <a:gd name="connsiteX24" fmla="*/ 631265 w 8687319"/>
                <a:gd name="connsiteY24" fmla="*/ 57364 h 795903"/>
                <a:gd name="connsiteX25" fmla="*/ 91443 w 8687319"/>
                <a:gd name="connsiteY25" fmla="*/ 66415 h 795903"/>
                <a:gd name="connsiteX0" fmla="*/ 87616 w 8683492"/>
                <a:gd name="connsiteY0" fmla="*/ 66415 h 795901"/>
                <a:gd name="connsiteX1" fmla="*/ 65678 w 8683492"/>
                <a:gd name="connsiteY1" fmla="*/ 350379 h 795901"/>
                <a:gd name="connsiteX2" fmla="*/ 80340 w 8683492"/>
                <a:gd name="connsiteY2" fmla="*/ 609625 h 795901"/>
                <a:gd name="connsiteX3" fmla="*/ 62919 w 8683492"/>
                <a:gd name="connsiteY3" fmla="*/ 726571 h 795901"/>
                <a:gd name="connsiteX4" fmla="*/ 985701 w 8683492"/>
                <a:gd name="connsiteY4" fmla="*/ 754148 h 795901"/>
                <a:gd name="connsiteX5" fmla="*/ 1680560 w 8683492"/>
                <a:gd name="connsiteY5" fmla="*/ 788136 h 795901"/>
                <a:gd name="connsiteX6" fmla="*/ 2136570 w 8683492"/>
                <a:gd name="connsiteY6" fmla="*/ 728648 h 795901"/>
                <a:gd name="connsiteX7" fmla="*/ 2614292 w 8683492"/>
                <a:gd name="connsiteY7" fmla="*/ 728648 h 795901"/>
                <a:gd name="connsiteX8" fmla="*/ 3385161 w 8683492"/>
                <a:gd name="connsiteY8" fmla="*/ 771142 h 795901"/>
                <a:gd name="connsiteX9" fmla="*/ 4264597 w 8683492"/>
                <a:gd name="connsiteY9" fmla="*/ 754148 h 795901"/>
                <a:gd name="connsiteX10" fmla="*/ 4894315 w 8683492"/>
                <a:gd name="connsiteY10" fmla="*/ 762654 h 795901"/>
                <a:gd name="connsiteX11" fmla="*/ 5730325 w 8683492"/>
                <a:gd name="connsiteY11" fmla="*/ 762654 h 795901"/>
                <a:gd name="connsiteX12" fmla="*/ 6794338 w 8683492"/>
                <a:gd name="connsiteY12" fmla="*/ 788154 h 795901"/>
                <a:gd name="connsiteX13" fmla="*/ 7543493 w 8683492"/>
                <a:gd name="connsiteY13" fmla="*/ 779648 h 795901"/>
                <a:gd name="connsiteX14" fmla="*/ 8075488 w 8683492"/>
                <a:gd name="connsiteY14" fmla="*/ 771142 h 795901"/>
                <a:gd name="connsiteX15" fmla="*/ 8553211 w 8683492"/>
                <a:gd name="connsiteY15" fmla="*/ 737154 h 795901"/>
                <a:gd name="connsiteX16" fmla="*/ 8683492 w 8683492"/>
                <a:gd name="connsiteY16" fmla="*/ 754148 h 795901"/>
                <a:gd name="connsiteX17" fmla="*/ 8683492 w 8683492"/>
                <a:gd name="connsiteY17" fmla="*/ 133791 h 795901"/>
                <a:gd name="connsiteX18" fmla="*/ 8498916 w 8683492"/>
                <a:gd name="connsiteY18" fmla="*/ 65870 h 795901"/>
                <a:gd name="connsiteX19" fmla="*/ 7684620 w 8683492"/>
                <a:gd name="connsiteY19" fmla="*/ 14889 h 795901"/>
                <a:gd name="connsiteX20" fmla="*/ 7098329 w 8683492"/>
                <a:gd name="connsiteY20" fmla="*/ 108364 h 795901"/>
                <a:gd name="connsiteX21" fmla="*/ 6197179 w 8683492"/>
                <a:gd name="connsiteY21" fmla="*/ 201839 h 795901"/>
                <a:gd name="connsiteX22" fmla="*/ 5230888 w 8683492"/>
                <a:gd name="connsiteY22" fmla="*/ 201839 h 795901"/>
                <a:gd name="connsiteX23" fmla="*/ 3504598 w 8683492"/>
                <a:gd name="connsiteY23" fmla="*/ 193333 h 795901"/>
                <a:gd name="connsiteX24" fmla="*/ 2418870 w 8683492"/>
                <a:gd name="connsiteY24" fmla="*/ 65870 h 795901"/>
                <a:gd name="connsiteX25" fmla="*/ 627438 w 8683492"/>
                <a:gd name="connsiteY25" fmla="*/ 57364 h 795901"/>
                <a:gd name="connsiteX26" fmla="*/ 87616 w 8683492"/>
                <a:gd name="connsiteY26" fmla="*/ 66415 h 795901"/>
                <a:gd name="connsiteX0" fmla="*/ 84495 w 8680371"/>
                <a:gd name="connsiteY0" fmla="*/ 66415 h 795903"/>
                <a:gd name="connsiteX1" fmla="*/ 62557 w 8680371"/>
                <a:gd name="connsiteY1" fmla="*/ 350379 h 795903"/>
                <a:gd name="connsiteX2" fmla="*/ 77219 w 8680371"/>
                <a:gd name="connsiteY2" fmla="*/ 609625 h 795903"/>
                <a:gd name="connsiteX3" fmla="*/ 89436 w 8680371"/>
                <a:gd name="connsiteY3" fmla="*/ 686441 h 795903"/>
                <a:gd name="connsiteX4" fmla="*/ 59798 w 8680371"/>
                <a:gd name="connsiteY4" fmla="*/ 726571 h 795903"/>
                <a:gd name="connsiteX5" fmla="*/ 982580 w 8680371"/>
                <a:gd name="connsiteY5" fmla="*/ 754148 h 795903"/>
                <a:gd name="connsiteX6" fmla="*/ 1677439 w 8680371"/>
                <a:gd name="connsiteY6" fmla="*/ 788136 h 795903"/>
                <a:gd name="connsiteX7" fmla="*/ 2133449 w 8680371"/>
                <a:gd name="connsiteY7" fmla="*/ 728648 h 795903"/>
                <a:gd name="connsiteX8" fmla="*/ 2611171 w 8680371"/>
                <a:gd name="connsiteY8" fmla="*/ 728648 h 795903"/>
                <a:gd name="connsiteX9" fmla="*/ 3382040 w 8680371"/>
                <a:gd name="connsiteY9" fmla="*/ 771142 h 795903"/>
                <a:gd name="connsiteX10" fmla="*/ 4261476 w 8680371"/>
                <a:gd name="connsiteY10" fmla="*/ 754148 h 795903"/>
                <a:gd name="connsiteX11" fmla="*/ 4891194 w 8680371"/>
                <a:gd name="connsiteY11" fmla="*/ 762654 h 795903"/>
                <a:gd name="connsiteX12" fmla="*/ 5727204 w 8680371"/>
                <a:gd name="connsiteY12" fmla="*/ 762654 h 795903"/>
                <a:gd name="connsiteX13" fmla="*/ 6791217 w 8680371"/>
                <a:gd name="connsiteY13" fmla="*/ 788154 h 795903"/>
                <a:gd name="connsiteX14" fmla="*/ 7540372 w 8680371"/>
                <a:gd name="connsiteY14" fmla="*/ 779648 h 795903"/>
                <a:gd name="connsiteX15" fmla="*/ 8072367 w 8680371"/>
                <a:gd name="connsiteY15" fmla="*/ 771142 h 795903"/>
                <a:gd name="connsiteX16" fmla="*/ 8550090 w 8680371"/>
                <a:gd name="connsiteY16" fmla="*/ 737154 h 795903"/>
                <a:gd name="connsiteX17" fmla="*/ 8680371 w 8680371"/>
                <a:gd name="connsiteY17" fmla="*/ 754148 h 795903"/>
                <a:gd name="connsiteX18" fmla="*/ 8680371 w 8680371"/>
                <a:gd name="connsiteY18" fmla="*/ 133791 h 795903"/>
                <a:gd name="connsiteX19" fmla="*/ 8495795 w 8680371"/>
                <a:gd name="connsiteY19" fmla="*/ 65870 h 795903"/>
                <a:gd name="connsiteX20" fmla="*/ 7681499 w 8680371"/>
                <a:gd name="connsiteY20" fmla="*/ 14889 h 795903"/>
                <a:gd name="connsiteX21" fmla="*/ 7095208 w 8680371"/>
                <a:gd name="connsiteY21" fmla="*/ 108364 h 795903"/>
                <a:gd name="connsiteX22" fmla="*/ 6194058 w 8680371"/>
                <a:gd name="connsiteY22" fmla="*/ 201839 h 795903"/>
                <a:gd name="connsiteX23" fmla="*/ 5227767 w 8680371"/>
                <a:gd name="connsiteY23" fmla="*/ 201839 h 795903"/>
                <a:gd name="connsiteX24" fmla="*/ 3501477 w 8680371"/>
                <a:gd name="connsiteY24" fmla="*/ 193333 h 795903"/>
                <a:gd name="connsiteX25" fmla="*/ 2415749 w 8680371"/>
                <a:gd name="connsiteY25" fmla="*/ 65870 h 795903"/>
                <a:gd name="connsiteX26" fmla="*/ 624317 w 8680371"/>
                <a:gd name="connsiteY26" fmla="*/ 57364 h 795903"/>
                <a:gd name="connsiteX27" fmla="*/ 84495 w 8680371"/>
                <a:gd name="connsiteY27" fmla="*/ 66415 h 795903"/>
                <a:gd name="connsiteX0" fmla="*/ 58632 w 8654508"/>
                <a:gd name="connsiteY0" fmla="*/ 66415 h 847530"/>
                <a:gd name="connsiteX1" fmla="*/ 36694 w 8654508"/>
                <a:gd name="connsiteY1" fmla="*/ 350379 h 847530"/>
                <a:gd name="connsiteX2" fmla="*/ 51356 w 8654508"/>
                <a:gd name="connsiteY2" fmla="*/ 609625 h 847530"/>
                <a:gd name="connsiteX3" fmla="*/ 63573 w 8654508"/>
                <a:gd name="connsiteY3" fmla="*/ 686441 h 847530"/>
                <a:gd name="connsiteX4" fmla="*/ 99916 w 8654508"/>
                <a:gd name="connsiteY4" fmla="*/ 846591 h 847530"/>
                <a:gd name="connsiteX5" fmla="*/ 956717 w 8654508"/>
                <a:gd name="connsiteY5" fmla="*/ 754148 h 847530"/>
                <a:gd name="connsiteX6" fmla="*/ 1651576 w 8654508"/>
                <a:gd name="connsiteY6" fmla="*/ 788136 h 847530"/>
                <a:gd name="connsiteX7" fmla="*/ 2107586 w 8654508"/>
                <a:gd name="connsiteY7" fmla="*/ 728648 h 847530"/>
                <a:gd name="connsiteX8" fmla="*/ 2585308 w 8654508"/>
                <a:gd name="connsiteY8" fmla="*/ 728648 h 847530"/>
                <a:gd name="connsiteX9" fmla="*/ 3356177 w 8654508"/>
                <a:gd name="connsiteY9" fmla="*/ 771142 h 847530"/>
                <a:gd name="connsiteX10" fmla="*/ 4235613 w 8654508"/>
                <a:gd name="connsiteY10" fmla="*/ 754148 h 847530"/>
                <a:gd name="connsiteX11" fmla="*/ 4865331 w 8654508"/>
                <a:gd name="connsiteY11" fmla="*/ 762654 h 847530"/>
                <a:gd name="connsiteX12" fmla="*/ 5701341 w 8654508"/>
                <a:gd name="connsiteY12" fmla="*/ 762654 h 847530"/>
                <a:gd name="connsiteX13" fmla="*/ 6765354 w 8654508"/>
                <a:gd name="connsiteY13" fmla="*/ 788154 h 847530"/>
                <a:gd name="connsiteX14" fmla="*/ 7514509 w 8654508"/>
                <a:gd name="connsiteY14" fmla="*/ 779648 h 847530"/>
                <a:gd name="connsiteX15" fmla="*/ 8046504 w 8654508"/>
                <a:gd name="connsiteY15" fmla="*/ 771142 h 847530"/>
                <a:gd name="connsiteX16" fmla="*/ 8524227 w 8654508"/>
                <a:gd name="connsiteY16" fmla="*/ 737154 h 847530"/>
                <a:gd name="connsiteX17" fmla="*/ 8654508 w 8654508"/>
                <a:gd name="connsiteY17" fmla="*/ 754148 h 847530"/>
                <a:gd name="connsiteX18" fmla="*/ 8654508 w 8654508"/>
                <a:gd name="connsiteY18" fmla="*/ 133791 h 847530"/>
                <a:gd name="connsiteX19" fmla="*/ 8469932 w 8654508"/>
                <a:gd name="connsiteY19" fmla="*/ 65870 h 847530"/>
                <a:gd name="connsiteX20" fmla="*/ 7655636 w 8654508"/>
                <a:gd name="connsiteY20" fmla="*/ 14889 h 847530"/>
                <a:gd name="connsiteX21" fmla="*/ 7069345 w 8654508"/>
                <a:gd name="connsiteY21" fmla="*/ 108364 h 847530"/>
                <a:gd name="connsiteX22" fmla="*/ 6168195 w 8654508"/>
                <a:gd name="connsiteY22" fmla="*/ 201839 h 847530"/>
                <a:gd name="connsiteX23" fmla="*/ 5201904 w 8654508"/>
                <a:gd name="connsiteY23" fmla="*/ 201839 h 847530"/>
                <a:gd name="connsiteX24" fmla="*/ 3475614 w 8654508"/>
                <a:gd name="connsiteY24" fmla="*/ 193333 h 847530"/>
                <a:gd name="connsiteX25" fmla="*/ 2389886 w 8654508"/>
                <a:gd name="connsiteY25" fmla="*/ 65870 h 847530"/>
                <a:gd name="connsiteX26" fmla="*/ 598454 w 8654508"/>
                <a:gd name="connsiteY26" fmla="*/ 57364 h 847530"/>
                <a:gd name="connsiteX27" fmla="*/ 58632 w 8654508"/>
                <a:gd name="connsiteY27" fmla="*/ 66415 h 847530"/>
                <a:gd name="connsiteX0" fmla="*/ 54170 w 8650046"/>
                <a:gd name="connsiteY0" fmla="*/ 66415 h 847528"/>
                <a:gd name="connsiteX1" fmla="*/ 20012 w 8650046"/>
                <a:gd name="connsiteY1" fmla="*/ 139144 h 847528"/>
                <a:gd name="connsiteX2" fmla="*/ 32232 w 8650046"/>
                <a:gd name="connsiteY2" fmla="*/ 350379 h 847528"/>
                <a:gd name="connsiteX3" fmla="*/ 46894 w 8650046"/>
                <a:gd name="connsiteY3" fmla="*/ 609625 h 847528"/>
                <a:gd name="connsiteX4" fmla="*/ 59111 w 8650046"/>
                <a:gd name="connsiteY4" fmla="*/ 686441 h 847528"/>
                <a:gd name="connsiteX5" fmla="*/ 95454 w 8650046"/>
                <a:gd name="connsiteY5" fmla="*/ 846591 h 847528"/>
                <a:gd name="connsiteX6" fmla="*/ 952255 w 8650046"/>
                <a:gd name="connsiteY6" fmla="*/ 754148 h 847528"/>
                <a:gd name="connsiteX7" fmla="*/ 1647114 w 8650046"/>
                <a:gd name="connsiteY7" fmla="*/ 788136 h 847528"/>
                <a:gd name="connsiteX8" fmla="*/ 2103124 w 8650046"/>
                <a:gd name="connsiteY8" fmla="*/ 728648 h 847528"/>
                <a:gd name="connsiteX9" fmla="*/ 2580846 w 8650046"/>
                <a:gd name="connsiteY9" fmla="*/ 728648 h 847528"/>
                <a:gd name="connsiteX10" fmla="*/ 3351715 w 8650046"/>
                <a:gd name="connsiteY10" fmla="*/ 771142 h 847528"/>
                <a:gd name="connsiteX11" fmla="*/ 4231151 w 8650046"/>
                <a:gd name="connsiteY11" fmla="*/ 754148 h 847528"/>
                <a:gd name="connsiteX12" fmla="*/ 4860869 w 8650046"/>
                <a:gd name="connsiteY12" fmla="*/ 762654 h 847528"/>
                <a:gd name="connsiteX13" fmla="*/ 5696879 w 8650046"/>
                <a:gd name="connsiteY13" fmla="*/ 762654 h 847528"/>
                <a:gd name="connsiteX14" fmla="*/ 6760892 w 8650046"/>
                <a:gd name="connsiteY14" fmla="*/ 788154 h 847528"/>
                <a:gd name="connsiteX15" fmla="*/ 7510047 w 8650046"/>
                <a:gd name="connsiteY15" fmla="*/ 779648 h 847528"/>
                <a:gd name="connsiteX16" fmla="*/ 8042042 w 8650046"/>
                <a:gd name="connsiteY16" fmla="*/ 771142 h 847528"/>
                <a:gd name="connsiteX17" fmla="*/ 8519765 w 8650046"/>
                <a:gd name="connsiteY17" fmla="*/ 737154 h 847528"/>
                <a:gd name="connsiteX18" fmla="*/ 8650046 w 8650046"/>
                <a:gd name="connsiteY18" fmla="*/ 754148 h 847528"/>
                <a:gd name="connsiteX19" fmla="*/ 8650046 w 8650046"/>
                <a:gd name="connsiteY19" fmla="*/ 133791 h 847528"/>
                <a:gd name="connsiteX20" fmla="*/ 8465470 w 8650046"/>
                <a:gd name="connsiteY20" fmla="*/ 65870 h 847528"/>
                <a:gd name="connsiteX21" fmla="*/ 7651174 w 8650046"/>
                <a:gd name="connsiteY21" fmla="*/ 14889 h 847528"/>
                <a:gd name="connsiteX22" fmla="*/ 7064883 w 8650046"/>
                <a:gd name="connsiteY22" fmla="*/ 108364 h 847528"/>
                <a:gd name="connsiteX23" fmla="*/ 6163733 w 8650046"/>
                <a:gd name="connsiteY23" fmla="*/ 201839 h 847528"/>
                <a:gd name="connsiteX24" fmla="*/ 5197442 w 8650046"/>
                <a:gd name="connsiteY24" fmla="*/ 201839 h 847528"/>
                <a:gd name="connsiteX25" fmla="*/ 3471152 w 8650046"/>
                <a:gd name="connsiteY25" fmla="*/ 193333 h 847528"/>
                <a:gd name="connsiteX26" fmla="*/ 2385424 w 8650046"/>
                <a:gd name="connsiteY26" fmla="*/ 65870 h 847528"/>
                <a:gd name="connsiteX27" fmla="*/ 593992 w 8650046"/>
                <a:gd name="connsiteY27" fmla="*/ 57364 h 847528"/>
                <a:gd name="connsiteX28" fmla="*/ 54170 w 8650046"/>
                <a:gd name="connsiteY28" fmla="*/ 66415 h 847528"/>
                <a:gd name="connsiteX0" fmla="*/ 54170 w 8650046"/>
                <a:gd name="connsiteY0" fmla="*/ 66415 h 847530"/>
                <a:gd name="connsiteX1" fmla="*/ 20012 w 8650046"/>
                <a:gd name="connsiteY1" fmla="*/ 139144 h 847530"/>
                <a:gd name="connsiteX2" fmla="*/ 32232 w 8650046"/>
                <a:gd name="connsiteY2" fmla="*/ 350379 h 847530"/>
                <a:gd name="connsiteX3" fmla="*/ 46894 w 8650046"/>
                <a:gd name="connsiteY3" fmla="*/ 609625 h 847530"/>
                <a:gd name="connsiteX4" fmla="*/ 59111 w 8650046"/>
                <a:gd name="connsiteY4" fmla="*/ 686441 h 847530"/>
                <a:gd name="connsiteX5" fmla="*/ 95454 w 8650046"/>
                <a:gd name="connsiteY5" fmla="*/ 846591 h 847530"/>
                <a:gd name="connsiteX6" fmla="*/ 952255 w 8650046"/>
                <a:gd name="connsiteY6" fmla="*/ 754148 h 847530"/>
                <a:gd name="connsiteX7" fmla="*/ 1647114 w 8650046"/>
                <a:gd name="connsiteY7" fmla="*/ 788136 h 847530"/>
                <a:gd name="connsiteX8" fmla="*/ 2103124 w 8650046"/>
                <a:gd name="connsiteY8" fmla="*/ 728648 h 847530"/>
                <a:gd name="connsiteX9" fmla="*/ 2580846 w 8650046"/>
                <a:gd name="connsiteY9" fmla="*/ 728648 h 847530"/>
                <a:gd name="connsiteX10" fmla="*/ 3351715 w 8650046"/>
                <a:gd name="connsiteY10" fmla="*/ 771142 h 847530"/>
                <a:gd name="connsiteX11" fmla="*/ 4231151 w 8650046"/>
                <a:gd name="connsiteY11" fmla="*/ 754148 h 847530"/>
                <a:gd name="connsiteX12" fmla="*/ 4860869 w 8650046"/>
                <a:gd name="connsiteY12" fmla="*/ 762654 h 847530"/>
                <a:gd name="connsiteX13" fmla="*/ 5696879 w 8650046"/>
                <a:gd name="connsiteY13" fmla="*/ 762654 h 847530"/>
                <a:gd name="connsiteX14" fmla="*/ 6760892 w 8650046"/>
                <a:gd name="connsiteY14" fmla="*/ 788154 h 847530"/>
                <a:gd name="connsiteX15" fmla="*/ 7510047 w 8650046"/>
                <a:gd name="connsiteY15" fmla="*/ 779648 h 847530"/>
                <a:gd name="connsiteX16" fmla="*/ 8042042 w 8650046"/>
                <a:gd name="connsiteY16" fmla="*/ 771142 h 847530"/>
                <a:gd name="connsiteX17" fmla="*/ 8519765 w 8650046"/>
                <a:gd name="connsiteY17" fmla="*/ 737154 h 847530"/>
                <a:gd name="connsiteX18" fmla="*/ 8650046 w 8650046"/>
                <a:gd name="connsiteY18" fmla="*/ 754148 h 847530"/>
                <a:gd name="connsiteX19" fmla="*/ 8650046 w 8650046"/>
                <a:gd name="connsiteY19" fmla="*/ 133791 h 847530"/>
                <a:gd name="connsiteX20" fmla="*/ 8465470 w 8650046"/>
                <a:gd name="connsiteY20" fmla="*/ 65870 h 847530"/>
                <a:gd name="connsiteX21" fmla="*/ 7651174 w 8650046"/>
                <a:gd name="connsiteY21" fmla="*/ 14889 h 847530"/>
                <a:gd name="connsiteX22" fmla="*/ 7064883 w 8650046"/>
                <a:gd name="connsiteY22" fmla="*/ 108364 h 847530"/>
                <a:gd name="connsiteX23" fmla="*/ 6163733 w 8650046"/>
                <a:gd name="connsiteY23" fmla="*/ 201839 h 847530"/>
                <a:gd name="connsiteX24" fmla="*/ 5197442 w 8650046"/>
                <a:gd name="connsiteY24" fmla="*/ 201839 h 847530"/>
                <a:gd name="connsiteX25" fmla="*/ 3471152 w 8650046"/>
                <a:gd name="connsiteY25" fmla="*/ 193333 h 847530"/>
                <a:gd name="connsiteX26" fmla="*/ 2385424 w 8650046"/>
                <a:gd name="connsiteY26" fmla="*/ 65870 h 847530"/>
                <a:gd name="connsiteX27" fmla="*/ 593992 w 8650046"/>
                <a:gd name="connsiteY27" fmla="*/ 57364 h 847530"/>
                <a:gd name="connsiteX28" fmla="*/ 54170 w 8650046"/>
                <a:gd name="connsiteY28" fmla="*/ 66415 h 847530"/>
                <a:gd name="connsiteX0" fmla="*/ 48208 w 8644084"/>
                <a:gd name="connsiteY0" fmla="*/ 66415 h 847528"/>
                <a:gd name="connsiteX1" fmla="*/ 14050 w 8644084"/>
                <a:gd name="connsiteY1" fmla="*/ 139144 h 847528"/>
                <a:gd name="connsiteX2" fmla="*/ 26270 w 8644084"/>
                <a:gd name="connsiteY2" fmla="*/ 350379 h 847528"/>
                <a:gd name="connsiteX3" fmla="*/ 40932 w 8644084"/>
                <a:gd name="connsiteY3" fmla="*/ 609625 h 847528"/>
                <a:gd name="connsiteX4" fmla="*/ 53149 w 8644084"/>
                <a:gd name="connsiteY4" fmla="*/ 686441 h 847528"/>
                <a:gd name="connsiteX5" fmla="*/ 89492 w 8644084"/>
                <a:gd name="connsiteY5" fmla="*/ 846591 h 847528"/>
                <a:gd name="connsiteX6" fmla="*/ 946293 w 8644084"/>
                <a:gd name="connsiteY6" fmla="*/ 754148 h 847528"/>
                <a:gd name="connsiteX7" fmla="*/ 1641152 w 8644084"/>
                <a:gd name="connsiteY7" fmla="*/ 788136 h 847528"/>
                <a:gd name="connsiteX8" fmla="*/ 2097162 w 8644084"/>
                <a:gd name="connsiteY8" fmla="*/ 728648 h 847528"/>
                <a:gd name="connsiteX9" fmla="*/ 2574884 w 8644084"/>
                <a:gd name="connsiteY9" fmla="*/ 728648 h 847528"/>
                <a:gd name="connsiteX10" fmla="*/ 3345753 w 8644084"/>
                <a:gd name="connsiteY10" fmla="*/ 771142 h 847528"/>
                <a:gd name="connsiteX11" fmla="*/ 4225189 w 8644084"/>
                <a:gd name="connsiteY11" fmla="*/ 754148 h 847528"/>
                <a:gd name="connsiteX12" fmla="*/ 4854907 w 8644084"/>
                <a:gd name="connsiteY12" fmla="*/ 762654 h 847528"/>
                <a:gd name="connsiteX13" fmla="*/ 5690917 w 8644084"/>
                <a:gd name="connsiteY13" fmla="*/ 762654 h 847528"/>
                <a:gd name="connsiteX14" fmla="*/ 6754930 w 8644084"/>
                <a:gd name="connsiteY14" fmla="*/ 788154 h 847528"/>
                <a:gd name="connsiteX15" fmla="*/ 7504085 w 8644084"/>
                <a:gd name="connsiteY15" fmla="*/ 779648 h 847528"/>
                <a:gd name="connsiteX16" fmla="*/ 8036080 w 8644084"/>
                <a:gd name="connsiteY16" fmla="*/ 771142 h 847528"/>
                <a:gd name="connsiteX17" fmla="*/ 8513803 w 8644084"/>
                <a:gd name="connsiteY17" fmla="*/ 737154 h 847528"/>
                <a:gd name="connsiteX18" fmla="*/ 8644084 w 8644084"/>
                <a:gd name="connsiteY18" fmla="*/ 754148 h 847528"/>
                <a:gd name="connsiteX19" fmla="*/ 8644084 w 8644084"/>
                <a:gd name="connsiteY19" fmla="*/ 133791 h 847528"/>
                <a:gd name="connsiteX20" fmla="*/ 8459508 w 8644084"/>
                <a:gd name="connsiteY20" fmla="*/ 65870 h 847528"/>
                <a:gd name="connsiteX21" fmla="*/ 7645212 w 8644084"/>
                <a:gd name="connsiteY21" fmla="*/ 14889 h 847528"/>
                <a:gd name="connsiteX22" fmla="*/ 7058921 w 8644084"/>
                <a:gd name="connsiteY22" fmla="*/ 108364 h 847528"/>
                <a:gd name="connsiteX23" fmla="*/ 6157771 w 8644084"/>
                <a:gd name="connsiteY23" fmla="*/ 201839 h 847528"/>
                <a:gd name="connsiteX24" fmla="*/ 5191480 w 8644084"/>
                <a:gd name="connsiteY24" fmla="*/ 201839 h 847528"/>
                <a:gd name="connsiteX25" fmla="*/ 3465190 w 8644084"/>
                <a:gd name="connsiteY25" fmla="*/ 193333 h 847528"/>
                <a:gd name="connsiteX26" fmla="*/ 2379462 w 8644084"/>
                <a:gd name="connsiteY26" fmla="*/ 65870 h 847528"/>
                <a:gd name="connsiteX27" fmla="*/ 588030 w 8644084"/>
                <a:gd name="connsiteY27" fmla="*/ 57364 h 847528"/>
                <a:gd name="connsiteX28" fmla="*/ 48208 w 8644084"/>
                <a:gd name="connsiteY28" fmla="*/ 66415 h 847528"/>
                <a:gd name="connsiteX0" fmla="*/ 39893 w 8635769"/>
                <a:gd name="connsiteY0" fmla="*/ 66415 h 847530"/>
                <a:gd name="connsiteX1" fmla="*/ 5735 w 8635769"/>
                <a:gd name="connsiteY1" fmla="*/ 139144 h 847530"/>
                <a:gd name="connsiteX2" fmla="*/ 17955 w 8635769"/>
                <a:gd name="connsiteY2" fmla="*/ 350379 h 847530"/>
                <a:gd name="connsiteX3" fmla="*/ 32617 w 8635769"/>
                <a:gd name="connsiteY3" fmla="*/ 609625 h 847530"/>
                <a:gd name="connsiteX4" fmla="*/ 44834 w 8635769"/>
                <a:gd name="connsiteY4" fmla="*/ 686441 h 847530"/>
                <a:gd name="connsiteX5" fmla="*/ 81177 w 8635769"/>
                <a:gd name="connsiteY5" fmla="*/ 846591 h 847530"/>
                <a:gd name="connsiteX6" fmla="*/ 937978 w 8635769"/>
                <a:gd name="connsiteY6" fmla="*/ 754148 h 847530"/>
                <a:gd name="connsiteX7" fmla="*/ 1632837 w 8635769"/>
                <a:gd name="connsiteY7" fmla="*/ 788136 h 847530"/>
                <a:gd name="connsiteX8" fmla="*/ 2088847 w 8635769"/>
                <a:gd name="connsiteY8" fmla="*/ 728648 h 847530"/>
                <a:gd name="connsiteX9" fmla="*/ 2566569 w 8635769"/>
                <a:gd name="connsiteY9" fmla="*/ 728648 h 847530"/>
                <a:gd name="connsiteX10" fmla="*/ 3337438 w 8635769"/>
                <a:gd name="connsiteY10" fmla="*/ 771142 h 847530"/>
                <a:gd name="connsiteX11" fmla="*/ 4216874 w 8635769"/>
                <a:gd name="connsiteY11" fmla="*/ 754148 h 847530"/>
                <a:gd name="connsiteX12" fmla="*/ 4846592 w 8635769"/>
                <a:gd name="connsiteY12" fmla="*/ 762654 h 847530"/>
                <a:gd name="connsiteX13" fmla="*/ 5682602 w 8635769"/>
                <a:gd name="connsiteY13" fmla="*/ 762654 h 847530"/>
                <a:gd name="connsiteX14" fmla="*/ 6746615 w 8635769"/>
                <a:gd name="connsiteY14" fmla="*/ 788154 h 847530"/>
                <a:gd name="connsiteX15" fmla="*/ 7495770 w 8635769"/>
                <a:gd name="connsiteY15" fmla="*/ 779648 h 847530"/>
                <a:gd name="connsiteX16" fmla="*/ 8027765 w 8635769"/>
                <a:gd name="connsiteY16" fmla="*/ 771142 h 847530"/>
                <a:gd name="connsiteX17" fmla="*/ 8505488 w 8635769"/>
                <a:gd name="connsiteY17" fmla="*/ 737154 h 847530"/>
                <a:gd name="connsiteX18" fmla="*/ 8635769 w 8635769"/>
                <a:gd name="connsiteY18" fmla="*/ 754148 h 847530"/>
                <a:gd name="connsiteX19" fmla="*/ 8635769 w 8635769"/>
                <a:gd name="connsiteY19" fmla="*/ 133791 h 847530"/>
                <a:gd name="connsiteX20" fmla="*/ 8451193 w 8635769"/>
                <a:gd name="connsiteY20" fmla="*/ 65870 h 847530"/>
                <a:gd name="connsiteX21" fmla="*/ 7636897 w 8635769"/>
                <a:gd name="connsiteY21" fmla="*/ 14889 h 847530"/>
                <a:gd name="connsiteX22" fmla="*/ 7050606 w 8635769"/>
                <a:gd name="connsiteY22" fmla="*/ 108364 h 847530"/>
                <a:gd name="connsiteX23" fmla="*/ 6149456 w 8635769"/>
                <a:gd name="connsiteY23" fmla="*/ 201839 h 847530"/>
                <a:gd name="connsiteX24" fmla="*/ 5183165 w 8635769"/>
                <a:gd name="connsiteY24" fmla="*/ 201839 h 847530"/>
                <a:gd name="connsiteX25" fmla="*/ 3456875 w 8635769"/>
                <a:gd name="connsiteY25" fmla="*/ 193333 h 847530"/>
                <a:gd name="connsiteX26" fmla="*/ 2371147 w 8635769"/>
                <a:gd name="connsiteY26" fmla="*/ 65870 h 847530"/>
                <a:gd name="connsiteX27" fmla="*/ 579715 w 8635769"/>
                <a:gd name="connsiteY27" fmla="*/ 57364 h 847530"/>
                <a:gd name="connsiteX28" fmla="*/ 39893 w 8635769"/>
                <a:gd name="connsiteY28" fmla="*/ 66415 h 847530"/>
                <a:gd name="connsiteX0" fmla="*/ 39893 w 8635769"/>
                <a:gd name="connsiteY0" fmla="*/ 66415 h 847528"/>
                <a:gd name="connsiteX1" fmla="*/ 5735 w 8635769"/>
                <a:gd name="connsiteY1" fmla="*/ 139144 h 847528"/>
                <a:gd name="connsiteX2" fmla="*/ 17955 w 8635769"/>
                <a:gd name="connsiteY2" fmla="*/ 350379 h 847528"/>
                <a:gd name="connsiteX3" fmla="*/ 32617 w 8635769"/>
                <a:gd name="connsiteY3" fmla="*/ 609625 h 847528"/>
                <a:gd name="connsiteX4" fmla="*/ 44834 w 8635769"/>
                <a:gd name="connsiteY4" fmla="*/ 686441 h 847528"/>
                <a:gd name="connsiteX5" fmla="*/ 81177 w 8635769"/>
                <a:gd name="connsiteY5" fmla="*/ 846591 h 847528"/>
                <a:gd name="connsiteX6" fmla="*/ 937978 w 8635769"/>
                <a:gd name="connsiteY6" fmla="*/ 754148 h 847528"/>
                <a:gd name="connsiteX7" fmla="*/ 1632837 w 8635769"/>
                <a:gd name="connsiteY7" fmla="*/ 788136 h 847528"/>
                <a:gd name="connsiteX8" fmla="*/ 2088847 w 8635769"/>
                <a:gd name="connsiteY8" fmla="*/ 728648 h 847528"/>
                <a:gd name="connsiteX9" fmla="*/ 2566569 w 8635769"/>
                <a:gd name="connsiteY9" fmla="*/ 728648 h 847528"/>
                <a:gd name="connsiteX10" fmla="*/ 3337438 w 8635769"/>
                <a:gd name="connsiteY10" fmla="*/ 771142 h 847528"/>
                <a:gd name="connsiteX11" fmla="*/ 4216874 w 8635769"/>
                <a:gd name="connsiteY11" fmla="*/ 754148 h 847528"/>
                <a:gd name="connsiteX12" fmla="*/ 4846592 w 8635769"/>
                <a:gd name="connsiteY12" fmla="*/ 762654 h 847528"/>
                <a:gd name="connsiteX13" fmla="*/ 5682602 w 8635769"/>
                <a:gd name="connsiteY13" fmla="*/ 762654 h 847528"/>
                <a:gd name="connsiteX14" fmla="*/ 6746615 w 8635769"/>
                <a:gd name="connsiteY14" fmla="*/ 788154 h 847528"/>
                <a:gd name="connsiteX15" fmla="*/ 7495770 w 8635769"/>
                <a:gd name="connsiteY15" fmla="*/ 779648 h 847528"/>
                <a:gd name="connsiteX16" fmla="*/ 8027765 w 8635769"/>
                <a:gd name="connsiteY16" fmla="*/ 771142 h 847528"/>
                <a:gd name="connsiteX17" fmla="*/ 8505488 w 8635769"/>
                <a:gd name="connsiteY17" fmla="*/ 737154 h 847528"/>
                <a:gd name="connsiteX18" fmla="*/ 8635769 w 8635769"/>
                <a:gd name="connsiteY18" fmla="*/ 754148 h 847528"/>
                <a:gd name="connsiteX19" fmla="*/ 8635769 w 8635769"/>
                <a:gd name="connsiteY19" fmla="*/ 133791 h 847528"/>
                <a:gd name="connsiteX20" fmla="*/ 8451193 w 8635769"/>
                <a:gd name="connsiteY20" fmla="*/ 65870 h 847528"/>
                <a:gd name="connsiteX21" fmla="*/ 7636897 w 8635769"/>
                <a:gd name="connsiteY21" fmla="*/ 14889 h 847528"/>
                <a:gd name="connsiteX22" fmla="*/ 7050606 w 8635769"/>
                <a:gd name="connsiteY22" fmla="*/ 108364 h 847528"/>
                <a:gd name="connsiteX23" fmla="*/ 6149456 w 8635769"/>
                <a:gd name="connsiteY23" fmla="*/ 201839 h 847528"/>
                <a:gd name="connsiteX24" fmla="*/ 5183165 w 8635769"/>
                <a:gd name="connsiteY24" fmla="*/ 201839 h 847528"/>
                <a:gd name="connsiteX25" fmla="*/ 3456875 w 8635769"/>
                <a:gd name="connsiteY25" fmla="*/ 193333 h 847528"/>
                <a:gd name="connsiteX26" fmla="*/ 2371147 w 8635769"/>
                <a:gd name="connsiteY26" fmla="*/ 65870 h 847528"/>
                <a:gd name="connsiteX27" fmla="*/ 579715 w 8635769"/>
                <a:gd name="connsiteY27" fmla="*/ 57364 h 847528"/>
                <a:gd name="connsiteX28" fmla="*/ 39893 w 8635769"/>
                <a:gd name="connsiteY28" fmla="*/ 66415 h 847528"/>
                <a:gd name="connsiteX0" fmla="*/ 36653 w 8632529"/>
                <a:gd name="connsiteY0" fmla="*/ 66415 h 847530"/>
                <a:gd name="connsiteX1" fmla="*/ 2495 w 8632529"/>
                <a:gd name="connsiteY1" fmla="*/ 139144 h 847530"/>
                <a:gd name="connsiteX2" fmla="*/ 14715 w 8632529"/>
                <a:gd name="connsiteY2" fmla="*/ 350379 h 847530"/>
                <a:gd name="connsiteX3" fmla="*/ 29377 w 8632529"/>
                <a:gd name="connsiteY3" fmla="*/ 609625 h 847530"/>
                <a:gd name="connsiteX4" fmla="*/ 41594 w 8632529"/>
                <a:gd name="connsiteY4" fmla="*/ 686441 h 847530"/>
                <a:gd name="connsiteX5" fmla="*/ 77937 w 8632529"/>
                <a:gd name="connsiteY5" fmla="*/ 846591 h 847530"/>
                <a:gd name="connsiteX6" fmla="*/ 934738 w 8632529"/>
                <a:gd name="connsiteY6" fmla="*/ 754148 h 847530"/>
                <a:gd name="connsiteX7" fmla="*/ 1629597 w 8632529"/>
                <a:gd name="connsiteY7" fmla="*/ 788136 h 847530"/>
                <a:gd name="connsiteX8" fmla="*/ 2085607 w 8632529"/>
                <a:gd name="connsiteY8" fmla="*/ 728648 h 847530"/>
                <a:gd name="connsiteX9" fmla="*/ 2563329 w 8632529"/>
                <a:gd name="connsiteY9" fmla="*/ 728648 h 847530"/>
                <a:gd name="connsiteX10" fmla="*/ 3334198 w 8632529"/>
                <a:gd name="connsiteY10" fmla="*/ 771142 h 847530"/>
                <a:gd name="connsiteX11" fmla="*/ 4213634 w 8632529"/>
                <a:gd name="connsiteY11" fmla="*/ 754148 h 847530"/>
                <a:gd name="connsiteX12" fmla="*/ 4843352 w 8632529"/>
                <a:gd name="connsiteY12" fmla="*/ 762654 h 847530"/>
                <a:gd name="connsiteX13" fmla="*/ 5679362 w 8632529"/>
                <a:gd name="connsiteY13" fmla="*/ 762654 h 847530"/>
                <a:gd name="connsiteX14" fmla="*/ 6743375 w 8632529"/>
                <a:gd name="connsiteY14" fmla="*/ 788154 h 847530"/>
                <a:gd name="connsiteX15" fmla="*/ 7492530 w 8632529"/>
                <a:gd name="connsiteY15" fmla="*/ 779648 h 847530"/>
                <a:gd name="connsiteX16" fmla="*/ 8024525 w 8632529"/>
                <a:gd name="connsiteY16" fmla="*/ 771142 h 847530"/>
                <a:gd name="connsiteX17" fmla="*/ 8502248 w 8632529"/>
                <a:gd name="connsiteY17" fmla="*/ 737154 h 847530"/>
                <a:gd name="connsiteX18" fmla="*/ 8632529 w 8632529"/>
                <a:gd name="connsiteY18" fmla="*/ 754148 h 847530"/>
                <a:gd name="connsiteX19" fmla="*/ 8632529 w 8632529"/>
                <a:gd name="connsiteY19" fmla="*/ 133791 h 847530"/>
                <a:gd name="connsiteX20" fmla="*/ 8447953 w 8632529"/>
                <a:gd name="connsiteY20" fmla="*/ 65870 h 847530"/>
                <a:gd name="connsiteX21" fmla="*/ 7633657 w 8632529"/>
                <a:gd name="connsiteY21" fmla="*/ 14889 h 847530"/>
                <a:gd name="connsiteX22" fmla="*/ 7047366 w 8632529"/>
                <a:gd name="connsiteY22" fmla="*/ 108364 h 847530"/>
                <a:gd name="connsiteX23" fmla="*/ 6146216 w 8632529"/>
                <a:gd name="connsiteY23" fmla="*/ 201839 h 847530"/>
                <a:gd name="connsiteX24" fmla="*/ 5179925 w 8632529"/>
                <a:gd name="connsiteY24" fmla="*/ 201839 h 847530"/>
                <a:gd name="connsiteX25" fmla="*/ 3453635 w 8632529"/>
                <a:gd name="connsiteY25" fmla="*/ 193333 h 847530"/>
                <a:gd name="connsiteX26" fmla="*/ 2367907 w 8632529"/>
                <a:gd name="connsiteY26" fmla="*/ 65870 h 847530"/>
                <a:gd name="connsiteX27" fmla="*/ 576475 w 8632529"/>
                <a:gd name="connsiteY27" fmla="*/ 57364 h 847530"/>
                <a:gd name="connsiteX28" fmla="*/ 36653 w 8632529"/>
                <a:gd name="connsiteY28" fmla="*/ 66415 h 847530"/>
                <a:gd name="connsiteX0" fmla="*/ 38923 w 8634799"/>
                <a:gd name="connsiteY0" fmla="*/ 66415 h 847528"/>
                <a:gd name="connsiteX1" fmla="*/ 4765 w 8634799"/>
                <a:gd name="connsiteY1" fmla="*/ 139144 h 847528"/>
                <a:gd name="connsiteX2" fmla="*/ 16985 w 8634799"/>
                <a:gd name="connsiteY2" fmla="*/ 350379 h 847528"/>
                <a:gd name="connsiteX3" fmla="*/ 31647 w 8634799"/>
                <a:gd name="connsiteY3" fmla="*/ 609625 h 847528"/>
                <a:gd name="connsiteX4" fmla="*/ 43864 w 8634799"/>
                <a:gd name="connsiteY4" fmla="*/ 686441 h 847528"/>
                <a:gd name="connsiteX5" fmla="*/ 80207 w 8634799"/>
                <a:gd name="connsiteY5" fmla="*/ 846591 h 847528"/>
                <a:gd name="connsiteX6" fmla="*/ 937008 w 8634799"/>
                <a:gd name="connsiteY6" fmla="*/ 754148 h 847528"/>
                <a:gd name="connsiteX7" fmla="*/ 1631867 w 8634799"/>
                <a:gd name="connsiteY7" fmla="*/ 788136 h 847528"/>
                <a:gd name="connsiteX8" fmla="*/ 2087877 w 8634799"/>
                <a:gd name="connsiteY8" fmla="*/ 728648 h 847528"/>
                <a:gd name="connsiteX9" fmla="*/ 2565599 w 8634799"/>
                <a:gd name="connsiteY9" fmla="*/ 728648 h 847528"/>
                <a:gd name="connsiteX10" fmla="*/ 3336468 w 8634799"/>
                <a:gd name="connsiteY10" fmla="*/ 771142 h 847528"/>
                <a:gd name="connsiteX11" fmla="*/ 4215904 w 8634799"/>
                <a:gd name="connsiteY11" fmla="*/ 754148 h 847528"/>
                <a:gd name="connsiteX12" fmla="*/ 4845622 w 8634799"/>
                <a:gd name="connsiteY12" fmla="*/ 762654 h 847528"/>
                <a:gd name="connsiteX13" fmla="*/ 5681632 w 8634799"/>
                <a:gd name="connsiteY13" fmla="*/ 762654 h 847528"/>
                <a:gd name="connsiteX14" fmla="*/ 6745645 w 8634799"/>
                <a:gd name="connsiteY14" fmla="*/ 788154 h 847528"/>
                <a:gd name="connsiteX15" fmla="*/ 7494800 w 8634799"/>
                <a:gd name="connsiteY15" fmla="*/ 779648 h 847528"/>
                <a:gd name="connsiteX16" fmla="*/ 8026795 w 8634799"/>
                <a:gd name="connsiteY16" fmla="*/ 771142 h 847528"/>
                <a:gd name="connsiteX17" fmla="*/ 8504518 w 8634799"/>
                <a:gd name="connsiteY17" fmla="*/ 737154 h 847528"/>
                <a:gd name="connsiteX18" fmla="*/ 8634799 w 8634799"/>
                <a:gd name="connsiteY18" fmla="*/ 754148 h 847528"/>
                <a:gd name="connsiteX19" fmla="*/ 8634799 w 8634799"/>
                <a:gd name="connsiteY19" fmla="*/ 133791 h 847528"/>
                <a:gd name="connsiteX20" fmla="*/ 8450223 w 8634799"/>
                <a:gd name="connsiteY20" fmla="*/ 65870 h 847528"/>
                <a:gd name="connsiteX21" fmla="*/ 7635927 w 8634799"/>
                <a:gd name="connsiteY21" fmla="*/ 14889 h 847528"/>
                <a:gd name="connsiteX22" fmla="*/ 7049636 w 8634799"/>
                <a:gd name="connsiteY22" fmla="*/ 108364 h 847528"/>
                <a:gd name="connsiteX23" fmla="*/ 6148486 w 8634799"/>
                <a:gd name="connsiteY23" fmla="*/ 201839 h 847528"/>
                <a:gd name="connsiteX24" fmla="*/ 5182195 w 8634799"/>
                <a:gd name="connsiteY24" fmla="*/ 201839 h 847528"/>
                <a:gd name="connsiteX25" fmla="*/ 3455905 w 8634799"/>
                <a:gd name="connsiteY25" fmla="*/ 193333 h 847528"/>
                <a:gd name="connsiteX26" fmla="*/ 2370177 w 8634799"/>
                <a:gd name="connsiteY26" fmla="*/ 65870 h 847528"/>
                <a:gd name="connsiteX27" fmla="*/ 578745 w 8634799"/>
                <a:gd name="connsiteY27" fmla="*/ 57364 h 847528"/>
                <a:gd name="connsiteX28" fmla="*/ 38923 w 8634799"/>
                <a:gd name="connsiteY28" fmla="*/ 66415 h 847528"/>
                <a:gd name="connsiteX0" fmla="*/ 38923 w 8634799"/>
                <a:gd name="connsiteY0" fmla="*/ 66415 h 847530"/>
                <a:gd name="connsiteX1" fmla="*/ 4765 w 8634799"/>
                <a:gd name="connsiteY1" fmla="*/ 139144 h 847530"/>
                <a:gd name="connsiteX2" fmla="*/ 16985 w 8634799"/>
                <a:gd name="connsiteY2" fmla="*/ 350379 h 847530"/>
                <a:gd name="connsiteX3" fmla="*/ 31647 w 8634799"/>
                <a:gd name="connsiteY3" fmla="*/ 609625 h 847530"/>
                <a:gd name="connsiteX4" fmla="*/ 43864 w 8634799"/>
                <a:gd name="connsiteY4" fmla="*/ 686441 h 847530"/>
                <a:gd name="connsiteX5" fmla="*/ 80207 w 8634799"/>
                <a:gd name="connsiteY5" fmla="*/ 846591 h 847530"/>
                <a:gd name="connsiteX6" fmla="*/ 937008 w 8634799"/>
                <a:gd name="connsiteY6" fmla="*/ 754148 h 847530"/>
                <a:gd name="connsiteX7" fmla="*/ 1631867 w 8634799"/>
                <a:gd name="connsiteY7" fmla="*/ 788136 h 847530"/>
                <a:gd name="connsiteX8" fmla="*/ 2087877 w 8634799"/>
                <a:gd name="connsiteY8" fmla="*/ 728648 h 847530"/>
                <a:gd name="connsiteX9" fmla="*/ 2565599 w 8634799"/>
                <a:gd name="connsiteY9" fmla="*/ 728648 h 847530"/>
                <a:gd name="connsiteX10" fmla="*/ 3336468 w 8634799"/>
                <a:gd name="connsiteY10" fmla="*/ 771142 h 847530"/>
                <a:gd name="connsiteX11" fmla="*/ 4215904 w 8634799"/>
                <a:gd name="connsiteY11" fmla="*/ 754148 h 847530"/>
                <a:gd name="connsiteX12" fmla="*/ 4845622 w 8634799"/>
                <a:gd name="connsiteY12" fmla="*/ 762654 h 847530"/>
                <a:gd name="connsiteX13" fmla="*/ 5681632 w 8634799"/>
                <a:gd name="connsiteY13" fmla="*/ 762654 h 847530"/>
                <a:gd name="connsiteX14" fmla="*/ 6745645 w 8634799"/>
                <a:gd name="connsiteY14" fmla="*/ 788154 h 847530"/>
                <a:gd name="connsiteX15" fmla="*/ 7494800 w 8634799"/>
                <a:gd name="connsiteY15" fmla="*/ 779648 h 847530"/>
                <a:gd name="connsiteX16" fmla="*/ 8026795 w 8634799"/>
                <a:gd name="connsiteY16" fmla="*/ 771142 h 847530"/>
                <a:gd name="connsiteX17" fmla="*/ 8504518 w 8634799"/>
                <a:gd name="connsiteY17" fmla="*/ 737154 h 847530"/>
                <a:gd name="connsiteX18" fmla="*/ 8634799 w 8634799"/>
                <a:gd name="connsiteY18" fmla="*/ 754148 h 847530"/>
                <a:gd name="connsiteX19" fmla="*/ 8634799 w 8634799"/>
                <a:gd name="connsiteY19" fmla="*/ 133791 h 847530"/>
                <a:gd name="connsiteX20" fmla="*/ 8450223 w 8634799"/>
                <a:gd name="connsiteY20" fmla="*/ 65870 h 847530"/>
                <a:gd name="connsiteX21" fmla="*/ 7635927 w 8634799"/>
                <a:gd name="connsiteY21" fmla="*/ 14889 h 847530"/>
                <a:gd name="connsiteX22" fmla="*/ 7049636 w 8634799"/>
                <a:gd name="connsiteY22" fmla="*/ 108364 h 847530"/>
                <a:gd name="connsiteX23" fmla="*/ 6132068 w 8634799"/>
                <a:gd name="connsiteY23" fmla="*/ 131955 h 847530"/>
                <a:gd name="connsiteX24" fmla="*/ 5182195 w 8634799"/>
                <a:gd name="connsiteY24" fmla="*/ 201839 h 847530"/>
                <a:gd name="connsiteX25" fmla="*/ 3455905 w 8634799"/>
                <a:gd name="connsiteY25" fmla="*/ 193333 h 847530"/>
                <a:gd name="connsiteX26" fmla="*/ 2370177 w 8634799"/>
                <a:gd name="connsiteY26" fmla="*/ 65870 h 847530"/>
                <a:gd name="connsiteX27" fmla="*/ 578745 w 8634799"/>
                <a:gd name="connsiteY27" fmla="*/ 57364 h 847530"/>
                <a:gd name="connsiteX28" fmla="*/ 38923 w 8634799"/>
                <a:gd name="connsiteY28" fmla="*/ 66415 h 847530"/>
                <a:gd name="connsiteX0" fmla="*/ 38923 w 8634799"/>
                <a:gd name="connsiteY0" fmla="*/ 66415 h 847528"/>
                <a:gd name="connsiteX1" fmla="*/ 4765 w 8634799"/>
                <a:gd name="connsiteY1" fmla="*/ 139144 h 847528"/>
                <a:gd name="connsiteX2" fmla="*/ 16985 w 8634799"/>
                <a:gd name="connsiteY2" fmla="*/ 350379 h 847528"/>
                <a:gd name="connsiteX3" fmla="*/ 31647 w 8634799"/>
                <a:gd name="connsiteY3" fmla="*/ 609625 h 847528"/>
                <a:gd name="connsiteX4" fmla="*/ 43864 w 8634799"/>
                <a:gd name="connsiteY4" fmla="*/ 686441 h 847528"/>
                <a:gd name="connsiteX5" fmla="*/ 80207 w 8634799"/>
                <a:gd name="connsiteY5" fmla="*/ 846591 h 847528"/>
                <a:gd name="connsiteX6" fmla="*/ 937008 w 8634799"/>
                <a:gd name="connsiteY6" fmla="*/ 754148 h 847528"/>
                <a:gd name="connsiteX7" fmla="*/ 1631867 w 8634799"/>
                <a:gd name="connsiteY7" fmla="*/ 788136 h 847528"/>
                <a:gd name="connsiteX8" fmla="*/ 2087877 w 8634799"/>
                <a:gd name="connsiteY8" fmla="*/ 728648 h 847528"/>
                <a:gd name="connsiteX9" fmla="*/ 2565599 w 8634799"/>
                <a:gd name="connsiteY9" fmla="*/ 728648 h 847528"/>
                <a:gd name="connsiteX10" fmla="*/ 3336468 w 8634799"/>
                <a:gd name="connsiteY10" fmla="*/ 771142 h 847528"/>
                <a:gd name="connsiteX11" fmla="*/ 4215904 w 8634799"/>
                <a:gd name="connsiteY11" fmla="*/ 754148 h 847528"/>
                <a:gd name="connsiteX12" fmla="*/ 4845622 w 8634799"/>
                <a:gd name="connsiteY12" fmla="*/ 762654 h 847528"/>
                <a:gd name="connsiteX13" fmla="*/ 5681632 w 8634799"/>
                <a:gd name="connsiteY13" fmla="*/ 762654 h 847528"/>
                <a:gd name="connsiteX14" fmla="*/ 6745645 w 8634799"/>
                <a:gd name="connsiteY14" fmla="*/ 788154 h 847528"/>
                <a:gd name="connsiteX15" fmla="*/ 7494800 w 8634799"/>
                <a:gd name="connsiteY15" fmla="*/ 779648 h 847528"/>
                <a:gd name="connsiteX16" fmla="*/ 8026795 w 8634799"/>
                <a:gd name="connsiteY16" fmla="*/ 771142 h 847528"/>
                <a:gd name="connsiteX17" fmla="*/ 8504518 w 8634799"/>
                <a:gd name="connsiteY17" fmla="*/ 737154 h 847528"/>
                <a:gd name="connsiteX18" fmla="*/ 8634799 w 8634799"/>
                <a:gd name="connsiteY18" fmla="*/ 754148 h 847528"/>
                <a:gd name="connsiteX19" fmla="*/ 8634799 w 8634799"/>
                <a:gd name="connsiteY19" fmla="*/ 133791 h 847528"/>
                <a:gd name="connsiteX20" fmla="*/ 8450223 w 8634799"/>
                <a:gd name="connsiteY20" fmla="*/ 65870 h 847528"/>
                <a:gd name="connsiteX21" fmla="*/ 7635927 w 8634799"/>
                <a:gd name="connsiteY21" fmla="*/ 14889 h 847528"/>
                <a:gd name="connsiteX22" fmla="*/ 7049636 w 8634799"/>
                <a:gd name="connsiteY22" fmla="*/ 108364 h 847528"/>
                <a:gd name="connsiteX23" fmla="*/ 6132068 w 8634799"/>
                <a:gd name="connsiteY23" fmla="*/ 131955 h 847528"/>
                <a:gd name="connsiteX24" fmla="*/ 5182195 w 8634799"/>
                <a:gd name="connsiteY24" fmla="*/ 201839 h 847528"/>
                <a:gd name="connsiteX25" fmla="*/ 3455905 w 8634799"/>
                <a:gd name="connsiteY25" fmla="*/ 193333 h 847528"/>
                <a:gd name="connsiteX26" fmla="*/ 2370177 w 8634799"/>
                <a:gd name="connsiteY26" fmla="*/ 65870 h 847528"/>
                <a:gd name="connsiteX27" fmla="*/ 578745 w 8634799"/>
                <a:gd name="connsiteY27" fmla="*/ 57364 h 847528"/>
                <a:gd name="connsiteX28" fmla="*/ 38923 w 8634799"/>
                <a:gd name="connsiteY28" fmla="*/ 66415 h 847528"/>
                <a:gd name="connsiteX0" fmla="*/ 38923 w 8634799"/>
                <a:gd name="connsiteY0" fmla="*/ 66415 h 847530"/>
                <a:gd name="connsiteX1" fmla="*/ 4765 w 8634799"/>
                <a:gd name="connsiteY1" fmla="*/ 139144 h 847530"/>
                <a:gd name="connsiteX2" fmla="*/ 16985 w 8634799"/>
                <a:gd name="connsiteY2" fmla="*/ 350379 h 847530"/>
                <a:gd name="connsiteX3" fmla="*/ 31647 w 8634799"/>
                <a:gd name="connsiteY3" fmla="*/ 609625 h 847530"/>
                <a:gd name="connsiteX4" fmla="*/ 43864 w 8634799"/>
                <a:gd name="connsiteY4" fmla="*/ 686441 h 847530"/>
                <a:gd name="connsiteX5" fmla="*/ 80207 w 8634799"/>
                <a:gd name="connsiteY5" fmla="*/ 846591 h 847530"/>
                <a:gd name="connsiteX6" fmla="*/ 937008 w 8634799"/>
                <a:gd name="connsiteY6" fmla="*/ 754148 h 847530"/>
                <a:gd name="connsiteX7" fmla="*/ 1631867 w 8634799"/>
                <a:gd name="connsiteY7" fmla="*/ 788136 h 847530"/>
                <a:gd name="connsiteX8" fmla="*/ 2087877 w 8634799"/>
                <a:gd name="connsiteY8" fmla="*/ 728648 h 847530"/>
                <a:gd name="connsiteX9" fmla="*/ 2565599 w 8634799"/>
                <a:gd name="connsiteY9" fmla="*/ 728648 h 847530"/>
                <a:gd name="connsiteX10" fmla="*/ 3336468 w 8634799"/>
                <a:gd name="connsiteY10" fmla="*/ 771142 h 847530"/>
                <a:gd name="connsiteX11" fmla="*/ 4215904 w 8634799"/>
                <a:gd name="connsiteY11" fmla="*/ 754148 h 847530"/>
                <a:gd name="connsiteX12" fmla="*/ 4845622 w 8634799"/>
                <a:gd name="connsiteY12" fmla="*/ 762654 h 847530"/>
                <a:gd name="connsiteX13" fmla="*/ 5681632 w 8634799"/>
                <a:gd name="connsiteY13" fmla="*/ 762654 h 847530"/>
                <a:gd name="connsiteX14" fmla="*/ 6745645 w 8634799"/>
                <a:gd name="connsiteY14" fmla="*/ 788154 h 847530"/>
                <a:gd name="connsiteX15" fmla="*/ 7494800 w 8634799"/>
                <a:gd name="connsiteY15" fmla="*/ 779648 h 847530"/>
                <a:gd name="connsiteX16" fmla="*/ 8026795 w 8634799"/>
                <a:gd name="connsiteY16" fmla="*/ 771142 h 847530"/>
                <a:gd name="connsiteX17" fmla="*/ 8504518 w 8634799"/>
                <a:gd name="connsiteY17" fmla="*/ 737154 h 847530"/>
                <a:gd name="connsiteX18" fmla="*/ 8634799 w 8634799"/>
                <a:gd name="connsiteY18" fmla="*/ 754148 h 847530"/>
                <a:gd name="connsiteX19" fmla="*/ 8634799 w 8634799"/>
                <a:gd name="connsiteY19" fmla="*/ 133791 h 847530"/>
                <a:gd name="connsiteX20" fmla="*/ 8450223 w 8634799"/>
                <a:gd name="connsiteY20" fmla="*/ 65870 h 847530"/>
                <a:gd name="connsiteX21" fmla="*/ 7635927 w 8634799"/>
                <a:gd name="connsiteY21" fmla="*/ 14889 h 847530"/>
                <a:gd name="connsiteX22" fmla="*/ 7049636 w 8634799"/>
                <a:gd name="connsiteY22" fmla="*/ 108364 h 847530"/>
                <a:gd name="connsiteX23" fmla="*/ 6132068 w 8634799"/>
                <a:gd name="connsiteY23" fmla="*/ 131955 h 847530"/>
                <a:gd name="connsiteX24" fmla="*/ 5182195 w 8634799"/>
                <a:gd name="connsiteY24" fmla="*/ 201839 h 847530"/>
                <a:gd name="connsiteX25" fmla="*/ 3455905 w 8634799"/>
                <a:gd name="connsiteY25" fmla="*/ 193333 h 847530"/>
                <a:gd name="connsiteX26" fmla="*/ 2370177 w 8634799"/>
                <a:gd name="connsiteY26" fmla="*/ 65870 h 847530"/>
                <a:gd name="connsiteX27" fmla="*/ 578745 w 8634799"/>
                <a:gd name="connsiteY27" fmla="*/ 57364 h 847530"/>
                <a:gd name="connsiteX28" fmla="*/ 38923 w 8634799"/>
                <a:gd name="connsiteY28" fmla="*/ 66415 h 847530"/>
                <a:gd name="connsiteX0" fmla="*/ 38923 w 8634799"/>
                <a:gd name="connsiteY0" fmla="*/ 66415 h 847528"/>
                <a:gd name="connsiteX1" fmla="*/ 4765 w 8634799"/>
                <a:gd name="connsiteY1" fmla="*/ 139144 h 847528"/>
                <a:gd name="connsiteX2" fmla="*/ 16985 w 8634799"/>
                <a:gd name="connsiteY2" fmla="*/ 350379 h 847528"/>
                <a:gd name="connsiteX3" fmla="*/ 31647 w 8634799"/>
                <a:gd name="connsiteY3" fmla="*/ 609625 h 847528"/>
                <a:gd name="connsiteX4" fmla="*/ 43864 w 8634799"/>
                <a:gd name="connsiteY4" fmla="*/ 686441 h 847528"/>
                <a:gd name="connsiteX5" fmla="*/ 80207 w 8634799"/>
                <a:gd name="connsiteY5" fmla="*/ 846591 h 847528"/>
                <a:gd name="connsiteX6" fmla="*/ 937008 w 8634799"/>
                <a:gd name="connsiteY6" fmla="*/ 754148 h 847528"/>
                <a:gd name="connsiteX7" fmla="*/ 1631867 w 8634799"/>
                <a:gd name="connsiteY7" fmla="*/ 788136 h 847528"/>
                <a:gd name="connsiteX8" fmla="*/ 2087877 w 8634799"/>
                <a:gd name="connsiteY8" fmla="*/ 728648 h 847528"/>
                <a:gd name="connsiteX9" fmla="*/ 2565599 w 8634799"/>
                <a:gd name="connsiteY9" fmla="*/ 728648 h 847528"/>
                <a:gd name="connsiteX10" fmla="*/ 3336468 w 8634799"/>
                <a:gd name="connsiteY10" fmla="*/ 771142 h 847528"/>
                <a:gd name="connsiteX11" fmla="*/ 4215904 w 8634799"/>
                <a:gd name="connsiteY11" fmla="*/ 754148 h 847528"/>
                <a:gd name="connsiteX12" fmla="*/ 4845622 w 8634799"/>
                <a:gd name="connsiteY12" fmla="*/ 762654 h 847528"/>
                <a:gd name="connsiteX13" fmla="*/ 5681632 w 8634799"/>
                <a:gd name="connsiteY13" fmla="*/ 762654 h 847528"/>
                <a:gd name="connsiteX14" fmla="*/ 6745645 w 8634799"/>
                <a:gd name="connsiteY14" fmla="*/ 788154 h 847528"/>
                <a:gd name="connsiteX15" fmla="*/ 7494800 w 8634799"/>
                <a:gd name="connsiteY15" fmla="*/ 779648 h 847528"/>
                <a:gd name="connsiteX16" fmla="*/ 8026795 w 8634799"/>
                <a:gd name="connsiteY16" fmla="*/ 771142 h 847528"/>
                <a:gd name="connsiteX17" fmla="*/ 8504518 w 8634799"/>
                <a:gd name="connsiteY17" fmla="*/ 737154 h 847528"/>
                <a:gd name="connsiteX18" fmla="*/ 8634799 w 8634799"/>
                <a:gd name="connsiteY18" fmla="*/ 754148 h 847528"/>
                <a:gd name="connsiteX19" fmla="*/ 8634799 w 8634799"/>
                <a:gd name="connsiteY19" fmla="*/ 133791 h 847528"/>
                <a:gd name="connsiteX20" fmla="*/ 8450223 w 8634799"/>
                <a:gd name="connsiteY20" fmla="*/ 65870 h 847528"/>
                <a:gd name="connsiteX21" fmla="*/ 7635927 w 8634799"/>
                <a:gd name="connsiteY21" fmla="*/ 14889 h 847528"/>
                <a:gd name="connsiteX22" fmla="*/ 7049636 w 8634799"/>
                <a:gd name="connsiteY22" fmla="*/ 108364 h 847528"/>
                <a:gd name="connsiteX23" fmla="*/ 6342549 w 8634799"/>
                <a:gd name="connsiteY23" fmla="*/ 55805 h 847528"/>
                <a:gd name="connsiteX24" fmla="*/ 6132068 w 8634799"/>
                <a:gd name="connsiteY24" fmla="*/ 131955 h 847528"/>
                <a:gd name="connsiteX25" fmla="*/ 5182195 w 8634799"/>
                <a:gd name="connsiteY25" fmla="*/ 201839 h 847528"/>
                <a:gd name="connsiteX26" fmla="*/ 3455905 w 8634799"/>
                <a:gd name="connsiteY26" fmla="*/ 193333 h 847528"/>
                <a:gd name="connsiteX27" fmla="*/ 2370177 w 8634799"/>
                <a:gd name="connsiteY27" fmla="*/ 65870 h 847528"/>
                <a:gd name="connsiteX28" fmla="*/ 578745 w 8634799"/>
                <a:gd name="connsiteY28" fmla="*/ 57364 h 847528"/>
                <a:gd name="connsiteX29" fmla="*/ 38923 w 8634799"/>
                <a:gd name="connsiteY29" fmla="*/ 66415 h 847528"/>
                <a:gd name="connsiteX0" fmla="*/ 38923 w 8634799"/>
                <a:gd name="connsiteY0" fmla="*/ 66415 h 847530"/>
                <a:gd name="connsiteX1" fmla="*/ 4765 w 8634799"/>
                <a:gd name="connsiteY1" fmla="*/ 139144 h 847530"/>
                <a:gd name="connsiteX2" fmla="*/ 16985 w 8634799"/>
                <a:gd name="connsiteY2" fmla="*/ 350379 h 847530"/>
                <a:gd name="connsiteX3" fmla="*/ 31647 w 8634799"/>
                <a:gd name="connsiteY3" fmla="*/ 609625 h 847530"/>
                <a:gd name="connsiteX4" fmla="*/ 43864 w 8634799"/>
                <a:gd name="connsiteY4" fmla="*/ 686441 h 847530"/>
                <a:gd name="connsiteX5" fmla="*/ 80207 w 8634799"/>
                <a:gd name="connsiteY5" fmla="*/ 846591 h 847530"/>
                <a:gd name="connsiteX6" fmla="*/ 937008 w 8634799"/>
                <a:gd name="connsiteY6" fmla="*/ 754148 h 847530"/>
                <a:gd name="connsiteX7" fmla="*/ 1631867 w 8634799"/>
                <a:gd name="connsiteY7" fmla="*/ 788136 h 847530"/>
                <a:gd name="connsiteX8" fmla="*/ 2087877 w 8634799"/>
                <a:gd name="connsiteY8" fmla="*/ 728648 h 847530"/>
                <a:gd name="connsiteX9" fmla="*/ 2565599 w 8634799"/>
                <a:gd name="connsiteY9" fmla="*/ 728648 h 847530"/>
                <a:gd name="connsiteX10" fmla="*/ 3336468 w 8634799"/>
                <a:gd name="connsiteY10" fmla="*/ 771142 h 847530"/>
                <a:gd name="connsiteX11" fmla="*/ 4215904 w 8634799"/>
                <a:gd name="connsiteY11" fmla="*/ 754148 h 847530"/>
                <a:gd name="connsiteX12" fmla="*/ 4845622 w 8634799"/>
                <a:gd name="connsiteY12" fmla="*/ 762654 h 847530"/>
                <a:gd name="connsiteX13" fmla="*/ 5681632 w 8634799"/>
                <a:gd name="connsiteY13" fmla="*/ 762654 h 847530"/>
                <a:gd name="connsiteX14" fmla="*/ 6745645 w 8634799"/>
                <a:gd name="connsiteY14" fmla="*/ 788154 h 847530"/>
                <a:gd name="connsiteX15" fmla="*/ 7494800 w 8634799"/>
                <a:gd name="connsiteY15" fmla="*/ 779648 h 847530"/>
                <a:gd name="connsiteX16" fmla="*/ 8026795 w 8634799"/>
                <a:gd name="connsiteY16" fmla="*/ 771142 h 847530"/>
                <a:gd name="connsiteX17" fmla="*/ 8504518 w 8634799"/>
                <a:gd name="connsiteY17" fmla="*/ 737154 h 847530"/>
                <a:gd name="connsiteX18" fmla="*/ 8634799 w 8634799"/>
                <a:gd name="connsiteY18" fmla="*/ 754148 h 847530"/>
                <a:gd name="connsiteX19" fmla="*/ 8634799 w 8634799"/>
                <a:gd name="connsiteY19" fmla="*/ 133791 h 847530"/>
                <a:gd name="connsiteX20" fmla="*/ 8450223 w 8634799"/>
                <a:gd name="connsiteY20" fmla="*/ 65870 h 847530"/>
                <a:gd name="connsiteX21" fmla="*/ 7635927 w 8634799"/>
                <a:gd name="connsiteY21" fmla="*/ 14889 h 847530"/>
                <a:gd name="connsiteX22" fmla="*/ 7049636 w 8634799"/>
                <a:gd name="connsiteY22" fmla="*/ 108364 h 847530"/>
                <a:gd name="connsiteX23" fmla="*/ 6342549 w 8634799"/>
                <a:gd name="connsiteY23" fmla="*/ 55805 h 847530"/>
                <a:gd name="connsiteX24" fmla="*/ 6132068 w 8634799"/>
                <a:gd name="connsiteY24" fmla="*/ 131955 h 847530"/>
                <a:gd name="connsiteX25" fmla="*/ 5182195 w 8634799"/>
                <a:gd name="connsiteY25" fmla="*/ 201839 h 847530"/>
                <a:gd name="connsiteX26" fmla="*/ 3455905 w 8634799"/>
                <a:gd name="connsiteY26" fmla="*/ 193333 h 847530"/>
                <a:gd name="connsiteX27" fmla="*/ 2370177 w 8634799"/>
                <a:gd name="connsiteY27" fmla="*/ 65870 h 847530"/>
                <a:gd name="connsiteX28" fmla="*/ 578745 w 8634799"/>
                <a:gd name="connsiteY28" fmla="*/ 57364 h 847530"/>
                <a:gd name="connsiteX29" fmla="*/ 38923 w 8634799"/>
                <a:gd name="connsiteY29" fmla="*/ 66415 h 847530"/>
                <a:gd name="connsiteX0" fmla="*/ 38923 w 8634799"/>
                <a:gd name="connsiteY0" fmla="*/ 66415 h 847528"/>
                <a:gd name="connsiteX1" fmla="*/ 4765 w 8634799"/>
                <a:gd name="connsiteY1" fmla="*/ 139144 h 847528"/>
                <a:gd name="connsiteX2" fmla="*/ 16985 w 8634799"/>
                <a:gd name="connsiteY2" fmla="*/ 350379 h 847528"/>
                <a:gd name="connsiteX3" fmla="*/ 31647 w 8634799"/>
                <a:gd name="connsiteY3" fmla="*/ 609625 h 847528"/>
                <a:gd name="connsiteX4" fmla="*/ 43864 w 8634799"/>
                <a:gd name="connsiteY4" fmla="*/ 686441 h 847528"/>
                <a:gd name="connsiteX5" fmla="*/ 80207 w 8634799"/>
                <a:gd name="connsiteY5" fmla="*/ 846591 h 847528"/>
                <a:gd name="connsiteX6" fmla="*/ 937008 w 8634799"/>
                <a:gd name="connsiteY6" fmla="*/ 754148 h 847528"/>
                <a:gd name="connsiteX7" fmla="*/ 1631867 w 8634799"/>
                <a:gd name="connsiteY7" fmla="*/ 788136 h 847528"/>
                <a:gd name="connsiteX8" fmla="*/ 2087877 w 8634799"/>
                <a:gd name="connsiteY8" fmla="*/ 728648 h 847528"/>
                <a:gd name="connsiteX9" fmla="*/ 2565599 w 8634799"/>
                <a:gd name="connsiteY9" fmla="*/ 728648 h 847528"/>
                <a:gd name="connsiteX10" fmla="*/ 3336468 w 8634799"/>
                <a:gd name="connsiteY10" fmla="*/ 771142 h 847528"/>
                <a:gd name="connsiteX11" fmla="*/ 4215904 w 8634799"/>
                <a:gd name="connsiteY11" fmla="*/ 754148 h 847528"/>
                <a:gd name="connsiteX12" fmla="*/ 4845622 w 8634799"/>
                <a:gd name="connsiteY12" fmla="*/ 762654 h 847528"/>
                <a:gd name="connsiteX13" fmla="*/ 5681632 w 8634799"/>
                <a:gd name="connsiteY13" fmla="*/ 762654 h 847528"/>
                <a:gd name="connsiteX14" fmla="*/ 6745645 w 8634799"/>
                <a:gd name="connsiteY14" fmla="*/ 788154 h 847528"/>
                <a:gd name="connsiteX15" fmla="*/ 7494800 w 8634799"/>
                <a:gd name="connsiteY15" fmla="*/ 779648 h 847528"/>
                <a:gd name="connsiteX16" fmla="*/ 8026795 w 8634799"/>
                <a:gd name="connsiteY16" fmla="*/ 771142 h 847528"/>
                <a:gd name="connsiteX17" fmla="*/ 8504518 w 8634799"/>
                <a:gd name="connsiteY17" fmla="*/ 737154 h 847528"/>
                <a:gd name="connsiteX18" fmla="*/ 8634799 w 8634799"/>
                <a:gd name="connsiteY18" fmla="*/ 754148 h 847528"/>
                <a:gd name="connsiteX19" fmla="*/ 8634799 w 8634799"/>
                <a:gd name="connsiteY19" fmla="*/ 133791 h 847528"/>
                <a:gd name="connsiteX20" fmla="*/ 8450223 w 8634799"/>
                <a:gd name="connsiteY20" fmla="*/ 65870 h 847528"/>
                <a:gd name="connsiteX21" fmla="*/ 7635927 w 8634799"/>
                <a:gd name="connsiteY21" fmla="*/ 14889 h 847528"/>
                <a:gd name="connsiteX22" fmla="*/ 7049636 w 8634799"/>
                <a:gd name="connsiteY22" fmla="*/ 108364 h 847528"/>
                <a:gd name="connsiteX23" fmla="*/ 6342549 w 8634799"/>
                <a:gd name="connsiteY23" fmla="*/ 55805 h 847528"/>
                <a:gd name="connsiteX24" fmla="*/ 5902209 w 8634799"/>
                <a:gd name="connsiteY24" fmla="*/ 158833 h 847528"/>
                <a:gd name="connsiteX25" fmla="*/ 5182195 w 8634799"/>
                <a:gd name="connsiteY25" fmla="*/ 201839 h 847528"/>
                <a:gd name="connsiteX26" fmla="*/ 3455905 w 8634799"/>
                <a:gd name="connsiteY26" fmla="*/ 193333 h 847528"/>
                <a:gd name="connsiteX27" fmla="*/ 2370177 w 8634799"/>
                <a:gd name="connsiteY27" fmla="*/ 65870 h 847528"/>
                <a:gd name="connsiteX28" fmla="*/ 578745 w 8634799"/>
                <a:gd name="connsiteY28" fmla="*/ 57364 h 847528"/>
                <a:gd name="connsiteX29" fmla="*/ 38923 w 8634799"/>
                <a:gd name="connsiteY29" fmla="*/ 66415 h 847528"/>
                <a:gd name="connsiteX0" fmla="*/ 38923 w 8634799"/>
                <a:gd name="connsiteY0" fmla="*/ 111866 h 892981"/>
                <a:gd name="connsiteX1" fmla="*/ 4765 w 8634799"/>
                <a:gd name="connsiteY1" fmla="*/ 184595 h 892981"/>
                <a:gd name="connsiteX2" fmla="*/ 16985 w 8634799"/>
                <a:gd name="connsiteY2" fmla="*/ 395830 h 892981"/>
                <a:gd name="connsiteX3" fmla="*/ 31647 w 8634799"/>
                <a:gd name="connsiteY3" fmla="*/ 655076 h 892981"/>
                <a:gd name="connsiteX4" fmla="*/ 43864 w 8634799"/>
                <a:gd name="connsiteY4" fmla="*/ 731892 h 892981"/>
                <a:gd name="connsiteX5" fmla="*/ 80207 w 8634799"/>
                <a:gd name="connsiteY5" fmla="*/ 892042 h 892981"/>
                <a:gd name="connsiteX6" fmla="*/ 937008 w 8634799"/>
                <a:gd name="connsiteY6" fmla="*/ 799599 h 892981"/>
                <a:gd name="connsiteX7" fmla="*/ 1631867 w 8634799"/>
                <a:gd name="connsiteY7" fmla="*/ 833587 h 892981"/>
                <a:gd name="connsiteX8" fmla="*/ 2087877 w 8634799"/>
                <a:gd name="connsiteY8" fmla="*/ 774099 h 892981"/>
                <a:gd name="connsiteX9" fmla="*/ 2565599 w 8634799"/>
                <a:gd name="connsiteY9" fmla="*/ 774099 h 892981"/>
                <a:gd name="connsiteX10" fmla="*/ 3336468 w 8634799"/>
                <a:gd name="connsiteY10" fmla="*/ 816593 h 892981"/>
                <a:gd name="connsiteX11" fmla="*/ 4215904 w 8634799"/>
                <a:gd name="connsiteY11" fmla="*/ 799599 h 892981"/>
                <a:gd name="connsiteX12" fmla="*/ 4845622 w 8634799"/>
                <a:gd name="connsiteY12" fmla="*/ 808105 h 892981"/>
                <a:gd name="connsiteX13" fmla="*/ 5681632 w 8634799"/>
                <a:gd name="connsiteY13" fmla="*/ 808105 h 892981"/>
                <a:gd name="connsiteX14" fmla="*/ 6745645 w 8634799"/>
                <a:gd name="connsiteY14" fmla="*/ 833605 h 892981"/>
                <a:gd name="connsiteX15" fmla="*/ 7494800 w 8634799"/>
                <a:gd name="connsiteY15" fmla="*/ 825099 h 892981"/>
                <a:gd name="connsiteX16" fmla="*/ 8026795 w 8634799"/>
                <a:gd name="connsiteY16" fmla="*/ 816593 h 892981"/>
                <a:gd name="connsiteX17" fmla="*/ 8504518 w 8634799"/>
                <a:gd name="connsiteY17" fmla="*/ 782605 h 892981"/>
                <a:gd name="connsiteX18" fmla="*/ 8634799 w 8634799"/>
                <a:gd name="connsiteY18" fmla="*/ 799599 h 892981"/>
                <a:gd name="connsiteX19" fmla="*/ 8634799 w 8634799"/>
                <a:gd name="connsiteY19" fmla="*/ 179242 h 892981"/>
                <a:gd name="connsiteX20" fmla="*/ 8450223 w 8634799"/>
                <a:gd name="connsiteY20" fmla="*/ 111321 h 892981"/>
                <a:gd name="connsiteX21" fmla="*/ 7635927 w 8634799"/>
                <a:gd name="connsiteY21" fmla="*/ 60340 h 892981"/>
                <a:gd name="connsiteX22" fmla="*/ 7049636 w 8634799"/>
                <a:gd name="connsiteY22" fmla="*/ 153815 h 892981"/>
                <a:gd name="connsiteX23" fmla="*/ 6342549 w 8634799"/>
                <a:gd name="connsiteY23" fmla="*/ 101256 h 892981"/>
                <a:gd name="connsiteX24" fmla="*/ 5902209 w 8634799"/>
                <a:gd name="connsiteY24" fmla="*/ 204284 h 892981"/>
                <a:gd name="connsiteX25" fmla="*/ 5182195 w 8634799"/>
                <a:gd name="connsiteY25" fmla="*/ 247290 h 892981"/>
                <a:gd name="connsiteX26" fmla="*/ 3469826 w 8634799"/>
                <a:gd name="connsiteY26" fmla="*/ 5421 h 892981"/>
                <a:gd name="connsiteX27" fmla="*/ 2370177 w 8634799"/>
                <a:gd name="connsiteY27" fmla="*/ 111321 h 892981"/>
                <a:gd name="connsiteX28" fmla="*/ 578745 w 8634799"/>
                <a:gd name="connsiteY28" fmla="*/ 102815 h 892981"/>
                <a:gd name="connsiteX29" fmla="*/ 38923 w 8634799"/>
                <a:gd name="connsiteY29" fmla="*/ 111866 h 892981"/>
                <a:gd name="connsiteX0" fmla="*/ 38923 w 8634799"/>
                <a:gd name="connsiteY0" fmla="*/ 135210 h 916324"/>
                <a:gd name="connsiteX1" fmla="*/ 4765 w 8634799"/>
                <a:gd name="connsiteY1" fmla="*/ 207939 h 916324"/>
                <a:gd name="connsiteX2" fmla="*/ 16985 w 8634799"/>
                <a:gd name="connsiteY2" fmla="*/ 419174 h 916324"/>
                <a:gd name="connsiteX3" fmla="*/ 31647 w 8634799"/>
                <a:gd name="connsiteY3" fmla="*/ 678420 h 916324"/>
                <a:gd name="connsiteX4" fmla="*/ 43864 w 8634799"/>
                <a:gd name="connsiteY4" fmla="*/ 755236 h 916324"/>
                <a:gd name="connsiteX5" fmla="*/ 80207 w 8634799"/>
                <a:gd name="connsiteY5" fmla="*/ 915386 h 916324"/>
                <a:gd name="connsiteX6" fmla="*/ 937008 w 8634799"/>
                <a:gd name="connsiteY6" fmla="*/ 822943 h 916324"/>
                <a:gd name="connsiteX7" fmla="*/ 1631867 w 8634799"/>
                <a:gd name="connsiteY7" fmla="*/ 856931 h 916324"/>
                <a:gd name="connsiteX8" fmla="*/ 2087877 w 8634799"/>
                <a:gd name="connsiteY8" fmla="*/ 797443 h 916324"/>
                <a:gd name="connsiteX9" fmla="*/ 2565599 w 8634799"/>
                <a:gd name="connsiteY9" fmla="*/ 797443 h 916324"/>
                <a:gd name="connsiteX10" fmla="*/ 3336468 w 8634799"/>
                <a:gd name="connsiteY10" fmla="*/ 839937 h 916324"/>
                <a:gd name="connsiteX11" fmla="*/ 4215904 w 8634799"/>
                <a:gd name="connsiteY11" fmla="*/ 822943 h 916324"/>
                <a:gd name="connsiteX12" fmla="*/ 4845622 w 8634799"/>
                <a:gd name="connsiteY12" fmla="*/ 831449 h 916324"/>
                <a:gd name="connsiteX13" fmla="*/ 5681632 w 8634799"/>
                <a:gd name="connsiteY13" fmla="*/ 831449 h 916324"/>
                <a:gd name="connsiteX14" fmla="*/ 6745645 w 8634799"/>
                <a:gd name="connsiteY14" fmla="*/ 856949 h 916324"/>
                <a:gd name="connsiteX15" fmla="*/ 7494800 w 8634799"/>
                <a:gd name="connsiteY15" fmla="*/ 848443 h 916324"/>
                <a:gd name="connsiteX16" fmla="*/ 8026795 w 8634799"/>
                <a:gd name="connsiteY16" fmla="*/ 839937 h 916324"/>
                <a:gd name="connsiteX17" fmla="*/ 8504518 w 8634799"/>
                <a:gd name="connsiteY17" fmla="*/ 805949 h 916324"/>
                <a:gd name="connsiteX18" fmla="*/ 8634799 w 8634799"/>
                <a:gd name="connsiteY18" fmla="*/ 822943 h 916324"/>
                <a:gd name="connsiteX19" fmla="*/ 8634799 w 8634799"/>
                <a:gd name="connsiteY19" fmla="*/ 202586 h 916324"/>
                <a:gd name="connsiteX20" fmla="*/ 8450223 w 8634799"/>
                <a:gd name="connsiteY20" fmla="*/ 134665 h 916324"/>
                <a:gd name="connsiteX21" fmla="*/ 7635927 w 8634799"/>
                <a:gd name="connsiteY21" fmla="*/ 83684 h 916324"/>
                <a:gd name="connsiteX22" fmla="*/ 7049636 w 8634799"/>
                <a:gd name="connsiteY22" fmla="*/ 177159 h 916324"/>
                <a:gd name="connsiteX23" fmla="*/ 6342549 w 8634799"/>
                <a:gd name="connsiteY23" fmla="*/ 124600 h 916324"/>
                <a:gd name="connsiteX24" fmla="*/ 5902209 w 8634799"/>
                <a:gd name="connsiteY24" fmla="*/ 227628 h 916324"/>
                <a:gd name="connsiteX25" fmla="*/ 5182195 w 8634799"/>
                <a:gd name="connsiteY25" fmla="*/ 270634 h 916324"/>
                <a:gd name="connsiteX26" fmla="*/ 3469826 w 8634799"/>
                <a:gd name="connsiteY26" fmla="*/ 28765 h 916324"/>
                <a:gd name="connsiteX27" fmla="*/ 2370177 w 8634799"/>
                <a:gd name="connsiteY27" fmla="*/ 134665 h 916324"/>
                <a:gd name="connsiteX28" fmla="*/ 578745 w 8634799"/>
                <a:gd name="connsiteY28" fmla="*/ 126159 h 916324"/>
                <a:gd name="connsiteX29" fmla="*/ 38923 w 8634799"/>
                <a:gd name="connsiteY29" fmla="*/ 135210 h 916324"/>
                <a:gd name="connsiteX0" fmla="*/ 38923 w 8634799"/>
                <a:gd name="connsiteY0" fmla="*/ 128131 h 909245"/>
                <a:gd name="connsiteX1" fmla="*/ 4765 w 8634799"/>
                <a:gd name="connsiteY1" fmla="*/ 200860 h 909245"/>
                <a:gd name="connsiteX2" fmla="*/ 16985 w 8634799"/>
                <a:gd name="connsiteY2" fmla="*/ 412095 h 909245"/>
                <a:gd name="connsiteX3" fmla="*/ 31647 w 8634799"/>
                <a:gd name="connsiteY3" fmla="*/ 671341 h 909245"/>
                <a:gd name="connsiteX4" fmla="*/ 43864 w 8634799"/>
                <a:gd name="connsiteY4" fmla="*/ 748157 h 909245"/>
                <a:gd name="connsiteX5" fmla="*/ 80207 w 8634799"/>
                <a:gd name="connsiteY5" fmla="*/ 908307 h 909245"/>
                <a:gd name="connsiteX6" fmla="*/ 937008 w 8634799"/>
                <a:gd name="connsiteY6" fmla="*/ 815864 h 909245"/>
                <a:gd name="connsiteX7" fmla="*/ 1631867 w 8634799"/>
                <a:gd name="connsiteY7" fmla="*/ 849852 h 909245"/>
                <a:gd name="connsiteX8" fmla="*/ 2087877 w 8634799"/>
                <a:gd name="connsiteY8" fmla="*/ 790364 h 909245"/>
                <a:gd name="connsiteX9" fmla="*/ 2565599 w 8634799"/>
                <a:gd name="connsiteY9" fmla="*/ 790364 h 909245"/>
                <a:gd name="connsiteX10" fmla="*/ 3336468 w 8634799"/>
                <a:gd name="connsiteY10" fmla="*/ 832858 h 909245"/>
                <a:gd name="connsiteX11" fmla="*/ 4215904 w 8634799"/>
                <a:gd name="connsiteY11" fmla="*/ 815864 h 909245"/>
                <a:gd name="connsiteX12" fmla="*/ 4845622 w 8634799"/>
                <a:gd name="connsiteY12" fmla="*/ 824370 h 909245"/>
                <a:gd name="connsiteX13" fmla="*/ 5681632 w 8634799"/>
                <a:gd name="connsiteY13" fmla="*/ 824370 h 909245"/>
                <a:gd name="connsiteX14" fmla="*/ 6745645 w 8634799"/>
                <a:gd name="connsiteY14" fmla="*/ 849870 h 909245"/>
                <a:gd name="connsiteX15" fmla="*/ 7494800 w 8634799"/>
                <a:gd name="connsiteY15" fmla="*/ 841364 h 909245"/>
                <a:gd name="connsiteX16" fmla="*/ 8026795 w 8634799"/>
                <a:gd name="connsiteY16" fmla="*/ 832858 h 909245"/>
                <a:gd name="connsiteX17" fmla="*/ 8504518 w 8634799"/>
                <a:gd name="connsiteY17" fmla="*/ 798870 h 909245"/>
                <a:gd name="connsiteX18" fmla="*/ 8634799 w 8634799"/>
                <a:gd name="connsiteY18" fmla="*/ 815864 h 909245"/>
                <a:gd name="connsiteX19" fmla="*/ 8634799 w 8634799"/>
                <a:gd name="connsiteY19" fmla="*/ 195507 h 909245"/>
                <a:gd name="connsiteX20" fmla="*/ 8450223 w 8634799"/>
                <a:gd name="connsiteY20" fmla="*/ 127586 h 909245"/>
                <a:gd name="connsiteX21" fmla="*/ 7635927 w 8634799"/>
                <a:gd name="connsiteY21" fmla="*/ 76605 h 909245"/>
                <a:gd name="connsiteX22" fmla="*/ 7049636 w 8634799"/>
                <a:gd name="connsiteY22" fmla="*/ 170080 h 909245"/>
                <a:gd name="connsiteX23" fmla="*/ 6342549 w 8634799"/>
                <a:gd name="connsiteY23" fmla="*/ 117521 h 909245"/>
                <a:gd name="connsiteX24" fmla="*/ 5902209 w 8634799"/>
                <a:gd name="connsiteY24" fmla="*/ 220549 h 909245"/>
                <a:gd name="connsiteX25" fmla="*/ 5182195 w 8634799"/>
                <a:gd name="connsiteY25" fmla="*/ 263555 h 909245"/>
                <a:gd name="connsiteX26" fmla="*/ 3469826 w 8634799"/>
                <a:gd name="connsiteY26" fmla="*/ 21686 h 909245"/>
                <a:gd name="connsiteX27" fmla="*/ 2370177 w 8634799"/>
                <a:gd name="connsiteY27" fmla="*/ 127586 h 909245"/>
                <a:gd name="connsiteX28" fmla="*/ 578745 w 8634799"/>
                <a:gd name="connsiteY28" fmla="*/ 119080 h 909245"/>
                <a:gd name="connsiteX29" fmla="*/ 38923 w 8634799"/>
                <a:gd name="connsiteY29" fmla="*/ 128131 h 909245"/>
                <a:gd name="connsiteX0" fmla="*/ 38923 w 8634799"/>
                <a:gd name="connsiteY0" fmla="*/ 134331 h 915445"/>
                <a:gd name="connsiteX1" fmla="*/ 4765 w 8634799"/>
                <a:gd name="connsiteY1" fmla="*/ 207060 h 915445"/>
                <a:gd name="connsiteX2" fmla="*/ 16985 w 8634799"/>
                <a:gd name="connsiteY2" fmla="*/ 418295 h 915445"/>
                <a:gd name="connsiteX3" fmla="*/ 31647 w 8634799"/>
                <a:gd name="connsiteY3" fmla="*/ 677541 h 915445"/>
                <a:gd name="connsiteX4" fmla="*/ 43864 w 8634799"/>
                <a:gd name="connsiteY4" fmla="*/ 754357 h 915445"/>
                <a:gd name="connsiteX5" fmla="*/ 80207 w 8634799"/>
                <a:gd name="connsiteY5" fmla="*/ 914507 h 915445"/>
                <a:gd name="connsiteX6" fmla="*/ 937008 w 8634799"/>
                <a:gd name="connsiteY6" fmla="*/ 822064 h 915445"/>
                <a:gd name="connsiteX7" fmla="*/ 1631867 w 8634799"/>
                <a:gd name="connsiteY7" fmla="*/ 856052 h 915445"/>
                <a:gd name="connsiteX8" fmla="*/ 2087877 w 8634799"/>
                <a:gd name="connsiteY8" fmla="*/ 796564 h 915445"/>
                <a:gd name="connsiteX9" fmla="*/ 2565599 w 8634799"/>
                <a:gd name="connsiteY9" fmla="*/ 796564 h 915445"/>
                <a:gd name="connsiteX10" fmla="*/ 3336468 w 8634799"/>
                <a:gd name="connsiteY10" fmla="*/ 839058 h 915445"/>
                <a:gd name="connsiteX11" fmla="*/ 4215904 w 8634799"/>
                <a:gd name="connsiteY11" fmla="*/ 822064 h 915445"/>
                <a:gd name="connsiteX12" fmla="*/ 4845622 w 8634799"/>
                <a:gd name="connsiteY12" fmla="*/ 830570 h 915445"/>
                <a:gd name="connsiteX13" fmla="*/ 5681632 w 8634799"/>
                <a:gd name="connsiteY13" fmla="*/ 830570 h 915445"/>
                <a:gd name="connsiteX14" fmla="*/ 6745645 w 8634799"/>
                <a:gd name="connsiteY14" fmla="*/ 856070 h 915445"/>
                <a:gd name="connsiteX15" fmla="*/ 7494800 w 8634799"/>
                <a:gd name="connsiteY15" fmla="*/ 847564 h 915445"/>
                <a:gd name="connsiteX16" fmla="*/ 8026795 w 8634799"/>
                <a:gd name="connsiteY16" fmla="*/ 839058 h 915445"/>
                <a:gd name="connsiteX17" fmla="*/ 8504518 w 8634799"/>
                <a:gd name="connsiteY17" fmla="*/ 805070 h 915445"/>
                <a:gd name="connsiteX18" fmla="*/ 8634799 w 8634799"/>
                <a:gd name="connsiteY18" fmla="*/ 822064 h 915445"/>
                <a:gd name="connsiteX19" fmla="*/ 8634799 w 8634799"/>
                <a:gd name="connsiteY19" fmla="*/ 201707 h 915445"/>
                <a:gd name="connsiteX20" fmla="*/ 8450223 w 8634799"/>
                <a:gd name="connsiteY20" fmla="*/ 133786 h 915445"/>
                <a:gd name="connsiteX21" fmla="*/ 7635927 w 8634799"/>
                <a:gd name="connsiteY21" fmla="*/ 82805 h 915445"/>
                <a:gd name="connsiteX22" fmla="*/ 7049636 w 8634799"/>
                <a:gd name="connsiteY22" fmla="*/ 176280 h 915445"/>
                <a:gd name="connsiteX23" fmla="*/ 6342549 w 8634799"/>
                <a:gd name="connsiteY23" fmla="*/ 123721 h 915445"/>
                <a:gd name="connsiteX24" fmla="*/ 5902209 w 8634799"/>
                <a:gd name="connsiteY24" fmla="*/ 226749 h 915445"/>
                <a:gd name="connsiteX25" fmla="*/ 5182195 w 8634799"/>
                <a:gd name="connsiteY25" fmla="*/ 269755 h 915445"/>
                <a:gd name="connsiteX26" fmla="*/ 3618314 w 8634799"/>
                <a:gd name="connsiteY26" fmla="*/ 21218 h 915445"/>
                <a:gd name="connsiteX27" fmla="*/ 2370177 w 8634799"/>
                <a:gd name="connsiteY27" fmla="*/ 133786 h 915445"/>
                <a:gd name="connsiteX28" fmla="*/ 578745 w 8634799"/>
                <a:gd name="connsiteY28" fmla="*/ 125280 h 915445"/>
                <a:gd name="connsiteX29" fmla="*/ 38923 w 8634799"/>
                <a:gd name="connsiteY29" fmla="*/ 134331 h 915445"/>
                <a:gd name="connsiteX0" fmla="*/ 38923 w 8634799"/>
                <a:gd name="connsiteY0" fmla="*/ 153045 h 934159"/>
                <a:gd name="connsiteX1" fmla="*/ 4765 w 8634799"/>
                <a:gd name="connsiteY1" fmla="*/ 225774 h 934159"/>
                <a:gd name="connsiteX2" fmla="*/ 16985 w 8634799"/>
                <a:gd name="connsiteY2" fmla="*/ 437009 h 934159"/>
                <a:gd name="connsiteX3" fmla="*/ 31647 w 8634799"/>
                <a:gd name="connsiteY3" fmla="*/ 696255 h 934159"/>
                <a:gd name="connsiteX4" fmla="*/ 43864 w 8634799"/>
                <a:gd name="connsiteY4" fmla="*/ 773071 h 934159"/>
                <a:gd name="connsiteX5" fmla="*/ 80207 w 8634799"/>
                <a:gd name="connsiteY5" fmla="*/ 933221 h 934159"/>
                <a:gd name="connsiteX6" fmla="*/ 937008 w 8634799"/>
                <a:gd name="connsiteY6" fmla="*/ 840778 h 934159"/>
                <a:gd name="connsiteX7" fmla="*/ 1631867 w 8634799"/>
                <a:gd name="connsiteY7" fmla="*/ 874766 h 934159"/>
                <a:gd name="connsiteX8" fmla="*/ 2087877 w 8634799"/>
                <a:gd name="connsiteY8" fmla="*/ 815278 h 934159"/>
                <a:gd name="connsiteX9" fmla="*/ 2565599 w 8634799"/>
                <a:gd name="connsiteY9" fmla="*/ 815278 h 934159"/>
                <a:gd name="connsiteX10" fmla="*/ 3336468 w 8634799"/>
                <a:gd name="connsiteY10" fmla="*/ 857772 h 934159"/>
                <a:gd name="connsiteX11" fmla="*/ 4215904 w 8634799"/>
                <a:gd name="connsiteY11" fmla="*/ 840778 h 934159"/>
                <a:gd name="connsiteX12" fmla="*/ 4845622 w 8634799"/>
                <a:gd name="connsiteY12" fmla="*/ 849284 h 934159"/>
                <a:gd name="connsiteX13" fmla="*/ 5681632 w 8634799"/>
                <a:gd name="connsiteY13" fmla="*/ 849284 h 934159"/>
                <a:gd name="connsiteX14" fmla="*/ 6745645 w 8634799"/>
                <a:gd name="connsiteY14" fmla="*/ 874784 h 934159"/>
                <a:gd name="connsiteX15" fmla="*/ 7494800 w 8634799"/>
                <a:gd name="connsiteY15" fmla="*/ 866278 h 934159"/>
                <a:gd name="connsiteX16" fmla="*/ 8026795 w 8634799"/>
                <a:gd name="connsiteY16" fmla="*/ 857772 h 934159"/>
                <a:gd name="connsiteX17" fmla="*/ 8504518 w 8634799"/>
                <a:gd name="connsiteY17" fmla="*/ 823784 h 934159"/>
                <a:gd name="connsiteX18" fmla="*/ 8634799 w 8634799"/>
                <a:gd name="connsiteY18" fmla="*/ 840778 h 934159"/>
                <a:gd name="connsiteX19" fmla="*/ 8634799 w 8634799"/>
                <a:gd name="connsiteY19" fmla="*/ 220421 h 934159"/>
                <a:gd name="connsiteX20" fmla="*/ 8450223 w 8634799"/>
                <a:gd name="connsiteY20" fmla="*/ 152500 h 934159"/>
                <a:gd name="connsiteX21" fmla="*/ 7635927 w 8634799"/>
                <a:gd name="connsiteY21" fmla="*/ 101519 h 934159"/>
                <a:gd name="connsiteX22" fmla="*/ 7049636 w 8634799"/>
                <a:gd name="connsiteY22" fmla="*/ 194994 h 934159"/>
                <a:gd name="connsiteX23" fmla="*/ 6342549 w 8634799"/>
                <a:gd name="connsiteY23" fmla="*/ 142435 h 934159"/>
                <a:gd name="connsiteX24" fmla="*/ 5902209 w 8634799"/>
                <a:gd name="connsiteY24" fmla="*/ 245463 h 934159"/>
                <a:gd name="connsiteX25" fmla="*/ 5182195 w 8634799"/>
                <a:gd name="connsiteY25" fmla="*/ 288469 h 934159"/>
                <a:gd name="connsiteX26" fmla="*/ 3655437 w 8634799"/>
                <a:gd name="connsiteY26" fmla="*/ 19929 h 934159"/>
                <a:gd name="connsiteX27" fmla="*/ 2370177 w 8634799"/>
                <a:gd name="connsiteY27" fmla="*/ 152500 h 934159"/>
                <a:gd name="connsiteX28" fmla="*/ 578745 w 8634799"/>
                <a:gd name="connsiteY28" fmla="*/ 143994 h 934159"/>
                <a:gd name="connsiteX29" fmla="*/ 38923 w 8634799"/>
                <a:gd name="connsiteY29" fmla="*/ 153045 h 934159"/>
                <a:gd name="connsiteX0" fmla="*/ 38923 w 8634799"/>
                <a:gd name="connsiteY0" fmla="*/ 203294 h 984408"/>
                <a:gd name="connsiteX1" fmla="*/ 4765 w 8634799"/>
                <a:gd name="connsiteY1" fmla="*/ 276023 h 984408"/>
                <a:gd name="connsiteX2" fmla="*/ 16985 w 8634799"/>
                <a:gd name="connsiteY2" fmla="*/ 487258 h 984408"/>
                <a:gd name="connsiteX3" fmla="*/ 31647 w 8634799"/>
                <a:gd name="connsiteY3" fmla="*/ 746504 h 984408"/>
                <a:gd name="connsiteX4" fmla="*/ 43864 w 8634799"/>
                <a:gd name="connsiteY4" fmla="*/ 823320 h 984408"/>
                <a:gd name="connsiteX5" fmla="*/ 80207 w 8634799"/>
                <a:gd name="connsiteY5" fmla="*/ 983470 h 984408"/>
                <a:gd name="connsiteX6" fmla="*/ 937008 w 8634799"/>
                <a:gd name="connsiteY6" fmla="*/ 891027 h 984408"/>
                <a:gd name="connsiteX7" fmla="*/ 1631867 w 8634799"/>
                <a:gd name="connsiteY7" fmla="*/ 925015 h 984408"/>
                <a:gd name="connsiteX8" fmla="*/ 2087877 w 8634799"/>
                <a:gd name="connsiteY8" fmla="*/ 865527 h 984408"/>
                <a:gd name="connsiteX9" fmla="*/ 2565599 w 8634799"/>
                <a:gd name="connsiteY9" fmla="*/ 865527 h 984408"/>
                <a:gd name="connsiteX10" fmla="*/ 3336468 w 8634799"/>
                <a:gd name="connsiteY10" fmla="*/ 908021 h 984408"/>
                <a:gd name="connsiteX11" fmla="*/ 4215904 w 8634799"/>
                <a:gd name="connsiteY11" fmla="*/ 891027 h 984408"/>
                <a:gd name="connsiteX12" fmla="*/ 4845622 w 8634799"/>
                <a:gd name="connsiteY12" fmla="*/ 899533 h 984408"/>
                <a:gd name="connsiteX13" fmla="*/ 5681632 w 8634799"/>
                <a:gd name="connsiteY13" fmla="*/ 899533 h 984408"/>
                <a:gd name="connsiteX14" fmla="*/ 6745645 w 8634799"/>
                <a:gd name="connsiteY14" fmla="*/ 925033 h 984408"/>
                <a:gd name="connsiteX15" fmla="*/ 7494800 w 8634799"/>
                <a:gd name="connsiteY15" fmla="*/ 916527 h 984408"/>
                <a:gd name="connsiteX16" fmla="*/ 8026795 w 8634799"/>
                <a:gd name="connsiteY16" fmla="*/ 908021 h 984408"/>
                <a:gd name="connsiteX17" fmla="*/ 8504518 w 8634799"/>
                <a:gd name="connsiteY17" fmla="*/ 874033 h 984408"/>
                <a:gd name="connsiteX18" fmla="*/ 8634799 w 8634799"/>
                <a:gd name="connsiteY18" fmla="*/ 891027 h 984408"/>
                <a:gd name="connsiteX19" fmla="*/ 8634799 w 8634799"/>
                <a:gd name="connsiteY19" fmla="*/ 270670 h 984408"/>
                <a:gd name="connsiteX20" fmla="*/ 8450223 w 8634799"/>
                <a:gd name="connsiteY20" fmla="*/ 202749 h 984408"/>
                <a:gd name="connsiteX21" fmla="*/ 7635927 w 8634799"/>
                <a:gd name="connsiteY21" fmla="*/ 151768 h 984408"/>
                <a:gd name="connsiteX22" fmla="*/ 7049636 w 8634799"/>
                <a:gd name="connsiteY22" fmla="*/ 245243 h 984408"/>
                <a:gd name="connsiteX23" fmla="*/ 6342549 w 8634799"/>
                <a:gd name="connsiteY23" fmla="*/ 192684 h 984408"/>
                <a:gd name="connsiteX24" fmla="*/ 5902209 w 8634799"/>
                <a:gd name="connsiteY24" fmla="*/ 295712 h 984408"/>
                <a:gd name="connsiteX25" fmla="*/ 5182195 w 8634799"/>
                <a:gd name="connsiteY25" fmla="*/ 338718 h 984408"/>
                <a:gd name="connsiteX26" fmla="*/ 3655437 w 8634799"/>
                <a:gd name="connsiteY26" fmla="*/ 70178 h 984408"/>
                <a:gd name="connsiteX27" fmla="*/ 2370177 w 8634799"/>
                <a:gd name="connsiteY27" fmla="*/ 202749 h 984408"/>
                <a:gd name="connsiteX28" fmla="*/ 578745 w 8634799"/>
                <a:gd name="connsiteY28" fmla="*/ 194243 h 984408"/>
                <a:gd name="connsiteX29" fmla="*/ 38923 w 8634799"/>
                <a:gd name="connsiteY29" fmla="*/ 203294 h 984408"/>
                <a:gd name="connsiteX0" fmla="*/ 38923 w 8634799"/>
                <a:gd name="connsiteY0" fmla="*/ 146213 h 927327"/>
                <a:gd name="connsiteX1" fmla="*/ 4765 w 8634799"/>
                <a:gd name="connsiteY1" fmla="*/ 218942 h 927327"/>
                <a:gd name="connsiteX2" fmla="*/ 16985 w 8634799"/>
                <a:gd name="connsiteY2" fmla="*/ 430177 h 927327"/>
                <a:gd name="connsiteX3" fmla="*/ 31647 w 8634799"/>
                <a:gd name="connsiteY3" fmla="*/ 689423 h 927327"/>
                <a:gd name="connsiteX4" fmla="*/ 43864 w 8634799"/>
                <a:gd name="connsiteY4" fmla="*/ 766239 h 927327"/>
                <a:gd name="connsiteX5" fmla="*/ 80207 w 8634799"/>
                <a:gd name="connsiteY5" fmla="*/ 926389 h 927327"/>
                <a:gd name="connsiteX6" fmla="*/ 937008 w 8634799"/>
                <a:gd name="connsiteY6" fmla="*/ 833946 h 927327"/>
                <a:gd name="connsiteX7" fmla="*/ 1631867 w 8634799"/>
                <a:gd name="connsiteY7" fmla="*/ 867934 h 927327"/>
                <a:gd name="connsiteX8" fmla="*/ 2087877 w 8634799"/>
                <a:gd name="connsiteY8" fmla="*/ 808446 h 927327"/>
                <a:gd name="connsiteX9" fmla="*/ 2565599 w 8634799"/>
                <a:gd name="connsiteY9" fmla="*/ 808446 h 927327"/>
                <a:gd name="connsiteX10" fmla="*/ 3336468 w 8634799"/>
                <a:gd name="connsiteY10" fmla="*/ 850940 h 927327"/>
                <a:gd name="connsiteX11" fmla="*/ 4215904 w 8634799"/>
                <a:gd name="connsiteY11" fmla="*/ 833946 h 927327"/>
                <a:gd name="connsiteX12" fmla="*/ 4845622 w 8634799"/>
                <a:gd name="connsiteY12" fmla="*/ 842452 h 927327"/>
                <a:gd name="connsiteX13" fmla="*/ 5681632 w 8634799"/>
                <a:gd name="connsiteY13" fmla="*/ 842452 h 927327"/>
                <a:gd name="connsiteX14" fmla="*/ 6745645 w 8634799"/>
                <a:gd name="connsiteY14" fmla="*/ 867952 h 927327"/>
                <a:gd name="connsiteX15" fmla="*/ 7494800 w 8634799"/>
                <a:gd name="connsiteY15" fmla="*/ 859446 h 927327"/>
                <a:gd name="connsiteX16" fmla="*/ 8026795 w 8634799"/>
                <a:gd name="connsiteY16" fmla="*/ 850940 h 927327"/>
                <a:gd name="connsiteX17" fmla="*/ 8504518 w 8634799"/>
                <a:gd name="connsiteY17" fmla="*/ 816952 h 927327"/>
                <a:gd name="connsiteX18" fmla="*/ 8634799 w 8634799"/>
                <a:gd name="connsiteY18" fmla="*/ 833946 h 927327"/>
                <a:gd name="connsiteX19" fmla="*/ 8634799 w 8634799"/>
                <a:gd name="connsiteY19" fmla="*/ 213589 h 927327"/>
                <a:gd name="connsiteX20" fmla="*/ 8450223 w 8634799"/>
                <a:gd name="connsiteY20" fmla="*/ 145668 h 927327"/>
                <a:gd name="connsiteX21" fmla="*/ 7635927 w 8634799"/>
                <a:gd name="connsiteY21" fmla="*/ 94687 h 927327"/>
                <a:gd name="connsiteX22" fmla="*/ 7049636 w 8634799"/>
                <a:gd name="connsiteY22" fmla="*/ 188162 h 927327"/>
                <a:gd name="connsiteX23" fmla="*/ 6342549 w 8634799"/>
                <a:gd name="connsiteY23" fmla="*/ 135603 h 927327"/>
                <a:gd name="connsiteX24" fmla="*/ 5902209 w 8634799"/>
                <a:gd name="connsiteY24" fmla="*/ 238631 h 927327"/>
                <a:gd name="connsiteX25" fmla="*/ 5182195 w 8634799"/>
                <a:gd name="connsiteY25" fmla="*/ 281637 h 927327"/>
                <a:gd name="connsiteX26" fmla="*/ 3822487 w 8634799"/>
                <a:gd name="connsiteY26" fmla="*/ 79772 h 927327"/>
                <a:gd name="connsiteX27" fmla="*/ 2370177 w 8634799"/>
                <a:gd name="connsiteY27" fmla="*/ 145668 h 927327"/>
                <a:gd name="connsiteX28" fmla="*/ 578745 w 8634799"/>
                <a:gd name="connsiteY28" fmla="*/ 137162 h 927327"/>
                <a:gd name="connsiteX29" fmla="*/ 38923 w 8634799"/>
                <a:gd name="connsiteY29" fmla="*/ 146213 h 927327"/>
                <a:gd name="connsiteX0" fmla="*/ 38923 w 8634799"/>
                <a:gd name="connsiteY0" fmla="*/ 157240 h 938354"/>
                <a:gd name="connsiteX1" fmla="*/ 4765 w 8634799"/>
                <a:gd name="connsiteY1" fmla="*/ 229969 h 938354"/>
                <a:gd name="connsiteX2" fmla="*/ 16985 w 8634799"/>
                <a:gd name="connsiteY2" fmla="*/ 441204 h 938354"/>
                <a:gd name="connsiteX3" fmla="*/ 31647 w 8634799"/>
                <a:gd name="connsiteY3" fmla="*/ 700450 h 938354"/>
                <a:gd name="connsiteX4" fmla="*/ 43864 w 8634799"/>
                <a:gd name="connsiteY4" fmla="*/ 777266 h 938354"/>
                <a:gd name="connsiteX5" fmla="*/ 80207 w 8634799"/>
                <a:gd name="connsiteY5" fmla="*/ 937416 h 938354"/>
                <a:gd name="connsiteX6" fmla="*/ 937008 w 8634799"/>
                <a:gd name="connsiteY6" fmla="*/ 844973 h 938354"/>
                <a:gd name="connsiteX7" fmla="*/ 1631867 w 8634799"/>
                <a:gd name="connsiteY7" fmla="*/ 878961 h 938354"/>
                <a:gd name="connsiteX8" fmla="*/ 2087877 w 8634799"/>
                <a:gd name="connsiteY8" fmla="*/ 819473 h 938354"/>
                <a:gd name="connsiteX9" fmla="*/ 2565599 w 8634799"/>
                <a:gd name="connsiteY9" fmla="*/ 819473 h 938354"/>
                <a:gd name="connsiteX10" fmla="*/ 3336468 w 8634799"/>
                <a:gd name="connsiteY10" fmla="*/ 861967 h 938354"/>
                <a:gd name="connsiteX11" fmla="*/ 4215904 w 8634799"/>
                <a:gd name="connsiteY11" fmla="*/ 844973 h 938354"/>
                <a:gd name="connsiteX12" fmla="*/ 4845622 w 8634799"/>
                <a:gd name="connsiteY12" fmla="*/ 853479 h 938354"/>
                <a:gd name="connsiteX13" fmla="*/ 5681632 w 8634799"/>
                <a:gd name="connsiteY13" fmla="*/ 853479 h 938354"/>
                <a:gd name="connsiteX14" fmla="*/ 6745645 w 8634799"/>
                <a:gd name="connsiteY14" fmla="*/ 878979 h 938354"/>
                <a:gd name="connsiteX15" fmla="*/ 7494800 w 8634799"/>
                <a:gd name="connsiteY15" fmla="*/ 870473 h 938354"/>
                <a:gd name="connsiteX16" fmla="*/ 8026795 w 8634799"/>
                <a:gd name="connsiteY16" fmla="*/ 861967 h 938354"/>
                <a:gd name="connsiteX17" fmla="*/ 8504518 w 8634799"/>
                <a:gd name="connsiteY17" fmla="*/ 827979 h 938354"/>
                <a:gd name="connsiteX18" fmla="*/ 8634799 w 8634799"/>
                <a:gd name="connsiteY18" fmla="*/ 844973 h 938354"/>
                <a:gd name="connsiteX19" fmla="*/ 8634799 w 8634799"/>
                <a:gd name="connsiteY19" fmla="*/ 224616 h 938354"/>
                <a:gd name="connsiteX20" fmla="*/ 8450223 w 8634799"/>
                <a:gd name="connsiteY20" fmla="*/ 156695 h 938354"/>
                <a:gd name="connsiteX21" fmla="*/ 7635927 w 8634799"/>
                <a:gd name="connsiteY21" fmla="*/ 105714 h 938354"/>
                <a:gd name="connsiteX22" fmla="*/ 7049636 w 8634799"/>
                <a:gd name="connsiteY22" fmla="*/ 199189 h 938354"/>
                <a:gd name="connsiteX23" fmla="*/ 6342549 w 8634799"/>
                <a:gd name="connsiteY23" fmla="*/ 146630 h 938354"/>
                <a:gd name="connsiteX24" fmla="*/ 5902209 w 8634799"/>
                <a:gd name="connsiteY24" fmla="*/ 249658 h 938354"/>
                <a:gd name="connsiteX25" fmla="*/ 5182195 w 8634799"/>
                <a:gd name="connsiteY25" fmla="*/ 292664 h 938354"/>
                <a:gd name="connsiteX26" fmla="*/ 3822487 w 8634799"/>
                <a:gd name="connsiteY26" fmla="*/ 90799 h 938354"/>
                <a:gd name="connsiteX27" fmla="*/ 2370177 w 8634799"/>
                <a:gd name="connsiteY27" fmla="*/ 156695 h 938354"/>
                <a:gd name="connsiteX28" fmla="*/ 578745 w 8634799"/>
                <a:gd name="connsiteY28" fmla="*/ 148189 h 938354"/>
                <a:gd name="connsiteX29" fmla="*/ 38923 w 8634799"/>
                <a:gd name="connsiteY29" fmla="*/ 157240 h 938354"/>
                <a:gd name="connsiteX0" fmla="*/ 38923 w 12045155"/>
                <a:gd name="connsiteY0" fmla="*/ 157240 h 938354"/>
                <a:gd name="connsiteX1" fmla="*/ 4765 w 12045155"/>
                <a:gd name="connsiteY1" fmla="*/ 229969 h 938354"/>
                <a:gd name="connsiteX2" fmla="*/ 16985 w 12045155"/>
                <a:gd name="connsiteY2" fmla="*/ 441204 h 938354"/>
                <a:gd name="connsiteX3" fmla="*/ 31647 w 12045155"/>
                <a:gd name="connsiteY3" fmla="*/ 700450 h 938354"/>
                <a:gd name="connsiteX4" fmla="*/ 43864 w 12045155"/>
                <a:gd name="connsiteY4" fmla="*/ 777266 h 938354"/>
                <a:gd name="connsiteX5" fmla="*/ 80207 w 12045155"/>
                <a:gd name="connsiteY5" fmla="*/ 937416 h 938354"/>
                <a:gd name="connsiteX6" fmla="*/ 937008 w 12045155"/>
                <a:gd name="connsiteY6" fmla="*/ 844973 h 938354"/>
                <a:gd name="connsiteX7" fmla="*/ 1631867 w 12045155"/>
                <a:gd name="connsiteY7" fmla="*/ 878961 h 938354"/>
                <a:gd name="connsiteX8" fmla="*/ 2087877 w 12045155"/>
                <a:gd name="connsiteY8" fmla="*/ 819473 h 938354"/>
                <a:gd name="connsiteX9" fmla="*/ 2565599 w 12045155"/>
                <a:gd name="connsiteY9" fmla="*/ 819473 h 938354"/>
                <a:gd name="connsiteX10" fmla="*/ 3336468 w 12045155"/>
                <a:gd name="connsiteY10" fmla="*/ 861967 h 938354"/>
                <a:gd name="connsiteX11" fmla="*/ 4215904 w 12045155"/>
                <a:gd name="connsiteY11" fmla="*/ 844973 h 938354"/>
                <a:gd name="connsiteX12" fmla="*/ 4845622 w 12045155"/>
                <a:gd name="connsiteY12" fmla="*/ 853479 h 938354"/>
                <a:gd name="connsiteX13" fmla="*/ 5681632 w 12045155"/>
                <a:gd name="connsiteY13" fmla="*/ 853479 h 938354"/>
                <a:gd name="connsiteX14" fmla="*/ 6745645 w 12045155"/>
                <a:gd name="connsiteY14" fmla="*/ 878979 h 938354"/>
                <a:gd name="connsiteX15" fmla="*/ 7494800 w 12045155"/>
                <a:gd name="connsiteY15" fmla="*/ 870473 h 938354"/>
                <a:gd name="connsiteX16" fmla="*/ 8026795 w 12045155"/>
                <a:gd name="connsiteY16" fmla="*/ 861967 h 938354"/>
                <a:gd name="connsiteX17" fmla="*/ 8504518 w 12045155"/>
                <a:gd name="connsiteY17" fmla="*/ 827979 h 938354"/>
                <a:gd name="connsiteX18" fmla="*/ 12045155 w 12045155"/>
                <a:gd name="connsiteY18" fmla="*/ 699393 h 938354"/>
                <a:gd name="connsiteX19" fmla="*/ 8634799 w 12045155"/>
                <a:gd name="connsiteY19" fmla="*/ 224616 h 938354"/>
                <a:gd name="connsiteX20" fmla="*/ 8450223 w 12045155"/>
                <a:gd name="connsiteY20" fmla="*/ 156695 h 938354"/>
                <a:gd name="connsiteX21" fmla="*/ 7635927 w 12045155"/>
                <a:gd name="connsiteY21" fmla="*/ 105714 h 938354"/>
                <a:gd name="connsiteX22" fmla="*/ 7049636 w 12045155"/>
                <a:gd name="connsiteY22" fmla="*/ 199189 h 938354"/>
                <a:gd name="connsiteX23" fmla="*/ 6342549 w 12045155"/>
                <a:gd name="connsiteY23" fmla="*/ 146630 h 938354"/>
                <a:gd name="connsiteX24" fmla="*/ 5902209 w 12045155"/>
                <a:gd name="connsiteY24" fmla="*/ 249658 h 938354"/>
                <a:gd name="connsiteX25" fmla="*/ 5182195 w 12045155"/>
                <a:gd name="connsiteY25" fmla="*/ 292664 h 938354"/>
                <a:gd name="connsiteX26" fmla="*/ 3822487 w 12045155"/>
                <a:gd name="connsiteY26" fmla="*/ 90799 h 938354"/>
                <a:gd name="connsiteX27" fmla="*/ 2370177 w 12045155"/>
                <a:gd name="connsiteY27" fmla="*/ 156695 h 938354"/>
                <a:gd name="connsiteX28" fmla="*/ 578745 w 12045155"/>
                <a:gd name="connsiteY28" fmla="*/ 148189 h 938354"/>
                <a:gd name="connsiteX29" fmla="*/ 38923 w 12045155"/>
                <a:gd name="connsiteY29" fmla="*/ 157240 h 938354"/>
                <a:gd name="connsiteX0" fmla="*/ 38923 w 12045155"/>
                <a:gd name="connsiteY0" fmla="*/ 157240 h 938354"/>
                <a:gd name="connsiteX1" fmla="*/ 4765 w 12045155"/>
                <a:gd name="connsiteY1" fmla="*/ 229969 h 938354"/>
                <a:gd name="connsiteX2" fmla="*/ 16985 w 12045155"/>
                <a:gd name="connsiteY2" fmla="*/ 441204 h 938354"/>
                <a:gd name="connsiteX3" fmla="*/ 31647 w 12045155"/>
                <a:gd name="connsiteY3" fmla="*/ 700450 h 938354"/>
                <a:gd name="connsiteX4" fmla="*/ 43864 w 12045155"/>
                <a:gd name="connsiteY4" fmla="*/ 777266 h 938354"/>
                <a:gd name="connsiteX5" fmla="*/ 80207 w 12045155"/>
                <a:gd name="connsiteY5" fmla="*/ 937416 h 938354"/>
                <a:gd name="connsiteX6" fmla="*/ 937008 w 12045155"/>
                <a:gd name="connsiteY6" fmla="*/ 844973 h 938354"/>
                <a:gd name="connsiteX7" fmla="*/ 1631867 w 12045155"/>
                <a:gd name="connsiteY7" fmla="*/ 878961 h 938354"/>
                <a:gd name="connsiteX8" fmla="*/ 2087877 w 12045155"/>
                <a:gd name="connsiteY8" fmla="*/ 819473 h 938354"/>
                <a:gd name="connsiteX9" fmla="*/ 2565599 w 12045155"/>
                <a:gd name="connsiteY9" fmla="*/ 819473 h 938354"/>
                <a:gd name="connsiteX10" fmla="*/ 3336468 w 12045155"/>
                <a:gd name="connsiteY10" fmla="*/ 861967 h 938354"/>
                <a:gd name="connsiteX11" fmla="*/ 4215904 w 12045155"/>
                <a:gd name="connsiteY11" fmla="*/ 844973 h 938354"/>
                <a:gd name="connsiteX12" fmla="*/ 4845622 w 12045155"/>
                <a:gd name="connsiteY12" fmla="*/ 853479 h 938354"/>
                <a:gd name="connsiteX13" fmla="*/ 5681632 w 12045155"/>
                <a:gd name="connsiteY13" fmla="*/ 853479 h 938354"/>
                <a:gd name="connsiteX14" fmla="*/ 6745645 w 12045155"/>
                <a:gd name="connsiteY14" fmla="*/ 878979 h 938354"/>
                <a:gd name="connsiteX15" fmla="*/ 7494800 w 12045155"/>
                <a:gd name="connsiteY15" fmla="*/ 870473 h 938354"/>
                <a:gd name="connsiteX16" fmla="*/ 8026795 w 12045155"/>
                <a:gd name="connsiteY16" fmla="*/ 861967 h 938354"/>
                <a:gd name="connsiteX17" fmla="*/ 8504518 w 12045155"/>
                <a:gd name="connsiteY17" fmla="*/ 827979 h 938354"/>
                <a:gd name="connsiteX18" fmla="*/ 12045155 w 12045155"/>
                <a:gd name="connsiteY18" fmla="*/ 699393 h 938354"/>
                <a:gd name="connsiteX19" fmla="*/ 12045155 w 12045155"/>
                <a:gd name="connsiteY19" fmla="*/ 261011 h 938354"/>
                <a:gd name="connsiteX20" fmla="*/ 8450223 w 12045155"/>
                <a:gd name="connsiteY20" fmla="*/ 156695 h 938354"/>
                <a:gd name="connsiteX21" fmla="*/ 7635927 w 12045155"/>
                <a:gd name="connsiteY21" fmla="*/ 105714 h 938354"/>
                <a:gd name="connsiteX22" fmla="*/ 7049636 w 12045155"/>
                <a:gd name="connsiteY22" fmla="*/ 199189 h 938354"/>
                <a:gd name="connsiteX23" fmla="*/ 6342549 w 12045155"/>
                <a:gd name="connsiteY23" fmla="*/ 146630 h 938354"/>
                <a:gd name="connsiteX24" fmla="*/ 5902209 w 12045155"/>
                <a:gd name="connsiteY24" fmla="*/ 249658 h 938354"/>
                <a:gd name="connsiteX25" fmla="*/ 5182195 w 12045155"/>
                <a:gd name="connsiteY25" fmla="*/ 292664 h 938354"/>
                <a:gd name="connsiteX26" fmla="*/ 3822487 w 12045155"/>
                <a:gd name="connsiteY26" fmla="*/ 90799 h 938354"/>
                <a:gd name="connsiteX27" fmla="*/ 2370177 w 12045155"/>
                <a:gd name="connsiteY27" fmla="*/ 156695 h 938354"/>
                <a:gd name="connsiteX28" fmla="*/ 578745 w 12045155"/>
                <a:gd name="connsiteY28" fmla="*/ 148189 h 938354"/>
                <a:gd name="connsiteX29" fmla="*/ 38923 w 12045155"/>
                <a:gd name="connsiteY29" fmla="*/ 157240 h 938354"/>
                <a:gd name="connsiteX0" fmla="*/ 38923 w 12045155"/>
                <a:gd name="connsiteY0" fmla="*/ 157240 h 1129823"/>
                <a:gd name="connsiteX1" fmla="*/ 4765 w 12045155"/>
                <a:gd name="connsiteY1" fmla="*/ 229969 h 1129823"/>
                <a:gd name="connsiteX2" fmla="*/ 16985 w 12045155"/>
                <a:gd name="connsiteY2" fmla="*/ 441204 h 1129823"/>
                <a:gd name="connsiteX3" fmla="*/ 31647 w 12045155"/>
                <a:gd name="connsiteY3" fmla="*/ 700450 h 1129823"/>
                <a:gd name="connsiteX4" fmla="*/ 43864 w 12045155"/>
                <a:gd name="connsiteY4" fmla="*/ 777266 h 1129823"/>
                <a:gd name="connsiteX5" fmla="*/ 80207 w 12045155"/>
                <a:gd name="connsiteY5" fmla="*/ 937416 h 1129823"/>
                <a:gd name="connsiteX6" fmla="*/ 937008 w 12045155"/>
                <a:gd name="connsiteY6" fmla="*/ 844973 h 1129823"/>
                <a:gd name="connsiteX7" fmla="*/ 1631867 w 12045155"/>
                <a:gd name="connsiteY7" fmla="*/ 878961 h 1129823"/>
                <a:gd name="connsiteX8" fmla="*/ 2087877 w 12045155"/>
                <a:gd name="connsiteY8" fmla="*/ 819473 h 1129823"/>
                <a:gd name="connsiteX9" fmla="*/ 2565599 w 12045155"/>
                <a:gd name="connsiteY9" fmla="*/ 819473 h 1129823"/>
                <a:gd name="connsiteX10" fmla="*/ 3336468 w 12045155"/>
                <a:gd name="connsiteY10" fmla="*/ 861967 h 1129823"/>
                <a:gd name="connsiteX11" fmla="*/ 4215904 w 12045155"/>
                <a:gd name="connsiteY11" fmla="*/ 844973 h 1129823"/>
                <a:gd name="connsiteX12" fmla="*/ 4845622 w 12045155"/>
                <a:gd name="connsiteY12" fmla="*/ 853479 h 1129823"/>
                <a:gd name="connsiteX13" fmla="*/ 5681632 w 12045155"/>
                <a:gd name="connsiteY13" fmla="*/ 853479 h 1129823"/>
                <a:gd name="connsiteX14" fmla="*/ 6745645 w 12045155"/>
                <a:gd name="connsiteY14" fmla="*/ 878979 h 1129823"/>
                <a:gd name="connsiteX15" fmla="*/ 7494800 w 12045155"/>
                <a:gd name="connsiteY15" fmla="*/ 870473 h 1129823"/>
                <a:gd name="connsiteX16" fmla="*/ 8026795 w 12045155"/>
                <a:gd name="connsiteY16" fmla="*/ 861967 h 1129823"/>
                <a:gd name="connsiteX17" fmla="*/ 8504518 w 12045155"/>
                <a:gd name="connsiteY17" fmla="*/ 827979 h 1129823"/>
                <a:gd name="connsiteX18" fmla="*/ 11481826 w 12045155"/>
                <a:gd name="connsiteY18" fmla="*/ 1127088 h 1129823"/>
                <a:gd name="connsiteX19" fmla="*/ 12045155 w 12045155"/>
                <a:gd name="connsiteY19" fmla="*/ 699393 h 1129823"/>
                <a:gd name="connsiteX20" fmla="*/ 12045155 w 12045155"/>
                <a:gd name="connsiteY20" fmla="*/ 261011 h 1129823"/>
                <a:gd name="connsiteX21" fmla="*/ 8450223 w 12045155"/>
                <a:gd name="connsiteY21" fmla="*/ 156695 h 1129823"/>
                <a:gd name="connsiteX22" fmla="*/ 7635927 w 12045155"/>
                <a:gd name="connsiteY22" fmla="*/ 105714 h 1129823"/>
                <a:gd name="connsiteX23" fmla="*/ 7049636 w 12045155"/>
                <a:gd name="connsiteY23" fmla="*/ 199189 h 1129823"/>
                <a:gd name="connsiteX24" fmla="*/ 6342549 w 12045155"/>
                <a:gd name="connsiteY24" fmla="*/ 146630 h 1129823"/>
                <a:gd name="connsiteX25" fmla="*/ 5902209 w 12045155"/>
                <a:gd name="connsiteY25" fmla="*/ 249658 h 1129823"/>
                <a:gd name="connsiteX26" fmla="*/ 5182195 w 12045155"/>
                <a:gd name="connsiteY26" fmla="*/ 292664 h 1129823"/>
                <a:gd name="connsiteX27" fmla="*/ 3822487 w 12045155"/>
                <a:gd name="connsiteY27" fmla="*/ 90799 h 1129823"/>
                <a:gd name="connsiteX28" fmla="*/ 2370177 w 12045155"/>
                <a:gd name="connsiteY28" fmla="*/ 156695 h 1129823"/>
                <a:gd name="connsiteX29" fmla="*/ 578745 w 12045155"/>
                <a:gd name="connsiteY29" fmla="*/ 148189 h 1129823"/>
                <a:gd name="connsiteX30" fmla="*/ 38923 w 12045155"/>
                <a:gd name="connsiteY30" fmla="*/ 157240 h 1129823"/>
                <a:gd name="connsiteX0" fmla="*/ 38923 w 12045155"/>
                <a:gd name="connsiteY0" fmla="*/ 157240 h 1784983"/>
                <a:gd name="connsiteX1" fmla="*/ 4765 w 12045155"/>
                <a:gd name="connsiteY1" fmla="*/ 229969 h 1784983"/>
                <a:gd name="connsiteX2" fmla="*/ 16985 w 12045155"/>
                <a:gd name="connsiteY2" fmla="*/ 441204 h 1784983"/>
                <a:gd name="connsiteX3" fmla="*/ 31647 w 12045155"/>
                <a:gd name="connsiteY3" fmla="*/ 700450 h 1784983"/>
                <a:gd name="connsiteX4" fmla="*/ 43864 w 12045155"/>
                <a:gd name="connsiteY4" fmla="*/ 777266 h 1784983"/>
                <a:gd name="connsiteX5" fmla="*/ 80207 w 12045155"/>
                <a:gd name="connsiteY5" fmla="*/ 937416 h 1784983"/>
                <a:gd name="connsiteX6" fmla="*/ 937008 w 12045155"/>
                <a:gd name="connsiteY6" fmla="*/ 844973 h 1784983"/>
                <a:gd name="connsiteX7" fmla="*/ 1631867 w 12045155"/>
                <a:gd name="connsiteY7" fmla="*/ 878961 h 1784983"/>
                <a:gd name="connsiteX8" fmla="*/ 2087877 w 12045155"/>
                <a:gd name="connsiteY8" fmla="*/ 819473 h 1784983"/>
                <a:gd name="connsiteX9" fmla="*/ 2565599 w 12045155"/>
                <a:gd name="connsiteY9" fmla="*/ 819473 h 1784983"/>
                <a:gd name="connsiteX10" fmla="*/ 3336468 w 12045155"/>
                <a:gd name="connsiteY10" fmla="*/ 861967 h 1784983"/>
                <a:gd name="connsiteX11" fmla="*/ 4215904 w 12045155"/>
                <a:gd name="connsiteY11" fmla="*/ 844973 h 1784983"/>
                <a:gd name="connsiteX12" fmla="*/ 4845622 w 12045155"/>
                <a:gd name="connsiteY12" fmla="*/ 853479 h 1784983"/>
                <a:gd name="connsiteX13" fmla="*/ 5681632 w 12045155"/>
                <a:gd name="connsiteY13" fmla="*/ 853479 h 1784983"/>
                <a:gd name="connsiteX14" fmla="*/ 6745645 w 12045155"/>
                <a:gd name="connsiteY14" fmla="*/ 878979 h 1784983"/>
                <a:gd name="connsiteX15" fmla="*/ 7494800 w 12045155"/>
                <a:gd name="connsiteY15" fmla="*/ 870473 h 1784983"/>
                <a:gd name="connsiteX16" fmla="*/ 8026795 w 12045155"/>
                <a:gd name="connsiteY16" fmla="*/ 861967 h 1784983"/>
                <a:gd name="connsiteX17" fmla="*/ 8504518 w 12045155"/>
                <a:gd name="connsiteY17" fmla="*/ 827979 h 1784983"/>
                <a:gd name="connsiteX18" fmla="*/ 10922986 w 12045155"/>
                <a:gd name="connsiteY18" fmla="*/ 1782194 h 1784983"/>
                <a:gd name="connsiteX19" fmla="*/ 11481826 w 12045155"/>
                <a:gd name="connsiteY19" fmla="*/ 1127088 h 1784983"/>
                <a:gd name="connsiteX20" fmla="*/ 12045155 w 12045155"/>
                <a:gd name="connsiteY20" fmla="*/ 699393 h 1784983"/>
                <a:gd name="connsiteX21" fmla="*/ 12045155 w 12045155"/>
                <a:gd name="connsiteY21" fmla="*/ 261011 h 1784983"/>
                <a:gd name="connsiteX22" fmla="*/ 8450223 w 12045155"/>
                <a:gd name="connsiteY22" fmla="*/ 156695 h 1784983"/>
                <a:gd name="connsiteX23" fmla="*/ 7635927 w 12045155"/>
                <a:gd name="connsiteY23" fmla="*/ 105714 h 1784983"/>
                <a:gd name="connsiteX24" fmla="*/ 7049636 w 12045155"/>
                <a:gd name="connsiteY24" fmla="*/ 199189 h 1784983"/>
                <a:gd name="connsiteX25" fmla="*/ 6342549 w 12045155"/>
                <a:gd name="connsiteY25" fmla="*/ 146630 h 1784983"/>
                <a:gd name="connsiteX26" fmla="*/ 5902209 w 12045155"/>
                <a:gd name="connsiteY26" fmla="*/ 249658 h 1784983"/>
                <a:gd name="connsiteX27" fmla="*/ 5182195 w 12045155"/>
                <a:gd name="connsiteY27" fmla="*/ 292664 h 1784983"/>
                <a:gd name="connsiteX28" fmla="*/ 3822487 w 12045155"/>
                <a:gd name="connsiteY28" fmla="*/ 90799 h 1784983"/>
                <a:gd name="connsiteX29" fmla="*/ 2370177 w 12045155"/>
                <a:gd name="connsiteY29" fmla="*/ 156695 h 1784983"/>
                <a:gd name="connsiteX30" fmla="*/ 578745 w 12045155"/>
                <a:gd name="connsiteY30" fmla="*/ 148189 h 1784983"/>
                <a:gd name="connsiteX31" fmla="*/ 38923 w 12045155"/>
                <a:gd name="connsiteY31" fmla="*/ 157240 h 1784983"/>
                <a:gd name="connsiteX0" fmla="*/ 38923 w 12045155"/>
                <a:gd name="connsiteY0" fmla="*/ 157240 h 1848237"/>
                <a:gd name="connsiteX1" fmla="*/ 4765 w 12045155"/>
                <a:gd name="connsiteY1" fmla="*/ 229969 h 1848237"/>
                <a:gd name="connsiteX2" fmla="*/ 16985 w 12045155"/>
                <a:gd name="connsiteY2" fmla="*/ 441204 h 1848237"/>
                <a:gd name="connsiteX3" fmla="*/ 31647 w 12045155"/>
                <a:gd name="connsiteY3" fmla="*/ 700450 h 1848237"/>
                <a:gd name="connsiteX4" fmla="*/ 43864 w 12045155"/>
                <a:gd name="connsiteY4" fmla="*/ 777266 h 1848237"/>
                <a:gd name="connsiteX5" fmla="*/ 80207 w 12045155"/>
                <a:gd name="connsiteY5" fmla="*/ 937416 h 1848237"/>
                <a:gd name="connsiteX6" fmla="*/ 937008 w 12045155"/>
                <a:gd name="connsiteY6" fmla="*/ 844973 h 1848237"/>
                <a:gd name="connsiteX7" fmla="*/ 1631867 w 12045155"/>
                <a:gd name="connsiteY7" fmla="*/ 878961 h 1848237"/>
                <a:gd name="connsiteX8" fmla="*/ 2087877 w 12045155"/>
                <a:gd name="connsiteY8" fmla="*/ 819473 h 1848237"/>
                <a:gd name="connsiteX9" fmla="*/ 2565599 w 12045155"/>
                <a:gd name="connsiteY9" fmla="*/ 819473 h 1848237"/>
                <a:gd name="connsiteX10" fmla="*/ 3336468 w 12045155"/>
                <a:gd name="connsiteY10" fmla="*/ 861967 h 1848237"/>
                <a:gd name="connsiteX11" fmla="*/ 4215904 w 12045155"/>
                <a:gd name="connsiteY11" fmla="*/ 844973 h 1848237"/>
                <a:gd name="connsiteX12" fmla="*/ 4845622 w 12045155"/>
                <a:gd name="connsiteY12" fmla="*/ 853479 h 1848237"/>
                <a:gd name="connsiteX13" fmla="*/ 5681632 w 12045155"/>
                <a:gd name="connsiteY13" fmla="*/ 853479 h 1848237"/>
                <a:gd name="connsiteX14" fmla="*/ 6745645 w 12045155"/>
                <a:gd name="connsiteY14" fmla="*/ 878979 h 1848237"/>
                <a:gd name="connsiteX15" fmla="*/ 7494800 w 12045155"/>
                <a:gd name="connsiteY15" fmla="*/ 870473 h 1848237"/>
                <a:gd name="connsiteX16" fmla="*/ 8026795 w 12045155"/>
                <a:gd name="connsiteY16" fmla="*/ 861967 h 1848237"/>
                <a:gd name="connsiteX17" fmla="*/ 8504518 w 12045155"/>
                <a:gd name="connsiteY17" fmla="*/ 827979 h 1848237"/>
                <a:gd name="connsiteX18" fmla="*/ 10922986 w 12045155"/>
                <a:gd name="connsiteY18" fmla="*/ 1782194 h 1848237"/>
                <a:gd name="connsiteX19" fmla="*/ 11481826 w 12045155"/>
                <a:gd name="connsiteY19" fmla="*/ 1127088 h 1848237"/>
                <a:gd name="connsiteX20" fmla="*/ 12045155 w 12045155"/>
                <a:gd name="connsiteY20" fmla="*/ 699393 h 1848237"/>
                <a:gd name="connsiteX21" fmla="*/ 12045155 w 12045155"/>
                <a:gd name="connsiteY21" fmla="*/ 261011 h 1848237"/>
                <a:gd name="connsiteX22" fmla="*/ 8450223 w 12045155"/>
                <a:gd name="connsiteY22" fmla="*/ 156695 h 1848237"/>
                <a:gd name="connsiteX23" fmla="*/ 7635927 w 12045155"/>
                <a:gd name="connsiteY23" fmla="*/ 105714 h 1848237"/>
                <a:gd name="connsiteX24" fmla="*/ 7049636 w 12045155"/>
                <a:gd name="connsiteY24" fmla="*/ 199189 h 1848237"/>
                <a:gd name="connsiteX25" fmla="*/ 6342549 w 12045155"/>
                <a:gd name="connsiteY25" fmla="*/ 146630 h 1848237"/>
                <a:gd name="connsiteX26" fmla="*/ 5902209 w 12045155"/>
                <a:gd name="connsiteY26" fmla="*/ 249658 h 1848237"/>
                <a:gd name="connsiteX27" fmla="*/ 5182195 w 12045155"/>
                <a:gd name="connsiteY27" fmla="*/ 292664 h 1848237"/>
                <a:gd name="connsiteX28" fmla="*/ 3822487 w 12045155"/>
                <a:gd name="connsiteY28" fmla="*/ 90799 h 1848237"/>
                <a:gd name="connsiteX29" fmla="*/ 2370177 w 12045155"/>
                <a:gd name="connsiteY29" fmla="*/ 156695 h 1848237"/>
                <a:gd name="connsiteX30" fmla="*/ 578745 w 12045155"/>
                <a:gd name="connsiteY30" fmla="*/ 148189 h 1848237"/>
                <a:gd name="connsiteX31" fmla="*/ 38923 w 12045155"/>
                <a:gd name="connsiteY31" fmla="*/ 157240 h 1848237"/>
                <a:gd name="connsiteX0" fmla="*/ 38923 w 12045155"/>
                <a:gd name="connsiteY0" fmla="*/ 157240 h 2147863"/>
                <a:gd name="connsiteX1" fmla="*/ 4765 w 12045155"/>
                <a:gd name="connsiteY1" fmla="*/ 229969 h 2147863"/>
                <a:gd name="connsiteX2" fmla="*/ 16985 w 12045155"/>
                <a:gd name="connsiteY2" fmla="*/ 441204 h 2147863"/>
                <a:gd name="connsiteX3" fmla="*/ 31647 w 12045155"/>
                <a:gd name="connsiteY3" fmla="*/ 700450 h 2147863"/>
                <a:gd name="connsiteX4" fmla="*/ 43864 w 12045155"/>
                <a:gd name="connsiteY4" fmla="*/ 777266 h 2147863"/>
                <a:gd name="connsiteX5" fmla="*/ 80207 w 12045155"/>
                <a:gd name="connsiteY5" fmla="*/ 937416 h 2147863"/>
                <a:gd name="connsiteX6" fmla="*/ 937008 w 12045155"/>
                <a:gd name="connsiteY6" fmla="*/ 844973 h 2147863"/>
                <a:gd name="connsiteX7" fmla="*/ 1631867 w 12045155"/>
                <a:gd name="connsiteY7" fmla="*/ 878961 h 2147863"/>
                <a:gd name="connsiteX8" fmla="*/ 2087877 w 12045155"/>
                <a:gd name="connsiteY8" fmla="*/ 819473 h 2147863"/>
                <a:gd name="connsiteX9" fmla="*/ 2565599 w 12045155"/>
                <a:gd name="connsiteY9" fmla="*/ 819473 h 2147863"/>
                <a:gd name="connsiteX10" fmla="*/ 3336468 w 12045155"/>
                <a:gd name="connsiteY10" fmla="*/ 861967 h 2147863"/>
                <a:gd name="connsiteX11" fmla="*/ 4215904 w 12045155"/>
                <a:gd name="connsiteY11" fmla="*/ 844973 h 2147863"/>
                <a:gd name="connsiteX12" fmla="*/ 4845622 w 12045155"/>
                <a:gd name="connsiteY12" fmla="*/ 853479 h 2147863"/>
                <a:gd name="connsiteX13" fmla="*/ 5681632 w 12045155"/>
                <a:gd name="connsiteY13" fmla="*/ 853479 h 2147863"/>
                <a:gd name="connsiteX14" fmla="*/ 6745645 w 12045155"/>
                <a:gd name="connsiteY14" fmla="*/ 878979 h 2147863"/>
                <a:gd name="connsiteX15" fmla="*/ 7494800 w 12045155"/>
                <a:gd name="connsiteY15" fmla="*/ 870473 h 2147863"/>
                <a:gd name="connsiteX16" fmla="*/ 8026795 w 12045155"/>
                <a:gd name="connsiteY16" fmla="*/ 861967 h 2147863"/>
                <a:gd name="connsiteX17" fmla="*/ 8504518 w 12045155"/>
                <a:gd name="connsiteY17" fmla="*/ 827979 h 2147863"/>
                <a:gd name="connsiteX18" fmla="*/ 10177867 w 12045155"/>
                <a:gd name="connsiteY18" fmla="*/ 2109744 h 2147863"/>
                <a:gd name="connsiteX19" fmla="*/ 10922986 w 12045155"/>
                <a:gd name="connsiteY19" fmla="*/ 1782194 h 2147863"/>
                <a:gd name="connsiteX20" fmla="*/ 11481826 w 12045155"/>
                <a:gd name="connsiteY20" fmla="*/ 1127088 h 2147863"/>
                <a:gd name="connsiteX21" fmla="*/ 12045155 w 12045155"/>
                <a:gd name="connsiteY21" fmla="*/ 699393 h 2147863"/>
                <a:gd name="connsiteX22" fmla="*/ 12045155 w 12045155"/>
                <a:gd name="connsiteY22" fmla="*/ 261011 h 2147863"/>
                <a:gd name="connsiteX23" fmla="*/ 8450223 w 12045155"/>
                <a:gd name="connsiteY23" fmla="*/ 156695 h 2147863"/>
                <a:gd name="connsiteX24" fmla="*/ 7635927 w 12045155"/>
                <a:gd name="connsiteY24" fmla="*/ 105714 h 2147863"/>
                <a:gd name="connsiteX25" fmla="*/ 7049636 w 12045155"/>
                <a:gd name="connsiteY25" fmla="*/ 199189 h 2147863"/>
                <a:gd name="connsiteX26" fmla="*/ 6342549 w 12045155"/>
                <a:gd name="connsiteY26" fmla="*/ 146630 h 2147863"/>
                <a:gd name="connsiteX27" fmla="*/ 5902209 w 12045155"/>
                <a:gd name="connsiteY27" fmla="*/ 249658 h 2147863"/>
                <a:gd name="connsiteX28" fmla="*/ 5182195 w 12045155"/>
                <a:gd name="connsiteY28" fmla="*/ 292664 h 2147863"/>
                <a:gd name="connsiteX29" fmla="*/ 3822487 w 12045155"/>
                <a:gd name="connsiteY29" fmla="*/ 90799 h 2147863"/>
                <a:gd name="connsiteX30" fmla="*/ 2370177 w 12045155"/>
                <a:gd name="connsiteY30" fmla="*/ 156695 h 2147863"/>
                <a:gd name="connsiteX31" fmla="*/ 578745 w 12045155"/>
                <a:gd name="connsiteY31" fmla="*/ 148189 h 2147863"/>
                <a:gd name="connsiteX32" fmla="*/ 38923 w 12045155"/>
                <a:gd name="connsiteY32" fmla="*/ 157240 h 2147863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8450223 w 12045155"/>
                <a:gd name="connsiteY24" fmla="*/ 156695 h 2112232"/>
                <a:gd name="connsiteX25" fmla="*/ 7635927 w 12045155"/>
                <a:gd name="connsiteY25" fmla="*/ 105714 h 2112232"/>
                <a:gd name="connsiteX26" fmla="*/ 7049636 w 12045155"/>
                <a:gd name="connsiteY26" fmla="*/ 199189 h 2112232"/>
                <a:gd name="connsiteX27" fmla="*/ 6342549 w 12045155"/>
                <a:gd name="connsiteY27" fmla="*/ 146630 h 2112232"/>
                <a:gd name="connsiteX28" fmla="*/ 5902209 w 12045155"/>
                <a:gd name="connsiteY28" fmla="*/ 249658 h 2112232"/>
                <a:gd name="connsiteX29" fmla="*/ 5182195 w 12045155"/>
                <a:gd name="connsiteY29" fmla="*/ 292664 h 2112232"/>
                <a:gd name="connsiteX30" fmla="*/ 3822487 w 12045155"/>
                <a:gd name="connsiteY30" fmla="*/ 90799 h 2112232"/>
                <a:gd name="connsiteX31" fmla="*/ 2370177 w 12045155"/>
                <a:gd name="connsiteY31" fmla="*/ 156695 h 2112232"/>
                <a:gd name="connsiteX32" fmla="*/ 578745 w 12045155"/>
                <a:gd name="connsiteY32" fmla="*/ 148189 h 2112232"/>
                <a:gd name="connsiteX33" fmla="*/ 38923 w 12045155"/>
                <a:gd name="connsiteY33" fmla="*/ 157240 h 2112232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11438839 w 12045155"/>
                <a:gd name="connsiteY24" fmla="*/ 435586 h 2112232"/>
                <a:gd name="connsiteX25" fmla="*/ 8450223 w 12045155"/>
                <a:gd name="connsiteY25" fmla="*/ 156695 h 2112232"/>
                <a:gd name="connsiteX26" fmla="*/ 7635927 w 12045155"/>
                <a:gd name="connsiteY26" fmla="*/ 105714 h 2112232"/>
                <a:gd name="connsiteX27" fmla="*/ 7049636 w 12045155"/>
                <a:gd name="connsiteY27" fmla="*/ 199189 h 2112232"/>
                <a:gd name="connsiteX28" fmla="*/ 6342549 w 12045155"/>
                <a:gd name="connsiteY28" fmla="*/ 146630 h 2112232"/>
                <a:gd name="connsiteX29" fmla="*/ 5902209 w 12045155"/>
                <a:gd name="connsiteY29" fmla="*/ 249658 h 2112232"/>
                <a:gd name="connsiteX30" fmla="*/ 5182195 w 12045155"/>
                <a:gd name="connsiteY30" fmla="*/ 292664 h 2112232"/>
                <a:gd name="connsiteX31" fmla="*/ 3822487 w 12045155"/>
                <a:gd name="connsiteY31" fmla="*/ 90799 h 2112232"/>
                <a:gd name="connsiteX32" fmla="*/ 2370177 w 12045155"/>
                <a:gd name="connsiteY32" fmla="*/ 156695 h 2112232"/>
                <a:gd name="connsiteX33" fmla="*/ 578745 w 12045155"/>
                <a:gd name="connsiteY33" fmla="*/ 148189 h 2112232"/>
                <a:gd name="connsiteX34" fmla="*/ 38923 w 12045155"/>
                <a:gd name="connsiteY34" fmla="*/ 157240 h 2112232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11438839 w 12045155"/>
                <a:gd name="connsiteY24" fmla="*/ 435586 h 2112232"/>
                <a:gd name="connsiteX25" fmla="*/ 8450223 w 12045155"/>
                <a:gd name="connsiteY25" fmla="*/ 156695 h 2112232"/>
                <a:gd name="connsiteX26" fmla="*/ 7635927 w 12045155"/>
                <a:gd name="connsiteY26" fmla="*/ 105714 h 2112232"/>
                <a:gd name="connsiteX27" fmla="*/ 7049636 w 12045155"/>
                <a:gd name="connsiteY27" fmla="*/ 199189 h 2112232"/>
                <a:gd name="connsiteX28" fmla="*/ 6342549 w 12045155"/>
                <a:gd name="connsiteY28" fmla="*/ 146630 h 2112232"/>
                <a:gd name="connsiteX29" fmla="*/ 5902209 w 12045155"/>
                <a:gd name="connsiteY29" fmla="*/ 249658 h 2112232"/>
                <a:gd name="connsiteX30" fmla="*/ 5182195 w 12045155"/>
                <a:gd name="connsiteY30" fmla="*/ 292664 h 2112232"/>
                <a:gd name="connsiteX31" fmla="*/ 3822487 w 12045155"/>
                <a:gd name="connsiteY31" fmla="*/ 90799 h 2112232"/>
                <a:gd name="connsiteX32" fmla="*/ 2370177 w 12045155"/>
                <a:gd name="connsiteY32" fmla="*/ 156695 h 2112232"/>
                <a:gd name="connsiteX33" fmla="*/ 578745 w 12045155"/>
                <a:gd name="connsiteY33" fmla="*/ 148189 h 2112232"/>
                <a:gd name="connsiteX34" fmla="*/ 38923 w 12045155"/>
                <a:gd name="connsiteY34" fmla="*/ 157240 h 2112232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11438839 w 12045155"/>
                <a:gd name="connsiteY24" fmla="*/ 435586 h 2112232"/>
                <a:gd name="connsiteX25" fmla="*/ 9053022 w 12045155"/>
                <a:gd name="connsiteY25" fmla="*/ 581165 h 2112232"/>
                <a:gd name="connsiteX26" fmla="*/ 8450223 w 12045155"/>
                <a:gd name="connsiteY26" fmla="*/ 156695 h 2112232"/>
                <a:gd name="connsiteX27" fmla="*/ 7635927 w 12045155"/>
                <a:gd name="connsiteY27" fmla="*/ 105714 h 2112232"/>
                <a:gd name="connsiteX28" fmla="*/ 7049636 w 12045155"/>
                <a:gd name="connsiteY28" fmla="*/ 199189 h 2112232"/>
                <a:gd name="connsiteX29" fmla="*/ 6342549 w 12045155"/>
                <a:gd name="connsiteY29" fmla="*/ 146630 h 2112232"/>
                <a:gd name="connsiteX30" fmla="*/ 5902209 w 12045155"/>
                <a:gd name="connsiteY30" fmla="*/ 249658 h 2112232"/>
                <a:gd name="connsiteX31" fmla="*/ 5182195 w 12045155"/>
                <a:gd name="connsiteY31" fmla="*/ 292664 h 2112232"/>
                <a:gd name="connsiteX32" fmla="*/ 3822487 w 12045155"/>
                <a:gd name="connsiteY32" fmla="*/ 90799 h 2112232"/>
                <a:gd name="connsiteX33" fmla="*/ 2370177 w 12045155"/>
                <a:gd name="connsiteY33" fmla="*/ 156695 h 2112232"/>
                <a:gd name="connsiteX34" fmla="*/ 578745 w 12045155"/>
                <a:gd name="connsiteY34" fmla="*/ 148189 h 2112232"/>
                <a:gd name="connsiteX35" fmla="*/ 38923 w 12045155"/>
                <a:gd name="connsiteY35" fmla="*/ 157240 h 2112232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11438839 w 12045155"/>
                <a:gd name="connsiteY24" fmla="*/ 435586 h 2112232"/>
                <a:gd name="connsiteX25" fmla="*/ 9527677 w 12045155"/>
                <a:gd name="connsiteY25" fmla="*/ 1058846 h 2112232"/>
                <a:gd name="connsiteX26" fmla="*/ 9053022 w 12045155"/>
                <a:gd name="connsiteY26" fmla="*/ 581165 h 2112232"/>
                <a:gd name="connsiteX27" fmla="*/ 8450223 w 12045155"/>
                <a:gd name="connsiteY27" fmla="*/ 156695 h 2112232"/>
                <a:gd name="connsiteX28" fmla="*/ 7635927 w 12045155"/>
                <a:gd name="connsiteY28" fmla="*/ 105714 h 2112232"/>
                <a:gd name="connsiteX29" fmla="*/ 7049636 w 12045155"/>
                <a:gd name="connsiteY29" fmla="*/ 199189 h 2112232"/>
                <a:gd name="connsiteX30" fmla="*/ 6342549 w 12045155"/>
                <a:gd name="connsiteY30" fmla="*/ 146630 h 2112232"/>
                <a:gd name="connsiteX31" fmla="*/ 5902209 w 12045155"/>
                <a:gd name="connsiteY31" fmla="*/ 249658 h 2112232"/>
                <a:gd name="connsiteX32" fmla="*/ 5182195 w 12045155"/>
                <a:gd name="connsiteY32" fmla="*/ 292664 h 2112232"/>
                <a:gd name="connsiteX33" fmla="*/ 3822487 w 12045155"/>
                <a:gd name="connsiteY33" fmla="*/ 90799 h 2112232"/>
                <a:gd name="connsiteX34" fmla="*/ 2370177 w 12045155"/>
                <a:gd name="connsiteY34" fmla="*/ 156695 h 2112232"/>
                <a:gd name="connsiteX35" fmla="*/ 578745 w 12045155"/>
                <a:gd name="connsiteY35" fmla="*/ 148189 h 2112232"/>
                <a:gd name="connsiteX36" fmla="*/ 38923 w 12045155"/>
                <a:gd name="connsiteY36" fmla="*/ 157240 h 2112232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11438839 w 12045155"/>
                <a:gd name="connsiteY24" fmla="*/ 435586 h 2112232"/>
                <a:gd name="connsiteX25" fmla="*/ 11059114 w 12045155"/>
                <a:gd name="connsiteY25" fmla="*/ 1047471 h 2112232"/>
                <a:gd name="connsiteX26" fmla="*/ 9527677 w 12045155"/>
                <a:gd name="connsiteY26" fmla="*/ 1058846 h 2112232"/>
                <a:gd name="connsiteX27" fmla="*/ 9053022 w 12045155"/>
                <a:gd name="connsiteY27" fmla="*/ 581165 h 2112232"/>
                <a:gd name="connsiteX28" fmla="*/ 8450223 w 12045155"/>
                <a:gd name="connsiteY28" fmla="*/ 156695 h 2112232"/>
                <a:gd name="connsiteX29" fmla="*/ 7635927 w 12045155"/>
                <a:gd name="connsiteY29" fmla="*/ 105714 h 2112232"/>
                <a:gd name="connsiteX30" fmla="*/ 7049636 w 12045155"/>
                <a:gd name="connsiteY30" fmla="*/ 199189 h 2112232"/>
                <a:gd name="connsiteX31" fmla="*/ 6342549 w 12045155"/>
                <a:gd name="connsiteY31" fmla="*/ 146630 h 2112232"/>
                <a:gd name="connsiteX32" fmla="*/ 5902209 w 12045155"/>
                <a:gd name="connsiteY32" fmla="*/ 249658 h 2112232"/>
                <a:gd name="connsiteX33" fmla="*/ 5182195 w 12045155"/>
                <a:gd name="connsiteY33" fmla="*/ 292664 h 2112232"/>
                <a:gd name="connsiteX34" fmla="*/ 3822487 w 12045155"/>
                <a:gd name="connsiteY34" fmla="*/ 90799 h 2112232"/>
                <a:gd name="connsiteX35" fmla="*/ 2370177 w 12045155"/>
                <a:gd name="connsiteY35" fmla="*/ 156695 h 2112232"/>
                <a:gd name="connsiteX36" fmla="*/ 578745 w 12045155"/>
                <a:gd name="connsiteY36" fmla="*/ 148189 h 2112232"/>
                <a:gd name="connsiteX37" fmla="*/ 38923 w 12045155"/>
                <a:gd name="connsiteY37" fmla="*/ 157240 h 2112232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11438839 w 12045155"/>
                <a:gd name="connsiteY24" fmla="*/ 435586 h 2112232"/>
                <a:gd name="connsiteX25" fmla="*/ 11059114 w 12045155"/>
                <a:gd name="connsiteY25" fmla="*/ 1047471 h 2112232"/>
                <a:gd name="connsiteX26" fmla="*/ 10602369 w 12045155"/>
                <a:gd name="connsiteY26" fmla="*/ 1661632 h 2112232"/>
                <a:gd name="connsiteX27" fmla="*/ 9527677 w 12045155"/>
                <a:gd name="connsiteY27" fmla="*/ 1058846 h 2112232"/>
                <a:gd name="connsiteX28" fmla="*/ 9053022 w 12045155"/>
                <a:gd name="connsiteY28" fmla="*/ 581165 h 2112232"/>
                <a:gd name="connsiteX29" fmla="*/ 8450223 w 12045155"/>
                <a:gd name="connsiteY29" fmla="*/ 156695 h 2112232"/>
                <a:gd name="connsiteX30" fmla="*/ 7635927 w 12045155"/>
                <a:gd name="connsiteY30" fmla="*/ 105714 h 2112232"/>
                <a:gd name="connsiteX31" fmla="*/ 7049636 w 12045155"/>
                <a:gd name="connsiteY31" fmla="*/ 199189 h 2112232"/>
                <a:gd name="connsiteX32" fmla="*/ 6342549 w 12045155"/>
                <a:gd name="connsiteY32" fmla="*/ 146630 h 2112232"/>
                <a:gd name="connsiteX33" fmla="*/ 5902209 w 12045155"/>
                <a:gd name="connsiteY33" fmla="*/ 249658 h 2112232"/>
                <a:gd name="connsiteX34" fmla="*/ 5182195 w 12045155"/>
                <a:gd name="connsiteY34" fmla="*/ 292664 h 2112232"/>
                <a:gd name="connsiteX35" fmla="*/ 3822487 w 12045155"/>
                <a:gd name="connsiteY35" fmla="*/ 90799 h 2112232"/>
                <a:gd name="connsiteX36" fmla="*/ 2370177 w 12045155"/>
                <a:gd name="connsiteY36" fmla="*/ 156695 h 2112232"/>
                <a:gd name="connsiteX37" fmla="*/ 578745 w 12045155"/>
                <a:gd name="connsiteY37" fmla="*/ 148189 h 2112232"/>
                <a:gd name="connsiteX38" fmla="*/ 38923 w 12045155"/>
                <a:gd name="connsiteY38" fmla="*/ 157240 h 2112232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11438839 w 12045155"/>
                <a:gd name="connsiteY24" fmla="*/ 435586 h 2112232"/>
                <a:gd name="connsiteX25" fmla="*/ 11059114 w 12045155"/>
                <a:gd name="connsiteY25" fmla="*/ 1047471 h 2112232"/>
                <a:gd name="connsiteX26" fmla="*/ 10602369 w 12045155"/>
                <a:gd name="connsiteY26" fmla="*/ 1661632 h 2112232"/>
                <a:gd name="connsiteX27" fmla="*/ 9948599 w 12045155"/>
                <a:gd name="connsiteY27" fmla="*/ 1673007 h 2112232"/>
                <a:gd name="connsiteX28" fmla="*/ 9527677 w 12045155"/>
                <a:gd name="connsiteY28" fmla="*/ 1058846 h 2112232"/>
                <a:gd name="connsiteX29" fmla="*/ 9053022 w 12045155"/>
                <a:gd name="connsiteY29" fmla="*/ 581165 h 2112232"/>
                <a:gd name="connsiteX30" fmla="*/ 8450223 w 12045155"/>
                <a:gd name="connsiteY30" fmla="*/ 156695 h 2112232"/>
                <a:gd name="connsiteX31" fmla="*/ 7635927 w 12045155"/>
                <a:gd name="connsiteY31" fmla="*/ 105714 h 2112232"/>
                <a:gd name="connsiteX32" fmla="*/ 7049636 w 12045155"/>
                <a:gd name="connsiteY32" fmla="*/ 199189 h 2112232"/>
                <a:gd name="connsiteX33" fmla="*/ 6342549 w 12045155"/>
                <a:gd name="connsiteY33" fmla="*/ 146630 h 2112232"/>
                <a:gd name="connsiteX34" fmla="*/ 5902209 w 12045155"/>
                <a:gd name="connsiteY34" fmla="*/ 249658 h 2112232"/>
                <a:gd name="connsiteX35" fmla="*/ 5182195 w 12045155"/>
                <a:gd name="connsiteY35" fmla="*/ 292664 h 2112232"/>
                <a:gd name="connsiteX36" fmla="*/ 3822487 w 12045155"/>
                <a:gd name="connsiteY36" fmla="*/ 90799 h 2112232"/>
                <a:gd name="connsiteX37" fmla="*/ 2370177 w 12045155"/>
                <a:gd name="connsiteY37" fmla="*/ 156695 h 2112232"/>
                <a:gd name="connsiteX38" fmla="*/ 578745 w 12045155"/>
                <a:gd name="connsiteY38" fmla="*/ 148189 h 2112232"/>
                <a:gd name="connsiteX39" fmla="*/ 38923 w 12045155"/>
                <a:gd name="connsiteY39" fmla="*/ 157240 h 2112232"/>
                <a:gd name="connsiteX0" fmla="*/ 38923 w 12045155"/>
                <a:gd name="connsiteY0" fmla="*/ 157240 h 2112232"/>
                <a:gd name="connsiteX1" fmla="*/ 4765 w 12045155"/>
                <a:gd name="connsiteY1" fmla="*/ 229969 h 2112232"/>
                <a:gd name="connsiteX2" fmla="*/ 16985 w 12045155"/>
                <a:gd name="connsiteY2" fmla="*/ 441204 h 2112232"/>
                <a:gd name="connsiteX3" fmla="*/ 31647 w 12045155"/>
                <a:gd name="connsiteY3" fmla="*/ 700450 h 2112232"/>
                <a:gd name="connsiteX4" fmla="*/ 43864 w 12045155"/>
                <a:gd name="connsiteY4" fmla="*/ 777266 h 2112232"/>
                <a:gd name="connsiteX5" fmla="*/ 80207 w 12045155"/>
                <a:gd name="connsiteY5" fmla="*/ 937416 h 2112232"/>
                <a:gd name="connsiteX6" fmla="*/ 937008 w 12045155"/>
                <a:gd name="connsiteY6" fmla="*/ 844973 h 2112232"/>
                <a:gd name="connsiteX7" fmla="*/ 1631867 w 12045155"/>
                <a:gd name="connsiteY7" fmla="*/ 878961 h 2112232"/>
                <a:gd name="connsiteX8" fmla="*/ 2087877 w 12045155"/>
                <a:gd name="connsiteY8" fmla="*/ 819473 h 2112232"/>
                <a:gd name="connsiteX9" fmla="*/ 2565599 w 12045155"/>
                <a:gd name="connsiteY9" fmla="*/ 819473 h 2112232"/>
                <a:gd name="connsiteX10" fmla="*/ 3336468 w 12045155"/>
                <a:gd name="connsiteY10" fmla="*/ 861967 h 2112232"/>
                <a:gd name="connsiteX11" fmla="*/ 4215904 w 12045155"/>
                <a:gd name="connsiteY11" fmla="*/ 844973 h 2112232"/>
                <a:gd name="connsiteX12" fmla="*/ 4845622 w 12045155"/>
                <a:gd name="connsiteY12" fmla="*/ 853479 h 2112232"/>
                <a:gd name="connsiteX13" fmla="*/ 5681632 w 12045155"/>
                <a:gd name="connsiteY13" fmla="*/ 853479 h 2112232"/>
                <a:gd name="connsiteX14" fmla="*/ 6745645 w 12045155"/>
                <a:gd name="connsiteY14" fmla="*/ 878979 h 2112232"/>
                <a:gd name="connsiteX15" fmla="*/ 7494800 w 12045155"/>
                <a:gd name="connsiteY15" fmla="*/ 870473 h 2112232"/>
                <a:gd name="connsiteX16" fmla="*/ 8026795 w 12045155"/>
                <a:gd name="connsiteY16" fmla="*/ 861967 h 2112232"/>
                <a:gd name="connsiteX17" fmla="*/ 8504518 w 12045155"/>
                <a:gd name="connsiteY17" fmla="*/ 827979 h 2112232"/>
                <a:gd name="connsiteX18" fmla="*/ 9490064 w 12045155"/>
                <a:gd name="connsiteY18" fmla="*/ 1654810 h 2112232"/>
                <a:gd name="connsiteX19" fmla="*/ 10177867 w 12045155"/>
                <a:gd name="connsiteY19" fmla="*/ 2109744 h 2112232"/>
                <a:gd name="connsiteX20" fmla="*/ 10922986 w 12045155"/>
                <a:gd name="connsiteY20" fmla="*/ 1782194 h 2112232"/>
                <a:gd name="connsiteX21" fmla="*/ 11481826 w 12045155"/>
                <a:gd name="connsiteY21" fmla="*/ 1127088 h 2112232"/>
                <a:gd name="connsiteX22" fmla="*/ 12045155 w 12045155"/>
                <a:gd name="connsiteY22" fmla="*/ 699393 h 2112232"/>
                <a:gd name="connsiteX23" fmla="*/ 12045155 w 12045155"/>
                <a:gd name="connsiteY23" fmla="*/ 261011 h 2112232"/>
                <a:gd name="connsiteX24" fmla="*/ 11438839 w 12045155"/>
                <a:gd name="connsiteY24" fmla="*/ 435586 h 2112232"/>
                <a:gd name="connsiteX25" fmla="*/ 11059114 w 12045155"/>
                <a:gd name="connsiteY25" fmla="*/ 1047471 h 2112232"/>
                <a:gd name="connsiteX26" fmla="*/ 10602369 w 12045155"/>
                <a:gd name="connsiteY26" fmla="*/ 1661632 h 2112232"/>
                <a:gd name="connsiteX27" fmla="*/ 10034574 w 12045155"/>
                <a:gd name="connsiteY27" fmla="*/ 1618415 h 2112232"/>
                <a:gd name="connsiteX28" fmla="*/ 9527677 w 12045155"/>
                <a:gd name="connsiteY28" fmla="*/ 1058846 h 2112232"/>
                <a:gd name="connsiteX29" fmla="*/ 9053022 w 12045155"/>
                <a:gd name="connsiteY29" fmla="*/ 581165 h 2112232"/>
                <a:gd name="connsiteX30" fmla="*/ 8450223 w 12045155"/>
                <a:gd name="connsiteY30" fmla="*/ 156695 h 2112232"/>
                <a:gd name="connsiteX31" fmla="*/ 7635927 w 12045155"/>
                <a:gd name="connsiteY31" fmla="*/ 105714 h 2112232"/>
                <a:gd name="connsiteX32" fmla="*/ 7049636 w 12045155"/>
                <a:gd name="connsiteY32" fmla="*/ 199189 h 2112232"/>
                <a:gd name="connsiteX33" fmla="*/ 6342549 w 12045155"/>
                <a:gd name="connsiteY33" fmla="*/ 146630 h 2112232"/>
                <a:gd name="connsiteX34" fmla="*/ 5902209 w 12045155"/>
                <a:gd name="connsiteY34" fmla="*/ 249658 h 2112232"/>
                <a:gd name="connsiteX35" fmla="*/ 5182195 w 12045155"/>
                <a:gd name="connsiteY35" fmla="*/ 292664 h 2112232"/>
                <a:gd name="connsiteX36" fmla="*/ 3822487 w 12045155"/>
                <a:gd name="connsiteY36" fmla="*/ 90799 h 2112232"/>
                <a:gd name="connsiteX37" fmla="*/ 2370177 w 12045155"/>
                <a:gd name="connsiteY37" fmla="*/ 156695 h 2112232"/>
                <a:gd name="connsiteX38" fmla="*/ 578745 w 12045155"/>
                <a:gd name="connsiteY38" fmla="*/ 148189 h 2112232"/>
                <a:gd name="connsiteX39" fmla="*/ 38923 w 12045155"/>
                <a:gd name="connsiteY39" fmla="*/ 157240 h 2112232"/>
                <a:gd name="connsiteX0" fmla="*/ 38923 w 12045155"/>
                <a:gd name="connsiteY0" fmla="*/ 157240 h 2159168"/>
                <a:gd name="connsiteX1" fmla="*/ 4765 w 12045155"/>
                <a:gd name="connsiteY1" fmla="*/ 229969 h 2159168"/>
                <a:gd name="connsiteX2" fmla="*/ 16985 w 12045155"/>
                <a:gd name="connsiteY2" fmla="*/ 441204 h 2159168"/>
                <a:gd name="connsiteX3" fmla="*/ 31647 w 12045155"/>
                <a:gd name="connsiteY3" fmla="*/ 700450 h 2159168"/>
                <a:gd name="connsiteX4" fmla="*/ 43864 w 12045155"/>
                <a:gd name="connsiteY4" fmla="*/ 777266 h 2159168"/>
                <a:gd name="connsiteX5" fmla="*/ 80207 w 12045155"/>
                <a:gd name="connsiteY5" fmla="*/ 937416 h 2159168"/>
                <a:gd name="connsiteX6" fmla="*/ 937008 w 12045155"/>
                <a:gd name="connsiteY6" fmla="*/ 844973 h 2159168"/>
                <a:gd name="connsiteX7" fmla="*/ 1631867 w 12045155"/>
                <a:gd name="connsiteY7" fmla="*/ 878961 h 2159168"/>
                <a:gd name="connsiteX8" fmla="*/ 2087877 w 12045155"/>
                <a:gd name="connsiteY8" fmla="*/ 819473 h 2159168"/>
                <a:gd name="connsiteX9" fmla="*/ 2565599 w 12045155"/>
                <a:gd name="connsiteY9" fmla="*/ 819473 h 2159168"/>
                <a:gd name="connsiteX10" fmla="*/ 3336468 w 12045155"/>
                <a:gd name="connsiteY10" fmla="*/ 861967 h 2159168"/>
                <a:gd name="connsiteX11" fmla="*/ 4215904 w 12045155"/>
                <a:gd name="connsiteY11" fmla="*/ 844973 h 2159168"/>
                <a:gd name="connsiteX12" fmla="*/ 4845622 w 12045155"/>
                <a:gd name="connsiteY12" fmla="*/ 853479 h 2159168"/>
                <a:gd name="connsiteX13" fmla="*/ 5681632 w 12045155"/>
                <a:gd name="connsiteY13" fmla="*/ 853479 h 2159168"/>
                <a:gd name="connsiteX14" fmla="*/ 6745645 w 12045155"/>
                <a:gd name="connsiteY14" fmla="*/ 878979 h 2159168"/>
                <a:gd name="connsiteX15" fmla="*/ 7494800 w 12045155"/>
                <a:gd name="connsiteY15" fmla="*/ 870473 h 2159168"/>
                <a:gd name="connsiteX16" fmla="*/ 8026795 w 12045155"/>
                <a:gd name="connsiteY16" fmla="*/ 861967 h 2159168"/>
                <a:gd name="connsiteX17" fmla="*/ 8504518 w 12045155"/>
                <a:gd name="connsiteY17" fmla="*/ 827979 h 2159168"/>
                <a:gd name="connsiteX18" fmla="*/ 9361101 w 12045155"/>
                <a:gd name="connsiteY18" fmla="*/ 2018757 h 2159168"/>
                <a:gd name="connsiteX19" fmla="*/ 10177867 w 12045155"/>
                <a:gd name="connsiteY19" fmla="*/ 2109744 h 2159168"/>
                <a:gd name="connsiteX20" fmla="*/ 10922986 w 12045155"/>
                <a:gd name="connsiteY20" fmla="*/ 1782194 h 2159168"/>
                <a:gd name="connsiteX21" fmla="*/ 11481826 w 12045155"/>
                <a:gd name="connsiteY21" fmla="*/ 1127088 h 2159168"/>
                <a:gd name="connsiteX22" fmla="*/ 12045155 w 12045155"/>
                <a:gd name="connsiteY22" fmla="*/ 699393 h 2159168"/>
                <a:gd name="connsiteX23" fmla="*/ 12045155 w 12045155"/>
                <a:gd name="connsiteY23" fmla="*/ 261011 h 2159168"/>
                <a:gd name="connsiteX24" fmla="*/ 11438839 w 12045155"/>
                <a:gd name="connsiteY24" fmla="*/ 435586 h 2159168"/>
                <a:gd name="connsiteX25" fmla="*/ 11059114 w 12045155"/>
                <a:gd name="connsiteY25" fmla="*/ 1047471 h 2159168"/>
                <a:gd name="connsiteX26" fmla="*/ 10602369 w 12045155"/>
                <a:gd name="connsiteY26" fmla="*/ 1661632 h 2159168"/>
                <a:gd name="connsiteX27" fmla="*/ 10034574 w 12045155"/>
                <a:gd name="connsiteY27" fmla="*/ 1618415 h 2159168"/>
                <a:gd name="connsiteX28" fmla="*/ 9527677 w 12045155"/>
                <a:gd name="connsiteY28" fmla="*/ 1058846 h 2159168"/>
                <a:gd name="connsiteX29" fmla="*/ 9053022 w 12045155"/>
                <a:gd name="connsiteY29" fmla="*/ 581165 h 2159168"/>
                <a:gd name="connsiteX30" fmla="*/ 8450223 w 12045155"/>
                <a:gd name="connsiteY30" fmla="*/ 156695 h 2159168"/>
                <a:gd name="connsiteX31" fmla="*/ 7635927 w 12045155"/>
                <a:gd name="connsiteY31" fmla="*/ 105714 h 2159168"/>
                <a:gd name="connsiteX32" fmla="*/ 7049636 w 12045155"/>
                <a:gd name="connsiteY32" fmla="*/ 199189 h 2159168"/>
                <a:gd name="connsiteX33" fmla="*/ 6342549 w 12045155"/>
                <a:gd name="connsiteY33" fmla="*/ 146630 h 2159168"/>
                <a:gd name="connsiteX34" fmla="*/ 5902209 w 12045155"/>
                <a:gd name="connsiteY34" fmla="*/ 249658 h 2159168"/>
                <a:gd name="connsiteX35" fmla="*/ 5182195 w 12045155"/>
                <a:gd name="connsiteY35" fmla="*/ 292664 h 2159168"/>
                <a:gd name="connsiteX36" fmla="*/ 3822487 w 12045155"/>
                <a:gd name="connsiteY36" fmla="*/ 90799 h 2159168"/>
                <a:gd name="connsiteX37" fmla="*/ 2370177 w 12045155"/>
                <a:gd name="connsiteY37" fmla="*/ 156695 h 2159168"/>
                <a:gd name="connsiteX38" fmla="*/ 578745 w 12045155"/>
                <a:gd name="connsiteY38" fmla="*/ 148189 h 2159168"/>
                <a:gd name="connsiteX39" fmla="*/ 38923 w 12045155"/>
                <a:gd name="connsiteY39" fmla="*/ 157240 h 2159168"/>
                <a:gd name="connsiteX0" fmla="*/ 38923 w 12045155"/>
                <a:gd name="connsiteY0" fmla="*/ 157240 h 2371492"/>
                <a:gd name="connsiteX1" fmla="*/ 4765 w 12045155"/>
                <a:gd name="connsiteY1" fmla="*/ 229969 h 2371492"/>
                <a:gd name="connsiteX2" fmla="*/ 16985 w 12045155"/>
                <a:gd name="connsiteY2" fmla="*/ 441204 h 2371492"/>
                <a:gd name="connsiteX3" fmla="*/ 31647 w 12045155"/>
                <a:gd name="connsiteY3" fmla="*/ 700450 h 2371492"/>
                <a:gd name="connsiteX4" fmla="*/ 43864 w 12045155"/>
                <a:gd name="connsiteY4" fmla="*/ 777266 h 2371492"/>
                <a:gd name="connsiteX5" fmla="*/ 80207 w 12045155"/>
                <a:gd name="connsiteY5" fmla="*/ 937416 h 2371492"/>
                <a:gd name="connsiteX6" fmla="*/ 937008 w 12045155"/>
                <a:gd name="connsiteY6" fmla="*/ 844973 h 2371492"/>
                <a:gd name="connsiteX7" fmla="*/ 1631867 w 12045155"/>
                <a:gd name="connsiteY7" fmla="*/ 878961 h 2371492"/>
                <a:gd name="connsiteX8" fmla="*/ 2087877 w 12045155"/>
                <a:gd name="connsiteY8" fmla="*/ 819473 h 2371492"/>
                <a:gd name="connsiteX9" fmla="*/ 2565599 w 12045155"/>
                <a:gd name="connsiteY9" fmla="*/ 819473 h 2371492"/>
                <a:gd name="connsiteX10" fmla="*/ 3336468 w 12045155"/>
                <a:gd name="connsiteY10" fmla="*/ 861967 h 2371492"/>
                <a:gd name="connsiteX11" fmla="*/ 4215904 w 12045155"/>
                <a:gd name="connsiteY11" fmla="*/ 844973 h 2371492"/>
                <a:gd name="connsiteX12" fmla="*/ 4845622 w 12045155"/>
                <a:gd name="connsiteY12" fmla="*/ 853479 h 2371492"/>
                <a:gd name="connsiteX13" fmla="*/ 5681632 w 12045155"/>
                <a:gd name="connsiteY13" fmla="*/ 853479 h 2371492"/>
                <a:gd name="connsiteX14" fmla="*/ 6745645 w 12045155"/>
                <a:gd name="connsiteY14" fmla="*/ 878979 h 2371492"/>
                <a:gd name="connsiteX15" fmla="*/ 7494800 w 12045155"/>
                <a:gd name="connsiteY15" fmla="*/ 870473 h 2371492"/>
                <a:gd name="connsiteX16" fmla="*/ 8026795 w 12045155"/>
                <a:gd name="connsiteY16" fmla="*/ 861967 h 2371492"/>
                <a:gd name="connsiteX17" fmla="*/ 8504518 w 12045155"/>
                <a:gd name="connsiteY17" fmla="*/ 827979 h 2371492"/>
                <a:gd name="connsiteX18" fmla="*/ 9361101 w 12045155"/>
                <a:gd name="connsiteY18" fmla="*/ 2018757 h 2371492"/>
                <a:gd name="connsiteX19" fmla="*/ 10249513 w 12045155"/>
                <a:gd name="connsiteY19" fmla="*/ 2364507 h 2371492"/>
                <a:gd name="connsiteX20" fmla="*/ 10922986 w 12045155"/>
                <a:gd name="connsiteY20" fmla="*/ 1782194 h 2371492"/>
                <a:gd name="connsiteX21" fmla="*/ 11481826 w 12045155"/>
                <a:gd name="connsiteY21" fmla="*/ 1127088 h 2371492"/>
                <a:gd name="connsiteX22" fmla="*/ 12045155 w 12045155"/>
                <a:gd name="connsiteY22" fmla="*/ 699393 h 2371492"/>
                <a:gd name="connsiteX23" fmla="*/ 12045155 w 12045155"/>
                <a:gd name="connsiteY23" fmla="*/ 261011 h 2371492"/>
                <a:gd name="connsiteX24" fmla="*/ 11438839 w 12045155"/>
                <a:gd name="connsiteY24" fmla="*/ 435586 h 2371492"/>
                <a:gd name="connsiteX25" fmla="*/ 11059114 w 12045155"/>
                <a:gd name="connsiteY25" fmla="*/ 1047471 h 2371492"/>
                <a:gd name="connsiteX26" fmla="*/ 10602369 w 12045155"/>
                <a:gd name="connsiteY26" fmla="*/ 1661632 h 2371492"/>
                <a:gd name="connsiteX27" fmla="*/ 10034574 w 12045155"/>
                <a:gd name="connsiteY27" fmla="*/ 1618415 h 2371492"/>
                <a:gd name="connsiteX28" fmla="*/ 9527677 w 12045155"/>
                <a:gd name="connsiteY28" fmla="*/ 1058846 h 2371492"/>
                <a:gd name="connsiteX29" fmla="*/ 9053022 w 12045155"/>
                <a:gd name="connsiteY29" fmla="*/ 581165 h 2371492"/>
                <a:gd name="connsiteX30" fmla="*/ 8450223 w 12045155"/>
                <a:gd name="connsiteY30" fmla="*/ 156695 h 2371492"/>
                <a:gd name="connsiteX31" fmla="*/ 7635927 w 12045155"/>
                <a:gd name="connsiteY31" fmla="*/ 105714 h 2371492"/>
                <a:gd name="connsiteX32" fmla="*/ 7049636 w 12045155"/>
                <a:gd name="connsiteY32" fmla="*/ 199189 h 2371492"/>
                <a:gd name="connsiteX33" fmla="*/ 6342549 w 12045155"/>
                <a:gd name="connsiteY33" fmla="*/ 146630 h 2371492"/>
                <a:gd name="connsiteX34" fmla="*/ 5902209 w 12045155"/>
                <a:gd name="connsiteY34" fmla="*/ 249658 h 2371492"/>
                <a:gd name="connsiteX35" fmla="*/ 5182195 w 12045155"/>
                <a:gd name="connsiteY35" fmla="*/ 292664 h 2371492"/>
                <a:gd name="connsiteX36" fmla="*/ 3822487 w 12045155"/>
                <a:gd name="connsiteY36" fmla="*/ 90799 h 2371492"/>
                <a:gd name="connsiteX37" fmla="*/ 2370177 w 12045155"/>
                <a:gd name="connsiteY37" fmla="*/ 156695 h 2371492"/>
                <a:gd name="connsiteX38" fmla="*/ 578745 w 12045155"/>
                <a:gd name="connsiteY38" fmla="*/ 148189 h 2371492"/>
                <a:gd name="connsiteX39" fmla="*/ 38923 w 12045155"/>
                <a:gd name="connsiteY39" fmla="*/ 157240 h 2371492"/>
                <a:gd name="connsiteX0" fmla="*/ 38923 w 12045155"/>
                <a:gd name="connsiteY0" fmla="*/ 157240 h 2365078"/>
                <a:gd name="connsiteX1" fmla="*/ 4765 w 12045155"/>
                <a:gd name="connsiteY1" fmla="*/ 229969 h 2365078"/>
                <a:gd name="connsiteX2" fmla="*/ 16985 w 12045155"/>
                <a:gd name="connsiteY2" fmla="*/ 441204 h 2365078"/>
                <a:gd name="connsiteX3" fmla="*/ 31647 w 12045155"/>
                <a:gd name="connsiteY3" fmla="*/ 700450 h 2365078"/>
                <a:gd name="connsiteX4" fmla="*/ 43864 w 12045155"/>
                <a:gd name="connsiteY4" fmla="*/ 777266 h 2365078"/>
                <a:gd name="connsiteX5" fmla="*/ 80207 w 12045155"/>
                <a:gd name="connsiteY5" fmla="*/ 937416 h 2365078"/>
                <a:gd name="connsiteX6" fmla="*/ 937008 w 12045155"/>
                <a:gd name="connsiteY6" fmla="*/ 844973 h 2365078"/>
                <a:gd name="connsiteX7" fmla="*/ 1631867 w 12045155"/>
                <a:gd name="connsiteY7" fmla="*/ 878961 h 2365078"/>
                <a:gd name="connsiteX8" fmla="*/ 2087877 w 12045155"/>
                <a:gd name="connsiteY8" fmla="*/ 819473 h 2365078"/>
                <a:gd name="connsiteX9" fmla="*/ 2565599 w 12045155"/>
                <a:gd name="connsiteY9" fmla="*/ 819473 h 2365078"/>
                <a:gd name="connsiteX10" fmla="*/ 3336468 w 12045155"/>
                <a:gd name="connsiteY10" fmla="*/ 861967 h 2365078"/>
                <a:gd name="connsiteX11" fmla="*/ 4215904 w 12045155"/>
                <a:gd name="connsiteY11" fmla="*/ 844973 h 2365078"/>
                <a:gd name="connsiteX12" fmla="*/ 4845622 w 12045155"/>
                <a:gd name="connsiteY12" fmla="*/ 853479 h 2365078"/>
                <a:gd name="connsiteX13" fmla="*/ 5681632 w 12045155"/>
                <a:gd name="connsiteY13" fmla="*/ 853479 h 2365078"/>
                <a:gd name="connsiteX14" fmla="*/ 6745645 w 12045155"/>
                <a:gd name="connsiteY14" fmla="*/ 878979 h 2365078"/>
                <a:gd name="connsiteX15" fmla="*/ 7494800 w 12045155"/>
                <a:gd name="connsiteY15" fmla="*/ 870473 h 2365078"/>
                <a:gd name="connsiteX16" fmla="*/ 8026795 w 12045155"/>
                <a:gd name="connsiteY16" fmla="*/ 861967 h 2365078"/>
                <a:gd name="connsiteX17" fmla="*/ 8504518 w 12045155"/>
                <a:gd name="connsiteY17" fmla="*/ 827979 h 2365078"/>
                <a:gd name="connsiteX18" fmla="*/ 9361101 w 12045155"/>
                <a:gd name="connsiteY18" fmla="*/ 2018757 h 2365078"/>
                <a:gd name="connsiteX19" fmla="*/ 10249513 w 12045155"/>
                <a:gd name="connsiteY19" fmla="*/ 2364507 h 2365078"/>
                <a:gd name="connsiteX20" fmla="*/ 11123596 w 12045155"/>
                <a:gd name="connsiteY20" fmla="*/ 1964167 h 2365078"/>
                <a:gd name="connsiteX21" fmla="*/ 11481826 w 12045155"/>
                <a:gd name="connsiteY21" fmla="*/ 1127088 h 2365078"/>
                <a:gd name="connsiteX22" fmla="*/ 12045155 w 12045155"/>
                <a:gd name="connsiteY22" fmla="*/ 699393 h 2365078"/>
                <a:gd name="connsiteX23" fmla="*/ 12045155 w 12045155"/>
                <a:gd name="connsiteY23" fmla="*/ 261011 h 2365078"/>
                <a:gd name="connsiteX24" fmla="*/ 11438839 w 12045155"/>
                <a:gd name="connsiteY24" fmla="*/ 435586 h 2365078"/>
                <a:gd name="connsiteX25" fmla="*/ 11059114 w 12045155"/>
                <a:gd name="connsiteY25" fmla="*/ 1047471 h 2365078"/>
                <a:gd name="connsiteX26" fmla="*/ 10602369 w 12045155"/>
                <a:gd name="connsiteY26" fmla="*/ 1661632 h 2365078"/>
                <a:gd name="connsiteX27" fmla="*/ 10034574 w 12045155"/>
                <a:gd name="connsiteY27" fmla="*/ 1618415 h 2365078"/>
                <a:gd name="connsiteX28" fmla="*/ 9527677 w 12045155"/>
                <a:gd name="connsiteY28" fmla="*/ 1058846 h 2365078"/>
                <a:gd name="connsiteX29" fmla="*/ 9053022 w 12045155"/>
                <a:gd name="connsiteY29" fmla="*/ 581165 h 2365078"/>
                <a:gd name="connsiteX30" fmla="*/ 8450223 w 12045155"/>
                <a:gd name="connsiteY30" fmla="*/ 156695 h 2365078"/>
                <a:gd name="connsiteX31" fmla="*/ 7635927 w 12045155"/>
                <a:gd name="connsiteY31" fmla="*/ 105714 h 2365078"/>
                <a:gd name="connsiteX32" fmla="*/ 7049636 w 12045155"/>
                <a:gd name="connsiteY32" fmla="*/ 199189 h 2365078"/>
                <a:gd name="connsiteX33" fmla="*/ 6342549 w 12045155"/>
                <a:gd name="connsiteY33" fmla="*/ 146630 h 2365078"/>
                <a:gd name="connsiteX34" fmla="*/ 5902209 w 12045155"/>
                <a:gd name="connsiteY34" fmla="*/ 249658 h 2365078"/>
                <a:gd name="connsiteX35" fmla="*/ 5182195 w 12045155"/>
                <a:gd name="connsiteY35" fmla="*/ 292664 h 2365078"/>
                <a:gd name="connsiteX36" fmla="*/ 3822487 w 12045155"/>
                <a:gd name="connsiteY36" fmla="*/ 90799 h 2365078"/>
                <a:gd name="connsiteX37" fmla="*/ 2370177 w 12045155"/>
                <a:gd name="connsiteY37" fmla="*/ 156695 h 2365078"/>
                <a:gd name="connsiteX38" fmla="*/ 578745 w 12045155"/>
                <a:gd name="connsiteY38" fmla="*/ 148189 h 2365078"/>
                <a:gd name="connsiteX39" fmla="*/ 38923 w 12045155"/>
                <a:gd name="connsiteY39" fmla="*/ 157240 h 2365078"/>
                <a:gd name="connsiteX0" fmla="*/ 38923 w 12045155"/>
                <a:gd name="connsiteY0" fmla="*/ 157240 h 2365078"/>
                <a:gd name="connsiteX1" fmla="*/ 4765 w 12045155"/>
                <a:gd name="connsiteY1" fmla="*/ 229969 h 2365078"/>
                <a:gd name="connsiteX2" fmla="*/ 16985 w 12045155"/>
                <a:gd name="connsiteY2" fmla="*/ 441204 h 2365078"/>
                <a:gd name="connsiteX3" fmla="*/ 31647 w 12045155"/>
                <a:gd name="connsiteY3" fmla="*/ 700450 h 2365078"/>
                <a:gd name="connsiteX4" fmla="*/ 43864 w 12045155"/>
                <a:gd name="connsiteY4" fmla="*/ 777266 h 2365078"/>
                <a:gd name="connsiteX5" fmla="*/ 80207 w 12045155"/>
                <a:gd name="connsiteY5" fmla="*/ 937416 h 2365078"/>
                <a:gd name="connsiteX6" fmla="*/ 937008 w 12045155"/>
                <a:gd name="connsiteY6" fmla="*/ 844973 h 2365078"/>
                <a:gd name="connsiteX7" fmla="*/ 1631867 w 12045155"/>
                <a:gd name="connsiteY7" fmla="*/ 878961 h 2365078"/>
                <a:gd name="connsiteX8" fmla="*/ 2087877 w 12045155"/>
                <a:gd name="connsiteY8" fmla="*/ 819473 h 2365078"/>
                <a:gd name="connsiteX9" fmla="*/ 2565599 w 12045155"/>
                <a:gd name="connsiteY9" fmla="*/ 819473 h 2365078"/>
                <a:gd name="connsiteX10" fmla="*/ 3336468 w 12045155"/>
                <a:gd name="connsiteY10" fmla="*/ 861967 h 2365078"/>
                <a:gd name="connsiteX11" fmla="*/ 4215904 w 12045155"/>
                <a:gd name="connsiteY11" fmla="*/ 844973 h 2365078"/>
                <a:gd name="connsiteX12" fmla="*/ 4845622 w 12045155"/>
                <a:gd name="connsiteY12" fmla="*/ 853479 h 2365078"/>
                <a:gd name="connsiteX13" fmla="*/ 5681632 w 12045155"/>
                <a:gd name="connsiteY13" fmla="*/ 853479 h 2365078"/>
                <a:gd name="connsiteX14" fmla="*/ 6745645 w 12045155"/>
                <a:gd name="connsiteY14" fmla="*/ 878979 h 2365078"/>
                <a:gd name="connsiteX15" fmla="*/ 7494800 w 12045155"/>
                <a:gd name="connsiteY15" fmla="*/ 870473 h 2365078"/>
                <a:gd name="connsiteX16" fmla="*/ 8026795 w 12045155"/>
                <a:gd name="connsiteY16" fmla="*/ 861967 h 2365078"/>
                <a:gd name="connsiteX17" fmla="*/ 8504518 w 12045155"/>
                <a:gd name="connsiteY17" fmla="*/ 827979 h 2365078"/>
                <a:gd name="connsiteX18" fmla="*/ 9361101 w 12045155"/>
                <a:gd name="connsiteY18" fmla="*/ 2018757 h 2365078"/>
                <a:gd name="connsiteX19" fmla="*/ 10249513 w 12045155"/>
                <a:gd name="connsiteY19" fmla="*/ 2364507 h 2365078"/>
                <a:gd name="connsiteX20" fmla="*/ 11123596 w 12045155"/>
                <a:gd name="connsiteY20" fmla="*/ 1964167 h 2365078"/>
                <a:gd name="connsiteX21" fmla="*/ 11797069 w 12045155"/>
                <a:gd name="connsiteY21" fmla="*/ 999707 h 2365078"/>
                <a:gd name="connsiteX22" fmla="*/ 12045155 w 12045155"/>
                <a:gd name="connsiteY22" fmla="*/ 699393 h 2365078"/>
                <a:gd name="connsiteX23" fmla="*/ 12045155 w 12045155"/>
                <a:gd name="connsiteY23" fmla="*/ 261011 h 2365078"/>
                <a:gd name="connsiteX24" fmla="*/ 11438839 w 12045155"/>
                <a:gd name="connsiteY24" fmla="*/ 435586 h 2365078"/>
                <a:gd name="connsiteX25" fmla="*/ 11059114 w 12045155"/>
                <a:gd name="connsiteY25" fmla="*/ 1047471 h 2365078"/>
                <a:gd name="connsiteX26" fmla="*/ 10602369 w 12045155"/>
                <a:gd name="connsiteY26" fmla="*/ 1661632 h 2365078"/>
                <a:gd name="connsiteX27" fmla="*/ 10034574 w 12045155"/>
                <a:gd name="connsiteY27" fmla="*/ 1618415 h 2365078"/>
                <a:gd name="connsiteX28" fmla="*/ 9527677 w 12045155"/>
                <a:gd name="connsiteY28" fmla="*/ 1058846 h 2365078"/>
                <a:gd name="connsiteX29" fmla="*/ 9053022 w 12045155"/>
                <a:gd name="connsiteY29" fmla="*/ 581165 h 2365078"/>
                <a:gd name="connsiteX30" fmla="*/ 8450223 w 12045155"/>
                <a:gd name="connsiteY30" fmla="*/ 156695 h 2365078"/>
                <a:gd name="connsiteX31" fmla="*/ 7635927 w 12045155"/>
                <a:gd name="connsiteY31" fmla="*/ 105714 h 2365078"/>
                <a:gd name="connsiteX32" fmla="*/ 7049636 w 12045155"/>
                <a:gd name="connsiteY32" fmla="*/ 199189 h 2365078"/>
                <a:gd name="connsiteX33" fmla="*/ 6342549 w 12045155"/>
                <a:gd name="connsiteY33" fmla="*/ 146630 h 2365078"/>
                <a:gd name="connsiteX34" fmla="*/ 5902209 w 12045155"/>
                <a:gd name="connsiteY34" fmla="*/ 249658 h 2365078"/>
                <a:gd name="connsiteX35" fmla="*/ 5182195 w 12045155"/>
                <a:gd name="connsiteY35" fmla="*/ 292664 h 2365078"/>
                <a:gd name="connsiteX36" fmla="*/ 3822487 w 12045155"/>
                <a:gd name="connsiteY36" fmla="*/ 90799 h 2365078"/>
                <a:gd name="connsiteX37" fmla="*/ 2370177 w 12045155"/>
                <a:gd name="connsiteY37" fmla="*/ 156695 h 2365078"/>
                <a:gd name="connsiteX38" fmla="*/ 578745 w 12045155"/>
                <a:gd name="connsiteY38" fmla="*/ 148189 h 2365078"/>
                <a:gd name="connsiteX39" fmla="*/ 38923 w 12045155"/>
                <a:gd name="connsiteY39" fmla="*/ 157240 h 2365078"/>
                <a:gd name="connsiteX0" fmla="*/ 38923 w 12045155"/>
                <a:gd name="connsiteY0" fmla="*/ 157240 h 2365078"/>
                <a:gd name="connsiteX1" fmla="*/ 4765 w 12045155"/>
                <a:gd name="connsiteY1" fmla="*/ 229969 h 2365078"/>
                <a:gd name="connsiteX2" fmla="*/ 16985 w 12045155"/>
                <a:gd name="connsiteY2" fmla="*/ 441204 h 2365078"/>
                <a:gd name="connsiteX3" fmla="*/ 31647 w 12045155"/>
                <a:gd name="connsiteY3" fmla="*/ 700450 h 2365078"/>
                <a:gd name="connsiteX4" fmla="*/ 43864 w 12045155"/>
                <a:gd name="connsiteY4" fmla="*/ 777266 h 2365078"/>
                <a:gd name="connsiteX5" fmla="*/ 80207 w 12045155"/>
                <a:gd name="connsiteY5" fmla="*/ 937416 h 2365078"/>
                <a:gd name="connsiteX6" fmla="*/ 937008 w 12045155"/>
                <a:gd name="connsiteY6" fmla="*/ 844973 h 2365078"/>
                <a:gd name="connsiteX7" fmla="*/ 1631867 w 12045155"/>
                <a:gd name="connsiteY7" fmla="*/ 878961 h 2365078"/>
                <a:gd name="connsiteX8" fmla="*/ 2087877 w 12045155"/>
                <a:gd name="connsiteY8" fmla="*/ 819473 h 2365078"/>
                <a:gd name="connsiteX9" fmla="*/ 2565599 w 12045155"/>
                <a:gd name="connsiteY9" fmla="*/ 819473 h 2365078"/>
                <a:gd name="connsiteX10" fmla="*/ 3336468 w 12045155"/>
                <a:gd name="connsiteY10" fmla="*/ 861967 h 2365078"/>
                <a:gd name="connsiteX11" fmla="*/ 4215904 w 12045155"/>
                <a:gd name="connsiteY11" fmla="*/ 844973 h 2365078"/>
                <a:gd name="connsiteX12" fmla="*/ 4845622 w 12045155"/>
                <a:gd name="connsiteY12" fmla="*/ 853479 h 2365078"/>
                <a:gd name="connsiteX13" fmla="*/ 5681632 w 12045155"/>
                <a:gd name="connsiteY13" fmla="*/ 853479 h 2365078"/>
                <a:gd name="connsiteX14" fmla="*/ 6745645 w 12045155"/>
                <a:gd name="connsiteY14" fmla="*/ 878979 h 2365078"/>
                <a:gd name="connsiteX15" fmla="*/ 7494800 w 12045155"/>
                <a:gd name="connsiteY15" fmla="*/ 870473 h 2365078"/>
                <a:gd name="connsiteX16" fmla="*/ 8026795 w 12045155"/>
                <a:gd name="connsiteY16" fmla="*/ 861967 h 2365078"/>
                <a:gd name="connsiteX17" fmla="*/ 8504518 w 12045155"/>
                <a:gd name="connsiteY17" fmla="*/ 827979 h 2365078"/>
                <a:gd name="connsiteX18" fmla="*/ 9361101 w 12045155"/>
                <a:gd name="connsiteY18" fmla="*/ 2018757 h 2365078"/>
                <a:gd name="connsiteX19" fmla="*/ 10249513 w 12045155"/>
                <a:gd name="connsiteY19" fmla="*/ 2364507 h 2365078"/>
                <a:gd name="connsiteX20" fmla="*/ 11123596 w 12045155"/>
                <a:gd name="connsiteY20" fmla="*/ 1964167 h 2365078"/>
                <a:gd name="connsiteX21" fmla="*/ 11266888 w 12045155"/>
                <a:gd name="connsiteY21" fmla="*/ 1582018 h 2365078"/>
                <a:gd name="connsiteX22" fmla="*/ 11797069 w 12045155"/>
                <a:gd name="connsiteY22" fmla="*/ 999707 h 2365078"/>
                <a:gd name="connsiteX23" fmla="*/ 12045155 w 12045155"/>
                <a:gd name="connsiteY23" fmla="*/ 699393 h 2365078"/>
                <a:gd name="connsiteX24" fmla="*/ 12045155 w 12045155"/>
                <a:gd name="connsiteY24" fmla="*/ 261011 h 2365078"/>
                <a:gd name="connsiteX25" fmla="*/ 11438839 w 12045155"/>
                <a:gd name="connsiteY25" fmla="*/ 435586 h 2365078"/>
                <a:gd name="connsiteX26" fmla="*/ 11059114 w 12045155"/>
                <a:gd name="connsiteY26" fmla="*/ 1047471 h 2365078"/>
                <a:gd name="connsiteX27" fmla="*/ 10602369 w 12045155"/>
                <a:gd name="connsiteY27" fmla="*/ 1661632 h 2365078"/>
                <a:gd name="connsiteX28" fmla="*/ 10034574 w 12045155"/>
                <a:gd name="connsiteY28" fmla="*/ 1618415 h 2365078"/>
                <a:gd name="connsiteX29" fmla="*/ 9527677 w 12045155"/>
                <a:gd name="connsiteY29" fmla="*/ 1058846 h 2365078"/>
                <a:gd name="connsiteX30" fmla="*/ 9053022 w 12045155"/>
                <a:gd name="connsiteY30" fmla="*/ 581165 h 2365078"/>
                <a:gd name="connsiteX31" fmla="*/ 8450223 w 12045155"/>
                <a:gd name="connsiteY31" fmla="*/ 156695 h 2365078"/>
                <a:gd name="connsiteX32" fmla="*/ 7635927 w 12045155"/>
                <a:gd name="connsiteY32" fmla="*/ 105714 h 2365078"/>
                <a:gd name="connsiteX33" fmla="*/ 7049636 w 12045155"/>
                <a:gd name="connsiteY33" fmla="*/ 199189 h 2365078"/>
                <a:gd name="connsiteX34" fmla="*/ 6342549 w 12045155"/>
                <a:gd name="connsiteY34" fmla="*/ 146630 h 2365078"/>
                <a:gd name="connsiteX35" fmla="*/ 5902209 w 12045155"/>
                <a:gd name="connsiteY35" fmla="*/ 249658 h 2365078"/>
                <a:gd name="connsiteX36" fmla="*/ 5182195 w 12045155"/>
                <a:gd name="connsiteY36" fmla="*/ 292664 h 2365078"/>
                <a:gd name="connsiteX37" fmla="*/ 3822487 w 12045155"/>
                <a:gd name="connsiteY37" fmla="*/ 90799 h 2365078"/>
                <a:gd name="connsiteX38" fmla="*/ 2370177 w 12045155"/>
                <a:gd name="connsiteY38" fmla="*/ 156695 h 2365078"/>
                <a:gd name="connsiteX39" fmla="*/ 578745 w 12045155"/>
                <a:gd name="connsiteY39" fmla="*/ 148189 h 2365078"/>
                <a:gd name="connsiteX40" fmla="*/ 38923 w 12045155"/>
                <a:gd name="connsiteY40" fmla="*/ 157240 h 2365078"/>
                <a:gd name="connsiteX0" fmla="*/ 38923 w 12045155"/>
                <a:gd name="connsiteY0" fmla="*/ 157240 h 2365078"/>
                <a:gd name="connsiteX1" fmla="*/ 4765 w 12045155"/>
                <a:gd name="connsiteY1" fmla="*/ 229969 h 2365078"/>
                <a:gd name="connsiteX2" fmla="*/ 16985 w 12045155"/>
                <a:gd name="connsiteY2" fmla="*/ 441204 h 2365078"/>
                <a:gd name="connsiteX3" fmla="*/ 31647 w 12045155"/>
                <a:gd name="connsiteY3" fmla="*/ 700450 h 2365078"/>
                <a:gd name="connsiteX4" fmla="*/ 43864 w 12045155"/>
                <a:gd name="connsiteY4" fmla="*/ 777266 h 2365078"/>
                <a:gd name="connsiteX5" fmla="*/ 80207 w 12045155"/>
                <a:gd name="connsiteY5" fmla="*/ 937416 h 2365078"/>
                <a:gd name="connsiteX6" fmla="*/ 937008 w 12045155"/>
                <a:gd name="connsiteY6" fmla="*/ 844973 h 2365078"/>
                <a:gd name="connsiteX7" fmla="*/ 1631867 w 12045155"/>
                <a:gd name="connsiteY7" fmla="*/ 878961 h 2365078"/>
                <a:gd name="connsiteX8" fmla="*/ 2087877 w 12045155"/>
                <a:gd name="connsiteY8" fmla="*/ 819473 h 2365078"/>
                <a:gd name="connsiteX9" fmla="*/ 2565599 w 12045155"/>
                <a:gd name="connsiteY9" fmla="*/ 819473 h 2365078"/>
                <a:gd name="connsiteX10" fmla="*/ 3336468 w 12045155"/>
                <a:gd name="connsiteY10" fmla="*/ 861967 h 2365078"/>
                <a:gd name="connsiteX11" fmla="*/ 4215904 w 12045155"/>
                <a:gd name="connsiteY11" fmla="*/ 844973 h 2365078"/>
                <a:gd name="connsiteX12" fmla="*/ 4845622 w 12045155"/>
                <a:gd name="connsiteY12" fmla="*/ 853479 h 2365078"/>
                <a:gd name="connsiteX13" fmla="*/ 5681632 w 12045155"/>
                <a:gd name="connsiteY13" fmla="*/ 853479 h 2365078"/>
                <a:gd name="connsiteX14" fmla="*/ 6745645 w 12045155"/>
                <a:gd name="connsiteY14" fmla="*/ 878979 h 2365078"/>
                <a:gd name="connsiteX15" fmla="*/ 7494800 w 12045155"/>
                <a:gd name="connsiteY15" fmla="*/ 870473 h 2365078"/>
                <a:gd name="connsiteX16" fmla="*/ 8026795 w 12045155"/>
                <a:gd name="connsiteY16" fmla="*/ 861967 h 2365078"/>
                <a:gd name="connsiteX17" fmla="*/ 8504518 w 12045155"/>
                <a:gd name="connsiteY17" fmla="*/ 827979 h 2365078"/>
                <a:gd name="connsiteX18" fmla="*/ 9361101 w 12045155"/>
                <a:gd name="connsiteY18" fmla="*/ 2018757 h 2365078"/>
                <a:gd name="connsiteX19" fmla="*/ 10249513 w 12045155"/>
                <a:gd name="connsiteY19" fmla="*/ 2364507 h 2365078"/>
                <a:gd name="connsiteX20" fmla="*/ 11123596 w 12045155"/>
                <a:gd name="connsiteY20" fmla="*/ 1964167 h 2365078"/>
                <a:gd name="connsiteX21" fmla="*/ 11309876 w 12045155"/>
                <a:gd name="connsiteY21" fmla="*/ 1618413 h 2365078"/>
                <a:gd name="connsiteX22" fmla="*/ 11797069 w 12045155"/>
                <a:gd name="connsiteY22" fmla="*/ 999707 h 2365078"/>
                <a:gd name="connsiteX23" fmla="*/ 12045155 w 12045155"/>
                <a:gd name="connsiteY23" fmla="*/ 699393 h 2365078"/>
                <a:gd name="connsiteX24" fmla="*/ 12045155 w 12045155"/>
                <a:gd name="connsiteY24" fmla="*/ 261011 h 2365078"/>
                <a:gd name="connsiteX25" fmla="*/ 11438839 w 12045155"/>
                <a:gd name="connsiteY25" fmla="*/ 435586 h 2365078"/>
                <a:gd name="connsiteX26" fmla="*/ 11059114 w 12045155"/>
                <a:gd name="connsiteY26" fmla="*/ 1047471 h 2365078"/>
                <a:gd name="connsiteX27" fmla="*/ 10602369 w 12045155"/>
                <a:gd name="connsiteY27" fmla="*/ 1661632 h 2365078"/>
                <a:gd name="connsiteX28" fmla="*/ 10034574 w 12045155"/>
                <a:gd name="connsiteY28" fmla="*/ 1618415 h 2365078"/>
                <a:gd name="connsiteX29" fmla="*/ 9527677 w 12045155"/>
                <a:gd name="connsiteY29" fmla="*/ 1058846 h 2365078"/>
                <a:gd name="connsiteX30" fmla="*/ 9053022 w 12045155"/>
                <a:gd name="connsiteY30" fmla="*/ 581165 h 2365078"/>
                <a:gd name="connsiteX31" fmla="*/ 8450223 w 12045155"/>
                <a:gd name="connsiteY31" fmla="*/ 156695 h 2365078"/>
                <a:gd name="connsiteX32" fmla="*/ 7635927 w 12045155"/>
                <a:gd name="connsiteY32" fmla="*/ 105714 h 2365078"/>
                <a:gd name="connsiteX33" fmla="*/ 7049636 w 12045155"/>
                <a:gd name="connsiteY33" fmla="*/ 199189 h 2365078"/>
                <a:gd name="connsiteX34" fmla="*/ 6342549 w 12045155"/>
                <a:gd name="connsiteY34" fmla="*/ 146630 h 2365078"/>
                <a:gd name="connsiteX35" fmla="*/ 5902209 w 12045155"/>
                <a:gd name="connsiteY35" fmla="*/ 249658 h 2365078"/>
                <a:gd name="connsiteX36" fmla="*/ 5182195 w 12045155"/>
                <a:gd name="connsiteY36" fmla="*/ 292664 h 2365078"/>
                <a:gd name="connsiteX37" fmla="*/ 3822487 w 12045155"/>
                <a:gd name="connsiteY37" fmla="*/ 90799 h 2365078"/>
                <a:gd name="connsiteX38" fmla="*/ 2370177 w 12045155"/>
                <a:gd name="connsiteY38" fmla="*/ 156695 h 2365078"/>
                <a:gd name="connsiteX39" fmla="*/ 578745 w 12045155"/>
                <a:gd name="connsiteY39" fmla="*/ 148189 h 2365078"/>
                <a:gd name="connsiteX40" fmla="*/ 38923 w 12045155"/>
                <a:gd name="connsiteY40" fmla="*/ 157240 h 2365078"/>
                <a:gd name="connsiteX0" fmla="*/ 38923 w 12045155"/>
                <a:gd name="connsiteY0" fmla="*/ 157240 h 2365066"/>
                <a:gd name="connsiteX1" fmla="*/ 4765 w 12045155"/>
                <a:gd name="connsiteY1" fmla="*/ 229969 h 2365066"/>
                <a:gd name="connsiteX2" fmla="*/ 16985 w 12045155"/>
                <a:gd name="connsiteY2" fmla="*/ 441204 h 2365066"/>
                <a:gd name="connsiteX3" fmla="*/ 31647 w 12045155"/>
                <a:gd name="connsiteY3" fmla="*/ 700450 h 2365066"/>
                <a:gd name="connsiteX4" fmla="*/ 43864 w 12045155"/>
                <a:gd name="connsiteY4" fmla="*/ 777266 h 2365066"/>
                <a:gd name="connsiteX5" fmla="*/ 80207 w 12045155"/>
                <a:gd name="connsiteY5" fmla="*/ 937416 h 2365066"/>
                <a:gd name="connsiteX6" fmla="*/ 937008 w 12045155"/>
                <a:gd name="connsiteY6" fmla="*/ 844973 h 2365066"/>
                <a:gd name="connsiteX7" fmla="*/ 1631867 w 12045155"/>
                <a:gd name="connsiteY7" fmla="*/ 878961 h 2365066"/>
                <a:gd name="connsiteX8" fmla="*/ 2087877 w 12045155"/>
                <a:gd name="connsiteY8" fmla="*/ 819473 h 2365066"/>
                <a:gd name="connsiteX9" fmla="*/ 2565599 w 12045155"/>
                <a:gd name="connsiteY9" fmla="*/ 819473 h 2365066"/>
                <a:gd name="connsiteX10" fmla="*/ 3336468 w 12045155"/>
                <a:gd name="connsiteY10" fmla="*/ 861967 h 2365066"/>
                <a:gd name="connsiteX11" fmla="*/ 4215904 w 12045155"/>
                <a:gd name="connsiteY11" fmla="*/ 844973 h 2365066"/>
                <a:gd name="connsiteX12" fmla="*/ 4845622 w 12045155"/>
                <a:gd name="connsiteY12" fmla="*/ 853479 h 2365066"/>
                <a:gd name="connsiteX13" fmla="*/ 5681632 w 12045155"/>
                <a:gd name="connsiteY13" fmla="*/ 853479 h 2365066"/>
                <a:gd name="connsiteX14" fmla="*/ 6745645 w 12045155"/>
                <a:gd name="connsiteY14" fmla="*/ 878979 h 2365066"/>
                <a:gd name="connsiteX15" fmla="*/ 7494800 w 12045155"/>
                <a:gd name="connsiteY15" fmla="*/ 870473 h 2365066"/>
                <a:gd name="connsiteX16" fmla="*/ 8026795 w 12045155"/>
                <a:gd name="connsiteY16" fmla="*/ 861967 h 2365066"/>
                <a:gd name="connsiteX17" fmla="*/ 8504518 w 12045155"/>
                <a:gd name="connsiteY17" fmla="*/ 827979 h 2365066"/>
                <a:gd name="connsiteX18" fmla="*/ 9361101 w 12045155"/>
                <a:gd name="connsiteY18" fmla="*/ 2018757 h 2365066"/>
                <a:gd name="connsiteX19" fmla="*/ 10249513 w 12045155"/>
                <a:gd name="connsiteY19" fmla="*/ 2364507 h 2365066"/>
                <a:gd name="connsiteX20" fmla="*/ 11195242 w 12045155"/>
                <a:gd name="connsiteY20" fmla="*/ 2091549 h 2365066"/>
                <a:gd name="connsiteX21" fmla="*/ 11309876 w 12045155"/>
                <a:gd name="connsiteY21" fmla="*/ 1618413 h 2365066"/>
                <a:gd name="connsiteX22" fmla="*/ 11797069 w 12045155"/>
                <a:gd name="connsiteY22" fmla="*/ 999707 h 2365066"/>
                <a:gd name="connsiteX23" fmla="*/ 12045155 w 12045155"/>
                <a:gd name="connsiteY23" fmla="*/ 699393 h 2365066"/>
                <a:gd name="connsiteX24" fmla="*/ 12045155 w 12045155"/>
                <a:gd name="connsiteY24" fmla="*/ 261011 h 2365066"/>
                <a:gd name="connsiteX25" fmla="*/ 11438839 w 12045155"/>
                <a:gd name="connsiteY25" fmla="*/ 435586 h 2365066"/>
                <a:gd name="connsiteX26" fmla="*/ 11059114 w 12045155"/>
                <a:gd name="connsiteY26" fmla="*/ 1047471 h 2365066"/>
                <a:gd name="connsiteX27" fmla="*/ 10602369 w 12045155"/>
                <a:gd name="connsiteY27" fmla="*/ 1661632 h 2365066"/>
                <a:gd name="connsiteX28" fmla="*/ 10034574 w 12045155"/>
                <a:gd name="connsiteY28" fmla="*/ 1618415 h 2365066"/>
                <a:gd name="connsiteX29" fmla="*/ 9527677 w 12045155"/>
                <a:gd name="connsiteY29" fmla="*/ 1058846 h 2365066"/>
                <a:gd name="connsiteX30" fmla="*/ 9053022 w 12045155"/>
                <a:gd name="connsiteY30" fmla="*/ 581165 h 2365066"/>
                <a:gd name="connsiteX31" fmla="*/ 8450223 w 12045155"/>
                <a:gd name="connsiteY31" fmla="*/ 156695 h 2365066"/>
                <a:gd name="connsiteX32" fmla="*/ 7635927 w 12045155"/>
                <a:gd name="connsiteY32" fmla="*/ 105714 h 2365066"/>
                <a:gd name="connsiteX33" fmla="*/ 7049636 w 12045155"/>
                <a:gd name="connsiteY33" fmla="*/ 199189 h 2365066"/>
                <a:gd name="connsiteX34" fmla="*/ 6342549 w 12045155"/>
                <a:gd name="connsiteY34" fmla="*/ 146630 h 2365066"/>
                <a:gd name="connsiteX35" fmla="*/ 5902209 w 12045155"/>
                <a:gd name="connsiteY35" fmla="*/ 249658 h 2365066"/>
                <a:gd name="connsiteX36" fmla="*/ 5182195 w 12045155"/>
                <a:gd name="connsiteY36" fmla="*/ 292664 h 2365066"/>
                <a:gd name="connsiteX37" fmla="*/ 3822487 w 12045155"/>
                <a:gd name="connsiteY37" fmla="*/ 90799 h 2365066"/>
                <a:gd name="connsiteX38" fmla="*/ 2370177 w 12045155"/>
                <a:gd name="connsiteY38" fmla="*/ 156695 h 2365066"/>
                <a:gd name="connsiteX39" fmla="*/ 578745 w 12045155"/>
                <a:gd name="connsiteY39" fmla="*/ 148189 h 2365066"/>
                <a:gd name="connsiteX40" fmla="*/ 38923 w 12045155"/>
                <a:gd name="connsiteY40" fmla="*/ 157240 h 2365066"/>
                <a:gd name="connsiteX0" fmla="*/ 38923 w 12045155"/>
                <a:gd name="connsiteY0" fmla="*/ 157240 h 2510409"/>
                <a:gd name="connsiteX1" fmla="*/ 4765 w 12045155"/>
                <a:gd name="connsiteY1" fmla="*/ 229969 h 2510409"/>
                <a:gd name="connsiteX2" fmla="*/ 16985 w 12045155"/>
                <a:gd name="connsiteY2" fmla="*/ 441204 h 2510409"/>
                <a:gd name="connsiteX3" fmla="*/ 31647 w 12045155"/>
                <a:gd name="connsiteY3" fmla="*/ 700450 h 2510409"/>
                <a:gd name="connsiteX4" fmla="*/ 43864 w 12045155"/>
                <a:gd name="connsiteY4" fmla="*/ 777266 h 2510409"/>
                <a:gd name="connsiteX5" fmla="*/ 80207 w 12045155"/>
                <a:gd name="connsiteY5" fmla="*/ 937416 h 2510409"/>
                <a:gd name="connsiteX6" fmla="*/ 937008 w 12045155"/>
                <a:gd name="connsiteY6" fmla="*/ 844973 h 2510409"/>
                <a:gd name="connsiteX7" fmla="*/ 1631867 w 12045155"/>
                <a:gd name="connsiteY7" fmla="*/ 878961 h 2510409"/>
                <a:gd name="connsiteX8" fmla="*/ 2087877 w 12045155"/>
                <a:gd name="connsiteY8" fmla="*/ 819473 h 2510409"/>
                <a:gd name="connsiteX9" fmla="*/ 2565599 w 12045155"/>
                <a:gd name="connsiteY9" fmla="*/ 819473 h 2510409"/>
                <a:gd name="connsiteX10" fmla="*/ 3336468 w 12045155"/>
                <a:gd name="connsiteY10" fmla="*/ 861967 h 2510409"/>
                <a:gd name="connsiteX11" fmla="*/ 4215904 w 12045155"/>
                <a:gd name="connsiteY11" fmla="*/ 844973 h 2510409"/>
                <a:gd name="connsiteX12" fmla="*/ 4845622 w 12045155"/>
                <a:gd name="connsiteY12" fmla="*/ 853479 h 2510409"/>
                <a:gd name="connsiteX13" fmla="*/ 5681632 w 12045155"/>
                <a:gd name="connsiteY13" fmla="*/ 853479 h 2510409"/>
                <a:gd name="connsiteX14" fmla="*/ 6745645 w 12045155"/>
                <a:gd name="connsiteY14" fmla="*/ 878979 h 2510409"/>
                <a:gd name="connsiteX15" fmla="*/ 7494800 w 12045155"/>
                <a:gd name="connsiteY15" fmla="*/ 870473 h 2510409"/>
                <a:gd name="connsiteX16" fmla="*/ 8026795 w 12045155"/>
                <a:gd name="connsiteY16" fmla="*/ 861967 h 2510409"/>
                <a:gd name="connsiteX17" fmla="*/ 8504518 w 12045155"/>
                <a:gd name="connsiteY17" fmla="*/ 827979 h 2510409"/>
                <a:gd name="connsiteX18" fmla="*/ 9361101 w 12045155"/>
                <a:gd name="connsiteY18" fmla="*/ 2018757 h 2510409"/>
                <a:gd name="connsiteX19" fmla="*/ 10149208 w 12045155"/>
                <a:gd name="connsiteY19" fmla="*/ 2510086 h 2510409"/>
                <a:gd name="connsiteX20" fmla="*/ 11195242 w 12045155"/>
                <a:gd name="connsiteY20" fmla="*/ 2091549 h 2510409"/>
                <a:gd name="connsiteX21" fmla="*/ 11309876 w 12045155"/>
                <a:gd name="connsiteY21" fmla="*/ 1618413 h 2510409"/>
                <a:gd name="connsiteX22" fmla="*/ 11797069 w 12045155"/>
                <a:gd name="connsiteY22" fmla="*/ 999707 h 2510409"/>
                <a:gd name="connsiteX23" fmla="*/ 12045155 w 12045155"/>
                <a:gd name="connsiteY23" fmla="*/ 699393 h 2510409"/>
                <a:gd name="connsiteX24" fmla="*/ 12045155 w 12045155"/>
                <a:gd name="connsiteY24" fmla="*/ 261011 h 2510409"/>
                <a:gd name="connsiteX25" fmla="*/ 11438839 w 12045155"/>
                <a:gd name="connsiteY25" fmla="*/ 435586 h 2510409"/>
                <a:gd name="connsiteX26" fmla="*/ 11059114 w 12045155"/>
                <a:gd name="connsiteY26" fmla="*/ 1047471 h 2510409"/>
                <a:gd name="connsiteX27" fmla="*/ 10602369 w 12045155"/>
                <a:gd name="connsiteY27" fmla="*/ 1661632 h 2510409"/>
                <a:gd name="connsiteX28" fmla="*/ 10034574 w 12045155"/>
                <a:gd name="connsiteY28" fmla="*/ 1618415 h 2510409"/>
                <a:gd name="connsiteX29" fmla="*/ 9527677 w 12045155"/>
                <a:gd name="connsiteY29" fmla="*/ 1058846 h 2510409"/>
                <a:gd name="connsiteX30" fmla="*/ 9053022 w 12045155"/>
                <a:gd name="connsiteY30" fmla="*/ 581165 h 2510409"/>
                <a:gd name="connsiteX31" fmla="*/ 8450223 w 12045155"/>
                <a:gd name="connsiteY31" fmla="*/ 156695 h 2510409"/>
                <a:gd name="connsiteX32" fmla="*/ 7635927 w 12045155"/>
                <a:gd name="connsiteY32" fmla="*/ 105714 h 2510409"/>
                <a:gd name="connsiteX33" fmla="*/ 7049636 w 12045155"/>
                <a:gd name="connsiteY33" fmla="*/ 199189 h 2510409"/>
                <a:gd name="connsiteX34" fmla="*/ 6342549 w 12045155"/>
                <a:gd name="connsiteY34" fmla="*/ 146630 h 2510409"/>
                <a:gd name="connsiteX35" fmla="*/ 5902209 w 12045155"/>
                <a:gd name="connsiteY35" fmla="*/ 249658 h 2510409"/>
                <a:gd name="connsiteX36" fmla="*/ 5182195 w 12045155"/>
                <a:gd name="connsiteY36" fmla="*/ 292664 h 2510409"/>
                <a:gd name="connsiteX37" fmla="*/ 3822487 w 12045155"/>
                <a:gd name="connsiteY37" fmla="*/ 90799 h 2510409"/>
                <a:gd name="connsiteX38" fmla="*/ 2370177 w 12045155"/>
                <a:gd name="connsiteY38" fmla="*/ 156695 h 2510409"/>
                <a:gd name="connsiteX39" fmla="*/ 578745 w 12045155"/>
                <a:gd name="connsiteY39" fmla="*/ 148189 h 2510409"/>
                <a:gd name="connsiteX40" fmla="*/ 38923 w 12045155"/>
                <a:gd name="connsiteY40" fmla="*/ 157240 h 2510409"/>
                <a:gd name="connsiteX0" fmla="*/ 38923 w 12045155"/>
                <a:gd name="connsiteY0" fmla="*/ 157240 h 2510087"/>
                <a:gd name="connsiteX1" fmla="*/ 4765 w 12045155"/>
                <a:gd name="connsiteY1" fmla="*/ 229969 h 2510087"/>
                <a:gd name="connsiteX2" fmla="*/ 16985 w 12045155"/>
                <a:gd name="connsiteY2" fmla="*/ 441204 h 2510087"/>
                <a:gd name="connsiteX3" fmla="*/ 31647 w 12045155"/>
                <a:gd name="connsiteY3" fmla="*/ 700450 h 2510087"/>
                <a:gd name="connsiteX4" fmla="*/ 43864 w 12045155"/>
                <a:gd name="connsiteY4" fmla="*/ 777266 h 2510087"/>
                <a:gd name="connsiteX5" fmla="*/ 80207 w 12045155"/>
                <a:gd name="connsiteY5" fmla="*/ 937416 h 2510087"/>
                <a:gd name="connsiteX6" fmla="*/ 937008 w 12045155"/>
                <a:gd name="connsiteY6" fmla="*/ 844973 h 2510087"/>
                <a:gd name="connsiteX7" fmla="*/ 1631867 w 12045155"/>
                <a:gd name="connsiteY7" fmla="*/ 878961 h 2510087"/>
                <a:gd name="connsiteX8" fmla="*/ 2087877 w 12045155"/>
                <a:gd name="connsiteY8" fmla="*/ 819473 h 2510087"/>
                <a:gd name="connsiteX9" fmla="*/ 2565599 w 12045155"/>
                <a:gd name="connsiteY9" fmla="*/ 819473 h 2510087"/>
                <a:gd name="connsiteX10" fmla="*/ 3336468 w 12045155"/>
                <a:gd name="connsiteY10" fmla="*/ 861967 h 2510087"/>
                <a:gd name="connsiteX11" fmla="*/ 4215904 w 12045155"/>
                <a:gd name="connsiteY11" fmla="*/ 844973 h 2510087"/>
                <a:gd name="connsiteX12" fmla="*/ 4845622 w 12045155"/>
                <a:gd name="connsiteY12" fmla="*/ 853479 h 2510087"/>
                <a:gd name="connsiteX13" fmla="*/ 5681632 w 12045155"/>
                <a:gd name="connsiteY13" fmla="*/ 853479 h 2510087"/>
                <a:gd name="connsiteX14" fmla="*/ 6745645 w 12045155"/>
                <a:gd name="connsiteY14" fmla="*/ 878979 h 2510087"/>
                <a:gd name="connsiteX15" fmla="*/ 7494800 w 12045155"/>
                <a:gd name="connsiteY15" fmla="*/ 870473 h 2510087"/>
                <a:gd name="connsiteX16" fmla="*/ 8026795 w 12045155"/>
                <a:gd name="connsiteY16" fmla="*/ 861967 h 2510087"/>
                <a:gd name="connsiteX17" fmla="*/ 8504518 w 12045155"/>
                <a:gd name="connsiteY17" fmla="*/ 827979 h 2510087"/>
                <a:gd name="connsiteX18" fmla="*/ 9217808 w 12045155"/>
                <a:gd name="connsiteY18" fmla="*/ 2091547 h 2510087"/>
                <a:gd name="connsiteX19" fmla="*/ 10149208 w 12045155"/>
                <a:gd name="connsiteY19" fmla="*/ 2510086 h 2510087"/>
                <a:gd name="connsiteX20" fmla="*/ 11195242 w 12045155"/>
                <a:gd name="connsiteY20" fmla="*/ 2091549 h 2510087"/>
                <a:gd name="connsiteX21" fmla="*/ 11309876 w 12045155"/>
                <a:gd name="connsiteY21" fmla="*/ 1618413 h 2510087"/>
                <a:gd name="connsiteX22" fmla="*/ 11797069 w 12045155"/>
                <a:gd name="connsiteY22" fmla="*/ 999707 h 2510087"/>
                <a:gd name="connsiteX23" fmla="*/ 12045155 w 12045155"/>
                <a:gd name="connsiteY23" fmla="*/ 699393 h 2510087"/>
                <a:gd name="connsiteX24" fmla="*/ 12045155 w 12045155"/>
                <a:gd name="connsiteY24" fmla="*/ 261011 h 2510087"/>
                <a:gd name="connsiteX25" fmla="*/ 11438839 w 12045155"/>
                <a:gd name="connsiteY25" fmla="*/ 435586 h 2510087"/>
                <a:gd name="connsiteX26" fmla="*/ 11059114 w 12045155"/>
                <a:gd name="connsiteY26" fmla="*/ 1047471 h 2510087"/>
                <a:gd name="connsiteX27" fmla="*/ 10602369 w 12045155"/>
                <a:gd name="connsiteY27" fmla="*/ 1661632 h 2510087"/>
                <a:gd name="connsiteX28" fmla="*/ 10034574 w 12045155"/>
                <a:gd name="connsiteY28" fmla="*/ 1618415 h 2510087"/>
                <a:gd name="connsiteX29" fmla="*/ 9527677 w 12045155"/>
                <a:gd name="connsiteY29" fmla="*/ 1058846 h 2510087"/>
                <a:gd name="connsiteX30" fmla="*/ 9053022 w 12045155"/>
                <a:gd name="connsiteY30" fmla="*/ 581165 h 2510087"/>
                <a:gd name="connsiteX31" fmla="*/ 8450223 w 12045155"/>
                <a:gd name="connsiteY31" fmla="*/ 156695 h 2510087"/>
                <a:gd name="connsiteX32" fmla="*/ 7635927 w 12045155"/>
                <a:gd name="connsiteY32" fmla="*/ 105714 h 2510087"/>
                <a:gd name="connsiteX33" fmla="*/ 7049636 w 12045155"/>
                <a:gd name="connsiteY33" fmla="*/ 199189 h 2510087"/>
                <a:gd name="connsiteX34" fmla="*/ 6342549 w 12045155"/>
                <a:gd name="connsiteY34" fmla="*/ 146630 h 2510087"/>
                <a:gd name="connsiteX35" fmla="*/ 5902209 w 12045155"/>
                <a:gd name="connsiteY35" fmla="*/ 249658 h 2510087"/>
                <a:gd name="connsiteX36" fmla="*/ 5182195 w 12045155"/>
                <a:gd name="connsiteY36" fmla="*/ 292664 h 2510087"/>
                <a:gd name="connsiteX37" fmla="*/ 3822487 w 12045155"/>
                <a:gd name="connsiteY37" fmla="*/ 90799 h 2510087"/>
                <a:gd name="connsiteX38" fmla="*/ 2370177 w 12045155"/>
                <a:gd name="connsiteY38" fmla="*/ 156695 h 2510087"/>
                <a:gd name="connsiteX39" fmla="*/ 578745 w 12045155"/>
                <a:gd name="connsiteY39" fmla="*/ 148189 h 2510087"/>
                <a:gd name="connsiteX40" fmla="*/ 38923 w 12045155"/>
                <a:gd name="connsiteY40" fmla="*/ 157240 h 2510087"/>
                <a:gd name="connsiteX0" fmla="*/ 38923 w 12045155"/>
                <a:gd name="connsiteY0" fmla="*/ 157240 h 2510087"/>
                <a:gd name="connsiteX1" fmla="*/ 4765 w 12045155"/>
                <a:gd name="connsiteY1" fmla="*/ 229969 h 2510087"/>
                <a:gd name="connsiteX2" fmla="*/ 16985 w 12045155"/>
                <a:gd name="connsiteY2" fmla="*/ 441204 h 2510087"/>
                <a:gd name="connsiteX3" fmla="*/ 31647 w 12045155"/>
                <a:gd name="connsiteY3" fmla="*/ 700450 h 2510087"/>
                <a:gd name="connsiteX4" fmla="*/ 43864 w 12045155"/>
                <a:gd name="connsiteY4" fmla="*/ 777266 h 2510087"/>
                <a:gd name="connsiteX5" fmla="*/ 80207 w 12045155"/>
                <a:gd name="connsiteY5" fmla="*/ 937416 h 2510087"/>
                <a:gd name="connsiteX6" fmla="*/ 937008 w 12045155"/>
                <a:gd name="connsiteY6" fmla="*/ 844973 h 2510087"/>
                <a:gd name="connsiteX7" fmla="*/ 1631867 w 12045155"/>
                <a:gd name="connsiteY7" fmla="*/ 878961 h 2510087"/>
                <a:gd name="connsiteX8" fmla="*/ 2087877 w 12045155"/>
                <a:gd name="connsiteY8" fmla="*/ 819473 h 2510087"/>
                <a:gd name="connsiteX9" fmla="*/ 2565599 w 12045155"/>
                <a:gd name="connsiteY9" fmla="*/ 819473 h 2510087"/>
                <a:gd name="connsiteX10" fmla="*/ 3336468 w 12045155"/>
                <a:gd name="connsiteY10" fmla="*/ 861967 h 2510087"/>
                <a:gd name="connsiteX11" fmla="*/ 4215904 w 12045155"/>
                <a:gd name="connsiteY11" fmla="*/ 844973 h 2510087"/>
                <a:gd name="connsiteX12" fmla="*/ 4845622 w 12045155"/>
                <a:gd name="connsiteY12" fmla="*/ 853479 h 2510087"/>
                <a:gd name="connsiteX13" fmla="*/ 5681632 w 12045155"/>
                <a:gd name="connsiteY13" fmla="*/ 853479 h 2510087"/>
                <a:gd name="connsiteX14" fmla="*/ 6745645 w 12045155"/>
                <a:gd name="connsiteY14" fmla="*/ 878979 h 2510087"/>
                <a:gd name="connsiteX15" fmla="*/ 7494800 w 12045155"/>
                <a:gd name="connsiteY15" fmla="*/ 870473 h 2510087"/>
                <a:gd name="connsiteX16" fmla="*/ 8026795 w 12045155"/>
                <a:gd name="connsiteY16" fmla="*/ 861967 h 2510087"/>
                <a:gd name="connsiteX17" fmla="*/ 8504518 w 12045155"/>
                <a:gd name="connsiteY17" fmla="*/ 827979 h 2510087"/>
                <a:gd name="connsiteX18" fmla="*/ 9217808 w 12045155"/>
                <a:gd name="connsiteY18" fmla="*/ 2091547 h 2510087"/>
                <a:gd name="connsiteX19" fmla="*/ 10149208 w 12045155"/>
                <a:gd name="connsiteY19" fmla="*/ 2510086 h 2510087"/>
                <a:gd name="connsiteX20" fmla="*/ 11195242 w 12045155"/>
                <a:gd name="connsiteY20" fmla="*/ 2091549 h 2510087"/>
                <a:gd name="connsiteX21" fmla="*/ 11625119 w 12045155"/>
                <a:gd name="connsiteY21" fmla="*/ 1600216 h 2510087"/>
                <a:gd name="connsiteX22" fmla="*/ 11797069 w 12045155"/>
                <a:gd name="connsiteY22" fmla="*/ 999707 h 2510087"/>
                <a:gd name="connsiteX23" fmla="*/ 12045155 w 12045155"/>
                <a:gd name="connsiteY23" fmla="*/ 699393 h 2510087"/>
                <a:gd name="connsiteX24" fmla="*/ 12045155 w 12045155"/>
                <a:gd name="connsiteY24" fmla="*/ 261011 h 2510087"/>
                <a:gd name="connsiteX25" fmla="*/ 11438839 w 12045155"/>
                <a:gd name="connsiteY25" fmla="*/ 435586 h 2510087"/>
                <a:gd name="connsiteX26" fmla="*/ 11059114 w 12045155"/>
                <a:gd name="connsiteY26" fmla="*/ 1047471 h 2510087"/>
                <a:gd name="connsiteX27" fmla="*/ 10602369 w 12045155"/>
                <a:gd name="connsiteY27" fmla="*/ 1661632 h 2510087"/>
                <a:gd name="connsiteX28" fmla="*/ 10034574 w 12045155"/>
                <a:gd name="connsiteY28" fmla="*/ 1618415 h 2510087"/>
                <a:gd name="connsiteX29" fmla="*/ 9527677 w 12045155"/>
                <a:gd name="connsiteY29" fmla="*/ 1058846 h 2510087"/>
                <a:gd name="connsiteX30" fmla="*/ 9053022 w 12045155"/>
                <a:gd name="connsiteY30" fmla="*/ 581165 h 2510087"/>
                <a:gd name="connsiteX31" fmla="*/ 8450223 w 12045155"/>
                <a:gd name="connsiteY31" fmla="*/ 156695 h 2510087"/>
                <a:gd name="connsiteX32" fmla="*/ 7635927 w 12045155"/>
                <a:gd name="connsiteY32" fmla="*/ 105714 h 2510087"/>
                <a:gd name="connsiteX33" fmla="*/ 7049636 w 12045155"/>
                <a:gd name="connsiteY33" fmla="*/ 199189 h 2510087"/>
                <a:gd name="connsiteX34" fmla="*/ 6342549 w 12045155"/>
                <a:gd name="connsiteY34" fmla="*/ 146630 h 2510087"/>
                <a:gd name="connsiteX35" fmla="*/ 5902209 w 12045155"/>
                <a:gd name="connsiteY35" fmla="*/ 249658 h 2510087"/>
                <a:gd name="connsiteX36" fmla="*/ 5182195 w 12045155"/>
                <a:gd name="connsiteY36" fmla="*/ 292664 h 2510087"/>
                <a:gd name="connsiteX37" fmla="*/ 3822487 w 12045155"/>
                <a:gd name="connsiteY37" fmla="*/ 90799 h 2510087"/>
                <a:gd name="connsiteX38" fmla="*/ 2370177 w 12045155"/>
                <a:gd name="connsiteY38" fmla="*/ 156695 h 2510087"/>
                <a:gd name="connsiteX39" fmla="*/ 578745 w 12045155"/>
                <a:gd name="connsiteY39" fmla="*/ 148189 h 2510087"/>
                <a:gd name="connsiteX40" fmla="*/ 38923 w 12045155"/>
                <a:gd name="connsiteY40" fmla="*/ 157240 h 2510087"/>
                <a:gd name="connsiteX0" fmla="*/ 38923 w 12045155"/>
                <a:gd name="connsiteY0" fmla="*/ 157240 h 2510087"/>
                <a:gd name="connsiteX1" fmla="*/ 4765 w 12045155"/>
                <a:gd name="connsiteY1" fmla="*/ 229969 h 2510087"/>
                <a:gd name="connsiteX2" fmla="*/ 16985 w 12045155"/>
                <a:gd name="connsiteY2" fmla="*/ 441204 h 2510087"/>
                <a:gd name="connsiteX3" fmla="*/ 31647 w 12045155"/>
                <a:gd name="connsiteY3" fmla="*/ 700450 h 2510087"/>
                <a:gd name="connsiteX4" fmla="*/ 43864 w 12045155"/>
                <a:gd name="connsiteY4" fmla="*/ 777266 h 2510087"/>
                <a:gd name="connsiteX5" fmla="*/ 80207 w 12045155"/>
                <a:gd name="connsiteY5" fmla="*/ 937416 h 2510087"/>
                <a:gd name="connsiteX6" fmla="*/ 937008 w 12045155"/>
                <a:gd name="connsiteY6" fmla="*/ 844973 h 2510087"/>
                <a:gd name="connsiteX7" fmla="*/ 1631867 w 12045155"/>
                <a:gd name="connsiteY7" fmla="*/ 878961 h 2510087"/>
                <a:gd name="connsiteX8" fmla="*/ 2087877 w 12045155"/>
                <a:gd name="connsiteY8" fmla="*/ 819473 h 2510087"/>
                <a:gd name="connsiteX9" fmla="*/ 2565599 w 12045155"/>
                <a:gd name="connsiteY9" fmla="*/ 819473 h 2510087"/>
                <a:gd name="connsiteX10" fmla="*/ 3336468 w 12045155"/>
                <a:gd name="connsiteY10" fmla="*/ 861967 h 2510087"/>
                <a:gd name="connsiteX11" fmla="*/ 4215904 w 12045155"/>
                <a:gd name="connsiteY11" fmla="*/ 844973 h 2510087"/>
                <a:gd name="connsiteX12" fmla="*/ 4845622 w 12045155"/>
                <a:gd name="connsiteY12" fmla="*/ 853479 h 2510087"/>
                <a:gd name="connsiteX13" fmla="*/ 5681632 w 12045155"/>
                <a:gd name="connsiteY13" fmla="*/ 853479 h 2510087"/>
                <a:gd name="connsiteX14" fmla="*/ 6745645 w 12045155"/>
                <a:gd name="connsiteY14" fmla="*/ 878979 h 2510087"/>
                <a:gd name="connsiteX15" fmla="*/ 7494800 w 12045155"/>
                <a:gd name="connsiteY15" fmla="*/ 870473 h 2510087"/>
                <a:gd name="connsiteX16" fmla="*/ 8026795 w 12045155"/>
                <a:gd name="connsiteY16" fmla="*/ 861967 h 2510087"/>
                <a:gd name="connsiteX17" fmla="*/ 8647812 w 12045155"/>
                <a:gd name="connsiteY17" fmla="*/ 1264715 h 2510087"/>
                <a:gd name="connsiteX18" fmla="*/ 9217808 w 12045155"/>
                <a:gd name="connsiteY18" fmla="*/ 2091547 h 2510087"/>
                <a:gd name="connsiteX19" fmla="*/ 10149208 w 12045155"/>
                <a:gd name="connsiteY19" fmla="*/ 2510086 h 2510087"/>
                <a:gd name="connsiteX20" fmla="*/ 11195242 w 12045155"/>
                <a:gd name="connsiteY20" fmla="*/ 2091549 h 2510087"/>
                <a:gd name="connsiteX21" fmla="*/ 11625119 w 12045155"/>
                <a:gd name="connsiteY21" fmla="*/ 1600216 h 2510087"/>
                <a:gd name="connsiteX22" fmla="*/ 11797069 w 12045155"/>
                <a:gd name="connsiteY22" fmla="*/ 999707 h 2510087"/>
                <a:gd name="connsiteX23" fmla="*/ 12045155 w 12045155"/>
                <a:gd name="connsiteY23" fmla="*/ 699393 h 2510087"/>
                <a:gd name="connsiteX24" fmla="*/ 12045155 w 12045155"/>
                <a:gd name="connsiteY24" fmla="*/ 261011 h 2510087"/>
                <a:gd name="connsiteX25" fmla="*/ 11438839 w 12045155"/>
                <a:gd name="connsiteY25" fmla="*/ 435586 h 2510087"/>
                <a:gd name="connsiteX26" fmla="*/ 11059114 w 12045155"/>
                <a:gd name="connsiteY26" fmla="*/ 1047471 h 2510087"/>
                <a:gd name="connsiteX27" fmla="*/ 10602369 w 12045155"/>
                <a:gd name="connsiteY27" fmla="*/ 1661632 h 2510087"/>
                <a:gd name="connsiteX28" fmla="*/ 10034574 w 12045155"/>
                <a:gd name="connsiteY28" fmla="*/ 1618415 h 2510087"/>
                <a:gd name="connsiteX29" fmla="*/ 9527677 w 12045155"/>
                <a:gd name="connsiteY29" fmla="*/ 1058846 h 2510087"/>
                <a:gd name="connsiteX30" fmla="*/ 9053022 w 12045155"/>
                <a:gd name="connsiteY30" fmla="*/ 581165 h 2510087"/>
                <a:gd name="connsiteX31" fmla="*/ 8450223 w 12045155"/>
                <a:gd name="connsiteY31" fmla="*/ 156695 h 2510087"/>
                <a:gd name="connsiteX32" fmla="*/ 7635927 w 12045155"/>
                <a:gd name="connsiteY32" fmla="*/ 105714 h 2510087"/>
                <a:gd name="connsiteX33" fmla="*/ 7049636 w 12045155"/>
                <a:gd name="connsiteY33" fmla="*/ 199189 h 2510087"/>
                <a:gd name="connsiteX34" fmla="*/ 6342549 w 12045155"/>
                <a:gd name="connsiteY34" fmla="*/ 146630 h 2510087"/>
                <a:gd name="connsiteX35" fmla="*/ 5902209 w 12045155"/>
                <a:gd name="connsiteY35" fmla="*/ 249658 h 2510087"/>
                <a:gd name="connsiteX36" fmla="*/ 5182195 w 12045155"/>
                <a:gd name="connsiteY36" fmla="*/ 292664 h 2510087"/>
                <a:gd name="connsiteX37" fmla="*/ 3822487 w 12045155"/>
                <a:gd name="connsiteY37" fmla="*/ 90799 h 2510087"/>
                <a:gd name="connsiteX38" fmla="*/ 2370177 w 12045155"/>
                <a:gd name="connsiteY38" fmla="*/ 156695 h 2510087"/>
                <a:gd name="connsiteX39" fmla="*/ 578745 w 12045155"/>
                <a:gd name="connsiteY39" fmla="*/ 148189 h 2510087"/>
                <a:gd name="connsiteX40" fmla="*/ 38923 w 12045155"/>
                <a:gd name="connsiteY40" fmla="*/ 157240 h 2510087"/>
                <a:gd name="connsiteX0" fmla="*/ 38923 w 12045155"/>
                <a:gd name="connsiteY0" fmla="*/ 157240 h 2510087"/>
                <a:gd name="connsiteX1" fmla="*/ 4765 w 12045155"/>
                <a:gd name="connsiteY1" fmla="*/ 229969 h 2510087"/>
                <a:gd name="connsiteX2" fmla="*/ 16985 w 12045155"/>
                <a:gd name="connsiteY2" fmla="*/ 441204 h 2510087"/>
                <a:gd name="connsiteX3" fmla="*/ 31647 w 12045155"/>
                <a:gd name="connsiteY3" fmla="*/ 700450 h 2510087"/>
                <a:gd name="connsiteX4" fmla="*/ 43864 w 12045155"/>
                <a:gd name="connsiteY4" fmla="*/ 777266 h 2510087"/>
                <a:gd name="connsiteX5" fmla="*/ 80207 w 12045155"/>
                <a:gd name="connsiteY5" fmla="*/ 937416 h 2510087"/>
                <a:gd name="connsiteX6" fmla="*/ 937008 w 12045155"/>
                <a:gd name="connsiteY6" fmla="*/ 844973 h 2510087"/>
                <a:gd name="connsiteX7" fmla="*/ 1631867 w 12045155"/>
                <a:gd name="connsiteY7" fmla="*/ 878961 h 2510087"/>
                <a:gd name="connsiteX8" fmla="*/ 2087877 w 12045155"/>
                <a:gd name="connsiteY8" fmla="*/ 819473 h 2510087"/>
                <a:gd name="connsiteX9" fmla="*/ 2565599 w 12045155"/>
                <a:gd name="connsiteY9" fmla="*/ 819473 h 2510087"/>
                <a:gd name="connsiteX10" fmla="*/ 3336468 w 12045155"/>
                <a:gd name="connsiteY10" fmla="*/ 861967 h 2510087"/>
                <a:gd name="connsiteX11" fmla="*/ 4215904 w 12045155"/>
                <a:gd name="connsiteY11" fmla="*/ 844973 h 2510087"/>
                <a:gd name="connsiteX12" fmla="*/ 4845622 w 12045155"/>
                <a:gd name="connsiteY12" fmla="*/ 853479 h 2510087"/>
                <a:gd name="connsiteX13" fmla="*/ 5681632 w 12045155"/>
                <a:gd name="connsiteY13" fmla="*/ 853479 h 2510087"/>
                <a:gd name="connsiteX14" fmla="*/ 6745645 w 12045155"/>
                <a:gd name="connsiteY14" fmla="*/ 878979 h 2510087"/>
                <a:gd name="connsiteX15" fmla="*/ 7494800 w 12045155"/>
                <a:gd name="connsiteY15" fmla="*/ 870473 h 2510087"/>
                <a:gd name="connsiteX16" fmla="*/ 8026795 w 12045155"/>
                <a:gd name="connsiteY16" fmla="*/ 861967 h 2510087"/>
                <a:gd name="connsiteX17" fmla="*/ 8647812 w 12045155"/>
                <a:gd name="connsiteY17" fmla="*/ 1264715 h 2510087"/>
                <a:gd name="connsiteX18" fmla="*/ 9217808 w 12045155"/>
                <a:gd name="connsiteY18" fmla="*/ 2091547 h 2510087"/>
                <a:gd name="connsiteX19" fmla="*/ 10149208 w 12045155"/>
                <a:gd name="connsiteY19" fmla="*/ 2510086 h 2510087"/>
                <a:gd name="connsiteX20" fmla="*/ 11195242 w 12045155"/>
                <a:gd name="connsiteY20" fmla="*/ 2091549 h 2510087"/>
                <a:gd name="connsiteX21" fmla="*/ 11486173 w 12045155"/>
                <a:gd name="connsiteY21" fmla="*/ 1445814 h 2510087"/>
                <a:gd name="connsiteX22" fmla="*/ 11797069 w 12045155"/>
                <a:gd name="connsiteY22" fmla="*/ 999707 h 2510087"/>
                <a:gd name="connsiteX23" fmla="*/ 12045155 w 12045155"/>
                <a:gd name="connsiteY23" fmla="*/ 699393 h 2510087"/>
                <a:gd name="connsiteX24" fmla="*/ 12045155 w 12045155"/>
                <a:gd name="connsiteY24" fmla="*/ 261011 h 2510087"/>
                <a:gd name="connsiteX25" fmla="*/ 11438839 w 12045155"/>
                <a:gd name="connsiteY25" fmla="*/ 435586 h 2510087"/>
                <a:gd name="connsiteX26" fmla="*/ 11059114 w 12045155"/>
                <a:gd name="connsiteY26" fmla="*/ 1047471 h 2510087"/>
                <a:gd name="connsiteX27" fmla="*/ 10602369 w 12045155"/>
                <a:gd name="connsiteY27" fmla="*/ 1661632 h 2510087"/>
                <a:gd name="connsiteX28" fmla="*/ 10034574 w 12045155"/>
                <a:gd name="connsiteY28" fmla="*/ 1618415 h 2510087"/>
                <a:gd name="connsiteX29" fmla="*/ 9527677 w 12045155"/>
                <a:gd name="connsiteY29" fmla="*/ 1058846 h 2510087"/>
                <a:gd name="connsiteX30" fmla="*/ 9053022 w 12045155"/>
                <a:gd name="connsiteY30" fmla="*/ 581165 h 2510087"/>
                <a:gd name="connsiteX31" fmla="*/ 8450223 w 12045155"/>
                <a:gd name="connsiteY31" fmla="*/ 156695 h 2510087"/>
                <a:gd name="connsiteX32" fmla="*/ 7635927 w 12045155"/>
                <a:gd name="connsiteY32" fmla="*/ 105714 h 2510087"/>
                <a:gd name="connsiteX33" fmla="*/ 7049636 w 12045155"/>
                <a:gd name="connsiteY33" fmla="*/ 199189 h 2510087"/>
                <a:gd name="connsiteX34" fmla="*/ 6342549 w 12045155"/>
                <a:gd name="connsiteY34" fmla="*/ 146630 h 2510087"/>
                <a:gd name="connsiteX35" fmla="*/ 5902209 w 12045155"/>
                <a:gd name="connsiteY35" fmla="*/ 249658 h 2510087"/>
                <a:gd name="connsiteX36" fmla="*/ 5182195 w 12045155"/>
                <a:gd name="connsiteY36" fmla="*/ 292664 h 2510087"/>
                <a:gd name="connsiteX37" fmla="*/ 3822487 w 12045155"/>
                <a:gd name="connsiteY37" fmla="*/ 90799 h 2510087"/>
                <a:gd name="connsiteX38" fmla="*/ 2370177 w 12045155"/>
                <a:gd name="connsiteY38" fmla="*/ 156695 h 2510087"/>
                <a:gd name="connsiteX39" fmla="*/ 578745 w 12045155"/>
                <a:gd name="connsiteY39" fmla="*/ 148189 h 2510087"/>
                <a:gd name="connsiteX40" fmla="*/ 38923 w 12045155"/>
                <a:gd name="connsiteY40" fmla="*/ 157240 h 2510087"/>
                <a:gd name="connsiteX0" fmla="*/ 38923 w 12045155"/>
                <a:gd name="connsiteY0" fmla="*/ 157240 h 2510087"/>
                <a:gd name="connsiteX1" fmla="*/ 4765 w 12045155"/>
                <a:gd name="connsiteY1" fmla="*/ 229969 h 2510087"/>
                <a:gd name="connsiteX2" fmla="*/ 8249783 w 12045155"/>
                <a:gd name="connsiteY2" fmla="*/ 507371 h 2510087"/>
                <a:gd name="connsiteX3" fmla="*/ 31647 w 12045155"/>
                <a:gd name="connsiteY3" fmla="*/ 700450 h 2510087"/>
                <a:gd name="connsiteX4" fmla="*/ 43864 w 12045155"/>
                <a:gd name="connsiteY4" fmla="*/ 777266 h 2510087"/>
                <a:gd name="connsiteX5" fmla="*/ 80207 w 12045155"/>
                <a:gd name="connsiteY5" fmla="*/ 937416 h 2510087"/>
                <a:gd name="connsiteX6" fmla="*/ 937008 w 12045155"/>
                <a:gd name="connsiteY6" fmla="*/ 844973 h 2510087"/>
                <a:gd name="connsiteX7" fmla="*/ 1631867 w 12045155"/>
                <a:gd name="connsiteY7" fmla="*/ 878961 h 2510087"/>
                <a:gd name="connsiteX8" fmla="*/ 2087877 w 12045155"/>
                <a:gd name="connsiteY8" fmla="*/ 819473 h 2510087"/>
                <a:gd name="connsiteX9" fmla="*/ 2565599 w 12045155"/>
                <a:gd name="connsiteY9" fmla="*/ 819473 h 2510087"/>
                <a:gd name="connsiteX10" fmla="*/ 3336468 w 12045155"/>
                <a:gd name="connsiteY10" fmla="*/ 861967 h 2510087"/>
                <a:gd name="connsiteX11" fmla="*/ 4215904 w 12045155"/>
                <a:gd name="connsiteY11" fmla="*/ 844973 h 2510087"/>
                <a:gd name="connsiteX12" fmla="*/ 4845622 w 12045155"/>
                <a:gd name="connsiteY12" fmla="*/ 853479 h 2510087"/>
                <a:gd name="connsiteX13" fmla="*/ 5681632 w 12045155"/>
                <a:gd name="connsiteY13" fmla="*/ 853479 h 2510087"/>
                <a:gd name="connsiteX14" fmla="*/ 6745645 w 12045155"/>
                <a:gd name="connsiteY14" fmla="*/ 878979 h 2510087"/>
                <a:gd name="connsiteX15" fmla="*/ 7494800 w 12045155"/>
                <a:gd name="connsiteY15" fmla="*/ 870473 h 2510087"/>
                <a:gd name="connsiteX16" fmla="*/ 8026795 w 12045155"/>
                <a:gd name="connsiteY16" fmla="*/ 861967 h 2510087"/>
                <a:gd name="connsiteX17" fmla="*/ 8647812 w 12045155"/>
                <a:gd name="connsiteY17" fmla="*/ 1264715 h 2510087"/>
                <a:gd name="connsiteX18" fmla="*/ 9217808 w 12045155"/>
                <a:gd name="connsiteY18" fmla="*/ 2091547 h 2510087"/>
                <a:gd name="connsiteX19" fmla="*/ 10149208 w 12045155"/>
                <a:gd name="connsiteY19" fmla="*/ 2510086 h 2510087"/>
                <a:gd name="connsiteX20" fmla="*/ 11195242 w 12045155"/>
                <a:gd name="connsiteY20" fmla="*/ 2091549 h 2510087"/>
                <a:gd name="connsiteX21" fmla="*/ 11486173 w 12045155"/>
                <a:gd name="connsiteY21" fmla="*/ 1445814 h 2510087"/>
                <a:gd name="connsiteX22" fmla="*/ 11797069 w 12045155"/>
                <a:gd name="connsiteY22" fmla="*/ 999707 h 2510087"/>
                <a:gd name="connsiteX23" fmla="*/ 12045155 w 12045155"/>
                <a:gd name="connsiteY23" fmla="*/ 699393 h 2510087"/>
                <a:gd name="connsiteX24" fmla="*/ 12045155 w 12045155"/>
                <a:gd name="connsiteY24" fmla="*/ 261011 h 2510087"/>
                <a:gd name="connsiteX25" fmla="*/ 11438839 w 12045155"/>
                <a:gd name="connsiteY25" fmla="*/ 435586 h 2510087"/>
                <a:gd name="connsiteX26" fmla="*/ 11059114 w 12045155"/>
                <a:gd name="connsiteY26" fmla="*/ 1047471 h 2510087"/>
                <a:gd name="connsiteX27" fmla="*/ 10602369 w 12045155"/>
                <a:gd name="connsiteY27" fmla="*/ 1661632 h 2510087"/>
                <a:gd name="connsiteX28" fmla="*/ 10034574 w 12045155"/>
                <a:gd name="connsiteY28" fmla="*/ 1618415 h 2510087"/>
                <a:gd name="connsiteX29" fmla="*/ 9527677 w 12045155"/>
                <a:gd name="connsiteY29" fmla="*/ 1058846 h 2510087"/>
                <a:gd name="connsiteX30" fmla="*/ 9053022 w 12045155"/>
                <a:gd name="connsiteY30" fmla="*/ 581165 h 2510087"/>
                <a:gd name="connsiteX31" fmla="*/ 8450223 w 12045155"/>
                <a:gd name="connsiteY31" fmla="*/ 156695 h 2510087"/>
                <a:gd name="connsiteX32" fmla="*/ 7635927 w 12045155"/>
                <a:gd name="connsiteY32" fmla="*/ 105714 h 2510087"/>
                <a:gd name="connsiteX33" fmla="*/ 7049636 w 12045155"/>
                <a:gd name="connsiteY33" fmla="*/ 199189 h 2510087"/>
                <a:gd name="connsiteX34" fmla="*/ 6342549 w 12045155"/>
                <a:gd name="connsiteY34" fmla="*/ 146630 h 2510087"/>
                <a:gd name="connsiteX35" fmla="*/ 5902209 w 12045155"/>
                <a:gd name="connsiteY35" fmla="*/ 249658 h 2510087"/>
                <a:gd name="connsiteX36" fmla="*/ 5182195 w 12045155"/>
                <a:gd name="connsiteY36" fmla="*/ 292664 h 2510087"/>
                <a:gd name="connsiteX37" fmla="*/ 3822487 w 12045155"/>
                <a:gd name="connsiteY37" fmla="*/ 90799 h 2510087"/>
                <a:gd name="connsiteX38" fmla="*/ 2370177 w 12045155"/>
                <a:gd name="connsiteY38" fmla="*/ 156695 h 2510087"/>
                <a:gd name="connsiteX39" fmla="*/ 578745 w 12045155"/>
                <a:gd name="connsiteY39" fmla="*/ 148189 h 2510087"/>
                <a:gd name="connsiteX40" fmla="*/ 38923 w 12045155"/>
                <a:gd name="connsiteY40" fmla="*/ 157240 h 2510087"/>
                <a:gd name="connsiteX0" fmla="*/ 38923 w 12045155"/>
                <a:gd name="connsiteY0" fmla="*/ 157240 h 2510087"/>
                <a:gd name="connsiteX1" fmla="*/ 4765 w 12045155"/>
                <a:gd name="connsiteY1" fmla="*/ 229969 h 2510087"/>
                <a:gd name="connsiteX2" fmla="*/ 8249783 w 12045155"/>
                <a:gd name="connsiteY2" fmla="*/ 507371 h 2510087"/>
                <a:gd name="connsiteX3" fmla="*/ 31647 w 12045155"/>
                <a:gd name="connsiteY3" fmla="*/ 700450 h 2510087"/>
                <a:gd name="connsiteX4" fmla="*/ 43864 w 12045155"/>
                <a:gd name="connsiteY4" fmla="*/ 777266 h 2510087"/>
                <a:gd name="connsiteX5" fmla="*/ 80207 w 12045155"/>
                <a:gd name="connsiteY5" fmla="*/ 937416 h 2510087"/>
                <a:gd name="connsiteX6" fmla="*/ 937008 w 12045155"/>
                <a:gd name="connsiteY6" fmla="*/ 844973 h 2510087"/>
                <a:gd name="connsiteX7" fmla="*/ 1631867 w 12045155"/>
                <a:gd name="connsiteY7" fmla="*/ 878961 h 2510087"/>
                <a:gd name="connsiteX8" fmla="*/ 2087877 w 12045155"/>
                <a:gd name="connsiteY8" fmla="*/ 819473 h 2510087"/>
                <a:gd name="connsiteX9" fmla="*/ 2565599 w 12045155"/>
                <a:gd name="connsiteY9" fmla="*/ 819473 h 2510087"/>
                <a:gd name="connsiteX10" fmla="*/ 3336468 w 12045155"/>
                <a:gd name="connsiteY10" fmla="*/ 861967 h 2510087"/>
                <a:gd name="connsiteX11" fmla="*/ 4215904 w 12045155"/>
                <a:gd name="connsiteY11" fmla="*/ 844973 h 2510087"/>
                <a:gd name="connsiteX12" fmla="*/ 4845622 w 12045155"/>
                <a:gd name="connsiteY12" fmla="*/ 853479 h 2510087"/>
                <a:gd name="connsiteX13" fmla="*/ 5681632 w 12045155"/>
                <a:gd name="connsiteY13" fmla="*/ 853479 h 2510087"/>
                <a:gd name="connsiteX14" fmla="*/ 6745645 w 12045155"/>
                <a:gd name="connsiteY14" fmla="*/ 878979 h 2510087"/>
                <a:gd name="connsiteX15" fmla="*/ 7494800 w 12045155"/>
                <a:gd name="connsiteY15" fmla="*/ 870473 h 2510087"/>
                <a:gd name="connsiteX16" fmla="*/ 8026795 w 12045155"/>
                <a:gd name="connsiteY16" fmla="*/ 861967 h 2510087"/>
                <a:gd name="connsiteX17" fmla="*/ 8647812 w 12045155"/>
                <a:gd name="connsiteY17" fmla="*/ 1264715 h 2510087"/>
                <a:gd name="connsiteX18" fmla="*/ 9217808 w 12045155"/>
                <a:gd name="connsiteY18" fmla="*/ 2091547 h 2510087"/>
                <a:gd name="connsiteX19" fmla="*/ 10149208 w 12045155"/>
                <a:gd name="connsiteY19" fmla="*/ 2510086 h 2510087"/>
                <a:gd name="connsiteX20" fmla="*/ 11195242 w 12045155"/>
                <a:gd name="connsiteY20" fmla="*/ 2091549 h 2510087"/>
                <a:gd name="connsiteX21" fmla="*/ 11486173 w 12045155"/>
                <a:gd name="connsiteY21" fmla="*/ 1445814 h 2510087"/>
                <a:gd name="connsiteX22" fmla="*/ 11797069 w 12045155"/>
                <a:gd name="connsiteY22" fmla="*/ 999707 h 2510087"/>
                <a:gd name="connsiteX23" fmla="*/ 12045155 w 12045155"/>
                <a:gd name="connsiteY23" fmla="*/ 699393 h 2510087"/>
                <a:gd name="connsiteX24" fmla="*/ 12045155 w 12045155"/>
                <a:gd name="connsiteY24" fmla="*/ 261011 h 2510087"/>
                <a:gd name="connsiteX25" fmla="*/ 11438839 w 12045155"/>
                <a:gd name="connsiteY25" fmla="*/ 435586 h 2510087"/>
                <a:gd name="connsiteX26" fmla="*/ 11059114 w 12045155"/>
                <a:gd name="connsiteY26" fmla="*/ 1047471 h 2510087"/>
                <a:gd name="connsiteX27" fmla="*/ 10602369 w 12045155"/>
                <a:gd name="connsiteY27" fmla="*/ 1661632 h 2510087"/>
                <a:gd name="connsiteX28" fmla="*/ 10034574 w 12045155"/>
                <a:gd name="connsiteY28" fmla="*/ 1618415 h 2510087"/>
                <a:gd name="connsiteX29" fmla="*/ 9527677 w 12045155"/>
                <a:gd name="connsiteY29" fmla="*/ 1058846 h 2510087"/>
                <a:gd name="connsiteX30" fmla="*/ 9053022 w 12045155"/>
                <a:gd name="connsiteY30" fmla="*/ 581165 h 2510087"/>
                <a:gd name="connsiteX31" fmla="*/ 8450223 w 12045155"/>
                <a:gd name="connsiteY31" fmla="*/ 156695 h 2510087"/>
                <a:gd name="connsiteX32" fmla="*/ 7635927 w 12045155"/>
                <a:gd name="connsiteY32" fmla="*/ 105714 h 2510087"/>
                <a:gd name="connsiteX33" fmla="*/ 7049636 w 12045155"/>
                <a:gd name="connsiteY33" fmla="*/ 199189 h 2510087"/>
                <a:gd name="connsiteX34" fmla="*/ 6342549 w 12045155"/>
                <a:gd name="connsiteY34" fmla="*/ 146630 h 2510087"/>
                <a:gd name="connsiteX35" fmla="*/ 5902209 w 12045155"/>
                <a:gd name="connsiteY35" fmla="*/ 249658 h 2510087"/>
                <a:gd name="connsiteX36" fmla="*/ 5182195 w 12045155"/>
                <a:gd name="connsiteY36" fmla="*/ 292664 h 2510087"/>
                <a:gd name="connsiteX37" fmla="*/ 3822487 w 12045155"/>
                <a:gd name="connsiteY37" fmla="*/ 90799 h 2510087"/>
                <a:gd name="connsiteX38" fmla="*/ 2370177 w 12045155"/>
                <a:gd name="connsiteY38" fmla="*/ 156695 h 2510087"/>
                <a:gd name="connsiteX39" fmla="*/ 578745 w 12045155"/>
                <a:gd name="connsiteY39" fmla="*/ 148189 h 2510087"/>
                <a:gd name="connsiteX40" fmla="*/ 38923 w 12045155"/>
                <a:gd name="connsiteY40" fmla="*/ 157240 h 2510087"/>
                <a:gd name="connsiteX0" fmla="*/ 379789 w 12386021"/>
                <a:gd name="connsiteY0" fmla="*/ 157240 h 2510087"/>
                <a:gd name="connsiteX1" fmla="*/ 345631 w 12386021"/>
                <a:gd name="connsiteY1" fmla="*/ 229969 h 2510087"/>
                <a:gd name="connsiteX2" fmla="*/ 8590649 w 12386021"/>
                <a:gd name="connsiteY2" fmla="*/ 507371 h 2510087"/>
                <a:gd name="connsiteX3" fmla="*/ 372513 w 12386021"/>
                <a:gd name="connsiteY3" fmla="*/ 700450 h 2510087"/>
                <a:gd name="connsiteX4" fmla="*/ 8652699 w 12386021"/>
                <a:gd name="connsiteY4" fmla="*/ 777261 h 2510087"/>
                <a:gd name="connsiteX5" fmla="*/ 421073 w 12386021"/>
                <a:gd name="connsiteY5" fmla="*/ 937416 h 2510087"/>
                <a:gd name="connsiteX6" fmla="*/ 1277874 w 12386021"/>
                <a:gd name="connsiteY6" fmla="*/ 844973 h 2510087"/>
                <a:gd name="connsiteX7" fmla="*/ 1972733 w 12386021"/>
                <a:gd name="connsiteY7" fmla="*/ 878961 h 2510087"/>
                <a:gd name="connsiteX8" fmla="*/ 2428743 w 12386021"/>
                <a:gd name="connsiteY8" fmla="*/ 819473 h 2510087"/>
                <a:gd name="connsiteX9" fmla="*/ 2906465 w 12386021"/>
                <a:gd name="connsiteY9" fmla="*/ 819473 h 2510087"/>
                <a:gd name="connsiteX10" fmla="*/ 3677334 w 12386021"/>
                <a:gd name="connsiteY10" fmla="*/ 861967 h 2510087"/>
                <a:gd name="connsiteX11" fmla="*/ 4556770 w 12386021"/>
                <a:gd name="connsiteY11" fmla="*/ 844973 h 2510087"/>
                <a:gd name="connsiteX12" fmla="*/ 5186488 w 12386021"/>
                <a:gd name="connsiteY12" fmla="*/ 853479 h 2510087"/>
                <a:gd name="connsiteX13" fmla="*/ 6022498 w 12386021"/>
                <a:gd name="connsiteY13" fmla="*/ 853479 h 2510087"/>
                <a:gd name="connsiteX14" fmla="*/ 7086511 w 12386021"/>
                <a:gd name="connsiteY14" fmla="*/ 878979 h 2510087"/>
                <a:gd name="connsiteX15" fmla="*/ 7835666 w 12386021"/>
                <a:gd name="connsiteY15" fmla="*/ 870473 h 2510087"/>
                <a:gd name="connsiteX16" fmla="*/ 8367661 w 12386021"/>
                <a:gd name="connsiteY16" fmla="*/ 861967 h 2510087"/>
                <a:gd name="connsiteX17" fmla="*/ 8988678 w 12386021"/>
                <a:gd name="connsiteY17" fmla="*/ 1264715 h 2510087"/>
                <a:gd name="connsiteX18" fmla="*/ 9558674 w 12386021"/>
                <a:gd name="connsiteY18" fmla="*/ 2091547 h 2510087"/>
                <a:gd name="connsiteX19" fmla="*/ 10490074 w 12386021"/>
                <a:gd name="connsiteY19" fmla="*/ 2510086 h 2510087"/>
                <a:gd name="connsiteX20" fmla="*/ 11536108 w 12386021"/>
                <a:gd name="connsiteY20" fmla="*/ 2091549 h 2510087"/>
                <a:gd name="connsiteX21" fmla="*/ 11827039 w 12386021"/>
                <a:gd name="connsiteY21" fmla="*/ 1445814 h 2510087"/>
                <a:gd name="connsiteX22" fmla="*/ 12137935 w 12386021"/>
                <a:gd name="connsiteY22" fmla="*/ 999707 h 2510087"/>
                <a:gd name="connsiteX23" fmla="*/ 12386021 w 12386021"/>
                <a:gd name="connsiteY23" fmla="*/ 699393 h 2510087"/>
                <a:gd name="connsiteX24" fmla="*/ 12386021 w 12386021"/>
                <a:gd name="connsiteY24" fmla="*/ 261011 h 2510087"/>
                <a:gd name="connsiteX25" fmla="*/ 11779705 w 12386021"/>
                <a:gd name="connsiteY25" fmla="*/ 435586 h 2510087"/>
                <a:gd name="connsiteX26" fmla="*/ 11399980 w 12386021"/>
                <a:gd name="connsiteY26" fmla="*/ 1047471 h 2510087"/>
                <a:gd name="connsiteX27" fmla="*/ 10943235 w 12386021"/>
                <a:gd name="connsiteY27" fmla="*/ 1661632 h 2510087"/>
                <a:gd name="connsiteX28" fmla="*/ 10375440 w 12386021"/>
                <a:gd name="connsiteY28" fmla="*/ 1618415 h 2510087"/>
                <a:gd name="connsiteX29" fmla="*/ 9868543 w 12386021"/>
                <a:gd name="connsiteY29" fmla="*/ 1058846 h 2510087"/>
                <a:gd name="connsiteX30" fmla="*/ 9393888 w 12386021"/>
                <a:gd name="connsiteY30" fmla="*/ 581165 h 2510087"/>
                <a:gd name="connsiteX31" fmla="*/ 8791089 w 12386021"/>
                <a:gd name="connsiteY31" fmla="*/ 156695 h 2510087"/>
                <a:gd name="connsiteX32" fmla="*/ 7976793 w 12386021"/>
                <a:gd name="connsiteY32" fmla="*/ 105714 h 2510087"/>
                <a:gd name="connsiteX33" fmla="*/ 7390502 w 12386021"/>
                <a:gd name="connsiteY33" fmla="*/ 199189 h 2510087"/>
                <a:gd name="connsiteX34" fmla="*/ 6683415 w 12386021"/>
                <a:gd name="connsiteY34" fmla="*/ 146630 h 2510087"/>
                <a:gd name="connsiteX35" fmla="*/ 6243075 w 12386021"/>
                <a:gd name="connsiteY35" fmla="*/ 249658 h 2510087"/>
                <a:gd name="connsiteX36" fmla="*/ 5523061 w 12386021"/>
                <a:gd name="connsiteY36" fmla="*/ 292664 h 2510087"/>
                <a:gd name="connsiteX37" fmla="*/ 4163353 w 12386021"/>
                <a:gd name="connsiteY37" fmla="*/ 90799 h 2510087"/>
                <a:gd name="connsiteX38" fmla="*/ 2711043 w 12386021"/>
                <a:gd name="connsiteY38" fmla="*/ 156695 h 2510087"/>
                <a:gd name="connsiteX39" fmla="*/ 919611 w 12386021"/>
                <a:gd name="connsiteY39" fmla="*/ 148189 h 2510087"/>
                <a:gd name="connsiteX40" fmla="*/ 379789 w 12386021"/>
                <a:gd name="connsiteY40" fmla="*/ 157240 h 2510087"/>
                <a:gd name="connsiteX0" fmla="*/ 379791 w 12386023"/>
                <a:gd name="connsiteY0" fmla="*/ 157240 h 2510087"/>
                <a:gd name="connsiteX1" fmla="*/ 345633 w 12386023"/>
                <a:gd name="connsiteY1" fmla="*/ 229969 h 2510087"/>
                <a:gd name="connsiteX2" fmla="*/ 8590651 w 12386023"/>
                <a:gd name="connsiteY2" fmla="*/ 507371 h 2510087"/>
                <a:gd name="connsiteX3" fmla="*/ 8697801 w 12386023"/>
                <a:gd name="connsiteY3" fmla="*/ 591261 h 2510087"/>
                <a:gd name="connsiteX4" fmla="*/ 8652701 w 12386023"/>
                <a:gd name="connsiteY4" fmla="*/ 777261 h 2510087"/>
                <a:gd name="connsiteX5" fmla="*/ 421075 w 12386023"/>
                <a:gd name="connsiteY5" fmla="*/ 937416 h 2510087"/>
                <a:gd name="connsiteX6" fmla="*/ 1277876 w 12386023"/>
                <a:gd name="connsiteY6" fmla="*/ 844973 h 2510087"/>
                <a:gd name="connsiteX7" fmla="*/ 1972735 w 12386023"/>
                <a:gd name="connsiteY7" fmla="*/ 878961 h 2510087"/>
                <a:gd name="connsiteX8" fmla="*/ 2428745 w 12386023"/>
                <a:gd name="connsiteY8" fmla="*/ 819473 h 2510087"/>
                <a:gd name="connsiteX9" fmla="*/ 2906467 w 12386023"/>
                <a:gd name="connsiteY9" fmla="*/ 819473 h 2510087"/>
                <a:gd name="connsiteX10" fmla="*/ 3677336 w 12386023"/>
                <a:gd name="connsiteY10" fmla="*/ 861967 h 2510087"/>
                <a:gd name="connsiteX11" fmla="*/ 4556772 w 12386023"/>
                <a:gd name="connsiteY11" fmla="*/ 844973 h 2510087"/>
                <a:gd name="connsiteX12" fmla="*/ 5186490 w 12386023"/>
                <a:gd name="connsiteY12" fmla="*/ 853479 h 2510087"/>
                <a:gd name="connsiteX13" fmla="*/ 6022500 w 12386023"/>
                <a:gd name="connsiteY13" fmla="*/ 853479 h 2510087"/>
                <a:gd name="connsiteX14" fmla="*/ 7086513 w 12386023"/>
                <a:gd name="connsiteY14" fmla="*/ 878979 h 2510087"/>
                <a:gd name="connsiteX15" fmla="*/ 7835668 w 12386023"/>
                <a:gd name="connsiteY15" fmla="*/ 870473 h 2510087"/>
                <a:gd name="connsiteX16" fmla="*/ 8367663 w 12386023"/>
                <a:gd name="connsiteY16" fmla="*/ 861967 h 2510087"/>
                <a:gd name="connsiteX17" fmla="*/ 8988680 w 12386023"/>
                <a:gd name="connsiteY17" fmla="*/ 1264715 h 2510087"/>
                <a:gd name="connsiteX18" fmla="*/ 9558676 w 12386023"/>
                <a:gd name="connsiteY18" fmla="*/ 2091547 h 2510087"/>
                <a:gd name="connsiteX19" fmla="*/ 10490076 w 12386023"/>
                <a:gd name="connsiteY19" fmla="*/ 2510086 h 2510087"/>
                <a:gd name="connsiteX20" fmla="*/ 11536110 w 12386023"/>
                <a:gd name="connsiteY20" fmla="*/ 2091549 h 2510087"/>
                <a:gd name="connsiteX21" fmla="*/ 11827041 w 12386023"/>
                <a:gd name="connsiteY21" fmla="*/ 1445814 h 2510087"/>
                <a:gd name="connsiteX22" fmla="*/ 12137937 w 12386023"/>
                <a:gd name="connsiteY22" fmla="*/ 999707 h 2510087"/>
                <a:gd name="connsiteX23" fmla="*/ 12386023 w 12386023"/>
                <a:gd name="connsiteY23" fmla="*/ 699393 h 2510087"/>
                <a:gd name="connsiteX24" fmla="*/ 12386023 w 12386023"/>
                <a:gd name="connsiteY24" fmla="*/ 261011 h 2510087"/>
                <a:gd name="connsiteX25" fmla="*/ 11779707 w 12386023"/>
                <a:gd name="connsiteY25" fmla="*/ 435586 h 2510087"/>
                <a:gd name="connsiteX26" fmla="*/ 11399982 w 12386023"/>
                <a:gd name="connsiteY26" fmla="*/ 1047471 h 2510087"/>
                <a:gd name="connsiteX27" fmla="*/ 10943237 w 12386023"/>
                <a:gd name="connsiteY27" fmla="*/ 1661632 h 2510087"/>
                <a:gd name="connsiteX28" fmla="*/ 10375442 w 12386023"/>
                <a:gd name="connsiteY28" fmla="*/ 1618415 h 2510087"/>
                <a:gd name="connsiteX29" fmla="*/ 9868545 w 12386023"/>
                <a:gd name="connsiteY29" fmla="*/ 1058846 h 2510087"/>
                <a:gd name="connsiteX30" fmla="*/ 9393890 w 12386023"/>
                <a:gd name="connsiteY30" fmla="*/ 581165 h 2510087"/>
                <a:gd name="connsiteX31" fmla="*/ 8791091 w 12386023"/>
                <a:gd name="connsiteY31" fmla="*/ 156695 h 2510087"/>
                <a:gd name="connsiteX32" fmla="*/ 7976795 w 12386023"/>
                <a:gd name="connsiteY32" fmla="*/ 105714 h 2510087"/>
                <a:gd name="connsiteX33" fmla="*/ 7390504 w 12386023"/>
                <a:gd name="connsiteY33" fmla="*/ 199189 h 2510087"/>
                <a:gd name="connsiteX34" fmla="*/ 6683417 w 12386023"/>
                <a:gd name="connsiteY34" fmla="*/ 146630 h 2510087"/>
                <a:gd name="connsiteX35" fmla="*/ 6243077 w 12386023"/>
                <a:gd name="connsiteY35" fmla="*/ 249658 h 2510087"/>
                <a:gd name="connsiteX36" fmla="*/ 5523063 w 12386023"/>
                <a:gd name="connsiteY36" fmla="*/ 292664 h 2510087"/>
                <a:gd name="connsiteX37" fmla="*/ 4163355 w 12386023"/>
                <a:gd name="connsiteY37" fmla="*/ 90799 h 2510087"/>
                <a:gd name="connsiteX38" fmla="*/ 2711045 w 12386023"/>
                <a:gd name="connsiteY38" fmla="*/ 156695 h 2510087"/>
                <a:gd name="connsiteX39" fmla="*/ 919613 w 12386023"/>
                <a:gd name="connsiteY39" fmla="*/ 148189 h 2510087"/>
                <a:gd name="connsiteX40" fmla="*/ 379791 w 12386023"/>
                <a:gd name="connsiteY40" fmla="*/ 157240 h 2510087"/>
                <a:gd name="connsiteX0" fmla="*/ 379791 w 12386023"/>
                <a:gd name="connsiteY0" fmla="*/ 157240 h 2510087"/>
                <a:gd name="connsiteX1" fmla="*/ 345633 w 12386023"/>
                <a:gd name="connsiteY1" fmla="*/ 229969 h 2510087"/>
                <a:gd name="connsiteX2" fmla="*/ 8676628 w 12386023"/>
                <a:gd name="connsiteY2" fmla="*/ 434581 h 2510087"/>
                <a:gd name="connsiteX3" fmla="*/ 8697801 w 12386023"/>
                <a:gd name="connsiteY3" fmla="*/ 591261 h 2510087"/>
                <a:gd name="connsiteX4" fmla="*/ 8652701 w 12386023"/>
                <a:gd name="connsiteY4" fmla="*/ 777261 h 2510087"/>
                <a:gd name="connsiteX5" fmla="*/ 421075 w 12386023"/>
                <a:gd name="connsiteY5" fmla="*/ 937416 h 2510087"/>
                <a:gd name="connsiteX6" fmla="*/ 1277876 w 12386023"/>
                <a:gd name="connsiteY6" fmla="*/ 844973 h 2510087"/>
                <a:gd name="connsiteX7" fmla="*/ 1972735 w 12386023"/>
                <a:gd name="connsiteY7" fmla="*/ 878961 h 2510087"/>
                <a:gd name="connsiteX8" fmla="*/ 2428745 w 12386023"/>
                <a:gd name="connsiteY8" fmla="*/ 819473 h 2510087"/>
                <a:gd name="connsiteX9" fmla="*/ 2906467 w 12386023"/>
                <a:gd name="connsiteY9" fmla="*/ 819473 h 2510087"/>
                <a:gd name="connsiteX10" fmla="*/ 3677336 w 12386023"/>
                <a:gd name="connsiteY10" fmla="*/ 861967 h 2510087"/>
                <a:gd name="connsiteX11" fmla="*/ 4556772 w 12386023"/>
                <a:gd name="connsiteY11" fmla="*/ 844973 h 2510087"/>
                <a:gd name="connsiteX12" fmla="*/ 5186490 w 12386023"/>
                <a:gd name="connsiteY12" fmla="*/ 853479 h 2510087"/>
                <a:gd name="connsiteX13" fmla="*/ 6022500 w 12386023"/>
                <a:gd name="connsiteY13" fmla="*/ 853479 h 2510087"/>
                <a:gd name="connsiteX14" fmla="*/ 7086513 w 12386023"/>
                <a:gd name="connsiteY14" fmla="*/ 878979 h 2510087"/>
                <a:gd name="connsiteX15" fmla="*/ 7835668 w 12386023"/>
                <a:gd name="connsiteY15" fmla="*/ 870473 h 2510087"/>
                <a:gd name="connsiteX16" fmla="*/ 8367663 w 12386023"/>
                <a:gd name="connsiteY16" fmla="*/ 861967 h 2510087"/>
                <a:gd name="connsiteX17" fmla="*/ 8988680 w 12386023"/>
                <a:gd name="connsiteY17" fmla="*/ 1264715 h 2510087"/>
                <a:gd name="connsiteX18" fmla="*/ 9558676 w 12386023"/>
                <a:gd name="connsiteY18" fmla="*/ 2091547 h 2510087"/>
                <a:gd name="connsiteX19" fmla="*/ 10490076 w 12386023"/>
                <a:gd name="connsiteY19" fmla="*/ 2510086 h 2510087"/>
                <a:gd name="connsiteX20" fmla="*/ 11536110 w 12386023"/>
                <a:gd name="connsiteY20" fmla="*/ 2091549 h 2510087"/>
                <a:gd name="connsiteX21" fmla="*/ 11827041 w 12386023"/>
                <a:gd name="connsiteY21" fmla="*/ 1445814 h 2510087"/>
                <a:gd name="connsiteX22" fmla="*/ 12137937 w 12386023"/>
                <a:gd name="connsiteY22" fmla="*/ 999707 h 2510087"/>
                <a:gd name="connsiteX23" fmla="*/ 12386023 w 12386023"/>
                <a:gd name="connsiteY23" fmla="*/ 699393 h 2510087"/>
                <a:gd name="connsiteX24" fmla="*/ 12386023 w 12386023"/>
                <a:gd name="connsiteY24" fmla="*/ 261011 h 2510087"/>
                <a:gd name="connsiteX25" fmla="*/ 11779707 w 12386023"/>
                <a:gd name="connsiteY25" fmla="*/ 435586 h 2510087"/>
                <a:gd name="connsiteX26" fmla="*/ 11399982 w 12386023"/>
                <a:gd name="connsiteY26" fmla="*/ 1047471 h 2510087"/>
                <a:gd name="connsiteX27" fmla="*/ 10943237 w 12386023"/>
                <a:gd name="connsiteY27" fmla="*/ 1661632 h 2510087"/>
                <a:gd name="connsiteX28" fmla="*/ 10375442 w 12386023"/>
                <a:gd name="connsiteY28" fmla="*/ 1618415 h 2510087"/>
                <a:gd name="connsiteX29" fmla="*/ 9868545 w 12386023"/>
                <a:gd name="connsiteY29" fmla="*/ 1058846 h 2510087"/>
                <a:gd name="connsiteX30" fmla="*/ 9393890 w 12386023"/>
                <a:gd name="connsiteY30" fmla="*/ 581165 h 2510087"/>
                <a:gd name="connsiteX31" fmla="*/ 8791091 w 12386023"/>
                <a:gd name="connsiteY31" fmla="*/ 156695 h 2510087"/>
                <a:gd name="connsiteX32" fmla="*/ 7976795 w 12386023"/>
                <a:gd name="connsiteY32" fmla="*/ 105714 h 2510087"/>
                <a:gd name="connsiteX33" fmla="*/ 7390504 w 12386023"/>
                <a:gd name="connsiteY33" fmla="*/ 199189 h 2510087"/>
                <a:gd name="connsiteX34" fmla="*/ 6683417 w 12386023"/>
                <a:gd name="connsiteY34" fmla="*/ 146630 h 2510087"/>
                <a:gd name="connsiteX35" fmla="*/ 6243077 w 12386023"/>
                <a:gd name="connsiteY35" fmla="*/ 249658 h 2510087"/>
                <a:gd name="connsiteX36" fmla="*/ 5523063 w 12386023"/>
                <a:gd name="connsiteY36" fmla="*/ 292664 h 2510087"/>
                <a:gd name="connsiteX37" fmla="*/ 4163355 w 12386023"/>
                <a:gd name="connsiteY37" fmla="*/ 90799 h 2510087"/>
                <a:gd name="connsiteX38" fmla="*/ 2711045 w 12386023"/>
                <a:gd name="connsiteY38" fmla="*/ 156695 h 2510087"/>
                <a:gd name="connsiteX39" fmla="*/ 919613 w 12386023"/>
                <a:gd name="connsiteY39" fmla="*/ 148189 h 2510087"/>
                <a:gd name="connsiteX40" fmla="*/ 379791 w 12386023"/>
                <a:gd name="connsiteY40" fmla="*/ 157240 h 2510087"/>
                <a:gd name="connsiteX0" fmla="*/ 8705072 w 12386023"/>
                <a:gd name="connsiteY0" fmla="*/ 284622 h 2510087"/>
                <a:gd name="connsiteX1" fmla="*/ 345633 w 12386023"/>
                <a:gd name="connsiteY1" fmla="*/ 229969 h 2510087"/>
                <a:gd name="connsiteX2" fmla="*/ 8676628 w 12386023"/>
                <a:gd name="connsiteY2" fmla="*/ 434581 h 2510087"/>
                <a:gd name="connsiteX3" fmla="*/ 8697801 w 12386023"/>
                <a:gd name="connsiteY3" fmla="*/ 591261 h 2510087"/>
                <a:gd name="connsiteX4" fmla="*/ 8652701 w 12386023"/>
                <a:gd name="connsiteY4" fmla="*/ 777261 h 2510087"/>
                <a:gd name="connsiteX5" fmla="*/ 421075 w 12386023"/>
                <a:gd name="connsiteY5" fmla="*/ 937416 h 2510087"/>
                <a:gd name="connsiteX6" fmla="*/ 1277876 w 12386023"/>
                <a:gd name="connsiteY6" fmla="*/ 844973 h 2510087"/>
                <a:gd name="connsiteX7" fmla="*/ 1972735 w 12386023"/>
                <a:gd name="connsiteY7" fmla="*/ 878961 h 2510087"/>
                <a:gd name="connsiteX8" fmla="*/ 2428745 w 12386023"/>
                <a:gd name="connsiteY8" fmla="*/ 819473 h 2510087"/>
                <a:gd name="connsiteX9" fmla="*/ 2906467 w 12386023"/>
                <a:gd name="connsiteY9" fmla="*/ 819473 h 2510087"/>
                <a:gd name="connsiteX10" fmla="*/ 3677336 w 12386023"/>
                <a:gd name="connsiteY10" fmla="*/ 861967 h 2510087"/>
                <a:gd name="connsiteX11" fmla="*/ 4556772 w 12386023"/>
                <a:gd name="connsiteY11" fmla="*/ 844973 h 2510087"/>
                <a:gd name="connsiteX12" fmla="*/ 5186490 w 12386023"/>
                <a:gd name="connsiteY12" fmla="*/ 853479 h 2510087"/>
                <a:gd name="connsiteX13" fmla="*/ 6022500 w 12386023"/>
                <a:gd name="connsiteY13" fmla="*/ 853479 h 2510087"/>
                <a:gd name="connsiteX14" fmla="*/ 7086513 w 12386023"/>
                <a:gd name="connsiteY14" fmla="*/ 878979 h 2510087"/>
                <a:gd name="connsiteX15" fmla="*/ 7835668 w 12386023"/>
                <a:gd name="connsiteY15" fmla="*/ 870473 h 2510087"/>
                <a:gd name="connsiteX16" fmla="*/ 8367663 w 12386023"/>
                <a:gd name="connsiteY16" fmla="*/ 861967 h 2510087"/>
                <a:gd name="connsiteX17" fmla="*/ 8988680 w 12386023"/>
                <a:gd name="connsiteY17" fmla="*/ 1264715 h 2510087"/>
                <a:gd name="connsiteX18" fmla="*/ 9558676 w 12386023"/>
                <a:gd name="connsiteY18" fmla="*/ 2091547 h 2510087"/>
                <a:gd name="connsiteX19" fmla="*/ 10490076 w 12386023"/>
                <a:gd name="connsiteY19" fmla="*/ 2510086 h 2510087"/>
                <a:gd name="connsiteX20" fmla="*/ 11536110 w 12386023"/>
                <a:gd name="connsiteY20" fmla="*/ 2091549 h 2510087"/>
                <a:gd name="connsiteX21" fmla="*/ 11827041 w 12386023"/>
                <a:gd name="connsiteY21" fmla="*/ 1445814 h 2510087"/>
                <a:gd name="connsiteX22" fmla="*/ 12137937 w 12386023"/>
                <a:gd name="connsiteY22" fmla="*/ 999707 h 2510087"/>
                <a:gd name="connsiteX23" fmla="*/ 12386023 w 12386023"/>
                <a:gd name="connsiteY23" fmla="*/ 699393 h 2510087"/>
                <a:gd name="connsiteX24" fmla="*/ 12386023 w 12386023"/>
                <a:gd name="connsiteY24" fmla="*/ 261011 h 2510087"/>
                <a:gd name="connsiteX25" fmla="*/ 11779707 w 12386023"/>
                <a:gd name="connsiteY25" fmla="*/ 435586 h 2510087"/>
                <a:gd name="connsiteX26" fmla="*/ 11399982 w 12386023"/>
                <a:gd name="connsiteY26" fmla="*/ 1047471 h 2510087"/>
                <a:gd name="connsiteX27" fmla="*/ 10943237 w 12386023"/>
                <a:gd name="connsiteY27" fmla="*/ 1661632 h 2510087"/>
                <a:gd name="connsiteX28" fmla="*/ 10375442 w 12386023"/>
                <a:gd name="connsiteY28" fmla="*/ 1618415 h 2510087"/>
                <a:gd name="connsiteX29" fmla="*/ 9868545 w 12386023"/>
                <a:gd name="connsiteY29" fmla="*/ 1058846 h 2510087"/>
                <a:gd name="connsiteX30" fmla="*/ 9393890 w 12386023"/>
                <a:gd name="connsiteY30" fmla="*/ 581165 h 2510087"/>
                <a:gd name="connsiteX31" fmla="*/ 8791091 w 12386023"/>
                <a:gd name="connsiteY31" fmla="*/ 156695 h 2510087"/>
                <a:gd name="connsiteX32" fmla="*/ 7976795 w 12386023"/>
                <a:gd name="connsiteY32" fmla="*/ 105714 h 2510087"/>
                <a:gd name="connsiteX33" fmla="*/ 7390504 w 12386023"/>
                <a:gd name="connsiteY33" fmla="*/ 199189 h 2510087"/>
                <a:gd name="connsiteX34" fmla="*/ 6683417 w 12386023"/>
                <a:gd name="connsiteY34" fmla="*/ 146630 h 2510087"/>
                <a:gd name="connsiteX35" fmla="*/ 6243077 w 12386023"/>
                <a:gd name="connsiteY35" fmla="*/ 249658 h 2510087"/>
                <a:gd name="connsiteX36" fmla="*/ 5523063 w 12386023"/>
                <a:gd name="connsiteY36" fmla="*/ 292664 h 2510087"/>
                <a:gd name="connsiteX37" fmla="*/ 4163355 w 12386023"/>
                <a:gd name="connsiteY37" fmla="*/ 90799 h 2510087"/>
                <a:gd name="connsiteX38" fmla="*/ 2711045 w 12386023"/>
                <a:gd name="connsiteY38" fmla="*/ 156695 h 2510087"/>
                <a:gd name="connsiteX39" fmla="*/ 919613 w 12386023"/>
                <a:gd name="connsiteY39" fmla="*/ 148189 h 2510087"/>
                <a:gd name="connsiteX40" fmla="*/ 8705072 w 12386023"/>
                <a:gd name="connsiteY40" fmla="*/ 284622 h 2510087"/>
                <a:gd name="connsiteX0" fmla="*/ 8705072 w 12386023"/>
                <a:gd name="connsiteY0" fmla="*/ 284622 h 2510087"/>
                <a:gd name="connsiteX1" fmla="*/ 8742561 w 12386023"/>
                <a:gd name="connsiteY1" fmla="*/ 521128 h 2510087"/>
                <a:gd name="connsiteX2" fmla="*/ 8676628 w 12386023"/>
                <a:gd name="connsiteY2" fmla="*/ 434581 h 2510087"/>
                <a:gd name="connsiteX3" fmla="*/ 8697801 w 12386023"/>
                <a:gd name="connsiteY3" fmla="*/ 591261 h 2510087"/>
                <a:gd name="connsiteX4" fmla="*/ 8652701 w 12386023"/>
                <a:gd name="connsiteY4" fmla="*/ 777261 h 2510087"/>
                <a:gd name="connsiteX5" fmla="*/ 421075 w 12386023"/>
                <a:gd name="connsiteY5" fmla="*/ 937416 h 2510087"/>
                <a:gd name="connsiteX6" fmla="*/ 1277876 w 12386023"/>
                <a:gd name="connsiteY6" fmla="*/ 844973 h 2510087"/>
                <a:gd name="connsiteX7" fmla="*/ 1972735 w 12386023"/>
                <a:gd name="connsiteY7" fmla="*/ 878961 h 2510087"/>
                <a:gd name="connsiteX8" fmla="*/ 2428745 w 12386023"/>
                <a:gd name="connsiteY8" fmla="*/ 819473 h 2510087"/>
                <a:gd name="connsiteX9" fmla="*/ 2906467 w 12386023"/>
                <a:gd name="connsiteY9" fmla="*/ 819473 h 2510087"/>
                <a:gd name="connsiteX10" fmla="*/ 3677336 w 12386023"/>
                <a:gd name="connsiteY10" fmla="*/ 861967 h 2510087"/>
                <a:gd name="connsiteX11" fmla="*/ 4556772 w 12386023"/>
                <a:gd name="connsiteY11" fmla="*/ 844973 h 2510087"/>
                <a:gd name="connsiteX12" fmla="*/ 5186490 w 12386023"/>
                <a:gd name="connsiteY12" fmla="*/ 853479 h 2510087"/>
                <a:gd name="connsiteX13" fmla="*/ 6022500 w 12386023"/>
                <a:gd name="connsiteY13" fmla="*/ 853479 h 2510087"/>
                <a:gd name="connsiteX14" fmla="*/ 7086513 w 12386023"/>
                <a:gd name="connsiteY14" fmla="*/ 878979 h 2510087"/>
                <a:gd name="connsiteX15" fmla="*/ 7835668 w 12386023"/>
                <a:gd name="connsiteY15" fmla="*/ 870473 h 2510087"/>
                <a:gd name="connsiteX16" fmla="*/ 8367663 w 12386023"/>
                <a:gd name="connsiteY16" fmla="*/ 861967 h 2510087"/>
                <a:gd name="connsiteX17" fmla="*/ 8988680 w 12386023"/>
                <a:gd name="connsiteY17" fmla="*/ 1264715 h 2510087"/>
                <a:gd name="connsiteX18" fmla="*/ 9558676 w 12386023"/>
                <a:gd name="connsiteY18" fmla="*/ 2091547 h 2510087"/>
                <a:gd name="connsiteX19" fmla="*/ 10490076 w 12386023"/>
                <a:gd name="connsiteY19" fmla="*/ 2510086 h 2510087"/>
                <a:gd name="connsiteX20" fmla="*/ 11536110 w 12386023"/>
                <a:gd name="connsiteY20" fmla="*/ 2091549 h 2510087"/>
                <a:gd name="connsiteX21" fmla="*/ 11827041 w 12386023"/>
                <a:gd name="connsiteY21" fmla="*/ 1445814 h 2510087"/>
                <a:gd name="connsiteX22" fmla="*/ 12137937 w 12386023"/>
                <a:gd name="connsiteY22" fmla="*/ 999707 h 2510087"/>
                <a:gd name="connsiteX23" fmla="*/ 12386023 w 12386023"/>
                <a:gd name="connsiteY23" fmla="*/ 699393 h 2510087"/>
                <a:gd name="connsiteX24" fmla="*/ 12386023 w 12386023"/>
                <a:gd name="connsiteY24" fmla="*/ 261011 h 2510087"/>
                <a:gd name="connsiteX25" fmla="*/ 11779707 w 12386023"/>
                <a:gd name="connsiteY25" fmla="*/ 435586 h 2510087"/>
                <a:gd name="connsiteX26" fmla="*/ 11399982 w 12386023"/>
                <a:gd name="connsiteY26" fmla="*/ 1047471 h 2510087"/>
                <a:gd name="connsiteX27" fmla="*/ 10943237 w 12386023"/>
                <a:gd name="connsiteY27" fmla="*/ 1661632 h 2510087"/>
                <a:gd name="connsiteX28" fmla="*/ 10375442 w 12386023"/>
                <a:gd name="connsiteY28" fmla="*/ 1618415 h 2510087"/>
                <a:gd name="connsiteX29" fmla="*/ 9868545 w 12386023"/>
                <a:gd name="connsiteY29" fmla="*/ 1058846 h 2510087"/>
                <a:gd name="connsiteX30" fmla="*/ 9393890 w 12386023"/>
                <a:gd name="connsiteY30" fmla="*/ 581165 h 2510087"/>
                <a:gd name="connsiteX31" fmla="*/ 8791091 w 12386023"/>
                <a:gd name="connsiteY31" fmla="*/ 156695 h 2510087"/>
                <a:gd name="connsiteX32" fmla="*/ 7976795 w 12386023"/>
                <a:gd name="connsiteY32" fmla="*/ 105714 h 2510087"/>
                <a:gd name="connsiteX33" fmla="*/ 7390504 w 12386023"/>
                <a:gd name="connsiteY33" fmla="*/ 199189 h 2510087"/>
                <a:gd name="connsiteX34" fmla="*/ 6683417 w 12386023"/>
                <a:gd name="connsiteY34" fmla="*/ 146630 h 2510087"/>
                <a:gd name="connsiteX35" fmla="*/ 6243077 w 12386023"/>
                <a:gd name="connsiteY35" fmla="*/ 249658 h 2510087"/>
                <a:gd name="connsiteX36" fmla="*/ 5523063 w 12386023"/>
                <a:gd name="connsiteY36" fmla="*/ 292664 h 2510087"/>
                <a:gd name="connsiteX37" fmla="*/ 4163355 w 12386023"/>
                <a:gd name="connsiteY37" fmla="*/ 90799 h 2510087"/>
                <a:gd name="connsiteX38" fmla="*/ 2711045 w 12386023"/>
                <a:gd name="connsiteY38" fmla="*/ 156695 h 2510087"/>
                <a:gd name="connsiteX39" fmla="*/ 919613 w 12386023"/>
                <a:gd name="connsiteY39" fmla="*/ 148189 h 2510087"/>
                <a:gd name="connsiteX40" fmla="*/ 8705072 w 12386023"/>
                <a:gd name="connsiteY40" fmla="*/ 284622 h 2510087"/>
                <a:gd name="connsiteX0" fmla="*/ 8705072 w 12386023"/>
                <a:gd name="connsiteY0" fmla="*/ 284622 h 2510087"/>
                <a:gd name="connsiteX1" fmla="*/ 8742561 w 12386023"/>
                <a:gd name="connsiteY1" fmla="*/ 521128 h 2510087"/>
                <a:gd name="connsiteX2" fmla="*/ 8676628 w 12386023"/>
                <a:gd name="connsiteY2" fmla="*/ 434581 h 2510087"/>
                <a:gd name="connsiteX3" fmla="*/ 8697801 w 12386023"/>
                <a:gd name="connsiteY3" fmla="*/ 591261 h 2510087"/>
                <a:gd name="connsiteX4" fmla="*/ 8652701 w 12386023"/>
                <a:gd name="connsiteY4" fmla="*/ 777261 h 2510087"/>
                <a:gd name="connsiteX5" fmla="*/ 421075 w 12386023"/>
                <a:gd name="connsiteY5" fmla="*/ 937416 h 2510087"/>
                <a:gd name="connsiteX6" fmla="*/ 1277876 w 12386023"/>
                <a:gd name="connsiteY6" fmla="*/ 844973 h 2510087"/>
                <a:gd name="connsiteX7" fmla="*/ 1972735 w 12386023"/>
                <a:gd name="connsiteY7" fmla="*/ 878961 h 2510087"/>
                <a:gd name="connsiteX8" fmla="*/ 2428745 w 12386023"/>
                <a:gd name="connsiteY8" fmla="*/ 819473 h 2510087"/>
                <a:gd name="connsiteX9" fmla="*/ 2906467 w 12386023"/>
                <a:gd name="connsiteY9" fmla="*/ 819473 h 2510087"/>
                <a:gd name="connsiteX10" fmla="*/ 3677336 w 12386023"/>
                <a:gd name="connsiteY10" fmla="*/ 861967 h 2510087"/>
                <a:gd name="connsiteX11" fmla="*/ 4556772 w 12386023"/>
                <a:gd name="connsiteY11" fmla="*/ 844973 h 2510087"/>
                <a:gd name="connsiteX12" fmla="*/ 5186490 w 12386023"/>
                <a:gd name="connsiteY12" fmla="*/ 853479 h 2510087"/>
                <a:gd name="connsiteX13" fmla="*/ 6022500 w 12386023"/>
                <a:gd name="connsiteY13" fmla="*/ 853479 h 2510087"/>
                <a:gd name="connsiteX14" fmla="*/ 7086513 w 12386023"/>
                <a:gd name="connsiteY14" fmla="*/ 878979 h 2510087"/>
                <a:gd name="connsiteX15" fmla="*/ 7835668 w 12386023"/>
                <a:gd name="connsiteY15" fmla="*/ 870473 h 2510087"/>
                <a:gd name="connsiteX16" fmla="*/ 8367663 w 12386023"/>
                <a:gd name="connsiteY16" fmla="*/ 861967 h 2510087"/>
                <a:gd name="connsiteX17" fmla="*/ 8988680 w 12386023"/>
                <a:gd name="connsiteY17" fmla="*/ 1264715 h 2510087"/>
                <a:gd name="connsiteX18" fmla="*/ 9558676 w 12386023"/>
                <a:gd name="connsiteY18" fmla="*/ 2091547 h 2510087"/>
                <a:gd name="connsiteX19" fmla="*/ 10490076 w 12386023"/>
                <a:gd name="connsiteY19" fmla="*/ 2510086 h 2510087"/>
                <a:gd name="connsiteX20" fmla="*/ 11536110 w 12386023"/>
                <a:gd name="connsiteY20" fmla="*/ 2091549 h 2510087"/>
                <a:gd name="connsiteX21" fmla="*/ 11827041 w 12386023"/>
                <a:gd name="connsiteY21" fmla="*/ 1445814 h 2510087"/>
                <a:gd name="connsiteX22" fmla="*/ 12137937 w 12386023"/>
                <a:gd name="connsiteY22" fmla="*/ 999707 h 2510087"/>
                <a:gd name="connsiteX23" fmla="*/ 12386023 w 12386023"/>
                <a:gd name="connsiteY23" fmla="*/ 699393 h 2510087"/>
                <a:gd name="connsiteX24" fmla="*/ 12386023 w 12386023"/>
                <a:gd name="connsiteY24" fmla="*/ 261011 h 2510087"/>
                <a:gd name="connsiteX25" fmla="*/ 11779707 w 12386023"/>
                <a:gd name="connsiteY25" fmla="*/ 435586 h 2510087"/>
                <a:gd name="connsiteX26" fmla="*/ 11399982 w 12386023"/>
                <a:gd name="connsiteY26" fmla="*/ 1047471 h 2510087"/>
                <a:gd name="connsiteX27" fmla="*/ 10943237 w 12386023"/>
                <a:gd name="connsiteY27" fmla="*/ 1661632 h 2510087"/>
                <a:gd name="connsiteX28" fmla="*/ 10375442 w 12386023"/>
                <a:gd name="connsiteY28" fmla="*/ 1618415 h 2510087"/>
                <a:gd name="connsiteX29" fmla="*/ 9868545 w 12386023"/>
                <a:gd name="connsiteY29" fmla="*/ 1058846 h 2510087"/>
                <a:gd name="connsiteX30" fmla="*/ 9393890 w 12386023"/>
                <a:gd name="connsiteY30" fmla="*/ 581165 h 2510087"/>
                <a:gd name="connsiteX31" fmla="*/ 8791091 w 12386023"/>
                <a:gd name="connsiteY31" fmla="*/ 156695 h 2510087"/>
                <a:gd name="connsiteX32" fmla="*/ 7976795 w 12386023"/>
                <a:gd name="connsiteY32" fmla="*/ 105714 h 2510087"/>
                <a:gd name="connsiteX33" fmla="*/ 7390504 w 12386023"/>
                <a:gd name="connsiteY33" fmla="*/ 199189 h 2510087"/>
                <a:gd name="connsiteX34" fmla="*/ 6683417 w 12386023"/>
                <a:gd name="connsiteY34" fmla="*/ 146630 h 2510087"/>
                <a:gd name="connsiteX35" fmla="*/ 6243077 w 12386023"/>
                <a:gd name="connsiteY35" fmla="*/ 249658 h 2510087"/>
                <a:gd name="connsiteX36" fmla="*/ 5523063 w 12386023"/>
                <a:gd name="connsiteY36" fmla="*/ 292664 h 2510087"/>
                <a:gd name="connsiteX37" fmla="*/ 4163355 w 12386023"/>
                <a:gd name="connsiteY37" fmla="*/ 90799 h 2510087"/>
                <a:gd name="connsiteX38" fmla="*/ 2711045 w 12386023"/>
                <a:gd name="connsiteY38" fmla="*/ 156695 h 2510087"/>
                <a:gd name="connsiteX39" fmla="*/ 8714713 w 12386023"/>
                <a:gd name="connsiteY39" fmla="*/ 457545 h 2510087"/>
                <a:gd name="connsiteX40" fmla="*/ 8705072 w 12386023"/>
                <a:gd name="connsiteY40" fmla="*/ 284622 h 2510087"/>
                <a:gd name="connsiteX0" fmla="*/ 8705072 w 12386023"/>
                <a:gd name="connsiteY0" fmla="*/ 215157 h 2440622"/>
                <a:gd name="connsiteX1" fmla="*/ 8742561 w 12386023"/>
                <a:gd name="connsiteY1" fmla="*/ 451663 h 2440622"/>
                <a:gd name="connsiteX2" fmla="*/ 8676628 w 12386023"/>
                <a:gd name="connsiteY2" fmla="*/ 365116 h 2440622"/>
                <a:gd name="connsiteX3" fmla="*/ 8697801 w 12386023"/>
                <a:gd name="connsiteY3" fmla="*/ 521796 h 2440622"/>
                <a:gd name="connsiteX4" fmla="*/ 8652701 w 12386023"/>
                <a:gd name="connsiteY4" fmla="*/ 707796 h 2440622"/>
                <a:gd name="connsiteX5" fmla="*/ 421075 w 12386023"/>
                <a:gd name="connsiteY5" fmla="*/ 867951 h 2440622"/>
                <a:gd name="connsiteX6" fmla="*/ 1277876 w 12386023"/>
                <a:gd name="connsiteY6" fmla="*/ 775508 h 2440622"/>
                <a:gd name="connsiteX7" fmla="*/ 1972735 w 12386023"/>
                <a:gd name="connsiteY7" fmla="*/ 809496 h 2440622"/>
                <a:gd name="connsiteX8" fmla="*/ 2428745 w 12386023"/>
                <a:gd name="connsiteY8" fmla="*/ 750008 h 2440622"/>
                <a:gd name="connsiteX9" fmla="*/ 2906467 w 12386023"/>
                <a:gd name="connsiteY9" fmla="*/ 750008 h 2440622"/>
                <a:gd name="connsiteX10" fmla="*/ 3677336 w 12386023"/>
                <a:gd name="connsiteY10" fmla="*/ 792502 h 2440622"/>
                <a:gd name="connsiteX11" fmla="*/ 4556772 w 12386023"/>
                <a:gd name="connsiteY11" fmla="*/ 775508 h 2440622"/>
                <a:gd name="connsiteX12" fmla="*/ 5186490 w 12386023"/>
                <a:gd name="connsiteY12" fmla="*/ 784014 h 2440622"/>
                <a:gd name="connsiteX13" fmla="*/ 6022500 w 12386023"/>
                <a:gd name="connsiteY13" fmla="*/ 784014 h 2440622"/>
                <a:gd name="connsiteX14" fmla="*/ 7086513 w 12386023"/>
                <a:gd name="connsiteY14" fmla="*/ 809514 h 2440622"/>
                <a:gd name="connsiteX15" fmla="*/ 7835668 w 12386023"/>
                <a:gd name="connsiteY15" fmla="*/ 801008 h 2440622"/>
                <a:gd name="connsiteX16" fmla="*/ 8367663 w 12386023"/>
                <a:gd name="connsiteY16" fmla="*/ 792502 h 2440622"/>
                <a:gd name="connsiteX17" fmla="*/ 8988680 w 12386023"/>
                <a:gd name="connsiteY17" fmla="*/ 1195250 h 2440622"/>
                <a:gd name="connsiteX18" fmla="*/ 9558676 w 12386023"/>
                <a:gd name="connsiteY18" fmla="*/ 2022082 h 2440622"/>
                <a:gd name="connsiteX19" fmla="*/ 10490076 w 12386023"/>
                <a:gd name="connsiteY19" fmla="*/ 2440621 h 2440622"/>
                <a:gd name="connsiteX20" fmla="*/ 11536110 w 12386023"/>
                <a:gd name="connsiteY20" fmla="*/ 2022084 h 2440622"/>
                <a:gd name="connsiteX21" fmla="*/ 11827041 w 12386023"/>
                <a:gd name="connsiteY21" fmla="*/ 1376349 h 2440622"/>
                <a:gd name="connsiteX22" fmla="*/ 12137937 w 12386023"/>
                <a:gd name="connsiteY22" fmla="*/ 930242 h 2440622"/>
                <a:gd name="connsiteX23" fmla="*/ 12386023 w 12386023"/>
                <a:gd name="connsiteY23" fmla="*/ 629928 h 2440622"/>
                <a:gd name="connsiteX24" fmla="*/ 12386023 w 12386023"/>
                <a:gd name="connsiteY24" fmla="*/ 191546 h 2440622"/>
                <a:gd name="connsiteX25" fmla="*/ 11779707 w 12386023"/>
                <a:gd name="connsiteY25" fmla="*/ 366121 h 2440622"/>
                <a:gd name="connsiteX26" fmla="*/ 11399982 w 12386023"/>
                <a:gd name="connsiteY26" fmla="*/ 978006 h 2440622"/>
                <a:gd name="connsiteX27" fmla="*/ 10943237 w 12386023"/>
                <a:gd name="connsiteY27" fmla="*/ 1592167 h 2440622"/>
                <a:gd name="connsiteX28" fmla="*/ 10375442 w 12386023"/>
                <a:gd name="connsiteY28" fmla="*/ 1548950 h 2440622"/>
                <a:gd name="connsiteX29" fmla="*/ 9868545 w 12386023"/>
                <a:gd name="connsiteY29" fmla="*/ 989381 h 2440622"/>
                <a:gd name="connsiteX30" fmla="*/ 9393890 w 12386023"/>
                <a:gd name="connsiteY30" fmla="*/ 511700 h 2440622"/>
                <a:gd name="connsiteX31" fmla="*/ 8791091 w 12386023"/>
                <a:gd name="connsiteY31" fmla="*/ 87230 h 2440622"/>
                <a:gd name="connsiteX32" fmla="*/ 7976795 w 12386023"/>
                <a:gd name="connsiteY32" fmla="*/ 36249 h 2440622"/>
                <a:gd name="connsiteX33" fmla="*/ 7390504 w 12386023"/>
                <a:gd name="connsiteY33" fmla="*/ 129724 h 2440622"/>
                <a:gd name="connsiteX34" fmla="*/ 6683417 w 12386023"/>
                <a:gd name="connsiteY34" fmla="*/ 77165 h 2440622"/>
                <a:gd name="connsiteX35" fmla="*/ 6243077 w 12386023"/>
                <a:gd name="connsiteY35" fmla="*/ 180193 h 2440622"/>
                <a:gd name="connsiteX36" fmla="*/ 5523063 w 12386023"/>
                <a:gd name="connsiteY36" fmla="*/ 223199 h 2440622"/>
                <a:gd name="connsiteX37" fmla="*/ 4163355 w 12386023"/>
                <a:gd name="connsiteY37" fmla="*/ 21334 h 2440622"/>
                <a:gd name="connsiteX38" fmla="*/ 9073222 w 12386023"/>
                <a:gd name="connsiteY38" fmla="*/ 815126 h 2440622"/>
                <a:gd name="connsiteX39" fmla="*/ 8714713 w 12386023"/>
                <a:gd name="connsiteY39" fmla="*/ 388080 h 2440622"/>
                <a:gd name="connsiteX40" fmla="*/ 8705072 w 12386023"/>
                <a:gd name="connsiteY40" fmla="*/ 215157 h 2440622"/>
                <a:gd name="connsiteX0" fmla="*/ 8705072 w 12386023"/>
                <a:gd name="connsiteY0" fmla="*/ 200377 h 2425842"/>
                <a:gd name="connsiteX1" fmla="*/ 8742561 w 12386023"/>
                <a:gd name="connsiteY1" fmla="*/ 436883 h 2425842"/>
                <a:gd name="connsiteX2" fmla="*/ 8676628 w 12386023"/>
                <a:gd name="connsiteY2" fmla="*/ 350336 h 2425842"/>
                <a:gd name="connsiteX3" fmla="*/ 8697801 w 12386023"/>
                <a:gd name="connsiteY3" fmla="*/ 507016 h 2425842"/>
                <a:gd name="connsiteX4" fmla="*/ 8652701 w 12386023"/>
                <a:gd name="connsiteY4" fmla="*/ 693016 h 2425842"/>
                <a:gd name="connsiteX5" fmla="*/ 421075 w 12386023"/>
                <a:gd name="connsiteY5" fmla="*/ 853171 h 2425842"/>
                <a:gd name="connsiteX6" fmla="*/ 1277876 w 12386023"/>
                <a:gd name="connsiteY6" fmla="*/ 760728 h 2425842"/>
                <a:gd name="connsiteX7" fmla="*/ 1972735 w 12386023"/>
                <a:gd name="connsiteY7" fmla="*/ 794716 h 2425842"/>
                <a:gd name="connsiteX8" fmla="*/ 2428745 w 12386023"/>
                <a:gd name="connsiteY8" fmla="*/ 735228 h 2425842"/>
                <a:gd name="connsiteX9" fmla="*/ 2906467 w 12386023"/>
                <a:gd name="connsiteY9" fmla="*/ 735228 h 2425842"/>
                <a:gd name="connsiteX10" fmla="*/ 3677336 w 12386023"/>
                <a:gd name="connsiteY10" fmla="*/ 777722 h 2425842"/>
                <a:gd name="connsiteX11" fmla="*/ 4556772 w 12386023"/>
                <a:gd name="connsiteY11" fmla="*/ 760728 h 2425842"/>
                <a:gd name="connsiteX12" fmla="*/ 5186490 w 12386023"/>
                <a:gd name="connsiteY12" fmla="*/ 769234 h 2425842"/>
                <a:gd name="connsiteX13" fmla="*/ 6022500 w 12386023"/>
                <a:gd name="connsiteY13" fmla="*/ 769234 h 2425842"/>
                <a:gd name="connsiteX14" fmla="*/ 7086513 w 12386023"/>
                <a:gd name="connsiteY14" fmla="*/ 794734 h 2425842"/>
                <a:gd name="connsiteX15" fmla="*/ 7835668 w 12386023"/>
                <a:gd name="connsiteY15" fmla="*/ 786228 h 2425842"/>
                <a:gd name="connsiteX16" fmla="*/ 8367663 w 12386023"/>
                <a:gd name="connsiteY16" fmla="*/ 777722 h 2425842"/>
                <a:gd name="connsiteX17" fmla="*/ 8988680 w 12386023"/>
                <a:gd name="connsiteY17" fmla="*/ 1180470 h 2425842"/>
                <a:gd name="connsiteX18" fmla="*/ 9558676 w 12386023"/>
                <a:gd name="connsiteY18" fmla="*/ 2007302 h 2425842"/>
                <a:gd name="connsiteX19" fmla="*/ 10490076 w 12386023"/>
                <a:gd name="connsiteY19" fmla="*/ 2425841 h 2425842"/>
                <a:gd name="connsiteX20" fmla="*/ 11536110 w 12386023"/>
                <a:gd name="connsiteY20" fmla="*/ 2007304 h 2425842"/>
                <a:gd name="connsiteX21" fmla="*/ 11827041 w 12386023"/>
                <a:gd name="connsiteY21" fmla="*/ 1361569 h 2425842"/>
                <a:gd name="connsiteX22" fmla="*/ 12137937 w 12386023"/>
                <a:gd name="connsiteY22" fmla="*/ 915462 h 2425842"/>
                <a:gd name="connsiteX23" fmla="*/ 12386023 w 12386023"/>
                <a:gd name="connsiteY23" fmla="*/ 615148 h 2425842"/>
                <a:gd name="connsiteX24" fmla="*/ 12386023 w 12386023"/>
                <a:gd name="connsiteY24" fmla="*/ 176766 h 2425842"/>
                <a:gd name="connsiteX25" fmla="*/ 11779707 w 12386023"/>
                <a:gd name="connsiteY25" fmla="*/ 351341 h 2425842"/>
                <a:gd name="connsiteX26" fmla="*/ 11399982 w 12386023"/>
                <a:gd name="connsiteY26" fmla="*/ 963226 h 2425842"/>
                <a:gd name="connsiteX27" fmla="*/ 10943237 w 12386023"/>
                <a:gd name="connsiteY27" fmla="*/ 1577387 h 2425842"/>
                <a:gd name="connsiteX28" fmla="*/ 10375442 w 12386023"/>
                <a:gd name="connsiteY28" fmla="*/ 1534170 h 2425842"/>
                <a:gd name="connsiteX29" fmla="*/ 9868545 w 12386023"/>
                <a:gd name="connsiteY29" fmla="*/ 974601 h 2425842"/>
                <a:gd name="connsiteX30" fmla="*/ 9393890 w 12386023"/>
                <a:gd name="connsiteY30" fmla="*/ 496920 h 2425842"/>
                <a:gd name="connsiteX31" fmla="*/ 8791091 w 12386023"/>
                <a:gd name="connsiteY31" fmla="*/ 72450 h 2425842"/>
                <a:gd name="connsiteX32" fmla="*/ 7976795 w 12386023"/>
                <a:gd name="connsiteY32" fmla="*/ 21469 h 2425842"/>
                <a:gd name="connsiteX33" fmla="*/ 7390504 w 12386023"/>
                <a:gd name="connsiteY33" fmla="*/ 114944 h 2425842"/>
                <a:gd name="connsiteX34" fmla="*/ 6683417 w 12386023"/>
                <a:gd name="connsiteY34" fmla="*/ 62385 h 2425842"/>
                <a:gd name="connsiteX35" fmla="*/ 6243077 w 12386023"/>
                <a:gd name="connsiteY35" fmla="*/ 165413 h 2425842"/>
                <a:gd name="connsiteX36" fmla="*/ 5523063 w 12386023"/>
                <a:gd name="connsiteY36" fmla="*/ 208419 h 2425842"/>
                <a:gd name="connsiteX37" fmla="*/ 8892001 w 12386023"/>
                <a:gd name="connsiteY37" fmla="*/ 497882 h 2425842"/>
                <a:gd name="connsiteX38" fmla="*/ 9073222 w 12386023"/>
                <a:gd name="connsiteY38" fmla="*/ 800346 h 2425842"/>
                <a:gd name="connsiteX39" fmla="*/ 8714713 w 12386023"/>
                <a:gd name="connsiteY39" fmla="*/ 373300 h 2425842"/>
                <a:gd name="connsiteX40" fmla="*/ 8705072 w 12386023"/>
                <a:gd name="connsiteY40" fmla="*/ 200377 h 2425842"/>
                <a:gd name="connsiteX0" fmla="*/ 8705072 w 12386023"/>
                <a:gd name="connsiteY0" fmla="*/ 200377 h 2425842"/>
                <a:gd name="connsiteX1" fmla="*/ 8742561 w 12386023"/>
                <a:gd name="connsiteY1" fmla="*/ 436883 h 2425842"/>
                <a:gd name="connsiteX2" fmla="*/ 8676628 w 12386023"/>
                <a:gd name="connsiteY2" fmla="*/ 350336 h 2425842"/>
                <a:gd name="connsiteX3" fmla="*/ 8697801 w 12386023"/>
                <a:gd name="connsiteY3" fmla="*/ 507016 h 2425842"/>
                <a:gd name="connsiteX4" fmla="*/ 8652701 w 12386023"/>
                <a:gd name="connsiteY4" fmla="*/ 693016 h 2425842"/>
                <a:gd name="connsiteX5" fmla="*/ 421075 w 12386023"/>
                <a:gd name="connsiteY5" fmla="*/ 853171 h 2425842"/>
                <a:gd name="connsiteX6" fmla="*/ 1277876 w 12386023"/>
                <a:gd name="connsiteY6" fmla="*/ 760728 h 2425842"/>
                <a:gd name="connsiteX7" fmla="*/ 1972735 w 12386023"/>
                <a:gd name="connsiteY7" fmla="*/ 794716 h 2425842"/>
                <a:gd name="connsiteX8" fmla="*/ 2428745 w 12386023"/>
                <a:gd name="connsiteY8" fmla="*/ 735228 h 2425842"/>
                <a:gd name="connsiteX9" fmla="*/ 2906467 w 12386023"/>
                <a:gd name="connsiteY9" fmla="*/ 735228 h 2425842"/>
                <a:gd name="connsiteX10" fmla="*/ 3677336 w 12386023"/>
                <a:gd name="connsiteY10" fmla="*/ 777722 h 2425842"/>
                <a:gd name="connsiteX11" fmla="*/ 4556772 w 12386023"/>
                <a:gd name="connsiteY11" fmla="*/ 760728 h 2425842"/>
                <a:gd name="connsiteX12" fmla="*/ 5186490 w 12386023"/>
                <a:gd name="connsiteY12" fmla="*/ 769234 h 2425842"/>
                <a:gd name="connsiteX13" fmla="*/ 6022500 w 12386023"/>
                <a:gd name="connsiteY13" fmla="*/ 769234 h 2425842"/>
                <a:gd name="connsiteX14" fmla="*/ 7086513 w 12386023"/>
                <a:gd name="connsiteY14" fmla="*/ 794734 h 2425842"/>
                <a:gd name="connsiteX15" fmla="*/ 7835668 w 12386023"/>
                <a:gd name="connsiteY15" fmla="*/ 786228 h 2425842"/>
                <a:gd name="connsiteX16" fmla="*/ 8367663 w 12386023"/>
                <a:gd name="connsiteY16" fmla="*/ 777722 h 2425842"/>
                <a:gd name="connsiteX17" fmla="*/ 8988680 w 12386023"/>
                <a:gd name="connsiteY17" fmla="*/ 1180470 h 2425842"/>
                <a:gd name="connsiteX18" fmla="*/ 9558676 w 12386023"/>
                <a:gd name="connsiteY18" fmla="*/ 2007302 h 2425842"/>
                <a:gd name="connsiteX19" fmla="*/ 10490076 w 12386023"/>
                <a:gd name="connsiteY19" fmla="*/ 2425841 h 2425842"/>
                <a:gd name="connsiteX20" fmla="*/ 11536110 w 12386023"/>
                <a:gd name="connsiteY20" fmla="*/ 2007304 h 2425842"/>
                <a:gd name="connsiteX21" fmla="*/ 11827041 w 12386023"/>
                <a:gd name="connsiteY21" fmla="*/ 1361569 h 2425842"/>
                <a:gd name="connsiteX22" fmla="*/ 12137937 w 12386023"/>
                <a:gd name="connsiteY22" fmla="*/ 915462 h 2425842"/>
                <a:gd name="connsiteX23" fmla="*/ 12386023 w 12386023"/>
                <a:gd name="connsiteY23" fmla="*/ 615148 h 2425842"/>
                <a:gd name="connsiteX24" fmla="*/ 12386023 w 12386023"/>
                <a:gd name="connsiteY24" fmla="*/ 176766 h 2425842"/>
                <a:gd name="connsiteX25" fmla="*/ 11779707 w 12386023"/>
                <a:gd name="connsiteY25" fmla="*/ 351341 h 2425842"/>
                <a:gd name="connsiteX26" fmla="*/ 11399982 w 12386023"/>
                <a:gd name="connsiteY26" fmla="*/ 963226 h 2425842"/>
                <a:gd name="connsiteX27" fmla="*/ 10943237 w 12386023"/>
                <a:gd name="connsiteY27" fmla="*/ 1577387 h 2425842"/>
                <a:gd name="connsiteX28" fmla="*/ 10375442 w 12386023"/>
                <a:gd name="connsiteY28" fmla="*/ 1534170 h 2425842"/>
                <a:gd name="connsiteX29" fmla="*/ 9868545 w 12386023"/>
                <a:gd name="connsiteY29" fmla="*/ 974601 h 2425842"/>
                <a:gd name="connsiteX30" fmla="*/ 9393890 w 12386023"/>
                <a:gd name="connsiteY30" fmla="*/ 496920 h 2425842"/>
                <a:gd name="connsiteX31" fmla="*/ 8791091 w 12386023"/>
                <a:gd name="connsiteY31" fmla="*/ 72450 h 2425842"/>
                <a:gd name="connsiteX32" fmla="*/ 7976795 w 12386023"/>
                <a:gd name="connsiteY32" fmla="*/ 21469 h 2425842"/>
                <a:gd name="connsiteX33" fmla="*/ 7390504 w 12386023"/>
                <a:gd name="connsiteY33" fmla="*/ 114944 h 2425842"/>
                <a:gd name="connsiteX34" fmla="*/ 6683417 w 12386023"/>
                <a:gd name="connsiteY34" fmla="*/ 62385 h 2425842"/>
                <a:gd name="connsiteX35" fmla="*/ 6243077 w 12386023"/>
                <a:gd name="connsiteY35" fmla="*/ 165413 h 2425842"/>
                <a:gd name="connsiteX36" fmla="*/ 9248668 w 12386023"/>
                <a:gd name="connsiteY36" fmla="*/ 535967 h 2425842"/>
                <a:gd name="connsiteX37" fmla="*/ 8892001 w 12386023"/>
                <a:gd name="connsiteY37" fmla="*/ 497882 h 2425842"/>
                <a:gd name="connsiteX38" fmla="*/ 9073222 w 12386023"/>
                <a:gd name="connsiteY38" fmla="*/ 800346 h 2425842"/>
                <a:gd name="connsiteX39" fmla="*/ 8714713 w 12386023"/>
                <a:gd name="connsiteY39" fmla="*/ 373300 h 2425842"/>
                <a:gd name="connsiteX40" fmla="*/ 8705072 w 12386023"/>
                <a:gd name="connsiteY40" fmla="*/ 200377 h 2425842"/>
                <a:gd name="connsiteX0" fmla="*/ 8705072 w 12386023"/>
                <a:gd name="connsiteY0" fmla="*/ 148058 h 2373523"/>
                <a:gd name="connsiteX1" fmla="*/ 8742561 w 12386023"/>
                <a:gd name="connsiteY1" fmla="*/ 384564 h 2373523"/>
                <a:gd name="connsiteX2" fmla="*/ 8676628 w 12386023"/>
                <a:gd name="connsiteY2" fmla="*/ 298017 h 2373523"/>
                <a:gd name="connsiteX3" fmla="*/ 8697801 w 12386023"/>
                <a:gd name="connsiteY3" fmla="*/ 454697 h 2373523"/>
                <a:gd name="connsiteX4" fmla="*/ 8652701 w 12386023"/>
                <a:gd name="connsiteY4" fmla="*/ 640697 h 2373523"/>
                <a:gd name="connsiteX5" fmla="*/ 421075 w 12386023"/>
                <a:gd name="connsiteY5" fmla="*/ 800852 h 2373523"/>
                <a:gd name="connsiteX6" fmla="*/ 1277876 w 12386023"/>
                <a:gd name="connsiteY6" fmla="*/ 708409 h 2373523"/>
                <a:gd name="connsiteX7" fmla="*/ 1972735 w 12386023"/>
                <a:gd name="connsiteY7" fmla="*/ 742397 h 2373523"/>
                <a:gd name="connsiteX8" fmla="*/ 2428745 w 12386023"/>
                <a:gd name="connsiteY8" fmla="*/ 682909 h 2373523"/>
                <a:gd name="connsiteX9" fmla="*/ 2906467 w 12386023"/>
                <a:gd name="connsiteY9" fmla="*/ 682909 h 2373523"/>
                <a:gd name="connsiteX10" fmla="*/ 3677336 w 12386023"/>
                <a:gd name="connsiteY10" fmla="*/ 725403 h 2373523"/>
                <a:gd name="connsiteX11" fmla="*/ 4556772 w 12386023"/>
                <a:gd name="connsiteY11" fmla="*/ 708409 h 2373523"/>
                <a:gd name="connsiteX12" fmla="*/ 5186490 w 12386023"/>
                <a:gd name="connsiteY12" fmla="*/ 716915 h 2373523"/>
                <a:gd name="connsiteX13" fmla="*/ 6022500 w 12386023"/>
                <a:gd name="connsiteY13" fmla="*/ 716915 h 2373523"/>
                <a:gd name="connsiteX14" fmla="*/ 7086513 w 12386023"/>
                <a:gd name="connsiteY14" fmla="*/ 742415 h 2373523"/>
                <a:gd name="connsiteX15" fmla="*/ 7835668 w 12386023"/>
                <a:gd name="connsiteY15" fmla="*/ 733909 h 2373523"/>
                <a:gd name="connsiteX16" fmla="*/ 8367663 w 12386023"/>
                <a:gd name="connsiteY16" fmla="*/ 725403 h 2373523"/>
                <a:gd name="connsiteX17" fmla="*/ 8988680 w 12386023"/>
                <a:gd name="connsiteY17" fmla="*/ 1128151 h 2373523"/>
                <a:gd name="connsiteX18" fmla="*/ 9558676 w 12386023"/>
                <a:gd name="connsiteY18" fmla="*/ 1954983 h 2373523"/>
                <a:gd name="connsiteX19" fmla="*/ 10490076 w 12386023"/>
                <a:gd name="connsiteY19" fmla="*/ 2373522 h 2373523"/>
                <a:gd name="connsiteX20" fmla="*/ 11536110 w 12386023"/>
                <a:gd name="connsiteY20" fmla="*/ 1954985 h 2373523"/>
                <a:gd name="connsiteX21" fmla="*/ 11827041 w 12386023"/>
                <a:gd name="connsiteY21" fmla="*/ 1309250 h 2373523"/>
                <a:gd name="connsiteX22" fmla="*/ 12137937 w 12386023"/>
                <a:gd name="connsiteY22" fmla="*/ 863143 h 2373523"/>
                <a:gd name="connsiteX23" fmla="*/ 12386023 w 12386023"/>
                <a:gd name="connsiteY23" fmla="*/ 562829 h 2373523"/>
                <a:gd name="connsiteX24" fmla="*/ 12386023 w 12386023"/>
                <a:gd name="connsiteY24" fmla="*/ 124447 h 2373523"/>
                <a:gd name="connsiteX25" fmla="*/ 11779707 w 12386023"/>
                <a:gd name="connsiteY25" fmla="*/ 299022 h 2373523"/>
                <a:gd name="connsiteX26" fmla="*/ 11399982 w 12386023"/>
                <a:gd name="connsiteY26" fmla="*/ 910907 h 2373523"/>
                <a:gd name="connsiteX27" fmla="*/ 10943237 w 12386023"/>
                <a:gd name="connsiteY27" fmla="*/ 1525068 h 2373523"/>
                <a:gd name="connsiteX28" fmla="*/ 10375442 w 12386023"/>
                <a:gd name="connsiteY28" fmla="*/ 1481851 h 2373523"/>
                <a:gd name="connsiteX29" fmla="*/ 9868545 w 12386023"/>
                <a:gd name="connsiteY29" fmla="*/ 922282 h 2373523"/>
                <a:gd name="connsiteX30" fmla="*/ 9393890 w 12386023"/>
                <a:gd name="connsiteY30" fmla="*/ 444601 h 2373523"/>
                <a:gd name="connsiteX31" fmla="*/ 8791091 w 12386023"/>
                <a:gd name="connsiteY31" fmla="*/ 20131 h 2373523"/>
                <a:gd name="connsiteX32" fmla="*/ 7390504 w 12386023"/>
                <a:gd name="connsiteY32" fmla="*/ 62625 h 2373523"/>
                <a:gd name="connsiteX33" fmla="*/ 6683417 w 12386023"/>
                <a:gd name="connsiteY33" fmla="*/ 10066 h 2373523"/>
                <a:gd name="connsiteX34" fmla="*/ 6243077 w 12386023"/>
                <a:gd name="connsiteY34" fmla="*/ 113094 h 2373523"/>
                <a:gd name="connsiteX35" fmla="*/ 9248668 w 12386023"/>
                <a:gd name="connsiteY35" fmla="*/ 483648 h 2373523"/>
                <a:gd name="connsiteX36" fmla="*/ 8892001 w 12386023"/>
                <a:gd name="connsiteY36" fmla="*/ 445563 h 2373523"/>
                <a:gd name="connsiteX37" fmla="*/ 9073222 w 12386023"/>
                <a:gd name="connsiteY37" fmla="*/ 748027 h 2373523"/>
                <a:gd name="connsiteX38" fmla="*/ 8714713 w 12386023"/>
                <a:gd name="connsiteY38" fmla="*/ 320981 h 2373523"/>
                <a:gd name="connsiteX39" fmla="*/ 8705072 w 12386023"/>
                <a:gd name="connsiteY39" fmla="*/ 148058 h 2373523"/>
                <a:gd name="connsiteX0" fmla="*/ 8705072 w 12386023"/>
                <a:gd name="connsiteY0" fmla="*/ 148058 h 2373523"/>
                <a:gd name="connsiteX1" fmla="*/ 8742561 w 12386023"/>
                <a:gd name="connsiteY1" fmla="*/ 384564 h 2373523"/>
                <a:gd name="connsiteX2" fmla="*/ 8676628 w 12386023"/>
                <a:gd name="connsiteY2" fmla="*/ 298017 h 2373523"/>
                <a:gd name="connsiteX3" fmla="*/ 8697801 w 12386023"/>
                <a:gd name="connsiteY3" fmla="*/ 454697 h 2373523"/>
                <a:gd name="connsiteX4" fmla="*/ 8652701 w 12386023"/>
                <a:gd name="connsiteY4" fmla="*/ 640697 h 2373523"/>
                <a:gd name="connsiteX5" fmla="*/ 421075 w 12386023"/>
                <a:gd name="connsiteY5" fmla="*/ 800852 h 2373523"/>
                <a:gd name="connsiteX6" fmla="*/ 1277876 w 12386023"/>
                <a:gd name="connsiteY6" fmla="*/ 708409 h 2373523"/>
                <a:gd name="connsiteX7" fmla="*/ 1972735 w 12386023"/>
                <a:gd name="connsiteY7" fmla="*/ 742397 h 2373523"/>
                <a:gd name="connsiteX8" fmla="*/ 2428745 w 12386023"/>
                <a:gd name="connsiteY8" fmla="*/ 682909 h 2373523"/>
                <a:gd name="connsiteX9" fmla="*/ 2906467 w 12386023"/>
                <a:gd name="connsiteY9" fmla="*/ 682909 h 2373523"/>
                <a:gd name="connsiteX10" fmla="*/ 3677336 w 12386023"/>
                <a:gd name="connsiteY10" fmla="*/ 725403 h 2373523"/>
                <a:gd name="connsiteX11" fmla="*/ 4556772 w 12386023"/>
                <a:gd name="connsiteY11" fmla="*/ 708409 h 2373523"/>
                <a:gd name="connsiteX12" fmla="*/ 5186490 w 12386023"/>
                <a:gd name="connsiteY12" fmla="*/ 716915 h 2373523"/>
                <a:gd name="connsiteX13" fmla="*/ 6022500 w 12386023"/>
                <a:gd name="connsiteY13" fmla="*/ 716915 h 2373523"/>
                <a:gd name="connsiteX14" fmla="*/ 7086513 w 12386023"/>
                <a:gd name="connsiteY14" fmla="*/ 742415 h 2373523"/>
                <a:gd name="connsiteX15" fmla="*/ 7835668 w 12386023"/>
                <a:gd name="connsiteY15" fmla="*/ 733909 h 2373523"/>
                <a:gd name="connsiteX16" fmla="*/ 8367663 w 12386023"/>
                <a:gd name="connsiteY16" fmla="*/ 725403 h 2373523"/>
                <a:gd name="connsiteX17" fmla="*/ 8988680 w 12386023"/>
                <a:gd name="connsiteY17" fmla="*/ 1128151 h 2373523"/>
                <a:gd name="connsiteX18" fmla="*/ 9558676 w 12386023"/>
                <a:gd name="connsiteY18" fmla="*/ 1954983 h 2373523"/>
                <a:gd name="connsiteX19" fmla="*/ 10490076 w 12386023"/>
                <a:gd name="connsiteY19" fmla="*/ 2373522 h 2373523"/>
                <a:gd name="connsiteX20" fmla="*/ 11536110 w 12386023"/>
                <a:gd name="connsiteY20" fmla="*/ 1954985 h 2373523"/>
                <a:gd name="connsiteX21" fmla="*/ 11827041 w 12386023"/>
                <a:gd name="connsiteY21" fmla="*/ 1309250 h 2373523"/>
                <a:gd name="connsiteX22" fmla="*/ 12137937 w 12386023"/>
                <a:gd name="connsiteY22" fmla="*/ 863143 h 2373523"/>
                <a:gd name="connsiteX23" fmla="*/ 12386023 w 12386023"/>
                <a:gd name="connsiteY23" fmla="*/ 562829 h 2373523"/>
                <a:gd name="connsiteX24" fmla="*/ 12386023 w 12386023"/>
                <a:gd name="connsiteY24" fmla="*/ 124447 h 2373523"/>
                <a:gd name="connsiteX25" fmla="*/ 11779707 w 12386023"/>
                <a:gd name="connsiteY25" fmla="*/ 299022 h 2373523"/>
                <a:gd name="connsiteX26" fmla="*/ 11399982 w 12386023"/>
                <a:gd name="connsiteY26" fmla="*/ 910907 h 2373523"/>
                <a:gd name="connsiteX27" fmla="*/ 10943237 w 12386023"/>
                <a:gd name="connsiteY27" fmla="*/ 1525068 h 2373523"/>
                <a:gd name="connsiteX28" fmla="*/ 10375442 w 12386023"/>
                <a:gd name="connsiteY28" fmla="*/ 1481851 h 2373523"/>
                <a:gd name="connsiteX29" fmla="*/ 9868545 w 12386023"/>
                <a:gd name="connsiteY29" fmla="*/ 922282 h 2373523"/>
                <a:gd name="connsiteX30" fmla="*/ 9393890 w 12386023"/>
                <a:gd name="connsiteY30" fmla="*/ 444601 h 2373523"/>
                <a:gd name="connsiteX31" fmla="*/ 8791091 w 12386023"/>
                <a:gd name="connsiteY31" fmla="*/ 20131 h 2373523"/>
                <a:gd name="connsiteX32" fmla="*/ 7390504 w 12386023"/>
                <a:gd name="connsiteY32" fmla="*/ 62625 h 2373523"/>
                <a:gd name="connsiteX33" fmla="*/ 6243077 w 12386023"/>
                <a:gd name="connsiteY33" fmla="*/ 113094 h 2373523"/>
                <a:gd name="connsiteX34" fmla="*/ 9248668 w 12386023"/>
                <a:gd name="connsiteY34" fmla="*/ 483648 h 2373523"/>
                <a:gd name="connsiteX35" fmla="*/ 8892001 w 12386023"/>
                <a:gd name="connsiteY35" fmla="*/ 445563 h 2373523"/>
                <a:gd name="connsiteX36" fmla="*/ 9073222 w 12386023"/>
                <a:gd name="connsiteY36" fmla="*/ 748027 h 2373523"/>
                <a:gd name="connsiteX37" fmla="*/ 8714713 w 12386023"/>
                <a:gd name="connsiteY37" fmla="*/ 320981 h 2373523"/>
                <a:gd name="connsiteX38" fmla="*/ 8705072 w 12386023"/>
                <a:gd name="connsiteY38" fmla="*/ 148058 h 2373523"/>
                <a:gd name="connsiteX0" fmla="*/ 8705072 w 12386023"/>
                <a:gd name="connsiteY0" fmla="*/ 148058 h 2373523"/>
                <a:gd name="connsiteX1" fmla="*/ 8742561 w 12386023"/>
                <a:gd name="connsiteY1" fmla="*/ 384564 h 2373523"/>
                <a:gd name="connsiteX2" fmla="*/ 8676628 w 12386023"/>
                <a:gd name="connsiteY2" fmla="*/ 298017 h 2373523"/>
                <a:gd name="connsiteX3" fmla="*/ 8697801 w 12386023"/>
                <a:gd name="connsiteY3" fmla="*/ 454697 h 2373523"/>
                <a:gd name="connsiteX4" fmla="*/ 8652701 w 12386023"/>
                <a:gd name="connsiteY4" fmla="*/ 640697 h 2373523"/>
                <a:gd name="connsiteX5" fmla="*/ 421075 w 12386023"/>
                <a:gd name="connsiteY5" fmla="*/ 800852 h 2373523"/>
                <a:gd name="connsiteX6" fmla="*/ 1277876 w 12386023"/>
                <a:gd name="connsiteY6" fmla="*/ 708409 h 2373523"/>
                <a:gd name="connsiteX7" fmla="*/ 1972735 w 12386023"/>
                <a:gd name="connsiteY7" fmla="*/ 742397 h 2373523"/>
                <a:gd name="connsiteX8" fmla="*/ 2428745 w 12386023"/>
                <a:gd name="connsiteY8" fmla="*/ 682909 h 2373523"/>
                <a:gd name="connsiteX9" fmla="*/ 2906467 w 12386023"/>
                <a:gd name="connsiteY9" fmla="*/ 682909 h 2373523"/>
                <a:gd name="connsiteX10" fmla="*/ 3677336 w 12386023"/>
                <a:gd name="connsiteY10" fmla="*/ 725403 h 2373523"/>
                <a:gd name="connsiteX11" fmla="*/ 4556772 w 12386023"/>
                <a:gd name="connsiteY11" fmla="*/ 708409 h 2373523"/>
                <a:gd name="connsiteX12" fmla="*/ 5186490 w 12386023"/>
                <a:gd name="connsiteY12" fmla="*/ 716915 h 2373523"/>
                <a:gd name="connsiteX13" fmla="*/ 6022500 w 12386023"/>
                <a:gd name="connsiteY13" fmla="*/ 716915 h 2373523"/>
                <a:gd name="connsiteX14" fmla="*/ 7086513 w 12386023"/>
                <a:gd name="connsiteY14" fmla="*/ 742415 h 2373523"/>
                <a:gd name="connsiteX15" fmla="*/ 7835668 w 12386023"/>
                <a:gd name="connsiteY15" fmla="*/ 733909 h 2373523"/>
                <a:gd name="connsiteX16" fmla="*/ 8367663 w 12386023"/>
                <a:gd name="connsiteY16" fmla="*/ 725403 h 2373523"/>
                <a:gd name="connsiteX17" fmla="*/ 8988680 w 12386023"/>
                <a:gd name="connsiteY17" fmla="*/ 1128151 h 2373523"/>
                <a:gd name="connsiteX18" fmla="*/ 9558676 w 12386023"/>
                <a:gd name="connsiteY18" fmla="*/ 1954983 h 2373523"/>
                <a:gd name="connsiteX19" fmla="*/ 10490076 w 12386023"/>
                <a:gd name="connsiteY19" fmla="*/ 2373522 h 2373523"/>
                <a:gd name="connsiteX20" fmla="*/ 11536110 w 12386023"/>
                <a:gd name="connsiteY20" fmla="*/ 1954985 h 2373523"/>
                <a:gd name="connsiteX21" fmla="*/ 11827041 w 12386023"/>
                <a:gd name="connsiteY21" fmla="*/ 1309250 h 2373523"/>
                <a:gd name="connsiteX22" fmla="*/ 12137937 w 12386023"/>
                <a:gd name="connsiteY22" fmla="*/ 863143 h 2373523"/>
                <a:gd name="connsiteX23" fmla="*/ 12386023 w 12386023"/>
                <a:gd name="connsiteY23" fmla="*/ 562829 h 2373523"/>
                <a:gd name="connsiteX24" fmla="*/ 12386023 w 12386023"/>
                <a:gd name="connsiteY24" fmla="*/ 124447 h 2373523"/>
                <a:gd name="connsiteX25" fmla="*/ 11779707 w 12386023"/>
                <a:gd name="connsiteY25" fmla="*/ 299022 h 2373523"/>
                <a:gd name="connsiteX26" fmla="*/ 11399982 w 12386023"/>
                <a:gd name="connsiteY26" fmla="*/ 910907 h 2373523"/>
                <a:gd name="connsiteX27" fmla="*/ 10943237 w 12386023"/>
                <a:gd name="connsiteY27" fmla="*/ 1525068 h 2373523"/>
                <a:gd name="connsiteX28" fmla="*/ 10375442 w 12386023"/>
                <a:gd name="connsiteY28" fmla="*/ 1481851 h 2373523"/>
                <a:gd name="connsiteX29" fmla="*/ 9868545 w 12386023"/>
                <a:gd name="connsiteY29" fmla="*/ 922282 h 2373523"/>
                <a:gd name="connsiteX30" fmla="*/ 9393890 w 12386023"/>
                <a:gd name="connsiteY30" fmla="*/ 444601 h 2373523"/>
                <a:gd name="connsiteX31" fmla="*/ 8791091 w 12386023"/>
                <a:gd name="connsiteY31" fmla="*/ 20131 h 2373523"/>
                <a:gd name="connsiteX32" fmla="*/ 7390504 w 12386023"/>
                <a:gd name="connsiteY32" fmla="*/ 62625 h 2373523"/>
                <a:gd name="connsiteX33" fmla="*/ 9248668 w 12386023"/>
                <a:gd name="connsiteY33" fmla="*/ 483648 h 2373523"/>
                <a:gd name="connsiteX34" fmla="*/ 8892001 w 12386023"/>
                <a:gd name="connsiteY34" fmla="*/ 445563 h 2373523"/>
                <a:gd name="connsiteX35" fmla="*/ 9073222 w 12386023"/>
                <a:gd name="connsiteY35" fmla="*/ 748027 h 2373523"/>
                <a:gd name="connsiteX36" fmla="*/ 8714713 w 12386023"/>
                <a:gd name="connsiteY36" fmla="*/ 320981 h 2373523"/>
                <a:gd name="connsiteX37" fmla="*/ 8705072 w 12386023"/>
                <a:gd name="connsiteY37" fmla="*/ 148058 h 2373523"/>
                <a:gd name="connsiteX0" fmla="*/ 8705072 w 12386023"/>
                <a:gd name="connsiteY0" fmla="*/ 148058 h 2373523"/>
                <a:gd name="connsiteX1" fmla="*/ 8742561 w 12386023"/>
                <a:gd name="connsiteY1" fmla="*/ 384564 h 2373523"/>
                <a:gd name="connsiteX2" fmla="*/ 8676628 w 12386023"/>
                <a:gd name="connsiteY2" fmla="*/ 298017 h 2373523"/>
                <a:gd name="connsiteX3" fmla="*/ 8697801 w 12386023"/>
                <a:gd name="connsiteY3" fmla="*/ 454697 h 2373523"/>
                <a:gd name="connsiteX4" fmla="*/ 8652701 w 12386023"/>
                <a:gd name="connsiteY4" fmla="*/ 640697 h 2373523"/>
                <a:gd name="connsiteX5" fmla="*/ 421075 w 12386023"/>
                <a:gd name="connsiteY5" fmla="*/ 800852 h 2373523"/>
                <a:gd name="connsiteX6" fmla="*/ 1277876 w 12386023"/>
                <a:gd name="connsiteY6" fmla="*/ 708409 h 2373523"/>
                <a:gd name="connsiteX7" fmla="*/ 1972735 w 12386023"/>
                <a:gd name="connsiteY7" fmla="*/ 742397 h 2373523"/>
                <a:gd name="connsiteX8" fmla="*/ 2428745 w 12386023"/>
                <a:gd name="connsiteY8" fmla="*/ 682909 h 2373523"/>
                <a:gd name="connsiteX9" fmla="*/ 2906467 w 12386023"/>
                <a:gd name="connsiteY9" fmla="*/ 682909 h 2373523"/>
                <a:gd name="connsiteX10" fmla="*/ 3677336 w 12386023"/>
                <a:gd name="connsiteY10" fmla="*/ 725403 h 2373523"/>
                <a:gd name="connsiteX11" fmla="*/ 4556772 w 12386023"/>
                <a:gd name="connsiteY11" fmla="*/ 708409 h 2373523"/>
                <a:gd name="connsiteX12" fmla="*/ 5186490 w 12386023"/>
                <a:gd name="connsiteY12" fmla="*/ 716915 h 2373523"/>
                <a:gd name="connsiteX13" fmla="*/ 6022500 w 12386023"/>
                <a:gd name="connsiteY13" fmla="*/ 716915 h 2373523"/>
                <a:gd name="connsiteX14" fmla="*/ 7086513 w 12386023"/>
                <a:gd name="connsiteY14" fmla="*/ 742415 h 2373523"/>
                <a:gd name="connsiteX15" fmla="*/ 7835668 w 12386023"/>
                <a:gd name="connsiteY15" fmla="*/ 733909 h 2373523"/>
                <a:gd name="connsiteX16" fmla="*/ 8367663 w 12386023"/>
                <a:gd name="connsiteY16" fmla="*/ 725403 h 2373523"/>
                <a:gd name="connsiteX17" fmla="*/ 8988680 w 12386023"/>
                <a:gd name="connsiteY17" fmla="*/ 1128151 h 2373523"/>
                <a:gd name="connsiteX18" fmla="*/ 9558676 w 12386023"/>
                <a:gd name="connsiteY18" fmla="*/ 1954983 h 2373523"/>
                <a:gd name="connsiteX19" fmla="*/ 10490076 w 12386023"/>
                <a:gd name="connsiteY19" fmla="*/ 2373522 h 2373523"/>
                <a:gd name="connsiteX20" fmla="*/ 11536110 w 12386023"/>
                <a:gd name="connsiteY20" fmla="*/ 1954985 h 2373523"/>
                <a:gd name="connsiteX21" fmla="*/ 11827041 w 12386023"/>
                <a:gd name="connsiteY21" fmla="*/ 1309250 h 2373523"/>
                <a:gd name="connsiteX22" fmla="*/ 12137937 w 12386023"/>
                <a:gd name="connsiteY22" fmla="*/ 863143 h 2373523"/>
                <a:gd name="connsiteX23" fmla="*/ 12386023 w 12386023"/>
                <a:gd name="connsiteY23" fmla="*/ 562829 h 2373523"/>
                <a:gd name="connsiteX24" fmla="*/ 12386023 w 12386023"/>
                <a:gd name="connsiteY24" fmla="*/ 124447 h 2373523"/>
                <a:gd name="connsiteX25" fmla="*/ 11779707 w 12386023"/>
                <a:gd name="connsiteY25" fmla="*/ 299022 h 2373523"/>
                <a:gd name="connsiteX26" fmla="*/ 11399982 w 12386023"/>
                <a:gd name="connsiteY26" fmla="*/ 910907 h 2373523"/>
                <a:gd name="connsiteX27" fmla="*/ 10943237 w 12386023"/>
                <a:gd name="connsiteY27" fmla="*/ 1525068 h 2373523"/>
                <a:gd name="connsiteX28" fmla="*/ 10375442 w 12386023"/>
                <a:gd name="connsiteY28" fmla="*/ 1481851 h 2373523"/>
                <a:gd name="connsiteX29" fmla="*/ 9868545 w 12386023"/>
                <a:gd name="connsiteY29" fmla="*/ 922282 h 2373523"/>
                <a:gd name="connsiteX30" fmla="*/ 9393890 w 12386023"/>
                <a:gd name="connsiteY30" fmla="*/ 444601 h 2373523"/>
                <a:gd name="connsiteX31" fmla="*/ 8791091 w 12386023"/>
                <a:gd name="connsiteY31" fmla="*/ 20131 h 2373523"/>
                <a:gd name="connsiteX32" fmla="*/ 7390504 w 12386023"/>
                <a:gd name="connsiteY32" fmla="*/ 62625 h 2373523"/>
                <a:gd name="connsiteX33" fmla="*/ 9248668 w 12386023"/>
                <a:gd name="connsiteY33" fmla="*/ 483648 h 2373523"/>
                <a:gd name="connsiteX34" fmla="*/ 8892001 w 12386023"/>
                <a:gd name="connsiteY34" fmla="*/ 445563 h 2373523"/>
                <a:gd name="connsiteX35" fmla="*/ 9073222 w 12386023"/>
                <a:gd name="connsiteY35" fmla="*/ 748027 h 2373523"/>
                <a:gd name="connsiteX36" fmla="*/ 8705072 w 12386023"/>
                <a:gd name="connsiteY36" fmla="*/ 148058 h 2373523"/>
                <a:gd name="connsiteX0" fmla="*/ 8705072 w 12386023"/>
                <a:gd name="connsiteY0" fmla="*/ 148058 h 2373523"/>
                <a:gd name="connsiteX1" fmla="*/ 8742561 w 12386023"/>
                <a:gd name="connsiteY1" fmla="*/ 384564 h 2373523"/>
                <a:gd name="connsiteX2" fmla="*/ 8697801 w 12386023"/>
                <a:gd name="connsiteY2" fmla="*/ 454697 h 2373523"/>
                <a:gd name="connsiteX3" fmla="*/ 8652701 w 12386023"/>
                <a:gd name="connsiteY3" fmla="*/ 640697 h 2373523"/>
                <a:gd name="connsiteX4" fmla="*/ 421075 w 12386023"/>
                <a:gd name="connsiteY4" fmla="*/ 800852 h 2373523"/>
                <a:gd name="connsiteX5" fmla="*/ 1277876 w 12386023"/>
                <a:gd name="connsiteY5" fmla="*/ 708409 h 2373523"/>
                <a:gd name="connsiteX6" fmla="*/ 1972735 w 12386023"/>
                <a:gd name="connsiteY6" fmla="*/ 742397 h 2373523"/>
                <a:gd name="connsiteX7" fmla="*/ 2428745 w 12386023"/>
                <a:gd name="connsiteY7" fmla="*/ 682909 h 2373523"/>
                <a:gd name="connsiteX8" fmla="*/ 2906467 w 12386023"/>
                <a:gd name="connsiteY8" fmla="*/ 682909 h 2373523"/>
                <a:gd name="connsiteX9" fmla="*/ 3677336 w 12386023"/>
                <a:gd name="connsiteY9" fmla="*/ 725403 h 2373523"/>
                <a:gd name="connsiteX10" fmla="*/ 4556772 w 12386023"/>
                <a:gd name="connsiteY10" fmla="*/ 708409 h 2373523"/>
                <a:gd name="connsiteX11" fmla="*/ 5186490 w 12386023"/>
                <a:gd name="connsiteY11" fmla="*/ 716915 h 2373523"/>
                <a:gd name="connsiteX12" fmla="*/ 6022500 w 12386023"/>
                <a:gd name="connsiteY12" fmla="*/ 716915 h 2373523"/>
                <a:gd name="connsiteX13" fmla="*/ 7086513 w 12386023"/>
                <a:gd name="connsiteY13" fmla="*/ 742415 h 2373523"/>
                <a:gd name="connsiteX14" fmla="*/ 7835668 w 12386023"/>
                <a:gd name="connsiteY14" fmla="*/ 733909 h 2373523"/>
                <a:gd name="connsiteX15" fmla="*/ 8367663 w 12386023"/>
                <a:gd name="connsiteY15" fmla="*/ 725403 h 2373523"/>
                <a:gd name="connsiteX16" fmla="*/ 8988680 w 12386023"/>
                <a:gd name="connsiteY16" fmla="*/ 1128151 h 2373523"/>
                <a:gd name="connsiteX17" fmla="*/ 9558676 w 12386023"/>
                <a:gd name="connsiteY17" fmla="*/ 1954983 h 2373523"/>
                <a:gd name="connsiteX18" fmla="*/ 10490076 w 12386023"/>
                <a:gd name="connsiteY18" fmla="*/ 2373522 h 2373523"/>
                <a:gd name="connsiteX19" fmla="*/ 11536110 w 12386023"/>
                <a:gd name="connsiteY19" fmla="*/ 1954985 h 2373523"/>
                <a:gd name="connsiteX20" fmla="*/ 11827041 w 12386023"/>
                <a:gd name="connsiteY20" fmla="*/ 1309250 h 2373523"/>
                <a:gd name="connsiteX21" fmla="*/ 12137937 w 12386023"/>
                <a:gd name="connsiteY21" fmla="*/ 863143 h 2373523"/>
                <a:gd name="connsiteX22" fmla="*/ 12386023 w 12386023"/>
                <a:gd name="connsiteY22" fmla="*/ 562829 h 2373523"/>
                <a:gd name="connsiteX23" fmla="*/ 12386023 w 12386023"/>
                <a:gd name="connsiteY23" fmla="*/ 124447 h 2373523"/>
                <a:gd name="connsiteX24" fmla="*/ 11779707 w 12386023"/>
                <a:gd name="connsiteY24" fmla="*/ 299022 h 2373523"/>
                <a:gd name="connsiteX25" fmla="*/ 11399982 w 12386023"/>
                <a:gd name="connsiteY25" fmla="*/ 910907 h 2373523"/>
                <a:gd name="connsiteX26" fmla="*/ 10943237 w 12386023"/>
                <a:gd name="connsiteY26" fmla="*/ 1525068 h 2373523"/>
                <a:gd name="connsiteX27" fmla="*/ 10375442 w 12386023"/>
                <a:gd name="connsiteY27" fmla="*/ 1481851 h 2373523"/>
                <a:gd name="connsiteX28" fmla="*/ 9868545 w 12386023"/>
                <a:gd name="connsiteY28" fmla="*/ 922282 h 2373523"/>
                <a:gd name="connsiteX29" fmla="*/ 9393890 w 12386023"/>
                <a:gd name="connsiteY29" fmla="*/ 444601 h 2373523"/>
                <a:gd name="connsiteX30" fmla="*/ 8791091 w 12386023"/>
                <a:gd name="connsiteY30" fmla="*/ 20131 h 2373523"/>
                <a:gd name="connsiteX31" fmla="*/ 7390504 w 12386023"/>
                <a:gd name="connsiteY31" fmla="*/ 62625 h 2373523"/>
                <a:gd name="connsiteX32" fmla="*/ 9248668 w 12386023"/>
                <a:gd name="connsiteY32" fmla="*/ 483648 h 2373523"/>
                <a:gd name="connsiteX33" fmla="*/ 8892001 w 12386023"/>
                <a:gd name="connsiteY33" fmla="*/ 445563 h 2373523"/>
                <a:gd name="connsiteX34" fmla="*/ 9073222 w 12386023"/>
                <a:gd name="connsiteY34" fmla="*/ 748027 h 2373523"/>
                <a:gd name="connsiteX35" fmla="*/ 8705072 w 12386023"/>
                <a:gd name="connsiteY35" fmla="*/ 148058 h 2373523"/>
                <a:gd name="connsiteX0" fmla="*/ 8705072 w 12386023"/>
                <a:gd name="connsiteY0" fmla="*/ 148058 h 2373523"/>
                <a:gd name="connsiteX1" fmla="*/ 8697801 w 12386023"/>
                <a:gd name="connsiteY1" fmla="*/ 454697 h 2373523"/>
                <a:gd name="connsiteX2" fmla="*/ 8652701 w 12386023"/>
                <a:gd name="connsiteY2" fmla="*/ 640697 h 2373523"/>
                <a:gd name="connsiteX3" fmla="*/ 421075 w 12386023"/>
                <a:gd name="connsiteY3" fmla="*/ 800852 h 2373523"/>
                <a:gd name="connsiteX4" fmla="*/ 1277876 w 12386023"/>
                <a:gd name="connsiteY4" fmla="*/ 708409 h 2373523"/>
                <a:gd name="connsiteX5" fmla="*/ 1972735 w 12386023"/>
                <a:gd name="connsiteY5" fmla="*/ 742397 h 2373523"/>
                <a:gd name="connsiteX6" fmla="*/ 2428745 w 12386023"/>
                <a:gd name="connsiteY6" fmla="*/ 682909 h 2373523"/>
                <a:gd name="connsiteX7" fmla="*/ 2906467 w 12386023"/>
                <a:gd name="connsiteY7" fmla="*/ 682909 h 2373523"/>
                <a:gd name="connsiteX8" fmla="*/ 3677336 w 12386023"/>
                <a:gd name="connsiteY8" fmla="*/ 725403 h 2373523"/>
                <a:gd name="connsiteX9" fmla="*/ 4556772 w 12386023"/>
                <a:gd name="connsiteY9" fmla="*/ 708409 h 2373523"/>
                <a:gd name="connsiteX10" fmla="*/ 5186490 w 12386023"/>
                <a:gd name="connsiteY10" fmla="*/ 716915 h 2373523"/>
                <a:gd name="connsiteX11" fmla="*/ 6022500 w 12386023"/>
                <a:gd name="connsiteY11" fmla="*/ 716915 h 2373523"/>
                <a:gd name="connsiteX12" fmla="*/ 7086513 w 12386023"/>
                <a:gd name="connsiteY12" fmla="*/ 742415 h 2373523"/>
                <a:gd name="connsiteX13" fmla="*/ 7835668 w 12386023"/>
                <a:gd name="connsiteY13" fmla="*/ 733909 h 2373523"/>
                <a:gd name="connsiteX14" fmla="*/ 8367663 w 12386023"/>
                <a:gd name="connsiteY14" fmla="*/ 725403 h 2373523"/>
                <a:gd name="connsiteX15" fmla="*/ 8988680 w 12386023"/>
                <a:gd name="connsiteY15" fmla="*/ 1128151 h 2373523"/>
                <a:gd name="connsiteX16" fmla="*/ 9558676 w 12386023"/>
                <a:gd name="connsiteY16" fmla="*/ 1954983 h 2373523"/>
                <a:gd name="connsiteX17" fmla="*/ 10490076 w 12386023"/>
                <a:gd name="connsiteY17" fmla="*/ 2373522 h 2373523"/>
                <a:gd name="connsiteX18" fmla="*/ 11536110 w 12386023"/>
                <a:gd name="connsiteY18" fmla="*/ 1954985 h 2373523"/>
                <a:gd name="connsiteX19" fmla="*/ 11827041 w 12386023"/>
                <a:gd name="connsiteY19" fmla="*/ 1309250 h 2373523"/>
                <a:gd name="connsiteX20" fmla="*/ 12137937 w 12386023"/>
                <a:gd name="connsiteY20" fmla="*/ 863143 h 2373523"/>
                <a:gd name="connsiteX21" fmla="*/ 12386023 w 12386023"/>
                <a:gd name="connsiteY21" fmla="*/ 562829 h 2373523"/>
                <a:gd name="connsiteX22" fmla="*/ 12386023 w 12386023"/>
                <a:gd name="connsiteY22" fmla="*/ 124447 h 2373523"/>
                <a:gd name="connsiteX23" fmla="*/ 11779707 w 12386023"/>
                <a:gd name="connsiteY23" fmla="*/ 299022 h 2373523"/>
                <a:gd name="connsiteX24" fmla="*/ 11399982 w 12386023"/>
                <a:gd name="connsiteY24" fmla="*/ 910907 h 2373523"/>
                <a:gd name="connsiteX25" fmla="*/ 10943237 w 12386023"/>
                <a:gd name="connsiteY25" fmla="*/ 1525068 h 2373523"/>
                <a:gd name="connsiteX26" fmla="*/ 10375442 w 12386023"/>
                <a:gd name="connsiteY26" fmla="*/ 1481851 h 2373523"/>
                <a:gd name="connsiteX27" fmla="*/ 9868545 w 12386023"/>
                <a:gd name="connsiteY27" fmla="*/ 922282 h 2373523"/>
                <a:gd name="connsiteX28" fmla="*/ 9393890 w 12386023"/>
                <a:gd name="connsiteY28" fmla="*/ 444601 h 2373523"/>
                <a:gd name="connsiteX29" fmla="*/ 8791091 w 12386023"/>
                <a:gd name="connsiteY29" fmla="*/ 20131 h 2373523"/>
                <a:gd name="connsiteX30" fmla="*/ 7390504 w 12386023"/>
                <a:gd name="connsiteY30" fmla="*/ 62625 h 2373523"/>
                <a:gd name="connsiteX31" fmla="*/ 9248668 w 12386023"/>
                <a:gd name="connsiteY31" fmla="*/ 483648 h 2373523"/>
                <a:gd name="connsiteX32" fmla="*/ 8892001 w 12386023"/>
                <a:gd name="connsiteY32" fmla="*/ 445563 h 2373523"/>
                <a:gd name="connsiteX33" fmla="*/ 9073222 w 12386023"/>
                <a:gd name="connsiteY33" fmla="*/ 748027 h 2373523"/>
                <a:gd name="connsiteX34" fmla="*/ 8705072 w 12386023"/>
                <a:gd name="connsiteY34" fmla="*/ 148058 h 2373523"/>
                <a:gd name="connsiteX0" fmla="*/ 9073222 w 12386023"/>
                <a:gd name="connsiteY0" fmla="*/ 748027 h 2373523"/>
                <a:gd name="connsiteX1" fmla="*/ 8697801 w 12386023"/>
                <a:gd name="connsiteY1" fmla="*/ 454697 h 2373523"/>
                <a:gd name="connsiteX2" fmla="*/ 8652701 w 12386023"/>
                <a:gd name="connsiteY2" fmla="*/ 640697 h 2373523"/>
                <a:gd name="connsiteX3" fmla="*/ 421075 w 12386023"/>
                <a:gd name="connsiteY3" fmla="*/ 800852 h 2373523"/>
                <a:gd name="connsiteX4" fmla="*/ 1277876 w 12386023"/>
                <a:gd name="connsiteY4" fmla="*/ 708409 h 2373523"/>
                <a:gd name="connsiteX5" fmla="*/ 1972735 w 12386023"/>
                <a:gd name="connsiteY5" fmla="*/ 742397 h 2373523"/>
                <a:gd name="connsiteX6" fmla="*/ 2428745 w 12386023"/>
                <a:gd name="connsiteY6" fmla="*/ 682909 h 2373523"/>
                <a:gd name="connsiteX7" fmla="*/ 2906467 w 12386023"/>
                <a:gd name="connsiteY7" fmla="*/ 682909 h 2373523"/>
                <a:gd name="connsiteX8" fmla="*/ 3677336 w 12386023"/>
                <a:gd name="connsiteY8" fmla="*/ 725403 h 2373523"/>
                <a:gd name="connsiteX9" fmla="*/ 4556772 w 12386023"/>
                <a:gd name="connsiteY9" fmla="*/ 708409 h 2373523"/>
                <a:gd name="connsiteX10" fmla="*/ 5186490 w 12386023"/>
                <a:gd name="connsiteY10" fmla="*/ 716915 h 2373523"/>
                <a:gd name="connsiteX11" fmla="*/ 6022500 w 12386023"/>
                <a:gd name="connsiteY11" fmla="*/ 716915 h 2373523"/>
                <a:gd name="connsiteX12" fmla="*/ 7086513 w 12386023"/>
                <a:gd name="connsiteY12" fmla="*/ 742415 h 2373523"/>
                <a:gd name="connsiteX13" fmla="*/ 7835668 w 12386023"/>
                <a:gd name="connsiteY13" fmla="*/ 733909 h 2373523"/>
                <a:gd name="connsiteX14" fmla="*/ 8367663 w 12386023"/>
                <a:gd name="connsiteY14" fmla="*/ 725403 h 2373523"/>
                <a:gd name="connsiteX15" fmla="*/ 8988680 w 12386023"/>
                <a:gd name="connsiteY15" fmla="*/ 1128151 h 2373523"/>
                <a:gd name="connsiteX16" fmla="*/ 9558676 w 12386023"/>
                <a:gd name="connsiteY16" fmla="*/ 1954983 h 2373523"/>
                <a:gd name="connsiteX17" fmla="*/ 10490076 w 12386023"/>
                <a:gd name="connsiteY17" fmla="*/ 2373522 h 2373523"/>
                <a:gd name="connsiteX18" fmla="*/ 11536110 w 12386023"/>
                <a:gd name="connsiteY18" fmla="*/ 1954985 h 2373523"/>
                <a:gd name="connsiteX19" fmla="*/ 11827041 w 12386023"/>
                <a:gd name="connsiteY19" fmla="*/ 1309250 h 2373523"/>
                <a:gd name="connsiteX20" fmla="*/ 12137937 w 12386023"/>
                <a:gd name="connsiteY20" fmla="*/ 863143 h 2373523"/>
                <a:gd name="connsiteX21" fmla="*/ 12386023 w 12386023"/>
                <a:gd name="connsiteY21" fmla="*/ 562829 h 2373523"/>
                <a:gd name="connsiteX22" fmla="*/ 12386023 w 12386023"/>
                <a:gd name="connsiteY22" fmla="*/ 124447 h 2373523"/>
                <a:gd name="connsiteX23" fmla="*/ 11779707 w 12386023"/>
                <a:gd name="connsiteY23" fmla="*/ 299022 h 2373523"/>
                <a:gd name="connsiteX24" fmla="*/ 11399982 w 12386023"/>
                <a:gd name="connsiteY24" fmla="*/ 910907 h 2373523"/>
                <a:gd name="connsiteX25" fmla="*/ 10943237 w 12386023"/>
                <a:gd name="connsiteY25" fmla="*/ 1525068 h 2373523"/>
                <a:gd name="connsiteX26" fmla="*/ 10375442 w 12386023"/>
                <a:gd name="connsiteY26" fmla="*/ 1481851 h 2373523"/>
                <a:gd name="connsiteX27" fmla="*/ 9868545 w 12386023"/>
                <a:gd name="connsiteY27" fmla="*/ 922282 h 2373523"/>
                <a:gd name="connsiteX28" fmla="*/ 9393890 w 12386023"/>
                <a:gd name="connsiteY28" fmla="*/ 444601 h 2373523"/>
                <a:gd name="connsiteX29" fmla="*/ 8791091 w 12386023"/>
                <a:gd name="connsiteY29" fmla="*/ 20131 h 2373523"/>
                <a:gd name="connsiteX30" fmla="*/ 7390504 w 12386023"/>
                <a:gd name="connsiteY30" fmla="*/ 62625 h 2373523"/>
                <a:gd name="connsiteX31" fmla="*/ 9248668 w 12386023"/>
                <a:gd name="connsiteY31" fmla="*/ 483648 h 2373523"/>
                <a:gd name="connsiteX32" fmla="*/ 8892001 w 12386023"/>
                <a:gd name="connsiteY32" fmla="*/ 445563 h 2373523"/>
                <a:gd name="connsiteX33" fmla="*/ 9073222 w 12386023"/>
                <a:gd name="connsiteY33" fmla="*/ 748027 h 2373523"/>
                <a:gd name="connsiteX0" fmla="*/ 9073222 w 12386023"/>
                <a:gd name="connsiteY0" fmla="*/ 748027 h 2373523"/>
                <a:gd name="connsiteX1" fmla="*/ 8652701 w 12386023"/>
                <a:gd name="connsiteY1" fmla="*/ 640697 h 2373523"/>
                <a:gd name="connsiteX2" fmla="*/ 421075 w 12386023"/>
                <a:gd name="connsiteY2" fmla="*/ 800852 h 2373523"/>
                <a:gd name="connsiteX3" fmla="*/ 1277876 w 12386023"/>
                <a:gd name="connsiteY3" fmla="*/ 708409 h 2373523"/>
                <a:gd name="connsiteX4" fmla="*/ 1972735 w 12386023"/>
                <a:gd name="connsiteY4" fmla="*/ 742397 h 2373523"/>
                <a:gd name="connsiteX5" fmla="*/ 2428745 w 12386023"/>
                <a:gd name="connsiteY5" fmla="*/ 682909 h 2373523"/>
                <a:gd name="connsiteX6" fmla="*/ 2906467 w 12386023"/>
                <a:gd name="connsiteY6" fmla="*/ 682909 h 2373523"/>
                <a:gd name="connsiteX7" fmla="*/ 3677336 w 12386023"/>
                <a:gd name="connsiteY7" fmla="*/ 725403 h 2373523"/>
                <a:gd name="connsiteX8" fmla="*/ 4556772 w 12386023"/>
                <a:gd name="connsiteY8" fmla="*/ 708409 h 2373523"/>
                <a:gd name="connsiteX9" fmla="*/ 5186490 w 12386023"/>
                <a:gd name="connsiteY9" fmla="*/ 716915 h 2373523"/>
                <a:gd name="connsiteX10" fmla="*/ 6022500 w 12386023"/>
                <a:gd name="connsiteY10" fmla="*/ 716915 h 2373523"/>
                <a:gd name="connsiteX11" fmla="*/ 7086513 w 12386023"/>
                <a:gd name="connsiteY11" fmla="*/ 742415 h 2373523"/>
                <a:gd name="connsiteX12" fmla="*/ 7835668 w 12386023"/>
                <a:gd name="connsiteY12" fmla="*/ 733909 h 2373523"/>
                <a:gd name="connsiteX13" fmla="*/ 8367663 w 12386023"/>
                <a:gd name="connsiteY13" fmla="*/ 725403 h 2373523"/>
                <a:gd name="connsiteX14" fmla="*/ 8988680 w 12386023"/>
                <a:gd name="connsiteY14" fmla="*/ 1128151 h 2373523"/>
                <a:gd name="connsiteX15" fmla="*/ 9558676 w 12386023"/>
                <a:gd name="connsiteY15" fmla="*/ 1954983 h 2373523"/>
                <a:gd name="connsiteX16" fmla="*/ 10490076 w 12386023"/>
                <a:gd name="connsiteY16" fmla="*/ 2373522 h 2373523"/>
                <a:gd name="connsiteX17" fmla="*/ 11536110 w 12386023"/>
                <a:gd name="connsiteY17" fmla="*/ 1954985 h 2373523"/>
                <a:gd name="connsiteX18" fmla="*/ 11827041 w 12386023"/>
                <a:gd name="connsiteY18" fmla="*/ 1309250 h 2373523"/>
                <a:gd name="connsiteX19" fmla="*/ 12137937 w 12386023"/>
                <a:gd name="connsiteY19" fmla="*/ 863143 h 2373523"/>
                <a:gd name="connsiteX20" fmla="*/ 12386023 w 12386023"/>
                <a:gd name="connsiteY20" fmla="*/ 562829 h 2373523"/>
                <a:gd name="connsiteX21" fmla="*/ 12386023 w 12386023"/>
                <a:gd name="connsiteY21" fmla="*/ 124447 h 2373523"/>
                <a:gd name="connsiteX22" fmla="*/ 11779707 w 12386023"/>
                <a:gd name="connsiteY22" fmla="*/ 299022 h 2373523"/>
                <a:gd name="connsiteX23" fmla="*/ 11399982 w 12386023"/>
                <a:gd name="connsiteY23" fmla="*/ 910907 h 2373523"/>
                <a:gd name="connsiteX24" fmla="*/ 10943237 w 12386023"/>
                <a:gd name="connsiteY24" fmla="*/ 1525068 h 2373523"/>
                <a:gd name="connsiteX25" fmla="*/ 10375442 w 12386023"/>
                <a:gd name="connsiteY25" fmla="*/ 1481851 h 2373523"/>
                <a:gd name="connsiteX26" fmla="*/ 9868545 w 12386023"/>
                <a:gd name="connsiteY26" fmla="*/ 922282 h 2373523"/>
                <a:gd name="connsiteX27" fmla="*/ 9393890 w 12386023"/>
                <a:gd name="connsiteY27" fmla="*/ 444601 h 2373523"/>
                <a:gd name="connsiteX28" fmla="*/ 8791091 w 12386023"/>
                <a:gd name="connsiteY28" fmla="*/ 20131 h 2373523"/>
                <a:gd name="connsiteX29" fmla="*/ 7390504 w 12386023"/>
                <a:gd name="connsiteY29" fmla="*/ 62625 h 2373523"/>
                <a:gd name="connsiteX30" fmla="*/ 9248668 w 12386023"/>
                <a:gd name="connsiteY30" fmla="*/ 483648 h 2373523"/>
                <a:gd name="connsiteX31" fmla="*/ 8892001 w 12386023"/>
                <a:gd name="connsiteY31" fmla="*/ 445563 h 2373523"/>
                <a:gd name="connsiteX32" fmla="*/ 9073222 w 12386023"/>
                <a:gd name="connsiteY32" fmla="*/ 748027 h 2373523"/>
                <a:gd name="connsiteX0" fmla="*/ 9102751 w 12415552"/>
                <a:gd name="connsiteY0" fmla="*/ 748027 h 2373523"/>
                <a:gd name="connsiteX1" fmla="*/ 450604 w 12415552"/>
                <a:gd name="connsiteY1" fmla="*/ 800852 h 2373523"/>
                <a:gd name="connsiteX2" fmla="*/ 1307405 w 12415552"/>
                <a:gd name="connsiteY2" fmla="*/ 708409 h 2373523"/>
                <a:gd name="connsiteX3" fmla="*/ 2002264 w 12415552"/>
                <a:gd name="connsiteY3" fmla="*/ 742397 h 2373523"/>
                <a:gd name="connsiteX4" fmla="*/ 2458274 w 12415552"/>
                <a:gd name="connsiteY4" fmla="*/ 682909 h 2373523"/>
                <a:gd name="connsiteX5" fmla="*/ 2935996 w 12415552"/>
                <a:gd name="connsiteY5" fmla="*/ 682909 h 2373523"/>
                <a:gd name="connsiteX6" fmla="*/ 3706865 w 12415552"/>
                <a:gd name="connsiteY6" fmla="*/ 725403 h 2373523"/>
                <a:gd name="connsiteX7" fmla="*/ 4586301 w 12415552"/>
                <a:gd name="connsiteY7" fmla="*/ 708409 h 2373523"/>
                <a:gd name="connsiteX8" fmla="*/ 5216019 w 12415552"/>
                <a:gd name="connsiteY8" fmla="*/ 716915 h 2373523"/>
                <a:gd name="connsiteX9" fmla="*/ 6052029 w 12415552"/>
                <a:gd name="connsiteY9" fmla="*/ 716915 h 2373523"/>
                <a:gd name="connsiteX10" fmla="*/ 7116042 w 12415552"/>
                <a:gd name="connsiteY10" fmla="*/ 742415 h 2373523"/>
                <a:gd name="connsiteX11" fmla="*/ 7865197 w 12415552"/>
                <a:gd name="connsiteY11" fmla="*/ 733909 h 2373523"/>
                <a:gd name="connsiteX12" fmla="*/ 8397192 w 12415552"/>
                <a:gd name="connsiteY12" fmla="*/ 725403 h 2373523"/>
                <a:gd name="connsiteX13" fmla="*/ 9018209 w 12415552"/>
                <a:gd name="connsiteY13" fmla="*/ 1128151 h 2373523"/>
                <a:gd name="connsiteX14" fmla="*/ 9588205 w 12415552"/>
                <a:gd name="connsiteY14" fmla="*/ 1954983 h 2373523"/>
                <a:gd name="connsiteX15" fmla="*/ 10519605 w 12415552"/>
                <a:gd name="connsiteY15" fmla="*/ 2373522 h 2373523"/>
                <a:gd name="connsiteX16" fmla="*/ 11565639 w 12415552"/>
                <a:gd name="connsiteY16" fmla="*/ 1954985 h 2373523"/>
                <a:gd name="connsiteX17" fmla="*/ 11856570 w 12415552"/>
                <a:gd name="connsiteY17" fmla="*/ 1309250 h 2373523"/>
                <a:gd name="connsiteX18" fmla="*/ 12167466 w 12415552"/>
                <a:gd name="connsiteY18" fmla="*/ 863143 h 2373523"/>
                <a:gd name="connsiteX19" fmla="*/ 12415552 w 12415552"/>
                <a:gd name="connsiteY19" fmla="*/ 562829 h 2373523"/>
                <a:gd name="connsiteX20" fmla="*/ 12415552 w 12415552"/>
                <a:gd name="connsiteY20" fmla="*/ 124447 h 2373523"/>
                <a:gd name="connsiteX21" fmla="*/ 11809236 w 12415552"/>
                <a:gd name="connsiteY21" fmla="*/ 299022 h 2373523"/>
                <a:gd name="connsiteX22" fmla="*/ 11429511 w 12415552"/>
                <a:gd name="connsiteY22" fmla="*/ 910907 h 2373523"/>
                <a:gd name="connsiteX23" fmla="*/ 10972766 w 12415552"/>
                <a:gd name="connsiteY23" fmla="*/ 1525068 h 2373523"/>
                <a:gd name="connsiteX24" fmla="*/ 10404971 w 12415552"/>
                <a:gd name="connsiteY24" fmla="*/ 1481851 h 2373523"/>
                <a:gd name="connsiteX25" fmla="*/ 9898074 w 12415552"/>
                <a:gd name="connsiteY25" fmla="*/ 922282 h 2373523"/>
                <a:gd name="connsiteX26" fmla="*/ 9423419 w 12415552"/>
                <a:gd name="connsiteY26" fmla="*/ 444601 h 2373523"/>
                <a:gd name="connsiteX27" fmla="*/ 8820620 w 12415552"/>
                <a:gd name="connsiteY27" fmla="*/ 20131 h 2373523"/>
                <a:gd name="connsiteX28" fmla="*/ 7420033 w 12415552"/>
                <a:gd name="connsiteY28" fmla="*/ 62625 h 2373523"/>
                <a:gd name="connsiteX29" fmla="*/ 9278197 w 12415552"/>
                <a:gd name="connsiteY29" fmla="*/ 483648 h 2373523"/>
                <a:gd name="connsiteX30" fmla="*/ 8921530 w 12415552"/>
                <a:gd name="connsiteY30" fmla="*/ 445563 h 2373523"/>
                <a:gd name="connsiteX31" fmla="*/ 9102751 w 12415552"/>
                <a:gd name="connsiteY31" fmla="*/ 748027 h 2373523"/>
                <a:gd name="connsiteX0" fmla="*/ 9102753 w 12415554"/>
                <a:gd name="connsiteY0" fmla="*/ 748027 h 2373523"/>
                <a:gd name="connsiteX1" fmla="*/ 450606 w 12415554"/>
                <a:gd name="connsiteY1" fmla="*/ 800852 h 2373523"/>
                <a:gd name="connsiteX2" fmla="*/ 1307407 w 12415554"/>
                <a:gd name="connsiteY2" fmla="*/ 708409 h 2373523"/>
                <a:gd name="connsiteX3" fmla="*/ 2002266 w 12415554"/>
                <a:gd name="connsiteY3" fmla="*/ 742397 h 2373523"/>
                <a:gd name="connsiteX4" fmla="*/ 2458276 w 12415554"/>
                <a:gd name="connsiteY4" fmla="*/ 682909 h 2373523"/>
                <a:gd name="connsiteX5" fmla="*/ 2935998 w 12415554"/>
                <a:gd name="connsiteY5" fmla="*/ 682909 h 2373523"/>
                <a:gd name="connsiteX6" fmla="*/ 3706867 w 12415554"/>
                <a:gd name="connsiteY6" fmla="*/ 725403 h 2373523"/>
                <a:gd name="connsiteX7" fmla="*/ 4586303 w 12415554"/>
                <a:gd name="connsiteY7" fmla="*/ 708409 h 2373523"/>
                <a:gd name="connsiteX8" fmla="*/ 5216021 w 12415554"/>
                <a:gd name="connsiteY8" fmla="*/ 716915 h 2373523"/>
                <a:gd name="connsiteX9" fmla="*/ 6052031 w 12415554"/>
                <a:gd name="connsiteY9" fmla="*/ 716915 h 2373523"/>
                <a:gd name="connsiteX10" fmla="*/ 7116044 w 12415554"/>
                <a:gd name="connsiteY10" fmla="*/ 742415 h 2373523"/>
                <a:gd name="connsiteX11" fmla="*/ 7865199 w 12415554"/>
                <a:gd name="connsiteY11" fmla="*/ 733909 h 2373523"/>
                <a:gd name="connsiteX12" fmla="*/ 8397194 w 12415554"/>
                <a:gd name="connsiteY12" fmla="*/ 725403 h 2373523"/>
                <a:gd name="connsiteX13" fmla="*/ 9018211 w 12415554"/>
                <a:gd name="connsiteY13" fmla="*/ 1128151 h 2373523"/>
                <a:gd name="connsiteX14" fmla="*/ 9588207 w 12415554"/>
                <a:gd name="connsiteY14" fmla="*/ 1954983 h 2373523"/>
                <a:gd name="connsiteX15" fmla="*/ 10519607 w 12415554"/>
                <a:gd name="connsiteY15" fmla="*/ 2373522 h 2373523"/>
                <a:gd name="connsiteX16" fmla="*/ 11565641 w 12415554"/>
                <a:gd name="connsiteY16" fmla="*/ 1954985 h 2373523"/>
                <a:gd name="connsiteX17" fmla="*/ 11856572 w 12415554"/>
                <a:gd name="connsiteY17" fmla="*/ 1309250 h 2373523"/>
                <a:gd name="connsiteX18" fmla="*/ 12167468 w 12415554"/>
                <a:gd name="connsiteY18" fmla="*/ 863143 h 2373523"/>
                <a:gd name="connsiteX19" fmla="*/ 12415554 w 12415554"/>
                <a:gd name="connsiteY19" fmla="*/ 562829 h 2373523"/>
                <a:gd name="connsiteX20" fmla="*/ 12415554 w 12415554"/>
                <a:gd name="connsiteY20" fmla="*/ 124447 h 2373523"/>
                <a:gd name="connsiteX21" fmla="*/ 11809238 w 12415554"/>
                <a:gd name="connsiteY21" fmla="*/ 299022 h 2373523"/>
                <a:gd name="connsiteX22" fmla="*/ 11429513 w 12415554"/>
                <a:gd name="connsiteY22" fmla="*/ 910907 h 2373523"/>
                <a:gd name="connsiteX23" fmla="*/ 10972768 w 12415554"/>
                <a:gd name="connsiteY23" fmla="*/ 1525068 h 2373523"/>
                <a:gd name="connsiteX24" fmla="*/ 10404973 w 12415554"/>
                <a:gd name="connsiteY24" fmla="*/ 1481851 h 2373523"/>
                <a:gd name="connsiteX25" fmla="*/ 9898076 w 12415554"/>
                <a:gd name="connsiteY25" fmla="*/ 922282 h 2373523"/>
                <a:gd name="connsiteX26" fmla="*/ 9423421 w 12415554"/>
                <a:gd name="connsiteY26" fmla="*/ 444601 h 2373523"/>
                <a:gd name="connsiteX27" fmla="*/ 8820622 w 12415554"/>
                <a:gd name="connsiteY27" fmla="*/ 20131 h 2373523"/>
                <a:gd name="connsiteX28" fmla="*/ 7420035 w 12415554"/>
                <a:gd name="connsiteY28" fmla="*/ 62625 h 2373523"/>
                <a:gd name="connsiteX29" fmla="*/ 9278199 w 12415554"/>
                <a:gd name="connsiteY29" fmla="*/ 483648 h 2373523"/>
                <a:gd name="connsiteX30" fmla="*/ 9102753 w 12415554"/>
                <a:gd name="connsiteY30" fmla="*/ 748027 h 2373523"/>
                <a:gd name="connsiteX0" fmla="*/ 9102753 w 12415554"/>
                <a:gd name="connsiteY0" fmla="*/ 748027 h 2373523"/>
                <a:gd name="connsiteX1" fmla="*/ 450606 w 12415554"/>
                <a:gd name="connsiteY1" fmla="*/ 800852 h 2373523"/>
                <a:gd name="connsiteX2" fmla="*/ 1307407 w 12415554"/>
                <a:gd name="connsiteY2" fmla="*/ 708409 h 2373523"/>
                <a:gd name="connsiteX3" fmla="*/ 2002266 w 12415554"/>
                <a:gd name="connsiteY3" fmla="*/ 742397 h 2373523"/>
                <a:gd name="connsiteX4" fmla="*/ 2458276 w 12415554"/>
                <a:gd name="connsiteY4" fmla="*/ 682909 h 2373523"/>
                <a:gd name="connsiteX5" fmla="*/ 2935998 w 12415554"/>
                <a:gd name="connsiteY5" fmla="*/ 682909 h 2373523"/>
                <a:gd name="connsiteX6" fmla="*/ 3706867 w 12415554"/>
                <a:gd name="connsiteY6" fmla="*/ 725403 h 2373523"/>
                <a:gd name="connsiteX7" fmla="*/ 4586303 w 12415554"/>
                <a:gd name="connsiteY7" fmla="*/ 708409 h 2373523"/>
                <a:gd name="connsiteX8" fmla="*/ 5216021 w 12415554"/>
                <a:gd name="connsiteY8" fmla="*/ 716915 h 2373523"/>
                <a:gd name="connsiteX9" fmla="*/ 6052031 w 12415554"/>
                <a:gd name="connsiteY9" fmla="*/ 716915 h 2373523"/>
                <a:gd name="connsiteX10" fmla="*/ 7116044 w 12415554"/>
                <a:gd name="connsiteY10" fmla="*/ 742415 h 2373523"/>
                <a:gd name="connsiteX11" fmla="*/ 7865199 w 12415554"/>
                <a:gd name="connsiteY11" fmla="*/ 733909 h 2373523"/>
                <a:gd name="connsiteX12" fmla="*/ 8397194 w 12415554"/>
                <a:gd name="connsiteY12" fmla="*/ 725403 h 2373523"/>
                <a:gd name="connsiteX13" fmla="*/ 9018211 w 12415554"/>
                <a:gd name="connsiteY13" fmla="*/ 1128151 h 2373523"/>
                <a:gd name="connsiteX14" fmla="*/ 9588207 w 12415554"/>
                <a:gd name="connsiteY14" fmla="*/ 1954983 h 2373523"/>
                <a:gd name="connsiteX15" fmla="*/ 10519607 w 12415554"/>
                <a:gd name="connsiteY15" fmla="*/ 2373522 h 2373523"/>
                <a:gd name="connsiteX16" fmla="*/ 11565641 w 12415554"/>
                <a:gd name="connsiteY16" fmla="*/ 1954985 h 2373523"/>
                <a:gd name="connsiteX17" fmla="*/ 11856572 w 12415554"/>
                <a:gd name="connsiteY17" fmla="*/ 1309250 h 2373523"/>
                <a:gd name="connsiteX18" fmla="*/ 12167468 w 12415554"/>
                <a:gd name="connsiteY18" fmla="*/ 863143 h 2373523"/>
                <a:gd name="connsiteX19" fmla="*/ 12415554 w 12415554"/>
                <a:gd name="connsiteY19" fmla="*/ 562829 h 2373523"/>
                <a:gd name="connsiteX20" fmla="*/ 12415554 w 12415554"/>
                <a:gd name="connsiteY20" fmla="*/ 124447 h 2373523"/>
                <a:gd name="connsiteX21" fmla="*/ 11809238 w 12415554"/>
                <a:gd name="connsiteY21" fmla="*/ 299022 h 2373523"/>
                <a:gd name="connsiteX22" fmla="*/ 11429513 w 12415554"/>
                <a:gd name="connsiteY22" fmla="*/ 910907 h 2373523"/>
                <a:gd name="connsiteX23" fmla="*/ 10972768 w 12415554"/>
                <a:gd name="connsiteY23" fmla="*/ 1525068 h 2373523"/>
                <a:gd name="connsiteX24" fmla="*/ 10404973 w 12415554"/>
                <a:gd name="connsiteY24" fmla="*/ 1481851 h 2373523"/>
                <a:gd name="connsiteX25" fmla="*/ 9898076 w 12415554"/>
                <a:gd name="connsiteY25" fmla="*/ 922282 h 2373523"/>
                <a:gd name="connsiteX26" fmla="*/ 9423421 w 12415554"/>
                <a:gd name="connsiteY26" fmla="*/ 444601 h 2373523"/>
                <a:gd name="connsiteX27" fmla="*/ 8820622 w 12415554"/>
                <a:gd name="connsiteY27" fmla="*/ 20131 h 2373523"/>
                <a:gd name="connsiteX28" fmla="*/ 7420035 w 12415554"/>
                <a:gd name="connsiteY28" fmla="*/ 62625 h 2373523"/>
                <a:gd name="connsiteX29" fmla="*/ 9102753 w 12415554"/>
                <a:gd name="connsiteY29" fmla="*/ 748027 h 2373523"/>
                <a:gd name="connsiteX0" fmla="*/ 7302823 w 12298342"/>
                <a:gd name="connsiteY0" fmla="*/ 62625 h 2373523"/>
                <a:gd name="connsiteX1" fmla="*/ 333394 w 12298342"/>
                <a:gd name="connsiteY1" fmla="*/ 800852 h 2373523"/>
                <a:gd name="connsiteX2" fmla="*/ 1190195 w 12298342"/>
                <a:gd name="connsiteY2" fmla="*/ 708409 h 2373523"/>
                <a:gd name="connsiteX3" fmla="*/ 1885054 w 12298342"/>
                <a:gd name="connsiteY3" fmla="*/ 742397 h 2373523"/>
                <a:gd name="connsiteX4" fmla="*/ 2341064 w 12298342"/>
                <a:gd name="connsiteY4" fmla="*/ 682909 h 2373523"/>
                <a:gd name="connsiteX5" fmla="*/ 2818786 w 12298342"/>
                <a:gd name="connsiteY5" fmla="*/ 682909 h 2373523"/>
                <a:gd name="connsiteX6" fmla="*/ 3589655 w 12298342"/>
                <a:gd name="connsiteY6" fmla="*/ 725403 h 2373523"/>
                <a:gd name="connsiteX7" fmla="*/ 4469091 w 12298342"/>
                <a:gd name="connsiteY7" fmla="*/ 708409 h 2373523"/>
                <a:gd name="connsiteX8" fmla="*/ 5098809 w 12298342"/>
                <a:gd name="connsiteY8" fmla="*/ 716915 h 2373523"/>
                <a:gd name="connsiteX9" fmla="*/ 5934819 w 12298342"/>
                <a:gd name="connsiteY9" fmla="*/ 716915 h 2373523"/>
                <a:gd name="connsiteX10" fmla="*/ 6998832 w 12298342"/>
                <a:gd name="connsiteY10" fmla="*/ 742415 h 2373523"/>
                <a:gd name="connsiteX11" fmla="*/ 7747987 w 12298342"/>
                <a:gd name="connsiteY11" fmla="*/ 733909 h 2373523"/>
                <a:gd name="connsiteX12" fmla="*/ 8279982 w 12298342"/>
                <a:gd name="connsiteY12" fmla="*/ 725403 h 2373523"/>
                <a:gd name="connsiteX13" fmla="*/ 8900999 w 12298342"/>
                <a:gd name="connsiteY13" fmla="*/ 1128151 h 2373523"/>
                <a:gd name="connsiteX14" fmla="*/ 9470995 w 12298342"/>
                <a:gd name="connsiteY14" fmla="*/ 1954983 h 2373523"/>
                <a:gd name="connsiteX15" fmla="*/ 10402395 w 12298342"/>
                <a:gd name="connsiteY15" fmla="*/ 2373522 h 2373523"/>
                <a:gd name="connsiteX16" fmla="*/ 11448429 w 12298342"/>
                <a:gd name="connsiteY16" fmla="*/ 1954985 h 2373523"/>
                <a:gd name="connsiteX17" fmla="*/ 11739360 w 12298342"/>
                <a:gd name="connsiteY17" fmla="*/ 1309250 h 2373523"/>
                <a:gd name="connsiteX18" fmla="*/ 12050256 w 12298342"/>
                <a:gd name="connsiteY18" fmla="*/ 863143 h 2373523"/>
                <a:gd name="connsiteX19" fmla="*/ 12298342 w 12298342"/>
                <a:gd name="connsiteY19" fmla="*/ 562829 h 2373523"/>
                <a:gd name="connsiteX20" fmla="*/ 12298342 w 12298342"/>
                <a:gd name="connsiteY20" fmla="*/ 124447 h 2373523"/>
                <a:gd name="connsiteX21" fmla="*/ 11692026 w 12298342"/>
                <a:gd name="connsiteY21" fmla="*/ 299022 h 2373523"/>
                <a:gd name="connsiteX22" fmla="*/ 11312301 w 12298342"/>
                <a:gd name="connsiteY22" fmla="*/ 910907 h 2373523"/>
                <a:gd name="connsiteX23" fmla="*/ 10855556 w 12298342"/>
                <a:gd name="connsiteY23" fmla="*/ 1525068 h 2373523"/>
                <a:gd name="connsiteX24" fmla="*/ 10287761 w 12298342"/>
                <a:gd name="connsiteY24" fmla="*/ 1481851 h 2373523"/>
                <a:gd name="connsiteX25" fmla="*/ 9780864 w 12298342"/>
                <a:gd name="connsiteY25" fmla="*/ 922282 h 2373523"/>
                <a:gd name="connsiteX26" fmla="*/ 9306209 w 12298342"/>
                <a:gd name="connsiteY26" fmla="*/ 444601 h 2373523"/>
                <a:gd name="connsiteX27" fmla="*/ 8703410 w 12298342"/>
                <a:gd name="connsiteY27" fmla="*/ 20131 h 2373523"/>
                <a:gd name="connsiteX28" fmla="*/ 7302823 w 12298342"/>
                <a:gd name="connsiteY28" fmla="*/ 62625 h 2373523"/>
                <a:gd name="connsiteX0" fmla="*/ 8557475 w 12379789"/>
                <a:gd name="connsiteY0" fmla="*/ 304971 h 2354282"/>
                <a:gd name="connsiteX1" fmla="*/ 414841 w 12379789"/>
                <a:gd name="connsiteY1" fmla="*/ 781611 h 2354282"/>
                <a:gd name="connsiteX2" fmla="*/ 1271642 w 12379789"/>
                <a:gd name="connsiteY2" fmla="*/ 689168 h 2354282"/>
                <a:gd name="connsiteX3" fmla="*/ 1966501 w 12379789"/>
                <a:gd name="connsiteY3" fmla="*/ 723156 h 2354282"/>
                <a:gd name="connsiteX4" fmla="*/ 2422511 w 12379789"/>
                <a:gd name="connsiteY4" fmla="*/ 663668 h 2354282"/>
                <a:gd name="connsiteX5" fmla="*/ 2900233 w 12379789"/>
                <a:gd name="connsiteY5" fmla="*/ 663668 h 2354282"/>
                <a:gd name="connsiteX6" fmla="*/ 3671102 w 12379789"/>
                <a:gd name="connsiteY6" fmla="*/ 706162 h 2354282"/>
                <a:gd name="connsiteX7" fmla="*/ 4550538 w 12379789"/>
                <a:gd name="connsiteY7" fmla="*/ 689168 h 2354282"/>
                <a:gd name="connsiteX8" fmla="*/ 5180256 w 12379789"/>
                <a:gd name="connsiteY8" fmla="*/ 697674 h 2354282"/>
                <a:gd name="connsiteX9" fmla="*/ 6016266 w 12379789"/>
                <a:gd name="connsiteY9" fmla="*/ 697674 h 2354282"/>
                <a:gd name="connsiteX10" fmla="*/ 7080279 w 12379789"/>
                <a:gd name="connsiteY10" fmla="*/ 723174 h 2354282"/>
                <a:gd name="connsiteX11" fmla="*/ 7829434 w 12379789"/>
                <a:gd name="connsiteY11" fmla="*/ 714668 h 2354282"/>
                <a:gd name="connsiteX12" fmla="*/ 8361429 w 12379789"/>
                <a:gd name="connsiteY12" fmla="*/ 706162 h 2354282"/>
                <a:gd name="connsiteX13" fmla="*/ 8982446 w 12379789"/>
                <a:gd name="connsiteY13" fmla="*/ 1108910 h 2354282"/>
                <a:gd name="connsiteX14" fmla="*/ 9552442 w 12379789"/>
                <a:gd name="connsiteY14" fmla="*/ 1935742 h 2354282"/>
                <a:gd name="connsiteX15" fmla="*/ 10483842 w 12379789"/>
                <a:gd name="connsiteY15" fmla="*/ 2354281 h 2354282"/>
                <a:gd name="connsiteX16" fmla="*/ 11529876 w 12379789"/>
                <a:gd name="connsiteY16" fmla="*/ 1935744 h 2354282"/>
                <a:gd name="connsiteX17" fmla="*/ 11820807 w 12379789"/>
                <a:gd name="connsiteY17" fmla="*/ 1290009 h 2354282"/>
                <a:gd name="connsiteX18" fmla="*/ 12131703 w 12379789"/>
                <a:gd name="connsiteY18" fmla="*/ 843902 h 2354282"/>
                <a:gd name="connsiteX19" fmla="*/ 12379789 w 12379789"/>
                <a:gd name="connsiteY19" fmla="*/ 543588 h 2354282"/>
                <a:gd name="connsiteX20" fmla="*/ 12379789 w 12379789"/>
                <a:gd name="connsiteY20" fmla="*/ 105206 h 2354282"/>
                <a:gd name="connsiteX21" fmla="*/ 11773473 w 12379789"/>
                <a:gd name="connsiteY21" fmla="*/ 279781 h 2354282"/>
                <a:gd name="connsiteX22" fmla="*/ 11393748 w 12379789"/>
                <a:gd name="connsiteY22" fmla="*/ 891666 h 2354282"/>
                <a:gd name="connsiteX23" fmla="*/ 10937003 w 12379789"/>
                <a:gd name="connsiteY23" fmla="*/ 1505827 h 2354282"/>
                <a:gd name="connsiteX24" fmla="*/ 10369208 w 12379789"/>
                <a:gd name="connsiteY24" fmla="*/ 1462610 h 2354282"/>
                <a:gd name="connsiteX25" fmla="*/ 9862311 w 12379789"/>
                <a:gd name="connsiteY25" fmla="*/ 903041 h 2354282"/>
                <a:gd name="connsiteX26" fmla="*/ 9387656 w 12379789"/>
                <a:gd name="connsiteY26" fmla="*/ 425360 h 2354282"/>
                <a:gd name="connsiteX27" fmla="*/ 8784857 w 12379789"/>
                <a:gd name="connsiteY27" fmla="*/ 890 h 2354282"/>
                <a:gd name="connsiteX28" fmla="*/ 8557475 w 12379789"/>
                <a:gd name="connsiteY28" fmla="*/ 304971 h 2354282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3671104 w 12379791"/>
                <a:gd name="connsiteY6" fmla="*/ 614077 h 2262197"/>
                <a:gd name="connsiteX7" fmla="*/ 4550540 w 12379791"/>
                <a:gd name="connsiteY7" fmla="*/ 597083 h 2262197"/>
                <a:gd name="connsiteX8" fmla="*/ 5180258 w 12379791"/>
                <a:gd name="connsiteY8" fmla="*/ 605589 h 2262197"/>
                <a:gd name="connsiteX9" fmla="*/ 6016268 w 12379791"/>
                <a:gd name="connsiteY9" fmla="*/ 605589 h 2262197"/>
                <a:gd name="connsiteX10" fmla="*/ 7080281 w 12379791"/>
                <a:gd name="connsiteY10" fmla="*/ 631089 h 2262197"/>
                <a:gd name="connsiteX11" fmla="*/ 7829436 w 12379791"/>
                <a:gd name="connsiteY11" fmla="*/ 622583 h 2262197"/>
                <a:gd name="connsiteX12" fmla="*/ 8361431 w 12379791"/>
                <a:gd name="connsiteY12" fmla="*/ 614077 h 2262197"/>
                <a:gd name="connsiteX13" fmla="*/ 8982448 w 12379791"/>
                <a:gd name="connsiteY13" fmla="*/ 1016825 h 2262197"/>
                <a:gd name="connsiteX14" fmla="*/ 9552444 w 12379791"/>
                <a:gd name="connsiteY14" fmla="*/ 1843657 h 2262197"/>
                <a:gd name="connsiteX15" fmla="*/ 10483844 w 12379791"/>
                <a:gd name="connsiteY15" fmla="*/ 2262196 h 2262197"/>
                <a:gd name="connsiteX16" fmla="*/ 11529878 w 12379791"/>
                <a:gd name="connsiteY16" fmla="*/ 1843659 h 2262197"/>
                <a:gd name="connsiteX17" fmla="*/ 11820809 w 12379791"/>
                <a:gd name="connsiteY17" fmla="*/ 1197924 h 2262197"/>
                <a:gd name="connsiteX18" fmla="*/ 12131705 w 12379791"/>
                <a:gd name="connsiteY18" fmla="*/ 751817 h 2262197"/>
                <a:gd name="connsiteX19" fmla="*/ 12379791 w 12379791"/>
                <a:gd name="connsiteY19" fmla="*/ 451503 h 2262197"/>
                <a:gd name="connsiteX20" fmla="*/ 12379791 w 12379791"/>
                <a:gd name="connsiteY20" fmla="*/ 13121 h 2262197"/>
                <a:gd name="connsiteX21" fmla="*/ 11773475 w 12379791"/>
                <a:gd name="connsiteY21" fmla="*/ 187696 h 2262197"/>
                <a:gd name="connsiteX22" fmla="*/ 11393750 w 12379791"/>
                <a:gd name="connsiteY22" fmla="*/ 799581 h 2262197"/>
                <a:gd name="connsiteX23" fmla="*/ 10937005 w 12379791"/>
                <a:gd name="connsiteY23" fmla="*/ 1413742 h 2262197"/>
                <a:gd name="connsiteX24" fmla="*/ 10369210 w 12379791"/>
                <a:gd name="connsiteY24" fmla="*/ 1370525 h 2262197"/>
                <a:gd name="connsiteX25" fmla="*/ 9862313 w 12379791"/>
                <a:gd name="connsiteY25" fmla="*/ 810956 h 2262197"/>
                <a:gd name="connsiteX26" fmla="*/ 9387658 w 12379791"/>
                <a:gd name="connsiteY26" fmla="*/ 333275 h 2262197"/>
                <a:gd name="connsiteX27" fmla="*/ 8614705 w 12379791"/>
                <a:gd name="connsiteY27" fmla="*/ 45280 h 2262197"/>
                <a:gd name="connsiteX28" fmla="*/ 8557477 w 12379791"/>
                <a:gd name="connsiteY28" fmla="*/ 212886 h 2262197"/>
                <a:gd name="connsiteX0" fmla="*/ 8557477 w 12379791"/>
                <a:gd name="connsiteY0" fmla="*/ 220165 h 2269476"/>
                <a:gd name="connsiteX1" fmla="*/ 414843 w 12379791"/>
                <a:gd name="connsiteY1" fmla="*/ 696805 h 2269476"/>
                <a:gd name="connsiteX2" fmla="*/ 1271644 w 12379791"/>
                <a:gd name="connsiteY2" fmla="*/ 604362 h 2269476"/>
                <a:gd name="connsiteX3" fmla="*/ 1966503 w 12379791"/>
                <a:gd name="connsiteY3" fmla="*/ 638350 h 2269476"/>
                <a:gd name="connsiteX4" fmla="*/ 2422513 w 12379791"/>
                <a:gd name="connsiteY4" fmla="*/ 578862 h 2269476"/>
                <a:gd name="connsiteX5" fmla="*/ 2900235 w 12379791"/>
                <a:gd name="connsiteY5" fmla="*/ 578862 h 2269476"/>
                <a:gd name="connsiteX6" fmla="*/ 3671104 w 12379791"/>
                <a:gd name="connsiteY6" fmla="*/ 621356 h 2269476"/>
                <a:gd name="connsiteX7" fmla="*/ 4550540 w 12379791"/>
                <a:gd name="connsiteY7" fmla="*/ 604362 h 2269476"/>
                <a:gd name="connsiteX8" fmla="*/ 5180258 w 12379791"/>
                <a:gd name="connsiteY8" fmla="*/ 612868 h 2269476"/>
                <a:gd name="connsiteX9" fmla="*/ 6016268 w 12379791"/>
                <a:gd name="connsiteY9" fmla="*/ 612868 h 2269476"/>
                <a:gd name="connsiteX10" fmla="*/ 7080281 w 12379791"/>
                <a:gd name="connsiteY10" fmla="*/ 638368 h 2269476"/>
                <a:gd name="connsiteX11" fmla="*/ 7829436 w 12379791"/>
                <a:gd name="connsiteY11" fmla="*/ 629862 h 2269476"/>
                <a:gd name="connsiteX12" fmla="*/ 8361431 w 12379791"/>
                <a:gd name="connsiteY12" fmla="*/ 621356 h 2269476"/>
                <a:gd name="connsiteX13" fmla="*/ 8982448 w 12379791"/>
                <a:gd name="connsiteY13" fmla="*/ 1024104 h 2269476"/>
                <a:gd name="connsiteX14" fmla="*/ 9552444 w 12379791"/>
                <a:gd name="connsiteY14" fmla="*/ 1850936 h 2269476"/>
                <a:gd name="connsiteX15" fmla="*/ 10483844 w 12379791"/>
                <a:gd name="connsiteY15" fmla="*/ 2269475 h 2269476"/>
                <a:gd name="connsiteX16" fmla="*/ 11529878 w 12379791"/>
                <a:gd name="connsiteY16" fmla="*/ 1850938 h 2269476"/>
                <a:gd name="connsiteX17" fmla="*/ 11820809 w 12379791"/>
                <a:gd name="connsiteY17" fmla="*/ 1205203 h 2269476"/>
                <a:gd name="connsiteX18" fmla="*/ 12131705 w 12379791"/>
                <a:gd name="connsiteY18" fmla="*/ 759096 h 2269476"/>
                <a:gd name="connsiteX19" fmla="*/ 12379791 w 12379791"/>
                <a:gd name="connsiteY19" fmla="*/ 458782 h 2269476"/>
                <a:gd name="connsiteX20" fmla="*/ 12379791 w 12379791"/>
                <a:gd name="connsiteY20" fmla="*/ 20400 h 2269476"/>
                <a:gd name="connsiteX21" fmla="*/ 11773475 w 12379791"/>
                <a:gd name="connsiteY21" fmla="*/ 194975 h 2269476"/>
                <a:gd name="connsiteX22" fmla="*/ 11393750 w 12379791"/>
                <a:gd name="connsiteY22" fmla="*/ 806860 h 2269476"/>
                <a:gd name="connsiteX23" fmla="*/ 10937005 w 12379791"/>
                <a:gd name="connsiteY23" fmla="*/ 1421021 h 2269476"/>
                <a:gd name="connsiteX24" fmla="*/ 10369210 w 12379791"/>
                <a:gd name="connsiteY24" fmla="*/ 1377804 h 2269476"/>
                <a:gd name="connsiteX25" fmla="*/ 9862313 w 12379791"/>
                <a:gd name="connsiteY25" fmla="*/ 818235 h 2269476"/>
                <a:gd name="connsiteX26" fmla="*/ 9387658 w 12379791"/>
                <a:gd name="connsiteY26" fmla="*/ 340554 h 2269476"/>
                <a:gd name="connsiteX27" fmla="*/ 8614705 w 12379791"/>
                <a:gd name="connsiteY27" fmla="*/ 52559 h 2269476"/>
                <a:gd name="connsiteX28" fmla="*/ 8557477 w 12379791"/>
                <a:gd name="connsiteY28" fmla="*/ 220165 h 2269476"/>
                <a:gd name="connsiteX0" fmla="*/ 8557477 w 12379791"/>
                <a:gd name="connsiteY0" fmla="*/ 220165 h 2269476"/>
                <a:gd name="connsiteX1" fmla="*/ 414843 w 12379791"/>
                <a:gd name="connsiteY1" fmla="*/ 696805 h 2269476"/>
                <a:gd name="connsiteX2" fmla="*/ 1271644 w 12379791"/>
                <a:gd name="connsiteY2" fmla="*/ 604362 h 2269476"/>
                <a:gd name="connsiteX3" fmla="*/ 1966503 w 12379791"/>
                <a:gd name="connsiteY3" fmla="*/ 638350 h 2269476"/>
                <a:gd name="connsiteX4" fmla="*/ 2422513 w 12379791"/>
                <a:gd name="connsiteY4" fmla="*/ 578862 h 2269476"/>
                <a:gd name="connsiteX5" fmla="*/ 2900235 w 12379791"/>
                <a:gd name="connsiteY5" fmla="*/ 578862 h 2269476"/>
                <a:gd name="connsiteX6" fmla="*/ 3671104 w 12379791"/>
                <a:gd name="connsiteY6" fmla="*/ 621356 h 2269476"/>
                <a:gd name="connsiteX7" fmla="*/ 4550540 w 12379791"/>
                <a:gd name="connsiteY7" fmla="*/ 604362 h 2269476"/>
                <a:gd name="connsiteX8" fmla="*/ 5180258 w 12379791"/>
                <a:gd name="connsiteY8" fmla="*/ 612868 h 2269476"/>
                <a:gd name="connsiteX9" fmla="*/ 6016268 w 12379791"/>
                <a:gd name="connsiteY9" fmla="*/ 612868 h 2269476"/>
                <a:gd name="connsiteX10" fmla="*/ 7080281 w 12379791"/>
                <a:gd name="connsiteY10" fmla="*/ 638368 h 2269476"/>
                <a:gd name="connsiteX11" fmla="*/ 7829436 w 12379791"/>
                <a:gd name="connsiteY11" fmla="*/ 629862 h 2269476"/>
                <a:gd name="connsiteX12" fmla="*/ 8361431 w 12379791"/>
                <a:gd name="connsiteY12" fmla="*/ 621356 h 2269476"/>
                <a:gd name="connsiteX13" fmla="*/ 8982448 w 12379791"/>
                <a:gd name="connsiteY13" fmla="*/ 1024104 h 2269476"/>
                <a:gd name="connsiteX14" fmla="*/ 9552444 w 12379791"/>
                <a:gd name="connsiteY14" fmla="*/ 1850936 h 2269476"/>
                <a:gd name="connsiteX15" fmla="*/ 10483844 w 12379791"/>
                <a:gd name="connsiteY15" fmla="*/ 2269475 h 2269476"/>
                <a:gd name="connsiteX16" fmla="*/ 11529878 w 12379791"/>
                <a:gd name="connsiteY16" fmla="*/ 1850938 h 2269476"/>
                <a:gd name="connsiteX17" fmla="*/ 11820809 w 12379791"/>
                <a:gd name="connsiteY17" fmla="*/ 1205203 h 2269476"/>
                <a:gd name="connsiteX18" fmla="*/ 12131705 w 12379791"/>
                <a:gd name="connsiteY18" fmla="*/ 759096 h 2269476"/>
                <a:gd name="connsiteX19" fmla="*/ 12379791 w 12379791"/>
                <a:gd name="connsiteY19" fmla="*/ 458782 h 2269476"/>
                <a:gd name="connsiteX20" fmla="*/ 12379791 w 12379791"/>
                <a:gd name="connsiteY20" fmla="*/ 20400 h 2269476"/>
                <a:gd name="connsiteX21" fmla="*/ 11773475 w 12379791"/>
                <a:gd name="connsiteY21" fmla="*/ 194975 h 2269476"/>
                <a:gd name="connsiteX22" fmla="*/ 11393750 w 12379791"/>
                <a:gd name="connsiteY22" fmla="*/ 806860 h 2269476"/>
                <a:gd name="connsiteX23" fmla="*/ 10937005 w 12379791"/>
                <a:gd name="connsiteY23" fmla="*/ 1421021 h 2269476"/>
                <a:gd name="connsiteX24" fmla="*/ 10369210 w 12379791"/>
                <a:gd name="connsiteY24" fmla="*/ 1377804 h 2269476"/>
                <a:gd name="connsiteX25" fmla="*/ 9862313 w 12379791"/>
                <a:gd name="connsiteY25" fmla="*/ 818235 h 2269476"/>
                <a:gd name="connsiteX26" fmla="*/ 9387658 w 12379791"/>
                <a:gd name="connsiteY26" fmla="*/ 340554 h 2269476"/>
                <a:gd name="connsiteX27" fmla="*/ 8614705 w 12379791"/>
                <a:gd name="connsiteY27" fmla="*/ 52559 h 2269476"/>
                <a:gd name="connsiteX28" fmla="*/ 8557477 w 12379791"/>
                <a:gd name="connsiteY28" fmla="*/ 220165 h 2269476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3671104 w 12379791"/>
                <a:gd name="connsiteY6" fmla="*/ 614077 h 2262197"/>
                <a:gd name="connsiteX7" fmla="*/ 4550540 w 12379791"/>
                <a:gd name="connsiteY7" fmla="*/ 597083 h 2262197"/>
                <a:gd name="connsiteX8" fmla="*/ 5180258 w 12379791"/>
                <a:gd name="connsiteY8" fmla="*/ 605589 h 2262197"/>
                <a:gd name="connsiteX9" fmla="*/ 6016268 w 12379791"/>
                <a:gd name="connsiteY9" fmla="*/ 605589 h 2262197"/>
                <a:gd name="connsiteX10" fmla="*/ 7080281 w 12379791"/>
                <a:gd name="connsiteY10" fmla="*/ 631089 h 2262197"/>
                <a:gd name="connsiteX11" fmla="*/ 7829436 w 12379791"/>
                <a:gd name="connsiteY11" fmla="*/ 622583 h 2262197"/>
                <a:gd name="connsiteX12" fmla="*/ 8361431 w 12379791"/>
                <a:gd name="connsiteY12" fmla="*/ 614077 h 2262197"/>
                <a:gd name="connsiteX13" fmla="*/ 8982448 w 12379791"/>
                <a:gd name="connsiteY13" fmla="*/ 1016825 h 2262197"/>
                <a:gd name="connsiteX14" fmla="*/ 9552444 w 12379791"/>
                <a:gd name="connsiteY14" fmla="*/ 1843657 h 2262197"/>
                <a:gd name="connsiteX15" fmla="*/ 10483844 w 12379791"/>
                <a:gd name="connsiteY15" fmla="*/ 2262196 h 2262197"/>
                <a:gd name="connsiteX16" fmla="*/ 11529878 w 12379791"/>
                <a:gd name="connsiteY16" fmla="*/ 1843659 h 2262197"/>
                <a:gd name="connsiteX17" fmla="*/ 11820809 w 12379791"/>
                <a:gd name="connsiteY17" fmla="*/ 1197924 h 2262197"/>
                <a:gd name="connsiteX18" fmla="*/ 12131705 w 12379791"/>
                <a:gd name="connsiteY18" fmla="*/ 751817 h 2262197"/>
                <a:gd name="connsiteX19" fmla="*/ 12379791 w 12379791"/>
                <a:gd name="connsiteY19" fmla="*/ 451503 h 2262197"/>
                <a:gd name="connsiteX20" fmla="*/ 12379791 w 12379791"/>
                <a:gd name="connsiteY20" fmla="*/ 13121 h 2262197"/>
                <a:gd name="connsiteX21" fmla="*/ 11773475 w 12379791"/>
                <a:gd name="connsiteY21" fmla="*/ 187696 h 2262197"/>
                <a:gd name="connsiteX22" fmla="*/ 11393750 w 12379791"/>
                <a:gd name="connsiteY22" fmla="*/ 799581 h 2262197"/>
                <a:gd name="connsiteX23" fmla="*/ 10937005 w 12379791"/>
                <a:gd name="connsiteY23" fmla="*/ 1413742 h 2262197"/>
                <a:gd name="connsiteX24" fmla="*/ 10369210 w 12379791"/>
                <a:gd name="connsiteY24" fmla="*/ 1370525 h 2262197"/>
                <a:gd name="connsiteX25" fmla="*/ 9862313 w 12379791"/>
                <a:gd name="connsiteY25" fmla="*/ 810956 h 2262197"/>
                <a:gd name="connsiteX26" fmla="*/ 9387658 w 12379791"/>
                <a:gd name="connsiteY26" fmla="*/ 333275 h 2262197"/>
                <a:gd name="connsiteX27" fmla="*/ 8557477 w 12379791"/>
                <a:gd name="connsiteY27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3671104 w 12379791"/>
                <a:gd name="connsiteY6" fmla="*/ 614077 h 2262197"/>
                <a:gd name="connsiteX7" fmla="*/ 4550540 w 12379791"/>
                <a:gd name="connsiteY7" fmla="*/ 597083 h 2262197"/>
                <a:gd name="connsiteX8" fmla="*/ 5180258 w 12379791"/>
                <a:gd name="connsiteY8" fmla="*/ 605589 h 2262197"/>
                <a:gd name="connsiteX9" fmla="*/ 6016268 w 12379791"/>
                <a:gd name="connsiteY9" fmla="*/ 605589 h 2262197"/>
                <a:gd name="connsiteX10" fmla="*/ 7080281 w 12379791"/>
                <a:gd name="connsiteY10" fmla="*/ 631089 h 2262197"/>
                <a:gd name="connsiteX11" fmla="*/ 7829436 w 12379791"/>
                <a:gd name="connsiteY11" fmla="*/ 622583 h 2262197"/>
                <a:gd name="connsiteX12" fmla="*/ 8361431 w 12379791"/>
                <a:gd name="connsiteY12" fmla="*/ 614077 h 2262197"/>
                <a:gd name="connsiteX13" fmla="*/ 8982448 w 12379791"/>
                <a:gd name="connsiteY13" fmla="*/ 1016825 h 2262197"/>
                <a:gd name="connsiteX14" fmla="*/ 9552444 w 12379791"/>
                <a:gd name="connsiteY14" fmla="*/ 1843657 h 2262197"/>
                <a:gd name="connsiteX15" fmla="*/ 10483844 w 12379791"/>
                <a:gd name="connsiteY15" fmla="*/ 2262196 h 2262197"/>
                <a:gd name="connsiteX16" fmla="*/ 11529878 w 12379791"/>
                <a:gd name="connsiteY16" fmla="*/ 1843659 h 2262197"/>
                <a:gd name="connsiteX17" fmla="*/ 11820809 w 12379791"/>
                <a:gd name="connsiteY17" fmla="*/ 1197924 h 2262197"/>
                <a:gd name="connsiteX18" fmla="*/ 12131705 w 12379791"/>
                <a:gd name="connsiteY18" fmla="*/ 751817 h 2262197"/>
                <a:gd name="connsiteX19" fmla="*/ 12379791 w 12379791"/>
                <a:gd name="connsiteY19" fmla="*/ 451503 h 2262197"/>
                <a:gd name="connsiteX20" fmla="*/ 12379791 w 12379791"/>
                <a:gd name="connsiteY20" fmla="*/ 13121 h 2262197"/>
                <a:gd name="connsiteX21" fmla="*/ 11773475 w 12379791"/>
                <a:gd name="connsiteY21" fmla="*/ 187696 h 2262197"/>
                <a:gd name="connsiteX22" fmla="*/ 11393750 w 12379791"/>
                <a:gd name="connsiteY22" fmla="*/ 799581 h 2262197"/>
                <a:gd name="connsiteX23" fmla="*/ 10937005 w 12379791"/>
                <a:gd name="connsiteY23" fmla="*/ 1413742 h 2262197"/>
                <a:gd name="connsiteX24" fmla="*/ 10369210 w 12379791"/>
                <a:gd name="connsiteY24" fmla="*/ 1370525 h 2262197"/>
                <a:gd name="connsiteX25" fmla="*/ 9862313 w 12379791"/>
                <a:gd name="connsiteY25" fmla="*/ 810956 h 2262197"/>
                <a:gd name="connsiteX26" fmla="*/ 9450348 w 12379791"/>
                <a:gd name="connsiteY26" fmla="*/ 299156 h 2262197"/>
                <a:gd name="connsiteX27" fmla="*/ 8557477 w 12379791"/>
                <a:gd name="connsiteY27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3671104 w 12379791"/>
                <a:gd name="connsiteY6" fmla="*/ 614077 h 2262197"/>
                <a:gd name="connsiteX7" fmla="*/ 4550540 w 12379791"/>
                <a:gd name="connsiteY7" fmla="*/ 597083 h 2262197"/>
                <a:gd name="connsiteX8" fmla="*/ 5180258 w 12379791"/>
                <a:gd name="connsiteY8" fmla="*/ 605589 h 2262197"/>
                <a:gd name="connsiteX9" fmla="*/ 6016268 w 12379791"/>
                <a:gd name="connsiteY9" fmla="*/ 605589 h 2262197"/>
                <a:gd name="connsiteX10" fmla="*/ 7080281 w 12379791"/>
                <a:gd name="connsiteY10" fmla="*/ 631089 h 2262197"/>
                <a:gd name="connsiteX11" fmla="*/ 7829436 w 12379791"/>
                <a:gd name="connsiteY11" fmla="*/ 622583 h 2262197"/>
                <a:gd name="connsiteX12" fmla="*/ 8361431 w 12379791"/>
                <a:gd name="connsiteY12" fmla="*/ 614077 h 2262197"/>
                <a:gd name="connsiteX13" fmla="*/ 8982448 w 12379791"/>
                <a:gd name="connsiteY13" fmla="*/ 1016825 h 2262197"/>
                <a:gd name="connsiteX14" fmla="*/ 9552444 w 12379791"/>
                <a:gd name="connsiteY14" fmla="*/ 1843657 h 2262197"/>
                <a:gd name="connsiteX15" fmla="*/ 10483844 w 12379791"/>
                <a:gd name="connsiteY15" fmla="*/ 2262196 h 2262197"/>
                <a:gd name="connsiteX16" fmla="*/ 11529878 w 12379791"/>
                <a:gd name="connsiteY16" fmla="*/ 1843659 h 2262197"/>
                <a:gd name="connsiteX17" fmla="*/ 11820809 w 12379791"/>
                <a:gd name="connsiteY17" fmla="*/ 1197924 h 2262197"/>
                <a:gd name="connsiteX18" fmla="*/ 12131705 w 12379791"/>
                <a:gd name="connsiteY18" fmla="*/ 751817 h 2262197"/>
                <a:gd name="connsiteX19" fmla="*/ 12379791 w 12379791"/>
                <a:gd name="connsiteY19" fmla="*/ 451503 h 2262197"/>
                <a:gd name="connsiteX20" fmla="*/ 12379791 w 12379791"/>
                <a:gd name="connsiteY20" fmla="*/ 13121 h 2262197"/>
                <a:gd name="connsiteX21" fmla="*/ 11773475 w 12379791"/>
                <a:gd name="connsiteY21" fmla="*/ 187696 h 2262197"/>
                <a:gd name="connsiteX22" fmla="*/ 11393750 w 12379791"/>
                <a:gd name="connsiteY22" fmla="*/ 799581 h 2262197"/>
                <a:gd name="connsiteX23" fmla="*/ 10937005 w 12379791"/>
                <a:gd name="connsiteY23" fmla="*/ 1413742 h 2262197"/>
                <a:gd name="connsiteX24" fmla="*/ 10369210 w 12379791"/>
                <a:gd name="connsiteY24" fmla="*/ 1370525 h 2262197"/>
                <a:gd name="connsiteX25" fmla="*/ 9862313 w 12379791"/>
                <a:gd name="connsiteY25" fmla="*/ 810956 h 2262197"/>
                <a:gd name="connsiteX26" fmla="*/ 9450348 w 12379791"/>
                <a:gd name="connsiteY26" fmla="*/ 299156 h 2262197"/>
                <a:gd name="connsiteX27" fmla="*/ 8557477 w 12379791"/>
                <a:gd name="connsiteY27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4550540 w 12379791"/>
                <a:gd name="connsiteY6" fmla="*/ 597083 h 2262197"/>
                <a:gd name="connsiteX7" fmla="*/ 5180258 w 12379791"/>
                <a:gd name="connsiteY7" fmla="*/ 605589 h 2262197"/>
                <a:gd name="connsiteX8" fmla="*/ 6016268 w 12379791"/>
                <a:gd name="connsiteY8" fmla="*/ 605589 h 2262197"/>
                <a:gd name="connsiteX9" fmla="*/ 7080281 w 12379791"/>
                <a:gd name="connsiteY9" fmla="*/ 631089 h 2262197"/>
                <a:gd name="connsiteX10" fmla="*/ 7829436 w 12379791"/>
                <a:gd name="connsiteY10" fmla="*/ 622583 h 2262197"/>
                <a:gd name="connsiteX11" fmla="*/ 8361431 w 12379791"/>
                <a:gd name="connsiteY11" fmla="*/ 614077 h 2262197"/>
                <a:gd name="connsiteX12" fmla="*/ 8982448 w 12379791"/>
                <a:gd name="connsiteY12" fmla="*/ 1016825 h 2262197"/>
                <a:gd name="connsiteX13" fmla="*/ 9552444 w 12379791"/>
                <a:gd name="connsiteY13" fmla="*/ 1843657 h 2262197"/>
                <a:gd name="connsiteX14" fmla="*/ 10483844 w 12379791"/>
                <a:gd name="connsiteY14" fmla="*/ 2262196 h 2262197"/>
                <a:gd name="connsiteX15" fmla="*/ 11529878 w 12379791"/>
                <a:gd name="connsiteY15" fmla="*/ 1843659 h 2262197"/>
                <a:gd name="connsiteX16" fmla="*/ 11820809 w 12379791"/>
                <a:gd name="connsiteY16" fmla="*/ 1197924 h 2262197"/>
                <a:gd name="connsiteX17" fmla="*/ 12131705 w 12379791"/>
                <a:gd name="connsiteY17" fmla="*/ 751817 h 2262197"/>
                <a:gd name="connsiteX18" fmla="*/ 12379791 w 12379791"/>
                <a:gd name="connsiteY18" fmla="*/ 451503 h 2262197"/>
                <a:gd name="connsiteX19" fmla="*/ 12379791 w 12379791"/>
                <a:gd name="connsiteY19" fmla="*/ 13121 h 2262197"/>
                <a:gd name="connsiteX20" fmla="*/ 11773475 w 12379791"/>
                <a:gd name="connsiteY20" fmla="*/ 187696 h 2262197"/>
                <a:gd name="connsiteX21" fmla="*/ 11393750 w 12379791"/>
                <a:gd name="connsiteY21" fmla="*/ 799581 h 2262197"/>
                <a:gd name="connsiteX22" fmla="*/ 10937005 w 12379791"/>
                <a:gd name="connsiteY22" fmla="*/ 1413742 h 2262197"/>
                <a:gd name="connsiteX23" fmla="*/ 10369210 w 12379791"/>
                <a:gd name="connsiteY23" fmla="*/ 1370525 h 2262197"/>
                <a:gd name="connsiteX24" fmla="*/ 9862313 w 12379791"/>
                <a:gd name="connsiteY24" fmla="*/ 810956 h 2262197"/>
                <a:gd name="connsiteX25" fmla="*/ 9450348 w 12379791"/>
                <a:gd name="connsiteY25" fmla="*/ 299156 h 2262197"/>
                <a:gd name="connsiteX26" fmla="*/ 8557477 w 12379791"/>
                <a:gd name="connsiteY26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5180258 w 12379791"/>
                <a:gd name="connsiteY6" fmla="*/ 605589 h 2262197"/>
                <a:gd name="connsiteX7" fmla="*/ 6016268 w 12379791"/>
                <a:gd name="connsiteY7" fmla="*/ 605589 h 2262197"/>
                <a:gd name="connsiteX8" fmla="*/ 7080281 w 12379791"/>
                <a:gd name="connsiteY8" fmla="*/ 631089 h 2262197"/>
                <a:gd name="connsiteX9" fmla="*/ 7829436 w 12379791"/>
                <a:gd name="connsiteY9" fmla="*/ 622583 h 2262197"/>
                <a:gd name="connsiteX10" fmla="*/ 8361431 w 12379791"/>
                <a:gd name="connsiteY10" fmla="*/ 614077 h 2262197"/>
                <a:gd name="connsiteX11" fmla="*/ 8982448 w 12379791"/>
                <a:gd name="connsiteY11" fmla="*/ 1016825 h 2262197"/>
                <a:gd name="connsiteX12" fmla="*/ 9552444 w 12379791"/>
                <a:gd name="connsiteY12" fmla="*/ 1843657 h 2262197"/>
                <a:gd name="connsiteX13" fmla="*/ 10483844 w 12379791"/>
                <a:gd name="connsiteY13" fmla="*/ 2262196 h 2262197"/>
                <a:gd name="connsiteX14" fmla="*/ 11529878 w 12379791"/>
                <a:gd name="connsiteY14" fmla="*/ 1843659 h 2262197"/>
                <a:gd name="connsiteX15" fmla="*/ 11820809 w 12379791"/>
                <a:gd name="connsiteY15" fmla="*/ 1197924 h 2262197"/>
                <a:gd name="connsiteX16" fmla="*/ 12131705 w 12379791"/>
                <a:gd name="connsiteY16" fmla="*/ 751817 h 2262197"/>
                <a:gd name="connsiteX17" fmla="*/ 12379791 w 12379791"/>
                <a:gd name="connsiteY17" fmla="*/ 451503 h 2262197"/>
                <a:gd name="connsiteX18" fmla="*/ 12379791 w 12379791"/>
                <a:gd name="connsiteY18" fmla="*/ 13121 h 2262197"/>
                <a:gd name="connsiteX19" fmla="*/ 11773475 w 12379791"/>
                <a:gd name="connsiteY19" fmla="*/ 187696 h 2262197"/>
                <a:gd name="connsiteX20" fmla="*/ 11393750 w 12379791"/>
                <a:gd name="connsiteY20" fmla="*/ 799581 h 2262197"/>
                <a:gd name="connsiteX21" fmla="*/ 10937005 w 12379791"/>
                <a:gd name="connsiteY21" fmla="*/ 1413742 h 2262197"/>
                <a:gd name="connsiteX22" fmla="*/ 10369210 w 12379791"/>
                <a:gd name="connsiteY22" fmla="*/ 1370525 h 2262197"/>
                <a:gd name="connsiteX23" fmla="*/ 9862313 w 12379791"/>
                <a:gd name="connsiteY23" fmla="*/ 810956 h 2262197"/>
                <a:gd name="connsiteX24" fmla="*/ 9450348 w 12379791"/>
                <a:gd name="connsiteY24" fmla="*/ 299156 h 2262197"/>
                <a:gd name="connsiteX25" fmla="*/ 8557477 w 12379791"/>
                <a:gd name="connsiteY25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6016268 w 12379791"/>
                <a:gd name="connsiteY6" fmla="*/ 605589 h 2262197"/>
                <a:gd name="connsiteX7" fmla="*/ 7080281 w 12379791"/>
                <a:gd name="connsiteY7" fmla="*/ 631089 h 2262197"/>
                <a:gd name="connsiteX8" fmla="*/ 7829436 w 12379791"/>
                <a:gd name="connsiteY8" fmla="*/ 622583 h 2262197"/>
                <a:gd name="connsiteX9" fmla="*/ 8361431 w 12379791"/>
                <a:gd name="connsiteY9" fmla="*/ 614077 h 2262197"/>
                <a:gd name="connsiteX10" fmla="*/ 8982448 w 12379791"/>
                <a:gd name="connsiteY10" fmla="*/ 1016825 h 2262197"/>
                <a:gd name="connsiteX11" fmla="*/ 9552444 w 12379791"/>
                <a:gd name="connsiteY11" fmla="*/ 1843657 h 2262197"/>
                <a:gd name="connsiteX12" fmla="*/ 10483844 w 12379791"/>
                <a:gd name="connsiteY12" fmla="*/ 2262196 h 2262197"/>
                <a:gd name="connsiteX13" fmla="*/ 11529878 w 12379791"/>
                <a:gd name="connsiteY13" fmla="*/ 1843659 h 2262197"/>
                <a:gd name="connsiteX14" fmla="*/ 11820809 w 12379791"/>
                <a:gd name="connsiteY14" fmla="*/ 1197924 h 2262197"/>
                <a:gd name="connsiteX15" fmla="*/ 12131705 w 12379791"/>
                <a:gd name="connsiteY15" fmla="*/ 751817 h 2262197"/>
                <a:gd name="connsiteX16" fmla="*/ 12379791 w 12379791"/>
                <a:gd name="connsiteY16" fmla="*/ 451503 h 2262197"/>
                <a:gd name="connsiteX17" fmla="*/ 12379791 w 12379791"/>
                <a:gd name="connsiteY17" fmla="*/ 13121 h 2262197"/>
                <a:gd name="connsiteX18" fmla="*/ 11773475 w 12379791"/>
                <a:gd name="connsiteY18" fmla="*/ 187696 h 2262197"/>
                <a:gd name="connsiteX19" fmla="*/ 11393750 w 12379791"/>
                <a:gd name="connsiteY19" fmla="*/ 799581 h 2262197"/>
                <a:gd name="connsiteX20" fmla="*/ 10937005 w 12379791"/>
                <a:gd name="connsiteY20" fmla="*/ 1413742 h 2262197"/>
                <a:gd name="connsiteX21" fmla="*/ 10369210 w 12379791"/>
                <a:gd name="connsiteY21" fmla="*/ 1370525 h 2262197"/>
                <a:gd name="connsiteX22" fmla="*/ 9862313 w 12379791"/>
                <a:gd name="connsiteY22" fmla="*/ 810956 h 2262197"/>
                <a:gd name="connsiteX23" fmla="*/ 9450348 w 12379791"/>
                <a:gd name="connsiteY23" fmla="*/ 299156 h 2262197"/>
                <a:gd name="connsiteX24" fmla="*/ 8557477 w 12379791"/>
                <a:gd name="connsiteY24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7080281 w 12379791"/>
                <a:gd name="connsiteY6" fmla="*/ 631089 h 2262197"/>
                <a:gd name="connsiteX7" fmla="*/ 7829436 w 12379791"/>
                <a:gd name="connsiteY7" fmla="*/ 622583 h 2262197"/>
                <a:gd name="connsiteX8" fmla="*/ 8361431 w 12379791"/>
                <a:gd name="connsiteY8" fmla="*/ 614077 h 2262197"/>
                <a:gd name="connsiteX9" fmla="*/ 8982448 w 12379791"/>
                <a:gd name="connsiteY9" fmla="*/ 1016825 h 2262197"/>
                <a:gd name="connsiteX10" fmla="*/ 9552444 w 12379791"/>
                <a:gd name="connsiteY10" fmla="*/ 1843657 h 2262197"/>
                <a:gd name="connsiteX11" fmla="*/ 10483844 w 12379791"/>
                <a:gd name="connsiteY11" fmla="*/ 2262196 h 2262197"/>
                <a:gd name="connsiteX12" fmla="*/ 11529878 w 12379791"/>
                <a:gd name="connsiteY12" fmla="*/ 1843659 h 2262197"/>
                <a:gd name="connsiteX13" fmla="*/ 11820809 w 12379791"/>
                <a:gd name="connsiteY13" fmla="*/ 1197924 h 2262197"/>
                <a:gd name="connsiteX14" fmla="*/ 12131705 w 12379791"/>
                <a:gd name="connsiteY14" fmla="*/ 751817 h 2262197"/>
                <a:gd name="connsiteX15" fmla="*/ 12379791 w 12379791"/>
                <a:gd name="connsiteY15" fmla="*/ 451503 h 2262197"/>
                <a:gd name="connsiteX16" fmla="*/ 12379791 w 12379791"/>
                <a:gd name="connsiteY16" fmla="*/ 13121 h 2262197"/>
                <a:gd name="connsiteX17" fmla="*/ 11773475 w 12379791"/>
                <a:gd name="connsiteY17" fmla="*/ 187696 h 2262197"/>
                <a:gd name="connsiteX18" fmla="*/ 11393750 w 12379791"/>
                <a:gd name="connsiteY18" fmla="*/ 799581 h 2262197"/>
                <a:gd name="connsiteX19" fmla="*/ 10937005 w 12379791"/>
                <a:gd name="connsiteY19" fmla="*/ 1413742 h 2262197"/>
                <a:gd name="connsiteX20" fmla="*/ 10369210 w 12379791"/>
                <a:gd name="connsiteY20" fmla="*/ 1370525 h 2262197"/>
                <a:gd name="connsiteX21" fmla="*/ 9862313 w 12379791"/>
                <a:gd name="connsiteY21" fmla="*/ 810956 h 2262197"/>
                <a:gd name="connsiteX22" fmla="*/ 9450348 w 12379791"/>
                <a:gd name="connsiteY22" fmla="*/ 299156 h 2262197"/>
                <a:gd name="connsiteX23" fmla="*/ 8557477 w 12379791"/>
                <a:gd name="connsiteY23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7829436 w 12379791"/>
                <a:gd name="connsiteY6" fmla="*/ 622583 h 2262197"/>
                <a:gd name="connsiteX7" fmla="*/ 8361431 w 12379791"/>
                <a:gd name="connsiteY7" fmla="*/ 614077 h 2262197"/>
                <a:gd name="connsiteX8" fmla="*/ 8982448 w 12379791"/>
                <a:gd name="connsiteY8" fmla="*/ 1016825 h 2262197"/>
                <a:gd name="connsiteX9" fmla="*/ 9552444 w 12379791"/>
                <a:gd name="connsiteY9" fmla="*/ 1843657 h 2262197"/>
                <a:gd name="connsiteX10" fmla="*/ 10483844 w 12379791"/>
                <a:gd name="connsiteY10" fmla="*/ 2262196 h 2262197"/>
                <a:gd name="connsiteX11" fmla="*/ 11529878 w 12379791"/>
                <a:gd name="connsiteY11" fmla="*/ 1843659 h 2262197"/>
                <a:gd name="connsiteX12" fmla="*/ 11820809 w 12379791"/>
                <a:gd name="connsiteY12" fmla="*/ 1197924 h 2262197"/>
                <a:gd name="connsiteX13" fmla="*/ 12131705 w 12379791"/>
                <a:gd name="connsiteY13" fmla="*/ 751817 h 2262197"/>
                <a:gd name="connsiteX14" fmla="*/ 12379791 w 12379791"/>
                <a:gd name="connsiteY14" fmla="*/ 451503 h 2262197"/>
                <a:gd name="connsiteX15" fmla="*/ 12379791 w 12379791"/>
                <a:gd name="connsiteY15" fmla="*/ 13121 h 2262197"/>
                <a:gd name="connsiteX16" fmla="*/ 11773475 w 12379791"/>
                <a:gd name="connsiteY16" fmla="*/ 187696 h 2262197"/>
                <a:gd name="connsiteX17" fmla="*/ 11393750 w 12379791"/>
                <a:gd name="connsiteY17" fmla="*/ 799581 h 2262197"/>
                <a:gd name="connsiteX18" fmla="*/ 10937005 w 12379791"/>
                <a:gd name="connsiteY18" fmla="*/ 1413742 h 2262197"/>
                <a:gd name="connsiteX19" fmla="*/ 10369210 w 12379791"/>
                <a:gd name="connsiteY19" fmla="*/ 1370525 h 2262197"/>
                <a:gd name="connsiteX20" fmla="*/ 9862313 w 12379791"/>
                <a:gd name="connsiteY20" fmla="*/ 810956 h 2262197"/>
                <a:gd name="connsiteX21" fmla="*/ 9450348 w 12379791"/>
                <a:gd name="connsiteY21" fmla="*/ 299156 h 2262197"/>
                <a:gd name="connsiteX22" fmla="*/ 8557477 w 12379791"/>
                <a:gd name="connsiteY22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8361431 w 12379791"/>
                <a:gd name="connsiteY6" fmla="*/ 614077 h 2262197"/>
                <a:gd name="connsiteX7" fmla="*/ 8982448 w 12379791"/>
                <a:gd name="connsiteY7" fmla="*/ 1016825 h 2262197"/>
                <a:gd name="connsiteX8" fmla="*/ 9552444 w 12379791"/>
                <a:gd name="connsiteY8" fmla="*/ 1843657 h 2262197"/>
                <a:gd name="connsiteX9" fmla="*/ 10483844 w 12379791"/>
                <a:gd name="connsiteY9" fmla="*/ 2262196 h 2262197"/>
                <a:gd name="connsiteX10" fmla="*/ 11529878 w 12379791"/>
                <a:gd name="connsiteY10" fmla="*/ 1843659 h 2262197"/>
                <a:gd name="connsiteX11" fmla="*/ 11820809 w 12379791"/>
                <a:gd name="connsiteY11" fmla="*/ 1197924 h 2262197"/>
                <a:gd name="connsiteX12" fmla="*/ 12131705 w 12379791"/>
                <a:gd name="connsiteY12" fmla="*/ 751817 h 2262197"/>
                <a:gd name="connsiteX13" fmla="*/ 12379791 w 12379791"/>
                <a:gd name="connsiteY13" fmla="*/ 451503 h 2262197"/>
                <a:gd name="connsiteX14" fmla="*/ 12379791 w 12379791"/>
                <a:gd name="connsiteY14" fmla="*/ 13121 h 2262197"/>
                <a:gd name="connsiteX15" fmla="*/ 11773475 w 12379791"/>
                <a:gd name="connsiteY15" fmla="*/ 187696 h 2262197"/>
                <a:gd name="connsiteX16" fmla="*/ 11393750 w 12379791"/>
                <a:gd name="connsiteY16" fmla="*/ 799581 h 2262197"/>
                <a:gd name="connsiteX17" fmla="*/ 10937005 w 12379791"/>
                <a:gd name="connsiteY17" fmla="*/ 1413742 h 2262197"/>
                <a:gd name="connsiteX18" fmla="*/ 10369210 w 12379791"/>
                <a:gd name="connsiteY18" fmla="*/ 1370525 h 2262197"/>
                <a:gd name="connsiteX19" fmla="*/ 9862313 w 12379791"/>
                <a:gd name="connsiteY19" fmla="*/ 810956 h 2262197"/>
                <a:gd name="connsiteX20" fmla="*/ 9450348 w 12379791"/>
                <a:gd name="connsiteY20" fmla="*/ 299156 h 2262197"/>
                <a:gd name="connsiteX21" fmla="*/ 8557477 w 12379791"/>
                <a:gd name="connsiteY21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8370387 w 12379791"/>
                <a:gd name="connsiteY6" fmla="*/ 545838 h 2262197"/>
                <a:gd name="connsiteX7" fmla="*/ 8982448 w 12379791"/>
                <a:gd name="connsiteY7" fmla="*/ 1016825 h 2262197"/>
                <a:gd name="connsiteX8" fmla="*/ 9552444 w 12379791"/>
                <a:gd name="connsiteY8" fmla="*/ 1843657 h 2262197"/>
                <a:gd name="connsiteX9" fmla="*/ 10483844 w 12379791"/>
                <a:gd name="connsiteY9" fmla="*/ 2262196 h 2262197"/>
                <a:gd name="connsiteX10" fmla="*/ 11529878 w 12379791"/>
                <a:gd name="connsiteY10" fmla="*/ 1843659 h 2262197"/>
                <a:gd name="connsiteX11" fmla="*/ 11820809 w 12379791"/>
                <a:gd name="connsiteY11" fmla="*/ 1197924 h 2262197"/>
                <a:gd name="connsiteX12" fmla="*/ 12131705 w 12379791"/>
                <a:gd name="connsiteY12" fmla="*/ 751817 h 2262197"/>
                <a:gd name="connsiteX13" fmla="*/ 12379791 w 12379791"/>
                <a:gd name="connsiteY13" fmla="*/ 451503 h 2262197"/>
                <a:gd name="connsiteX14" fmla="*/ 12379791 w 12379791"/>
                <a:gd name="connsiteY14" fmla="*/ 13121 h 2262197"/>
                <a:gd name="connsiteX15" fmla="*/ 11773475 w 12379791"/>
                <a:gd name="connsiteY15" fmla="*/ 187696 h 2262197"/>
                <a:gd name="connsiteX16" fmla="*/ 11393750 w 12379791"/>
                <a:gd name="connsiteY16" fmla="*/ 799581 h 2262197"/>
                <a:gd name="connsiteX17" fmla="*/ 10937005 w 12379791"/>
                <a:gd name="connsiteY17" fmla="*/ 1413742 h 2262197"/>
                <a:gd name="connsiteX18" fmla="*/ 10369210 w 12379791"/>
                <a:gd name="connsiteY18" fmla="*/ 1370525 h 2262197"/>
                <a:gd name="connsiteX19" fmla="*/ 9862313 w 12379791"/>
                <a:gd name="connsiteY19" fmla="*/ 810956 h 2262197"/>
                <a:gd name="connsiteX20" fmla="*/ 9450348 w 12379791"/>
                <a:gd name="connsiteY20" fmla="*/ 299156 h 2262197"/>
                <a:gd name="connsiteX21" fmla="*/ 8557477 w 12379791"/>
                <a:gd name="connsiteY21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2900235 w 12379791"/>
                <a:gd name="connsiteY5" fmla="*/ 571583 h 2262197"/>
                <a:gd name="connsiteX6" fmla="*/ 8982448 w 12379791"/>
                <a:gd name="connsiteY6" fmla="*/ 1016825 h 2262197"/>
                <a:gd name="connsiteX7" fmla="*/ 9552444 w 12379791"/>
                <a:gd name="connsiteY7" fmla="*/ 1843657 h 2262197"/>
                <a:gd name="connsiteX8" fmla="*/ 10483844 w 12379791"/>
                <a:gd name="connsiteY8" fmla="*/ 2262196 h 2262197"/>
                <a:gd name="connsiteX9" fmla="*/ 11529878 w 12379791"/>
                <a:gd name="connsiteY9" fmla="*/ 1843659 h 2262197"/>
                <a:gd name="connsiteX10" fmla="*/ 11820809 w 12379791"/>
                <a:gd name="connsiteY10" fmla="*/ 1197924 h 2262197"/>
                <a:gd name="connsiteX11" fmla="*/ 12131705 w 12379791"/>
                <a:gd name="connsiteY11" fmla="*/ 751817 h 2262197"/>
                <a:gd name="connsiteX12" fmla="*/ 12379791 w 12379791"/>
                <a:gd name="connsiteY12" fmla="*/ 451503 h 2262197"/>
                <a:gd name="connsiteX13" fmla="*/ 12379791 w 12379791"/>
                <a:gd name="connsiteY13" fmla="*/ 13121 h 2262197"/>
                <a:gd name="connsiteX14" fmla="*/ 11773475 w 12379791"/>
                <a:gd name="connsiteY14" fmla="*/ 187696 h 2262197"/>
                <a:gd name="connsiteX15" fmla="*/ 11393750 w 12379791"/>
                <a:gd name="connsiteY15" fmla="*/ 799581 h 2262197"/>
                <a:gd name="connsiteX16" fmla="*/ 10937005 w 12379791"/>
                <a:gd name="connsiteY16" fmla="*/ 1413742 h 2262197"/>
                <a:gd name="connsiteX17" fmla="*/ 10369210 w 12379791"/>
                <a:gd name="connsiteY17" fmla="*/ 1370525 h 2262197"/>
                <a:gd name="connsiteX18" fmla="*/ 9862313 w 12379791"/>
                <a:gd name="connsiteY18" fmla="*/ 810956 h 2262197"/>
                <a:gd name="connsiteX19" fmla="*/ 9450348 w 12379791"/>
                <a:gd name="connsiteY19" fmla="*/ 299156 h 2262197"/>
                <a:gd name="connsiteX20" fmla="*/ 8557477 w 12379791"/>
                <a:gd name="connsiteY20" fmla="*/ 212886 h 2262197"/>
                <a:gd name="connsiteX0" fmla="*/ 8557477 w 12379791"/>
                <a:gd name="connsiteY0" fmla="*/ 212886 h 2262197"/>
                <a:gd name="connsiteX1" fmla="*/ 414843 w 12379791"/>
                <a:gd name="connsiteY1" fmla="*/ 689526 h 2262197"/>
                <a:gd name="connsiteX2" fmla="*/ 1271644 w 12379791"/>
                <a:gd name="connsiteY2" fmla="*/ 597083 h 2262197"/>
                <a:gd name="connsiteX3" fmla="*/ 1966503 w 12379791"/>
                <a:gd name="connsiteY3" fmla="*/ 631071 h 2262197"/>
                <a:gd name="connsiteX4" fmla="*/ 2422513 w 12379791"/>
                <a:gd name="connsiteY4" fmla="*/ 571583 h 2262197"/>
                <a:gd name="connsiteX5" fmla="*/ 8622972 w 12379791"/>
                <a:gd name="connsiteY5" fmla="*/ 537465 h 2262197"/>
                <a:gd name="connsiteX6" fmla="*/ 8982448 w 12379791"/>
                <a:gd name="connsiteY6" fmla="*/ 1016825 h 2262197"/>
                <a:gd name="connsiteX7" fmla="*/ 9552444 w 12379791"/>
                <a:gd name="connsiteY7" fmla="*/ 1843657 h 2262197"/>
                <a:gd name="connsiteX8" fmla="*/ 10483844 w 12379791"/>
                <a:gd name="connsiteY8" fmla="*/ 2262196 h 2262197"/>
                <a:gd name="connsiteX9" fmla="*/ 11529878 w 12379791"/>
                <a:gd name="connsiteY9" fmla="*/ 1843659 h 2262197"/>
                <a:gd name="connsiteX10" fmla="*/ 11820809 w 12379791"/>
                <a:gd name="connsiteY10" fmla="*/ 1197924 h 2262197"/>
                <a:gd name="connsiteX11" fmla="*/ 12131705 w 12379791"/>
                <a:gd name="connsiteY11" fmla="*/ 751817 h 2262197"/>
                <a:gd name="connsiteX12" fmla="*/ 12379791 w 12379791"/>
                <a:gd name="connsiteY12" fmla="*/ 451503 h 2262197"/>
                <a:gd name="connsiteX13" fmla="*/ 12379791 w 12379791"/>
                <a:gd name="connsiteY13" fmla="*/ 13121 h 2262197"/>
                <a:gd name="connsiteX14" fmla="*/ 11773475 w 12379791"/>
                <a:gd name="connsiteY14" fmla="*/ 187696 h 2262197"/>
                <a:gd name="connsiteX15" fmla="*/ 11393750 w 12379791"/>
                <a:gd name="connsiteY15" fmla="*/ 799581 h 2262197"/>
                <a:gd name="connsiteX16" fmla="*/ 10937005 w 12379791"/>
                <a:gd name="connsiteY16" fmla="*/ 1413742 h 2262197"/>
                <a:gd name="connsiteX17" fmla="*/ 10369210 w 12379791"/>
                <a:gd name="connsiteY17" fmla="*/ 1370525 h 2262197"/>
                <a:gd name="connsiteX18" fmla="*/ 9862313 w 12379791"/>
                <a:gd name="connsiteY18" fmla="*/ 810956 h 2262197"/>
                <a:gd name="connsiteX19" fmla="*/ 9450348 w 12379791"/>
                <a:gd name="connsiteY19" fmla="*/ 299156 h 2262197"/>
                <a:gd name="connsiteX20" fmla="*/ 8557477 w 12379791"/>
                <a:gd name="connsiteY20" fmla="*/ 212886 h 2262197"/>
                <a:gd name="connsiteX0" fmla="*/ 8568147 w 12390461"/>
                <a:gd name="connsiteY0" fmla="*/ 212886 h 2262197"/>
                <a:gd name="connsiteX1" fmla="*/ 425513 w 12390461"/>
                <a:gd name="connsiteY1" fmla="*/ 689526 h 2262197"/>
                <a:gd name="connsiteX2" fmla="*/ 1282314 w 12390461"/>
                <a:gd name="connsiteY2" fmla="*/ 597083 h 2262197"/>
                <a:gd name="connsiteX3" fmla="*/ 2433183 w 12390461"/>
                <a:gd name="connsiteY3" fmla="*/ 571583 h 2262197"/>
                <a:gd name="connsiteX4" fmla="*/ 8633642 w 12390461"/>
                <a:gd name="connsiteY4" fmla="*/ 537465 h 2262197"/>
                <a:gd name="connsiteX5" fmla="*/ 8993118 w 12390461"/>
                <a:gd name="connsiteY5" fmla="*/ 1016825 h 2262197"/>
                <a:gd name="connsiteX6" fmla="*/ 9563114 w 12390461"/>
                <a:gd name="connsiteY6" fmla="*/ 1843657 h 2262197"/>
                <a:gd name="connsiteX7" fmla="*/ 10494514 w 12390461"/>
                <a:gd name="connsiteY7" fmla="*/ 2262196 h 2262197"/>
                <a:gd name="connsiteX8" fmla="*/ 11540548 w 12390461"/>
                <a:gd name="connsiteY8" fmla="*/ 1843659 h 2262197"/>
                <a:gd name="connsiteX9" fmla="*/ 11831479 w 12390461"/>
                <a:gd name="connsiteY9" fmla="*/ 1197924 h 2262197"/>
                <a:gd name="connsiteX10" fmla="*/ 12142375 w 12390461"/>
                <a:gd name="connsiteY10" fmla="*/ 751817 h 2262197"/>
                <a:gd name="connsiteX11" fmla="*/ 12390461 w 12390461"/>
                <a:gd name="connsiteY11" fmla="*/ 451503 h 2262197"/>
                <a:gd name="connsiteX12" fmla="*/ 12390461 w 12390461"/>
                <a:gd name="connsiteY12" fmla="*/ 13121 h 2262197"/>
                <a:gd name="connsiteX13" fmla="*/ 11784145 w 12390461"/>
                <a:gd name="connsiteY13" fmla="*/ 187696 h 2262197"/>
                <a:gd name="connsiteX14" fmla="*/ 11404420 w 12390461"/>
                <a:gd name="connsiteY14" fmla="*/ 799581 h 2262197"/>
                <a:gd name="connsiteX15" fmla="*/ 10947675 w 12390461"/>
                <a:gd name="connsiteY15" fmla="*/ 1413742 h 2262197"/>
                <a:gd name="connsiteX16" fmla="*/ 10379880 w 12390461"/>
                <a:gd name="connsiteY16" fmla="*/ 1370525 h 2262197"/>
                <a:gd name="connsiteX17" fmla="*/ 9872983 w 12390461"/>
                <a:gd name="connsiteY17" fmla="*/ 810956 h 2262197"/>
                <a:gd name="connsiteX18" fmla="*/ 9461018 w 12390461"/>
                <a:gd name="connsiteY18" fmla="*/ 299156 h 2262197"/>
                <a:gd name="connsiteX19" fmla="*/ 8568147 w 12390461"/>
                <a:gd name="connsiteY19" fmla="*/ 212886 h 2262197"/>
                <a:gd name="connsiteX0" fmla="*/ 8767043 w 12589357"/>
                <a:gd name="connsiteY0" fmla="*/ 212886 h 2262197"/>
                <a:gd name="connsiteX1" fmla="*/ 624409 w 12589357"/>
                <a:gd name="connsiteY1" fmla="*/ 689526 h 2262197"/>
                <a:gd name="connsiteX2" fmla="*/ 1481210 w 12589357"/>
                <a:gd name="connsiteY2" fmla="*/ 597083 h 2262197"/>
                <a:gd name="connsiteX3" fmla="*/ 8832538 w 12589357"/>
                <a:gd name="connsiteY3" fmla="*/ 537465 h 2262197"/>
                <a:gd name="connsiteX4" fmla="*/ 9192014 w 12589357"/>
                <a:gd name="connsiteY4" fmla="*/ 1016825 h 2262197"/>
                <a:gd name="connsiteX5" fmla="*/ 9762010 w 12589357"/>
                <a:gd name="connsiteY5" fmla="*/ 1843657 h 2262197"/>
                <a:gd name="connsiteX6" fmla="*/ 10693410 w 12589357"/>
                <a:gd name="connsiteY6" fmla="*/ 2262196 h 2262197"/>
                <a:gd name="connsiteX7" fmla="*/ 11739444 w 12589357"/>
                <a:gd name="connsiteY7" fmla="*/ 1843659 h 2262197"/>
                <a:gd name="connsiteX8" fmla="*/ 12030375 w 12589357"/>
                <a:gd name="connsiteY8" fmla="*/ 1197924 h 2262197"/>
                <a:gd name="connsiteX9" fmla="*/ 12341271 w 12589357"/>
                <a:gd name="connsiteY9" fmla="*/ 751817 h 2262197"/>
                <a:gd name="connsiteX10" fmla="*/ 12589357 w 12589357"/>
                <a:gd name="connsiteY10" fmla="*/ 451503 h 2262197"/>
                <a:gd name="connsiteX11" fmla="*/ 12589357 w 12589357"/>
                <a:gd name="connsiteY11" fmla="*/ 13121 h 2262197"/>
                <a:gd name="connsiteX12" fmla="*/ 11983041 w 12589357"/>
                <a:gd name="connsiteY12" fmla="*/ 187696 h 2262197"/>
                <a:gd name="connsiteX13" fmla="*/ 11603316 w 12589357"/>
                <a:gd name="connsiteY13" fmla="*/ 799581 h 2262197"/>
                <a:gd name="connsiteX14" fmla="*/ 11146571 w 12589357"/>
                <a:gd name="connsiteY14" fmla="*/ 1413742 h 2262197"/>
                <a:gd name="connsiteX15" fmla="*/ 10578776 w 12589357"/>
                <a:gd name="connsiteY15" fmla="*/ 1370525 h 2262197"/>
                <a:gd name="connsiteX16" fmla="*/ 10071879 w 12589357"/>
                <a:gd name="connsiteY16" fmla="*/ 810956 h 2262197"/>
                <a:gd name="connsiteX17" fmla="*/ 9659914 w 12589357"/>
                <a:gd name="connsiteY17" fmla="*/ 299156 h 2262197"/>
                <a:gd name="connsiteX18" fmla="*/ 8767043 w 12589357"/>
                <a:gd name="connsiteY18" fmla="*/ 212886 h 2262197"/>
                <a:gd name="connsiteX0" fmla="*/ 8142648 w 11964962"/>
                <a:gd name="connsiteY0" fmla="*/ 212886 h 2262197"/>
                <a:gd name="connsiteX1" fmla="*/ 14 w 11964962"/>
                <a:gd name="connsiteY1" fmla="*/ 689526 h 2262197"/>
                <a:gd name="connsiteX2" fmla="*/ 8208143 w 11964962"/>
                <a:gd name="connsiteY2" fmla="*/ 537465 h 2262197"/>
                <a:gd name="connsiteX3" fmla="*/ 8567619 w 11964962"/>
                <a:gd name="connsiteY3" fmla="*/ 1016825 h 2262197"/>
                <a:gd name="connsiteX4" fmla="*/ 9137615 w 11964962"/>
                <a:gd name="connsiteY4" fmla="*/ 1843657 h 2262197"/>
                <a:gd name="connsiteX5" fmla="*/ 10069015 w 11964962"/>
                <a:gd name="connsiteY5" fmla="*/ 2262196 h 2262197"/>
                <a:gd name="connsiteX6" fmla="*/ 11115049 w 11964962"/>
                <a:gd name="connsiteY6" fmla="*/ 1843659 h 2262197"/>
                <a:gd name="connsiteX7" fmla="*/ 11405980 w 11964962"/>
                <a:gd name="connsiteY7" fmla="*/ 1197924 h 2262197"/>
                <a:gd name="connsiteX8" fmla="*/ 11716876 w 11964962"/>
                <a:gd name="connsiteY8" fmla="*/ 751817 h 2262197"/>
                <a:gd name="connsiteX9" fmla="*/ 11964962 w 11964962"/>
                <a:gd name="connsiteY9" fmla="*/ 451503 h 2262197"/>
                <a:gd name="connsiteX10" fmla="*/ 11964962 w 11964962"/>
                <a:gd name="connsiteY10" fmla="*/ 13121 h 2262197"/>
                <a:gd name="connsiteX11" fmla="*/ 11358646 w 11964962"/>
                <a:gd name="connsiteY11" fmla="*/ 187696 h 2262197"/>
                <a:gd name="connsiteX12" fmla="*/ 10978921 w 11964962"/>
                <a:gd name="connsiteY12" fmla="*/ 799581 h 2262197"/>
                <a:gd name="connsiteX13" fmla="*/ 10522176 w 11964962"/>
                <a:gd name="connsiteY13" fmla="*/ 1413742 h 2262197"/>
                <a:gd name="connsiteX14" fmla="*/ 9954381 w 11964962"/>
                <a:gd name="connsiteY14" fmla="*/ 1370525 h 2262197"/>
                <a:gd name="connsiteX15" fmla="*/ 9447484 w 11964962"/>
                <a:gd name="connsiteY15" fmla="*/ 810956 h 2262197"/>
                <a:gd name="connsiteX16" fmla="*/ 9035519 w 11964962"/>
                <a:gd name="connsiteY16" fmla="*/ 299156 h 2262197"/>
                <a:gd name="connsiteX17" fmla="*/ 8142648 w 11964962"/>
                <a:gd name="connsiteY17" fmla="*/ 212886 h 2262197"/>
                <a:gd name="connsiteX0" fmla="*/ 60187 w 3882501"/>
                <a:gd name="connsiteY0" fmla="*/ 212886 h 2262197"/>
                <a:gd name="connsiteX1" fmla="*/ 125682 w 3882501"/>
                <a:gd name="connsiteY1" fmla="*/ 537465 h 2262197"/>
                <a:gd name="connsiteX2" fmla="*/ 485158 w 3882501"/>
                <a:gd name="connsiteY2" fmla="*/ 1016825 h 2262197"/>
                <a:gd name="connsiteX3" fmla="*/ 1055154 w 3882501"/>
                <a:gd name="connsiteY3" fmla="*/ 1843657 h 2262197"/>
                <a:gd name="connsiteX4" fmla="*/ 1986554 w 3882501"/>
                <a:gd name="connsiteY4" fmla="*/ 2262196 h 2262197"/>
                <a:gd name="connsiteX5" fmla="*/ 3032588 w 3882501"/>
                <a:gd name="connsiteY5" fmla="*/ 1843659 h 2262197"/>
                <a:gd name="connsiteX6" fmla="*/ 3323519 w 3882501"/>
                <a:gd name="connsiteY6" fmla="*/ 1197924 h 2262197"/>
                <a:gd name="connsiteX7" fmla="*/ 3634415 w 3882501"/>
                <a:gd name="connsiteY7" fmla="*/ 751817 h 2262197"/>
                <a:gd name="connsiteX8" fmla="*/ 3882501 w 3882501"/>
                <a:gd name="connsiteY8" fmla="*/ 451503 h 2262197"/>
                <a:gd name="connsiteX9" fmla="*/ 3882501 w 3882501"/>
                <a:gd name="connsiteY9" fmla="*/ 13121 h 2262197"/>
                <a:gd name="connsiteX10" fmla="*/ 3276185 w 3882501"/>
                <a:gd name="connsiteY10" fmla="*/ 187696 h 2262197"/>
                <a:gd name="connsiteX11" fmla="*/ 2896460 w 3882501"/>
                <a:gd name="connsiteY11" fmla="*/ 799581 h 2262197"/>
                <a:gd name="connsiteX12" fmla="*/ 2439715 w 3882501"/>
                <a:gd name="connsiteY12" fmla="*/ 1413742 h 2262197"/>
                <a:gd name="connsiteX13" fmla="*/ 1871920 w 3882501"/>
                <a:gd name="connsiteY13" fmla="*/ 1370525 h 2262197"/>
                <a:gd name="connsiteX14" fmla="*/ 1365023 w 3882501"/>
                <a:gd name="connsiteY14" fmla="*/ 810956 h 2262197"/>
                <a:gd name="connsiteX15" fmla="*/ 953058 w 3882501"/>
                <a:gd name="connsiteY15" fmla="*/ 299156 h 2262197"/>
                <a:gd name="connsiteX16" fmla="*/ 60187 w 3882501"/>
                <a:gd name="connsiteY16" fmla="*/ 212886 h 2262197"/>
                <a:gd name="connsiteX0" fmla="*/ 60187 w 3882501"/>
                <a:gd name="connsiteY0" fmla="*/ 212886 h 2262197"/>
                <a:gd name="connsiteX1" fmla="*/ 125682 w 3882501"/>
                <a:gd name="connsiteY1" fmla="*/ 537465 h 2262197"/>
                <a:gd name="connsiteX2" fmla="*/ 485158 w 3882501"/>
                <a:gd name="connsiteY2" fmla="*/ 1016825 h 2262197"/>
                <a:gd name="connsiteX3" fmla="*/ 1055154 w 3882501"/>
                <a:gd name="connsiteY3" fmla="*/ 1843657 h 2262197"/>
                <a:gd name="connsiteX4" fmla="*/ 1986554 w 3882501"/>
                <a:gd name="connsiteY4" fmla="*/ 2262196 h 2262197"/>
                <a:gd name="connsiteX5" fmla="*/ 3032588 w 3882501"/>
                <a:gd name="connsiteY5" fmla="*/ 1843659 h 2262197"/>
                <a:gd name="connsiteX6" fmla="*/ 3323519 w 3882501"/>
                <a:gd name="connsiteY6" fmla="*/ 1197924 h 2262197"/>
                <a:gd name="connsiteX7" fmla="*/ 3634415 w 3882501"/>
                <a:gd name="connsiteY7" fmla="*/ 751817 h 2262197"/>
                <a:gd name="connsiteX8" fmla="*/ 3882501 w 3882501"/>
                <a:gd name="connsiteY8" fmla="*/ 451503 h 2262197"/>
                <a:gd name="connsiteX9" fmla="*/ 3882501 w 3882501"/>
                <a:gd name="connsiteY9" fmla="*/ 13121 h 2262197"/>
                <a:gd name="connsiteX10" fmla="*/ 3276185 w 3882501"/>
                <a:gd name="connsiteY10" fmla="*/ 187696 h 2262197"/>
                <a:gd name="connsiteX11" fmla="*/ 2896460 w 3882501"/>
                <a:gd name="connsiteY11" fmla="*/ 799581 h 2262197"/>
                <a:gd name="connsiteX12" fmla="*/ 2439715 w 3882501"/>
                <a:gd name="connsiteY12" fmla="*/ 1413742 h 2262197"/>
                <a:gd name="connsiteX13" fmla="*/ 1871920 w 3882501"/>
                <a:gd name="connsiteY13" fmla="*/ 1370525 h 2262197"/>
                <a:gd name="connsiteX14" fmla="*/ 1579966 w 3882501"/>
                <a:gd name="connsiteY14" fmla="*/ 185419 h 2262197"/>
                <a:gd name="connsiteX15" fmla="*/ 953058 w 3882501"/>
                <a:gd name="connsiteY15" fmla="*/ 299156 h 2262197"/>
                <a:gd name="connsiteX16" fmla="*/ 60187 w 3882501"/>
                <a:gd name="connsiteY16" fmla="*/ 212886 h 2262197"/>
                <a:gd name="connsiteX0" fmla="*/ 62173 w 3884487"/>
                <a:gd name="connsiteY0" fmla="*/ 212886 h 2262197"/>
                <a:gd name="connsiteX1" fmla="*/ 127668 w 3884487"/>
                <a:gd name="connsiteY1" fmla="*/ 537465 h 2262197"/>
                <a:gd name="connsiteX2" fmla="*/ 487144 w 3884487"/>
                <a:gd name="connsiteY2" fmla="*/ 1016825 h 2262197"/>
                <a:gd name="connsiteX3" fmla="*/ 1057140 w 3884487"/>
                <a:gd name="connsiteY3" fmla="*/ 1843657 h 2262197"/>
                <a:gd name="connsiteX4" fmla="*/ 1988540 w 3884487"/>
                <a:gd name="connsiteY4" fmla="*/ 2262196 h 2262197"/>
                <a:gd name="connsiteX5" fmla="*/ 3034574 w 3884487"/>
                <a:gd name="connsiteY5" fmla="*/ 1843659 h 2262197"/>
                <a:gd name="connsiteX6" fmla="*/ 3325505 w 3884487"/>
                <a:gd name="connsiteY6" fmla="*/ 1197924 h 2262197"/>
                <a:gd name="connsiteX7" fmla="*/ 3636401 w 3884487"/>
                <a:gd name="connsiteY7" fmla="*/ 751817 h 2262197"/>
                <a:gd name="connsiteX8" fmla="*/ 3884487 w 3884487"/>
                <a:gd name="connsiteY8" fmla="*/ 451503 h 2262197"/>
                <a:gd name="connsiteX9" fmla="*/ 3884487 w 3884487"/>
                <a:gd name="connsiteY9" fmla="*/ 13121 h 2262197"/>
                <a:gd name="connsiteX10" fmla="*/ 3278171 w 3884487"/>
                <a:gd name="connsiteY10" fmla="*/ 187696 h 2262197"/>
                <a:gd name="connsiteX11" fmla="*/ 2898446 w 3884487"/>
                <a:gd name="connsiteY11" fmla="*/ 799581 h 2262197"/>
                <a:gd name="connsiteX12" fmla="*/ 2441701 w 3884487"/>
                <a:gd name="connsiteY12" fmla="*/ 1413742 h 2262197"/>
                <a:gd name="connsiteX13" fmla="*/ 1873906 w 3884487"/>
                <a:gd name="connsiteY13" fmla="*/ 1370525 h 2262197"/>
                <a:gd name="connsiteX14" fmla="*/ 1581952 w 3884487"/>
                <a:gd name="connsiteY14" fmla="*/ 185419 h 2262197"/>
                <a:gd name="connsiteX15" fmla="*/ 981914 w 3884487"/>
                <a:gd name="connsiteY15" fmla="*/ 94434 h 2262197"/>
                <a:gd name="connsiteX16" fmla="*/ 62173 w 3884487"/>
                <a:gd name="connsiteY16" fmla="*/ 212886 h 2262197"/>
                <a:gd name="connsiteX0" fmla="*/ 62175 w 3884485"/>
                <a:gd name="connsiteY0" fmla="*/ 30910 h 2262197"/>
                <a:gd name="connsiteX1" fmla="*/ 127666 w 3884485"/>
                <a:gd name="connsiteY1" fmla="*/ 537465 h 2262197"/>
                <a:gd name="connsiteX2" fmla="*/ 487142 w 3884485"/>
                <a:gd name="connsiteY2" fmla="*/ 1016825 h 2262197"/>
                <a:gd name="connsiteX3" fmla="*/ 1057138 w 3884485"/>
                <a:gd name="connsiteY3" fmla="*/ 1843657 h 2262197"/>
                <a:gd name="connsiteX4" fmla="*/ 1988538 w 3884485"/>
                <a:gd name="connsiteY4" fmla="*/ 2262196 h 2262197"/>
                <a:gd name="connsiteX5" fmla="*/ 3034572 w 3884485"/>
                <a:gd name="connsiteY5" fmla="*/ 1843659 h 2262197"/>
                <a:gd name="connsiteX6" fmla="*/ 3325503 w 3884485"/>
                <a:gd name="connsiteY6" fmla="*/ 1197924 h 2262197"/>
                <a:gd name="connsiteX7" fmla="*/ 3636399 w 3884485"/>
                <a:gd name="connsiteY7" fmla="*/ 751817 h 2262197"/>
                <a:gd name="connsiteX8" fmla="*/ 3884485 w 3884485"/>
                <a:gd name="connsiteY8" fmla="*/ 451503 h 2262197"/>
                <a:gd name="connsiteX9" fmla="*/ 3884485 w 3884485"/>
                <a:gd name="connsiteY9" fmla="*/ 13121 h 2262197"/>
                <a:gd name="connsiteX10" fmla="*/ 3278169 w 3884485"/>
                <a:gd name="connsiteY10" fmla="*/ 187696 h 2262197"/>
                <a:gd name="connsiteX11" fmla="*/ 2898444 w 3884485"/>
                <a:gd name="connsiteY11" fmla="*/ 799581 h 2262197"/>
                <a:gd name="connsiteX12" fmla="*/ 2441699 w 3884485"/>
                <a:gd name="connsiteY12" fmla="*/ 1413742 h 2262197"/>
                <a:gd name="connsiteX13" fmla="*/ 1873904 w 3884485"/>
                <a:gd name="connsiteY13" fmla="*/ 1370525 h 2262197"/>
                <a:gd name="connsiteX14" fmla="*/ 1581950 w 3884485"/>
                <a:gd name="connsiteY14" fmla="*/ 185419 h 2262197"/>
                <a:gd name="connsiteX15" fmla="*/ 981912 w 3884485"/>
                <a:gd name="connsiteY15" fmla="*/ 94434 h 2262197"/>
                <a:gd name="connsiteX16" fmla="*/ 62175 w 3884485"/>
                <a:gd name="connsiteY16" fmla="*/ 30910 h 2262197"/>
                <a:gd name="connsiteX0" fmla="*/ 61263 w 3883573"/>
                <a:gd name="connsiteY0" fmla="*/ 30910 h 2262197"/>
                <a:gd name="connsiteX1" fmla="*/ 126754 w 3883573"/>
                <a:gd name="connsiteY1" fmla="*/ 537465 h 2262197"/>
                <a:gd name="connsiteX2" fmla="*/ 459363 w 3883573"/>
                <a:gd name="connsiteY2" fmla="*/ 1062319 h 2262197"/>
                <a:gd name="connsiteX3" fmla="*/ 1056226 w 3883573"/>
                <a:gd name="connsiteY3" fmla="*/ 1843657 h 2262197"/>
                <a:gd name="connsiteX4" fmla="*/ 1987626 w 3883573"/>
                <a:gd name="connsiteY4" fmla="*/ 2262196 h 2262197"/>
                <a:gd name="connsiteX5" fmla="*/ 3033660 w 3883573"/>
                <a:gd name="connsiteY5" fmla="*/ 1843659 h 2262197"/>
                <a:gd name="connsiteX6" fmla="*/ 3324591 w 3883573"/>
                <a:gd name="connsiteY6" fmla="*/ 1197924 h 2262197"/>
                <a:gd name="connsiteX7" fmla="*/ 3635487 w 3883573"/>
                <a:gd name="connsiteY7" fmla="*/ 751817 h 2262197"/>
                <a:gd name="connsiteX8" fmla="*/ 3883573 w 3883573"/>
                <a:gd name="connsiteY8" fmla="*/ 451503 h 2262197"/>
                <a:gd name="connsiteX9" fmla="*/ 3883573 w 3883573"/>
                <a:gd name="connsiteY9" fmla="*/ 13121 h 2262197"/>
                <a:gd name="connsiteX10" fmla="*/ 3277257 w 3883573"/>
                <a:gd name="connsiteY10" fmla="*/ 187696 h 2262197"/>
                <a:gd name="connsiteX11" fmla="*/ 2897532 w 3883573"/>
                <a:gd name="connsiteY11" fmla="*/ 799581 h 2262197"/>
                <a:gd name="connsiteX12" fmla="*/ 2440787 w 3883573"/>
                <a:gd name="connsiteY12" fmla="*/ 1413742 h 2262197"/>
                <a:gd name="connsiteX13" fmla="*/ 1872992 w 3883573"/>
                <a:gd name="connsiteY13" fmla="*/ 1370525 h 2262197"/>
                <a:gd name="connsiteX14" fmla="*/ 1581038 w 3883573"/>
                <a:gd name="connsiteY14" fmla="*/ 185419 h 2262197"/>
                <a:gd name="connsiteX15" fmla="*/ 981000 w 3883573"/>
                <a:gd name="connsiteY15" fmla="*/ 94434 h 2262197"/>
                <a:gd name="connsiteX16" fmla="*/ 61263 w 3883573"/>
                <a:gd name="connsiteY16" fmla="*/ 30910 h 2262197"/>
                <a:gd name="connsiteX0" fmla="*/ 61263 w 3883573"/>
                <a:gd name="connsiteY0" fmla="*/ 30910 h 2277068"/>
                <a:gd name="connsiteX1" fmla="*/ 126754 w 3883573"/>
                <a:gd name="connsiteY1" fmla="*/ 537465 h 2277068"/>
                <a:gd name="connsiteX2" fmla="*/ 459363 w 3883573"/>
                <a:gd name="connsiteY2" fmla="*/ 1062319 h 2277068"/>
                <a:gd name="connsiteX3" fmla="*/ 1235346 w 3883573"/>
                <a:gd name="connsiteY3" fmla="*/ 1252241 h 2277068"/>
                <a:gd name="connsiteX4" fmla="*/ 1987626 w 3883573"/>
                <a:gd name="connsiteY4" fmla="*/ 2262196 h 2277068"/>
                <a:gd name="connsiteX5" fmla="*/ 3033660 w 3883573"/>
                <a:gd name="connsiteY5" fmla="*/ 1843659 h 2277068"/>
                <a:gd name="connsiteX6" fmla="*/ 3324591 w 3883573"/>
                <a:gd name="connsiteY6" fmla="*/ 1197924 h 2277068"/>
                <a:gd name="connsiteX7" fmla="*/ 3635487 w 3883573"/>
                <a:gd name="connsiteY7" fmla="*/ 751817 h 2277068"/>
                <a:gd name="connsiteX8" fmla="*/ 3883573 w 3883573"/>
                <a:gd name="connsiteY8" fmla="*/ 451503 h 2277068"/>
                <a:gd name="connsiteX9" fmla="*/ 3883573 w 3883573"/>
                <a:gd name="connsiteY9" fmla="*/ 13121 h 2277068"/>
                <a:gd name="connsiteX10" fmla="*/ 3277257 w 3883573"/>
                <a:gd name="connsiteY10" fmla="*/ 187696 h 2277068"/>
                <a:gd name="connsiteX11" fmla="*/ 2897532 w 3883573"/>
                <a:gd name="connsiteY11" fmla="*/ 799581 h 2277068"/>
                <a:gd name="connsiteX12" fmla="*/ 2440787 w 3883573"/>
                <a:gd name="connsiteY12" fmla="*/ 1413742 h 2277068"/>
                <a:gd name="connsiteX13" fmla="*/ 1872992 w 3883573"/>
                <a:gd name="connsiteY13" fmla="*/ 1370525 h 2277068"/>
                <a:gd name="connsiteX14" fmla="*/ 1581038 w 3883573"/>
                <a:gd name="connsiteY14" fmla="*/ 185419 h 2277068"/>
                <a:gd name="connsiteX15" fmla="*/ 981000 w 3883573"/>
                <a:gd name="connsiteY15" fmla="*/ 94434 h 2277068"/>
                <a:gd name="connsiteX16" fmla="*/ 61263 w 3883573"/>
                <a:gd name="connsiteY16" fmla="*/ 30910 h 2277068"/>
                <a:gd name="connsiteX0" fmla="*/ 61263 w 3883573"/>
                <a:gd name="connsiteY0" fmla="*/ 30910 h 2277068"/>
                <a:gd name="connsiteX1" fmla="*/ 126754 w 3883573"/>
                <a:gd name="connsiteY1" fmla="*/ 537465 h 2277068"/>
                <a:gd name="connsiteX2" fmla="*/ 459363 w 3883573"/>
                <a:gd name="connsiteY2" fmla="*/ 1062319 h 2277068"/>
                <a:gd name="connsiteX3" fmla="*/ 1235346 w 3883573"/>
                <a:gd name="connsiteY3" fmla="*/ 1252241 h 2277068"/>
                <a:gd name="connsiteX4" fmla="*/ 1987626 w 3883573"/>
                <a:gd name="connsiteY4" fmla="*/ 2262196 h 2277068"/>
                <a:gd name="connsiteX5" fmla="*/ 3033660 w 3883573"/>
                <a:gd name="connsiteY5" fmla="*/ 1843659 h 2277068"/>
                <a:gd name="connsiteX6" fmla="*/ 3324591 w 3883573"/>
                <a:gd name="connsiteY6" fmla="*/ 1197924 h 2277068"/>
                <a:gd name="connsiteX7" fmla="*/ 3635487 w 3883573"/>
                <a:gd name="connsiteY7" fmla="*/ 751817 h 2277068"/>
                <a:gd name="connsiteX8" fmla="*/ 3883573 w 3883573"/>
                <a:gd name="connsiteY8" fmla="*/ 451503 h 2277068"/>
                <a:gd name="connsiteX9" fmla="*/ 3883573 w 3883573"/>
                <a:gd name="connsiteY9" fmla="*/ 13121 h 2277068"/>
                <a:gd name="connsiteX10" fmla="*/ 3277257 w 3883573"/>
                <a:gd name="connsiteY10" fmla="*/ 187696 h 2277068"/>
                <a:gd name="connsiteX11" fmla="*/ 2897532 w 3883573"/>
                <a:gd name="connsiteY11" fmla="*/ 799581 h 2277068"/>
                <a:gd name="connsiteX12" fmla="*/ 2440787 w 3883573"/>
                <a:gd name="connsiteY12" fmla="*/ 1413742 h 2277068"/>
                <a:gd name="connsiteX13" fmla="*/ 2320781 w 3883573"/>
                <a:gd name="connsiteY13" fmla="*/ 210442 h 2277068"/>
                <a:gd name="connsiteX14" fmla="*/ 1581038 w 3883573"/>
                <a:gd name="connsiteY14" fmla="*/ 185419 h 2277068"/>
                <a:gd name="connsiteX15" fmla="*/ 981000 w 3883573"/>
                <a:gd name="connsiteY15" fmla="*/ 94434 h 2277068"/>
                <a:gd name="connsiteX16" fmla="*/ 61263 w 3883573"/>
                <a:gd name="connsiteY16" fmla="*/ 30910 h 2277068"/>
                <a:gd name="connsiteX0" fmla="*/ 61263 w 3883573"/>
                <a:gd name="connsiteY0" fmla="*/ 30910 h 2277068"/>
                <a:gd name="connsiteX1" fmla="*/ 126754 w 3883573"/>
                <a:gd name="connsiteY1" fmla="*/ 537465 h 2277068"/>
                <a:gd name="connsiteX2" fmla="*/ 459363 w 3883573"/>
                <a:gd name="connsiteY2" fmla="*/ 1062319 h 2277068"/>
                <a:gd name="connsiteX3" fmla="*/ 1235346 w 3883573"/>
                <a:gd name="connsiteY3" fmla="*/ 1252241 h 2277068"/>
                <a:gd name="connsiteX4" fmla="*/ 1987626 w 3883573"/>
                <a:gd name="connsiteY4" fmla="*/ 2262196 h 2277068"/>
                <a:gd name="connsiteX5" fmla="*/ 3033660 w 3883573"/>
                <a:gd name="connsiteY5" fmla="*/ 1843659 h 2277068"/>
                <a:gd name="connsiteX6" fmla="*/ 3324591 w 3883573"/>
                <a:gd name="connsiteY6" fmla="*/ 1197924 h 2277068"/>
                <a:gd name="connsiteX7" fmla="*/ 3635487 w 3883573"/>
                <a:gd name="connsiteY7" fmla="*/ 751817 h 2277068"/>
                <a:gd name="connsiteX8" fmla="*/ 3883573 w 3883573"/>
                <a:gd name="connsiteY8" fmla="*/ 451503 h 2277068"/>
                <a:gd name="connsiteX9" fmla="*/ 3883573 w 3883573"/>
                <a:gd name="connsiteY9" fmla="*/ 13121 h 2277068"/>
                <a:gd name="connsiteX10" fmla="*/ 3277257 w 3883573"/>
                <a:gd name="connsiteY10" fmla="*/ 187696 h 2277068"/>
                <a:gd name="connsiteX11" fmla="*/ 2897532 w 3883573"/>
                <a:gd name="connsiteY11" fmla="*/ 799581 h 2277068"/>
                <a:gd name="connsiteX12" fmla="*/ 2320781 w 3883573"/>
                <a:gd name="connsiteY12" fmla="*/ 210442 h 2277068"/>
                <a:gd name="connsiteX13" fmla="*/ 1581038 w 3883573"/>
                <a:gd name="connsiteY13" fmla="*/ 185419 h 2277068"/>
                <a:gd name="connsiteX14" fmla="*/ 981000 w 3883573"/>
                <a:gd name="connsiteY14" fmla="*/ 94434 h 2277068"/>
                <a:gd name="connsiteX15" fmla="*/ 61263 w 3883573"/>
                <a:gd name="connsiteY15" fmla="*/ 30910 h 2277068"/>
                <a:gd name="connsiteX0" fmla="*/ 61263 w 3883573"/>
                <a:gd name="connsiteY0" fmla="*/ 30910 h 2277068"/>
                <a:gd name="connsiteX1" fmla="*/ 126754 w 3883573"/>
                <a:gd name="connsiteY1" fmla="*/ 537465 h 2277068"/>
                <a:gd name="connsiteX2" fmla="*/ 459363 w 3883573"/>
                <a:gd name="connsiteY2" fmla="*/ 1062319 h 2277068"/>
                <a:gd name="connsiteX3" fmla="*/ 1235346 w 3883573"/>
                <a:gd name="connsiteY3" fmla="*/ 1252241 h 2277068"/>
                <a:gd name="connsiteX4" fmla="*/ 1987626 w 3883573"/>
                <a:gd name="connsiteY4" fmla="*/ 2262196 h 2277068"/>
                <a:gd name="connsiteX5" fmla="*/ 3033660 w 3883573"/>
                <a:gd name="connsiteY5" fmla="*/ 1843659 h 2277068"/>
                <a:gd name="connsiteX6" fmla="*/ 3324591 w 3883573"/>
                <a:gd name="connsiteY6" fmla="*/ 1197924 h 2277068"/>
                <a:gd name="connsiteX7" fmla="*/ 3635487 w 3883573"/>
                <a:gd name="connsiteY7" fmla="*/ 751817 h 2277068"/>
                <a:gd name="connsiteX8" fmla="*/ 3883573 w 3883573"/>
                <a:gd name="connsiteY8" fmla="*/ 451503 h 2277068"/>
                <a:gd name="connsiteX9" fmla="*/ 3883573 w 3883573"/>
                <a:gd name="connsiteY9" fmla="*/ 13121 h 2277068"/>
                <a:gd name="connsiteX10" fmla="*/ 3277257 w 3883573"/>
                <a:gd name="connsiteY10" fmla="*/ 187696 h 2277068"/>
                <a:gd name="connsiteX11" fmla="*/ 2790063 w 3883573"/>
                <a:gd name="connsiteY11" fmla="*/ 287779 h 2277068"/>
                <a:gd name="connsiteX12" fmla="*/ 2320781 w 3883573"/>
                <a:gd name="connsiteY12" fmla="*/ 210442 h 2277068"/>
                <a:gd name="connsiteX13" fmla="*/ 1581038 w 3883573"/>
                <a:gd name="connsiteY13" fmla="*/ 185419 h 2277068"/>
                <a:gd name="connsiteX14" fmla="*/ 981000 w 3883573"/>
                <a:gd name="connsiteY14" fmla="*/ 94434 h 2277068"/>
                <a:gd name="connsiteX15" fmla="*/ 61263 w 3883573"/>
                <a:gd name="connsiteY15" fmla="*/ 30910 h 2277068"/>
                <a:gd name="connsiteX0" fmla="*/ 61263 w 3883573"/>
                <a:gd name="connsiteY0" fmla="*/ 30910 h 1851428"/>
                <a:gd name="connsiteX1" fmla="*/ 126754 w 3883573"/>
                <a:gd name="connsiteY1" fmla="*/ 537465 h 1851428"/>
                <a:gd name="connsiteX2" fmla="*/ 459363 w 3883573"/>
                <a:gd name="connsiteY2" fmla="*/ 1062319 h 1851428"/>
                <a:gd name="connsiteX3" fmla="*/ 1235346 w 3883573"/>
                <a:gd name="connsiteY3" fmla="*/ 1252241 h 1851428"/>
                <a:gd name="connsiteX4" fmla="*/ 2023449 w 3883573"/>
                <a:gd name="connsiteY4" fmla="*/ 999753 h 1851428"/>
                <a:gd name="connsiteX5" fmla="*/ 3033660 w 3883573"/>
                <a:gd name="connsiteY5" fmla="*/ 1843659 h 1851428"/>
                <a:gd name="connsiteX6" fmla="*/ 3324591 w 3883573"/>
                <a:gd name="connsiteY6" fmla="*/ 1197924 h 1851428"/>
                <a:gd name="connsiteX7" fmla="*/ 3635487 w 3883573"/>
                <a:gd name="connsiteY7" fmla="*/ 751817 h 1851428"/>
                <a:gd name="connsiteX8" fmla="*/ 3883573 w 3883573"/>
                <a:gd name="connsiteY8" fmla="*/ 451503 h 1851428"/>
                <a:gd name="connsiteX9" fmla="*/ 3883573 w 3883573"/>
                <a:gd name="connsiteY9" fmla="*/ 13121 h 1851428"/>
                <a:gd name="connsiteX10" fmla="*/ 3277257 w 3883573"/>
                <a:gd name="connsiteY10" fmla="*/ 187696 h 1851428"/>
                <a:gd name="connsiteX11" fmla="*/ 2790063 w 3883573"/>
                <a:gd name="connsiteY11" fmla="*/ 287779 h 1851428"/>
                <a:gd name="connsiteX12" fmla="*/ 2320781 w 3883573"/>
                <a:gd name="connsiteY12" fmla="*/ 210442 h 1851428"/>
                <a:gd name="connsiteX13" fmla="*/ 1581038 w 3883573"/>
                <a:gd name="connsiteY13" fmla="*/ 185419 h 1851428"/>
                <a:gd name="connsiteX14" fmla="*/ 981000 w 3883573"/>
                <a:gd name="connsiteY14" fmla="*/ 94434 h 1851428"/>
                <a:gd name="connsiteX15" fmla="*/ 61263 w 3883573"/>
                <a:gd name="connsiteY15" fmla="*/ 30910 h 1851428"/>
                <a:gd name="connsiteX0" fmla="*/ 61263 w 3883573"/>
                <a:gd name="connsiteY0" fmla="*/ 30910 h 1847024"/>
                <a:gd name="connsiteX1" fmla="*/ 126754 w 3883573"/>
                <a:gd name="connsiteY1" fmla="*/ 537465 h 1847024"/>
                <a:gd name="connsiteX2" fmla="*/ 459363 w 3883573"/>
                <a:gd name="connsiteY2" fmla="*/ 1062319 h 1847024"/>
                <a:gd name="connsiteX3" fmla="*/ 1235346 w 3883573"/>
                <a:gd name="connsiteY3" fmla="*/ 1252241 h 1847024"/>
                <a:gd name="connsiteX4" fmla="*/ 2023449 w 3883573"/>
                <a:gd name="connsiteY4" fmla="*/ 999753 h 1847024"/>
                <a:gd name="connsiteX5" fmla="*/ 2490859 w 3883573"/>
                <a:gd name="connsiteY5" fmla="*/ 1155322 h 1847024"/>
                <a:gd name="connsiteX6" fmla="*/ 3033660 w 3883573"/>
                <a:gd name="connsiteY6" fmla="*/ 1843659 h 1847024"/>
                <a:gd name="connsiteX7" fmla="*/ 3324591 w 3883573"/>
                <a:gd name="connsiteY7" fmla="*/ 1197924 h 1847024"/>
                <a:gd name="connsiteX8" fmla="*/ 3635487 w 3883573"/>
                <a:gd name="connsiteY8" fmla="*/ 751817 h 1847024"/>
                <a:gd name="connsiteX9" fmla="*/ 3883573 w 3883573"/>
                <a:gd name="connsiteY9" fmla="*/ 451503 h 1847024"/>
                <a:gd name="connsiteX10" fmla="*/ 3883573 w 3883573"/>
                <a:gd name="connsiteY10" fmla="*/ 13121 h 1847024"/>
                <a:gd name="connsiteX11" fmla="*/ 3277257 w 3883573"/>
                <a:gd name="connsiteY11" fmla="*/ 187696 h 1847024"/>
                <a:gd name="connsiteX12" fmla="*/ 2790063 w 3883573"/>
                <a:gd name="connsiteY12" fmla="*/ 287779 h 1847024"/>
                <a:gd name="connsiteX13" fmla="*/ 2320781 w 3883573"/>
                <a:gd name="connsiteY13" fmla="*/ 210442 h 1847024"/>
                <a:gd name="connsiteX14" fmla="*/ 1581038 w 3883573"/>
                <a:gd name="connsiteY14" fmla="*/ 185419 h 1847024"/>
                <a:gd name="connsiteX15" fmla="*/ 981000 w 3883573"/>
                <a:gd name="connsiteY15" fmla="*/ 94434 h 1847024"/>
                <a:gd name="connsiteX16" fmla="*/ 61263 w 3883573"/>
                <a:gd name="connsiteY16" fmla="*/ 30910 h 1847024"/>
                <a:gd name="connsiteX0" fmla="*/ 61263 w 3883573"/>
                <a:gd name="connsiteY0" fmla="*/ 30910 h 1847024"/>
                <a:gd name="connsiteX1" fmla="*/ 126754 w 3883573"/>
                <a:gd name="connsiteY1" fmla="*/ 537465 h 1847024"/>
                <a:gd name="connsiteX2" fmla="*/ 459363 w 3883573"/>
                <a:gd name="connsiteY2" fmla="*/ 1062319 h 1847024"/>
                <a:gd name="connsiteX3" fmla="*/ 1235346 w 3883573"/>
                <a:gd name="connsiteY3" fmla="*/ 1252241 h 1847024"/>
                <a:gd name="connsiteX4" fmla="*/ 1736869 w 3883573"/>
                <a:gd name="connsiteY4" fmla="*/ 1011123 h 1847024"/>
                <a:gd name="connsiteX5" fmla="*/ 2490859 w 3883573"/>
                <a:gd name="connsiteY5" fmla="*/ 1155322 h 1847024"/>
                <a:gd name="connsiteX6" fmla="*/ 3033660 w 3883573"/>
                <a:gd name="connsiteY6" fmla="*/ 1843659 h 1847024"/>
                <a:gd name="connsiteX7" fmla="*/ 3324591 w 3883573"/>
                <a:gd name="connsiteY7" fmla="*/ 1197924 h 1847024"/>
                <a:gd name="connsiteX8" fmla="*/ 3635487 w 3883573"/>
                <a:gd name="connsiteY8" fmla="*/ 751817 h 1847024"/>
                <a:gd name="connsiteX9" fmla="*/ 3883573 w 3883573"/>
                <a:gd name="connsiteY9" fmla="*/ 451503 h 1847024"/>
                <a:gd name="connsiteX10" fmla="*/ 3883573 w 3883573"/>
                <a:gd name="connsiteY10" fmla="*/ 13121 h 1847024"/>
                <a:gd name="connsiteX11" fmla="*/ 3277257 w 3883573"/>
                <a:gd name="connsiteY11" fmla="*/ 187696 h 1847024"/>
                <a:gd name="connsiteX12" fmla="*/ 2790063 w 3883573"/>
                <a:gd name="connsiteY12" fmla="*/ 287779 h 1847024"/>
                <a:gd name="connsiteX13" fmla="*/ 2320781 w 3883573"/>
                <a:gd name="connsiteY13" fmla="*/ 210442 h 1847024"/>
                <a:gd name="connsiteX14" fmla="*/ 1581038 w 3883573"/>
                <a:gd name="connsiteY14" fmla="*/ 185419 h 1847024"/>
                <a:gd name="connsiteX15" fmla="*/ 981000 w 3883573"/>
                <a:gd name="connsiteY15" fmla="*/ 94434 h 1847024"/>
                <a:gd name="connsiteX16" fmla="*/ 61263 w 3883573"/>
                <a:gd name="connsiteY16" fmla="*/ 30910 h 1847024"/>
                <a:gd name="connsiteX0" fmla="*/ 61263 w 3883573"/>
                <a:gd name="connsiteY0" fmla="*/ 30910 h 1847024"/>
                <a:gd name="connsiteX1" fmla="*/ 126754 w 3883573"/>
                <a:gd name="connsiteY1" fmla="*/ 537465 h 1847024"/>
                <a:gd name="connsiteX2" fmla="*/ 459363 w 3883573"/>
                <a:gd name="connsiteY2" fmla="*/ 1062319 h 1847024"/>
                <a:gd name="connsiteX3" fmla="*/ 903987 w 3883573"/>
                <a:gd name="connsiteY3" fmla="*/ 1127135 h 1847024"/>
                <a:gd name="connsiteX4" fmla="*/ 1736869 w 3883573"/>
                <a:gd name="connsiteY4" fmla="*/ 1011123 h 1847024"/>
                <a:gd name="connsiteX5" fmla="*/ 2490859 w 3883573"/>
                <a:gd name="connsiteY5" fmla="*/ 1155322 h 1847024"/>
                <a:gd name="connsiteX6" fmla="*/ 3033660 w 3883573"/>
                <a:gd name="connsiteY6" fmla="*/ 1843659 h 1847024"/>
                <a:gd name="connsiteX7" fmla="*/ 3324591 w 3883573"/>
                <a:gd name="connsiteY7" fmla="*/ 1197924 h 1847024"/>
                <a:gd name="connsiteX8" fmla="*/ 3635487 w 3883573"/>
                <a:gd name="connsiteY8" fmla="*/ 751817 h 1847024"/>
                <a:gd name="connsiteX9" fmla="*/ 3883573 w 3883573"/>
                <a:gd name="connsiteY9" fmla="*/ 451503 h 1847024"/>
                <a:gd name="connsiteX10" fmla="*/ 3883573 w 3883573"/>
                <a:gd name="connsiteY10" fmla="*/ 13121 h 1847024"/>
                <a:gd name="connsiteX11" fmla="*/ 3277257 w 3883573"/>
                <a:gd name="connsiteY11" fmla="*/ 187696 h 1847024"/>
                <a:gd name="connsiteX12" fmla="*/ 2790063 w 3883573"/>
                <a:gd name="connsiteY12" fmla="*/ 287779 h 1847024"/>
                <a:gd name="connsiteX13" fmla="*/ 2320781 w 3883573"/>
                <a:gd name="connsiteY13" fmla="*/ 210442 h 1847024"/>
                <a:gd name="connsiteX14" fmla="*/ 1581038 w 3883573"/>
                <a:gd name="connsiteY14" fmla="*/ 185419 h 1847024"/>
                <a:gd name="connsiteX15" fmla="*/ 981000 w 3883573"/>
                <a:gd name="connsiteY15" fmla="*/ 94434 h 1847024"/>
                <a:gd name="connsiteX16" fmla="*/ 61263 w 3883573"/>
                <a:gd name="connsiteY16" fmla="*/ 30910 h 1847024"/>
                <a:gd name="connsiteX0" fmla="*/ 61263 w 3883573"/>
                <a:gd name="connsiteY0" fmla="*/ 30910 h 1847000"/>
                <a:gd name="connsiteX1" fmla="*/ 126754 w 3883573"/>
                <a:gd name="connsiteY1" fmla="*/ 537465 h 1847000"/>
                <a:gd name="connsiteX2" fmla="*/ 459363 w 3883573"/>
                <a:gd name="connsiteY2" fmla="*/ 1062319 h 1847000"/>
                <a:gd name="connsiteX3" fmla="*/ 903987 w 3883573"/>
                <a:gd name="connsiteY3" fmla="*/ 1127135 h 1847000"/>
                <a:gd name="connsiteX4" fmla="*/ 1736869 w 3883573"/>
                <a:gd name="connsiteY4" fmla="*/ 1011123 h 1847000"/>
                <a:gd name="connsiteX5" fmla="*/ 2069939 w 3883573"/>
                <a:gd name="connsiteY5" fmla="*/ 1166694 h 1847000"/>
                <a:gd name="connsiteX6" fmla="*/ 2490859 w 3883573"/>
                <a:gd name="connsiteY6" fmla="*/ 1155322 h 1847000"/>
                <a:gd name="connsiteX7" fmla="*/ 3033660 w 3883573"/>
                <a:gd name="connsiteY7" fmla="*/ 1843659 h 1847000"/>
                <a:gd name="connsiteX8" fmla="*/ 3324591 w 3883573"/>
                <a:gd name="connsiteY8" fmla="*/ 1197924 h 1847000"/>
                <a:gd name="connsiteX9" fmla="*/ 3635487 w 3883573"/>
                <a:gd name="connsiteY9" fmla="*/ 751817 h 1847000"/>
                <a:gd name="connsiteX10" fmla="*/ 3883573 w 3883573"/>
                <a:gd name="connsiteY10" fmla="*/ 451503 h 1847000"/>
                <a:gd name="connsiteX11" fmla="*/ 3883573 w 3883573"/>
                <a:gd name="connsiteY11" fmla="*/ 13121 h 1847000"/>
                <a:gd name="connsiteX12" fmla="*/ 3277257 w 3883573"/>
                <a:gd name="connsiteY12" fmla="*/ 187696 h 1847000"/>
                <a:gd name="connsiteX13" fmla="*/ 2790063 w 3883573"/>
                <a:gd name="connsiteY13" fmla="*/ 287779 h 1847000"/>
                <a:gd name="connsiteX14" fmla="*/ 2320781 w 3883573"/>
                <a:gd name="connsiteY14" fmla="*/ 210442 h 1847000"/>
                <a:gd name="connsiteX15" fmla="*/ 1581038 w 3883573"/>
                <a:gd name="connsiteY15" fmla="*/ 185419 h 1847000"/>
                <a:gd name="connsiteX16" fmla="*/ 981000 w 3883573"/>
                <a:gd name="connsiteY16" fmla="*/ 94434 h 1847000"/>
                <a:gd name="connsiteX17" fmla="*/ 61263 w 3883573"/>
                <a:gd name="connsiteY17" fmla="*/ 30910 h 1847000"/>
                <a:gd name="connsiteX0" fmla="*/ 61263 w 3883573"/>
                <a:gd name="connsiteY0" fmla="*/ 30910 h 1220392"/>
                <a:gd name="connsiteX1" fmla="*/ 126754 w 3883573"/>
                <a:gd name="connsiteY1" fmla="*/ 537465 h 1220392"/>
                <a:gd name="connsiteX2" fmla="*/ 459363 w 3883573"/>
                <a:gd name="connsiteY2" fmla="*/ 1062319 h 1220392"/>
                <a:gd name="connsiteX3" fmla="*/ 903987 w 3883573"/>
                <a:gd name="connsiteY3" fmla="*/ 1127135 h 1220392"/>
                <a:gd name="connsiteX4" fmla="*/ 1736869 w 3883573"/>
                <a:gd name="connsiteY4" fmla="*/ 1011123 h 1220392"/>
                <a:gd name="connsiteX5" fmla="*/ 2069939 w 3883573"/>
                <a:gd name="connsiteY5" fmla="*/ 1166694 h 1220392"/>
                <a:gd name="connsiteX6" fmla="*/ 2490859 w 3883573"/>
                <a:gd name="connsiteY6" fmla="*/ 1155322 h 1220392"/>
                <a:gd name="connsiteX7" fmla="*/ 3324591 w 3883573"/>
                <a:gd name="connsiteY7" fmla="*/ 1197924 h 1220392"/>
                <a:gd name="connsiteX8" fmla="*/ 3635487 w 3883573"/>
                <a:gd name="connsiteY8" fmla="*/ 751817 h 1220392"/>
                <a:gd name="connsiteX9" fmla="*/ 3883573 w 3883573"/>
                <a:gd name="connsiteY9" fmla="*/ 451503 h 1220392"/>
                <a:gd name="connsiteX10" fmla="*/ 3883573 w 3883573"/>
                <a:gd name="connsiteY10" fmla="*/ 13121 h 1220392"/>
                <a:gd name="connsiteX11" fmla="*/ 3277257 w 3883573"/>
                <a:gd name="connsiteY11" fmla="*/ 187696 h 1220392"/>
                <a:gd name="connsiteX12" fmla="*/ 2790063 w 3883573"/>
                <a:gd name="connsiteY12" fmla="*/ 287779 h 1220392"/>
                <a:gd name="connsiteX13" fmla="*/ 2320781 w 3883573"/>
                <a:gd name="connsiteY13" fmla="*/ 210442 h 1220392"/>
                <a:gd name="connsiteX14" fmla="*/ 1581038 w 3883573"/>
                <a:gd name="connsiteY14" fmla="*/ 185419 h 1220392"/>
                <a:gd name="connsiteX15" fmla="*/ 981000 w 3883573"/>
                <a:gd name="connsiteY15" fmla="*/ 94434 h 1220392"/>
                <a:gd name="connsiteX16" fmla="*/ 61263 w 3883573"/>
                <a:gd name="connsiteY16" fmla="*/ 30910 h 1220392"/>
                <a:gd name="connsiteX0" fmla="*/ 61263 w 3883573"/>
                <a:gd name="connsiteY0" fmla="*/ 30910 h 1174361"/>
                <a:gd name="connsiteX1" fmla="*/ 126754 w 3883573"/>
                <a:gd name="connsiteY1" fmla="*/ 537465 h 1174361"/>
                <a:gd name="connsiteX2" fmla="*/ 459363 w 3883573"/>
                <a:gd name="connsiteY2" fmla="*/ 1062319 h 1174361"/>
                <a:gd name="connsiteX3" fmla="*/ 903987 w 3883573"/>
                <a:gd name="connsiteY3" fmla="*/ 1127135 h 1174361"/>
                <a:gd name="connsiteX4" fmla="*/ 1736869 w 3883573"/>
                <a:gd name="connsiteY4" fmla="*/ 1011123 h 1174361"/>
                <a:gd name="connsiteX5" fmla="*/ 2069939 w 3883573"/>
                <a:gd name="connsiteY5" fmla="*/ 1166694 h 1174361"/>
                <a:gd name="connsiteX6" fmla="*/ 2490859 w 3883573"/>
                <a:gd name="connsiteY6" fmla="*/ 1155322 h 1174361"/>
                <a:gd name="connsiteX7" fmla="*/ 3243989 w 3883573"/>
                <a:gd name="connsiteY7" fmla="*/ 959085 h 1174361"/>
                <a:gd name="connsiteX8" fmla="*/ 3635487 w 3883573"/>
                <a:gd name="connsiteY8" fmla="*/ 751817 h 1174361"/>
                <a:gd name="connsiteX9" fmla="*/ 3883573 w 3883573"/>
                <a:gd name="connsiteY9" fmla="*/ 451503 h 1174361"/>
                <a:gd name="connsiteX10" fmla="*/ 3883573 w 3883573"/>
                <a:gd name="connsiteY10" fmla="*/ 13121 h 1174361"/>
                <a:gd name="connsiteX11" fmla="*/ 3277257 w 3883573"/>
                <a:gd name="connsiteY11" fmla="*/ 187696 h 1174361"/>
                <a:gd name="connsiteX12" fmla="*/ 2790063 w 3883573"/>
                <a:gd name="connsiteY12" fmla="*/ 287779 h 1174361"/>
                <a:gd name="connsiteX13" fmla="*/ 2320781 w 3883573"/>
                <a:gd name="connsiteY13" fmla="*/ 210442 h 1174361"/>
                <a:gd name="connsiteX14" fmla="*/ 1581038 w 3883573"/>
                <a:gd name="connsiteY14" fmla="*/ 185419 h 1174361"/>
                <a:gd name="connsiteX15" fmla="*/ 981000 w 3883573"/>
                <a:gd name="connsiteY15" fmla="*/ 94434 h 1174361"/>
                <a:gd name="connsiteX16" fmla="*/ 61263 w 3883573"/>
                <a:gd name="connsiteY16" fmla="*/ 30910 h 1174361"/>
                <a:gd name="connsiteX0" fmla="*/ 61263 w 3883573"/>
                <a:gd name="connsiteY0" fmla="*/ 30910 h 1174361"/>
                <a:gd name="connsiteX1" fmla="*/ 126754 w 3883573"/>
                <a:gd name="connsiteY1" fmla="*/ 537465 h 1174361"/>
                <a:gd name="connsiteX2" fmla="*/ 459363 w 3883573"/>
                <a:gd name="connsiteY2" fmla="*/ 1062319 h 1174361"/>
                <a:gd name="connsiteX3" fmla="*/ 903987 w 3883573"/>
                <a:gd name="connsiteY3" fmla="*/ 1127135 h 1174361"/>
                <a:gd name="connsiteX4" fmla="*/ 1736869 w 3883573"/>
                <a:gd name="connsiteY4" fmla="*/ 1011123 h 1174361"/>
                <a:gd name="connsiteX5" fmla="*/ 2069939 w 3883573"/>
                <a:gd name="connsiteY5" fmla="*/ 1166694 h 1174361"/>
                <a:gd name="connsiteX6" fmla="*/ 2490859 w 3883573"/>
                <a:gd name="connsiteY6" fmla="*/ 1155322 h 1174361"/>
                <a:gd name="connsiteX7" fmla="*/ 3360418 w 3883573"/>
                <a:gd name="connsiteY7" fmla="*/ 1050071 h 1174361"/>
                <a:gd name="connsiteX8" fmla="*/ 3635487 w 3883573"/>
                <a:gd name="connsiteY8" fmla="*/ 751817 h 1174361"/>
                <a:gd name="connsiteX9" fmla="*/ 3883573 w 3883573"/>
                <a:gd name="connsiteY9" fmla="*/ 451503 h 1174361"/>
                <a:gd name="connsiteX10" fmla="*/ 3883573 w 3883573"/>
                <a:gd name="connsiteY10" fmla="*/ 13121 h 1174361"/>
                <a:gd name="connsiteX11" fmla="*/ 3277257 w 3883573"/>
                <a:gd name="connsiteY11" fmla="*/ 187696 h 1174361"/>
                <a:gd name="connsiteX12" fmla="*/ 2790063 w 3883573"/>
                <a:gd name="connsiteY12" fmla="*/ 287779 h 1174361"/>
                <a:gd name="connsiteX13" fmla="*/ 2320781 w 3883573"/>
                <a:gd name="connsiteY13" fmla="*/ 210442 h 1174361"/>
                <a:gd name="connsiteX14" fmla="*/ 1581038 w 3883573"/>
                <a:gd name="connsiteY14" fmla="*/ 185419 h 1174361"/>
                <a:gd name="connsiteX15" fmla="*/ 981000 w 3883573"/>
                <a:gd name="connsiteY15" fmla="*/ 94434 h 1174361"/>
                <a:gd name="connsiteX16" fmla="*/ 61263 w 3883573"/>
                <a:gd name="connsiteY16" fmla="*/ 30910 h 1174361"/>
                <a:gd name="connsiteX0" fmla="*/ 61263 w 3892533"/>
                <a:gd name="connsiteY0" fmla="*/ 24870 h 1168321"/>
                <a:gd name="connsiteX1" fmla="*/ 126754 w 3892533"/>
                <a:gd name="connsiteY1" fmla="*/ 531425 h 1168321"/>
                <a:gd name="connsiteX2" fmla="*/ 459363 w 3892533"/>
                <a:gd name="connsiteY2" fmla="*/ 1056279 h 1168321"/>
                <a:gd name="connsiteX3" fmla="*/ 903987 w 3892533"/>
                <a:gd name="connsiteY3" fmla="*/ 1121095 h 1168321"/>
                <a:gd name="connsiteX4" fmla="*/ 1736869 w 3892533"/>
                <a:gd name="connsiteY4" fmla="*/ 1005083 h 1168321"/>
                <a:gd name="connsiteX5" fmla="*/ 2069939 w 3892533"/>
                <a:gd name="connsiteY5" fmla="*/ 1160654 h 1168321"/>
                <a:gd name="connsiteX6" fmla="*/ 2490859 w 3892533"/>
                <a:gd name="connsiteY6" fmla="*/ 1149282 h 1168321"/>
                <a:gd name="connsiteX7" fmla="*/ 3360418 w 3892533"/>
                <a:gd name="connsiteY7" fmla="*/ 1044031 h 1168321"/>
                <a:gd name="connsiteX8" fmla="*/ 3635487 w 3892533"/>
                <a:gd name="connsiteY8" fmla="*/ 745777 h 1168321"/>
                <a:gd name="connsiteX9" fmla="*/ 3883573 w 3892533"/>
                <a:gd name="connsiteY9" fmla="*/ 445463 h 1168321"/>
                <a:gd name="connsiteX10" fmla="*/ 3892534 w 3892533"/>
                <a:gd name="connsiteY10" fmla="*/ 166306 h 1168321"/>
                <a:gd name="connsiteX11" fmla="*/ 3277257 w 3892533"/>
                <a:gd name="connsiteY11" fmla="*/ 181656 h 1168321"/>
                <a:gd name="connsiteX12" fmla="*/ 2790063 w 3892533"/>
                <a:gd name="connsiteY12" fmla="*/ 281739 h 1168321"/>
                <a:gd name="connsiteX13" fmla="*/ 2320781 w 3892533"/>
                <a:gd name="connsiteY13" fmla="*/ 204402 h 1168321"/>
                <a:gd name="connsiteX14" fmla="*/ 1581038 w 3892533"/>
                <a:gd name="connsiteY14" fmla="*/ 179379 h 1168321"/>
                <a:gd name="connsiteX15" fmla="*/ 981000 w 3892533"/>
                <a:gd name="connsiteY15" fmla="*/ 88394 h 1168321"/>
                <a:gd name="connsiteX16" fmla="*/ 61263 w 3892533"/>
                <a:gd name="connsiteY16" fmla="*/ 24870 h 1168321"/>
                <a:gd name="connsiteX0" fmla="*/ 61263 w 3892535"/>
                <a:gd name="connsiteY0" fmla="*/ 24870 h 1280796"/>
                <a:gd name="connsiteX1" fmla="*/ 126754 w 3892535"/>
                <a:gd name="connsiteY1" fmla="*/ 531425 h 1280796"/>
                <a:gd name="connsiteX2" fmla="*/ 459363 w 3892535"/>
                <a:gd name="connsiteY2" fmla="*/ 1056279 h 1280796"/>
                <a:gd name="connsiteX3" fmla="*/ 966682 w 3892535"/>
                <a:gd name="connsiteY3" fmla="*/ 1280322 h 1280796"/>
                <a:gd name="connsiteX4" fmla="*/ 1736869 w 3892535"/>
                <a:gd name="connsiteY4" fmla="*/ 1005083 h 1280796"/>
                <a:gd name="connsiteX5" fmla="*/ 2069939 w 3892535"/>
                <a:gd name="connsiteY5" fmla="*/ 1160654 h 1280796"/>
                <a:gd name="connsiteX6" fmla="*/ 2490859 w 3892535"/>
                <a:gd name="connsiteY6" fmla="*/ 1149282 h 1280796"/>
                <a:gd name="connsiteX7" fmla="*/ 3360418 w 3892535"/>
                <a:gd name="connsiteY7" fmla="*/ 1044031 h 1280796"/>
                <a:gd name="connsiteX8" fmla="*/ 3635487 w 3892535"/>
                <a:gd name="connsiteY8" fmla="*/ 745777 h 1280796"/>
                <a:gd name="connsiteX9" fmla="*/ 3883573 w 3892535"/>
                <a:gd name="connsiteY9" fmla="*/ 445463 h 1280796"/>
                <a:gd name="connsiteX10" fmla="*/ 3892534 w 3892535"/>
                <a:gd name="connsiteY10" fmla="*/ 166306 h 1280796"/>
                <a:gd name="connsiteX11" fmla="*/ 3277257 w 3892535"/>
                <a:gd name="connsiteY11" fmla="*/ 181656 h 1280796"/>
                <a:gd name="connsiteX12" fmla="*/ 2790063 w 3892535"/>
                <a:gd name="connsiteY12" fmla="*/ 281739 h 1280796"/>
                <a:gd name="connsiteX13" fmla="*/ 2320781 w 3892535"/>
                <a:gd name="connsiteY13" fmla="*/ 204402 h 1280796"/>
                <a:gd name="connsiteX14" fmla="*/ 1581038 w 3892535"/>
                <a:gd name="connsiteY14" fmla="*/ 179379 h 1280796"/>
                <a:gd name="connsiteX15" fmla="*/ 981000 w 3892535"/>
                <a:gd name="connsiteY15" fmla="*/ 88394 h 1280796"/>
                <a:gd name="connsiteX16" fmla="*/ 61263 w 3892535"/>
                <a:gd name="connsiteY16" fmla="*/ 24870 h 1280796"/>
                <a:gd name="connsiteX0" fmla="*/ 61263 w 3892533"/>
                <a:gd name="connsiteY0" fmla="*/ 24870 h 1288550"/>
                <a:gd name="connsiteX1" fmla="*/ 126754 w 3892533"/>
                <a:gd name="connsiteY1" fmla="*/ 531425 h 1288550"/>
                <a:gd name="connsiteX2" fmla="*/ 459363 w 3892533"/>
                <a:gd name="connsiteY2" fmla="*/ 1056279 h 1288550"/>
                <a:gd name="connsiteX3" fmla="*/ 966682 w 3892533"/>
                <a:gd name="connsiteY3" fmla="*/ 1280322 h 1288550"/>
                <a:gd name="connsiteX4" fmla="*/ 1584621 w 3892533"/>
                <a:gd name="connsiteY4" fmla="*/ 1232549 h 1288550"/>
                <a:gd name="connsiteX5" fmla="*/ 2069939 w 3892533"/>
                <a:gd name="connsiteY5" fmla="*/ 1160654 h 1288550"/>
                <a:gd name="connsiteX6" fmla="*/ 2490859 w 3892533"/>
                <a:gd name="connsiteY6" fmla="*/ 1149282 h 1288550"/>
                <a:gd name="connsiteX7" fmla="*/ 3360418 w 3892533"/>
                <a:gd name="connsiteY7" fmla="*/ 1044031 h 1288550"/>
                <a:gd name="connsiteX8" fmla="*/ 3635487 w 3892533"/>
                <a:gd name="connsiteY8" fmla="*/ 745777 h 1288550"/>
                <a:gd name="connsiteX9" fmla="*/ 3883573 w 3892533"/>
                <a:gd name="connsiteY9" fmla="*/ 445463 h 1288550"/>
                <a:gd name="connsiteX10" fmla="*/ 3892534 w 3892533"/>
                <a:gd name="connsiteY10" fmla="*/ 166306 h 1288550"/>
                <a:gd name="connsiteX11" fmla="*/ 3277257 w 3892533"/>
                <a:gd name="connsiteY11" fmla="*/ 181656 h 1288550"/>
                <a:gd name="connsiteX12" fmla="*/ 2790063 w 3892533"/>
                <a:gd name="connsiteY12" fmla="*/ 281739 h 1288550"/>
                <a:gd name="connsiteX13" fmla="*/ 2320781 w 3892533"/>
                <a:gd name="connsiteY13" fmla="*/ 204402 h 1288550"/>
                <a:gd name="connsiteX14" fmla="*/ 1581038 w 3892533"/>
                <a:gd name="connsiteY14" fmla="*/ 179379 h 1288550"/>
                <a:gd name="connsiteX15" fmla="*/ 981000 w 3892533"/>
                <a:gd name="connsiteY15" fmla="*/ 88394 h 1288550"/>
                <a:gd name="connsiteX16" fmla="*/ 61263 w 3892533"/>
                <a:gd name="connsiteY16" fmla="*/ 24870 h 1288550"/>
                <a:gd name="connsiteX0" fmla="*/ 61263 w 3892535"/>
                <a:gd name="connsiteY0" fmla="*/ 24870 h 1288550"/>
                <a:gd name="connsiteX1" fmla="*/ 126754 w 3892535"/>
                <a:gd name="connsiteY1" fmla="*/ 531425 h 1288550"/>
                <a:gd name="connsiteX2" fmla="*/ 459363 w 3892535"/>
                <a:gd name="connsiteY2" fmla="*/ 1056279 h 1288550"/>
                <a:gd name="connsiteX3" fmla="*/ 966682 w 3892535"/>
                <a:gd name="connsiteY3" fmla="*/ 1280322 h 1288550"/>
                <a:gd name="connsiteX4" fmla="*/ 1584621 w 3892535"/>
                <a:gd name="connsiteY4" fmla="*/ 1232549 h 1288550"/>
                <a:gd name="connsiteX5" fmla="*/ 2069939 w 3892535"/>
                <a:gd name="connsiteY5" fmla="*/ 1160654 h 1288550"/>
                <a:gd name="connsiteX6" fmla="*/ 2338605 w 3892535"/>
                <a:gd name="connsiteY6" fmla="*/ 1285763 h 1288550"/>
                <a:gd name="connsiteX7" fmla="*/ 2490859 w 3892535"/>
                <a:gd name="connsiteY7" fmla="*/ 1149282 h 1288550"/>
                <a:gd name="connsiteX8" fmla="*/ 3360418 w 3892535"/>
                <a:gd name="connsiteY8" fmla="*/ 1044031 h 1288550"/>
                <a:gd name="connsiteX9" fmla="*/ 3635487 w 3892535"/>
                <a:gd name="connsiteY9" fmla="*/ 745777 h 1288550"/>
                <a:gd name="connsiteX10" fmla="*/ 3883573 w 3892535"/>
                <a:gd name="connsiteY10" fmla="*/ 445463 h 1288550"/>
                <a:gd name="connsiteX11" fmla="*/ 3892534 w 3892535"/>
                <a:gd name="connsiteY11" fmla="*/ 166306 h 1288550"/>
                <a:gd name="connsiteX12" fmla="*/ 3277257 w 3892535"/>
                <a:gd name="connsiteY12" fmla="*/ 181656 h 1288550"/>
                <a:gd name="connsiteX13" fmla="*/ 2790063 w 3892535"/>
                <a:gd name="connsiteY13" fmla="*/ 281739 h 1288550"/>
                <a:gd name="connsiteX14" fmla="*/ 2320781 w 3892535"/>
                <a:gd name="connsiteY14" fmla="*/ 204402 h 1288550"/>
                <a:gd name="connsiteX15" fmla="*/ 1581038 w 3892535"/>
                <a:gd name="connsiteY15" fmla="*/ 179379 h 1288550"/>
                <a:gd name="connsiteX16" fmla="*/ 981000 w 3892535"/>
                <a:gd name="connsiteY16" fmla="*/ 88394 h 1288550"/>
                <a:gd name="connsiteX17" fmla="*/ 61263 w 3892535"/>
                <a:gd name="connsiteY17" fmla="*/ 24870 h 1288550"/>
                <a:gd name="connsiteX0" fmla="*/ 61263 w 3892533"/>
                <a:gd name="connsiteY0" fmla="*/ 24870 h 1288550"/>
                <a:gd name="connsiteX1" fmla="*/ 126754 w 3892533"/>
                <a:gd name="connsiteY1" fmla="*/ 531425 h 1288550"/>
                <a:gd name="connsiteX2" fmla="*/ 459363 w 3892533"/>
                <a:gd name="connsiteY2" fmla="*/ 1056279 h 1288550"/>
                <a:gd name="connsiteX3" fmla="*/ 966682 w 3892533"/>
                <a:gd name="connsiteY3" fmla="*/ 1280322 h 1288550"/>
                <a:gd name="connsiteX4" fmla="*/ 1584621 w 3892533"/>
                <a:gd name="connsiteY4" fmla="*/ 1232549 h 1288550"/>
                <a:gd name="connsiteX5" fmla="*/ 2069939 w 3892533"/>
                <a:gd name="connsiteY5" fmla="*/ 1160654 h 1288550"/>
                <a:gd name="connsiteX6" fmla="*/ 2338605 w 3892533"/>
                <a:gd name="connsiteY6" fmla="*/ 1285763 h 1288550"/>
                <a:gd name="connsiteX7" fmla="*/ 2490859 w 3892533"/>
                <a:gd name="connsiteY7" fmla="*/ 1149282 h 1288550"/>
                <a:gd name="connsiteX8" fmla="*/ 2768487 w 3892533"/>
                <a:gd name="connsiteY8" fmla="*/ 1206147 h 1288550"/>
                <a:gd name="connsiteX9" fmla="*/ 3360418 w 3892533"/>
                <a:gd name="connsiteY9" fmla="*/ 1044031 h 1288550"/>
                <a:gd name="connsiteX10" fmla="*/ 3635487 w 3892533"/>
                <a:gd name="connsiteY10" fmla="*/ 745777 h 1288550"/>
                <a:gd name="connsiteX11" fmla="*/ 3883573 w 3892533"/>
                <a:gd name="connsiteY11" fmla="*/ 445463 h 1288550"/>
                <a:gd name="connsiteX12" fmla="*/ 3892534 w 3892533"/>
                <a:gd name="connsiteY12" fmla="*/ 166306 h 1288550"/>
                <a:gd name="connsiteX13" fmla="*/ 3277257 w 3892533"/>
                <a:gd name="connsiteY13" fmla="*/ 181656 h 1288550"/>
                <a:gd name="connsiteX14" fmla="*/ 2790063 w 3892533"/>
                <a:gd name="connsiteY14" fmla="*/ 281739 h 1288550"/>
                <a:gd name="connsiteX15" fmla="*/ 2320781 w 3892533"/>
                <a:gd name="connsiteY15" fmla="*/ 204402 h 1288550"/>
                <a:gd name="connsiteX16" fmla="*/ 1581038 w 3892533"/>
                <a:gd name="connsiteY16" fmla="*/ 179379 h 1288550"/>
                <a:gd name="connsiteX17" fmla="*/ 981000 w 3892533"/>
                <a:gd name="connsiteY17" fmla="*/ 88394 h 1288550"/>
                <a:gd name="connsiteX18" fmla="*/ 61263 w 3892533"/>
                <a:gd name="connsiteY18" fmla="*/ 24870 h 1288550"/>
                <a:gd name="connsiteX0" fmla="*/ 61263 w 3892535"/>
                <a:gd name="connsiteY0" fmla="*/ 24870 h 1289751"/>
                <a:gd name="connsiteX1" fmla="*/ 126754 w 3892535"/>
                <a:gd name="connsiteY1" fmla="*/ 531425 h 1289751"/>
                <a:gd name="connsiteX2" fmla="*/ 459363 w 3892535"/>
                <a:gd name="connsiteY2" fmla="*/ 1056279 h 1289751"/>
                <a:gd name="connsiteX3" fmla="*/ 966682 w 3892535"/>
                <a:gd name="connsiteY3" fmla="*/ 1280322 h 1289751"/>
                <a:gd name="connsiteX4" fmla="*/ 1584621 w 3892535"/>
                <a:gd name="connsiteY4" fmla="*/ 1232549 h 1289751"/>
                <a:gd name="connsiteX5" fmla="*/ 1881860 w 3892535"/>
                <a:gd name="connsiteY5" fmla="*/ 1092415 h 1289751"/>
                <a:gd name="connsiteX6" fmla="*/ 2069939 w 3892535"/>
                <a:gd name="connsiteY6" fmla="*/ 1160654 h 1289751"/>
                <a:gd name="connsiteX7" fmla="*/ 2338605 w 3892535"/>
                <a:gd name="connsiteY7" fmla="*/ 1285763 h 1289751"/>
                <a:gd name="connsiteX8" fmla="*/ 2490859 w 3892535"/>
                <a:gd name="connsiteY8" fmla="*/ 1149282 h 1289751"/>
                <a:gd name="connsiteX9" fmla="*/ 2768487 w 3892535"/>
                <a:gd name="connsiteY9" fmla="*/ 1206147 h 1289751"/>
                <a:gd name="connsiteX10" fmla="*/ 3360418 w 3892535"/>
                <a:gd name="connsiteY10" fmla="*/ 1044031 h 1289751"/>
                <a:gd name="connsiteX11" fmla="*/ 3635487 w 3892535"/>
                <a:gd name="connsiteY11" fmla="*/ 745777 h 1289751"/>
                <a:gd name="connsiteX12" fmla="*/ 3883573 w 3892535"/>
                <a:gd name="connsiteY12" fmla="*/ 445463 h 1289751"/>
                <a:gd name="connsiteX13" fmla="*/ 3892534 w 3892535"/>
                <a:gd name="connsiteY13" fmla="*/ 166306 h 1289751"/>
                <a:gd name="connsiteX14" fmla="*/ 3277257 w 3892535"/>
                <a:gd name="connsiteY14" fmla="*/ 181656 h 1289751"/>
                <a:gd name="connsiteX15" fmla="*/ 2790063 w 3892535"/>
                <a:gd name="connsiteY15" fmla="*/ 281739 h 1289751"/>
                <a:gd name="connsiteX16" fmla="*/ 2320781 w 3892535"/>
                <a:gd name="connsiteY16" fmla="*/ 204402 h 1289751"/>
                <a:gd name="connsiteX17" fmla="*/ 1581038 w 3892535"/>
                <a:gd name="connsiteY17" fmla="*/ 179379 h 1289751"/>
                <a:gd name="connsiteX18" fmla="*/ 981000 w 3892535"/>
                <a:gd name="connsiteY18" fmla="*/ 88394 h 1289751"/>
                <a:gd name="connsiteX19" fmla="*/ 61263 w 3892535"/>
                <a:gd name="connsiteY19" fmla="*/ 24870 h 1289751"/>
                <a:gd name="connsiteX0" fmla="*/ 61263 w 3892533"/>
                <a:gd name="connsiteY0" fmla="*/ 24870 h 1411420"/>
                <a:gd name="connsiteX1" fmla="*/ 126754 w 3892533"/>
                <a:gd name="connsiteY1" fmla="*/ 531425 h 1411420"/>
                <a:gd name="connsiteX2" fmla="*/ 459363 w 3892533"/>
                <a:gd name="connsiteY2" fmla="*/ 1056279 h 1411420"/>
                <a:gd name="connsiteX3" fmla="*/ 966682 w 3892533"/>
                <a:gd name="connsiteY3" fmla="*/ 1280322 h 1411420"/>
                <a:gd name="connsiteX4" fmla="*/ 1407205 w 3892533"/>
                <a:gd name="connsiteY4" fmla="*/ 1410866 h 1411420"/>
                <a:gd name="connsiteX5" fmla="*/ 1584621 w 3892533"/>
                <a:gd name="connsiteY5" fmla="*/ 1232549 h 1411420"/>
                <a:gd name="connsiteX6" fmla="*/ 1881860 w 3892533"/>
                <a:gd name="connsiteY6" fmla="*/ 1092415 h 1411420"/>
                <a:gd name="connsiteX7" fmla="*/ 2069939 w 3892533"/>
                <a:gd name="connsiteY7" fmla="*/ 1160654 h 1411420"/>
                <a:gd name="connsiteX8" fmla="*/ 2338605 w 3892533"/>
                <a:gd name="connsiteY8" fmla="*/ 1285763 h 1411420"/>
                <a:gd name="connsiteX9" fmla="*/ 2490859 w 3892533"/>
                <a:gd name="connsiteY9" fmla="*/ 1149282 h 1411420"/>
                <a:gd name="connsiteX10" fmla="*/ 2768487 w 3892533"/>
                <a:gd name="connsiteY10" fmla="*/ 1206147 h 1411420"/>
                <a:gd name="connsiteX11" fmla="*/ 3360418 w 3892533"/>
                <a:gd name="connsiteY11" fmla="*/ 1044031 h 1411420"/>
                <a:gd name="connsiteX12" fmla="*/ 3635487 w 3892533"/>
                <a:gd name="connsiteY12" fmla="*/ 745777 h 1411420"/>
                <a:gd name="connsiteX13" fmla="*/ 3883573 w 3892533"/>
                <a:gd name="connsiteY13" fmla="*/ 445463 h 1411420"/>
                <a:gd name="connsiteX14" fmla="*/ 3892534 w 3892533"/>
                <a:gd name="connsiteY14" fmla="*/ 166306 h 1411420"/>
                <a:gd name="connsiteX15" fmla="*/ 3277257 w 3892533"/>
                <a:gd name="connsiteY15" fmla="*/ 181656 h 1411420"/>
                <a:gd name="connsiteX16" fmla="*/ 2790063 w 3892533"/>
                <a:gd name="connsiteY16" fmla="*/ 281739 h 1411420"/>
                <a:gd name="connsiteX17" fmla="*/ 2320781 w 3892533"/>
                <a:gd name="connsiteY17" fmla="*/ 204402 h 1411420"/>
                <a:gd name="connsiteX18" fmla="*/ 1581038 w 3892533"/>
                <a:gd name="connsiteY18" fmla="*/ 179379 h 1411420"/>
                <a:gd name="connsiteX19" fmla="*/ 981000 w 3892533"/>
                <a:gd name="connsiteY19" fmla="*/ 88394 h 1411420"/>
                <a:gd name="connsiteX20" fmla="*/ 61263 w 3892533"/>
                <a:gd name="connsiteY20" fmla="*/ 24870 h 1411420"/>
                <a:gd name="connsiteX0" fmla="*/ 61263 w 3892534"/>
                <a:gd name="connsiteY0" fmla="*/ 24870 h 1411420"/>
                <a:gd name="connsiteX1" fmla="*/ 126754 w 3892534"/>
                <a:gd name="connsiteY1" fmla="*/ 531425 h 1411420"/>
                <a:gd name="connsiteX2" fmla="*/ 459363 w 3892534"/>
                <a:gd name="connsiteY2" fmla="*/ 1056279 h 1411420"/>
                <a:gd name="connsiteX3" fmla="*/ 966682 w 3892534"/>
                <a:gd name="connsiteY3" fmla="*/ 1280322 h 1411420"/>
                <a:gd name="connsiteX4" fmla="*/ 1407205 w 3892534"/>
                <a:gd name="connsiteY4" fmla="*/ 1410866 h 1411420"/>
                <a:gd name="connsiteX5" fmla="*/ 1584621 w 3892534"/>
                <a:gd name="connsiteY5" fmla="*/ 1232549 h 1411420"/>
                <a:gd name="connsiteX6" fmla="*/ 1881860 w 3892534"/>
                <a:gd name="connsiteY6" fmla="*/ 1092415 h 1411420"/>
                <a:gd name="connsiteX7" fmla="*/ 2069939 w 3892534"/>
                <a:gd name="connsiteY7" fmla="*/ 1160654 h 1411420"/>
                <a:gd name="connsiteX8" fmla="*/ 2338605 w 3892534"/>
                <a:gd name="connsiteY8" fmla="*/ 1285763 h 1411420"/>
                <a:gd name="connsiteX9" fmla="*/ 2490859 w 3892534"/>
                <a:gd name="connsiteY9" fmla="*/ 1149282 h 1411420"/>
                <a:gd name="connsiteX10" fmla="*/ 2768487 w 3892534"/>
                <a:gd name="connsiteY10" fmla="*/ 1206147 h 1411420"/>
                <a:gd name="connsiteX11" fmla="*/ 3360418 w 3892534"/>
                <a:gd name="connsiteY11" fmla="*/ 1044031 h 1411420"/>
                <a:gd name="connsiteX12" fmla="*/ 3635487 w 3892534"/>
                <a:gd name="connsiteY12" fmla="*/ 745777 h 1411420"/>
                <a:gd name="connsiteX13" fmla="*/ 3892534 w 3892534"/>
                <a:gd name="connsiteY13" fmla="*/ 166306 h 1411420"/>
                <a:gd name="connsiteX14" fmla="*/ 3277257 w 3892534"/>
                <a:gd name="connsiteY14" fmla="*/ 181656 h 1411420"/>
                <a:gd name="connsiteX15" fmla="*/ 2790063 w 3892534"/>
                <a:gd name="connsiteY15" fmla="*/ 281739 h 1411420"/>
                <a:gd name="connsiteX16" fmla="*/ 2320781 w 3892534"/>
                <a:gd name="connsiteY16" fmla="*/ 204402 h 1411420"/>
                <a:gd name="connsiteX17" fmla="*/ 1581038 w 3892534"/>
                <a:gd name="connsiteY17" fmla="*/ 179379 h 1411420"/>
                <a:gd name="connsiteX18" fmla="*/ 981000 w 3892534"/>
                <a:gd name="connsiteY18" fmla="*/ 88394 h 1411420"/>
                <a:gd name="connsiteX19" fmla="*/ 61263 w 3892534"/>
                <a:gd name="connsiteY19" fmla="*/ 24870 h 1411420"/>
                <a:gd name="connsiteX0" fmla="*/ 61263 w 3635487"/>
                <a:gd name="connsiteY0" fmla="*/ 24870 h 1411420"/>
                <a:gd name="connsiteX1" fmla="*/ 126754 w 3635487"/>
                <a:gd name="connsiteY1" fmla="*/ 531425 h 1411420"/>
                <a:gd name="connsiteX2" fmla="*/ 459363 w 3635487"/>
                <a:gd name="connsiteY2" fmla="*/ 1056279 h 1411420"/>
                <a:gd name="connsiteX3" fmla="*/ 966682 w 3635487"/>
                <a:gd name="connsiteY3" fmla="*/ 1280322 h 1411420"/>
                <a:gd name="connsiteX4" fmla="*/ 1407205 w 3635487"/>
                <a:gd name="connsiteY4" fmla="*/ 1410866 h 1411420"/>
                <a:gd name="connsiteX5" fmla="*/ 1584621 w 3635487"/>
                <a:gd name="connsiteY5" fmla="*/ 1232549 h 1411420"/>
                <a:gd name="connsiteX6" fmla="*/ 1881860 w 3635487"/>
                <a:gd name="connsiteY6" fmla="*/ 1092415 h 1411420"/>
                <a:gd name="connsiteX7" fmla="*/ 2069939 w 3635487"/>
                <a:gd name="connsiteY7" fmla="*/ 1160654 h 1411420"/>
                <a:gd name="connsiteX8" fmla="*/ 2338605 w 3635487"/>
                <a:gd name="connsiteY8" fmla="*/ 1285763 h 1411420"/>
                <a:gd name="connsiteX9" fmla="*/ 2490859 w 3635487"/>
                <a:gd name="connsiteY9" fmla="*/ 1149282 h 1411420"/>
                <a:gd name="connsiteX10" fmla="*/ 2768487 w 3635487"/>
                <a:gd name="connsiteY10" fmla="*/ 1206147 h 1411420"/>
                <a:gd name="connsiteX11" fmla="*/ 3360418 w 3635487"/>
                <a:gd name="connsiteY11" fmla="*/ 1044031 h 1411420"/>
                <a:gd name="connsiteX12" fmla="*/ 3635487 w 3635487"/>
                <a:gd name="connsiteY12" fmla="*/ 745777 h 1411420"/>
                <a:gd name="connsiteX13" fmla="*/ 3585596 w 3635487"/>
                <a:gd name="connsiteY13" fmla="*/ 222686 h 1411420"/>
                <a:gd name="connsiteX14" fmla="*/ 3277257 w 3635487"/>
                <a:gd name="connsiteY14" fmla="*/ 181656 h 1411420"/>
                <a:gd name="connsiteX15" fmla="*/ 2790063 w 3635487"/>
                <a:gd name="connsiteY15" fmla="*/ 281739 h 1411420"/>
                <a:gd name="connsiteX16" fmla="*/ 2320781 w 3635487"/>
                <a:gd name="connsiteY16" fmla="*/ 204402 h 1411420"/>
                <a:gd name="connsiteX17" fmla="*/ 1581038 w 3635487"/>
                <a:gd name="connsiteY17" fmla="*/ 179379 h 1411420"/>
                <a:gd name="connsiteX18" fmla="*/ 981000 w 3635487"/>
                <a:gd name="connsiteY18" fmla="*/ 88394 h 1411420"/>
                <a:gd name="connsiteX19" fmla="*/ 61263 w 3635487"/>
                <a:gd name="connsiteY19" fmla="*/ 24870 h 1411420"/>
                <a:gd name="connsiteX0" fmla="*/ 94360 w 3556971"/>
                <a:gd name="connsiteY0" fmla="*/ 63653 h 1326168"/>
                <a:gd name="connsiteX1" fmla="*/ 48238 w 3556971"/>
                <a:gd name="connsiteY1" fmla="*/ 446173 h 1326168"/>
                <a:gd name="connsiteX2" fmla="*/ 380847 w 3556971"/>
                <a:gd name="connsiteY2" fmla="*/ 971027 h 1326168"/>
                <a:gd name="connsiteX3" fmla="*/ 888166 w 3556971"/>
                <a:gd name="connsiteY3" fmla="*/ 1195070 h 1326168"/>
                <a:gd name="connsiteX4" fmla="*/ 1328689 w 3556971"/>
                <a:gd name="connsiteY4" fmla="*/ 1325614 h 1326168"/>
                <a:gd name="connsiteX5" fmla="*/ 1506105 w 3556971"/>
                <a:gd name="connsiteY5" fmla="*/ 1147297 h 1326168"/>
                <a:gd name="connsiteX6" fmla="*/ 1803344 w 3556971"/>
                <a:gd name="connsiteY6" fmla="*/ 1007163 h 1326168"/>
                <a:gd name="connsiteX7" fmla="*/ 1991423 w 3556971"/>
                <a:gd name="connsiteY7" fmla="*/ 1075402 h 1326168"/>
                <a:gd name="connsiteX8" fmla="*/ 2260089 w 3556971"/>
                <a:gd name="connsiteY8" fmla="*/ 1200511 h 1326168"/>
                <a:gd name="connsiteX9" fmla="*/ 2412343 w 3556971"/>
                <a:gd name="connsiteY9" fmla="*/ 1064030 h 1326168"/>
                <a:gd name="connsiteX10" fmla="*/ 2689971 w 3556971"/>
                <a:gd name="connsiteY10" fmla="*/ 1120895 h 1326168"/>
                <a:gd name="connsiteX11" fmla="*/ 3281902 w 3556971"/>
                <a:gd name="connsiteY11" fmla="*/ 958779 h 1326168"/>
                <a:gd name="connsiteX12" fmla="*/ 3556971 w 3556971"/>
                <a:gd name="connsiteY12" fmla="*/ 660525 h 1326168"/>
                <a:gd name="connsiteX13" fmla="*/ 3507080 w 3556971"/>
                <a:gd name="connsiteY13" fmla="*/ 137434 h 1326168"/>
                <a:gd name="connsiteX14" fmla="*/ 3198741 w 3556971"/>
                <a:gd name="connsiteY14" fmla="*/ 96404 h 1326168"/>
                <a:gd name="connsiteX15" fmla="*/ 2711547 w 3556971"/>
                <a:gd name="connsiteY15" fmla="*/ 196487 h 1326168"/>
                <a:gd name="connsiteX16" fmla="*/ 2242265 w 3556971"/>
                <a:gd name="connsiteY16" fmla="*/ 119150 h 1326168"/>
                <a:gd name="connsiteX17" fmla="*/ 1502522 w 3556971"/>
                <a:gd name="connsiteY17" fmla="*/ 94127 h 1326168"/>
                <a:gd name="connsiteX18" fmla="*/ 902484 w 3556971"/>
                <a:gd name="connsiteY18" fmla="*/ 3142 h 1326168"/>
                <a:gd name="connsiteX19" fmla="*/ 94360 w 3556971"/>
                <a:gd name="connsiteY19" fmla="*/ 63653 h 1326168"/>
                <a:gd name="connsiteX0" fmla="*/ 57946 w 3520557"/>
                <a:gd name="connsiteY0" fmla="*/ 61876 h 1324391"/>
                <a:gd name="connsiteX1" fmla="*/ 95534 w 3520557"/>
                <a:gd name="connsiteY1" fmla="*/ 354189 h 1324391"/>
                <a:gd name="connsiteX2" fmla="*/ 344433 w 3520557"/>
                <a:gd name="connsiteY2" fmla="*/ 969250 h 1324391"/>
                <a:gd name="connsiteX3" fmla="*/ 851752 w 3520557"/>
                <a:gd name="connsiteY3" fmla="*/ 1193293 h 1324391"/>
                <a:gd name="connsiteX4" fmla="*/ 1292275 w 3520557"/>
                <a:gd name="connsiteY4" fmla="*/ 1323837 h 1324391"/>
                <a:gd name="connsiteX5" fmla="*/ 1469691 w 3520557"/>
                <a:gd name="connsiteY5" fmla="*/ 1145520 h 1324391"/>
                <a:gd name="connsiteX6" fmla="*/ 1766930 w 3520557"/>
                <a:gd name="connsiteY6" fmla="*/ 1005386 h 1324391"/>
                <a:gd name="connsiteX7" fmla="*/ 1955009 w 3520557"/>
                <a:gd name="connsiteY7" fmla="*/ 1073625 h 1324391"/>
                <a:gd name="connsiteX8" fmla="*/ 2223675 w 3520557"/>
                <a:gd name="connsiteY8" fmla="*/ 1198734 h 1324391"/>
                <a:gd name="connsiteX9" fmla="*/ 2375929 w 3520557"/>
                <a:gd name="connsiteY9" fmla="*/ 1062253 h 1324391"/>
                <a:gd name="connsiteX10" fmla="*/ 2653557 w 3520557"/>
                <a:gd name="connsiteY10" fmla="*/ 1119118 h 1324391"/>
                <a:gd name="connsiteX11" fmla="*/ 3245488 w 3520557"/>
                <a:gd name="connsiteY11" fmla="*/ 957002 h 1324391"/>
                <a:gd name="connsiteX12" fmla="*/ 3520557 w 3520557"/>
                <a:gd name="connsiteY12" fmla="*/ 658748 h 1324391"/>
                <a:gd name="connsiteX13" fmla="*/ 3470666 w 3520557"/>
                <a:gd name="connsiteY13" fmla="*/ 135657 h 1324391"/>
                <a:gd name="connsiteX14" fmla="*/ 3162327 w 3520557"/>
                <a:gd name="connsiteY14" fmla="*/ 94627 h 1324391"/>
                <a:gd name="connsiteX15" fmla="*/ 2675133 w 3520557"/>
                <a:gd name="connsiteY15" fmla="*/ 194710 h 1324391"/>
                <a:gd name="connsiteX16" fmla="*/ 2205851 w 3520557"/>
                <a:gd name="connsiteY16" fmla="*/ 117373 h 1324391"/>
                <a:gd name="connsiteX17" fmla="*/ 1466108 w 3520557"/>
                <a:gd name="connsiteY17" fmla="*/ 92350 h 1324391"/>
                <a:gd name="connsiteX18" fmla="*/ 866070 w 3520557"/>
                <a:gd name="connsiteY18" fmla="*/ 1365 h 1324391"/>
                <a:gd name="connsiteX19" fmla="*/ 57946 w 3520557"/>
                <a:gd name="connsiteY19" fmla="*/ 61876 h 1324391"/>
                <a:gd name="connsiteX0" fmla="*/ 119984 w 3436101"/>
                <a:gd name="connsiteY0" fmla="*/ 39450 h 1335792"/>
                <a:gd name="connsiteX1" fmla="*/ 11078 w 3436101"/>
                <a:gd name="connsiteY1" fmla="*/ 365590 h 1335792"/>
                <a:gd name="connsiteX2" fmla="*/ 259977 w 3436101"/>
                <a:gd name="connsiteY2" fmla="*/ 980651 h 1335792"/>
                <a:gd name="connsiteX3" fmla="*/ 767296 w 3436101"/>
                <a:gd name="connsiteY3" fmla="*/ 1204694 h 1335792"/>
                <a:gd name="connsiteX4" fmla="*/ 1207819 w 3436101"/>
                <a:gd name="connsiteY4" fmla="*/ 1335238 h 1335792"/>
                <a:gd name="connsiteX5" fmla="*/ 1385235 w 3436101"/>
                <a:gd name="connsiteY5" fmla="*/ 1156921 h 1335792"/>
                <a:gd name="connsiteX6" fmla="*/ 1682474 w 3436101"/>
                <a:gd name="connsiteY6" fmla="*/ 1016787 h 1335792"/>
                <a:gd name="connsiteX7" fmla="*/ 1870553 w 3436101"/>
                <a:gd name="connsiteY7" fmla="*/ 1085026 h 1335792"/>
                <a:gd name="connsiteX8" fmla="*/ 2139219 w 3436101"/>
                <a:gd name="connsiteY8" fmla="*/ 1210135 h 1335792"/>
                <a:gd name="connsiteX9" fmla="*/ 2291473 w 3436101"/>
                <a:gd name="connsiteY9" fmla="*/ 1073654 h 1335792"/>
                <a:gd name="connsiteX10" fmla="*/ 2569101 w 3436101"/>
                <a:gd name="connsiteY10" fmla="*/ 1130519 h 1335792"/>
                <a:gd name="connsiteX11" fmla="*/ 3161032 w 3436101"/>
                <a:gd name="connsiteY11" fmla="*/ 968403 h 1335792"/>
                <a:gd name="connsiteX12" fmla="*/ 3436101 w 3436101"/>
                <a:gd name="connsiteY12" fmla="*/ 670149 h 1335792"/>
                <a:gd name="connsiteX13" fmla="*/ 3386210 w 3436101"/>
                <a:gd name="connsiteY13" fmla="*/ 147058 h 1335792"/>
                <a:gd name="connsiteX14" fmla="*/ 3077871 w 3436101"/>
                <a:gd name="connsiteY14" fmla="*/ 106028 h 1335792"/>
                <a:gd name="connsiteX15" fmla="*/ 2590677 w 3436101"/>
                <a:gd name="connsiteY15" fmla="*/ 206111 h 1335792"/>
                <a:gd name="connsiteX16" fmla="*/ 2121395 w 3436101"/>
                <a:gd name="connsiteY16" fmla="*/ 128774 h 1335792"/>
                <a:gd name="connsiteX17" fmla="*/ 1381652 w 3436101"/>
                <a:gd name="connsiteY17" fmla="*/ 103751 h 1335792"/>
                <a:gd name="connsiteX18" fmla="*/ 781614 w 3436101"/>
                <a:gd name="connsiteY18" fmla="*/ 12766 h 1335792"/>
                <a:gd name="connsiteX19" fmla="*/ 119984 w 3436101"/>
                <a:gd name="connsiteY19" fmla="*/ 39450 h 1335792"/>
                <a:gd name="connsiteX0" fmla="*/ 119984 w 3436101"/>
                <a:gd name="connsiteY0" fmla="*/ 39450 h 1339126"/>
                <a:gd name="connsiteX1" fmla="*/ 11078 w 3436101"/>
                <a:gd name="connsiteY1" fmla="*/ 365590 h 1339126"/>
                <a:gd name="connsiteX2" fmla="*/ 259977 w 3436101"/>
                <a:gd name="connsiteY2" fmla="*/ 980651 h 1339126"/>
                <a:gd name="connsiteX3" fmla="*/ 734178 w 3436101"/>
                <a:gd name="connsiteY3" fmla="*/ 974875 h 1339126"/>
                <a:gd name="connsiteX4" fmla="*/ 1207819 w 3436101"/>
                <a:gd name="connsiteY4" fmla="*/ 1335238 h 1339126"/>
                <a:gd name="connsiteX5" fmla="*/ 1385235 w 3436101"/>
                <a:gd name="connsiteY5" fmla="*/ 1156921 h 1339126"/>
                <a:gd name="connsiteX6" fmla="*/ 1682474 w 3436101"/>
                <a:gd name="connsiteY6" fmla="*/ 1016787 h 1339126"/>
                <a:gd name="connsiteX7" fmla="*/ 1870553 w 3436101"/>
                <a:gd name="connsiteY7" fmla="*/ 1085026 h 1339126"/>
                <a:gd name="connsiteX8" fmla="*/ 2139219 w 3436101"/>
                <a:gd name="connsiteY8" fmla="*/ 1210135 h 1339126"/>
                <a:gd name="connsiteX9" fmla="*/ 2291473 w 3436101"/>
                <a:gd name="connsiteY9" fmla="*/ 1073654 h 1339126"/>
                <a:gd name="connsiteX10" fmla="*/ 2569101 w 3436101"/>
                <a:gd name="connsiteY10" fmla="*/ 1130519 h 1339126"/>
                <a:gd name="connsiteX11" fmla="*/ 3161032 w 3436101"/>
                <a:gd name="connsiteY11" fmla="*/ 968403 h 1339126"/>
                <a:gd name="connsiteX12" fmla="*/ 3436101 w 3436101"/>
                <a:gd name="connsiteY12" fmla="*/ 670149 h 1339126"/>
                <a:gd name="connsiteX13" fmla="*/ 3386210 w 3436101"/>
                <a:gd name="connsiteY13" fmla="*/ 147058 h 1339126"/>
                <a:gd name="connsiteX14" fmla="*/ 3077871 w 3436101"/>
                <a:gd name="connsiteY14" fmla="*/ 106028 h 1339126"/>
                <a:gd name="connsiteX15" fmla="*/ 2590677 w 3436101"/>
                <a:gd name="connsiteY15" fmla="*/ 206111 h 1339126"/>
                <a:gd name="connsiteX16" fmla="*/ 2121395 w 3436101"/>
                <a:gd name="connsiteY16" fmla="*/ 128774 h 1339126"/>
                <a:gd name="connsiteX17" fmla="*/ 1381652 w 3436101"/>
                <a:gd name="connsiteY17" fmla="*/ 103751 h 1339126"/>
                <a:gd name="connsiteX18" fmla="*/ 781614 w 3436101"/>
                <a:gd name="connsiteY18" fmla="*/ 12766 h 1339126"/>
                <a:gd name="connsiteX19" fmla="*/ 119984 w 3436101"/>
                <a:gd name="connsiteY19" fmla="*/ 39450 h 1339126"/>
                <a:gd name="connsiteX0" fmla="*/ 119984 w 3436101"/>
                <a:gd name="connsiteY0" fmla="*/ 39450 h 1345598"/>
                <a:gd name="connsiteX1" fmla="*/ 11078 w 3436101"/>
                <a:gd name="connsiteY1" fmla="*/ 365590 h 1345598"/>
                <a:gd name="connsiteX2" fmla="*/ 259977 w 3436101"/>
                <a:gd name="connsiteY2" fmla="*/ 980651 h 1345598"/>
                <a:gd name="connsiteX3" fmla="*/ 758293 w 3436101"/>
                <a:gd name="connsiteY3" fmla="*/ 826041 h 1345598"/>
                <a:gd name="connsiteX4" fmla="*/ 1207819 w 3436101"/>
                <a:gd name="connsiteY4" fmla="*/ 1335238 h 1345598"/>
                <a:gd name="connsiteX5" fmla="*/ 1385235 w 3436101"/>
                <a:gd name="connsiteY5" fmla="*/ 1156921 h 1345598"/>
                <a:gd name="connsiteX6" fmla="*/ 1682474 w 3436101"/>
                <a:gd name="connsiteY6" fmla="*/ 1016787 h 1345598"/>
                <a:gd name="connsiteX7" fmla="*/ 1870553 w 3436101"/>
                <a:gd name="connsiteY7" fmla="*/ 1085026 h 1345598"/>
                <a:gd name="connsiteX8" fmla="*/ 2139219 w 3436101"/>
                <a:gd name="connsiteY8" fmla="*/ 1210135 h 1345598"/>
                <a:gd name="connsiteX9" fmla="*/ 2291473 w 3436101"/>
                <a:gd name="connsiteY9" fmla="*/ 1073654 h 1345598"/>
                <a:gd name="connsiteX10" fmla="*/ 2569101 w 3436101"/>
                <a:gd name="connsiteY10" fmla="*/ 1130519 h 1345598"/>
                <a:gd name="connsiteX11" fmla="*/ 3161032 w 3436101"/>
                <a:gd name="connsiteY11" fmla="*/ 968403 h 1345598"/>
                <a:gd name="connsiteX12" fmla="*/ 3436101 w 3436101"/>
                <a:gd name="connsiteY12" fmla="*/ 670149 h 1345598"/>
                <a:gd name="connsiteX13" fmla="*/ 3386210 w 3436101"/>
                <a:gd name="connsiteY13" fmla="*/ 147058 h 1345598"/>
                <a:gd name="connsiteX14" fmla="*/ 3077871 w 3436101"/>
                <a:gd name="connsiteY14" fmla="*/ 106028 h 1345598"/>
                <a:gd name="connsiteX15" fmla="*/ 2590677 w 3436101"/>
                <a:gd name="connsiteY15" fmla="*/ 206111 h 1345598"/>
                <a:gd name="connsiteX16" fmla="*/ 2121395 w 3436101"/>
                <a:gd name="connsiteY16" fmla="*/ 128774 h 1345598"/>
                <a:gd name="connsiteX17" fmla="*/ 1381652 w 3436101"/>
                <a:gd name="connsiteY17" fmla="*/ 103751 h 1345598"/>
                <a:gd name="connsiteX18" fmla="*/ 781614 w 3436101"/>
                <a:gd name="connsiteY18" fmla="*/ 12766 h 1345598"/>
                <a:gd name="connsiteX19" fmla="*/ 119984 w 3436101"/>
                <a:gd name="connsiteY19" fmla="*/ 39450 h 1345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436101" h="1345598">
                  <a:moveTo>
                    <a:pt x="119984" y="39450"/>
                  </a:moveTo>
                  <a:cubicBezTo>
                    <a:pt x="-8439" y="98254"/>
                    <a:pt x="-12254" y="208723"/>
                    <a:pt x="11078" y="365590"/>
                  </a:cubicBezTo>
                  <a:cubicBezTo>
                    <a:pt x="34410" y="522457"/>
                    <a:pt x="135441" y="903909"/>
                    <a:pt x="259977" y="980651"/>
                  </a:cubicBezTo>
                  <a:cubicBezTo>
                    <a:pt x="384513" y="1057393"/>
                    <a:pt x="600319" y="766943"/>
                    <a:pt x="758293" y="826041"/>
                  </a:cubicBezTo>
                  <a:cubicBezTo>
                    <a:pt x="916267" y="885139"/>
                    <a:pt x="1103329" y="1280091"/>
                    <a:pt x="1207819" y="1335238"/>
                  </a:cubicBezTo>
                  <a:cubicBezTo>
                    <a:pt x="1312309" y="1390385"/>
                    <a:pt x="1306126" y="1209996"/>
                    <a:pt x="1385235" y="1156921"/>
                  </a:cubicBezTo>
                  <a:cubicBezTo>
                    <a:pt x="1464344" y="1103846"/>
                    <a:pt x="1601588" y="1028769"/>
                    <a:pt x="1682474" y="1016787"/>
                  </a:cubicBezTo>
                  <a:cubicBezTo>
                    <a:pt x="1763360" y="1004805"/>
                    <a:pt x="1794429" y="1069862"/>
                    <a:pt x="1870553" y="1085026"/>
                  </a:cubicBezTo>
                  <a:cubicBezTo>
                    <a:pt x="1946677" y="1100191"/>
                    <a:pt x="2069066" y="1212030"/>
                    <a:pt x="2139219" y="1210135"/>
                  </a:cubicBezTo>
                  <a:cubicBezTo>
                    <a:pt x="2209372" y="1208240"/>
                    <a:pt x="2219827" y="1102087"/>
                    <a:pt x="2291473" y="1073654"/>
                  </a:cubicBezTo>
                  <a:cubicBezTo>
                    <a:pt x="2363119" y="1045221"/>
                    <a:pt x="2424175" y="1148061"/>
                    <a:pt x="2569101" y="1130519"/>
                  </a:cubicBezTo>
                  <a:cubicBezTo>
                    <a:pt x="2714027" y="1112977"/>
                    <a:pt x="3016531" y="1029967"/>
                    <a:pt x="3161032" y="968403"/>
                  </a:cubicBezTo>
                  <a:cubicBezTo>
                    <a:pt x="3273278" y="807660"/>
                    <a:pt x="3339825" y="850615"/>
                    <a:pt x="3436101" y="670149"/>
                  </a:cubicBezTo>
                  <a:lnTo>
                    <a:pt x="3386210" y="147058"/>
                  </a:lnTo>
                  <a:cubicBezTo>
                    <a:pt x="3289934" y="72761"/>
                    <a:pt x="3677026" y="123414"/>
                    <a:pt x="3077871" y="106028"/>
                  </a:cubicBezTo>
                  <a:cubicBezTo>
                    <a:pt x="2867259" y="170760"/>
                    <a:pt x="2909204" y="102234"/>
                    <a:pt x="2590677" y="206111"/>
                  </a:cubicBezTo>
                  <a:cubicBezTo>
                    <a:pt x="2431264" y="209902"/>
                    <a:pt x="2322899" y="145834"/>
                    <a:pt x="2121395" y="128774"/>
                  </a:cubicBezTo>
                  <a:cubicBezTo>
                    <a:pt x="1919891" y="111714"/>
                    <a:pt x="1604949" y="123086"/>
                    <a:pt x="1381652" y="103751"/>
                  </a:cubicBezTo>
                  <a:cubicBezTo>
                    <a:pt x="1158355" y="84416"/>
                    <a:pt x="991892" y="23483"/>
                    <a:pt x="781614" y="12766"/>
                  </a:cubicBezTo>
                  <a:cubicBezTo>
                    <a:pt x="571336" y="2049"/>
                    <a:pt x="248407" y="-19354"/>
                    <a:pt x="119984" y="39450"/>
                  </a:cubicBezTo>
                  <a:close/>
                </a:path>
              </a:pathLst>
            </a:custGeom>
            <a:solidFill>
              <a:srgbClr val="E3D16D">
                <a:alpha val="80000"/>
              </a:srgbClr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600"/>
            </a:p>
          </p:txBody>
        </p:sp>
        <p:grpSp>
          <p:nvGrpSpPr>
            <p:cNvPr id="3366" name="Group 3365">
              <a:extLst>
                <a:ext uri="{FF2B5EF4-FFF2-40B4-BE49-F238E27FC236}">
                  <a16:creationId xmlns:a16="http://schemas.microsoft.com/office/drawing/2014/main" id="{A3BA2E87-72B4-D6A2-B97F-A211F88E14E9}"/>
                </a:ext>
              </a:extLst>
            </p:cNvPr>
            <p:cNvGrpSpPr/>
            <p:nvPr/>
          </p:nvGrpSpPr>
          <p:grpSpPr>
            <a:xfrm>
              <a:off x="1067380" y="1866654"/>
              <a:ext cx="3974194" cy="3546214"/>
              <a:chOff x="1067380" y="1866654"/>
              <a:chExt cx="3974194" cy="3546214"/>
            </a:xfrm>
          </p:grpSpPr>
          <p:sp>
            <p:nvSpPr>
              <p:cNvPr id="3360" name="!!mucus">
                <a:extLst>
                  <a:ext uri="{FF2B5EF4-FFF2-40B4-BE49-F238E27FC236}">
                    <a16:creationId xmlns:a16="http://schemas.microsoft.com/office/drawing/2014/main" id="{20ABFFA2-6DDD-10E8-7EB6-0524AEAECEF0}"/>
                  </a:ext>
                </a:extLst>
              </p:cNvPr>
              <p:cNvSpPr/>
              <p:nvPr/>
            </p:nvSpPr>
            <p:spPr>
              <a:xfrm rot="9605625" flipH="1">
                <a:off x="2588368" y="1866654"/>
                <a:ext cx="1060145" cy="390619"/>
              </a:xfrm>
              <a:custGeom>
                <a:avLst/>
                <a:gdLst>
                  <a:gd name="connsiteX0" fmla="*/ 0 w 11280654"/>
                  <a:gd name="connsiteY0" fmla="*/ 91352 h 1986246"/>
                  <a:gd name="connsiteX1" fmla="*/ 10868 w 11280654"/>
                  <a:gd name="connsiteY1" fmla="*/ 745642 h 1986246"/>
                  <a:gd name="connsiteX2" fmla="*/ 260587 w 11280654"/>
                  <a:gd name="connsiteY2" fmla="*/ 915580 h 1986246"/>
                  <a:gd name="connsiteX3" fmla="*/ 282300 w 11280654"/>
                  <a:gd name="connsiteY3" fmla="*/ 1077031 h 1986246"/>
                  <a:gd name="connsiteX4" fmla="*/ 510305 w 11280654"/>
                  <a:gd name="connsiteY4" fmla="*/ 1416926 h 1986246"/>
                  <a:gd name="connsiteX5" fmla="*/ 640587 w 11280654"/>
                  <a:gd name="connsiteY5" fmla="*/ 1595370 h 1986246"/>
                  <a:gd name="connsiteX6" fmla="*/ 694882 w 11280654"/>
                  <a:gd name="connsiteY6" fmla="*/ 1790808 h 1986246"/>
                  <a:gd name="connsiteX7" fmla="*/ 857746 w 11280654"/>
                  <a:gd name="connsiteY7" fmla="*/ 1986246 h 1986246"/>
                  <a:gd name="connsiteX8" fmla="*/ 1020610 w 11280654"/>
                  <a:gd name="connsiteY8" fmla="*/ 1858784 h 1986246"/>
                  <a:gd name="connsiteX9" fmla="*/ 1042324 w 11280654"/>
                  <a:gd name="connsiteY9" fmla="*/ 1595370 h 1986246"/>
                  <a:gd name="connsiteX10" fmla="*/ 1194319 w 11280654"/>
                  <a:gd name="connsiteY10" fmla="*/ 1510401 h 1986246"/>
                  <a:gd name="connsiteX11" fmla="*/ 1302887 w 11280654"/>
                  <a:gd name="connsiteY11" fmla="*/ 1229994 h 1986246"/>
                  <a:gd name="connsiteX12" fmla="*/ 1411455 w 11280654"/>
                  <a:gd name="connsiteY12" fmla="*/ 873105 h 1986246"/>
                  <a:gd name="connsiteX13" fmla="*/ 1563450 w 11280654"/>
                  <a:gd name="connsiteY13" fmla="*/ 737154 h 1986246"/>
                  <a:gd name="connsiteX14" fmla="*/ 1867441 w 11280654"/>
                  <a:gd name="connsiteY14" fmla="*/ 737154 h 1986246"/>
                  <a:gd name="connsiteX15" fmla="*/ 2442864 w 11280654"/>
                  <a:gd name="connsiteY15" fmla="*/ 754148 h 1986246"/>
                  <a:gd name="connsiteX16" fmla="*/ 3582863 w 11280654"/>
                  <a:gd name="connsiteY16" fmla="*/ 754148 h 1986246"/>
                  <a:gd name="connsiteX17" fmla="*/ 4277722 w 11280654"/>
                  <a:gd name="connsiteY17" fmla="*/ 788136 h 1986246"/>
                  <a:gd name="connsiteX18" fmla="*/ 4733732 w 11280654"/>
                  <a:gd name="connsiteY18" fmla="*/ 728648 h 1986246"/>
                  <a:gd name="connsiteX19" fmla="*/ 5211454 w 11280654"/>
                  <a:gd name="connsiteY19" fmla="*/ 728648 h 1986246"/>
                  <a:gd name="connsiteX20" fmla="*/ 5982323 w 11280654"/>
                  <a:gd name="connsiteY20" fmla="*/ 771142 h 1986246"/>
                  <a:gd name="connsiteX21" fmla="*/ 6861759 w 11280654"/>
                  <a:gd name="connsiteY21" fmla="*/ 754148 h 1986246"/>
                  <a:gd name="connsiteX22" fmla="*/ 7491477 w 11280654"/>
                  <a:gd name="connsiteY22" fmla="*/ 762654 h 1986246"/>
                  <a:gd name="connsiteX23" fmla="*/ 8327487 w 11280654"/>
                  <a:gd name="connsiteY23" fmla="*/ 762654 h 1986246"/>
                  <a:gd name="connsiteX24" fmla="*/ 9391500 w 11280654"/>
                  <a:gd name="connsiteY24" fmla="*/ 788154 h 1986246"/>
                  <a:gd name="connsiteX25" fmla="*/ 10140655 w 11280654"/>
                  <a:gd name="connsiteY25" fmla="*/ 779648 h 1986246"/>
                  <a:gd name="connsiteX26" fmla="*/ 10672650 w 11280654"/>
                  <a:gd name="connsiteY26" fmla="*/ 771142 h 1986246"/>
                  <a:gd name="connsiteX27" fmla="*/ 11150373 w 11280654"/>
                  <a:gd name="connsiteY27" fmla="*/ 737154 h 1986246"/>
                  <a:gd name="connsiteX28" fmla="*/ 11280654 w 11280654"/>
                  <a:gd name="connsiteY28" fmla="*/ 754148 h 1986246"/>
                  <a:gd name="connsiteX29" fmla="*/ 11280654 w 11280654"/>
                  <a:gd name="connsiteY29" fmla="*/ 133791 h 1986246"/>
                  <a:gd name="connsiteX30" fmla="*/ 11096078 w 11280654"/>
                  <a:gd name="connsiteY30" fmla="*/ 65870 h 1986246"/>
                  <a:gd name="connsiteX31" fmla="*/ 10281782 w 11280654"/>
                  <a:gd name="connsiteY31" fmla="*/ 14889 h 1986246"/>
                  <a:gd name="connsiteX32" fmla="*/ 9695491 w 11280654"/>
                  <a:gd name="connsiteY32" fmla="*/ 108364 h 1986246"/>
                  <a:gd name="connsiteX33" fmla="*/ 8794341 w 11280654"/>
                  <a:gd name="connsiteY33" fmla="*/ 201839 h 1986246"/>
                  <a:gd name="connsiteX34" fmla="*/ 7828050 w 11280654"/>
                  <a:gd name="connsiteY34" fmla="*/ 201839 h 1986246"/>
                  <a:gd name="connsiteX35" fmla="*/ 6101760 w 11280654"/>
                  <a:gd name="connsiteY35" fmla="*/ 193333 h 1986246"/>
                  <a:gd name="connsiteX36" fmla="*/ 5016032 w 11280654"/>
                  <a:gd name="connsiteY36" fmla="*/ 65870 h 1986246"/>
                  <a:gd name="connsiteX37" fmla="*/ 3224600 w 11280654"/>
                  <a:gd name="connsiteY37" fmla="*/ 57364 h 1986246"/>
                  <a:gd name="connsiteX38" fmla="*/ 2171455 w 11280654"/>
                  <a:gd name="connsiteY38" fmla="*/ 82864 h 1986246"/>
                  <a:gd name="connsiteX39" fmla="*/ 760023 w 11280654"/>
                  <a:gd name="connsiteY39" fmla="*/ 116852 h 1986246"/>
                  <a:gd name="connsiteX40" fmla="*/ 0 w 11280654"/>
                  <a:gd name="connsiteY40" fmla="*/ 91352 h 1986246"/>
                  <a:gd name="connsiteX0" fmla="*/ 0 w 11280654"/>
                  <a:gd name="connsiteY0" fmla="*/ 91352 h 1994638"/>
                  <a:gd name="connsiteX1" fmla="*/ 10868 w 11280654"/>
                  <a:gd name="connsiteY1" fmla="*/ 745642 h 1994638"/>
                  <a:gd name="connsiteX2" fmla="*/ 260587 w 11280654"/>
                  <a:gd name="connsiteY2" fmla="*/ 915580 h 1994638"/>
                  <a:gd name="connsiteX3" fmla="*/ 282300 w 11280654"/>
                  <a:gd name="connsiteY3" fmla="*/ 1077031 h 1994638"/>
                  <a:gd name="connsiteX4" fmla="*/ 510305 w 11280654"/>
                  <a:gd name="connsiteY4" fmla="*/ 1416926 h 1994638"/>
                  <a:gd name="connsiteX5" fmla="*/ 640587 w 11280654"/>
                  <a:gd name="connsiteY5" fmla="*/ 1595370 h 1994638"/>
                  <a:gd name="connsiteX6" fmla="*/ 694882 w 11280654"/>
                  <a:gd name="connsiteY6" fmla="*/ 1790808 h 1994638"/>
                  <a:gd name="connsiteX7" fmla="*/ 857746 w 11280654"/>
                  <a:gd name="connsiteY7" fmla="*/ 1986246 h 1994638"/>
                  <a:gd name="connsiteX8" fmla="*/ 1020610 w 11280654"/>
                  <a:gd name="connsiteY8" fmla="*/ 1858784 h 1994638"/>
                  <a:gd name="connsiteX9" fmla="*/ 1042324 w 11280654"/>
                  <a:gd name="connsiteY9" fmla="*/ 1595370 h 1994638"/>
                  <a:gd name="connsiteX10" fmla="*/ 1194319 w 11280654"/>
                  <a:gd name="connsiteY10" fmla="*/ 1510401 h 1994638"/>
                  <a:gd name="connsiteX11" fmla="*/ 1302887 w 11280654"/>
                  <a:gd name="connsiteY11" fmla="*/ 1229994 h 1994638"/>
                  <a:gd name="connsiteX12" fmla="*/ 1411455 w 11280654"/>
                  <a:gd name="connsiteY12" fmla="*/ 873105 h 1994638"/>
                  <a:gd name="connsiteX13" fmla="*/ 1563450 w 11280654"/>
                  <a:gd name="connsiteY13" fmla="*/ 737154 h 1994638"/>
                  <a:gd name="connsiteX14" fmla="*/ 1867441 w 11280654"/>
                  <a:gd name="connsiteY14" fmla="*/ 737154 h 1994638"/>
                  <a:gd name="connsiteX15" fmla="*/ 2442864 w 11280654"/>
                  <a:gd name="connsiteY15" fmla="*/ 754148 h 1994638"/>
                  <a:gd name="connsiteX16" fmla="*/ 3582863 w 11280654"/>
                  <a:gd name="connsiteY16" fmla="*/ 754148 h 1994638"/>
                  <a:gd name="connsiteX17" fmla="*/ 4277722 w 11280654"/>
                  <a:gd name="connsiteY17" fmla="*/ 788136 h 1994638"/>
                  <a:gd name="connsiteX18" fmla="*/ 4733732 w 11280654"/>
                  <a:gd name="connsiteY18" fmla="*/ 728648 h 1994638"/>
                  <a:gd name="connsiteX19" fmla="*/ 5211454 w 11280654"/>
                  <a:gd name="connsiteY19" fmla="*/ 728648 h 1994638"/>
                  <a:gd name="connsiteX20" fmla="*/ 5982323 w 11280654"/>
                  <a:gd name="connsiteY20" fmla="*/ 771142 h 1994638"/>
                  <a:gd name="connsiteX21" fmla="*/ 6861759 w 11280654"/>
                  <a:gd name="connsiteY21" fmla="*/ 754148 h 1994638"/>
                  <a:gd name="connsiteX22" fmla="*/ 7491477 w 11280654"/>
                  <a:gd name="connsiteY22" fmla="*/ 762654 h 1994638"/>
                  <a:gd name="connsiteX23" fmla="*/ 8327487 w 11280654"/>
                  <a:gd name="connsiteY23" fmla="*/ 762654 h 1994638"/>
                  <a:gd name="connsiteX24" fmla="*/ 9391500 w 11280654"/>
                  <a:gd name="connsiteY24" fmla="*/ 788154 h 1994638"/>
                  <a:gd name="connsiteX25" fmla="*/ 10140655 w 11280654"/>
                  <a:gd name="connsiteY25" fmla="*/ 779648 h 1994638"/>
                  <a:gd name="connsiteX26" fmla="*/ 10672650 w 11280654"/>
                  <a:gd name="connsiteY26" fmla="*/ 771142 h 1994638"/>
                  <a:gd name="connsiteX27" fmla="*/ 11150373 w 11280654"/>
                  <a:gd name="connsiteY27" fmla="*/ 737154 h 1994638"/>
                  <a:gd name="connsiteX28" fmla="*/ 11280654 w 11280654"/>
                  <a:gd name="connsiteY28" fmla="*/ 754148 h 1994638"/>
                  <a:gd name="connsiteX29" fmla="*/ 11280654 w 11280654"/>
                  <a:gd name="connsiteY29" fmla="*/ 133791 h 1994638"/>
                  <a:gd name="connsiteX30" fmla="*/ 11096078 w 11280654"/>
                  <a:gd name="connsiteY30" fmla="*/ 65870 h 1994638"/>
                  <a:gd name="connsiteX31" fmla="*/ 10281782 w 11280654"/>
                  <a:gd name="connsiteY31" fmla="*/ 14889 h 1994638"/>
                  <a:gd name="connsiteX32" fmla="*/ 9695491 w 11280654"/>
                  <a:gd name="connsiteY32" fmla="*/ 108364 h 1994638"/>
                  <a:gd name="connsiteX33" fmla="*/ 8794341 w 11280654"/>
                  <a:gd name="connsiteY33" fmla="*/ 201839 h 1994638"/>
                  <a:gd name="connsiteX34" fmla="*/ 7828050 w 11280654"/>
                  <a:gd name="connsiteY34" fmla="*/ 201839 h 1994638"/>
                  <a:gd name="connsiteX35" fmla="*/ 6101760 w 11280654"/>
                  <a:gd name="connsiteY35" fmla="*/ 193333 h 1994638"/>
                  <a:gd name="connsiteX36" fmla="*/ 5016032 w 11280654"/>
                  <a:gd name="connsiteY36" fmla="*/ 65870 h 1994638"/>
                  <a:gd name="connsiteX37" fmla="*/ 3224600 w 11280654"/>
                  <a:gd name="connsiteY37" fmla="*/ 57364 h 1994638"/>
                  <a:gd name="connsiteX38" fmla="*/ 2171455 w 11280654"/>
                  <a:gd name="connsiteY38" fmla="*/ 82864 h 1994638"/>
                  <a:gd name="connsiteX39" fmla="*/ 760023 w 11280654"/>
                  <a:gd name="connsiteY39" fmla="*/ 116852 h 1994638"/>
                  <a:gd name="connsiteX40" fmla="*/ 0 w 11280654"/>
                  <a:gd name="connsiteY40" fmla="*/ 91352 h 1994638"/>
                  <a:gd name="connsiteX0" fmla="*/ 2673914 w 11269790"/>
                  <a:gd name="connsiteY0" fmla="*/ 66415 h 1994638"/>
                  <a:gd name="connsiteX1" fmla="*/ 4 w 11269790"/>
                  <a:gd name="connsiteY1" fmla="*/ 745642 h 1994638"/>
                  <a:gd name="connsiteX2" fmla="*/ 249723 w 11269790"/>
                  <a:gd name="connsiteY2" fmla="*/ 915580 h 1994638"/>
                  <a:gd name="connsiteX3" fmla="*/ 271436 w 11269790"/>
                  <a:gd name="connsiteY3" fmla="*/ 1077031 h 1994638"/>
                  <a:gd name="connsiteX4" fmla="*/ 499441 w 11269790"/>
                  <a:gd name="connsiteY4" fmla="*/ 1416926 h 1994638"/>
                  <a:gd name="connsiteX5" fmla="*/ 629723 w 11269790"/>
                  <a:gd name="connsiteY5" fmla="*/ 1595370 h 1994638"/>
                  <a:gd name="connsiteX6" fmla="*/ 684018 w 11269790"/>
                  <a:gd name="connsiteY6" fmla="*/ 1790808 h 1994638"/>
                  <a:gd name="connsiteX7" fmla="*/ 846882 w 11269790"/>
                  <a:gd name="connsiteY7" fmla="*/ 1986246 h 1994638"/>
                  <a:gd name="connsiteX8" fmla="*/ 1009746 w 11269790"/>
                  <a:gd name="connsiteY8" fmla="*/ 1858784 h 1994638"/>
                  <a:gd name="connsiteX9" fmla="*/ 1031460 w 11269790"/>
                  <a:gd name="connsiteY9" fmla="*/ 1595370 h 1994638"/>
                  <a:gd name="connsiteX10" fmla="*/ 1183455 w 11269790"/>
                  <a:gd name="connsiteY10" fmla="*/ 1510401 h 1994638"/>
                  <a:gd name="connsiteX11" fmla="*/ 1292023 w 11269790"/>
                  <a:gd name="connsiteY11" fmla="*/ 1229994 h 1994638"/>
                  <a:gd name="connsiteX12" fmla="*/ 1400591 w 11269790"/>
                  <a:gd name="connsiteY12" fmla="*/ 873105 h 1994638"/>
                  <a:gd name="connsiteX13" fmla="*/ 1552586 w 11269790"/>
                  <a:gd name="connsiteY13" fmla="*/ 737154 h 1994638"/>
                  <a:gd name="connsiteX14" fmla="*/ 1856577 w 11269790"/>
                  <a:gd name="connsiteY14" fmla="*/ 737154 h 1994638"/>
                  <a:gd name="connsiteX15" fmla="*/ 2432000 w 11269790"/>
                  <a:gd name="connsiteY15" fmla="*/ 754148 h 1994638"/>
                  <a:gd name="connsiteX16" fmla="*/ 3571999 w 11269790"/>
                  <a:gd name="connsiteY16" fmla="*/ 754148 h 1994638"/>
                  <a:gd name="connsiteX17" fmla="*/ 4266858 w 11269790"/>
                  <a:gd name="connsiteY17" fmla="*/ 788136 h 1994638"/>
                  <a:gd name="connsiteX18" fmla="*/ 4722868 w 11269790"/>
                  <a:gd name="connsiteY18" fmla="*/ 728648 h 1994638"/>
                  <a:gd name="connsiteX19" fmla="*/ 5200590 w 11269790"/>
                  <a:gd name="connsiteY19" fmla="*/ 728648 h 1994638"/>
                  <a:gd name="connsiteX20" fmla="*/ 5971459 w 11269790"/>
                  <a:gd name="connsiteY20" fmla="*/ 771142 h 1994638"/>
                  <a:gd name="connsiteX21" fmla="*/ 6850895 w 11269790"/>
                  <a:gd name="connsiteY21" fmla="*/ 754148 h 1994638"/>
                  <a:gd name="connsiteX22" fmla="*/ 7480613 w 11269790"/>
                  <a:gd name="connsiteY22" fmla="*/ 762654 h 1994638"/>
                  <a:gd name="connsiteX23" fmla="*/ 8316623 w 11269790"/>
                  <a:gd name="connsiteY23" fmla="*/ 762654 h 1994638"/>
                  <a:gd name="connsiteX24" fmla="*/ 9380636 w 11269790"/>
                  <a:gd name="connsiteY24" fmla="*/ 788154 h 1994638"/>
                  <a:gd name="connsiteX25" fmla="*/ 10129791 w 11269790"/>
                  <a:gd name="connsiteY25" fmla="*/ 779648 h 1994638"/>
                  <a:gd name="connsiteX26" fmla="*/ 10661786 w 11269790"/>
                  <a:gd name="connsiteY26" fmla="*/ 771142 h 1994638"/>
                  <a:gd name="connsiteX27" fmla="*/ 11139509 w 11269790"/>
                  <a:gd name="connsiteY27" fmla="*/ 737154 h 1994638"/>
                  <a:gd name="connsiteX28" fmla="*/ 11269790 w 11269790"/>
                  <a:gd name="connsiteY28" fmla="*/ 754148 h 1994638"/>
                  <a:gd name="connsiteX29" fmla="*/ 11269790 w 11269790"/>
                  <a:gd name="connsiteY29" fmla="*/ 133791 h 1994638"/>
                  <a:gd name="connsiteX30" fmla="*/ 11085214 w 11269790"/>
                  <a:gd name="connsiteY30" fmla="*/ 65870 h 1994638"/>
                  <a:gd name="connsiteX31" fmla="*/ 10270918 w 11269790"/>
                  <a:gd name="connsiteY31" fmla="*/ 14889 h 1994638"/>
                  <a:gd name="connsiteX32" fmla="*/ 9684627 w 11269790"/>
                  <a:gd name="connsiteY32" fmla="*/ 108364 h 1994638"/>
                  <a:gd name="connsiteX33" fmla="*/ 8783477 w 11269790"/>
                  <a:gd name="connsiteY33" fmla="*/ 201839 h 1994638"/>
                  <a:gd name="connsiteX34" fmla="*/ 7817186 w 11269790"/>
                  <a:gd name="connsiteY34" fmla="*/ 201839 h 1994638"/>
                  <a:gd name="connsiteX35" fmla="*/ 6090896 w 11269790"/>
                  <a:gd name="connsiteY35" fmla="*/ 193333 h 1994638"/>
                  <a:gd name="connsiteX36" fmla="*/ 5005168 w 11269790"/>
                  <a:gd name="connsiteY36" fmla="*/ 65870 h 1994638"/>
                  <a:gd name="connsiteX37" fmla="*/ 3213736 w 11269790"/>
                  <a:gd name="connsiteY37" fmla="*/ 57364 h 1994638"/>
                  <a:gd name="connsiteX38" fmla="*/ 2160591 w 11269790"/>
                  <a:gd name="connsiteY38" fmla="*/ 82864 h 1994638"/>
                  <a:gd name="connsiteX39" fmla="*/ 749159 w 11269790"/>
                  <a:gd name="connsiteY39" fmla="*/ 116852 h 1994638"/>
                  <a:gd name="connsiteX40" fmla="*/ 2673914 w 11269790"/>
                  <a:gd name="connsiteY40" fmla="*/ 66415 h 1994638"/>
                  <a:gd name="connsiteX0" fmla="*/ 2673914 w 11269790"/>
                  <a:gd name="connsiteY0" fmla="*/ 66415 h 1994638"/>
                  <a:gd name="connsiteX1" fmla="*/ 4 w 11269790"/>
                  <a:gd name="connsiteY1" fmla="*/ 745642 h 1994638"/>
                  <a:gd name="connsiteX2" fmla="*/ 249723 w 11269790"/>
                  <a:gd name="connsiteY2" fmla="*/ 915580 h 1994638"/>
                  <a:gd name="connsiteX3" fmla="*/ 271436 w 11269790"/>
                  <a:gd name="connsiteY3" fmla="*/ 1077031 h 1994638"/>
                  <a:gd name="connsiteX4" fmla="*/ 499441 w 11269790"/>
                  <a:gd name="connsiteY4" fmla="*/ 1416926 h 1994638"/>
                  <a:gd name="connsiteX5" fmla="*/ 629723 w 11269790"/>
                  <a:gd name="connsiteY5" fmla="*/ 1595370 h 1994638"/>
                  <a:gd name="connsiteX6" fmla="*/ 684018 w 11269790"/>
                  <a:gd name="connsiteY6" fmla="*/ 1790808 h 1994638"/>
                  <a:gd name="connsiteX7" fmla="*/ 846882 w 11269790"/>
                  <a:gd name="connsiteY7" fmla="*/ 1986246 h 1994638"/>
                  <a:gd name="connsiteX8" fmla="*/ 1009746 w 11269790"/>
                  <a:gd name="connsiteY8" fmla="*/ 1858784 h 1994638"/>
                  <a:gd name="connsiteX9" fmla="*/ 1031460 w 11269790"/>
                  <a:gd name="connsiteY9" fmla="*/ 1595370 h 1994638"/>
                  <a:gd name="connsiteX10" fmla="*/ 1183455 w 11269790"/>
                  <a:gd name="connsiteY10" fmla="*/ 1510401 h 1994638"/>
                  <a:gd name="connsiteX11" fmla="*/ 1292023 w 11269790"/>
                  <a:gd name="connsiteY11" fmla="*/ 1229994 h 1994638"/>
                  <a:gd name="connsiteX12" fmla="*/ 1400591 w 11269790"/>
                  <a:gd name="connsiteY12" fmla="*/ 873105 h 1994638"/>
                  <a:gd name="connsiteX13" fmla="*/ 1552586 w 11269790"/>
                  <a:gd name="connsiteY13" fmla="*/ 737154 h 1994638"/>
                  <a:gd name="connsiteX14" fmla="*/ 1856577 w 11269790"/>
                  <a:gd name="connsiteY14" fmla="*/ 737154 h 1994638"/>
                  <a:gd name="connsiteX15" fmla="*/ 2432000 w 11269790"/>
                  <a:gd name="connsiteY15" fmla="*/ 754148 h 1994638"/>
                  <a:gd name="connsiteX16" fmla="*/ 3571999 w 11269790"/>
                  <a:gd name="connsiteY16" fmla="*/ 754148 h 1994638"/>
                  <a:gd name="connsiteX17" fmla="*/ 4266858 w 11269790"/>
                  <a:gd name="connsiteY17" fmla="*/ 788136 h 1994638"/>
                  <a:gd name="connsiteX18" fmla="*/ 4722868 w 11269790"/>
                  <a:gd name="connsiteY18" fmla="*/ 728648 h 1994638"/>
                  <a:gd name="connsiteX19" fmla="*/ 5200590 w 11269790"/>
                  <a:gd name="connsiteY19" fmla="*/ 728648 h 1994638"/>
                  <a:gd name="connsiteX20" fmla="*/ 5971459 w 11269790"/>
                  <a:gd name="connsiteY20" fmla="*/ 771142 h 1994638"/>
                  <a:gd name="connsiteX21" fmla="*/ 6850895 w 11269790"/>
                  <a:gd name="connsiteY21" fmla="*/ 754148 h 1994638"/>
                  <a:gd name="connsiteX22" fmla="*/ 7480613 w 11269790"/>
                  <a:gd name="connsiteY22" fmla="*/ 762654 h 1994638"/>
                  <a:gd name="connsiteX23" fmla="*/ 8316623 w 11269790"/>
                  <a:gd name="connsiteY23" fmla="*/ 762654 h 1994638"/>
                  <a:gd name="connsiteX24" fmla="*/ 9380636 w 11269790"/>
                  <a:gd name="connsiteY24" fmla="*/ 788154 h 1994638"/>
                  <a:gd name="connsiteX25" fmla="*/ 10129791 w 11269790"/>
                  <a:gd name="connsiteY25" fmla="*/ 779648 h 1994638"/>
                  <a:gd name="connsiteX26" fmla="*/ 10661786 w 11269790"/>
                  <a:gd name="connsiteY26" fmla="*/ 771142 h 1994638"/>
                  <a:gd name="connsiteX27" fmla="*/ 11139509 w 11269790"/>
                  <a:gd name="connsiteY27" fmla="*/ 737154 h 1994638"/>
                  <a:gd name="connsiteX28" fmla="*/ 11269790 w 11269790"/>
                  <a:gd name="connsiteY28" fmla="*/ 754148 h 1994638"/>
                  <a:gd name="connsiteX29" fmla="*/ 11269790 w 11269790"/>
                  <a:gd name="connsiteY29" fmla="*/ 133791 h 1994638"/>
                  <a:gd name="connsiteX30" fmla="*/ 11085214 w 11269790"/>
                  <a:gd name="connsiteY30" fmla="*/ 65870 h 1994638"/>
                  <a:gd name="connsiteX31" fmla="*/ 10270918 w 11269790"/>
                  <a:gd name="connsiteY31" fmla="*/ 14889 h 1994638"/>
                  <a:gd name="connsiteX32" fmla="*/ 9684627 w 11269790"/>
                  <a:gd name="connsiteY32" fmla="*/ 108364 h 1994638"/>
                  <a:gd name="connsiteX33" fmla="*/ 8783477 w 11269790"/>
                  <a:gd name="connsiteY33" fmla="*/ 201839 h 1994638"/>
                  <a:gd name="connsiteX34" fmla="*/ 7817186 w 11269790"/>
                  <a:gd name="connsiteY34" fmla="*/ 201839 h 1994638"/>
                  <a:gd name="connsiteX35" fmla="*/ 6090896 w 11269790"/>
                  <a:gd name="connsiteY35" fmla="*/ 193333 h 1994638"/>
                  <a:gd name="connsiteX36" fmla="*/ 5005168 w 11269790"/>
                  <a:gd name="connsiteY36" fmla="*/ 65870 h 1994638"/>
                  <a:gd name="connsiteX37" fmla="*/ 3213736 w 11269790"/>
                  <a:gd name="connsiteY37" fmla="*/ 57364 h 1994638"/>
                  <a:gd name="connsiteX38" fmla="*/ 2160591 w 11269790"/>
                  <a:gd name="connsiteY38" fmla="*/ 82864 h 1994638"/>
                  <a:gd name="connsiteX39" fmla="*/ 2673914 w 11269790"/>
                  <a:gd name="connsiteY39" fmla="*/ 66415 h 1994638"/>
                  <a:gd name="connsiteX0" fmla="*/ 2673914 w 11269790"/>
                  <a:gd name="connsiteY0" fmla="*/ 66415 h 1994638"/>
                  <a:gd name="connsiteX1" fmla="*/ 4 w 11269790"/>
                  <a:gd name="connsiteY1" fmla="*/ 745642 h 1994638"/>
                  <a:gd name="connsiteX2" fmla="*/ 249723 w 11269790"/>
                  <a:gd name="connsiteY2" fmla="*/ 915580 h 1994638"/>
                  <a:gd name="connsiteX3" fmla="*/ 271436 w 11269790"/>
                  <a:gd name="connsiteY3" fmla="*/ 1077031 h 1994638"/>
                  <a:gd name="connsiteX4" fmla="*/ 499441 w 11269790"/>
                  <a:gd name="connsiteY4" fmla="*/ 1416926 h 1994638"/>
                  <a:gd name="connsiteX5" fmla="*/ 629723 w 11269790"/>
                  <a:gd name="connsiteY5" fmla="*/ 1595370 h 1994638"/>
                  <a:gd name="connsiteX6" fmla="*/ 684018 w 11269790"/>
                  <a:gd name="connsiteY6" fmla="*/ 1790808 h 1994638"/>
                  <a:gd name="connsiteX7" fmla="*/ 846882 w 11269790"/>
                  <a:gd name="connsiteY7" fmla="*/ 1986246 h 1994638"/>
                  <a:gd name="connsiteX8" fmla="*/ 1009746 w 11269790"/>
                  <a:gd name="connsiteY8" fmla="*/ 1858784 h 1994638"/>
                  <a:gd name="connsiteX9" fmla="*/ 1031460 w 11269790"/>
                  <a:gd name="connsiteY9" fmla="*/ 1595370 h 1994638"/>
                  <a:gd name="connsiteX10" fmla="*/ 1183455 w 11269790"/>
                  <a:gd name="connsiteY10" fmla="*/ 1510401 h 1994638"/>
                  <a:gd name="connsiteX11" fmla="*/ 1292023 w 11269790"/>
                  <a:gd name="connsiteY11" fmla="*/ 1229994 h 1994638"/>
                  <a:gd name="connsiteX12" fmla="*/ 1400591 w 11269790"/>
                  <a:gd name="connsiteY12" fmla="*/ 873105 h 1994638"/>
                  <a:gd name="connsiteX13" fmla="*/ 1552586 w 11269790"/>
                  <a:gd name="connsiteY13" fmla="*/ 737154 h 1994638"/>
                  <a:gd name="connsiteX14" fmla="*/ 1856577 w 11269790"/>
                  <a:gd name="connsiteY14" fmla="*/ 737154 h 1994638"/>
                  <a:gd name="connsiteX15" fmla="*/ 2432000 w 11269790"/>
                  <a:gd name="connsiteY15" fmla="*/ 754148 h 1994638"/>
                  <a:gd name="connsiteX16" fmla="*/ 3571999 w 11269790"/>
                  <a:gd name="connsiteY16" fmla="*/ 754148 h 1994638"/>
                  <a:gd name="connsiteX17" fmla="*/ 4266858 w 11269790"/>
                  <a:gd name="connsiteY17" fmla="*/ 788136 h 1994638"/>
                  <a:gd name="connsiteX18" fmla="*/ 4722868 w 11269790"/>
                  <a:gd name="connsiteY18" fmla="*/ 728648 h 1994638"/>
                  <a:gd name="connsiteX19" fmla="*/ 5200590 w 11269790"/>
                  <a:gd name="connsiteY19" fmla="*/ 728648 h 1994638"/>
                  <a:gd name="connsiteX20" fmla="*/ 5971459 w 11269790"/>
                  <a:gd name="connsiteY20" fmla="*/ 771142 h 1994638"/>
                  <a:gd name="connsiteX21" fmla="*/ 6850895 w 11269790"/>
                  <a:gd name="connsiteY21" fmla="*/ 754148 h 1994638"/>
                  <a:gd name="connsiteX22" fmla="*/ 7480613 w 11269790"/>
                  <a:gd name="connsiteY22" fmla="*/ 762654 h 1994638"/>
                  <a:gd name="connsiteX23" fmla="*/ 8316623 w 11269790"/>
                  <a:gd name="connsiteY23" fmla="*/ 762654 h 1994638"/>
                  <a:gd name="connsiteX24" fmla="*/ 9380636 w 11269790"/>
                  <a:gd name="connsiteY24" fmla="*/ 788154 h 1994638"/>
                  <a:gd name="connsiteX25" fmla="*/ 10129791 w 11269790"/>
                  <a:gd name="connsiteY25" fmla="*/ 779648 h 1994638"/>
                  <a:gd name="connsiteX26" fmla="*/ 10661786 w 11269790"/>
                  <a:gd name="connsiteY26" fmla="*/ 771142 h 1994638"/>
                  <a:gd name="connsiteX27" fmla="*/ 11139509 w 11269790"/>
                  <a:gd name="connsiteY27" fmla="*/ 737154 h 1994638"/>
                  <a:gd name="connsiteX28" fmla="*/ 11269790 w 11269790"/>
                  <a:gd name="connsiteY28" fmla="*/ 754148 h 1994638"/>
                  <a:gd name="connsiteX29" fmla="*/ 11269790 w 11269790"/>
                  <a:gd name="connsiteY29" fmla="*/ 133791 h 1994638"/>
                  <a:gd name="connsiteX30" fmla="*/ 11085214 w 11269790"/>
                  <a:gd name="connsiteY30" fmla="*/ 65870 h 1994638"/>
                  <a:gd name="connsiteX31" fmla="*/ 10270918 w 11269790"/>
                  <a:gd name="connsiteY31" fmla="*/ 14889 h 1994638"/>
                  <a:gd name="connsiteX32" fmla="*/ 9684627 w 11269790"/>
                  <a:gd name="connsiteY32" fmla="*/ 108364 h 1994638"/>
                  <a:gd name="connsiteX33" fmla="*/ 8783477 w 11269790"/>
                  <a:gd name="connsiteY33" fmla="*/ 201839 h 1994638"/>
                  <a:gd name="connsiteX34" fmla="*/ 7817186 w 11269790"/>
                  <a:gd name="connsiteY34" fmla="*/ 201839 h 1994638"/>
                  <a:gd name="connsiteX35" fmla="*/ 6090896 w 11269790"/>
                  <a:gd name="connsiteY35" fmla="*/ 193333 h 1994638"/>
                  <a:gd name="connsiteX36" fmla="*/ 5005168 w 11269790"/>
                  <a:gd name="connsiteY36" fmla="*/ 65870 h 1994638"/>
                  <a:gd name="connsiteX37" fmla="*/ 3213736 w 11269790"/>
                  <a:gd name="connsiteY37" fmla="*/ 57364 h 1994638"/>
                  <a:gd name="connsiteX38" fmla="*/ 2673914 w 11269790"/>
                  <a:gd name="connsiteY38" fmla="*/ 66415 h 1994638"/>
                  <a:gd name="connsiteX0" fmla="*/ 2598674 w 11194550"/>
                  <a:gd name="connsiteY0" fmla="*/ 66415 h 1994638"/>
                  <a:gd name="connsiteX1" fmla="*/ 174483 w 11194550"/>
                  <a:gd name="connsiteY1" fmla="*/ 915580 h 1994638"/>
                  <a:gd name="connsiteX2" fmla="*/ 196196 w 11194550"/>
                  <a:gd name="connsiteY2" fmla="*/ 1077031 h 1994638"/>
                  <a:gd name="connsiteX3" fmla="*/ 424201 w 11194550"/>
                  <a:gd name="connsiteY3" fmla="*/ 1416926 h 1994638"/>
                  <a:gd name="connsiteX4" fmla="*/ 554483 w 11194550"/>
                  <a:gd name="connsiteY4" fmla="*/ 1595370 h 1994638"/>
                  <a:gd name="connsiteX5" fmla="*/ 608778 w 11194550"/>
                  <a:gd name="connsiteY5" fmla="*/ 1790808 h 1994638"/>
                  <a:gd name="connsiteX6" fmla="*/ 771642 w 11194550"/>
                  <a:gd name="connsiteY6" fmla="*/ 1986246 h 1994638"/>
                  <a:gd name="connsiteX7" fmla="*/ 934506 w 11194550"/>
                  <a:gd name="connsiteY7" fmla="*/ 1858784 h 1994638"/>
                  <a:gd name="connsiteX8" fmla="*/ 956220 w 11194550"/>
                  <a:gd name="connsiteY8" fmla="*/ 1595370 h 1994638"/>
                  <a:gd name="connsiteX9" fmla="*/ 1108215 w 11194550"/>
                  <a:gd name="connsiteY9" fmla="*/ 1510401 h 1994638"/>
                  <a:gd name="connsiteX10" fmla="*/ 1216783 w 11194550"/>
                  <a:gd name="connsiteY10" fmla="*/ 1229994 h 1994638"/>
                  <a:gd name="connsiteX11" fmla="*/ 1325351 w 11194550"/>
                  <a:gd name="connsiteY11" fmla="*/ 873105 h 1994638"/>
                  <a:gd name="connsiteX12" fmla="*/ 1477346 w 11194550"/>
                  <a:gd name="connsiteY12" fmla="*/ 737154 h 1994638"/>
                  <a:gd name="connsiteX13" fmla="*/ 1781337 w 11194550"/>
                  <a:gd name="connsiteY13" fmla="*/ 737154 h 1994638"/>
                  <a:gd name="connsiteX14" fmla="*/ 2356760 w 11194550"/>
                  <a:gd name="connsiteY14" fmla="*/ 754148 h 1994638"/>
                  <a:gd name="connsiteX15" fmla="*/ 3496759 w 11194550"/>
                  <a:gd name="connsiteY15" fmla="*/ 754148 h 1994638"/>
                  <a:gd name="connsiteX16" fmla="*/ 4191618 w 11194550"/>
                  <a:gd name="connsiteY16" fmla="*/ 788136 h 1994638"/>
                  <a:gd name="connsiteX17" fmla="*/ 4647628 w 11194550"/>
                  <a:gd name="connsiteY17" fmla="*/ 728648 h 1994638"/>
                  <a:gd name="connsiteX18" fmla="*/ 5125350 w 11194550"/>
                  <a:gd name="connsiteY18" fmla="*/ 728648 h 1994638"/>
                  <a:gd name="connsiteX19" fmla="*/ 5896219 w 11194550"/>
                  <a:gd name="connsiteY19" fmla="*/ 771142 h 1994638"/>
                  <a:gd name="connsiteX20" fmla="*/ 6775655 w 11194550"/>
                  <a:gd name="connsiteY20" fmla="*/ 754148 h 1994638"/>
                  <a:gd name="connsiteX21" fmla="*/ 7405373 w 11194550"/>
                  <a:gd name="connsiteY21" fmla="*/ 762654 h 1994638"/>
                  <a:gd name="connsiteX22" fmla="*/ 8241383 w 11194550"/>
                  <a:gd name="connsiteY22" fmla="*/ 762654 h 1994638"/>
                  <a:gd name="connsiteX23" fmla="*/ 9305396 w 11194550"/>
                  <a:gd name="connsiteY23" fmla="*/ 788154 h 1994638"/>
                  <a:gd name="connsiteX24" fmla="*/ 10054551 w 11194550"/>
                  <a:gd name="connsiteY24" fmla="*/ 779648 h 1994638"/>
                  <a:gd name="connsiteX25" fmla="*/ 10586546 w 11194550"/>
                  <a:gd name="connsiteY25" fmla="*/ 771142 h 1994638"/>
                  <a:gd name="connsiteX26" fmla="*/ 11064269 w 11194550"/>
                  <a:gd name="connsiteY26" fmla="*/ 737154 h 1994638"/>
                  <a:gd name="connsiteX27" fmla="*/ 11194550 w 11194550"/>
                  <a:gd name="connsiteY27" fmla="*/ 754148 h 1994638"/>
                  <a:gd name="connsiteX28" fmla="*/ 11194550 w 11194550"/>
                  <a:gd name="connsiteY28" fmla="*/ 133791 h 1994638"/>
                  <a:gd name="connsiteX29" fmla="*/ 11009974 w 11194550"/>
                  <a:gd name="connsiteY29" fmla="*/ 65870 h 1994638"/>
                  <a:gd name="connsiteX30" fmla="*/ 10195678 w 11194550"/>
                  <a:gd name="connsiteY30" fmla="*/ 14889 h 1994638"/>
                  <a:gd name="connsiteX31" fmla="*/ 9609387 w 11194550"/>
                  <a:gd name="connsiteY31" fmla="*/ 108364 h 1994638"/>
                  <a:gd name="connsiteX32" fmla="*/ 8708237 w 11194550"/>
                  <a:gd name="connsiteY32" fmla="*/ 201839 h 1994638"/>
                  <a:gd name="connsiteX33" fmla="*/ 7741946 w 11194550"/>
                  <a:gd name="connsiteY33" fmla="*/ 201839 h 1994638"/>
                  <a:gd name="connsiteX34" fmla="*/ 6015656 w 11194550"/>
                  <a:gd name="connsiteY34" fmla="*/ 193333 h 1994638"/>
                  <a:gd name="connsiteX35" fmla="*/ 4929928 w 11194550"/>
                  <a:gd name="connsiteY35" fmla="*/ 65870 h 1994638"/>
                  <a:gd name="connsiteX36" fmla="*/ 3138496 w 11194550"/>
                  <a:gd name="connsiteY36" fmla="*/ 57364 h 1994638"/>
                  <a:gd name="connsiteX37" fmla="*/ 2598674 w 11194550"/>
                  <a:gd name="connsiteY37" fmla="*/ 66415 h 1994638"/>
                  <a:gd name="connsiteX0" fmla="*/ 2523012 w 11118888"/>
                  <a:gd name="connsiteY0" fmla="*/ 66415 h 1994638"/>
                  <a:gd name="connsiteX1" fmla="*/ 2391070 w 11118888"/>
                  <a:gd name="connsiteY1" fmla="*/ 622730 h 1994638"/>
                  <a:gd name="connsiteX2" fmla="*/ 120534 w 11118888"/>
                  <a:gd name="connsiteY2" fmla="*/ 1077031 h 1994638"/>
                  <a:gd name="connsiteX3" fmla="*/ 348539 w 11118888"/>
                  <a:gd name="connsiteY3" fmla="*/ 1416926 h 1994638"/>
                  <a:gd name="connsiteX4" fmla="*/ 478821 w 11118888"/>
                  <a:gd name="connsiteY4" fmla="*/ 1595370 h 1994638"/>
                  <a:gd name="connsiteX5" fmla="*/ 533116 w 11118888"/>
                  <a:gd name="connsiteY5" fmla="*/ 1790808 h 1994638"/>
                  <a:gd name="connsiteX6" fmla="*/ 695980 w 11118888"/>
                  <a:gd name="connsiteY6" fmla="*/ 1986246 h 1994638"/>
                  <a:gd name="connsiteX7" fmla="*/ 858844 w 11118888"/>
                  <a:gd name="connsiteY7" fmla="*/ 1858784 h 1994638"/>
                  <a:gd name="connsiteX8" fmla="*/ 880558 w 11118888"/>
                  <a:gd name="connsiteY8" fmla="*/ 1595370 h 1994638"/>
                  <a:gd name="connsiteX9" fmla="*/ 1032553 w 11118888"/>
                  <a:gd name="connsiteY9" fmla="*/ 1510401 h 1994638"/>
                  <a:gd name="connsiteX10" fmla="*/ 1141121 w 11118888"/>
                  <a:gd name="connsiteY10" fmla="*/ 1229994 h 1994638"/>
                  <a:gd name="connsiteX11" fmla="*/ 1249689 w 11118888"/>
                  <a:gd name="connsiteY11" fmla="*/ 873105 h 1994638"/>
                  <a:gd name="connsiteX12" fmla="*/ 1401684 w 11118888"/>
                  <a:gd name="connsiteY12" fmla="*/ 737154 h 1994638"/>
                  <a:gd name="connsiteX13" fmla="*/ 1705675 w 11118888"/>
                  <a:gd name="connsiteY13" fmla="*/ 737154 h 1994638"/>
                  <a:gd name="connsiteX14" fmla="*/ 2281098 w 11118888"/>
                  <a:gd name="connsiteY14" fmla="*/ 754148 h 1994638"/>
                  <a:gd name="connsiteX15" fmla="*/ 3421097 w 11118888"/>
                  <a:gd name="connsiteY15" fmla="*/ 754148 h 1994638"/>
                  <a:gd name="connsiteX16" fmla="*/ 4115956 w 11118888"/>
                  <a:gd name="connsiteY16" fmla="*/ 788136 h 1994638"/>
                  <a:gd name="connsiteX17" fmla="*/ 4571966 w 11118888"/>
                  <a:gd name="connsiteY17" fmla="*/ 728648 h 1994638"/>
                  <a:gd name="connsiteX18" fmla="*/ 5049688 w 11118888"/>
                  <a:gd name="connsiteY18" fmla="*/ 728648 h 1994638"/>
                  <a:gd name="connsiteX19" fmla="*/ 5820557 w 11118888"/>
                  <a:gd name="connsiteY19" fmla="*/ 771142 h 1994638"/>
                  <a:gd name="connsiteX20" fmla="*/ 6699993 w 11118888"/>
                  <a:gd name="connsiteY20" fmla="*/ 754148 h 1994638"/>
                  <a:gd name="connsiteX21" fmla="*/ 7329711 w 11118888"/>
                  <a:gd name="connsiteY21" fmla="*/ 762654 h 1994638"/>
                  <a:gd name="connsiteX22" fmla="*/ 8165721 w 11118888"/>
                  <a:gd name="connsiteY22" fmla="*/ 762654 h 1994638"/>
                  <a:gd name="connsiteX23" fmla="*/ 9229734 w 11118888"/>
                  <a:gd name="connsiteY23" fmla="*/ 788154 h 1994638"/>
                  <a:gd name="connsiteX24" fmla="*/ 9978889 w 11118888"/>
                  <a:gd name="connsiteY24" fmla="*/ 779648 h 1994638"/>
                  <a:gd name="connsiteX25" fmla="*/ 10510884 w 11118888"/>
                  <a:gd name="connsiteY25" fmla="*/ 771142 h 1994638"/>
                  <a:gd name="connsiteX26" fmla="*/ 10988607 w 11118888"/>
                  <a:gd name="connsiteY26" fmla="*/ 737154 h 1994638"/>
                  <a:gd name="connsiteX27" fmla="*/ 11118888 w 11118888"/>
                  <a:gd name="connsiteY27" fmla="*/ 754148 h 1994638"/>
                  <a:gd name="connsiteX28" fmla="*/ 11118888 w 11118888"/>
                  <a:gd name="connsiteY28" fmla="*/ 133791 h 1994638"/>
                  <a:gd name="connsiteX29" fmla="*/ 10934312 w 11118888"/>
                  <a:gd name="connsiteY29" fmla="*/ 65870 h 1994638"/>
                  <a:gd name="connsiteX30" fmla="*/ 10120016 w 11118888"/>
                  <a:gd name="connsiteY30" fmla="*/ 14889 h 1994638"/>
                  <a:gd name="connsiteX31" fmla="*/ 9533725 w 11118888"/>
                  <a:gd name="connsiteY31" fmla="*/ 108364 h 1994638"/>
                  <a:gd name="connsiteX32" fmla="*/ 8632575 w 11118888"/>
                  <a:gd name="connsiteY32" fmla="*/ 201839 h 1994638"/>
                  <a:gd name="connsiteX33" fmla="*/ 7666284 w 11118888"/>
                  <a:gd name="connsiteY33" fmla="*/ 201839 h 1994638"/>
                  <a:gd name="connsiteX34" fmla="*/ 5939994 w 11118888"/>
                  <a:gd name="connsiteY34" fmla="*/ 193333 h 1994638"/>
                  <a:gd name="connsiteX35" fmla="*/ 4854266 w 11118888"/>
                  <a:gd name="connsiteY35" fmla="*/ 65870 h 1994638"/>
                  <a:gd name="connsiteX36" fmla="*/ 3062834 w 11118888"/>
                  <a:gd name="connsiteY36" fmla="*/ 57364 h 1994638"/>
                  <a:gd name="connsiteX37" fmla="*/ 2523012 w 11118888"/>
                  <a:gd name="connsiteY37" fmla="*/ 66415 h 1994638"/>
                  <a:gd name="connsiteX0" fmla="*/ 2523012 w 11118888"/>
                  <a:gd name="connsiteY0" fmla="*/ 66415 h 1994638"/>
                  <a:gd name="connsiteX1" fmla="*/ 2391070 w 11118888"/>
                  <a:gd name="connsiteY1" fmla="*/ 622730 h 1994638"/>
                  <a:gd name="connsiteX2" fmla="*/ 120534 w 11118888"/>
                  <a:gd name="connsiteY2" fmla="*/ 1077031 h 1994638"/>
                  <a:gd name="connsiteX3" fmla="*/ 348539 w 11118888"/>
                  <a:gd name="connsiteY3" fmla="*/ 1416926 h 1994638"/>
                  <a:gd name="connsiteX4" fmla="*/ 478821 w 11118888"/>
                  <a:gd name="connsiteY4" fmla="*/ 1595370 h 1994638"/>
                  <a:gd name="connsiteX5" fmla="*/ 533116 w 11118888"/>
                  <a:gd name="connsiteY5" fmla="*/ 1790808 h 1994638"/>
                  <a:gd name="connsiteX6" fmla="*/ 695980 w 11118888"/>
                  <a:gd name="connsiteY6" fmla="*/ 1986246 h 1994638"/>
                  <a:gd name="connsiteX7" fmla="*/ 858844 w 11118888"/>
                  <a:gd name="connsiteY7" fmla="*/ 1858784 h 1994638"/>
                  <a:gd name="connsiteX8" fmla="*/ 880558 w 11118888"/>
                  <a:gd name="connsiteY8" fmla="*/ 1595370 h 1994638"/>
                  <a:gd name="connsiteX9" fmla="*/ 1032553 w 11118888"/>
                  <a:gd name="connsiteY9" fmla="*/ 1510401 h 1994638"/>
                  <a:gd name="connsiteX10" fmla="*/ 1141121 w 11118888"/>
                  <a:gd name="connsiteY10" fmla="*/ 1229994 h 1994638"/>
                  <a:gd name="connsiteX11" fmla="*/ 1249689 w 11118888"/>
                  <a:gd name="connsiteY11" fmla="*/ 873105 h 1994638"/>
                  <a:gd name="connsiteX12" fmla="*/ 1401684 w 11118888"/>
                  <a:gd name="connsiteY12" fmla="*/ 737154 h 1994638"/>
                  <a:gd name="connsiteX13" fmla="*/ 1705675 w 11118888"/>
                  <a:gd name="connsiteY13" fmla="*/ 737154 h 1994638"/>
                  <a:gd name="connsiteX14" fmla="*/ 2281098 w 11118888"/>
                  <a:gd name="connsiteY14" fmla="*/ 754148 h 1994638"/>
                  <a:gd name="connsiteX15" fmla="*/ 3421097 w 11118888"/>
                  <a:gd name="connsiteY15" fmla="*/ 754148 h 1994638"/>
                  <a:gd name="connsiteX16" fmla="*/ 4115956 w 11118888"/>
                  <a:gd name="connsiteY16" fmla="*/ 788136 h 1994638"/>
                  <a:gd name="connsiteX17" fmla="*/ 4571966 w 11118888"/>
                  <a:gd name="connsiteY17" fmla="*/ 728648 h 1994638"/>
                  <a:gd name="connsiteX18" fmla="*/ 5049688 w 11118888"/>
                  <a:gd name="connsiteY18" fmla="*/ 728648 h 1994638"/>
                  <a:gd name="connsiteX19" fmla="*/ 5820557 w 11118888"/>
                  <a:gd name="connsiteY19" fmla="*/ 771142 h 1994638"/>
                  <a:gd name="connsiteX20" fmla="*/ 6699993 w 11118888"/>
                  <a:gd name="connsiteY20" fmla="*/ 754148 h 1994638"/>
                  <a:gd name="connsiteX21" fmla="*/ 7329711 w 11118888"/>
                  <a:gd name="connsiteY21" fmla="*/ 762654 h 1994638"/>
                  <a:gd name="connsiteX22" fmla="*/ 8165721 w 11118888"/>
                  <a:gd name="connsiteY22" fmla="*/ 762654 h 1994638"/>
                  <a:gd name="connsiteX23" fmla="*/ 9229734 w 11118888"/>
                  <a:gd name="connsiteY23" fmla="*/ 788154 h 1994638"/>
                  <a:gd name="connsiteX24" fmla="*/ 9978889 w 11118888"/>
                  <a:gd name="connsiteY24" fmla="*/ 779648 h 1994638"/>
                  <a:gd name="connsiteX25" fmla="*/ 10510884 w 11118888"/>
                  <a:gd name="connsiteY25" fmla="*/ 771142 h 1994638"/>
                  <a:gd name="connsiteX26" fmla="*/ 10988607 w 11118888"/>
                  <a:gd name="connsiteY26" fmla="*/ 737154 h 1994638"/>
                  <a:gd name="connsiteX27" fmla="*/ 11118888 w 11118888"/>
                  <a:gd name="connsiteY27" fmla="*/ 754148 h 1994638"/>
                  <a:gd name="connsiteX28" fmla="*/ 11118888 w 11118888"/>
                  <a:gd name="connsiteY28" fmla="*/ 133791 h 1994638"/>
                  <a:gd name="connsiteX29" fmla="*/ 10934312 w 11118888"/>
                  <a:gd name="connsiteY29" fmla="*/ 65870 h 1994638"/>
                  <a:gd name="connsiteX30" fmla="*/ 10120016 w 11118888"/>
                  <a:gd name="connsiteY30" fmla="*/ 14889 h 1994638"/>
                  <a:gd name="connsiteX31" fmla="*/ 9533725 w 11118888"/>
                  <a:gd name="connsiteY31" fmla="*/ 108364 h 1994638"/>
                  <a:gd name="connsiteX32" fmla="*/ 8632575 w 11118888"/>
                  <a:gd name="connsiteY32" fmla="*/ 201839 h 1994638"/>
                  <a:gd name="connsiteX33" fmla="*/ 7666284 w 11118888"/>
                  <a:gd name="connsiteY33" fmla="*/ 201839 h 1994638"/>
                  <a:gd name="connsiteX34" fmla="*/ 5939994 w 11118888"/>
                  <a:gd name="connsiteY34" fmla="*/ 193333 h 1994638"/>
                  <a:gd name="connsiteX35" fmla="*/ 4854266 w 11118888"/>
                  <a:gd name="connsiteY35" fmla="*/ 65870 h 1994638"/>
                  <a:gd name="connsiteX36" fmla="*/ 3062834 w 11118888"/>
                  <a:gd name="connsiteY36" fmla="*/ 57364 h 1994638"/>
                  <a:gd name="connsiteX37" fmla="*/ 2523012 w 11118888"/>
                  <a:gd name="connsiteY37" fmla="*/ 66415 h 1994638"/>
                  <a:gd name="connsiteX0" fmla="*/ 2532379 w 11128255"/>
                  <a:gd name="connsiteY0" fmla="*/ 66415 h 1994638"/>
                  <a:gd name="connsiteX1" fmla="*/ 129901 w 11128255"/>
                  <a:gd name="connsiteY1" fmla="*/ 1077031 h 1994638"/>
                  <a:gd name="connsiteX2" fmla="*/ 357906 w 11128255"/>
                  <a:gd name="connsiteY2" fmla="*/ 1416926 h 1994638"/>
                  <a:gd name="connsiteX3" fmla="*/ 488188 w 11128255"/>
                  <a:gd name="connsiteY3" fmla="*/ 1595370 h 1994638"/>
                  <a:gd name="connsiteX4" fmla="*/ 542483 w 11128255"/>
                  <a:gd name="connsiteY4" fmla="*/ 1790808 h 1994638"/>
                  <a:gd name="connsiteX5" fmla="*/ 705347 w 11128255"/>
                  <a:gd name="connsiteY5" fmla="*/ 1986246 h 1994638"/>
                  <a:gd name="connsiteX6" fmla="*/ 868211 w 11128255"/>
                  <a:gd name="connsiteY6" fmla="*/ 1858784 h 1994638"/>
                  <a:gd name="connsiteX7" fmla="*/ 889925 w 11128255"/>
                  <a:gd name="connsiteY7" fmla="*/ 1595370 h 1994638"/>
                  <a:gd name="connsiteX8" fmla="*/ 1041920 w 11128255"/>
                  <a:gd name="connsiteY8" fmla="*/ 1510401 h 1994638"/>
                  <a:gd name="connsiteX9" fmla="*/ 1150488 w 11128255"/>
                  <a:gd name="connsiteY9" fmla="*/ 1229994 h 1994638"/>
                  <a:gd name="connsiteX10" fmla="*/ 1259056 w 11128255"/>
                  <a:gd name="connsiteY10" fmla="*/ 873105 h 1994638"/>
                  <a:gd name="connsiteX11" fmla="*/ 1411051 w 11128255"/>
                  <a:gd name="connsiteY11" fmla="*/ 737154 h 1994638"/>
                  <a:gd name="connsiteX12" fmla="*/ 1715042 w 11128255"/>
                  <a:gd name="connsiteY12" fmla="*/ 737154 h 1994638"/>
                  <a:gd name="connsiteX13" fmla="*/ 2290465 w 11128255"/>
                  <a:gd name="connsiteY13" fmla="*/ 754148 h 1994638"/>
                  <a:gd name="connsiteX14" fmla="*/ 3430464 w 11128255"/>
                  <a:gd name="connsiteY14" fmla="*/ 754148 h 1994638"/>
                  <a:gd name="connsiteX15" fmla="*/ 4125323 w 11128255"/>
                  <a:gd name="connsiteY15" fmla="*/ 788136 h 1994638"/>
                  <a:gd name="connsiteX16" fmla="*/ 4581333 w 11128255"/>
                  <a:gd name="connsiteY16" fmla="*/ 728648 h 1994638"/>
                  <a:gd name="connsiteX17" fmla="*/ 5059055 w 11128255"/>
                  <a:gd name="connsiteY17" fmla="*/ 728648 h 1994638"/>
                  <a:gd name="connsiteX18" fmla="*/ 5829924 w 11128255"/>
                  <a:gd name="connsiteY18" fmla="*/ 771142 h 1994638"/>
                  <a:gd name="connsiteX19" fmla="*/ 6709360 w 11128255"/>
                  <a:gd name="connsiteY19" fmla="*/ 754148 h 1994638"/>
                  <a:gd name="connsiteX20" fmla="*/ 7339078 w 11128255"/>
                  <a:gd name="connsiteY20" fmla="*/ 762654 h 1994638"/>
                  <a:gd name="connsiteX21" fmla="*/ 8175088 w 11128255"/>
                  <a:gd name="connsiteY21" fmla="*/ 762654 h 1994638"/>
                  <a:gd name="connsiteX22" fmla="*/ 9239101 w 11128255"/>
                  <a:gd name="connsiteY22" fmla="*/ 788154 h 1994638"/>
                  <a:gd name="connsiteX23" fmla="*/ 9988256 w 11128255"/>
                  <a:gd name="connsiteY23" fmla="*/ 779648 h 1994638"/>
                  <a:gd name="connsiteX24" fmla="*/ 10520251 w 11128255"/>
                  <a:gd name="connsiteY24" fmla="*/ 771142 h 1994638"/>
                  <a:gd name="connsiteX25" fmla="*/ 10997974 w 11128255"/>
                  <a:gd name="connsiteY25" fmla="*/ 737154 h 1994638"/>
                  <a:gd name="connsiteX26" fmla="*/ 11128255 w 11128255"/>
                  <a:gd name="connsiteY26" fmla="*/ 754148 h 1994638"/>
                  <a:gd name="connsiteX27" fmla="*/ 11128255 w 11128255"/>
                  <a:gd name="connsiteY27" fmla="*/ 133791 h 1994638"/>
                  <a:gd name="connsiteX28" fmla="*/ 10943679 w 11128255"/>
                  <a:gd name="connsiteY28" fmla="*/ 65870 h 1994638"/>
                  <a:gd name="connsiteX29" fmla="*/ 10129383 w 11128255"/>
                  <a:gd name="connsiteY29" fmla="*/ 14889 h 1994638"/>
                  <a:gd name="connsiteX30" fmla="*/ 9543092 w 11128255"/>
                  <a:gd name="connsiteY30" fmla="*/ 108364 h 1994638"/>
                  <a:gd name="connsiteX31" fmla="*/ 8641942 w 11128255"/>
                  <a:gd name="connsiteY31" fmla="*/ 201839 h 1994638"/>
                  <a:gd name="connsiteX32" fmla="*/ 7675651 w 11128255"/>
                  <a:gd name="connsiteY32" fmla="*/ 201839 h 1994638"/>
                  <a:gd name="connsiteX33" fmla="*/ 5949361 w 11128255"/>
                  <a:gd name="connsiteY33" fmla="*/ 193333 h 1994638"/>
                  <a:gd name="connsiteX34" fmla="*/ 4863633 w 11128255"/>
                  <a:gd name="connsiteY34" fmla="*/ 65870 h 1994638"/>
                  <a:gd name="connsiteX35" fmla="*/ 3072201 w 11128255"/>
                  <a:gd name="connsiteY35" fmla="*/ 57364 h 1994638"/>
                  <a:gd name="connsiteX36" fmla="*/ 2532379 w 11128255"/>
                  <a:gd name="connsiteY36" fmla="*/ 66415 h 1994638"/>
                  <a:gd name="connsiteX0" fmla="*/ 2290884 w 10886760"/>
                  <a:gd name="connsiteY0" fmla="*/ 66415 h 1994638"/>
                  <a:gd name="connsiteX1" fmla="*/ 2173324 w 10886760"/>
                  <a:gd name="connsiteY1" fmla="*/ 625754 h 1994638"/>
                  <a:gd name="connsiteX2" fmla="*/ 116411 w 10886760"/>
                  <a:gd name="connsiteY2" fmla="*/ 1416926 h 1994638"/>
                  <a:gd name="connsiteX3" fmla="*/ 246693 w 10886760"/>
                  <a:gd name="connsiteY3" fmla="*/ 1595370 h 1994638"/>
                  <a:gd name="connsiteX4" fmla="*/ 300988 w 10886760"/>
                  <a:gd name="connsiteY4" fmla="*/ 1790808 h 1994638"/>
                  <a:gd name="connsiteX5" fmla="*/ 463852 w 10886760"/>
                  <a:gd name="connsiteY5" fmla="*/ 1986246 h 1994638"/>
                  <a:gd name="connsiteX6" fmla="*/ 626716 w 10886760"/>
                  <a:gd name="connsiteY6" fmla="*/ 1858784 h 1994638"/>
                  <a:gd name="connsiteX7" fmla="*/ 648430 w 10886760"/>
                  <a:gd name="connsiteY7" fmla="*/ 1595370 h 1994638"/>
                  <a:gd name="connsiteX8" fmla="*/ 800425 w 10886760"/>
                  <a:gd name="connsiteY8" fmla="*/ 1510401 h 1994638"/>
                  <a:gd name="connsiteX9" fmla="*/ 908993 w 10886760"/>
                  <a:gd name="connsiteY9" fmla="*/ 1229994 h 1994638"/>
                  <a:gd name="connsiteX10" fmla="*/ 1017561 w 10886760"/>
                  <a:gd name="connsiteY10" fmla="*/ 873105 h 1994638"/>
                  <a:gd name="connsiteX11" fmla="*/ 1169556 w 10886760"/>
                  <a:gd name="connsiteY11" fmla="*/ 737154 h 1994638"/>
                  <a:gd name="connsiteX12" fmla="*/ 1473547 w 10886760"/>
                  <a:gd name="connsiteY12" fmla="*/ 737154 h 1994638"/>
                  <a:gd name="connsiteX13" fmla="*/ 2048970 w 10886760"/>
                  <a:gd name="connsiteY13" fmla="*/ 754148 h 1994638"/>
                  <a:gd name="connsiteX14" fmla="*/ 3188969 w 10886760"/>
                  <a:gd name="connsiteY14" fmla="*/ 754148 h 1994638"/>
                  <a:gd name="connsiteX15" fmla="*/ 3883828 w 10886760"/>
                  <a:gd name="connsiteY15" fmla="*/ 788136 h 1994638"/>
                  <a:gd name="connsiteX16" fmla="*/ 4339838 w 10886760"/>
                  <a:gd name="connsiteY16" fmla="*/ 728648 h 1994638"/>
                  <a:gd name="connsiteX17" fmla="*/ 4817560 w 10886760"/>
                  <a:gd name="connsiteY17" fmla="*/ 728648 h 1994638"/>
                  <a:gd name="connsiteX18" fmla="*/ 5588429 w 10886760"/>
                  <a:gd name="connsiteY18" fmla="*/ 771142 h 1994638"/>
                  <a:gd name="connsiteX19" fmla="*/ 6467865 w 10886760"/>
                  <a:gd name="connsiteY19" fmla="*/ 754148 h 1994638"/>
                  <a:gd name="connsiteX20" fmla="*/ 7097583 w 10886760"/>
                  <a:gd name="connsiteY20" fmla="*/ 762654 h 1994638"/>
                  <a:gd name="connsiteX21" fmla="*/ 7933593 w 10886760"/>
                  <a:gd name="connsiteY21" fmla="*/ 762654 h 1994638"/>
                  <a:gd name="connsiteX22" fmla="*/ 8997606 w 10886760"/>
                  <a:gd name="connsiteY22" fmla="*/ 788154 h 1994638"/>
                  <a:gd name="connsiteX23" fmla="*/ 9746761 w 10886760"/>
                  <a:gd name="connsiteY23" fmla="*/ 779648 h 1994638"/>
                  <a:gd name="connsiteX24" fmla="*/ 10278756 w 10886760"/>
                  <a:gd name="connsiteY24" fmla="*/ 771142 h 1994638"/>
                  <a:gd name="connsiteX25" fmla="*/ 10756479 w 10886760"/>
                  <a:gd name="connsiteY25" fmla="*/ 737154 h 1994638"/>
                  <a:gd name="connsiteX26" fmla="*/ 10886760 w 10886760"/>
                  <a:gd name="connsiteY26" fmla="*/ 754148 h 1994638"/>
                  <a:gd name="connsiteX27" fmla="*/ 10886760 w 10886760"/>
                  <a:gd name="connsiteY27" fmla="*/ 133791 h 1994638"/>
                  <a:gd name="connsiteX28" fmla="*/ 10702184 w 10886760"/>
                  <a:gd name="connsiteY28" fmla="*/ 65870 h 1994638"/>
                  <a:gd name="connsiteX29" fmla="*/ 9887888 w 10886760"/>
                  <a:gd name="connsiteY29" fmla="*/ 14889 h 1994638"/>
                  <a:gd name="connsiteX30" fmla="*/ 9301597 w 10886760"/>
                  <a:gd name="connsiteY30" fmla="*/ 108364 h 1994638"/>
                  <a:gd name="connsiteX31" fmla="*/ 8400447 w 10886760"/>
                  <a:gd name="connsiteY31" fmla="*/ 201839 h 1994638"/>
                  <a:gd name="connsiteX32" fmla="*/ 7434156 w 10886760"/>
                  <a:gd name="connsiteY32" fmla="*/ 201839 h 1994638"/>
                  <a:gd name="connsiteX33" fmla="*/ 5707866 w 10886760"/>
                  <a:gd name="connsiteY33" fmla="*/ 193333 h 1994638"/>
                  <a:gd name="connsiteX34" fmla="*/ 4622138 w 10886760"/>
                  <a:gd name="connsiteY34" fmla="*/ 65870 h 1994638"/>
                  <a:gd name="connsiteX35" fmla="*/ 2830706 w 10886760"/>
                  <a:gd name="connsiteY35" fmla="*/ 57364 h 1994638"/>
                  <a:gd name="connsiteX36" fmla="*/ 2290884 w 10886760"/>
                  <a:gd name="connsiteY36" fmla="*/ 66415 h 1994638"/>
                  <a:gd name="connsiteX0" fmla="*/ 2179017 w 10774893"/>
                  <a:gd name="connsiteY0" fmla="*/ 66415 h 1994638"/>
                  <a:gd name="connsiteX1" fmla="*/ 2061457 w 10774893"/>
                  <a:gd name="connsiteY1" fmla="*/ 625754 h 1994638"/>
                  <a:gd name="connsiteX2" fmla="*/ 134826 w 10774893"/>
                  <a:gd name="connsiteY2" fmla="*/ 1595370 h 1994638"/>
                  <a:gd name="connsiteX3" fmla="*/ 189121 w 10774893"/>
                  <a:gd name="connsiteY3" fmla="*/ 1790808 h 1994638"/>
                  <a:gd name="connsiteX4" fmla="*/ 351985 w 10774893"/>
                  <a:gd name="connsiteY4" fmla="*/ 1986246 h 1994638"/>
                  <a:gd name="connsiteX5" fmla="*/ 514849 w 10774893"/>
                  <a:gd name="connsiteY5" fmla="*/ 1858784 h 1994638"/>
                  <a:gd name="connsiteX6" fmla="*/ 536563 w 10774893"/>
                  <a:gd name="connsiteY6" fmla="*/ 1595370 h 1994638"/>
                  <a:gd name="connsiteX7" fmla="*/ 688558 w 10774893"/>
                  <a:gd name="connsiteY7" fmla="*/ 1510401 h 1994638"/>
                  <a:gd name="connsiteX8" fmla="*/ 797126 w 10774893"/>
                  <a:gd name="connsiteY8" fmla="*/ 1229994 h 1994638"/>
                  <a:gd name="connsiteX9" fmla="*/ 905694 w 10774893"/>
                  <a:gd name="connsiteY9" fmla="*/ 873105 h 1994638"/>
                  <a:gd name="connsiteX10" fmla="*/ 1057689 w 10774893"/>
                  <a:gd name="connsiteY10" fmla="*/ 737154 h 1994638"/>
                  <a:gd name="connsiteX11" fmla="*/ 1361680 w 10774893"/>
                  <a:gd name="connsiteY11" fmla="*/ 737154 h 1994638"/>
                  <a:gd name="connsiteX12" fmla="*/ 1937103 w 10774893"/>
                  <a:gd name="connsiteY12" fmla="*/ 754148 h 1994638"/>
                  <a:gd name="connsiteX13" fmla="*/ 3077102 w 10774893"/>
                  <a:gd name="connsiteY13" fmla="*/ 754148 h 1994638"/>
                  <a:gd name="connsiteX14" fmla="*/ 3771961 w 10774893"/>
                  <a:gd name="connsiteY14" fmla="*/ 788136 h 1994638"/>
                  <a:gd name="connsiteX15" fmla="*/ 4227971 w 10774893"/>
                  <a:gd name="connsiteY15" fmla="*/ 728648 h 1994638"/>
                  <a:gd name="connsiteX16" fmla="*/ 4705693 w 10774893"/>
                  <a:gd name="connsiteY16" fmla="*/ 728648 h 1994638"/>
                  <a:gd name="connsiteX17" fmla="*/ 5476562 w 10774893"/>
                  <a:gd name="connsiteY17" fmla="*/ 771142 h 1994638"/>
                  <a:gd name="connsiteX18" fmla="*/ 6355998 w 10774893"/>
                  <a:gd name="connsiteY18" fmla="*/ 754148 h 1994638"/>
                  <a:gd name="connsiteX19" fmla="*/ 6985716 w 10774893"/>
                  <a:gd name="connsiteY19" fmla="*/ 762654 h 1994638"/>
                  <a:gd name="connsiteX20" fmla="*/ 7821726 w 10774893"/>
                  <a:gd name="connsiteY20" fmla="*/ 762654 h 1994638"/>
                  <a:gd name="connsiteX21" fmla="*/ 8885739 w 10774893"/>
                  <a:gd name="connsiteY21" fmla="*/ 788154 h 1994638"/>
                  <a:gd name="connsiteX22" fmla="*/ 9634894 w 10774893"/>
                  <a:gd name="connsiteY22" fmla="*/ 779648 h 1994638"/>
                  <a:gd name="connsiteX23" fmla="*/ 10166889 w 10774893"/>
                  <a:gd name="connsiteY23" fmla="*/ 771142 h 1994638"/>
                  <a:gd name="connsiteX24" fmla="*/ 10644612 w 10774893"/>
                  <a:gd name="connsiteY24" fmla="*/ 737154 h 1994638"/>
                  <a:gd name="connsiteX25" fmla="*/ 10774893 w 10774893"/>
                  <a:gd name="connsiteY25" fmla="*/ 754148 h 1994638"/>
                  <a:gd name="connsiteX26" fmla="*/ 10774893 w 10774893"/>
                  <a:gd name="connsiteY26" fmla="*/ 133791 h 1994638"/>
                  <a:gd name="connsiteX27" fmla="*/ 10590317 w 10774893"/>
                  <a:gd name="connsiteY27" fmla="*/ 65870 h 1994638"/>
                  <a:gd name="connsiteX28" fmla="*/ 9776021 w 10774893"/>
                  <a:gd name="connsiteY28" fmla="*/ 14889 h 1994638"/>
                  <a:gd name="connsiteX29" fmla="*/ 9189730 w 10774893"/>
                  <a:gd name="connsiteY29" fmla="*/ 108364 h 1994638"/>
                  <a:gd name="connsiteX30" fmla="*/ 8288580 w 10774893"/>
                  <a:gd name="connsiteY30" fmla="*/ 201839 h 1994638"/>
                  <a:gd name="connsiteX31" fmla="*/ 7322289 w 10774893"/>
                  <a:gd name="connsiteY31" fmla="*/ 201839 h 1994638"/>
                  <a:gd name="connsiteX32" fmla="*/ 5595999 w 10774893"/>
                  <a:gd name="connsiteY32" fmla="*/ 193333 h 1994638"/>
                  <a:gd name="connsiteX33" fmla="*/ 4510271 w 10774893"/>
                  <a:gd name="connsiteY33" fmla="*/ 65870 h 1994638"/>
                  <a:gd name="connsiteX34" fmla="*/ 2718839 w 10774893"/>
                  <a:gd name="connsiteY34" fmla="*/ 57364 h 1994638"/>
                  <a:gd name="connsiteX35" fmla="*/ 2179017 w 10774893"/>
                  <a:gd name="connsiteY35" fmla="*/ 66415 h 1994638"/>
                  <a:gd name="connsiteX0" fmla="*/ 2100767 w 10696643"/>
                  <a:gd name="connsiteY0" fmla="*/ 66415 h 2006207"/>
                  <a:gd name="connsiteX1" fmla="*/ 1983207 w 10696643"/>
                  <a:gd name="connsiteY1" fmla="*/ 625754 h 2006207"/>
                  <a:gd name="connsiteX2" fmla="*/ 110871 w 10696643"/>
                  <a:gd name="connsiteY2" fmla="*/ 1790808 h 2006207"/>
                  <a:gd name="connsiteX3" fmla="*/ 273735 w 10696643"/>
                  <a:gd name="connsiteY3" fmla="*/ 1986246 h 2006207"/>
                  <a:gd name="connsiteX4" fmla="*/ 436599 w 10696643"/>
                  <a:gd name="connsiteY4" fmla="*/ 1858784 h 2006207"/>
                  <a:gd name="connsiteX5" fmla="*/ 458313 w 10696643"/>
                  <a:gd name="connsiteY5" fmla="*/ 1595370 h 2006207"/>
                  <a:gd name="connsiteX6" fmla="*/ 610308 w 10696643"/>
                  <a:gd name="connsiteY6" fmla="*/ 1510401 h 2006207"/>
                  <a:gd name="connsiteX7" fmla="*/ 718876 w 10696643"/>
                  <a:gd name="connsiteY7" fmla="*/ 1229994 h 2006207"/>
                  <a:gd name="connsiteX8" fmla="*/ 827444 w 10696643"/>
                  <a:gd name="connsiteY8" fmla="*/ 873105 h 2006207"/>
                  <a:gd name="connsiteX9" fmla="*/ 979439 w 10696643"/>
                  <a:gd name="connsiteY9" fmla="*/ 737154 h 2006207"/>
                  <a:gd name="connsiteX10" fmla="*/ 1283430 w 10696643"/>
                  <a:gd name="connsiteY10" fmla="*/ 737154 h 2006207"/>
                  <a:gd name="connsiteX11" fmla="*/ 1858853 w 10696643"/>
                  <a:gd name="connsiteY11" fmla="*/ 754148 h 2006207"/>
                  <a:gd name="connsiteX12" fmla="*/ 2998852 w 10696643"/>
                  <a:gd name="connsiteY12" fmla="*/ 754148 h 2006207"/>
                  <a:gd name="connsiteX13" fmla="*/ 3693711 w 10696643"/>
                  <a:gd name="connsiteY13" fmla="*/ 788136 h 2006207"/>
                  <a:gd name="connsiteX14" fmla="*/ 4149721 w 10696643"/>
                  <a:gd name="connsiteY14" fmla="*/ 728648 h 2006207"/>
                  <a:gd name="connsiteX15" fmla="*/ 4627443 w 10696643"/>
                  <a:gd name="connsiteY15" fmla="*/ 728648 h 2006207"/>
                  <a:gd name="connsiteX16" fmla="*/ 5398312 w 10696643"/>
                  <a:gd name="connsiteY16" fmla="*/ 771142 h 2006207"/>
                  <a:gd name="connsiteX17" fmla="*/ 6277748 w 10696643"/>
                  <a:gd name="connsiteY17" fmla="*/ 754148 h 2006207"/>
                  <a:gd name="connsiteX18" fmla="*/ 6907466 w 10696643"/>
                  <a:gd name="connsiteY18" fmla="*/ 762654 h 2006207"/>
                  <a:gd name="connsiteX19" fmla="*/ 7743476 w 10696643"/>
                  <a:gd name="connsiteY19" fmla="*/ 762654 h 2006207"/>
                  <a:gd name="connsiteX20" fmla="*/ 8807489 w 10696643"/>
                  <a:gd name="connsiteY20" fmla="*/ 788154 h 2006207"/>
                  <a:gd name="connsiteX21" fmla="*/ 9556644 w 10696643"/>
                  <a:gd name="connsiteY21" fmla="*/ 779648 h 2006207"/>
                  <a:gd name="connsiteX22" fmla="*/ 10088639 w 10696643"/>
                  <a:gd name="connsiteY22" fmla="*/ 771142 h 2006207"/>
                  <a:gd name="connsiteX23" fmla="*/ 10566362 w 10696643"/>
                  <a:gd name="connsiteY23" fmla="*/ 737154 h 2006207"/>
                  <a:gd name="connsiteX24" fmla="*/ 10696643 w 10696643"/>
                  <a:gd name="connsiteY24" fmla="*/ 754148 h 2006207"/>
                  <a:gd name="connsiteX25" fmla="*/ 10696643 w 10696643"/>
                  <a:gd name="connsiteY25" fmla="*/ 133791 h 2006207"/>
                  <a:gd name="connsiteX26" fmla="*/ 10512067 w 10696643"/>
                  <a:gd name="connsiteY26" fmla="*/ 65870 h 2006207"/>
                  <a:gd name="connsiteX27" fmla="*/ 9697771 w 10696643"/>
                  <a:gd name="connsiteY27" fmla="*/ 14889 h 2006207"/>
                  <a:gd name="connsiteX28" fmla="*/ 9111480 w 10696643"/>
                  <a:gd name="connsiteY28" fmla="*/ 108364 h 2006207"/>
                  <a:gd name="connsiteX29" fmla="*/ 8210330 w 10696643"/>
                  <a:gd name="connsiteY29" fmla="*/ 201839 h 2006207"/>
                  <a:gd name="connsiteX30" fmla="*/ 7244039 w 10696643"/>
                  <a:gd name="connsiteY30" fmla="*/ 201839 h 2006207"/>
                  <a:gd name="connsiteX31" fmla="*/ 5517749 w 10696643"/>
                  <a:gd name="connsiteY31" fmla="*/ 193333 h 2006207"/>
                  <a:gd name="connsiteX32" fmla="*/ 4432021 w 10696643"/>
                  <a:gd name="connsiteY32" fmla="*/ 65870 h 2006207"/>
                  <a:gd name="connsiteX33" fmla="*/ 2640589 w 10696643"/>
                  <a:gd name="connsiteY33" fmla="*/ 57364 h 2006207"/>
                  <a:gd name="connsiteX34" fmla="*/ 2100767 w 10696643"/>
                  <a:gd name="connsiteY34" fmla="*/ 66415 h 2006207"/>
                  <a:gd name="connsiteX0" fmla="*/ 1827032 w 10422908"/>
                  <a:gd name="connsiteY0" fmla="*/ 66415 h 1986245"/>
                  <a:gd name="connsiteX1" fmla="*/ 1709472 w 10422908"/>
                  <a:gd name="connsiteY1" fmla="*/ 625754 h 1986245"/>
                  <a:gd name="connsiteX2" fmla="*/ 0 w 10422908"/>
                  <a:gd name="connsiteY2" fmla="*/ 1986246 h 1986245"/>
                  <a:gd name="connsiteX3" fmla="*/ 162864 w 10422908"/>
                  <a:gd name="connsiteY3" fmla="*/ 1858784 h 1986245"/>
                  <a:gd name="connsiteX4" fmla="*/ 184578 w 10422908"/>
                  <a:gd name="connsiteY4" fmla="*/ 1595370 h 1986245"/>
                  <a:gd name="connsiteX5" fmla="*/ 336573 w 10422908"/>
                  <a:gd name="connsiteY5" fmla="*/ 1510401 h 1986245"/>
                  <a:gd name="connsiteX6" fmla="*/ 445141 w 10422908"/>
                  <a:gd name="connsiteY6" fmla="*/ 1229994 h 1986245"/>
                  <a:gd name="connsiteX7" fmla="*/ 553709 w 10422908"/>
                  <a:gd name="connsiteY7" fmla="*/ 873105 h 1986245"/>
                  <a:gd name="connsiteX8" fmla="*/ 705704 w 10422908"/>
                  <a:gd name="connsiteY8" fmla="*/ 737154 h 1986245"/>
                  <a:gd name="connsiteX9" fmla="*/ 1009695 w 10422908"/>
                  <a:gd name="connsiteY9" fmla="*/ 737154 h 1986245"/>
                  <a:gd name="connsiteX10" fmla="*/ 1585118 w 10422908"/>
                  <a:gd name="connsiteY10" fmla="*/ 754148 h 1986245"/>
                  <a:gd name="connsiteX11" fmla="*/ 2725117 w 10422908"/>
                  <a:gd name="connsiteY11" fmla="*/ 754148 h 1986245"/>
                  <a:gd name="connsiteX12" fmla="*/ 3419976 w 10422908"/>
                  <a:gd name="connsiteY12" fmla="*/ 788136 h 1986245"/>
                  <a:gd name="connsiteX13" fmla="*/ 3875986 w 10422908"/>
                  <a:gd name="connsiteY13" fmla="*/ 728648 h 1986245"/>
                  <a:gd name="connsiteX14" fmla="*/ 4353708 w 10422908"/>
                  <a:gd name="connsiteY14" fmla="*/ 728648 h 1986245"/>
                  <a:gd name="connsiteX15" fmla="*/ 5124577 w 10422908"/>
                  <a:gd name="connsiteY15" fmla="*/ 771142 h 1986245"/>
                  <a:gd name="connsiteX16" fmla="*/ 6004013 w 10422908"/>
                  <a:gd name="connsiteY16" fmla="*/ 754148 h 1986245"/>
                  <a:gd name="connsiteX17" fmla="*/ 6633731 w 10422908"/>
                  <a:gd name="connsiteY17" fmla="*/ 762654 h 1986245"/>
                  <a:gd name="connsiteX18" fmla="*/ 7469741 w 10422908"/>
                  <a:gd name="connsiteY18" fmla="*/ 762654 h 1986245"/>
                  <a:gd name="connsiteX19" fmla="*/ 8533754 w 10422908"/>
                  <a:gd name="connsiteY19" fmla="*/ 788154 h 1986245"/>
                  <a:gd name="connsiteX20" fmla="*/ 9282909 w 10422908"/>
                  <a:gd name="connsiteY20" fmla="*/ 779648 h 1986245"/>
                  <a:gd name="connsiteX21" fmla="*/ 9814904 w 10422908"/>
                  <a:gd name="connsiteY21" fmla="*/ 771142 h 1986245"/>
                  <a:gd name="connsiteX22" fmla="*/ 10292627 w 10422908"/>
                  <a:gd name="connsiteY22" fmla="*/ 737154 h 1986245"/>
                  <a:gd name="connsiteX23" fmla="*/ 10422908 w 10422908"/>
                  <a:gd name="connsiteY23" fmla="*/ 754148 h 1986245"/>
                  <a:gd name="connsiteX24" fmla="*/ 10422908 w 10422908"/>
                  <a:gd name="connsiteY24" fmla="*/ 133791 h 1986245"/>
                  <a:gd name="connsiteX25" fmla="*/ 10238332 w 10422908"/>
                  <a:gd name="connsiteY25" fmla="*/ 65870 h 1986245"/>
                  <a:gd name="connsiteX26" fmla="*/ 9424036 w 10422908"/>
                  <a:gd name="connsiteY26" fmla="*/ 14889 h 1986245"/>
                  <a:gd name="connsiteX27" fmla="*/ 8837745 w 10422908"/>
                  <a:gd name="connsiteY27" fmla="*/ 108364 h 1986245"/>
                  <a:gd name="connsiteX28" fmla="*/ 7936595 w 10422908"/>
                  <a:gd name="connsiteY28" fmla="*/ 201839 h 1986245"/>
                  <a:gd name="connsiteX29" fmla="*/ 6970304 w 10422908"/>
                  <a:gd name="connsiteY29" fmla="*/ 201839 h 1986245"/>
                  <a:gd name="connsiteX30" fmla="*/ 5244014 w 10422908"/>
                  <a:gd name="connsiteY30" fmla="*/ 193333 h 1986245"/>
                  <a:gd name="connsiteX31" fmla="*/ 4158286 w 10422908"/>
                  <a:gd name="connsiteY31" fmla="*/ 65870 h 1986245"/>
                  <a:gd name="connsiteX32" fmla="*/ 2366854 w 10422908"/>
                  <a:gd name="connsiteY32" fmla="*/ 57364 h 1986245"/>
                  <a:gd name="connsiteX33" fmla="*/ 1827032 w 10422908"/>
                  <a:gd name="connsiteY33" fmla="*/ 66415 h 1986245"/>
                  <a:gd name="connsiteX0" fmla="*/ 1786453 w 10382329"/>
                  <a:gd name="connsiteY0" fmla="*/ 66415 h 1901488"/>
                  <a:gd name="connsiteX1" fmla="*/ 1668893 w 10382329"/>
                  <a:gd name="connsiteY1" fmla="*/ 625754 h 1901488"/>
                  <a:gd name="connsiteX2" fmla="*/ 122285 w 10382329"/>
                  <a:gd name="connsiteY2" fmla="*/ 1858784 h 1901488"/>
                  <a:gd name="connsiteX3" fmla="*/ 143999 w 10382329"/>
                  <a:gd name="connsiteY3" fmla="*/ 1595370 h 1901488"/>
                  <a:gd name="connsiteX4" fmla="*/ 295994 w 10382329"/>
                  <a:gd name="connsiteY4" fmla="*/ 1510401 h 1901488"/>
                  <a:gd name="connsiteX5" fmla="*/ 404562 w 10382329"/>
                  <a:gd name="connsiteY5" fmla="*/ 1229994 h 1901488"/>
                  <a:gd name="connsiteX6" fmla="*/ 513130 w 10382329"/>
                  <a:gd name="connsiteY6" fmla="*/ 873105 h 1901488"/>
                  <a:gd name="connsiteX7" fmla="*/ 665125 w 10382329"/>
                  <a:gd name="connsiteY7" fmla="*/ 737154 h 1901488"/>
                  <a:gd name="connsiteX8" fmla="*/ 969116 w 10382329"/>
                  <a:gd name="connsiteY8" fmla="*/ 737154 h 1901488"/>
                  <a:gd name="connsiteX9" fmla="*/ 1544539 w 10382329"/>
                  <a:gd name="connsiteY9" fmla="*/ 754148 h 1901488"/>
                  <a:gd name="connsiteX10" fmla="*/ 2684538 w 10382329"/>
                  <a:gd name="connsiteY10" fmla="*/ 754148 h 1901488"/>
                  <a:gd name="connsiteX11" fmla="*/ 3379397 w 10382329"/>
                  <a:gd name="connsiteY11" fmla="*/ 788136 h 1901488"/>
                  <a:gd name="connsiteX12" fmla="*/ 3835407 w 10382329"/>
                  <a:gd name="connsiteY12" fmla="*/ 728648 h 1901488"/>
                  <a:gd name="connsiteX13" fmla="*/ 4313129 w 10382329"/>
                  <a:gd name="connsiteY13" fmla="*/ 728648 h 1901488"/>
                  <a:gd name="connsiteX14" fmla="*/ 5083998 w 10382329"/>
                  <a:gd name="connsiteY14" fmla="*/ 771142 h 1901488"/>
                  <a:gd name="connsiteX15" fmla="*/ 5963434 w 10382329"/>
                  <a:gd name="connsiteY15" fmla="*/ 754148 h 1901488"/>
                  <a:gd name="connsiteX16" fmla="*/ 6593152 w 10382329"/>
                  <a:gd name="connsiteY16" fmla="*/ 762654 h 1901488"/>
                  <a:gd name="connsiteX17" fmla="*/ 7429162 w 10382329"/>
                  <a:gd name="connsiteY17" fmla="*/ 762654 h 1901488"/>
                  <a:gd name="connsiteX18" fmla="*/ 8493175 w 10382329"/>
                  <a:gd name="connsiteY18" fmla="*/ 788154 h 1901488"/>
                  <a:gd name="connsiteX19" fmla="*/ 9242330 w 10382329"/>
                  <a:gd name="connsiteY19" fmla="*/ 779648 h 1901488"/>
                  <a:gd name="connsiteX20" fmla="*/ 9774325 w 10382329"/>
                  <a:gd name="connsiteY20" fmla="*/ 771142 h 1901488"/>
                  <a:gd name="connsiteX21" fmla="*/ 10252048 w 10382329"/>
                  <a:gd name="connsiteY21" fmla="*/ 737154 h 1901488"/>
                  <a:gd name="connsiteX22" fmla="*/ 10382329 w 10382329"/>
                  <a:gd name="connsiteY22" fmla="*/ 754148 h 1901488"/>
                  <a:gd name="connsiteX23" fmla="*/ 10382329 w 10382329"/>
                  <a:gd name="connsiteY23" fmla="*/ 133791 h 1901488"/>
                  <a:gd name="connsiteX24" fmla="*/ 10197753 w 10382329"/>
                  <a:gd name="connsiteY24" fmla="*/ 65870 h 1901488"/>
                  <a:gd name="connsiteX25" fmla="*/ 9383457 w 10382329"/>
                  <a:gd name="connsiteY25" fmla="*/ 14889 h 1901488"/>
                  <a:gd name="connsiteX26" fmla="*/ 8797166 w 10382329"/>
                  <a:gd name="connsiteY26" fmla="*/ 108364 h 1901488"/>
                  <a:gd name="connsiteX27" fmla="*/ 7896016 w 10382329"/>
                  <a:gd name="connsiteY27" fmla="*/ 201839 h 1901488"/>
                  <a:gd name="connsiteX28" fmla="*/ 6929725 w 10382329"/>
                  <a:gd name="connsiteY28" fmla="*/ 201839 h 1901488"/>
                  <a:gd name="connsiteX29" fmla="*/ 5203435 w 10382329"/>
                  <a:gd name="connsiteY29" fmla="*/ 193333 h 1901488"/>
                  <a:gd name="connsiteX30" fmla="*/ 4117707 w 10382329"/>
                  <a:gd name="connsiteY30" fmla="*/ 65870 h 1901488"/>
                  <a:gd name="connsiteX31" fmla="*/ 2326275 w 10382329"/>
                  <a:gd name="connsiteY31" fmla="*/ 57364 h 1901488"/>
                  <a:gd name="connsiteX32" fmla="*/ 1786453 w 10382329"/>
                  <a:gd name="connsiteY32" fmla="*/ 66415 h 1901488"/>
                  <a:gd name="connsiteX0" fmla="*/ 1724759 w 10320635"/>
                  <a:gd name="connsiteY0" fmla="*/ 66415 h 1652063"/>
                  <a:gd name="connsiteX1" fmla="*/ 1607199 w 10320635"/>
                  <a:gd name="connsiteY1" fmla="*/ 625754 h 1652063"/>
                  <a:gd name="connsiteX2" fmla="*/ 82305 w 10320635"/>
                  <a:gd name="connsiteY2" fmla="*/ 1595370 h 1652063"/>
                  <a:gd name="connsiteX3" fmla="*/ 234300 w 10320635"/>
                  <a:gd name="connsiteY3" fmla="*/ 1510401 h 1652063"/>
                  <a:gd name="connsiteX4" fmla="*/ 342868 w 10320635"/>
                  <a:gd name="connsiteY4" fmla="*/ 1229994 h 1652063"/>
                  <a:gd name="connsiteX5" fmla="*/ 451436 w 10320635"/>
                  <a:gd name="connsiteY5" fmla="*/ 873105 h 1652063"/>
                  <a:gd name="connsiteX6" fmla="*/ 603431 w 10320635"/>
                  <a:gd name="connsiteY6" fmla="*/ 737154 h 1652063"/>
                  <a:gd name="connsiteX7" fmla="*/ 907422 w 10320635"/>
                  <a:gd name="connsiteY7" fmla="*/ 737154 h 1652063"/>
                  <a:gd name="connsiteX8" fmla="*/ 1482845 w 10320635"/>
                  <a:gd name="connsiteY8" fmla="*/ 754148 h 1652063"/>
                  <a:gd name="connsiteX9" fmla="*/ 2622844 w 10320635"/>
                  <a:gd name="connsiteY9" fmla="*/ 754148 h 1652063"/>
                  <a:gd name="connsiteX10" fmla="*/ 3317703 w 10320635"/>
                  <a:gd name="connsiteY10" fmla="*/ 788136 h 1652063"/>
                  <a:gd name="connsiteX11" fmla="*/ 3773713 w 10320635"/>
                  <a:gd name="connsiteY11" fmla="*/ 728648 h 1652063"/>
                  <a:gd name="connsiteX12" fmla="*/ 4251435 w 10320635"/>
                  <a:gd name="connsiteY12" fmla="*/ 728648 h 1652063"/>
                  <a:gd name="connsiteX13" fmla="*/ 5022304 w 10320635"/>
                  <a:gd name="connsiteY13" fmla="*/ 771142 h 1652063"/>
                  <a:gd name="connsiteX14" fmla="*/ 5901740 w 10320635"/>
                  <a:gd name="connsiteY14" fmla="*/ 754148 h 1652063"/>
                  <a:gd name="connsiteX15" fmla="*/ 6531458 w 10320635"/>
                  <a:gd name="connsiteY15" fmla="*/ 762654 h 1652063"/>
                  <a:gd name="connsiteX16" fmla="*/ 7367468 w 10320635"/>
                  <a:gd name="connsiteY16" fmla="*/ 762654 h 1652063"/>
                  <a:gd name="connsiteX17" fmla="*/ 8431481 w 10320635"/>
                  <a:gd name="connsiteY17" fmla="*/ 788154 h 1652063"/>
                  <a:gd name="connsiteX18" fmla="*/ 9180636 w 10320635"/>
                  <a:gd name="connsiteY18" fmla="*/ 779648 h 1652063"/>
                  <a:gd name="connsiteX19" fmla="*/ 9712631 w 10320635"/>
                  <a:gd name="connsiteY19" fmla="*/ 771142 h 1652063"/>
                  <a:gd name="connsiteX20" fmla="*/ 10190354 w 10320635"/>
                  <a:gd name="connsiteY20" fmla="*/ 737154 h 1652063"/>
                  <a:gd name="connsiteX21" fmla="*/ 10320635 w 10320635"/>
                  <a:gd name="connsiteY21" fmla="*/ 754148 h 1652063"/>
                  <a:gd name="connsiteX22" fmla="*/ 10320635 w 10320635"/>
                  <a:gd name="connsiteY22" fmla="*/ 133791 h 1652063"/>
                  <a:gd name="connsiteX23" fmla="*/ 10136059 w 10320635"/>
                  <a:gd name="connsiteY23" fmla="*/ 65870 h 1652063"/>
                  <a:gd name="connsiteX24" fmla="*/ 9321763 w 10320635"/>
                  <a:gd name="connsiteY24" fmla="*/ 14889 h 1652063"/>
                  <a:gd name="connsiteX25" fmla="*/ 8735472 w 10320635"/>
                  <a:gd name="connsiteY25" fmla="*/ 108364 h 1652063"/>
                  <a:gd name="connsiteX26" fmla="*/ 7834322 w 10320635"/>
                  <a:gd name="connsiteY26" fmla="*/ 201839 h 1652063"/>
                  <a:gd name="connsiteX27" fmla="*/ 6868031 w 10320635"/>
                  <a:gd name="connsiteY27" fmla="*/ 201839 h 1652063"/>
                  <a:gd name="connsiteX28" fmla="*/ 5141741 w 10320635"/>
                  <a:gd name="connsiteY28" fmla="*/ 193333 h 1652063"/>
                  <a:gd name="connsiteX29" fmla="*/ 4056013 w 10320635"/>
                  <a:gd name="connsiteY29" fmla="*/ 65870 h 1652063"/>
                  <a:gd name="connsiteX30" fmla="*/ 2264581 w 10320635"/>
                  <a:gd name="connsiteY30" fmla="*/ 57364 h 1652063"/>
                  <a:gd name="connsiteX31" fmla="*/ 1724759 w 10320635"/>
                  <a:gd name="connsiteY31" fmla="*/ 66415 h 1652063"/>
                  <a:gd name="connsiteX0" fmla="*/ 1567192 w 10163068"/>
                  <a:gd name="connsiteY0" fmla="*/ 66415 h 1535484"/>
                  <a:gd name="connsiteX1" fmla="*/ 1449632 w 10163068"/>
                  <a:gd name="connsiteY1" fmla="*/ 625754 h 1535484"/>
                  <a:gd name="connsiteX2" fmla="*/ 76733 w 10163068"/>
                  <a:gd name="connsiteY2" fmla="*/ 1510401 h 1535484"/>
                  <a:gd name="connsiteX3" fmla="*/ 185301 w 10163068"/>
                  <a:gd name="connsiteY3" fmla="*/ 1229994 h 1535484"/>
                  <a:gd name="connsiteX4" fmla="*/ 293869 w 10163068"/>
                  <a:gd name="connsiteY4" fmla="*/ 873105 h 1535484"/>
                  <a:gd name="connsiteX5" fmla="*/ 445864 w 10163068"/>
                  <a:gd name="connsiteY5" fmla="*/ 737154 h 1535484"/>
                  <a:gd name="connsiteX6" fmla="*/ 749855 w 10163068"/>
                  <a:gd name="connsiteY6" fmla="*/ 737154 h 1535484"/>
                  <a:gd name="connsiteX7" fmla="*/ 1325278 w 10163068"/>
                  <a:gd name="connsiteY7" fmla="*/ 754148 h 1535484"/>
                  <a:gd name="connsiteX8" fmla="*/ 2465277 w 10163068"/>
                  <a:gd name="connsiteY8" fmla="*/ 754148 h 1535484"/>
                  <a:gd name="connsiteX9" fmla="*/ 3160136 w 10163068"/>
                  <a:gd name="connsiteY9" fmla="*/ 788136 h 1535484"/>
                  <a:gd name="connsiteX10" fmla="*/ 3616146 w 10163068"/>
                  <a:gd name="connsiteY10" fmla="*/ 728648 h 1535484"/>
                  <a:gd name="connsiteX11" fmla="*/ 4093868 w 10163068"/>
                  <a:gd name="connsiteY11" fmla="*/ 728648 h 1535484"/>
                  <a:gd name="connsiteX12" fmla="*/ 4864737 w 10163068"/>
                  <a:gd name="connsiteY12" fmla="*/ 771142 h 1535484"/>
                  <a:gd name="connsiteX13" fmla="*/ 5744173 w 10163068"/>
                  <a:gd name="connsiteY13" fmla="*/ 754148 h 1535484"/>
                  <a:gd name="connsiteX14" fmla="*/ 6373891 w 10163068"/>
                  <a:gd name="connsiteY14" fmla="*/ 762654 h 1535484"/>
                  <a:gd name="connsiteX15" fmla="*/ 7209901 w 10163068"/>
                  <a:gd name="connsiteY15" fmla="*/ 762654 h 1535484"/>
                  <a:gd name="connsiteX16" fmla="*/ 8273914 w 10163068"/>
                  <a:gd name="connsiteY16" fmla="*/ 788154 h 1535484"/>
                  <a:gd name="connsiteX17" fmla="*/ 9023069 w 10163068"/>
                  <a:gd name="connsiteY17" fmla="*/ 779648 h 1535484"/>
                  <a:gd name="connsiteX18" fmla="*/ 9555064 w 10163068"/>
                  <a:gd name="connsiteY18" fmla="*/ 771142 h 1535484"/>
                  <a:gd name="connsiteX19" fmla="*/ 10032787 w 10163068"/>
                  <a:gd name="connsiteY19" fmla="*/ 737154 h 1535484"/>
                  <a:gd name="connsiteX20" fmla="*/ 10163068 w 10163068"/>
                  <a:gd name="connsiteY20" fmla="*/ 754148 h 1535484"/>
                  <a:gd name="connsiteX21" fmla="*/ 10163068 w 10163068"/>
                  <a:gd name="connsiteY21" fmla="*/ 133791 h 1535484"/>
                  <a:gd name="connsiteX22" fmla="*/ 9978492 w 10163068"/>
                  <a:gd name="connsiteY22" fmla="*/ 65870 h 1535484"/>
                  <a:gd name="connsiteX23" fmla="*/ 9164196 w 10163068"/>
                  <a:gd name="connsiteY23" fmla="*/ 14889 h 1535484"/>
                  <a:gd name="connsiteX24" fmla="*/ 8577905 w 10163068"/>
                  <a:gd name="connsiteY24" fmla="*/ 108364 h 1535484"/>
                  <a:gd name="connsiteX25" fmla="*/ 7676755 w 10163068"/>
                  <a:gd name="connsiteY25" fmla="*/ 201839 h 1535484"/>
                  <a:gd name="connsiteX26" fmla="*/ 6710464 w 10163068"/>
                  <a:gd name="connsiteY26" fmla="*/ 201839 h 1535484"/>
                  <a:gd name="connsiteX27" fmla="*/ 4984174 w 10163068"/>
                  <a:gd name="connsiteY27" fmla="*/ 193333 h 1535484"/>
                  <a:gd name="connsiteX28" fmla="*/ 3898446 w 10163068"/>
                  <a:gd name="connsiteY28" fmla="*/ 65870 h 1535484"/>
                  <a:gd name="connsiteX29" fmla="*/ 2107014 w 10163068"/>
                  <a:gd name="connsiteY29" fmla="*/ 57364 h 1535484"/>
                  <a:gd name="connsiteX30" fmla="*/ 1567192 w 10163068"/>
                  <a:gd name="connsiteY30" fmla="*/ 66415 h 1535484"/>
                  <a:gd name="connsiteX0" fmla="*/ 1453651 w 10049527"/>
                  <a:gd name="connsiteY0" fmla="*/ 66415 h 1233597"/>
                  <a:gd name="connsiteX1" fmla="*/ 1336091 w 10049527"/>
                  <a:gd name="connsiteY1" fmla="*/ 625754 h 1233597"/>
                  <a:gd name="connsiteX2" fmla="*/ 71760 w 10049527"/>
                  <a:gd name="connsiteY2" fmla="*/ 1229994 h 1233597"/>
                  <a:gd name="connsiteX3" fmla="*/ 180328 w 10049527"/>
                  <a:gd name="connsiteY3" fmla="*/ 873105 h 1233597"/>
                  <a:gd name="connsiteX4" fmla="*/ 332323 w 10049527"/>
                  <a:gd name="connsiteY4" fmla="*/ 737154 h 1233597"/>
                  <a:gd name="connsiteX5" fmla="*/ 636314 w 10049527"/>
                  <a:gd name="connsiteY5" fmla="*/ 737154 h 1233597"/>
                  <a:gd name="connsiteX6" fmla="*/ 1211737 w 10049527"/>
                  <a:gd name="connsiteY6" fmla="*/ 754148 h 1233597"/>
                  <a:gd name="connsiteX7" fmla="*/ 2351736 w 10049527"/>
                  <a:gd name="connsiteY7" fmla="*/ 754148 h 1233597"/>
                  <a:gd name="connsiteX8" fmla="*/ 3046595 w 10049527"/>
                  <a:gd name="connsiteY8" fmla="*/ 788136 h 1233597"/>
                  <a:gd name="connsiteX9" fmla="*/ 3502605 w 10049527"/>
                  <a:gd name="connsiteY9" fmla="*/ 728648 h 1233597"/>
                  <a:gd name="connsiteX10" fmla="*/ 3980327 w 10049527"/>
                  <a:gd name="connsiteY10" fmla="*/ 728648 h 1233597"/>
                  <a:gd name="connsiteX11" fmla="*/ 4751196 w 10049527"/>
                  <a:gd name="connsiteY11" fmla="*/ 771142 h 1233597"/>
                  <a:gd name="connsiteX12" fmla="*/ 5630632 w 10049527"/>
                  <a:gd name="connsiteY12" fmla="*/ 754148 h 1233597"/>
                  <a:gd name="connsiteX13" fmla="*/ 6260350 w 10049527"/>
                  <a:gd name="connsiteY13" fmla="*/ 762654 h 1233597"/>
                  <a:gd name="connsiteX14" fmla="*/ 7096360 w 10049527"/>
                  <a:gd name="connsiteY14" fmla="*/ 762654 h 1233597"/>
                  <a:gd name="connsiteX15" fmla="*/ 8160373 w 10049527"/>
                  <a:gd name="connsiteY15" fmla="*/ 788154 h 1233597"/>
                  <a:gd name="connsiteX16" fmla="*/ 8909528 w 10049527"/>
                  <a:gd name="connsiteY16" fmla="*/ 779648 h 1233597"/>
                  <a:gd name="connsiteX17" fmla="*/ 9441523 w 10049527"/>
                  <a:gd name="connsiteY17" fmla="*/ 771142 h 1233597"/>
                  <a:gd name="connsiteX18" fmla="*/ 9919246 w 10049527"/>
                  <a:gd name="connsiteY18" fmla="*/ 737154 h 1233597"/>
                  <a:gd name="connsiteX19" fmla="*/ 10049527 w 10049527"/>
                  <a:gd name="connsiteY19" fmla="*/ 754148 h 1233597"/>
                  <a:gd name="connsiteX20" fmla="*/ 10049527 w 10049527"/>
                  <a:gd name="connsiteY20" fmla="*/ 133791 h 1233597"/>
                  <a:gd name="connsiteX21" fmla="*/ 9864951 w 10049527"/>
                  <a:gd name="connsiteY21" fmla="*/ 65870 h 1233597"/>
                  <a:gd name="connsiteX22" fmla="*/ 9050655 w 10049527"/>
                  <a:gd name="connsiteY22" fmla="*/ 14889 h 1233597"/>
                  <a:gd name="connsiteX23" fmla="*/ 8464364 w 10049527"/>
                  <a:gd name="connsiteY23" fmla="*/ 108364 h 1233597"/>
                  <a:gd name="connsiteX24" fmla="*/ 7563214 w 10049527"/>
                  <a:gd name="connsiteY24" fmla="*/ 201839 h 1233597"/>
                  <a:gd name="connsiteX25" fmla="*/ 6596923 w 10049527"/>
                  <a:gd name="connsiteY25" fmla="*/ 201839 h 1233597"/>
                  <a:gd name="connsiteX26" fmla="*/ 4870633 w 10049527"/>
                  <a:gd name="connsiteY26" fmla="*/ 193333 h 1233597"/>
                  <a:gd name="connsiteX27" fmla="*/ 3784905 w 10049527"/>
                  <a:gd name="connsiteY27" fmla="*/ 65870 h 1233597"/>
                  <a:gd name="connsiteX28" fmla="*/ 1993473 w 10049527"/>
                  <a:gd name="connsiteY28" fmla="*/ 57364 h 1233597"/>
                  <a:gd name="connsiteX29" fmla="*/ 1453651 w 10049527"/>
                  <a:gd name="connsiteY29" fmla="*/ 66415 h 1233597"/>
                  <a:gd name="connsiteX0" fmla="*/ 1428093 w 10023969"/>
                  <a:gd name="connsiteY0" fmla="*/ 66415 h 1230579"/>
                  <a:gd name="connsiteX1" fmla="*/ 1310533 w 10023969"/>
                  <a:gd name="connsiteY1" fmla="*/ 625754 h 1230579"/>
                  <a:gd name="connsiteX2" fmla="*/ 46202 w 10023969"/>
                  <a:gd name="connsiteY2" fmla="*/ 1229994 h 1230579"/>
                  <a:gd name="connsiteX3" fmla="*/ 306765 w 10023969"/>
                  <a:gd name="connsiteY3" fmla="*/ 737154 h 1230579"/>
                  <a:gd name="connsiteX4" fmla="*/ 610756 w 10023969"/>
                  <a:gd name="connsiteY4" fmla="*/ 737154 h 1230579"/>
                  <a:gd name="connsiteX5" fmla="*/ 1186179 w 10023969"/>
                  <a:gd name="connsiteY5" fmla="*/ 754148 h 1230579"/>
                  <a:gd name="connsiteX6" fmla="*/ 2326178 w 10023969"/>
                  <a:gd name="connsiteY6" fmla="*/ 754148 h 1230579"/>
                  <a:gd name="connsiteX7" fmla="*/ 3021037 w 10023969"/>
                  <a:gd name="connsiteY7" fmla="*/ 788136 h 1230579"/>
                  <a:gd name="connsiteX8" fmla="*/ 3477047 w 10023969"/>
                  <a:gd name="connsiteY8" fmla="*/ 728648 h 1230579"/>
                  <a:gd name="connsiteX9" fmla="*/ 3954769 w 10023969"/>
                  <a:gd name="connsiteY9" fmla="*/ 728648 h 1230579"/>
                  <a:gd name="connsiteX10" fmla="*/ 4725638 w 10023969"/>
                  <a:gd name="connsiteY10" fmla="*/ 771142 h 1230579"/>
                  <a:gd name="connsiteX11" fmla="*/ 5605074 w 10023969"/>
                  <a:gd name="connsiteY11" fmla="*/ 754148 h 1230579"/>
                  <a:gd name="connsiteX12" fmla="*/ 6234792 w 10023969"/>
                  <a:gd name="connsiteY12" fmla="*/ 762654 h 1230579"/>
                  <a:gd name="connsiteX13" fmla="*/ 7070802 w 10023969"/>
                  <a:gd name="connsiteY13" fmla="*/ 762654 h 1230579"/>
                  <a:gd name="connsiteX14" fmla="*/ 8134815 w 10023969"/>
                  <a:gd name="connsiteY14" fmla="*/ 788154 h 1230579"/>
                  <a:gd name="connsiteX15" fmla="*/ 8883970 w 10023969"/>
                  <a:gd name="connsiteY15" fmla="*/ 779648 h 1230579"/>
                  <a:gd name="connsiteX16" fmla="*/ 9415965 w 10023969"/>
                  <a:gd name="connsiteY16" fmla="*/ 771142 h 1230579"/>
                  <a:gd name="connsiteX17" fmla="*/ 9893688 w 10023969"/>
                  <a:gd name="connsiteY17" fmla="*/ 737154 h 1230579"/>
                  <a:gd name="connsiteX18" fmla="*/ 10023969 w 10023969"/>
                  <a:gd name="connsiteY18" fmla="*/ 754148 h 1230579"/>
                  <a:gd name="connsiteX19" fmla="*/ 10023969 w 10023969"/>
                  <a:gd name="connsiteY19" fmla="*/ 133791 h 1230579"/>
                  <a:gd name="connsiteX20" fmla="*/ 9839393 w 10023969"/>
                  <a:gd name="connsiteY20" fmla="*/ 65870 h 1230579"/>
                  <a:gd name="connsiteX21" fmla="*/ 9025097 w 10023969"/>
                  <a:gd name="connsiteY21" fmla="*/ 14889 h 1230579"/>
                  <a:gd name="connsiteX22" fmla="*/ 8438806 w 10023969"/>
                  <a:gd name="connsiteY22" fmla="*/ 108364 h 1230579"/>
                  <a:gd name="connsiteX23" fmla="*/ 7537656 w 10023969"/>
                  <a:gd name="connsiteY23" fmla="*/ 201839 h 1230579"/>
                  <a:gd name="connsiteX24" fmla="*/ 6571365 w 10023969"/>
                  <a:gd name="connsiteY24" fmla="*/ 201839 h 1230579"/>
                  <a:gd name="connsiteX25" fmla="*/ 4845075 w 10023969"/>
                  <a:gd name="connsiteY25" fmla="*/ 193333 h 1230579"/>
                  <a:gd name="connsiteX26" fmla="*/ 3759347 w 10023969"/>
                  <a:gd name="connsiteY26" fmla="*/ 65870 h 1230579"/>
                  <a:gd name="connsiteX27" fmla="*/ 1967915 w 10023969"/>
                  <a:gd name="connsiteY27" fmla="*/ 57364 h 1230579"/>
                  <a:gd name="connsiteX28" fmla="*/ 1428093 w 10023969"/>
                  <a:gd name="connsiteY28" fmla="*/ 66415 h 1230579"/>
                  <a:gd name="connsiteX0" fmla="*/ 1143230 w 9739106"/>
                  <a:gd name="connsiteY0" fmla="*/ 66415 h 797578"/>
                  <a:gd name="connsiteX1" fmla="*/ 1025670 w 9739106"/>
                  <a:gd name="connsiteY1" fmla="*/ 625754 h 797578"/>
                  <a:gd name="connsiteX2" fmla="*/ 21902 w 9739106"/>
                  <a:gd name="connsiteY2" fmla="*/ 737154 h 797578"/>
                  <a:gd name="connsiteX3" fmla="*/ 325893 w 9739106"/>
                  <a:gd name="connsiteY3" fmla="*/ 737154 h 797578"/>
                  <a:gd name="connsiteX4" fmla="*/ 901316 w 9739106"/>
                  <a:gd name="connsiteY4" fmla="*/ 754148 h 797578"/>
                  <a:gd name="connsiteX5" fmla="*/ 2041315 w 9739106"/>
                  <a:gd name="connsiteY5" fmla="*/ 754148 h 797578"/>
                  <a:gd name="connsiteX6" fmla="*/ 2736174 w 9739106"/>
                  <a:gd name="connsiteY6" fmla="*/ 788136 h 797578"/>
                  <a:gd name="connsiteX7" fmla="*/ 3192184 w 9739106"/>
                  <a:gd name="connsiteY7" fmla="*/ 728648 h 797578"/>
                  <a:gd name="connsiteX8" fmla="*/ 3669906 w 9739106"/>
                  <a:gd name="connsiteY8" fmla="*/ 728648 h 797578"/>
                  <a:gd name="connsiteX9" fmla="*/ 4440775 w 9739106"/>
                  <a:gd name="connsiteY9" fmla="*/ 771142 h 797578"/>
                  <a:gd name="connsiteX10" fmla="*/ 5320211 w 9739106"/>
                  <a:gd name="connsiteY10" fmla="*/ 754148 h 797578"/>
                  <a:gd name="connsiteX11" fmla="*/ 5949929 w 9739106"/>
                  <a:gd name="connsiteY11" fmla="*/ 762654 h 797578"/>
                  <a:gd name="connsiteX12" fmla="*/ 6785939 w 9739106"/>
                  <a:gd name="connsiteY12" fmla="*/ 762654 h 797578"/>
                  <a:gd name="connsiteX13" fmla="*/ 7849952 w 9739106"/>
                  <a:gd name="connsiteY13" fmla="*/ 788154 h 797578"/>
                  <a:gd name="connsiteX14" fmla="*/ 8599107 w 9739106"/>
                  <a:gd name="connsiteY14" fmla="*/ 779648 h 797578"/>
                  <a:gd name="connsiteX15" fmla="*/ 9131102 w 9739106"/>
                  <a:gd name="connsiteY15" fmla="*/ 771142 h 797578"/>
                  <a:gd name="connsiteX16" fmla="*/ 9608825 w 9739106"/>
                  <a:gd name="connsiteY16" fmla="*/ 737154 h 797578"/>
                  <a:gd name="connsiteX17" fmla="*/ 9739106 w 9739106"/>
                  <a:gd name="connsiteY17" fmla="*/ 754148 h 797578"/>
                  <a:gd name="connsiteX18" fmla="*/ 9739106 w 9739106"/>
                  <a:gd name="connsiteY18" fmla="*/ 133791 h 797578"/>
                  <a:gd name="connsiteX19" fmla="*/ 9554530 w 9739106"/>
                  <a:gd name="connsiteY19" fmla="*/ 65870 h 797578"/>
                  <a:gd name="connsiteX20" fmla="*/ 8740234 w 9739106"/>
                  <a:gd name="connsiteY20" fmla="*/ 14889 h 797578"/>
                  <a:gd name="connsiteX21" fmla="*/ 8153943 w 9739106"/>
                  <a:gd name="connsiteY21" fmla="*/ 108364 h 797578"/>
                  <a:gd name="connsiteX22" fmla="*/ 7252793 w 9739106"/>
                  <a:gd name="connsiteY22" fmla="*/ 201839 h 797578"/>
                  <a:gd name="connsiteX23" fmla="*/ 6286502 w 9739106"/>
                  <a:gd name="connsiteY23" fmla="*/ 201839 h 797578"/>
                  <a:gd name="connsiteX24" fmla="*/ 4560212 w 9739106"/>
                  <a:gd name="connsiteY24" fmla="*/ 193333 h 797578"/>
                  <a:gd name="connsiteX25" fmla="*/ 3474484 w 9739106"/>
                  <a:gd name="connsiteY25" fmla="*/ 65870 h 797578"/>
                  <a:gd name="connsiteX26" fmla="*/ 1683052 w 9739106"/>
                  <a:gd name="connsiteY26" fmla="*/ 57364 h 797578"/>
                  <a:gd name="connsiteX27" fmla="*/ 1143230 w 9739106"/>
                  <a:gd name="connsiteY27" fmla="*/ 66415 h 797578"/>
                  <a:gd name="connsiteX0" fmla="*/ 817337 w 9413213"/>
                  <a:gd name="connsiteY0" fmla="*/ 66415 h 797576"/>
                  <a:gd name="connsiteX1" fmla="*/ 699777 w 9413213"/>
                  <a:gd name="connsiteY1" fmla="*/ 625754 h 797576"/>
                  <a:gd name="connsiteX2" fmla="*/ 0 w 9413213"/>
                  <a:gd name="connsiteY2" fmla="*/ 737154 h 797576"/>
                  <a:gd name="connsiteX3" fmla="*/ 575423 w 9413213"/>
                  <a:gd name="connsiteY3" fmla="*/ 754148 h 797576"/>
                  <a:gd name="connsiteX4" fmla="*/ 1715422 w 9413213"/>
                  <a:gd name="connsiteY4" fmla="*/ 754148 h 797576"/>
                  <a:gd name="connsiteX5" fmla="*/ 2410281 w 9413213"/>
                  <a:gd name="connsiteY5" fmla="*/ 788136 h 797576"/>
                  <a:gd name="connsiteX6" fmla="*/ 2866291 w 9413213"/>
                  <a:gd name="connsiteY6" fmla="*/ 728648 h 797576"/>
                  <a:gd name="connsiteX7" fmla="*/ 3344013 w 9413213"/>
                  <a:gd name="connsiteY7" fmla="*/ 728648 h 797576"/>
                  <a:gd name="connsiteX8" fmla="*/ 4114882 w 9413213"/>
                  <a:gd name="connsiteY8" fmla="*/ 771142 h 797576"/>
                  <a:gd name="connsiteX9" fmla="*/ 4994318 w 9413213"/>
                  <a:gd name="connsiteY9" fmla="*/ 754148 h 797576"/>
                  <a:gd name="connsiteX10" fmla="*/ 5624036 w 9413213"/>
                  <a:gd name="connsiteY10" fmla="*/ 762654 h 797576"/>
                  <a:gd name="connsiteX11" fmla="*/ 6460046 w 9413213"/>
                  <a:gd name="connsiteY11" fmla="*/ 762654 h 797576"/>
                  <a:gd name="connsiteX12" fmla="*/ 7524059 w 9413213"/>
                  <a:gd name="connsiteY12" fmla="*/ 788154 h 797576"/>
                  <a:gd name="connsiteX13" fmla="*/ 8273214 w 9413213"/>
                  <a:gd name="connsiteY13" fmla="*/ 779648 h 797576"/>
                  <a:gd name="connsiteX14" fmla="*/ 8805209 w 9413213"/>
                  <a:gd name="connsiteY14" fmla="*/ 771142 h 797576"/>
                  <a:gd name="connsiteX15" fmla="*/ 9282932 w 9413213"/>
                  <a:gd name="connsiteY15" fmla="*/ 737154 h 797576"/>
                  <a:gd name="connsiteX16" fmla="*/ 9413213 w 9413213"/>
                  <a:gd name="connsiteY16" fmla="*/ 754148 h 797576"/>
                  <a:gd name="connsiteX17" fmla="*/ 9413213 w 9413213"/>
                  <a:gd name="connsiteY17" fmla="*/ 133791 h 797576"/>
                  <a:gd name="connsiteX18" fmla="*/ 9228637 w 9413213"/>
                  <a:gd name="connsiteY18" fmla="*/ 65870 h 797576"/>
                  <a:gd name="connsiteX19" fmla="*/ 8414341 w 9413213"/>
                  <a:gd name="connsiteY19" fmla="*/ 14889 h 797576"/>
                  <a:gd name="connsiteX20" fmla="*/ 7828050 w 9413213"/>
                  <a:gd name="connsiteY20" fmla="*/ 108364 h 797576"/>
                  <a:gd name="connsiteX21" fmla="*/ 6926900 w 9413213"/>
                  <a:gd name="connsiteY21" fmla="*/ 201839 h 797576"/>
                  <a:gd name="connsiteX22" fmla="*/ 5960609 w 9413213"/>
                  <a:gd name="connsiteY22" fmla="*/ 201839 h 797576"/>
                  <a:gd name="connsiteX23" fmla="*/ 4234319 w 9413213"/>
                  <a:gd name="connsiteY23" fmla="*/ 193333 h 797576"/>
                  <a:gd name="connsiteX24" fmla="*/ 3148591 w 9413213"/>
                  <a:gd name="connsiteY24" fmla="*/ 65870 h 797576"/>
                  <a:gd name="connsiteX25" fmla="*/ 1357159 w 9413213"/>
                  <a:gd name="connsiteY25" fmla="*/ 57364 h 797576"/>
                  <a:gd name="connsiteX26" fmla="*/ 817337 w 9413213"/>
                  <a:gd name="connsiteY26" fmla="*/ 66415 h 797576"/>
                  <a:gd name="connsiteX0" fmla="*/ 299581 w 8895457"/>
                  <a:gd name="connsiteY0" fmla="*/ 66415 h 797578"/>
                  <a:gd name="connsiteX1" fmla="*/ 182021 w 8895457"/>
                  <a:gd name="connsiteY1" fmla="*/ 625754 h 797578"/>
                  <a:gd name="connsiteX2" fmla="*/ 57667 w 8895457"/>
                  <a:gd name="connsiteY2" fmla="*/ 754148 h 797578"/>
                  <a:gd name="connsiteX3" fmla="*/ 1197666 w 8895457"/>
                  <a:gd name="connsiteY3" fmla="*/ 754148 h 797578"/>
                  <a:gd name="connsiteX4" fmla="*/ 1892525 w 8895457"/>
                  <a:gd name="connsiteY4" fmla="*/ 788136 h 797578"/>
                  <a:gd name="connsiteX5" fmla="*/ 2348535 w 8895457"/>
                  <a:gd name="connsiteY5" fmla="*/ 728648 h 797578"/>
                  <a:gd name="connsiteX6" fmla="*/ 2826257 w 8895457"/>
                  <a:gd name="connsiteY6" fmla="*/ 728648 h 797578"/>
                  <a:gd name="connsiteX7" fmla="*/ 3597126 w 8895457"/>
                  <a:gd name="connsiteY7" fmla="*/ 771142 h 797578"/>
                  <a:gd name="connsiteX8" fmla="*/ 4476562 w 8895457"/>
                  <a:gd name="connsiteY8" fmla="*/ 754148 h 797578"/>
                  <a:gd name="connsiteX9" fmla="*/ 5106280 w 8895457"/>
                  <a:gd name="connsiteY9" fmla="*/ 762654 h 797578"/>
                  <a:gd name="connsiteX10" fmla="*/ 5942290 w 8895457"/>
                  <a:gd name="connsiteY10" fmla="*/ 762654 h 797578"/>
                  <a:gd name="connsiteX11" fmla="*/ 7006303 w 8895457"/>
                  <a:gd name="connsiteY11" fmla="*/ 788154 h 797578"/>
                  <a:gd name="connsiteX12" fmla="*/ 7755458 w 8895457"/>
                  <a:gd name="connsiteY12" fmla="*/ 779648 h 797578"/>
                  <a:gd name="connsiteX13" fmla="*/ 8287453 w 8895457"/>
                  <a:gd name="connsiteY13" fmla="*/ 771142 h 797578"/>
                  <a:gd name="connsiteX14" fmla="*/ 8765176 w 8895457"/>
                  <a:gd name="connsiteY14" fmla="*/ 737154 h 797578"/>
                  <a:gd name="connsiteX15" fmla="*/ 8895457 w 8895457"/>
                  <a:gd name="connsiteY15" fmla="*/ 754148 h 797578"/>
                  <a:gd name="connsiteX16" fmla="*/ 8895457 w 8895457"/>
                  <a:gd name="connsiteY16" fmla="*/ 133791 h 797578"/>
                  <a:gd name="connsiteX17" fmla="*/ 8710881 w 8895457"/>
                  <a:gd name="connsiteY17" fmla="*/ 65870 h 797578"/>
                  <a:gd name="connsiteX18" fmla="*/ 7896585 w 8895457"/>
                  <a:gd name="connsiteY18" fmla="*/ 14889 h 797578"/>
                  <a:gd name="connsiteX19" fmla="*/ 7310294 w 8895457"/>
                  <a:gd name="connsiteY19" fmla="*/ 108364 h 797578"/>
                  <a:gd name="connsiteX20" fmla="*/ 6409144 w 8895457"/>
                  <a:gd name="connsiteY20" fmla="*/ 201839 h 797578"/>
                  <a:gd name="connsiteX21" fmla="*/ 5442853 w 8895457"/>
                  <a:gd name="connsiteY21" fmla="*/ 201839 h 797578"/>
                  <a:gd name="connsiteX22" fmla="*/ 3716563 w 8895457"/>
                  <a:gd name="connsiteY22" fmla="*/ 193333 h 797578"/>
                  <a:gd name="connsiteX23" fmla="*/ 2630835 w 8895457"/>
                  <a:gd name="connsiteY23" fmla="*/ 65870 h 797578"/>
                  <a:gd name="connsiteX24" fmla="*/ 839403 w 8895457"/>
                  <a:gd name="connsiteY24" fmla="*/ 57364 h 797578"/>
                  <a:gd name="connsiteX25" fmla="*/ 299581 w 8895457"/>
                  <a:gd name="connsiteY25" fmla="*/ 66415 h 797578"/>
                  <a:gd name="connsiteX0" fmla="*/ 300385 w 8896261"/>
                  <a:gd name="connsiteY0" fmla="*/ 66415 h 797969"/>
                  <a:gd name="connsiteX1" fmla="*/ 182825 w 8896261"/>
                  <a:gd name="connsiteY1" fmla="*/ 625754 h 797969"/>
                  <a:gd name="connsiteX2" fmla="*/ 1198470 w 8896261"/>
                  <a:gd name="connsiteY2" fmla="*/ 754148 h 797969"/>
                  <a:gd name="connsiteX3" fmla="*/ 1893329 w 8896261"/>
                  <a:gd name="connsiteY3" fmla="*/ 788136 h 797969"/>
                  <a:gd name="connsiteX4" fmla="*/ 2349339 w 8896261"/>
                  <a:gd name="connsiteY4" fmla="*/ 728648 h 797969"/>
                  <a:gd name="connsiteX5" fmla="*/ 2827061 w 8896261"/>
                  <a:gd name="connsiteY5" fmla="*/ 728648 h 797969"/>
                  <a:gd name="connsiteX6" fmla="*/ 3597930 w 8896261"/>
                  <a:gd name="connsiteY6" fmla="*/ 771142 h 797969"/>
                  <a:gd name="connsiteX7" fmla="*/ 4477366 w 8896261"/>
                  <a:gd name="connsiteY7" fmla="*/ 754148 h 797969"/>
                  <a:gd name="connsiteX8" fmla="*/ 5107084 w 8896261"/>
                  <a:gd name="connsiteY8" fmla="*/ 762654 h 797969"/>
                  <a:gd name="connsiteX9" fmla="*/ 5943094 w 8896261"/>
                  <a:gd name="connsiteY9" fmla="*/ 762654 h 797969"/>
                  <a:gd name="connsiteX10" fmla="*/ 7007107 w 8896261"/>
                  <a:gd name="connsiteY10" fmla="*/ 788154 h 797969"/>
                  <a:gd name="connsiteX11" fmla="*/ 7756262 w 8896261"/>
                  <a:gd name="connsiteY11" fmla="*/ 779648 h 797969"/>
                  <a:gd name="connsiteX12" fmla="*/ 8288257 w 8896261"/>
                  <a:gd name="connsiteY12" fmla="*/ 771142 h 797969"/>
                  <a:gd name="connsiteX13" fmla="*/ 8765980 w 8896261"/>
                  <a:gd name="connsiteY13" fmla="*/ 737154 h 797969"/>
                  <a:gd name="connsiteX14" fmla="*/ 8896261 w 8896261"/>
                  <a:gd name="connsiteY14" fmla="*/ 754148 h 797969"/>
                  <a:gd name="connsiteX15" fmla="*/ 8896261 w 8896261"/>
                  <a:gd name="connsiteY15" fmla="*/ 133791 h 797969"/>
                  <a:gd name="connsiteX16" fmla="*/ 8711685 w 8896261"/>
                  <a:gd name="connsiteY16" fmla="*/ 65870 h 797969"/>
                  <a:gd name="connsiteX17" fmla="*/ 7897389 w 8896261"/>
                  <a:gd name="connsiteY17" fmla="*/ 14889 h 797969"/>
                  <a:gd name="connsiteX18" fmla="*/ 7311098 w 8896261"/>
                  <a:gd name="connsiteY18" fmla="*/ 108364 h 797969"/>
                  <a:gd name="connsiteX19" fmla="*/ 6409948 w 8896261"/>
                  <a:gd name="connsiteY19" fmla="*/ 201839 h 797969"/>
                  <a:gd name="connsiteX20" fmla="*/ 5443657 w 8896261"/>
                  <a:gd name="connsiteY20" fmla="*/ 201839 h 797969"/>
                  <a:gd name="connsiteX21" fmla="*/ 3717367 w 8896261"/>
                  <a:gd name="connsiteY21" fmla="*/ 193333 h 797969"/>
                  <a:gd name="connsiteX22" fmla="*/ 2631639 w 8896261"/>
                  <a:gd name="connsiteY22" fmla="*/ 65870 h 797969"/>
                  <a:gd name="connsiteX23" fmla="*/ 840207 w 8896261"/>
                  <a:gd name="connsiteY23" fmla="*/ 57364 h 797969"/>
                  <a:gd name="connsiteX24" fmla="*/ 300385 w 8896261"/>
                  <a:gd name="connsiteY24" fmla="*/ 66415 h 797969"/>
                  <a:gd name="connsiteX0" fmla="*/ 263649 w 8859525"/>
                  <a:gd name="connsiteY0" fmla="*/ 66415 h 795901"/>
                  <a:gd name="connsiteX1" fmla="*/ 238952 w 8859525"/>
                  <a:gd name="connsiteY1" fmla="*/ 726571 h 795901"/>
                  <a:gd name="connsiteX2" fmla="*/ 1161734 w 8859525"/>
                  <a:gd name="connsiteY2" fmla="*/ 754148 h 795901"/>
                  <a:gd name="connsiteX3" fmla="*/ 1856593 w 8859525"/>
                  <a:gd name="connsiteY3" fmla="*/ 788136 h 795901"/>
                  <a:gd name="connsiteX4" fmla="*/ 2312603 w 8859525"/>
                  <a:gd name="connsiteY4" fmla="*/ 728648 h 795901"/>
                  <a:gd name="connsiteX5" fmla="*/ 2790325 w 8859525"/>
                  <a:gd name="connsiteY5" fmla="*/ 728648 h 795901"/>
                  <a:gd name="connsiteX6" fmla="*/ 3561194 w 8859525"/>
                  <a:gd name="connsiteY6" fmla="*/ 771142 h 795901"/>
                  <a:gd name="connsiteX7" fmla="*/ 4440630 w 8859525"/>
                  <a:gd name="connsiteY7" fmla="*/ 754148 h 795901"/>
                  <a:gd name="connsiteX8" fmla="*/ 5070348 w 8859525"/>
                  <a:gd name="connsiteY8" fmla="*/ 762654 h 795901"/>
                  <a:gd name="connsiteX9" fmla="*/ 5906358 w 8859525"/>
                  <a:gd name="connsiteY9" fmla="*/ 762654 h 795901"/>
                  <a:gd name="connsiteX10" fmla="*/ 6970371 w 8859525"/>
                  <a:gd name="connsiteY10" fmla="*/ 788154 h 795901"/>
                  <a:gd name="connsiteX11" fmla="*/ 7719526 w 8859525"/>
                  <a:gd name="connsiteY11" fmla="*/ 779648 h 795901"/>
                  <a:gd name="connsiteX12" fmla="*/ 8251521 w 8859525"/>
                  <a:gd name="connsiteY12" fmla="*/ 771142 h 795901"/>
                  <a:gd name="connsiteX13" fmla="*/ 8729244 w 8859525"/>
                  <a:gd name="connsiteY13" fmla="*/ 737154 h 795901"/>
                  <a:gd name="connsiteX14" fmla="*/ 8859525 w 8859525"/>
                  <a:gd name="connsiteY14" fmla="*/ 754148 h 795901"/>
                  <a:gd name="connsiteX15" fmla="*/ 8859525 w 8859525"/>
                  <a:gd name="connsiteY15" fmla="*/ 133791 h 795901"/>
                  <a:gd name="connsiteX16" fmla="*/ 8674949 w 8859525"/>
                  <a:gd name="connsiteY16" fmla="*/ 65870 h 795901"/>
                  <a:gd name="connsiteX17" fmla="*/ 7860653 w 8859525"/>
                  <a:gd name="connsiteY17" fmla="*/ 14889 h 795901"/>
                  <a:gd name="connsiteX18" fmla="*/ 7274362 w 8859525"/>
                  <a:gd name="connsiteY18" fmla="*/ 108364 h 795901"/>
                  <a:gd name="connsiteX19" fmla="*/ 6373212 w 8859525"/>
                  <a:gd name="connsiteY19" fmla="*/ 201839 h 795901"/>
                  <a:gd name="connsiteX20" fmla="*/ 5406921 w 8859525"/>
                  <a:gd name="connsiteY20" fmla="*/ 201839 h 795901"/>
                  <a:gd name="connsiteX21" fmla="*/ 3680631 w 8859525"/>
                  <a:gd name="connsiteY21" fmla="*/ 193333 h 795901"/>
                  <a:gd name="connsiteX22" fmla="*/ 2594903 w 8859525"/>
                  <a:gd name="connsiteY22" fmla="*/ 65870 h 795901"/>
                  <a:gd name="connsiteX23" fmla="*/ 803471 w 8859525"/>
                  <a:gd name="connsiteY23" fmla="*/ 57364 h 795901"/>
                  <a:gd name="connsiteX24" fmla="*/ 263649 w 8859525"/>
                  <a:gd name="connsiteY24" fmla="*/ 66415 h 795901"/>
                  <a:gd name="connsiteX0" fmla="*/ 224684 w 8820560"/>
                  <a:gd name="connsiteY0" fmla="*/ 66415 h 815564"/>
                  <a:gd name="connsiteX1" fmla="*/ 199987 w 8820560"/>
                  <a:gd name="connsiteY1" fmla="*/ 726571 h 815564"/>
                  <a:gd name="connsiteX2" fmla="*/ 1122769 w 8820560"/>
                  <a:gd name="connsiteY2" fmla="*/ 754148 h 815564"/>
                  <a:gd name="connsiteX3" fmla="*/ 1817628 w 8820560"/>
                  <a:gd name="connsiteY3" fmla="*/ 788136 h 815564"/>
                  <a:gd name="connsiteX4" fmla="*/ 2273638 w 8820560"/>
                  <a:gd name="connsiteY4" fmla="*/ 728648 h 815564"/>
                  <a:gd name="connsiteX5" fmla="*/ 2751360 w 8820560"/>
                  <a:gd name="connsiteY5" fmla="*/ 728648 h 815564"/>
                  <a:gd name="connsiteX6" fmla="*/ 3522229 w 8820560"/>
                  <a:gd name="connsiteY6" fmla="*/ 771142 h 815564"/>
                  <a:gd name="connsiteX7" fmla="*/ 4401665 w 8820560"/>
                  <a:gd name="connsiteY7" fmla="*/ 754148 h 815564"/>
                  <a:gd name="connsiteX8" fmla="*/ 5031383 w 8820560"/>
                  <a:gd name="connsiteY8" fmla="*/ 762654 h 815564"/>
                  <a:gd name="connsiteX9" fmla="*/ 5867393 w 8820560"/>
                  <a:gd name="connsiteY9" fmla="*/ 762654 h 815564"/>
                  <a:gd name="connsiteX10" fmla="*/ 6931406 w 8820560"/>
                  <a:gd name="connsiteY10" fmla="*/ 788154 h 815564"/>
                  <a:gd name="connsiteX11" fmla="*/ 7680561 w 8820560"/>
                  <a:gd name="connsiteY11" fmla="*/ 779648 h 815564"/>
                  <a:gd name="connsiteX12" fmla="*/ 8212556 w 8820560"/>
                  <a:gd name="connsiteY12" fmla="*/ 771142 h 815564"/>
                  <a:gd name="connsiteX13" fmla="*/ 8690279 w 8820560"/>
                  <a:gd name="connsiteY13" fmla="*/ 737154 h 815564"/>
                  <a:gd name="connsiteX14" fmla="*/ 8820560 w 8820560"/>
                  <a:gd name="connsiteY14" fmla="*/ 754148 h 815564"/>
                  <a:gd name="connsiteX15" fmla="*/ 8820560 w 8820560"/>
                  <a:gd name="connsiteY15" fmla="*/ 133791 h 815564"/>
                  <a:gd name="connsiteX16" fmla="*/ 8635984 w 8820560"/>
                  <a:gd name="connsiteY16" fmla="*/ 65870 h 815564"/>
                  <a:gd name="connsiteX17" fmla="*/ 7821688 w 8820560"/>
                  <a:gd name="connsiteY17" fmla="*/ 14889 h 815564"/>
                  <a:gd name="connsiteX18" fmla="*/ 7235397 w 8820560"/>
                  <a:gd name="connsiteY18" fmla="*/ 108364 h 815564"/>
                  <a:gd name="connsiteX19" fmla="*/ 6334247 w 8820560"/>
                  <a:gd name="connsiteY19" fmla="*/ 201839 h 815564"/>
                  <a:gd name="connsiteX20" fmla="*/ 5367956 w 8820560"/>
                  <a:gd name="connsiteY20" fmla="*/ 201839 h 815564"/>
                  <a:gd name="connsiteX21" fmla="*/ 3641666 w 8820560"/>
                  <a:gd name="connsiteY21" fmla="*/ 193333 h 815564"/>
                  <a:gd name="connsiteX22" fmla="*/ 2555938 w 8820560"/>
                  <a:gd name="connsiteY22" fmla="*/ 65870 h 815564"/>
                  <a:gd name="connsiteX23" fmla="*/ 764506 w 8820560"/>
                  <a:gd name="connsiteY23" fmla="*/ 57364 h 815564"/>
                  <a:gd name="connsiteX24" fmla="*/ 224684 w 8820560"/>
                  <a:gd name="connsiteY24" fmla="*/ 66415 h 815564"/>
                  <a:gd name="connsiteX0" fmla="*/ 93047 w 8688923"/>
                  <a:gd name="connsiteY0" fmla="*/ 66415 h 795903"/>
                  <a:gd name="connsiteX1" fmla="*/ 71109 w 8688923"/>
                  <a:gd name="connsiteY1" fmla="*/ 350379 h 795903"/>
                  <a:gd name="connsiteX2" fmla="*/ 68350 w 8688923"/>
                  <a:gd name="connsiteY2" fmla="*/ 726571 h 795903"/>
                  <a:gd name="connsiteX3" fmla="*/ 991132 w 8688923"/>
                  <a:gd name="connsiteY3" fmla="*/ 754148 h 795903"/>
                  <a:gd name="connsiteX4" fmla="*/ 1685991 w 8688923"/>
                  <a:gd name="connsiteY4" fmla="*/ 788136 h 795903"/>
                  <a:gd name="connsiteX5" fmla="*/ 2142001 w 8688923"/>
                  <a:gd name="connsiteY5" fmla="*/ 728648 h 795903"/>
                  <a:gd name="connsiteX6" fmla="*/ 2619723 w 8688923"/>
                  <a:gd name="connsiteY6" fmla="*/ 728648 h 795903"/>
                  <a:gd name="connsiteX7" fmla="*/ 3390592 w 8688923"/>
                  <a:gd name="connsiteY7" fmla="*/ 771142 h 795903"/>
                  <a:gd name="connsiteX8" fmla="*/ 4270028 w 8688923"/>
                  <a:gd name="connsiteY8" fmla="*/ 754148 h 795903"/>
                  <a:gd name="connsiteX9" fmla="*/ 4899746 w 8688923"/>
                  <a:gd name="connsiteY9" fmla="*/ 762654 h 795903"/>
                  <a:gd name="connsiteX10" fmla="*/ 5735756 w 8688923"/>
                  <a:gd name="connsiteY10" fmla="*/ 762654 h 795903"/>
                  <a:gd name="connsiteX11" fmla="*/ 6799769 w 8688923"/>
                  <a:gd name="connsiteY11" fmla="*/ 788154 h 795903"/>
                  <a:gd name="connsiteX12" fmla="*/ 7548924 w 8688923"/>
                  <a:gd name="connsiteY12" fmla="*/ 779648 h 795903"/>
                  <a:gd name="connsiteX13" fmla="*/ 8080919 w 8688923"/>
                  <a:gd name="connsiteY13" fmla="*/ 771142 h 795903"/>
                  <a:gd name="connsiteX14" fmla="*/ 8558642 w 8688923"/>
                  <a:gd name="connsiteY14" fmla="*/ 737154 h 795903"/>
                  <a:gd name="connsiteX15" fmla="*/ 8688923 w 8688923"/>
                  <a:gd name="connsiteY15" fmla="*/ 754148 h 795903"/>
                  <a:gd name="connsiteX16" fmla="*/ 8688923 w 8688923"/>
                  <a:gd name="connsiteY16" fmla="*/ 133791 h 795903"/>
                  <a:gd name="connsiteX17" fmla="*/ 8504347 w 8688923"/>
                  <a:gd name="connsiteY17" fmla="*/ 65870 h 795903"/>
                  <a:gd name="connsiteX18" fmla="*/ 7690051 w 8688923"/>
                  <a:gd name="connsiteY18" fmla="*/ 14889 h 795903"/>
                  <a:gd name="connsiteX19" fmla="*/ 7103760 w 8688923"/>
                  <a:gd name="connsiteY19" fmla="*/ 108364 h 795903"/>
                  <a:gd name="connsiteX20" fmla="*/ 6202610 w 8688923"/>
                  <a:gd name="connsiteY20" fmla="*/ 201839 h 795903"/>
                  <a:gd name="connsiteX21" fmla="*/ 5236319 w 8688923"/>
                  <a:gd name="connsiteY21" fmla="*/ 201839 h 795903"/>
                  <a:gd name="connsiteX22" fmla="*/ 3510029 w 8688923"/>
                  <a:gd name="connsiteY22" fmla="*/ 193333 h 795903"/>
                  <a:gd name="connsiteX23" fmla="*/ 2424301 w 8688923"/>
                  <a:gd name="connsiteY23" fmla="*/ 65870 h 795903"/>
                  <a:gd name="connsiteX24" fmla="*/ 632869 w 8688923"/>
                  <a:gd name="connsiteY24" fmla="*/ 57364 h 795903"/>
                  <a:gd name="connsiteX25" fmla="*/ 93047 w 8688923"/>
                  <a:gd name="connsiteY25" fmla="*/ 66415 h 795903"/>
                  <a:gd name="connsiteX0" fmla="*/ 91443 w 8687319"/>
                  <a:gd name="connsiteY0" fmla="*/ 66415 h 795901"/>
                  <a:gd name="connsiteX1" fmla="*/ 69505 w 8687319"/>
                  <a:gd name="connsiteY1" fmla="*/ 350379 h 795901"/>
                  <a:gd name="connsiteX2" fmla="*/ 66746 w 8687319"/>
                  <a:gd name="connsiteY2" fmla="*/ 726571 h 795901"/>
                  <a:gd name="connsiteX3" fmla="*/ 989528 w 8687319"/>
                  <a:gd name="connsiteY3" fmla="*/ 754148 h 795901"/>
                  <a:gd name="connsiteX4" fmla="*/ 1684387 w 8687319"/>
                  <a:gd name="connsiteY4" fmla="*/ 788136 h 795901"/>
                  <a:gd name="connsiteX5" fmla="*/ 2140397 w 8687319"/>
                  <a:gd name="connsiteY5" fmla="*/ 728648 h 795901"/>
                  <a:gd name="connsiteX6" fmla="*/ 2618119 w 8687319"/>
                  <a:gd name="connsiteY6" fmla="*/ 728648 h 795901"/>
                  <a:gd name="connsiteX7" fmla="*/ 3388988 w 8687319"/>
                  <a:gd name="connsiteY7" fmla="*/ 771142 h 795901"/>
                  <a:gd name="connsiteX8" fmla="*/ 4268424 w 8687319"/>
                  <a:gd name="connsiteY8" fmla="*/ 754148 h 795901"/>
                  <a:gd name="connsiteX9" fmla="*/ 4898142 w 8687319"/>
                  <a:gd name="connsiteY9" fmla="*/ 762654 h 795901"/>
                  <a:gd name="connsiteX10" fmla="*/ 5734152 w 8687319"/>
                  <a:gd name="connsiteY10" fmla="*/ 762654 h 795901"/>
                  <a:gd name="connsiteX11" fmla="*/ 6798165 w 8687319"/>
                  <a:gd name="connsiteY11" fmla="*/ 788154 h 795901"/>
                  <a:gd name="connsiteX12" fmla="*/ 7547320 w 8687319"/>
                  <a:gd name="connsiteY12" fmla="*/ 779648 h 795901"/>
                  <a:gd name="connsiteX13" fmla="*/ 8079315 w 8687319"/>
                  <a:gd name="connsiteY13" fmla="*/ 771142 h 795901"/>
                  <a:gd name="connsiteX14" fmla="*/ 8557038 w 8687319"/>
                  <a:gd name="connsiteY14" fmla="*/ 737154 h 795901"/>
                  <a:gd name="connsiteX15" fmla="*/ 8687319 w 8687319"/>
                  <a:gd name="connsiteY15" fmla="*/ 754148 h 795901"/>
                  <a:gd name="connsiteX16" fmla="*/ 8687319 w 8687319"/>
                  <a:gd name="connsiteY16" fmla="*/ 133791 h 795901"/>
                  <a:gd name="connsiteX17" fmla="*/ 8502743 w 8687319"/>
                  <a:gd name="connsiteY17" fmla="*/ 65870 h 795901"/>
                  <a:gd name="connsiteX18" fmla="*/ 7688447 w 8687319"/>
                  <a:gd name="connsiteY18" fmla="*/ 14889 h 795901"/>
                  <a:gd name="connsiteX19" fmla="*/ 7102156 w 8687319"/>
                  <a:gd name="connsiteY19" fmla="*/ 108364 h 795901"/>
                  <a:gd name="connsiteX20" fmla="*/ 6201006 w 8687319"/>
                  <a:gd name="connsiteY20" fmla="*/ 201839 h 795901"/>
                  <a:gd name="connsiteX21" fmla="*/ 5234715 w 8687319"/>
                  <a:gd name="connsiteY21" fmla="*/ 201839 h 795901"/>
                  <a:gd name="connsiteX22" fmla="*/ 3508425 w 8687319"/>
                  <a:gd name="connsiteY22" fmla="*/ 193333 h 795901"/>
                  <a:gd name="connsiteX23" fmla="*/ 2422697 w 8687319"/>
                  <a:gd name="connsiteY23" fmla="*/ 65870 h 795901"/>
                  <a:gd name="connsiteX24" fmla="*/ 631265 w 8687319"/>
                  <a:gd name="connsiteY24" fmla="*/ 57364 h 795901"/>
                  <a:gd name="connsiteX25" fmla="*/ 91443 w 8687319"/>
                  <a:gd name="connsiteY25" fmla="*/ 66415 h 795901"/>
                  <a:gd name="connsiteX0" fmla="*/ 91443 w 8687319"/>
                  <a:gd name="connsiteY0" fmla="*/ 66415 h 795903"/>
                  <a:gd name="connsiteX1" fmla="*/ 69505 w 8687319"/>
                  <a:gd name="connsiteY1" fmla="*/ 350379 h 795903"/>
                  <a:gd name="connsiteX2" fmla="*/ 66746 w 8687319"/>
                  <a:gd name="connsiteY2" fmla="*/ 726571 h 795903"/>
                  <a:gd name="connsiteX3" fmla="*/ 989528 w 8687319"/>
                  <a:gd name="connsiteY3" fmla="*/ 754148 h 795903"/>
                  <a:gd name="connsiteX4" fmla="*/ 1684387 w 8687319"/>
                  <a:gd name="connsiteY4" fmla="*/ 788136 h 795903"/>
                  <a:gd name="connsiteX5" fmla="*/ 2140397 w 8687319"/>
                  <a:gd name="connsiteY5" fmla="*/ 728648 h 795903"/>
                  <a:gd name="connsiteX6" fmla="*/ 2618119 w 8687319"/>
                  <a:gd name="connsiteY6" fmla="*/ 728648 h 795903"/>
                  <a:gd name="connsiteX7" fmla="*/ 3388988 w 8687319"/>
                  <a:gd name="connsiteY7" fmla="*/ 771142 h 795903"/>
                  <a:gd name="connsiteX8" fmla="*/ 4268424 w 8687319"/>
                  <a:gd name="connsiteY8" fmla="*/ 754148 h 795903"/>
                  <a:gd name="connsiteX9" fmla="*/ 4898142 w 8687319"/>
                  <a:gd name="connsiteY9" fmla="*/ 762654 h 795903"/>
                  <a:gd name="connsiteX10" fmla="*/ 5734152 w 8687319"/>
                  <a:gd name="connsiteY10" fmla="*/ 762654 h 795903"/>
                  <a:gd name="connsiteX11" fmla="*/ 6798165 w 8687319"/>
                  <a:gd name="connsiteY11" fmla="*/ 788154 h 795903"/>
                  <a:gd name="connsiteX12" fmla="*/ 7547320 w 8687319"/>
                  <a:gd name="connsiteY12" fmla="*/ 779648 h 795903"/>
                  <a:gd name="connsiteX13" fmla="*/ 8079315 w 8687319"/>
                  <a:gd name="connsiteY13" fmla="*/ 771142 h 795903"/>
                  <a:gd name="connsiteX14" fmla="*/ 8557038 w 8687319"/>
                  <a:gd name="connsiteY14" fmla="*/ 737154 h 795903"/>
                  <a:gd name="connsiteX15" fmla="*/ 8687319 w 8687319"/>
                  <a:gd name="connsiteY15" fmla="*/ 754148 h 795903"/>
                  <a:gd name="connsiteX16" fmla="*/ 8687319 w 8687319"/>
                  <a:gd name="connsiteY16" fmla="*/ 133791 h 795903"/>
                  <a:gd name="connsiteX17" fmla="*/ 8502743 w 8687319"/>
                  <a:gd name="connsiteY17" fmla="*/ 65870 h 795903"/>
                  <a:gd name="connsiteX18" fmla="*/ 7688447 w 8687319"/>
                  <a:gd name="connsiteY18" fmla="*/ 14889 h 795903"/>
                  <a:gd name="connsiteX19" fmla="*/ 7102156 w 8687319"/>
                  <a:gd name="connsiteY19" fmla="*/ 108364 h 795903"/>
                  <a:gd name="connsiteX20" fmla="*/ 6201006 w 8687319"/>
                  <a:gd name="connsiteY20" fmla="*/ 201839 h 795903"/>
                  <a:gd name="connsiteX21" fmla="*/ 5234715 w 8687319"/>
                  <a:gd name="connsiteY21" fmla="*/ 201839 h 795903"/>
                  <a:gd name="connsiteX22" fmla="*/ 3508425 w 8687319"/>
                  <a:gd name="connsiteY22" fmla="*/ 193333 h 795903"/>
                  <a:gd name="connsiteX23" fmla="*/ 2422697 w 8687319"/>
                  <a:gd name="connsiteY23" fmla="*/ 65870 h 795903"/>
                  <a:gd name="connsiteX24" fmla="*/ 631265 w 8687319"/>
                  <a:gd name="connsiteY24" fmla="*/ 57364 h 795903"/>
                  <a:gd name="connsiteX25" fmla="*/ 91443 w 8687319"/>
                  <a:gd name="connsiteY25" fmla="*/ 66415 h 795903"/>
                  <a:gd name="connsiteX0" fmla="*/ 87616 w 8683492"/>
                  <a:gd name="connsiteY0" fmla="*/ 66415 h 795901"/>
                  <a:gd name="connsiteX1" fmla="*/ 65678 w 8683492"/>
                  <a:gd name="connsiteY1" fmla="*/ 350379 h 795901"/>
                  <a:gd name="connsiteX2" fmla="*/ 80340 w 8683492"/>
                  <a:gd name="connsiteY2" fmla="*/ 609625 h 795901"/>
                  <a:gd name="connsiteX3" fmla="*/ 62919 w 8683492"/>
                  <a:gd name="connsiteY3" fmla="*/ 726571 h 795901"/>
                  <a:gd name="connsiteX4" fmla="*/ 985701 w 8683492"/>
                  <a:gd name="connsiteY4" fmla="*/ 754148 h 795901"/>
                  <a:gd name="connsiteX5" fmla="*/ 1680560 w 8683492"/>
                  <a:gd name="connsiteY5" fmla="*/ 788136 h 795901"/>
                  <a:gd name="connsiteX6" fmla="*/ 2136570 w 8683492"/>
                  <a:gd name="connsiteY6" fmla="*/ 728648 h 795901"/>
                  <a:gd name="connsiteX7" fmla="*/ 2614292 w 8683492"/>
                  <a:gd name="connsiteY7" fmla="*/ 728648 h 795901"/>
                  <a:gd name="connsiteX8" fmla="*/ 3385161 w 8683492"/>
                  <a:gd name="connsiteY8" fmla="*/ 771142 h 795901"/>
                  <a:gd name="connsiteX9" fmla="*/ 4264597 w 8683492"/>
                  <a:gd name="connsiteY9" fmla="*/ 754148 h 795901"/>
                  <a:gd name="connsiteX10" fmla="*/ 4894315 w 8683492"/>
                  <a:gd name="connsiteY10" fmla="*/ 762654 h 795901"/>
                  <a:gd name="connsiteX11" fmla="*/ 5730325 w 8683492"/>
                  <a:gd name="connsiteY11" fmla="*/ 762654 h 795901"/>
                  <a:gd name="connsiteX12" fmla="*/ 6794338 w 8683492"/>
                  <a:gd name="connsiteY12" fmla="*/ 788154 h 795901"/>
                  <a:gd name="connsiteX13" fmla="*/ 7543493 w 8683492"/>
                  <a:gd name="connsiteY13" fmla="*/ 779648 h 795901"/>
                  <a:gd name="connsiteX14" fmla="*/ 8075488 w 8683492"/>
                  <a:gd name="connsiteY14" fmla="*/ 771142 h 795901"/>
                  <a:gd name="connsiteX15" fmla="*/ 8553211 w 8683492"/>
                  <a:gd name="connsiteY15" fmla="*/ 737154 h 795901"/>
                  <a:gd name="connsiteX16" fmla="*/ 8683492 w 8683492"/>
                  <a:gd name="connsiteY16" fmla="*/ 754148 h 795901"/>
                  <a:gd name="connsiteX17" fmla="*/ 8683492 w 8683492"/>
                  <a:gd name="connsiteY17" fmla="*/ 133791 h 795901"/>
                  <a:gd name="connsiteX18" fmla="*/ 8498916 w 8683492"/>
                  <a:gd name="connsiteY18" fmla="*/ 65870 h 795901"/>
                  <a:gd name="connsiteX19" fmla="*/ 7684620 w 8683492"/>
                  <a:gd name="connsiteY19" fmla="*/ 14889 h 795901"/>
                  <a:gd name="connsiteX20" fmla="*/ 7098329 w 8683492"/>
                  <a:gd name="connsiteY20" fmla="*/ 108364 h 795901"/>
                  <a:gd name="connsiteX21" fmla="*/ 6197179 w 8683492"/>
                  <a:gd name="connsiteY21" fmla="*/ 201839 h 795901"/>
                  <a:gd name="connsiteX22" fmla="*/ 5230888 w 8683492"/>
                  <a:gd name="connsiteY22" fmla="*/ 201839 h 795901"/>
                  <a:gd name="connsiteX23" fmla="*/ 3504598 w 8683492"/>
                  <a:gd name="connsiteY23" fmla="*/ 193333 h 795901"/>
                  <a:gd name="connsiteX24" fmla="*/ 2418870 w 8683492"/>
                  <a:gd name="connsiteY24" fmla="*/ 65870 h 795901"/>
                  <a:gd name="connsiteX25" fmla="*/ 627438 w 8683492"/>
                  <a:gd name="connsiteY25" fmla="*/ 57364 h 795901"/>
                  <a:gd name="connsiteX26" fmla="*/ 87616 w 8683492"/>
                  <a:gd name="connsiteY26" fmla="*/ 66415 h 795901"/>
                  <a:gd name="connsiteX0" fmla="*/ 84495 w 8680371"/>
                  <a:gd name="connsiteY0" fmla="*/ 66415 h 795903"/>
                  <a:gd name="connsiteX1" fmla="*/ 62557 w 8680371"/>
                  <a:gd name="connsiteY1" fmla="*/ 350379 h 795903"/>
                  <a:gd name="connsiteX2" fmla="*/ 77219 w 8680371"/>
                  <a:gd name="connsiteY2" fmla="*/ 609625 h 795903"/>
                  <a:gd name="connsiteX3" fmla="*/ 89436 w 8680371"/>
                  <a:gd name="connsiteY3" fmla="*/ 686441 h 795903"/>
                  <a:gd name="connsiteX4" fmla="*/ 59798 w 8680371"/>
                  <a:gd name="connsiteY4" fmla="*/ 726571 h 795903"/>
                  <a:gd name="connsiteX5" fmla="*/ 982580 w 8680371"/>
                  <a:gd name="connsiteY5" fmla="*/ 754148 h 795903"/>
                  <a:gd name="connsiteX6" fmla="*/ 1677439 w 8680371"/>
                  <a:gd name="connsiteY6" fmla="*/ 788136 h 795903"/>
                  <a:gd name="connsiteX7" fmla="*/ 2133449 w 8680371"/>
                  <a:gd name="connsiteY7" fmla="*/ 728648 h 795903"/>
                  <a:gd name="connsiteX8" fmla="*/ 2611171 w 8680371"/>
                  <a:gd name="connsiteY8" fmla="*/ 728648 h 795903"/>
                  <a:gd name="connsiteX9" fmla="*/ 3382040 w 8680371"/>
                  <a:gd name="connsiteY9" fmla="*/ 771142 h 795903"/>
                  <a:gd name="connsiteX10" fmla="*/ 4261476 w 8680371"/>
                  <a:gd name="connsiteY10" fmla="*/ 754148 h 795903"/>
                  <a:gd name="connsiteX11" fmla="*/ 4891194 w 8680371"/>
                  <a:gd name="connsiteY11" fmla="*/ 762654 h 795903"/>
                  <a:gd name="connsiteX12" fmla="*/ 5727204 w 8680371"/>
                  <a:gd name="connsiteY12" fmla="*/ 762654 h 795903"/>
                  <a:gd name="connsiteX13" fmla="*/ 6791217 w 8680371"/>
                  <a:gd name="connsiteY13" fmla="*/ 788154 h 795903"/>
                  <a:gd name="connsiteX14" fmla="*/ 7540372 w 8680371"/>
                  <a:gd name="connsiteY14" fmla="*/ 779648 h 795903"/>
                  <a:gd name="connsiteX15" fmla="*/ 8072367 w 8680371"/>
                  <a:gd name="connsiteY15" fmla="*/ 771142 h 795903"/>
                  <a:gd name="connsiteX16" fmla="*/ 8550090 w 8680371"/>
                  <a:gd name="connsiteY16" fmla="*/ 737154 h 795903"/>
                  <a:gd name="connsiteX17" fmla="*/ 8680371 w 8680371"/>
                  <a:gd name="connsiteY17" fmla="*/ 754148 h 795903"/>
                  <a:gd name="connsiteX18" fmla="*/ 8680371 w 8680371"/>
                  <a:gd name="connsiteY18" fmla="*/ 133791 h 795903"/>
                  <a:gd name="connsiteX19" fmla="*/ 8495795 w 8680371"/>
                  <a:gd name="connsiteY19" fmla="*/ 65870 h 795903"/>
                  <a:gd name="connsiteX20" fmla="*/ 7681499 w 8680371"/>
                  <a:gd name="connsiteY20" fmla="*/ 14889 h 795903"/>
                  <a:gd name="connsiteX21" fmla="*/ 7095208 w 8680371"/>
                  <a:gd name="connsiteY21" fmla="*/ 108364 h 795903"/>
                  <a:gd name="connsiteX22" fmla="*/ 6194058 w 8680371"/>
                  <a:gd name="connsiteY22" fmla="*/ 201839 h 795903"/>
                  <a:gd name="connsiteX23" fmla="*/ 5227767 w 8680371"/>
                  <a:gd name="connsiteY23" fmla="*/ 201839 h 795903"/>
                  <a:gd name="connsiteX24" fmla="*/ 3501477 w 8680371"/>
                  <a:gd name="connsiteY24" fmla="*/ 193333 h 795903"/>
                  <a:gd name="connsiteX25" fmla="*/ 2415749 w 8680371"/>
                  <a:gd name="connsiteY25" fmla="*/ 65870 h 795903"/>
                  <a:gd name="connsiteX26" fmla="*/ 624317 w 8680371"/>
                  <a:gd name="connsiteY26" fmla="*/ 57364 h 795903"/>
                  <a:gd name="connsiteX27" fmla="*/ 84495 w 8680371"/>
                  <a:gd name="connsiteY27" fmla="*/ 66415 h 795903"/>
                  <a:gd name="connsiteX0" fmla="*/ 58632 w 8654508"/>
                  <a:gd name="connsiteY0" fmla="*/ 66415 h 847530"/>
                  <a:gd name="connsiteX1" fmla="*/ 36694 w 8654508"/>
                  <a:gd name="connsiteY1" fmla="*/ 350379 h 847530"/>
                  <a:gd name="connsiteX2" fmla="*/ 51356 w 8654508"/>
                  <a:gd name="connsiteY2" fmla="*/ 609625 h 847530"/>
                  <a:gd name="connsiteX3" fmla="*/ 63573 w 8654508"/>
                  <a:gd name="connsiteY3" fmla="*/ 686441 h 847530"/>
                  <a:gd name="connsiteX4" fmla="*/ 99916 w 8654508"/>
                  <a:gd name="connsiteY4" fmla="*/ 846591 h 847530"/>
                  <a:gd name="connsiteX5" fmla="*/ 956717 w 8654508"/>
                  <a:gd name="connsiteY5" fmla="*/ 754148 h 847530"/>
                  <a:gd name="connsiteX6" fmla="*/ 1651576 w 8654508"/>
                  <a:gd name="connsiteY6" fmla="*/ 788136 h 847530"/>
                  <a:gd name="connsiteX7" fmla="*/ 2107586 w 8654508"/>
                  <a:gd name="connsiteY7" fmla="*/ 728648 h 847530"/>
                  <a:gd name="connsiteX8" fmla="*/ 2585308 w 8654508"/>
                  <a:gd name="connsiteY8" fmla="*/ 728648 h 847530"/>
                  <a:gd name="connsiteX9" fmla="*/ 3356177 w 8654508"/>
                  <a:gd name="connsiteY9" fmla="*/ 771142 h 847530"/>
                  <a:gd name="connsiteX10" fmla="*/ 4235613 w 8654508"/>
                  <a:gd name="connsiteY10" fmla="*/ 754148 h 847530"/>
                  <a:gd name="connsiteX11" fmla="*/ 4865331 w 8654508"/>
                  <a:gd name="connsiteY11" fmla="*/ 762654 h 847530"/>
                  <a:gd name="connsiteX12" fmla="*/ 5701341 w 8654508"/>
                  <a:gd name="connsiteY12" fmla="*/ 762654 h 847530"/>
                  <a:gd name="connsiteX13" fmla="*/ 6765354 w 8654508"/>
                  <a:gd name="connsiteY13" fmla="*/ 788154 h 847530"/>
                  <a:gd name="connsiteX14" fmla="*/ 7514509 w 8654508"/>
                  <a:gd name="connsiteY14" fmla="*/ 779648 h 847530"/>
                  <a:gd name="connsiteX15" fmla="*/ 8046504 w 8654508"/>
                  <a:gd name="connsiteY15" fmla="*/ 771142 h 847530"/>
                  <a:gd name="connsiteX16" fmla="*/ 8524227 w 8654508"/>
                  <a:gd name="connsiteY16" fmla="*/ 737154 h 847530"/>
                  <a:gd name="connsiteX17" fmla="*/ 8654508 w 8654508"/>
                  <a:gd name="connsiteY17" fmla="*/ 754148 h 847530"/>
                  <a:gd name="connsiteX18" fmla="*/ 8654508 w 8654508"/>
                  <a:gd name="connsiteY18" fmla="*/ 133791 h 847530"/>
                  <a:gd name="connsiteX19" fmla="*/ 8469932 w 8654508"/>
                  <a:gd name="connsiteY19" fmla="*/ 65870 h 847530"/>
                  <a:gd name="connsiteX20" fmla="*/ 7655636 w 8654508"/>
                  <a:gd name="connsiteY20" fmla="*/ 14889 h 847530"/>
                  <a:gd name="connsiteX21" fmla="*/ 7069345 w 8654508"/>
                  <a:gd name="connsiteY21" fmla="*/ 108364 h 847530"/>
                  <a:gd name="connsiteX22" fmla="*/ 6168195 w 8654508"/>
                  <a:gd name="connsiteY22" fmla="*/ 201839 h 847530"/>
                  <a:gd name="connsiteX23" fmla="*/ 5201904 w 8654508"/>
                  <a:gd name="connsiteY23" fmla="*/ 201839 h 847530"/>
                  <a:gd name="connsiteX24" fmla="*/ 3475614 w 8654508"/>
                  <a:gd name="connsiteY24" fmla="*/ 193333 h 847530"/>
                  <a:gd name="connsiteX25" fmla="*/ 2389886 w 8654508"/>
                  <a:gd name="connsiteY25" fmla="*/ 65870 h 847530"/>
                  <a:gd name="connsiteX26" fmla="*/ 598454 w 8654508"/>
                  <a:gd name="connsiteY26" fmla="*/ 57364 h 847530"/>
                  <a:gd name="connsiteX27" fmla="*/ 58632 w 8654508"/>
                  <a:gd name="connsiteY27" fmla="*/ 66415 h 847530"/>
                  <a:gd name="connsiteX0" fmla="*/ 54170 w 8650046"/>
                  <a:gd name="connsiteY0" fmla="*/ 66415 h 847528"/>
                  <a:gd name="connsiteX1" fmla="*/ 20012 w 8650046"/>
                  <a:gd name="connsiteY1" fmla="*/ 139144 h 847528"/>
                  <a:gd name="connsiteX2" fmla="*/ 32232 w 8650046"/>
                  <a:gd name="connsiteY2" fmla="*/ 350379 h 847528"/>
                  <a:gd name="connsiteX3" fmla="*/ 46894 w 8650046"/>
                  <a:gd name="connsiteY3" fmla="*/ 609625 h 847528"/>
                  <a:gd name="connsiteX4" fmla="*/ 59111 w 8650046"/>
                  <a:gd name="connsiteY4" fmla="*/ 686441 h 847528"/>
                  <a:gd name="connsiteX5" fmla="*/ 95454 w 8650046"/>
                  <a:gd name="connsiteY5" fmla="*/ 846591 h 847528"/>
                  <a:gd name="connsiteX6" fmla="*/ 952255 w 8650046"/>
                  <a:gd name="connsiteY6" fmla="*/ 754148 h 847528"/>
                  <a:gd name="connsiteX7" fmla="*/ 1647114 w 8650046"/>
                  <a:gd name="connsiteY7" fmla="*/ 788136 h 847528"/>
                  <a:gd name="connsiteX8" fmla="*/ 2103124 w 8650046"/>
                  <a:gd name="connsiteY8" fmla="*/ 728648 h 847528"/>
                  <a:gd name="connsiteX9" fmla="*/ 2580846 w 8650046"/>
                  <a:gd name="connsiteY9" fmla="*/ 728648 h 847528"/>
                  <a:gd name="connsiteX10" fmla="*/ 3351715 w 8650046"/>
                  <a:gd name="connsiteY10" fmla="*/ 771142 h 847528"/>
                  <a:gd name="connsiteX11" fmla="*/ 4231151 w 8650046"/>
                  <a:gd name="connsiteY11" fmla="*/ 754148 h 847528"/>
                  <a:gd name="connsiteX12" fmla="*/ 4860869 w 8650046"/>
                  <a:gd name="connsiteY12" fmla="*/ 762654 h 847528"/>
                  <a:gd name="connsiteX13" fmla="*/ 5696879 w 8650046"/>
                  <a:gd name="connsiteY13" fmla="*/ 762654 h 847528"/>
                  <a:gd name="connsiteX14" fmla="*/ 6760892 w 8650046"/>
                  <a:gd name="connsiteY14" fmla="*/ 788154 h 847528"/>
                  <a:gd name="connsiteX15" fmla="*/ 7510047 w 8650046"/>
                  <a:gd name="connsiteY15" fmla="*/ 779648 h 847528"/>
                  <a:gd name="connsiteX16" fmla="*/ 8042042 w 8650046"/>
                  <a:gd name="connsiteY16" fmla="*/ 771142 h 847528"/>
                  <a:gd name="connsiteX17" fmla="*/ 8519765 w 8650046"/>
                  <a:gd name="connsiteY17" fmla="*/ 737154 h 847528"/>
                  <a:gd name="connsiteX18" fmla="*/ 8650046 w 8650046"/>
                  <a:gd name="connsiteY18" fmla="*/ 754148 h 847528"/>
                  <a:gd name="connsiteX19" fmla="*/ 8650046 w 8650046"/>
                  <a:gd name="connsiteY19" fmla="*/ 133791 h 847528"/>
                  <a:gd name="connsiteX20" fmla="*/ 8465470 w 8650046"/>
                  <a:gd name="connsiteY20" fmla="*/ 65870 h 847528"/>
                  <a:gd name="connsiteX21" fmla="*/ 7651174 w 8650046"/>
                  <a:gd name="connsiteY21" fmla="*/ 14889 h 847528"/>
                  <a:gd name="connsiteX22" fmla="*/ 7064883 w 8650046"/>
                  <a:gd name="connsiteY22" fmla="*/ 108364 h 847528"/>
                  <a:gd name="connsiteX23" fmla="*/ 6163733 w 8650046"/>
                  <a:gd name="connsiteY23" fmla="*/ 201839 h 847528"/>
                  <a:gd name="connsiteX24" fmla="*/ 5197442 w 8650046"/>
                  <a:gd name="connsiteY24" fmla="*/ 201839 h 847528"/>
                  <a:gd name="connsiteX25" fmla="*/ 3471152 w 8650046"/>
                  <a:gd name="connsiteY25" fmla="*/ 193333 h 847528"/>
                  <a:gd name="connsiteX26" fmla="*/ 2385424 w 8650046"/>
                  <a:gd name="connsiteY26" fmla="*/ 65870 h 847528"/>
                  <a:gd name="connsiteX27" fmla="*/ 593992 w 8650046"/>
                  <a:gd name="connsiteY27" fmla="*/ 57364 h 847528"/>
                  <a:gd name="connsiteX28" fmla="*/ 54170 w 8650046"/>
                  <a:gd name="connsiteY28" fmla="*/ 66415 h 847528"/>
                  <a:gd name="connsiteX0" fmla="*/ 54170 w 8650046"/>
                  <a:gd name="connsiteY0" fmla="*/ 66415 h 847530"/>
                  <a:gd name="connsiteX1" fmla="*/ 20012 w 8650046"/>
                  <a:gd name="connsiteY1" fmla="*/ 139144 h 847530"/>
                  <a:gd name="connsiteX2" fmla="*/ 32232 w 8650046"/>
                  <a:gd name="connsiteY2" fmla="*/ 350379 h 847530"/>
                  <a:gd name="connsiteX3" fmla="*/ 46894 w 8650046"/>
                  <a:gd name="connsiteY3" fmla="*/ 609625 h 847530"/>
                  <a:gd name="connsiteX4" fmla="*/ 59111 w 8650046"/>
                  <a:gd name="connsiteY4" fmla="*/ 686441 h 847530"/>
                  <a:gd name="connsiteX5" fmla="*/ 95454 w 8650046"/>
                  <a:gd name="connsiteY5" fmla="*/ 846591 h 847530"/>
                  <a:gd name="connsiteX6" fmla="*/ 952255 w 8650046"/>
                  <a:gd name="connsiteY6" fmla="*/ 754148 h 847530"/>
                  <a:gd name="connsiteX7" fmla="*/ 1647114 w 8650046"/>
                  <a:gd name="connsiteY7" fmla="*/ 788136 h 847530"/>
                  <a:gd name="connsiteX8" fmla="*/ 2103124 w 8650046"/>
                  <a:gd name="connsiteY8" fmla="*/ 728648 h 847530"/>
                  <a:gd name="connsiteX9" fmla="*/ 2580846 w 8650046"/>
                  <a:gd name="connsiteY9" fmla="*/ 728648 h 847530"/>
                  <a:gd name="connsiteX10" fmla="*/ 3351715 w 8650046"/>
                  <a:gd name="connsiteY10" fmla="*/ 771142 h 847530"/>
                  <a:gd name="connsiteX11" fmla="*/ 4231151 w 8650046"/>
                  <a:gd name="connsiteY11" fmla="*/ 754148 h 847530"/>
                  <a:gd name="connsiteX12" fmla="*/ 4860869 w 8650046"/>
                  <a:gd name="connsiteY12" fmla="*/ 762654 h 847530"/>
                  <a:gd name="connsiteX13" fmla="*/ 5696879 w 8650046"/>
                  <a:gd name="connsiteY13" fmla="*/ 762654 h 847530"/>
                  <a:gd name="connsiteX14" fmla="*/ 6760892 w 8650046"/>
                  <a:gd name="connsiteY14" fmla="*/ 788154 h 847530"/>
                  <a:gd name="connsiteX15" fmla="*/ 7510047 w 8650046"/>
                  <a:gd name="connsiteY15" fmla="*/ 779648 h 847530"/>
                  <a:gd name="connsiteX16" fmla="*/ 8042042 w 8650046"/>
                  <a:gd name="connsiteY16" fmla="*/ 771142 h 847530"/>
                  <a:gd name="connsiteX17" fmla="*/ 8519765 w 8650046"/>
                  <a:gd name="connsiteY17" fmla="*/ 737154 h 847530"/>
                  <a:gd name="connsiteX18" fmla="*/ 8650046 w 8650046"/>
                  <a:gd name="connsiteY18" fmla="*/ 754148 h 847530"/>
                  <a:gd name="connsiteX19" fmla="*/ 8650046 w 8650046"/>
                  <a:gd name="connsiteY19" fmla="*/ 133791 h 847530"/>
                  <a:gd name="connsiteX20" fmla="*/ 8465470 w 8650046"/>
                  <a:gd name="connsiteY20" fmla="*/ 65870 h 847530"/>
                  <a:gd name="connsiteX21" fmla="*/ 7651174 w 8650046"/>
                  <a:gd name="connsiteY21" fmla="*/ 14889 h 847530"/>
                  <a:gd name="connsiteX22" fmla="*/ 7064883 w 8650046"/>
                  <a:gd name="connsiteY22" fmla="*/ 108364 h 847530"/>
                  <a:gd name="connsiteX23" fmla="*/ 6163733 w 8650046"/>
                  <a:gd name="connsiteY23" fmla="*/ 201839 h 847530"/>
                  <a:gd name="connsiteX24" fmla="*/ 5197442 w 8650046"/>
                  <a:gd name="connsiteY24" fmla="*/ 201839 h 847530"/>
                  <a:gd name="connsiteX25" fmla="*/ 3471152 w 8650046"/>
                  <a:gd name="connsiteY25" fmla="*/ 193333 h 847530"/>
                  <a:gd name="connsiteX26" fmla="*/ 2385424 w 8650046"/>
                  <a:gd name="connsiteY26" fmla="*/ 65870 h 847530"/>
                  <a:gd name="connsiteX27" fmla="*/ 593992 w 8650046"/>
                  <a:gd name="connsiteY27" fmla="*/ 57364 h 847530"/>
                  <a:gd name="connsiteX28" fmla="*/ 54170 w 8650046"/>
                  <a:gd name="connsiteY28" fmla="*/ 66415 h 847530"/>
                  <a:gd name="connsiteX0" fmla="*/ 48208 w 8644084"/>
                  <a:gd name="connsiteY0" fmla="*/ 66415 h 847528"/>
                  <a:gd name="connsiteX1" fmla="*/ 14050 w 8644084"/>
                  <a:gd name="connsiteY1" fmla="*/ 139144 h 847528"/>
                  <a:gd name="connsiteX2" fmla="*/ 26270 w 8644084"/>
                  <a:gd name="connsiteY2" fmla="*/ 350379 h 847528"/>
                  <a:gd name="connsiteX3" fmla="*/ 40932 w 8644084"/>
                  <a:gd name="connsiteY3" fmla="*/ 609625 h 847528"/>
                  <a:gd name="connsiteX4" fmla="*/ 53149 w 8644084"/>
                  <a:gd name="connsiteY4" fmla="*/ 686441 h 847528"/>
                  <a:gd name="connsiteX5" fmla="*/ 89492 w 8644084"/>
                  <a:gd name="connsiteY5" fmla="*/ 846591 h 847528"/>
                  <a:gd name="connsiteX6" fmla="*/ 946293 w 8644084"/>
                  <a:gd name="connsiteY6" fmla="*/ 754148 h 847528"/>
                  <a:gd name="connsiteX7" fmla="*/ 1641152 w 8644084"/>
                  <a:gd name="connsiteY7" fmla="*/ 788136 h 847528"/>
                  <a:gd name="connsiteX8" fmla="*/ 2097162 w 8644084"/>
                  <a:gd name="connsiteY8" fmla="*/ 728648 h 847528"/>
                  <a:gd name="connsiteX9" fmla="*/ 2574884 w 8644084"/>
                  <a:gd name="connsiteY9" fmla="*/ 728648 h 847528"/>
                  <a:gd name="connsiteX10" fmla="*/ 3345753 w 8644084"/>
                  <a:gd name="connsiteY10" fmla="*/ 771142 h 847528"/>
                  <a:gd name="connsiteX11" fmla="*/ 4225189 w 8644084"/>
                  <a:gd name="connsiteY11" fmla="*/ 754148 h 847528"/>
                  <a:gd name="connsiteX12" fmla="*/ 4854907 w 8644084"/>
                  <a:gd name="connsiteY12" fmla="*/ 762654 h 847528"/>
                  <a:gd name="connsiteX13" fmla="*/ 5690917 w 8644084"/>
                  <a:gd name="connsiteY13" fmla="*/ 762654 h 847528"/>
                  <a:gd name="connsiteX14" fmla="*/ 6754930 w 8644084"/>
                  <a:gd name="connsiteY14" fmla="*/ 788154 h 847528"/>
                  <a:gd name="connsiteX15" fmla="*/ 7504085 w 8644084"/>
                  <a:gd name="connsiteY15" fmla="*/ 779648 h 847528"/>
                  <a:gd name="connsiteX16" fmla="*/ 8036080 w 8644084"/>
                  <a:gd name="connsiteY16" fmla="*/ 771142 h 847528"/>
                  <a:gd name="connsiteX17" fmla="*/ 8513803 w 8644084"/>
                  <a:gd name="connsiteY17" fmla="*/ 737154 h 847528"/>
                  <a:gd name="connsiteX18" fmla="*/ 8644084 w 8644084"/>
                  <a:gd name="connsiteY18" fmla="*/ 754148 h 847528"/>
                  <a:gd name="connsiteX19" fmla="*/ 8644084 w 8644084"/>
                  <a:gd name="connsiteY19" fmla="*/ 133791 h 847528"/>
                  <a:gd name="connsiteX20" fmla="*/ 8459508 w 8644084"/>
                  <a:gd name="connsiteY20" fmla="*/ 65870 h 847528"/>
                  <a:gd name="connsiteX21" fmla="*/ 7645212 w 8644084"/>
                  <a:gd name="connsiteY21" fmla="*/ 14889 h 847528"/>
                  <a:gd name="connsiteX22" fmla="*/ 7058921 w 8644084"/>
                  <a:gd name="connsiteY22" fmla="*/ 108364 h 847528"/>
                  <a:gd name="connsiteX23" fmla="*/ 6157771 w 8644084"/>
                  <a:gd name="connsiteY23" fmla="*/ 201839 h 847528"/>
                  <a:gd name="connsiteX24" fmla="*/ 5191480 w 8644084"/>
                  <a:gd name="connsiteY24" fmla="*/ 201839 h 847528"/>
                  <a:gd name="connsiteX25" fmla="*/ 3465190 w 8644084"/>
                  <a:gd name="connsiteY25" fmla="*/ 193333 h 847528"/>
                  <a:gd name="connsiteX26" fmla="*/ 2379462 w 8644084"/>
                  <a:gd name="connsiteY26" fmla="*/ 65870 h 847528"/>
                  <a:gd name="connsiteX27" fmla="*/ 588030 w 8644084"/>
                  <a:gd name="connsiteY27" fmla="*/ 57364 h 847528"/>
                  <a:gd name="connsiteX28" fmla="*/ 48208 w 8644084"/>
                  <a:gd name="connsiteY28" fmla="*/ 66415 h 847528"/>
                  <a:gd name="connsiteX0" fmla="*/ 39893 w 8635769"/>
                  <a:gd name="connsiteY0" fmla="*/ 66415 h 847530"/>
                  <a:gd name="connsiteX1" fmla="*/ 5735 w 8635769"/>
                  <a:gd name="connsiteY1" fmla="*/ 139144 h 847530"/>
                  <a:gd name="connsiteX2" fmla="*/ 17955 w 8635769"/>
                  <a:gd name="connsiteY2" fmla="*/ 350379 h 847530"/>
                  <a:gd name="connsiteX3" fmla="*/ 32617 w 8635769"/>
                  <a:gd name="connsiteY3" fmla="*/ 609625 h 847530"/>
                  <a:gd name="connsiteX4" fmla="*/ 44834 w 8635769"/>
                  <a:gd name="connsiteY4" fmla="*/ 686441 h 847530"/>
                  <a:gd name="connsiteX5" fmla="*/ 81177 w 8635769"/>
                  <a:gd name="connsiteY5" fmla="*/ 846591 h 847530"/>
                  <a:gd name="connsiteX6" fmla="*/ 937978 w 8635769"/>
                  <a:gd name="connsiteY6" fmla="*/ 754148 h 847530"/>
                  <a:gd name="connsiteX7" fmla="*/ 1632837 w 8635769"/>
                  <a:gd name="connsiteY7" fmla="*/ 788136 h 847530"/>
                  <a:gd name="connsiteX8" fmla="*/ 2088847 w 8635769"/>
                  <a:gd name="connsiteY8" fmla="*/ 728648 h 847530"/>
                  <a:gd name="connsiteX9" fmla="*/ 2566569 w 8635769"/>
                  <a:gd name="connsiteY9" fmla="*/ 728648 h 847530"/>
                  <a:gd name="connsiteX10" fmla="*/ 3337438 w 8635769"/>
                  <a:gd name="connsiteY10" fmla="*/ 771142 h 847530"/>
                  <a:gd name="connsiteX11" fmla="*/ 4216874 w 8635769"/>
                  <a:gd name="connsiteY11" fmla="*/ 754148 h 847530"/>
                  <a:gd name="connsiteX12" fmla="*/ 4846592 w 8635769"/>
                  <a:gd name="connsiteY12" fmla="*/ 762654 h 847530"/>
                  <a:gd name="connsiteX13" fmla="*/ 5682602 w 8635769"/>
                  <a:gd name="connsiteY13" fmla="*/ 762654 h 847530"/>
                  <a:gd name="connsiteX14" fmla="*/ 6746615 w 8635769"/>
                  <a:gd name="connsiteY14" fmla="*/ 788154 h 847530"/>
                  <a:gd name="connsiteX15" fmla="*/ 7495770 w 8635769"/>
                  <a:gd name="connsiteY15" fmla="*/ 779648 h 847530"/>
                  <a:gd name="connsiteX16" fmla="*/ 8027765 w 8635769"/>
                  <a:gd name="connsiteY16" fmla="*/ 771142 h 847530"/>
                  <a:gd name="connsiteX17" fmla="*/ 8505488 w 8635769"/>
                  <a:gd name="connsiteY17" fmla="*/ 737154 h 847530"/>
                  <a:gd name="connsiteX18" fmla="*/ 8635769 w 8635769"/>
                  <a:gd name="connsiteY18" fmla="*/ 754148 h 847530"/>
                  <a:gd name="connsiteX19" fmla="*/ 8635769 w 8635769"/>
                  <a:gd name="connsiteY19" fmla="*/ 133791 h 847530"/>
                  <a:gd name="connsiteX20" fmla="*/ 8451193 w 8635769"/>
                  <a:gd name="connsiteY20" fmla="*/ 65870 h 847530"/>
                  <a:gd name="connsiteX21" fmla="*/ 7636897 w 8635769"/>
                  <a:gd name="connsiteY21" fmla="*/ 14889 h 847530"/>
                  <a:gd name="connsiteX22" fmla="*/ 7050606 w 8635769"/>
                  <a:gd name="connsiteY22" fmla="*/ 108364 h 847530"/>
                  <a:gd name="connsiteX23" fmla="*/ 6149456 w 8635769"/>
                  <a:gd name="connsiteY23" fmla="*/ 201839 h 847530"/>
                  <a:gd name="connsiteX24" fmla="*/ 5183165 w 8635769"/>
                  <a:gd name="connsiteY24" fmla="*/ 201839 h 847530"/>
                  <a:gd name="connsiteX25" fmla="*/ 3456875 w 8635769"/>
                  <a:gd name="connsiteY25" fmla="*/ 193333 h 847530"/>
                  <a:gd name="connsiteX26" fmla="*/ 2371147 w 8635769"/>
                  <a:gd name="connsiteY26" fmla="*/ 65870 h 847530"/>
                  <a:gd name="connsiteX27" fmla="*/ 579715 w 8635769"/>
                  <a:gd name="connsiteY27" fmla="*/ 57364 h 847530"/>
                  <a:gd name="connsiteX28" fmla="*/ 39893 w 8635769"/>
                  <a:gd name="connsiteY28" fmla="*/ 66415 h 847530"/>
                  <a:gd name="connsiteX0" fmla="*/ 39893 w 8635769"/>
                  <a:gd name="connsiteY0" fmla="*/ 66415 h 847528"/>
                  <a:gd name="connsiteX1" fmla="*/ 5735 w 8635769"/>
                  <a:gd name="connsiteY1" fmla="*/ 139144 h 847528"/>
                  <a:gd name="connsiteX2" fmla="*/ 17955 w 8635769"/>
                  <a:gd name="connsiteY2" fmla="*/ 350379 h 847528"/>
                  <a:gd name="connsiteX3" fmla="*/ 32617 w 8635769"/>
                  <a:gd name="connsiteY3" fmla="*/ 609625 h 847528"/>
                  <a:gd name="connsiteX4" fmla="*/ 44834 w 8635769"/>
                  <a:gd name="connsiteY4" fmla="*/ 686441 h 847528"/>
                  <a:gd name="connsiteX5" fmla="*/ 81177 w 8635769"/>
                  <a:gd name="connsiteY5" fmla="*/ 846591 h 847528"/>
                  <a:gd name="connsiteX6" fmla="*/ 937978 w 8635769"/>
                  <a:gd name="connsiteY6" fmla="*/ 754148 h 847528"/>
                  <a:gd name="connsiteX7" fmla="*/ 1632837 w 8635769"/>
                  <a:gd name="connsiteY7" fmla="*/ 788136 h 847528"/>
                  <a:gd name="connsiteX8" fmla="*/ 2088847 w 8635769"/>
                  <a:gd name="connsiteY8" fmla="*/ 728648 h 847528"/>
                  <a:gd name="connsiteX9" fmla="*/ 2566569 w 8635769"/>
                  <a:gd name="connsiteY9" fmla="*/ 728648 h 847528"/>
                  <a:gd name="connsiteX10" fmla="*/ 3337438 w 8635769"/>
                  <a:gd name="connsiteY10" fmla="*/ 771142 h 847528"/>
                  <a:gd name="connsiteX11" fmla="*/ 4216874 w 8635769"/>
                  <a:gd name="connsiteY11" fmla="*/ 754148 h 847528"/>
                  <a:gd name="connsiteX12" fmla="*/ 4846592 w 8635769"/>
                  <a:gd name="connsiteY12" fmla="*/ 762654 h 847528"/>
                  <a:gd name="connsiteX13" fmla="*/ 5682602 w 8635769"/>
                  <a:gd name="connsiteY13" fmla="*/ 762654 h 847528"/>
                  <a:gd name="connsiteX14" fmla="*/ 6746615 w 8635769"/>
                  <a:gd name="connsiteY14" fmla="*/ 788154 h 847528"/>
                  <a:gd name="connsiteX15" fmla="*/ 7495770 w 8635769"/>
                  <a:gd name="connsiteY15" fmla="*/ 779648 h 847528"/>
                  <a:gd name="connsiteX16" fmla="*/ 8027765 w 8635769"/>
                  <a:gd name="connsiteY16" fmla="*/ 771142 h 847528"/>
                  <a:gd name="connsiteX17" fmla="*/ 8505488 w 8635769"/>
                  <a:gd name="connsiteY17" fmla="*/ 737154 h 847528"/>
                  <a:gd name="connsiteX18" fmla="*/ 8635769 w 8635769"/>
                  <a:gd name="connsiteY18" fmla="*/ 754148 h 847528"/>
                  <a:gd name="connsiteX19" fmla="*/ 8635769 w 8635769"/>
                  <a:gd name="connsiteY19" fmla="*/ 133791 h 847528"/>
                  <a:gd name="connsiteX20" fmla="*/ 8451193 w 8635769"/>
                  <a:gd name="connsiteY20" fmla="*/ 65870 h 847528"/>
                  <a:gd name="connsiteX21" fmla="*/ 7636897 w 8635769"/>
                  <a:gd name="connsiteY21" fmla="*/ 14889 h 847528"/>
                  <a:gd name="connsiteX22" fmla="*/ 7050606 w 8635769"/>
                  <a:gd name="connsiteY22" fmla="*/ 108364 h 847528"/>
                  <a:gd name="connsiteX23" fmla="*/ 6149456 w 8635769"/>
                  <a:gd name="connsiteY23" fmla="*/ 201839 h 847528"/>
                  <a:gd name="connsiteX24" fmla="*/ 5183165 w 8635769"/>
                  <a:gd name="connsiteY24" fmla="*/ 201839 h 847528"/>
                  <a:gd name="connsiteX25" fmla="*/ 3456875 w 8635769"/>
                  <a:gd name="connsiteY25" fmla="*/ 193333 h 847528"/>
                  <a:gd name="connsiteX26" fmla="*/ 2371147 w 8635769"/>
                  <a:gd name="connsiteY26" fmla="*/ 65870 h 847528"/>
                  <a:gd name="connsiteX27" fmla="*/ 579715 w 8635769"/>
                  <a:gd name="connsiteY27" fmla="*/ 57364 h 847528"/>
                  <a:gd name="connsiteX28" fmla="*/ 39893 w 8635769"/>
                  <a:gd name="connsiteY28" fmla="*/ 66415 h 847528"/>
                  <a:gd name="connsiteX0" fmla="*/ 36653 w 8632529"/>
                  <a:gd name="connsiteY0" fmla="*/ 66415 h 847530"/>
                  <a:gd name="connsiteX1" fmla="*/ 2495 w 8632529"/>
                  <a:gd name="connsiteY1" fmla="*/ 139144 h 847530"/>
                  <a:gd name="connsiteX2" fmla="*/ 14715 w 8632529"/>
                  <a:gd name="connsiteY2" fmla="*/ 350379 h 847530"/>
                  <a:gd name="connsiteX3" fmla="*/ 29377 w 8632529"/>
                  <a:gd name="connsiteY3" fmla="*/ 609625 h 847530"/>
                  <a:gd name="connsiteX4" fmla="*/ 41594 w 8632529"/>
                  <a:gd name="connsiteY4" fmla="*/ 686441 h 847530"/>
                  <a:gd name="connsiteX5" fmla="*/ 77937 w 8632529"/>
                  <a:gd name="connsiteY5" fmla="*/ 846591 h 847530"/>
                  <a:gd name="connsiteX6" fmla="*/ 934738 w 8632529"/>
                  <a:gd name="connsiteY6" fmla="*/ 754148 h 847530"/>
                  <a:gd name="connsiteX7" fmla="*/ 1629597 w 8632529"/>
                  <a:gd name="connsiteY7" fmla="*/ 788136 h 847530"/>
                  <a:gd name="connsiteX8" fmla="*/ 2085607 w 8632529"/>
                  <a:gd name="connsiteY8" fmla="*/ 728648 h 847530"/>
                  <a:gd name="connsiteX9" fmla="*/ 2563329 w 8632529"/>
                  <a:gd name="connsiteY9" fmla="*/ 728648 h 847530"/>
                  <a:gd name="connsiteX10" fmla="*/ 3334198 w 8632529"/>
                  <a:gd name="connsiteY10" fmla="*/ 771142 h 847530"/>
                  <a:gd name="connsiteX11" fmla="*/ 4213634 w 8632529"/>
                  <a:gd name="connsiteY11" fmla="*/ 754148 h 847530"/>
                  <a:gd name="connsiteX12" fmla="*/ 4843352 w 8632529"/>
                  <a:gd name="connsiteY12" fmla="*/ 762654 h 847530"/>
                  <a:gd name="connsiteX13" fmla="*/ 5679362 w 8632529"/>
                  <a:gd name="connsiteY13" fmla="*/ 762654 h 847530"/>
                  <a:gd name="connsiteX14" fmla="*/ 6743375 w 8632529"/>
                  <a:gd name="connsiteY14" fmla="*/ 788154 h 847530"/>
                  <a:gd name="connsiteX15" fmla="*/ 7492530 w 8632529"/>
                  <a:gd name="connsiteY15" fmla="*/ 779648 h 847530"/>
                  <a:gd name="connsiteX16" fmla="*/ 8024525 w 8632529"/>
                  <a:gd name="connsiteY16" fmla="*/ 771142 h 847530"/>
                  <a:gd name="connsiteX17" fmla="*/ 8502248 w 8632529"/>
                  <a:gd name="connsiteY17" fmla="*/ 737154 h 847530"/>
                  <a:gd name="connsiteX18" fmla="*/ 8632529 w 8632529"/>
                  <a:gd name="connsiteY18" fmla="*/ 754148 h 847530"/>
                  <a:gd name="connsiteX19" fmla="*/ 8632529 w 8632529"/>
                  <a:gd name="connsiteY19" fmla="*/ 133791 h 847530"/>
                  <a:gd name="connsiteX20" fmla="*/ 8447953 w 8632529"/>
                  <a:gd name="connsiteY20" fmla="*/ 65870 h 847530"/>
                  <a:gd name="connsiteX21" fmla="*/ 7633657 w 8632529"/>
                  <a:gd name="connsiteY21" fmla="*/ 14889 h 847530"/>
                  <a:gd name="connsiteX22" fmla="*/ 7047366 w 8632529"/>
                  <a:gd name="connsiteY22" fmla="*/ 108364 h 847530"/>
                  <a:gd name="connsiteX23" fmla="*/ 6146216 w 8632529"/>
                  <a:gd name="connsiteY23" fmla="*/ 201839 h 847530"/>
                  <a:gd name="connsiteX24" fmla="*/ 5179925 w 8632529"/>
                  <a:gd name="connsiteY24" fmla="*/ 201839 h 847530"/>
                  <a:gd name="connsiteX25" fmla="*/ 3453635 w 8632529"/>
                  <a:gd name="connsiteY25" fmla="*/ 193333 h 847530"/>
                  <a:gd name="connsiteX26" fmla="*/ 2367907 w 8632529"/>
                  <a:gd name="connsiteY26" fmla="*/ 65870 h 847530"/>
                  <a:gd name="connsiteX27" fmla="*/ 576475 w 8632529"/>
                  <a:gd name="connsiteY27" fmla="*/ 57364 h 847530"/>
                  <a:gd name="connsiteX28" fmla="*/ 36653 w 8632529"/>
                  <a:gd name="connsiteY28" fmla="*/ 66415 h 847530"/>
                  <a:gd name="connsiteX0" fmla="*/ 38923 w 8634799"/>
                  <a:gd name="connsiteY0" fmla="*/ 66415 h 847528"/>
                  <a:gd name="connsiteX1" fmla="*/ 4765 w 8634799"/>
                  <a:gd name="connsiteY1" fmla="*/ 139144 h 847528"/>
                  <a:gd name="connsiteX2" fmla="*/ 16985 w 8634799"/>
                  <a:gd name="connsiteY2" fmla="*/ 350379 h 847528"/>
                  <a:gd name="connsiteX3" fmla="*/ 31647 w 8634799"/>
                  <a:gd name="connsiteY3" fmla="*/ 609625 h 847528"/>
                  <a:gd name="connsiteX4" fmla="*/ 43864 w 8634799"/>
                  <a:gd name="connsiteY4" fmla="*/ 686441 h 847528"/>
                  <a:gd name="connsiteX5" fmla="*/ 80207 w 8634799"/>
                  <a:gd name="connsiteY5" fmla="*/ 846591 h 847528"/>
                  <a:gd name="connsiteX6" fmla="*/ 937008 w 8634799"/>
                  <a:gd name="connsiteY6" fmla="*/ 754148 h 847528"/>
                  <a:gd name="connsiteX7" fmla="*/ 1631867 w 8634799"/>
                  <a:gd name="connsiteY7" fmla="*/ 788136 h 847528"/>
                  <a:gd name="connsiteX8" fmla="*/ 2087877 w 8634799"/>
                  <a:gd name="connsiteY8" fmla="*/ 728648 h 847528"/>
                  <a:gd name="connsiteX9" fmla="*/ 2565599 w 8634799"/>
                  <a:gd name="connsiteY9" fmla="*/ 728648 h 847528"/>
                  <a:gd name="connsiteX10" fmla="*/ 3336468 w 8634799"/>
                  <a:gd name="connsiteY10" fmla="*/ 771142 h 847528"/>
                  <a:gd name="connsiteX11" fmla="*/ 4215904 w 8634799"/>
                  <a:gd name="connsiteY11" fmla="*/ 754148 h 847528"/>
                  <a:gd name="connsiteX12" fmla="*/ 4845622 w 8634799"/>
                  <a:gd name="connsiteY12" fmla="*/ 762654 h 847528"/>
                  <a:gd name="connsiteX13" fmla="*/ 5681632 w 8634799"/>
                  <a:gd name="connsiteY13" fmla="*/ 762654 h 847528"/>
                  <a:gd name="connsiteX14" fmla="*/ 6745645 w 8634799"/>
                  <a:gd name="connsiteY14" fmla="*/ 788154 h 847528"/>
                  <a:gd name="connsiteX15" fmla="*/ 7494800 w 8634799"/>
                  <a:gd name="connsiteY15" fmla="*/ 779648 h 847528"/>
                  <a:gd name="connsiteX16" fmla="*/ 8026795 w 8634799"/>
                  <a:gd name="connsiteY16" fmla="*/ 771142 h 847528"/>
                  <a:gd name="connsiteX17" fmla="*/ 8504518 w 8634799"/>
                  <a:gd name="connsiteY17" fmla="*/ 737154 h 847528"/>
                  <a:gd name="connsiteX18" fmla="*/ 8634799 w 8634799"/>
                  <a:gd name="connsiteY18" fmla="*/ 754148 h 847528"/>
                  <a:gd name="connsiteX19" fmla="*/ 8634799 w 8634799"/>
                  <a:gd name="connsiteY19" fmla="*/ 133791 h 847528"/>
                  <a:gd name="connsiteX20" fmla="*/ 8450223 w 8634799"/>
                  <a:gd name="connsiteY20" fmla="*/ 65870 h 847528"/>
                  <a:gd name="connsiteX21" fmla="*/ 7635927 w 8634799"/>
                  <a:gd name="connsiteY21" fmla="*/ 14889 h 847528"/>
                  <a:gd name="connsiteX22" fmla="*/ 7049636 w 8634799"/>
                  <a:gd name="connsiteY22" fmla="*/ 108364 h 847528"/>
                  <a:gd name="connsiteX23" fmla="*/ 6148486 w 8634799"/>
                  <a:gd name="connsiteY23" fmla="*/ 201839 h 847528"/>
                  <a:gd name="connsiteX24" fmla="*/ 5182195 w 8634799"/>
                  <a:gd name="connsiteY24" fmla="*/ 201839 h 847528"/>
                  <a:gd name="connsiteX25" fmla="*/ 3455905 w 8634799"/>
                  <a:gd name="connsiteY25" fmla="*/ 193333 h 847528"/>
                  <a:gd name="connsiteX26" fmla="*/ 2370177 w 8634799"/>
                  <a:gd name="connsiteY26" fmla="*/ 65870 h 847528"/>
                  <a:gd name="connsiteX27" fmla="*/ 578745 w 8634799"/>
                  <a:gd name="connsiteY27" fmla="*/ 57364 h 847528"/>
                  <a:gd name="connsiteX28" fmla="*/ 38923 w 8634799"/>
                  <a:gd name="connsiteY28" fmla="*/ 66415 h 847528"/>
                  <a:gd name="connsiteX0" fmla="*/ 38923 w 8634799"/>
                  <a:gd name="connsiteY0" fmla="*/ 66415 h 847530"/>
                  <a:gd name="connsiteX1" fmla="*/ 4765 w 8634799"/>
                  <a:gd name="connsiteY1" fmla="*/ 139144 h 847530"/>
                  <a:gd name="connsiteX2" fmla="*/ 16985 w 8634799"/>
                  <a:gd name="connsiteY2" fmla="*/ 350379 h 847530"/>
                  <a:gd name="connsiteX3" fmla="*/ 31647 w 8634799"/>
                  <a:gd name="connsiteY3" fmla="*/ 609625 h 847530"/>
                  <a:gd name="connsiteX4" fmla="*/ 43864 w 8634799"/>
                  <a:gd name="connsiteY4" fmla="*/ 686441 h 847530"/>
                  <a:gd name="connsiteX5" fmla="*/ 80207 w 8634799"/>
                  <a:gd name="connsiteY5" fmla="*/ 846591 h 847530"/>
                  <a:gd name="connsiteX6" fmla="*/ 937008 w 8634799"/>
                  <a:gd name="connsiteY6" fmla="*/ 754148 h 847530"/>
                  <a:gd name="connsiteX7" fmla="*/ 1631867 w 8634799"/>
                  <a:gd name="connsiteY7" fmla="*/ 788136 h 847530"/>
                  <a:gd name="connsiteX8" fmla="*/ 2087877 w 8634799"/>
                  <a:gd name="connsiteY8" fmla="*/ 728648 h 847530"/>
                  <a:gd name="connsiteX9" fmla="*/ 2565599 w 8634799"/>
                  <a:gd name="connsiteY9" fmla="*/ 728648 h 847530"/>
                  <a:gd name="connsiteX10" fmla="*/ 3336468 w 8634799"/>
                  <a:gd name="connsiteY10" fmla="*/ 771142 h 847530"/>
                  <a:gd name="connsiteX11" fmla="*/ 4215904 w 8634799"/>
                  <a:gd name="connsiteY11" fmla="*/ 754148 h 847530"/>
                  <a:gd name="connsiteX12" fmla="*/ 4845622 w 8634799"/>
                  <a:gd name="connsiteY12" fmla="*/ 762654 h 847530"/>
                  <a:gd name="connsiteX13" fmla="*/ 5681632 w 8634799"/>
                  <a:gd name="connsiteY13" fmla="*/ 762654 h 847530"/>
                  <a:gd name="connsiteX14" fmla="*/ 6745645 w 8634799"/>
                  <a:gd name="connsiteY14" fmla="*/ 788154 h 847530"/>
                  <a:gd name="connsiteX15" fmla="*/ 7494800 w 8634799"/>
                  <a:gd name="connsiteY15" fmla="*/ 779648 h 847530"/>
                  <a:gd name="connsiteX16" fmla="*/ 8026795 w 8634799"/>
                  <a:gd name="connsiteY16" fmla="*/ 771142 h 847530"/>
                  <a:gd name="connsiteX17" fmla="*/ 8504518 w 8634799"/>
                  <a:gd name="connsiteY17" fmla="*/ 737154 h 847530"/>
                  <a:gd name="connsiteX18" fmla="*/ 8634799 w 8634799"/>
                  <a:gd name="connsiteY18" fmla="*/ 754148 h 847530"/>
                  <a:gd name="connsiteX19" fmla="*/ 8634799 w 8634799"/>
                  <a:gd name="connsiteY19" fmla="*/ 133791 h 847530"/>
                  <a:gd name="connsiteX20" fmla="*/ 8450223 w 8634799"/>
                  <a:gd name="connsiteY20" fmla="*/ 65870 h 847530"/>
                  <a:gd name="connsiteX21" fmla="*/ 7635927 w 8634799"/>
                  <a:gd name="connsiteY21" fmla="*/ 14889 h 847530"/>
                  <a:gd name="connsiteX22" fmla="*/ 7049636 w 8634799"/>
                  <a:gd name="connsiteY22" fmla="*/ 108364 h 847530"/>
                  <a:gd name="connsiteX23" fmla="*/ 6132068 w 8634799"/>
                  <a:gd name="connsiteY23" fmla="*/ 131955 h 847530"/>
                  <a:gd name="connsiteX24" fmla="*/ 5182195 w 8634799"/>
                  <a:gd name="connsiteY24" fmla="*/ 201839 h 847530"/>
                  <a:gd name="connsiteX25" fmla="*/ 3455905 w 8634799"/>
                  <a:gd name="connsiteY25" fmla="*/ 193333 h 847530"/>
                  <a:gd name="connsiteX26" fmla="*/ 2370177 w 8634799"/>
                  <a:gd name="connsiteY26" fmla="*/ 65870 h 847530"/>
                  <a:gd name="connsiteX27" fmla="*/ 578745 w 8634799"/>
                  <a:gd name="connsiteY27" fmla="*/ 57364 h 847530"/>
                  <a:gd name="connsiteX28" fmla="*/ 38923 w 8634799"/>
                  <a:gd name="connsiteY28" fmla="*/ 66415 h 847530"/>
                  <a:gd name="connsiteX0" fmla="*/ 38923 w 8634799"/>
                  <a:gd name="connsiteY0" fmla="*/ 66415 h 847528"/>
                  <a:gd name="connsiteX1" fmla="*/ 4765 w 8634799"/>
                  <a:gd name="connsiteY1" fmla="*/ 139144 h 847528"/>
                  <a:gd name="connsiteX2" fmla="*/ 16985 w 8634799"/>
                  <a:gd name="connsiteY2" fmla="*/ 350379 h 847528"/>
                  <a:gd name="connsiteX3" fmla="*/ 31647 w 8634799"/>
                  <a:gd name="connsiteY3" fmla="*/ 609625 h 847528"/>
                  <a:gd name="connsiteX4" fmla="*/ 43864 w 8634799"/>
                  <a:gd name="connsiteY4" fmla="*/ 686441 h 847528"/>
                  <a:gd name="connsiteX5" fmla="*/ 80207 w 8634799"/>
                  <a:gd name="connsiteY5" fmla="*/ 846591 h 847528"/>
                  <a:gd name="connsiteX6" fmla="*/ 937008 w 8634799"/>
                  <a:gd name="connsiteY6" fmla="*/ 754148 h 847528"/>
                  <a:gd name="connsiteX7" fmla="*/ 1631867 w 8634799"/>
                  <a:gd name="connsiteY7" fmla="*/ 788136 h 847528"/>
                  <a:gd name="connsiteX8" fmla="*/ 2087877 w 8634799"/>
                  <a:gd name="connsiteY8" fmla="*/ 728648 h 847528"/>
                  <a:gd name="connsiteX9" fmla="*/ 2565599 w 8634799"/>
                  <a:gd name="connsiteY9" fmla="*/ 728648 h 847528"/>
                  <a:gd name="connsiteX10" fmla="*/ 3336468 w 8634799"/>
                  <a:gd name="connsiteY10" fmla="*/ 771142 h 847528"/>
                  <a:gd name="connsiteX11" fmla="*/ 4215904 w 8634799"/>
                  <a:gd name="connsiteY11" fmla="*/ 754148 h 847528"/>
                  <a:gd name="connsiteX12" fmla="*/ 4845622 w 8634799"/>
                  <a:gd name="connsiteY12" fmla="*/ 762654 h 847528"/>
                  <a:gd name="connsiteX13" fmla="*/ 5681632 w 8634799"/>
                  <a:gd name="connsiteY13" fmla="*/ 762654 h 847528"/>
                  <a:gd name="connsiteX14" fmla="*/ 6745645 w 8634799"/>
                  <a:gd name="connsiteY14" fmla="*/ 788154 h 847528"/>
                  <a:gd name="connsiteX15" fmla="*/ 7494800 w 8634799"/>
                  <a:gd name="connsiteY15" fmla="*/ 779648 h 847528"/>
                  <a:gd name="connsiteX16" fmla="*/ 8026795 w 8634799"/>
                  <a:gd name="connsiteY16" fmla="*/ 771142 h 847528"/>
                  <a:gd name="connsiteX17" fmla="*/ 8504518 w 8634799"/>
                  <a:gd name="connsiteY17" fmla="*/ 737154 h 847528"/>
                  <a:gd name="connsiteX18" fmla="*/ 8634799 w 8634799"/>
                  <a:gd name="connsiteY18" fmla="*/ 754148 h 847528"/>
                  <a:gd name="connsiteX19" fmla="*/ 8634799 w 8634799"/>
                  <a:gd name="connsiteY19" fmla="*/ 133791 h 847528"/>
                  <a:gd name="connsiteX20" fmla="*/ 8450223 w 8634799"/>
                  <a:gd name="connsiteY20" fmla="*/ 65870 h 847528"/>
                  <a:gd name="connsiteX21" fmla="*/ 7635927 w 8634799"/>
                  <a:gd name="connsiteY21" fmla="*/ 14889 h 847528"/>
                  <a:gd name="connsiteX22" fmla="*/ 7049636 w 8634799"/>
                  <a:gd name="connsiteY22" fmla="*/ 108364 h 847528"/>
                  <a:gd name="connsiteX23" fmla="*/ 6132068 w 8634799"/>
                  <a:gd name="connsiteY23" fmla="*/ 131955 h 847528"/>
                  <a:gd name="connsiteX24" fmla="*/ 5182195 w 8634799"/>
                  <a:gd name="connsiteY24" fmla="*/ 201839 h 847528"/>
                  <a:gd name="connsiteX25" fmla="*/ 3455905 w 8634799"/>
                  <a:gd name="connsiteY25" fmla="*/ 193333 h 847528"/>
                  <a:gd name="connsiteX26" fmla="*/ 2370177 w 8634799"/>
                  <a:gd name="connsiteY26" fmla="*/ 65870 h 847528"/>
                  <a:gd name="connsiteX27" fmla="*/ 578745 w 8634799"/>
                  <a:gd name="connsiteY27" fmla="*/ 57364 h 847528"/>
                  <a:gd name="connsiteX28" fmla="*/ 38923 w 8634799"/>
                  <a:gd name="connsiteY28" fmla="*/ 66415 h 847528"/>
                  <a:gd name="connsiteX0" fmla="*/ 38923 w 8634799"/>
                  <a:gd name="connsiteY0" fmla="*/ 66415 h 847530"/>
                  <a:gd name="connsiteX1" fmla="*/ 4765 w 8634799"/>
                  <a:gd name="connsiteY1" fmla="*/ 139144 h 847530"/>
                  <a:gd name="connsiteX2" fmla="*/ 16985 w 8634799"/>
                  <a:gd name="connsiteY2" fmla="*/ 350379 h 847530"/>
                  <a:gd name="connsiteX3" fmla="*/ 31647 w 8634799"/>
                  <a:gd name="connsiteY3" fmla="*/ 609625 h 847530"/>
                  <a:gd name="connsiteX4" fmla="*/ 43864 w 8634799"/>
                  <a:gd name="connsiteY4" fmla="*/ 686441 h 847530"/>
                  <a:gd name="connsiteX5" fmla="*/ 80207 w 8634799"/>
                  <a:gd name="connsiteY5" fmla="*/ 846591 h 847530"/>
                  <a:gd name="connsiteX6" fmla="*/ 937008 w 8634799"/>
                  <a:gd name="connsiteY6" fmla="*/ 754148 h 847530"/>
                  <a:gd name="connsiteX7" fmla="*/ 1631867 w 8634799"/>
                  <a:gd name="connsiteY7" fmla="*/ 788136 h 847530"/>
                  <a:gd name="connsiteX8" fmla="*/ 2087877 w 8634799"/>
                  <a:gd name="connsiteY8" fmla="*/ 728648 h 847530"/>
                  <a:gd name="connsiteX9" fmla="*/ 2565599 w 8634799"/>
                  <a:gd name="connsiteY9" fmla="*/ 728648 h 847530"/>
                  <a:gd name="connsiteX10" fmla="*/ 3336468 w 8634799"/>
                  <a:gd name="connsiteY10" fmla="*/ 771142 h 847530"/>
                  <a:gd name="connsiteX11" fmla="*/ 4215904 w 8634799"/>
                  <a:gd name="connsiteY11" fmla="*/ 754148 h 847530"/>
                  <a:gd name="connsiteX12" fmla="*/ 4845622 w 8634799"/>
                  <a:gd name="connsiteY12" fmla="*/ 762654 h 847530"/>
                  <a:gd name="connsiteX13" fmla="*/ 5681632 w 8634799"/>
                  <a:gd name="connsiteY13" fmla="*/ 762654 h 847530"/>
                  <a:gd name="connsiteX14" fmla="*/ 6745645 w 8634799"/>
                  <a:gd name="connsiteY14" fmla="*/ 788154 h 847530"/>
                  <a:gd name="connsiteX15" fmla="*/ 7494800 w 8634799"/>
                  <a:gd name="connsiteY15" fmla="*/ 779648 h 847530"/>
                  <a:gd name="connsiteX16" fmla="*/ 8026795 w 8634799"/>
                  <a:gd name="connsiteY16" fmla="*/ 771142 h 847530"/>
                  <a:gd name="connsiteX17" fmla="*/ 8504518 w 8634799"/>
                  <a:gd name="connsiteY17" fmla="*/ 737154 h 847530"/>
                  <a:gd name="connsiteX18" fmla="*/ 8634799 w 8634799"/>
                  <a:gd name="connsiteY18" fmla="*/ 754148 h 847530"/>
                  <a:gd name="connsiteX19" fmla="*/ 8634799 w 8634799"/>
                  <a:gd name="connsiteY19" fmla="*/ 133791 h 847530"/>
                  <a:gd name="connsiteX20" fmla="*/ 8450223 w 8634799"/>
                  <a:gd name="connsiteY20" fmla="*/ 65870 h 847530"/>
                  <a:gd name="connsiteX21" fmla="*/ 7635927 w 8634799"/>
                  <a:gd name="connsiteY21" fmla="*/ 14889 h 847530"/>
                  <a:gd name="connsiteX22" fmla="*/ 7049636 w 8634799"/>
                  <a:gd name="connsiteY22" fmla="*/ 108364 h 847530"/>
                  <a:gd name="connsiteX23" fmla="*/ 6132068 w 8634799"/>
                  <a:gd name="connsiteY23" fmla="*/ 131955 h 847530"/>
                  <a:gd name="connsiteX24" fmla="*/ 5182195 w 8634799"/>
                  <a:gd name="connsiteY24" fmla="*/ 201839 h 847530"/>
                  <a:gd name="connsiteX25" fmla="*/ 3455905 w 8634799"/>
                  <a:gd name="connsiteY25" fmla="*/ 193333 h 847530"/>
                  <a:gd name="connsiteX26" fmla="*/ 2370177 w 8634799"/>
                  <a:gd name="connsiteY26" fmla="*/ 65870 h 847530"/>
                  <a:gd name="connsiteX27" fmla="*/ 578745 w 8634799"/>
                  <a:gd name="connsiteY27" fmla="*/ 57364 h 847530"/>
                  <a:gd name="connsiteX28" fmla="*/ 38923 w 8634799"/>
                  <a:gd name="connsiteY28" fmla="*/ 66415 h 847530"/>
                  <a:gd name="connsiteX0" fmla="*/ 38923 w 8634799"/>
                  <a:gd name="connsiteY0" fmla="*/ 66415 h 847528"/>
                  <a:gd name="connsiteX1" fmla="*/ 4765 w 8634799"/>
                  <a:gd name="connsiteY1" fmla="*/ 139144 h 847528"/>
                  <a:gd name="connsiteX2" fmla="*/ 16985 w 8634799"/>
                  <a:gd name="connsiteY2" fmla="*/ 350379 h 847528"/>
                  <a:gd name="connsiteX3" fmla="*/ 31647 w 8634799"/>
                  <a:gd name="connsiteY3" fmla="*/ 609625 h 847528"/>
                  <a:gd name="connsiteX4" fmla="*/ 43864 w 8634799"/>
                  <a:gd name="connsiteY4" fmla="*/ 686441 h 847528"/>
                  <a:gd name="connsiteX5" fmla="*/ 80207 w 8634799"/>
                  <a:gd name="connsiteY5" fmla="*/ 846591 h 847528"/>
                  <a:gd name="connsiteX6" fmla="*/ 937008 w 8634799"/>
                  <a:gd name="connsiteY6" fmla="*/ 754148 h 847528"/>
                  <a:gd name="connsiteX7" fmla="*/ 1631867 w 8634799"/>
                  <a:gd name="connsiteY7" fmla="*/ 788136 h 847528"/>
                  <a:gd name="connsiteX8" fmla="*/ 2087877 w 8634799"/>
                  <a:gd name="connsiteY8" fmla="*/ 728648 h 847528"/>
                  <a:gd name="connsiteX9" fmla="*/ 2565599 w 8634799"/>
                  <a:gd name="connsiteY9" fmla="*/ 728648 h 847528"/>
                  <a:gd name="connsiteX10" fmla="*/ 3336468 w 8634799"/>
                  <a:gd name="connsiteY10" fmla="*/ 771142 h 847528"/>
                  <a:gd name="connsiteX11" fmla="*/ 4215904 w 8634799"/>
                  <a:gd name="connsiteY11" fmla="*/ 754148 h 847528"/>
                  <a:gd name="connsiteX12" fmla="*/ 4845622 w 8634799"/>
                  <a:gd name="connsiteY12" fmla="*/ 762654 h 847528"/>
                  <a:gd name="connsiteX13" fmla="*/ 5681632 w 8634799"/>
                  <a:gd name="connsiteY13" fmla="*/ 762654 h 847528"/>
                  <a:gd name="connsiteX14" fmla="*/ 6745645 w 8634799"/>
                  <a:gd name="connsiteY14" fmla="*/ 788154 h 847528"/>
                  <a:gd name="connsiteX15" fmla="*/ 7494800 w 8634799"/>
                  <a:gd name="connsiteY15" fmla="*/ 779648 h 847528"/>
                  <a:gd name="connsiteX16" fmla="*/ 8026795 w 8634799"/>
                  <a:gd name="connsiteY16" fmla="*/ 771142 h 847528"/>
                  <a:gd name="connsiteX17" fmla="*/ 8504518 w 8634799"/>
                  <a:gd name="connsiteY17" fmla="*/ 737154 h 847528"/>
                  <a:gd name="connsiteX18" fmla="*/ 8634799 w 8634799"/>
                  <a:gd name="connsiteY18" fmla="*/ 754148 h 847528"/>
                  <a:gd name="connsiteX19" fmla="*/ 8634799 w 8634799"/>
                  <a:gd name="connsiteY19" fmla="*/ 133791 h 847528"/>
                  <a:gd name="connsiteX20" fmla="*/ 8450223 w 8634799"/>
                  <a:gd name="connsiteY20" fmla="*/ 65870 h 847528"/>
                  <a:gd name="connsiteX21" fmla="*/ 7635927 w 8634799"/>
                  <a:gd name="connsiteY21" fmla="*/ 14889 h 847528"/>
                  <a:gd name="connsiteX22" fmla="*/ 7049636 w 8634799"/>
                  <a:gd name="connsiteY22" fmla="*/ 108364 h 847528"/>
                  <a:gd name="connsiteX23" fmla="*/ 6342549 w 8634799"/>
                  <a:gd name="connsiteY23" fmla="*/ 55805 h 847528"/>
                  <a:gd name="connsiteX24" fmla="*/ 6132068 w 8634799"/>
                  <a:gd name="connsiteY24" fmla="*/ 131955 h 847528"/>
                  <a:gd name="connsiteX25" fmla="*/ 5182195 w 8634799"/>
                  <a:gd name="connsiteY25" fmla="*/ 201839 h 847528"/>
                  <a:gd name="connsiteX26" fmla="*/ 3455905 w 8634799"/>
                  <a:gd name="connsiteY26" fmla="*/ 193333 h 847528"/>
                  <a:gd name="connsiteX27" fmla="*/ 2370177 w 8634799"/>
                  <a:gd name="connsiteY27" fmla="*/ 65870 h 847528"/>
                  <a:gd name="connsiteX28" fmla="*/ 578745 w 8634799"/>
                  <a:gd name="connsiteY28" fmla="*/ 57364 h 847528"/>
                  <a:gd name="connsiteX29" fmla="*/ 38923 w 8634799"/>
                  <a:gd name="connsiteY29" fmla="*/ 66415 h 847528"/>
                  <a:gd name="connsiteX0" fmla="*/ 38923 w 8634799"/>
                  <a:gd name="connsiteY0" fmla="*/ 66415 h 847530"/>
                  <a:gd name="connsiteX1" fmla="*/ 4765 w 8634799"/>
                  <a:gd name="connsiteY1" fmla="*/ 139144 h 847530"/>
                  <a:gd name="connsiteX2" fmla="*/ 16985 w 8634799"/>
                  <a:gd name="connsiteY2" fmla="*/ 350379 h 847530"/>
                  <a:gd name="connsiteX3" fmla="*/ 31647 w 8634799"/>
                  <a:gd name="connsiteY3" fmla="*/ 609625 h 847530"/>
                  <a:gd name="connsiteX4" fmla="*/ 43864 w 8634799"/>
                  <a:gd name="connsiteY4" fmla="*/ 686441 h 847530"/>
                  <a:gd name="connsiteX5" fmla="*/ 80207 w 8634799"/>
                  <a:gd name="connsiteY5" fmla="*/ 846591 h 847530"/>
                  <a:gd name="connsiteX6" fmla="*/ 937008 w 8634799"/>
                  <a:gd name="connsiteY6" fmla="*/ 754148 h 847530"/>
                  <a:gd name="connsiteX7" fmla="*/ 1631867 w 8634799"/>
                  <a:gd name="connsiteY7" fmla="*/ 788136 h 847530"/>
                  <a:gd name="connsiteX8" fmla="*/ 2087877 w 8634799"/>
                  <a:gd name="connsiteY8" fmla="*/ 728648 h 847530"/>
                  <a:gd name="connsiteX9" fmla="*/ 2565599 w 8634799"/>
                  <a:gd name="connsiteY9" fmla="*/ 728648 h 847530"/>
                  <a:gd name="connsiteX10" fmla="*/ 3336468 w 8634799"/>
                  <a:gd name="connsiteY10" fmla="*/ 771142 h 847530"/>
                  <a:gd name="connsiteX11" fmla="*/ 4215904 w 8634799"/>
                  <a:gd name="connsiteY11" fmla="*/ 754148 h 847530"/>
                  <a:gd name="connsiteX12" fmla="*/ 4845622 w 8634799"/>
                  <a:gd name="connsiteY12" fmla="*/ 762654 h 847530"/>
                  <a:gd name="connsiteX13" fmla="*/ 5681632 w 8634799"/>
                  <a:gd name="connsiteY13" fmla="*/ 762654 h 847530"/>
                  <a:gd name="connsiteX14" fmla="*/ 6745645 w 8634799"/>
                  <a:gd name="connsiteY14" fmla="*/ 788154 h 847530"/>
                  <a:gd name="connsiteX15" fmla="*/ 7494800 w 8634799"/>
                  <a:gd name="connsiteY15" fmla="*/ 779648 h 847530"/>
                  <a:gd name="connsiteX16" fmla="*/ 8026795 w 8634799"/>
                  <a:gd name="connsiteY16" fmla="*/ 771142 h 847530"/>
                  <a:gd name="connsiteX17" fmla="*/ 8504518 w 8634799"/>
                  <a:gd name="connsiteY17" fmla="*/ 737154 h 847530"/>
                  <a:gd name="connsiteX18" fmla="*/ 8634799 w 8634799"/>
                  <a:gd name="connsiteY18" fmla="*/ 754148 h 847530"/>
                  <a:gd name="connsiteX19" fmla="*/ 8634799 w 8634799"/>
                  <a:gd name="connsiteY19" fmla="*/ 133791 h 847530"/>
                  <a:gd name="connsiteX20" fmla="*/ 8450223 w 8634799"/>
                  <a:gd name="connsiteY20" fmla="*/ 65870 h 847530"/>
                  <a:gd name="connsiteX21" fmla="*/ 7635927 w 8634799"/>
                  <a:gd name="connsiteY21" fmla="*/ 14889 h 847530"/>
                  <a:gd name="connsiteX22" fmla="*/ 7049636 w 8634799"/>
                  <a:gd name="connsiteY22" fmla="*/ 108364 h 847530"/>
                  <a:gd name="connsiteX23" fmla="*/ 6342549 w 8634799"/>
                  <a:gd name="connsiteY23" fmla="*/ 55805 h 847530"/>
                  <a:gd name="connsiteX24" fmla="*/ 6132068 w 8634799"/>
                  <a:gd name="connsiteY24" fmla="*/ 131955 h 847530"/>
                  <a:gd name="connsiteX25" fmla="*/ 5182195 w 8634799"/>
                  <a:gd name="connsiteY25" fmla="*/ 201839 h 847530"/>
                  <a:gd name="connsiteX26" fmla="*/ 3455905 w 8634799"/>
                  <a:gd name="connsiteY26" fmla="*/ 193333 h 847530"/>
                  <a:gd name="connsiteX27" fmla="*/ 2370177 w 8634799"/>
                  <a:gd name="connsiteY27" fmla="*/ 65870 h 847530"/>
                  <a:gd name="connsiteX28" fmla="*/ 578745 w 8634799"/>
                  <a:gd name="connsiteY28" fmla="*/ 57364 h 847530"/>
                  <a:gd name="connsiteX29" fmla="*/ 38923 w 8634799"/>
                  <a:gd name="connsiteY29" fmla="*/ 66415 h 847530"/>
                  <a:gd name="connsiteX0" fmla="*/ 38923 w 8634799"/>
                  <a:gd name="connsiteY0" fmla="*/ 66415 h 847528"/>
                  <a:gd name="connsiteX1" fmla="*/ 4765 w 8634799"/>
                  <a:gd name="connsiteY1" fmla="*/ 139144 h 847528"/>
                  <a:gd name="connsiteX2" fmla="*/ 16985 w 8634799"/>
                  <a:gd name="connsiteY2" fmla="*/ 350379 h 847528"/>
                  <a:gd name="connsiteX3" fmla="*/ 31647 w 8634799"/>
                  <a:gd name="connsiteY3" fmla="*/ 609625 h 847528"/>
                  <a:gd name="connsiteX4" fmla="*/ 43864 w 8634799"/>
                  <a:gd name="connsiteY4" fmla="*/ 686441 h 847528"/>
                  <a:gd name="connsiteX5" fmla="*/ 80207 w 8634799"/>
                  <a:gd name="connsiteY5" fmla="*/ 846591 h 847528"/>
                  <a:gd name="connsiteX6" fmla="*/ 937008 w 8634799"/>
                  <a:gd name="connsiteY6" fmla="*/ 754148 h 847528"/>
                  <a:gd name="connsiteX7" fmla="*/ 1631867 w 8634799"/>
                  <a:gd name="connsiteY7" fmla="*/ 788136 h 847528"/>
                  <a:gd name="connsiteX8" fmla="*/ 2087877 w 8634799"/>
                  <a:gd name="connsiteY8" fmla="*/ 728648 h 847528"/>
                  <a:gd name="connsiteX9" fmla="*/ 2565599 w 8634799"/>
                  <a:gd name="connsiteY9" fmla="*/ 728648 h 847528"/>
                  <a:gd name="connsiteX10" fmla="*/ 3336468 w 8634799"/>
                  <a:gd name="connsiteY10" fmla="*/ 771142 h 847528"/>
                  <a:gd name="connsiteX11" fmla="*/ 4215904 w 8634799"/>
                  <a:gd name="connsiteY11" fmla="*/ 754148 h 847528"/>
                  <a:gd name="connsiteX12" fmla="*/ 4845622 w 8634799"/>
                  <a:gd name="connsiteY12" fmla="*/ 762654 h 847528"/>
                  <a:gd name="connsiteX13" fmla="*/ 5681632 w 8634799"/>
                  <a:gd name="connsiteY13" fmla="*/ 762654 h 847528"/>
                  <a:gd name="connsiteX14" fmla="*/ 6745645 w 8634799"/>
                  <a:gd name="connsiteY14" fmla="*/ 788154 h 847528"/>
                  <a:gd name="connsiteX15" fmla="*/ 7494800 w 8634799"/>
                  <a:gd name="connsiteY15" fmla="*/ 779648 h 847528"/>
                  <a:gd name="connsiteX16" fmla="*/ 8026795 w 8634799"/>
                  <a:gd name="connsiteY16" fmla="*/ 771142 h 847528"/>
                  <a:gd name="connsiteX17" fmla="*/ 8504518 w 8634799"/>
                  <a:gd name="connsiteY17" fmla="*/ 737154 h 847528"/>
                  <a:gd name="connsiteX18" fmla="*/ 8634799 w 8634799"/>
                  <a:gd name="connsiteY18" fmla="*/ 754148 h 847528"/>
                  <a:gd name="connsiteX19" fmla="*/ 8634799 w 8634799"/>
                  <a:gd name="connsiteY19" fmla="*/ 133791 h 847528"/>
                  <a:gd name="connsiteX20" fmla="*/ 8450223 w 8634799"/>
                  <a:gd name="connsiteY20" fmla="*/ 65870 h 847528"/>
                  <a:gd name="connsiteX21" fmla="*/ 7635927 w 8634799"/>
                  <a:gd name="connsiteY21" fmla="*/ 14889 h 847528"/>
                  <a:gd name="connsiteX22" fmla="*/ 7049636 w 8634799"/>
                  <a:gd name="connsiteY22" fmla="*/ 108364 h 847528"/>
                  <a:gd name="connsiteX23" fmla="*/ 6342549 w 8634799"/>
                  <a:gd name="connsiteY23" fmla="*/ 55805 h 847528"/>
                  <a:gd name="connsiteX24" fmla="*/ 5902209 w 8634799"/>
                  <a:gd name="connsiteY24" fmla="*/ 158833 h 847528"/>
                  <a:gd name="connsiteX25" fmla="*/ 5182195 w 8634799"/>
                  <a:gd name="connsiteY25" fmla="*/ 201839 h 847528"/>
                  <a:gd name="connsiteX26" fmla="*/ 3455905 w 8634799"/>
                  <a:gd name="connsiteY26" fmla="*/ 193333 h 847528"/>
                  <a:gd name="connsiteX27" fmla="*/ 2370177 w 8634799"/>
                  <a:gd name="connsiteY27" fmla="*/ 65870 h 847528"/>
                  <a:gd name="connsiteX28" fmla="*/ 578745 w 8634799"/>
                  <a:gd name="connsiteY28" fmla="*/ 57364 h 847528"/>
                  <a:gd name="connsiteX29" fmla="*/ 38923 w 8634799"/>
                  <a:gd name="connsiteY29" fmla="*/ 66415 h 847528"/>
                  <a:gd name="connsiteX0" fmla="*/ 38923 w 8634799"/>
                  <a:gd name="connsiteY0" fmla="*/ 111866 h 892981"/>
                  <a:gd name="connsiteX1" fmla="*/ 4765 w 8634799"/>
                  <a:gd name="connsiteY1" fmla="*/ 184595 h 892981"/>
                  <a:gd name="connsiteX2" fmla="*/ 16985 w 8634799"/>
                  <a:gd name="connsiteY2" fmla="*/ 395830 h 892981"/>
                  <a:gd name="connsiteX3" fmla="*/ 31647 w 8634799"/>
                  <a:gd name="connsiteY3" fmla="*/ 655076 h 892981"/>
                  <a:gd name="connsiteX4" fmla="*/ 43864 w 8634799"/>
                  <a:gd name="connsiteY4" fmla="*/ 731892 h 892981"/>
                  <a:gd name="connsiteX5" fmla="*/ 80207 w 8634799"/>
                  <a:gd name="connsiteY5" fmla="*/ 892042 h 892981"/>
                  <a:gd name="connsiteX6" fmla="*/ 937008 w 8634799"/>
                  <a:gd name="connsiteY6" fmla="*/ 799599 h 892981"/>
                  <a:gd name="connsiteX7" fmla="*/ 1631867 w 8634799"/>
                  <a:gd name="connsiteY7" fmla="*/ 833587 h 892981"/>
                  <a:gd name="connsiteX8" fmla="*/ 2087877 w 8634799"/>
                  <a:gd name="connsiteY8" fmla="*/ 774099 h 892981"/>
                  <a:gd name="connsiteX9" fmla="*/ 2565599 w 8634799"/>
                  <a:gd name="connsiteY9" fmla="*/ 774099 h 892981"/>
                  <a:gd name="connsiteX10" fmla="*/ 3336468 w 8634799"/>
                  <a:gd name="connsiteY10" fmla="*/ 816593 h 892981"/>
                  <a:gd name="connsiteX11" fmla="*/ 4215904 w 8634799"/>
                  <a:gd name="connsiteY11" fmla="*/ 799599 h 892981"/>
                  <a:gd name="connsiteX12" fmla="*/ 4845622 w 8634799"/>
                  <a:gd name="connsiteY12" fmla="*/ 808105 h 892981"/>
                  <a:gd name="connsiteX13" fmla="*/ 5681632 w 8634799"/>
                  <a:gd name="connsiteY13" fmla="*/ 808105 h 892981"/>
                  <a:gd name="connsiteX14" fmla="*/ 6745645 w 8634799"/>
                  <a:gd name="connsiteY14" fmla="*/ 833605 h 892981"/>
                  <a:gd name="connsiteX15" fmla="*/ 7494800 w 8634799"/>
                  <a:gd name="connsiteY15" fmla="*/ 825099 h 892981"/>
                  <a:gd name="connsiteX16" fmla="*/ 8026795 w 8634799"/>
                  <a:gd name="connsiteY16" fmla="*/ 816593 h 892981"/>
                  <a:gd name="connsiteX17" fmla="*/ 8504518 w 8634799"/>
                  <a:gd name="connsiteY17" fmla="*/ 782605 h 892981"/>
                  <a:gd name="connsiteX18" fmla="*/ 8634799 w 8634799"/>
                  <a:gd name="connsiteY18" fmla="*/ 799599 h 892981"/>
                  <a:gd name="connsiteX19" fmla="*/ 8634799 w 8634799"/>
                  <a:gd name="connsiteY19" fmla="*/ 179242 h 892981"/>
                  <a:gd name="connsiteX20" fmla="*/ 8450223 w 8634799"/>
                  <a:gd name="connsiteY20" fmla="*/ 111321 h 892981"/>
                  <a:gd name="connsiteX21" fmla="*/ 7635927 w 8634799"/>
                  <a:gd name="connsiteY21" fmla="*/ 60340 h 892981"/>
                  <a:gd name="connsiteX22" fmla="*/ 7049636 w 8634799"/>
                  <a:gd name="connsiteY22" fmla="*/ 153815 h 892981"/>
                  <a:gd name="connsiteX23" fmla="*/ 6342549 w 8634799"/>
                  <a:gd name="connsiteY23" fmla="*/ 101256 h 892981"/>
                  <a:gd name="connsiteX24" fmla="*/ 5902209 w 8634799"/>
                  <a:gd name="connsiteY24" fmla="*/ 204284 h 892981"/>
                  <a:gd name="connsiteX25" fmla="*/ 5182195 w 8634799"/>
                  <a:gd name="connsiteY25" fmla="*/ 247290 h 892981"/>
                  <a:gd name="connsiteX26" fmla="*/ 3469826 w 8634799"/>
                  <a:gd name="connsiteY26" fmla="*/ 5421 h 892981"/>
                  <a:gd name="connsiteX27" fmla="*/ 2370177 w 8634799"/>
                  <a:gd name="connsiteY27" fmla="*/ 111321 h 892981"/>
                  <a:gd name="connsiteX28" fmla="*/ 578745 w 8634799"/>
                  <a:gd name="connsiteY28" fmla="*/ 102815 h 892981"/>
                  <a:gd name="connsiteX29" fmla="*/ 38923 w 8634799"/>
                  <a:gd name="connsiteY29" fmla="*/ 111866 h 892981"/>
                  <a:gd name="connsiteX0" fmla="*/ 38923 w 8634799"/>
                  <a:gd name="connsiteY0" fmla="*/ 135210 h 916324"/>
                  <a:gd name="connsiteX1" fmla="*/ 4765 w 8634799"/>
                  <a:gd name="connsiteY1" fmla="*/ 207939 h 916324"/>
                  <a:gd name="connsiteX2" fmla="*/ 16985 w 8634799"/>
                  <a:gd name="connsiteY2" fmla="*/ 419174 h 916324"/>
                  <a:gd name="connsiteX3" fmla="*/ 31647 w 8634799"/>
                  <a:gd name="connsiteY3" fmla="*/ 678420 h 916324"/>
                  <a:gd name="connsiteX4" fmla="*/ 43864 w 8634799"/>
                  <a:gd name="connsiteY4" fmla="*/ 755236 h 916324"/>
                  <a:gd name="connsiteX5" fmla="*/ 80207 w 8634799"/>
                  <a:gd name="connsiteY5" fmla="*/ 915386 h 916324"/>
                  <a:gd name="connsiteX6" fmla="*/ 937008 w 8634799"/>
                  <a:gd name="connsiteY6" fmla="*/ 822943 h 916324"/>
                  <a:gd name="connsiteX7" fmla="*/ 1631867 w 8634799"/>
                  <a:gd name="connsiteY7" fmla="*/ 856931 h 916324"/>
                  <a:gd name="connsiteX8" fmla="*/ 2087877 w 8634799"/>
                  <a:gd name="connsiteY8" fmla="*/ 797443 h 916324"/>
                  <a:gd name="connsiteX9" fmla="*/ 2565599 w 8634799"/>
                  <a:gd name="connsiteY9" fmla="*/ 797443 h 916324"/>
                  <a:gd name="connsiteX10" fmla="*/ 3336468 w 8634799"/>
                  <a:gd name="connsiteY10" fmla="*/ 839937 h 916324"/>
                  <a:gd name="connsiteX11" fmla="*/ 4215904 w 8634799"/>
                  <a:gd name="connsiteY11" fmla="*/ 822943 h 916324"/>
                  <a:gd name="connsiteX12" fmla="*/ 4845622 w 8634799"/>
                  <a:gd name="connsiteY12" fmla="*/ 831449 h 916324"/>
                  <a:gd name="connsiteX13" fmla="*/ 5681632 w 8634799"/>
                  <a:gd name="connsiteY13" fmla="*/ 831449 h 916324"/>
                  <a:gd name="connsiteX14" fmla="*/ 6745645 w 8634799"/>
                  <a:gd name="connsiteY14" fmla="*/ 856949 h 916324"/>
                  <a:gd name="connsiteX15" fmla="*/ 7494800 w 8634799"/>
                  <a:gd name="connsiteY15" fmla="*/ 848443 h 916324"/>
                  <a:gd name="connsiteX16" fmla="*/ 8026795 w 8634799"/>
                  <a:gd name="connsiteY16" fmla="*/ 839937 h 916324"/>
                  <a:gd name="connsiteX17" fmla="*/ 8504518 w 8634799"/>
                  <a:gd name="connsiteY17" fmla="*/ 805949 h 916324"/>
                  <a:gd name="connsiteX18" fmla="*/ 8634799 w 8634799"/>
                  <a:gd name="connsiteY18" fmla="*/ 822943 h 916324"/>
                  <a:gd name="connsiteX19" fmla="*/ 8634799 w 8634799"/>
                  <a:gd name="connsiteY19" fmla="*/ 202586 h 916324"/>
                  <a:gd name="connsiteX20" fmla="*/ 8450223 w 8634799"/>
                  <a:gd name="connsiteY20" fmla="*/ 134665 h 916324"/>
                  <a:gd name="connsiteX21" fmla="*/ 7635927 w 8634799"/>
                  <a:gd name="connsiteY21" fmla="*/ 83684 h 916324"/>
                  <a:gd name="connsiteX22" fmla="*/ 7049636 w 8634799"/>
                  <a:gd name="connsiteY22" fmla="*/ 177159 h 916324"/>
                  <a:gd name="connsiteX23" fmla="*/ 6342549 w 8634799"/>
                  <a:gd name="connsiteY23" fmla="*/ 124600 h 916324"/>
                  <a:gd name="connsiteX24" fmla="*/ 5902209 w 8634799"/>
                  <a:gd name="connsiteY24" fmla="*/ 227628 h 916324"/>
                  <a:gd name="connsiteX25" fmla="*/ 5182195 w 8634799"/>
                  <a:gd name="connsiteY25" fmla="*/ 270634 h 916324"/>
                  <a:gd name="connsiteX26" fmla="*/ 3469826 w 8634799"/>
                  <a:gd name="connsiteY26" fmla="*/ 28765 h 916324"/>
                  <a:gd name="connsiteX27" fmla="*/ 2370177 w 8634799"/>
                  <a:gd name="connsiteY27" fmla="*/ 134665 h 916324"/>
                  <a:gd name="connsiteX28" fmla="*/ 578745 w 8634799"/>
                  <a:gd name="connsiteY28" fmla="*/ 126159 h 916324"/>
                  <a:gd name="connsiteX29" fmla="*/ 38923 w 8634799"/>
                  <a:gd name="connsiteY29" fmla="*/ 135210 h 916324"/>
                  <a:gd name="connsiteX0" fmla="*/ 38923 w 8634799"/>
                  <a:gd name="connsiteY0" fmla="*/ 128131 h 909245"/>
                  <a:gd name="connsiteX1" fmla="*/ 4765 w 8634799"/>
                  <a:gd name="connsiteY1" fmla="*/ 200860 h 909245"/>
                  <a:gd name="connsiteX2" fmla="*/ 16985 w 8634799"/>
                  <a:gd name="connsiteY2" fmla="*/ 412095 h 909245"/>
                  <a:gd name="connsiteX3" fmla="*/ 31647 w 8634799"/>
                  <a:gd name="connsiteY3" fmla="*/ 671341 h 909245"/>
                  <a:gd name="connsiteX4" fmla="*/ 43864 w 8634799"/>
                  <a:gd name="connsiteY4" fmla="*/ 748157 h 909245"/>
                  <a:gd name="connsiteX5" fmla="*/ 80207 w 8634799"/>
                  <a:gd name="connsiteY5" fmla="*/ 908307 h 909245"/>
                  <a:gd name="connsiteX6" fmla="*/ 937008 w 8634799"/>
                  <a:gd name="connsiteY6" fmla="*/ 815864 h 909245"/>
                  <a:gd name="connsiteX7" fmla="*/ 1631867 w 8634799"/>
                  <a:gd name="connsiteY7" fmla="*/ 849852 h 909245"/>
                  <a:gd name="connsiteX8" fmla="*/ 2087877 w 8634799"/>
                  <a:gd name="connsiteY8" fmla="*/ 790364 h 909245"/>
                  <a:gd name="connsiteX9" fmla="*/ 2565599 w 8634799"/>
                  <a:gd name="connsiteY9" fmla="*/ 790364 h 909245"/>
                  <a:gd name="connsiteX10" fmla="*/ 3336468 w 8634799"/>
                  <a:gd name="connsiteY10" fmla="*/ 832858 h 909245"/>
                  <a:gd name="connsiteX11" fmla="*/ 4215904 w 8634799"/>
                  <a:gd name="connsiteY11" fmla="*/ 815864 h 909245"/>
                  <a:gd name="connsiteX12" fmla="*/ 4845622 w 8634799"/>
                  <a:gd name="connsiteY12" fmla="*/ 824370 h 909245"/>
                  <a:gd name="connsiteX13" fmla="*/ 5681632 w 8634799"/>
                  <a:gd name="connsiteY13" fmla="*/ 824370 h 909245"/>
                  <a:gd name="connsiteX14" fmla="*/ 6745645 w 8634799"/>
                  <a:gd name="connsiteY14" fmla="*/ 849870 h 909245"/>
                  <a:gd name="connsiteX15" fmla="*/ 7494800 w 8634799"/>
                  <a:gd name="connsiteY15" fmla="*/ 841364 h 909245"/>
                  <a:gd name="connsiteX16" fmla="*/ 8026795 w 8634799"/>
                  <a:gd name="connsiteY16" fmla="*/ 832858 h 909245"/>
                  <a:gd name="connsiteX17" fmla="*/ 8504518 w 8634799"/>
                  <a:gd name="connsiteY17" fmla="*/ 798870 h 909245"/>
                  <a:gd name="connsiteX18" fmla="*/ 8634799 w 8634799"/>
                  <a:gd name="connsiteY18" fmla="*/ 815864 h 909245"/>
                  <a:gd name="connsiteX19" fmla="*/ 8634799 w 8634799"/>
                  <a:gd name="connsiteY19" fmla="*/ 195507 h 909245"/>
                  <a:gd name="connsiteX20" fmla="*/ 8450223 w 8634799"/>
                  <a:gd name="connsiteY20" fmla="*/ 127586 h 909245"/>
                  <a:gd name="connsiteX21" fmla="*/ 7635927 w 8634799"/>
                  <a:gd name="connsiteY21" fmla="*/ 76605 h 909245"/>
                  <a:gd name="connsiteX22" fmla="*/ 7049636 w 8634799"/>
                  <a:gd name="connsiteY22" fmla="*/ 170080 h 909245"/>
                  <a:gd name="connsiteX23" fmla="*/ 6342549 w 8634799"/>
                  <a:gd name="connsiteY23" fmla="*/ 117521 h 909245"/>
                  <a:gd name="connsiteX24" fmla="*/ 5902209 w 8634799"/>
                  <a:gd name="connsiteY24" fmla="*/ 220549 h 909245"/>
                  <a:gd name="connsiteX25" fmla="*/ 5182195 w 8634799"/>
                  <a:gd name="connsiteY25" fmla="*/ 263555 h 909245"/>
                  <a:gd name="connsiteX26" fmla="*/ 3469826 w 8634799"/>
                  <a:gd name="connsiteY26" fmla="*/ 21686 h 909245"/>
                  <a:gd name="connsiteX27" fmla="*/ 2370177 w 8634799"/>
                  <a:gd name="connsiteY27" fmla="*/ 127586 h 909245"/>
                  <a:gd name="connsiteX28" fmla="*/ 578745 w 8634799"/>
                  <a:gd name="connsiteY28" fmla="*/ 119080 h 909245"/>
                  <a:gd name="connsiteX29" fmla="*/ 38923 w 8634799"/>
                  <a:gd name="connsiteY29" fmla="*/ 128131 h 909245"/>
                  <a:gd name="connsiteX0" fmla="*/ 38923 w 8634799"/>
                  <a:gd name="connsiteY0" fmla="*/ 134331 h 915445"/>
                  <a:gd name="connsiteX1" fmla="*/ 4765 w 8634799"/>
                  <a:gd name="connsiteY1" fmla="*/ 207060 h 915445"/>
                  <a:gd name="connsiteX2" fmla="*/ 16985 w 8634799"/>
                  <a:gd name="connsiteY2" fmla="*/ 418295 h 915445"/>
                  <a:gd name="connsiteX3" fmla="*/ 31647 w 8634799"/>
                  <a:gd name="connsiteY3" fmla="*/ 677541 h 915445"/>
                  <a:gd name="connsiteX4" fmla="*/ 43864 w 8634799"/>
                  <a:gd name="connsiteY4" fmla="*/ 754357 h 915445"/>
                  <a:gd name="connsiteX5" fmla="*/ 80207 w 8634799"/>
                  <a:gd name="connsiteY5" fmla="*/ 914507 h 915445"/>
                  <a:gd name="connsiteX6" fmla="*/ 937008 w 8634799"/>
                  <a:gd name="connsiteY6" fmla="*/ 822064 h 915445"/>
                  <a:gd name="connsiteX7" fmla="*/ 1631867 w 8634799"/>
                  <a:gd name="connsiteY7" fmla="*/ 856052 h 915445"/>
                  <a:gd name="connsiteX8" fmla="*/ 2087877 w 8634799"/>
                  <a:gd name="connsiteY8" fmla="*/ 796564 h 915445"/>
                  <a:gd name="connsiteX9" fmla="*/ 2565599 w 8634799"/>
                  <a:gd name="connsiteY9" fmla="*/ 796564 h 915445"/>
                  <a:gd name="connsiteX10" fmla="*/ 3336468 w 8634799"/>
                  <a:gd name="connsiteY10" fmla="*/ 839058 h 915445"/>
                  <a:gd name="connsiteX11" fmla="*/ 4215904 w 8634799"/>
                  <a:gd name="connsiteY11" fmla="*/ 822064 h 915445"/>
                  <a:gd name="connsiteX12" fmla="*/ 4845622 w 8634799"/>
                  <a:gd name="connsiteY12" fmla="*/ 830570 h 915445"/>
                  <a:gd name="connsiteX13" fmla="*/ 5681632 w 8634799"/>
                  <a:gd name="connsiteY13" fmla="*/ 830570 h 915445"/>
                  <a:gd name="connsiteX14" fmla="*/ 6745645 w 8634799"/>
                  <a:gd name="connsiteY14" fmla="*/ 856070 h 915445"/>
                  <a:gd name="connsiteX15" fmla="*/ 7494800 w 8634799"/>
                  <a:gd name="connsiteY15" fmla="*/ 847564 h 915445"/>
                  <a:gd name="connsiteX16" fmla="*/ 8026795 w 8634799"/>
                  <a:gd name="connsiteY16" fmla="*/ 839058 h 915445"/>
                  <a:gd name="connsiteX17" fmla="*/ 8504518 w 8634799"/>
                  <a:gd name="connsiteY17" fmla="*/ 805070 h 915445"/>
                  <a:gd name="connsiteX18" fmla="*/ 8634799 w 8634799"/>
                  <a:gd name="connsiteY18" fmla="*/ 822064 h 915445"/>
                  <a:gd name="connsiteX19" fmla="*/ 8634799 w 8634799"/>
                  <a:gd name="connsiteY19" fmla="*/ 201707 h 915445"/>
                  <a:gd name="connsiteX20" fmla="*/ 8450223 w 8634799"/>
                  <a:gd name="connsiteY20" fmla="*/ 133786 h 915445"/>
                  <a:gd name="connsiteX21" fmla="*/ 7635927 w 8634799"/>
                  <a:gd name="connsiteY21" fmla="*/ 82805 h 915445"/>
                  <a:gd name="connsiteX22" fmla="*/ 7049636 w 8634799"/>
                  <a:gd name="connsiteY22" fmla="*/ 176280 h 915445"/>
                  <a:gd name="connsiteX23" fmla="*/ 6342549 w 8634799"/>
                  <a:gd name="connsiteY23" fmla="*/ 123721 h 915445"/>
                  <a:gd name="connsiteX24" fmla="*/ 5902209 w 8634799"/>
                  <a:gd name="connsiteY24" fmla="*/ 226749 h 915445"/>
                  <a:gd name="connsiteX25" fmla="*/ 5182195 w 8634799"/>
                  <a:gd name="connsiteY25" fmla="*/ 269755 h 915445"/>
                  <a:gd name="connsiteX26" fmla="*/ 3618314 w 8634799"/>
                  <a:gd name="connsiteY26" fmla="*/ 21218 h 915445"/>
                  <a:gd name="connsiteX27" fmla="*/ 2370177 w 8634799"/>
                  <a:gd name="connsiteY27" fmla="*/ 133786 h 915445"/>
                  <a:gd name="connsiteX28" fmla="*/ 578745 w 8634799"/>
                  <a:gd name="connsiteY28" fmla="*/ 125280 h 915445"/>
                  <a:gd name="connsiteX29" fmla="*/ 38923 w 8634799"/>
                  <a:gd name="connsiteY29" fmla="*/ 134331 h 915445"/>
                  <a:gd name="connsiteX0" fmla="*/ 38923 w 8634799"/>
                  <a:gd name="connsiteY0" fmla="*/ 153045 h 934159"/>
                  <a:gd name="connsiteX1" fmla="*/ 4765 w 8634799"/>
                  <a:gd name="connsiteY1" fmla="*/ 225774 h 934159"/>
                  <a:gd name="connsiteX2" fmla="*/ 16985 w 8634799"/>
                  <a:gd name="connsiteY2" fmla="*/ 437009 h 934159"/>
                  <a:gd name="connsiteX3" fmla="*/ 31647 w 8634799"/>
                  <a:gd name="connsiteY3" fmla="*/ 696255 h 934159"/>
                  <a:gd name="connsiteX4" fmla="*/ 43864 w 8634799"/>
                  <a:gd name="connsiteY4" fmla="*/ 773071 h 934159"/>
                  <a:gd name="connsiteX5" fmla="*/ 80207 w 8634799"/>
                  <a:gd name="connsiteY5" fmla="*/ 933221 h 934159"/>
                  <a:gd name="connsiteX6" fmla="*/ 937008 w 8634799"/>
                  <a:gd name="connsiteY6" fmla="*/ 840778 h 934159"/>
                  <a:gd name="connsiteX7" fmla="*/ 1631867 w 8634799"/>
                  <a:gd name="connsiteY7" fmla="*/ 874766 h 934159"/>
                  <a:gd name="connsiteX8" fmla="*/ 2087877 w 8634799"/>
                  <a:gd name="connsiteY8" fmla="*/ 815278 h 934159"/>
                  <a:gd name="connsiteX9" fmla="*/ 2565599 w 8634799"/>
                  <a:gd name="connsiteY9" fmla="*/ 815278 h 934159"/>
                  <a:gd name="connsiteX10" fmla="*/ 3336468 w 8634799"/>
                  <a:gd name="connsiteY10" fmla="*/ 857772 h 934159"/>
                  <a:gd name="connsiteX11" fmla="*/ 4215904 w 8634799"/>
                  <a:gd name="connsiteY11" fmla="*/ 840778 h 934159"/>
                  <a:gd name="connsiteX12" fmla="*/ 4845622 w 8634799"/>
                  <a:gd name="connsiteY12" fmla="*/ 849284 h 934159"/>
                  <a:gd name="connsiteX13" fmla="*/ 5681632 w 8634799"/>
                  <a:gd name="connsiteY13" fmla="*/ 849284 h 934159"/>
                  <a:gd name="connsiteX14" fmla="*/ 6745645 w 8634799"/>
                  <a:gd name="connsiteY14" fmla="*/ 874784 h 934159"/>
                  <a:gd name="connsiteX15" fmla="*/ 7494800 w 8634799"/>
                  <a:gd name="connsiteY15" fmla="*/ 866278 h 934159"/>
                  <a:gd name="connsiteX16" fmla="*/ 8026795 w 8634799"/>
                  <a:gd name="connsiteY16" fmla="*/ 857772 h 934159"/>
                  <a:gd name="connsiteX17" fmla="*/ 8504518 w 8634799"/>
                  <a:gd name="connsiteY17" fmla="*/ 823784 h 934159"/>
                  <a:gd name="connsiteX18" fmla="*/ 8634799 w 8634799"/>
                  <a:gd name="connsiteY18" fmla="*/ 840778 h 934159"/>
                  <a:gd name="connsiteX19" fmla="*/ 8634799 w 8634799"/>
                  <a:gd name="connsiteY19" fmla="*/ 220421 h 934159"/>
                  <a:gd name="connsiteX20" fmla="*/ 8450223 w 8634799"/>
                  <a:gd name="connsiteY20" fmla="*/ 152500 h 934159"/>
                  <a:gd name="connsiteX21" fmla="*/ 7635927 w 8634799"/>
                  <a:gd name="connsiteY21" fmla="*/ 101519 h 934159"/>
                  <a:gd name="connsiteX22" fmla="*/ 7049636 w 8634799"/>
                  <a:gd name="connsiteY22" fmla="*/ 194994 h 934159"/>
                  <a:gd name="connsiteX23" fmla="*/ 6342549 w 8634799"/>
                  <a:gd name="connsiteY23" fmla="*/ 142435 h 934159"/>
                  <a:gd name="connsiteX24" fmla="*/ 5902209 w 8634799"/>
                  <a:gd name="connsiteY24" fmla="*/ 245463 h 934159"/>
                  <a:gd name="connsiteX25" fmla="*/ 5182195 w 8634799"/>
                  <a:gd name="connsiteY25" fmla="*/ 288469 h 934159"/>
                  <a:gd name="connsiteX26" fmla="*/ 3655437 w 8634799"/>
                  <a:gd name="connsiteY26" fmla="*/ 19929 h 934159"/>
                  <a:gd name="connsiteX27" fmla="*/ 2370177 w 8634799"/>
                  <a:gd name="connsiteY27" fmla="*/ 152500 h 934159"/>
                  <a:gd name="connsiteX28" fmla="*/ 578745 w 8634799"/>
                  <a:gd name="connsiteY28" fmla="*/ 143994 h 934159"/>
                  <a:gd name="connsiteX29" fmla="*/ 38923 w 8634799"/>
                  <a:gd name="connsiteY29" fmla="*/ 153045 h 934159"/>
                  <a:gd name="connsiteX0" fmla="*/ 38923 w 8634799"/>
                  <a:gd name="connsiteY0" fmla="*/ 203294 h 984408"/>
                  <a:gd name="connsiteX1" fmla="*/ 4765 w 8634799"/>
                  <a:gd name="connsiteY1" fmla="*/ 276023 h 984408"/>
                  <a:gd name="connsiteX2" fmla="*/ 16985 w 8634799"/>
                  <a:gd name="connsiteY2" fmla="*/ 487258 h 984408"/>
                  <a:gd name="connsiteX3" fmla="*/ 31647 w 8634799"/>
                  <a:gd name="connsiteY3" fmla="*/ 746504 h 984408"/>
                  <a:gd name="connsiteX4" fmla="*/ 43864 w 8634799"/>
                  <a:gd name="connsiteY4" fmla="*/ 823320 h 984408"/>
                  <a:gd name="connsiteX5" fmla="*/ 80207 w 8634799"/>
                  <a:gd name="connsiteY5" fmla="*/ 983470 h 984408"/>
                  <a:gd name="connsiteX6" fmla="*/ 937008 w 8634799"/>
                  <a:gd name="connsiteY6" fmla="*/ 891027 h 984408"/>
                  <a:gd name="connsiteX7" fmla="*/ 1631867 w 8634799"/>
                  <a:gd name="connsiteY7" fmla="*/ 925015 h 984408"/>
                  <a:gd name="connsiteX8" fmla="*/ 2087877 w 8634799"/>
                  <a:gd name="connsiteY8" fmla="*/ 865527 h 984408"/>
                  <a:gd name="connsiteX9" fmla="*/ 2565599 w 8634799"/>
                  <a:gd name="connsiteY9" fmla="*/ 865527 h 984408"/>
                  <a:gd name="connsiteX10" fmla="*/ 3336468 w 8634799"/>
                  <a:gd name="connsiteY10" fmla="*/ 908021 h 984408"/>
                  <a:gd name="connsiteX11" fmla="*/ 4215904 w 8634799"/>
                  <a:gd name="connsiteY11" fmla="*/ 891027 h 984408"/>
                  <a:gd name="connsiteX12" fmla="*/ 4845622 w 8634799"/>
                  <a:gd name="connsiteY12" fmla="*/ 899533 h 984408"/>
                  <a:gd name="connsiteX13" fmla="*/ 5681632 w 8634799"/>
                  <a:gd name="connsiteY13" fmla="*/ 899533 h 984408"/>
                  <a:gd name="connsiteX14" fmla="*/ 6745645 w 8634799"/>
                  <a:gd name="connsiteY14" fmla="*/ 925033 h 984408"/>
                  <a:gd name="connsiteX15" fmla="*/ 7494800 w 8634799"/>
                  <a:gd name="connsiteY15" fmla="*/ 916527 h 984408"/>
                  <a:gd name="connsiteX16" fmla="*/ 8026795 w 8634799"/>
                  <a:gd name="connsiteY16" fmla="*/ 908021 h 984408"/>
                  <a:gd name="connsiteX17" fmla="*/ 8504518 w 8634799"/>
                  <a:gd name="connsiteY17" fmla="*/ 874033 h 984408"/>
                  <a:gd name="connsiteX18" fmla="*/ 8634799 w 8634799"/>
                  <a:gd name="connsiteY18" fmla="*/ 891027 h 984408"/>
                  <a:gd name="connsiteX19" fmla="*/ 8634799 w 8634799"/>
                  <a:gd name="connsiteY19" fmla="*/ 270670 h 984408"/>
                  <a:gd name="connsiteX20" fmla="*/ 8450223 w 8634799"/>
                  <a:gd name="connsiteY20" fmla="*/ 202749 h 984408"/>
                  <a:gd name="connsiteX21" fmla="*/ 7635927 w 8634799"/>
                  <a:gd name="connsiteY21" fmla="*/ 151768 h 984408"/>
                  <a:gd name="connsiteX22" fmla="*/ 7049636 w 8634799"/>
                  <a:gd name="connsiteY22" fmla="*/ 245243 h 984408"/>
                  <a:gd name="connsiteX23" fmla="*/ 6342549 w 8634799"/>
                  <a:gd name="connsiteY23" fmla="*/ 192684 h 984408"/>
                  <a:gd name="connsiteX24" fmla="*/ 5902209 w 8634799"/>
                  <a:gd name="connsiteY24" fmla="*/ 295712 h 984408"/>
                  <a:gd name="connsiteX25" fmla="*/ 5182195 w 8634799"/>
                  <a:gd name="connsiteY25" fmla="*/ 338718 h 984408"/>
                  <a:gd name="connsiteX26" fmla="*/ 3655437 w 8634799"/>
                  <a:gd name="connsiteY26" fmla="*/ 70178 h 984408"/>
                  <a:gd name="connsiteX27" fmla="*/ 2370177 w 8634799"/>
                  <a:gd name="connsiteY27" fmla="*/ 202749 h 984408"/>
                  <a:gd name="connsiteX28" fmla="*/ 578745 w 8634799"/>
                  <a:gd name="connsiteY28" fmla="*/ 194243 h 984408"/>
                  <a:gd name="connsiteX29" fmla="*/ 38923 w 8634799"/>
                  <a:gd name="connsiteY29" fmla="*/ 203294 h 984408"/>
                  <a:gd name="connsiteX0" fmla="*/ 38923 w 8634799"/>
                  <a:gd name="connsiteY0" fmla="*/ 146213 h 927327"/>
                  <a:gd name="connsiteX1" fmla="*/ 4765 w 8634799"/>
                  <a:gd name="connsiteY1" fmla="*/ 218942 h 927327"/>
                  <a:gd name="connsiteX2" fmla="*/ 16985 w 8634799"/>
                  <a:gd name="connsiteY2" fmla="*/ 430177 h 927327"/>
                  <a:gd name="connsiteX3" fmla="*/ 31647 w 8634799"/>
                  <a:gd name="connsiteY3" fmla="*/ 689423 h 927327"/>
                  <a:gd name="connsiteX4" fmla="*/ 43864 w 8634799"/>
                  <a:gd name="connsiteY4" fmla="*/ 766239 h 927327"/>
                  <a:gd name="connsiteX5" fmla="*/ 80207 w 8634799"/>
                  <a:gd name="connsiteY5" fmla="*/ 926389 h 927327"/>
                  <a:gd name="connsiteX6" fmla="*/ 937008 w 8634799"/>
                  <a:gd name="connsiteY6" fmla="*/ 833946 h 927327"/>
                  <a:gd name="connsiteX7" fmla="*/ 1631867 w 8634799"/>
                  <a:gd name="connsiteY7" fmla="*/ 867934 h 927327"/>
                  <a:gd name="connsiteX8" fmla="*/ 2087877 w 8634799"/>
                  <a:gd name="connsiteY8" fmla="*/ 808446 h 927327"/>
                  <a:gd name="connsiteX9" fmla="*/ 2565599 w 8634799"/>
                  <a:gd name="connsiteY9" fmla="*/ 808446 h 927327"/>
                  <a:gd name="connsiteX10" fmla="*/ 3336468 w 8634799"/>
                  <a:gd name="connsiteY10" fmla="*/ 850940 h 927327"/>
                  <a:gd name="connsiteX11" fmla="*/ 4215904 w 8634799"/>
                  <a:gd name="connsiteY11" fmla="*/ 833946 h 927327"/>
                  <a:gd name="connsiteX12" fmla="*/ 4845622 w 8634799"/>
                  <a:gd name="connsiteY12" fmla="*/ 842452 h 927327"/>
                  <a:gd name="connsiteX13" fmla="*/ 5681632 w 8634799"/>
                  <a:gd name="connsiteY13" fmla="*/ 842452 h 927327"/>
                  <a:gd name="connsiteX14" fmla="*/ 6745645 w 8634799"/>
                  <a:gd name="connsiteY14" fmla="*/ 867952 h 927327"/>
                  <a:gd name="connsiteX15" fmla="*/ 7494800 w 8634799"/>
                  <a:gd name="connsiteY15" fmla="*/ 859446 h 927327"/>
                  <a:gd name="connsiteX16" fmla="*/ 8026795 w 8634799"/>
                  <a:gd name="connsiteY16" fmla="*/ 850940 h 927327"/>
                  <a:gd name="connsiteX17" fmla="*/ 8504518 w 8634799"/>
                  <a:gd name="connsiteY17" fmla="*/ 816952 h 927327"/>
                  <a:gd name="connsiteX18" fmla="*/ 8634799 w 8634799"/>
                  <a:gd name="connsiteY18" fmla="*/ 833946 h 927327"/>
                  <a:gd name="connsiteX19" fmla="*/ 8634799 w 8634799"/>
                  <a:gd name="connsiteY19" fmla="*/ 213589 h 927327"/>
                  <a:gd name="connsiteX20" fmla="*/ 8450223 w 8634799"/>
                  <a:gd name="connsiteY20" fmla="*/ 145668 h 927327"/>
                  <a:gd name="connsiteX21" fmla="*/ 7635927 w 8634799"/>
                  <a:gd name="connsiteY21" fmla="*/ 94687 h 927327"/>
                  <a:gd name="connsiteX22" fmla="*/ 7049636 w 8634799"/>
                  <a:gd name="connsiteY22" fmla="*/ 188162 h 927327"/>
                  <a:gd name="connsiteX23" fmla="*/ 6342549 w 8634799"/>
                  <a:gd name="connsiteY23" fmla="*/ 135603 h 927327"/>
                  <a:gd name="connsiteX24" fmla="*/ 5902209 w 8634799"/>
                  <a:gd name="connsiteY24" fmla="*/ 238631 h 927327"/>
                  <a:gd name="connsiteX25" fmla="*/ 5182195 w 8634799"/>
                  <a:gd name="connsiteY25" fmla="*/ 281637 h 927327"/>
                  <a:gd name="connsiteX26" fmla="*/ 3822487 w 8634799"/>
                  <a:gd name="connsiteY26" fmla="*/ 79772 h 927327"/>
                  <a:gd name="connsiteX27" fmla="*/ 2370177 w 8634799"/>
                  <a:gd name="connsiteY27" fmla="*/ 145668 h 927327"/>
                  <a:gd name="connsiteX28" fmla="*/ 578745 w 8634799"/>
                  <a:gd name="connsiteY28" fmla="*/ 137162 h 927327"/>
                  <a:gd name="connsiteX29" fmla="*/ 38923 w 8634799"/>
                  <a:gd name="connsiteY29" fmla="*/ 146213 h 927327"/>
                  <a:gd name="connsiteX0" fmla="*/ 38923 w 8634799"/>
                  <a:gd name="connsiteY0" fmla="*/ 157240 h 938354"/>
                  <a:gd name="connsiteX1" fmla="*/ 4765 w 8634799"/>
                  <a:gd name="connsiteY1" fmla="*/ 229969 h 938354"/>
                  <a:gd name="connsiteX2" fmla="*/ 16985 w 8634799"/>
                  <a:gd name="connsiteY2" fmla="*/ 441204 h 938354"/>
                  <a:gd name="connsiteX3" fmla="*/ 31647 w 8634799"/>
                  <a:gd name="connsiteY3" fmla="*/ 700450 h 938354"/>
                  <a:gd name="connsiteX4" fmla="*/ 43864 w 8634799"/>
                  <a:gd name="connsiteY4" fmla="*/ 777266 h 938354"/>
                  <a:gd name="connsiteX5" fmla="*/ 80207 w 8634799"/>
                  <a:gd name="connsiteY5" fmla="*/ 937416 h 938354"/>
                  <a:gd name="connsiteX6" fmla="*/ 937008 w 8634799"/>
                  <a:gd name="connsiteY6" fmla="*/ 844973 h 938354"/>
                  <a:gd name="connsiteX7" fmla="*/ 1631867 w 8634799"/>
                  <a:gd name="connsiteY7" fmla="*/ 878961 h 938354"/>
                  <a:gd name="connsiteX8" fmla="*/ 2087877 w 8634799"/>
                  <a:gd name="connsiteY8" fmla="*/ 819473 h 938354"/>
                  <a:gd name="connsiteX9" fmla="*/ 2565599 w 8634799"/>
                  <a:gd name="connsiteY9" fmla="*/ 819473 h 938354"/>
                  <a:gd name="connsiteX10" fmla="*/ 3336468 w 8634799"/>
                  <a:gd name="connsiteY10" fmla="*/ 861967 h 938354"/>
                  <a:gd name="connsiteX11" fmla="*/ 4215904 w 8634799"/>
                  <a:gd name="connsiteY11" fmla="*/ 844973 h 938354"/>
                  <a:gd name="connsiteX12" fmla="*/ 4845622 w 8634799"/>
                  <a:gd name="connsiteY12" fmla="*/ 853479 h 938354"/>
                  <a:gd name="connsiteX13" fmla="*/ 5681632 w 8634799"/>
                  <a:gd name="connsiteY13" fmla="*/ 853479 h 938354"/>
                  <a:gd name="connsiteX14" fmla="*/ 6745645 w 8634799"/>
                  <a:gd name="connsiteY14" fmla="*/ 878979 h 938354"/>
                  <a:gd name="connsiteX15" fmla="*/ 7494800 w 8634799"/>
                  <a:gd name="connsiteY15" fmla="*/ 870473 h 938354"/>
                  <a:gd name="connsiteX16" fmla="*/ 8026795 w 8634799"/>
                  <a:gd name="connsiteY16" fmla="*/ 861967 h 938354"/>
                  <a:gd name="connsiteX17" fmla="*/ 8504518 w 8634799"/>
                  <a:gd name="connsiteY17" fmla="*/ 827979 h 938354"/>
                  <a:gd name="connsiteX18" fmla="*/ 8634799 w 8634799"/>
                  <a:gd name="connsiteY18" fmla="*/ 844973 h 938354"/>
                  <a:gd name="connsiteX19" fmla="*/ 8634799 w 8634799"/>
                  <a:gd name="connsiteY19" fmla="*/ 224616 h 938354"/>
                  <a:gd name="connsiteX20" fmla="*/ 8450223 w 8634799"/>
                  <a:gd name="connsiteY20" fmla="*/ 156695 h 938354"/>
                  <a:gd name="connsiteX21" fmla="*/ 7635927 w 8634799"/>
                  <a:gd name="connsiteY21" fmla="*/ 105714 h 938354"/>
                  <a:gd name="connsiteX22" fmla="*/ 7049636 w 8634799"/>
                  <a:gd name="connsiteY22" fmla="*/ 199189 h 938354"/>
                  <a:gd name="connsiteX23" fmla="*/ 6342549 w 8634799"/>
                  <a:gd name="connsiteY23" fmla="*/ 146630 h 938354"/>
                  <a:gd name="connsiteX24" fmla="*/ 5902209 w 8634799"/>
                  <a:gd name="connsiteY24" fmla="*/ 249658 h 938354"/>
                  <a:gd name="connsiteX25" fmla="*/ 5182195 w 8634799"/>
                  <a:gd name="connsiteY25" fmla="*/ 292664 h 938354"/>
                  <a:gd name="connsiteX26" fmla="*/ 3822487 w 8634799"/>
                  <a:gd name="connsiteY26" fmla="*/ 90799 h 938354"/>
                  <a:gd name="connsiteX27" fmla="*/ 2370177 w 8634799"/>
                  <a:gd name="connsiteY27" fmla="*/ 156695 h 938354"/>
                  <a:gd name="connsiteX28" fmla="*/ 578745 w 8634799"/>
                  <a:gd name="connsiteY28" fmla="*/ 148189 h 938354"/>
                  <a:gd name="connsiteX29" fmla="*/ 38923 w 8634799"/>
                  <a:gd name="connsiteY29" fmla="*/ 157240 h 938354"/>
                  <a:gd name="connsiteX0" fmla="*/ 38923 w 12045155"/>
                  <a:gd name="connsiteY0" fmla="*/ 157240 h 938354"/>
                  <a:gd name="connsiteX1" fmla="*/ 4765 w 12045155"/>
                  <a:gd name="connsiteY1" fmla="*/ 229969 h 938354"/>
                  <a:gd name="connsiteX2" fmla="*/ 16985 w 12045155"/>
                  <a:gd name="connsiteY2" fmla="*/ 441204 h 938354"/>
                  <a:gd name="connsiteX3" fmla="*/ 31647 w 12045155"/>
                  <a:gd name="connsiteY3" fmla="*/ 700450 h 938354"/>
                  <a:gd name="connsiteX4" fmla="*/ 43864 w 12045155"/>
                  <a:gd name="connsiteY4" fmla="*/ 777266 h 938354"/>
                  <a:gd name="connsiteX5" fmla="*/ 80207 w 12045155"/>
                  <a:gd name="connsiteY5" fmla="*/ 937416 h 938354"/>
                  <a:gd name="connsiteX6" fmla="*/ 937008 w 12045155"/>
                  <a:gd name="connsiteY6" fmla="*/ 844973 h 938354"/>
                  <a:gd name="connsiteX7" fmla="*/ 1631867 w 12045155"/>
                  <a:gd name="connsiteY7" fmla="*/ 878961 h 938354"/>
                  <a:gd name="connsiteX8" fmla="*/ 2087877 w 12045155"/>
                  <a:gd name="connsiteY8" fmla="*/ 819473 h 938354"/>
                  <a:gd name="connsiteX9" fmla="*/ 2565599 w 12045155"/>
                  <a:gd name="connsiteY9" fmla="*/ 819473 h 938354"/>
                  <a:gd name="connsiteX10" fmla="*/ 3336468 w 12045155"/>
                  <a:gd name="connsiteY10" fmla="*/ 861967 h 938354"/>
                  <a:gd name="connsiteX11" fmla="*/ 4215904 w 12045155"/>
                  <a:gd name="connsiteY11" fmla="*/ 844973 h 938354"/>
                  <a:gd name="connsiteX12" fmla="*/ 4845622 w 12045155"/>
                  <a:gd name="connsiteY12" fmla="*/ 853479 h 938354"/>
                  <a:gd name="connsiteX13" fmla="*/ 5681632 w 12045155"/>
                  <a:gd name="connsiteY13" fmla="*/ 853479 h 938354"/>
                  <a:gd name="connsiteX14" fmla="*/ 6745645 w 12045155"/>
                  <a:gd name="connsiteY14" fmla="*/ 878979 h 938354"/>
                  <a:gd name="connsiteX15" fmla="*/ 7494800 w 12045155"/>
                  <a:gd name="connsiteY15" fmla="*/ 870473 h 938354"/>
                  <a:gd name="connsiteX16" fmla="*/ 8026795 w 12045155"/>
                  <a:gd name="connsiteY16" fmla="*/ 861967 h 938354"/>
                  <a:gd name="connsiteX17" fmla="*/ 8504518 w 12045155"/>
                  <a:gd name="connsiteY17" fmla="*/ 827979 h 938354"/>
                  <a:gd name="connsiteX18" fmla="*/ 12045155 w 12045155"/>
                  <a:gd name="connsiteY18" fmla="*/ 699393 h 938354"/>
                  <a:gd name="connsiteX19" fmla="*/ 8634799 w 12045155"/>
                  <a:gd name="connsiteY19" fmla="*/ 224616 h 938354"/>
                  <a:gd name="connsiteX20" fmla="*/ 8450223 w 12045155"/>
                  <a:gd name="connsiteY20" fmla="*/ 156695 h 938354"/>
                  <a:gd name="connsiteX21" fmla="*/ 7635927 w 12045155"/>
                  <a:gd name="connsiteY21" fmla="*/ 105714 h 938354"/>
                  <a:gd name="connsiteX22" fmla="*/ 7049636 w 12045155"/>
                  <a:gd name="connsiteY22" fmla="*/ 199189 h 938354"/>
                  <a:gd name="connsiteX23" fmla="*/ 6342549 w 12045155"/>
                  <a:gd name="connsiteY23" fmla="*/ 146630 h 938354"/>
                  <a:gd name="connsiteX24" fmla="*/ 5902209 w 12045155"/>
                  <a:gd name="connsiteY24" fmla="*/ 249658 h 938354"/>
                  <a:gd name="connsiteX25" fmla="*/ 5182195 w 12045155"/>
                  <a:gd name="connsiteY25" fmla="*/ 292664 h 938354"/>
                  <a:gd name="connsiteX26" fmla="*/ 3822487 w 12045155"/>
                  <a:gd name="connsiteY26" fmla="*/ 90799 h 938354"/>
                  <a:gd name="connsiteX27" fmla="*/ 2370177 w 12045155"/>
                  <a:gd name="connsiteY27" fmla="*/ 156695 h 938354"/>
                  <a:gd name="connsiteX28" fmla="*/ 578745 w 12045155"/>
                  <a:gd name="connsiteY28" fmla="*/ 148189 h 938354"/>
                  <a:gd name="connsiteX29" fmla="*/ 38923 w 12045155"/>
                  <a:gd name="connsiteY29" fmla="*/ 157240 h 938354"/>
                  <a:gd name="connsiteX0" fmla="*/ 38923 w 12045155"/>
                  <a:gd name="connsiteY0" fmla="*/ 157240 h 938354"/>
                  <a:gd name="connsiteX1" fmla="*/ 4765 w 12045155"/>
                  <a:gd name="connsiteY1" fmla="*/ 229969 h 938354"/>
                  <a:gd name="connsiteX2" fmla="*/ 16985 w 12045155"/>
                  <a:gd name="connsiteY2" fmla="*/ 441204 h 938354"/>
                  <a:gd name="connsiteX3" fmla="*/ 31647 w 12045155"/>
                  <a:gd name="connsiteY3" fmla="*/ 700450 h 938354"/>
                  <a:gd name="connsiteX4" fmla="*/ 43864 w 12045155"/>
                  <a:gd name="connsiteY4" fmla="*/ 777266 h 938354"/>
                  <a:gd name="connsiteX5" fmla="*/ 80207 w 12045155"/>
                  <a:gd name="connsiteY5" fmla="*/ 937416 h 938354"/>
                  <a:gd name="connsiteX6" fmla="*/ 937008 w 12045155"/>
                  <a:gd name="connsiteY6" fmla="*/ 844973 h 938354"/>
                  <a:gd name="connsiteX7" fmla="*/ 1631867 w 12045155"/>
                  <a:gd name="connsiteY7" fmla="*/ 878961 h 938354"/>
                  <a:gd name="connsiteX8" fmla="*/ 2087877 w 12045155"/>
                  <a:gd name="connsiteY8" fmla="*/ 819473 h 938354"/>
                  <a:gd name="connsiteX9" fmla="*/ 2565599 w 12045155"/>
                  <a:gd name="connsiteY9" fmla="*/ 819473 h 938354"/>
                  <a:gd name="connsiteX10" fmla="*/ 3336468 w 12045155"/>
                  <a:gd name="connsiteY10" fmla="*/ 861967 h 938354"/>
                  <a:gd name="connsiteX11" fmla="*/ 4215904 w 12045155"/>
                  <a:gd name="connsiteY11" fmla="*/ 844973 h 938354"/>
                  <a:gd name="connsiteX12" fmla="*/ 4845622 w 12045155"/>
                  <a:gd name="connsiteY12" fmla="*/ 853479 h 938354"/>
                  <a:gd name="connsiteX13" fmla="*/ 5681632 w 12045155"/>
                  <a:gd name="connsiteY13" fmla="*/ 853479 h 938354"/>
                  <a:gd name="connsiteX14" fmla="*/ 6745645 w 12045155"/>
                  <a:gd name="connsiteY14" fmla="*/ 878979 h 938354"/>
                  <a:gd name="connsiteX15" fmla="*/ 7494800 w 12045155"/>
                  <a:gd name="connsiteY15" fmla="*/ 870473 h 938354"/>
                  <a:gd name="connsiteX16" fmla="*/ 8026795 w 12045155"/>
                  <a:gd name="connsiteY16" fmla="*/ 861967 h 938354"/>
                  <a:gd name="connsiteX17" fmla="*/ 8504518 w 12045155"/>
                  <a:gd name="connsiteY17" fmla="*/ 827979 h 938354"/>
                  <a:gd name="connsiteX18" fmla="*/ 12045155 w 12045155"/>
                  <a:gd name="connsiteY18" fmla="*/ 699393 h 938354"/>
                  <a:gd name="connsiteX19" fmla="*/ 12045155 w 12045155"/>
                  <a:gd name="connsiteY19" fmla="*/ 261011 h 938354"/>
                  <a:gd name="connsiteX20" fmla="*/ 8450223 w 12045155"/>
                  <a:gd name="connsiteY20" fmla="*/ 156695 h 938354"/>
                  <a:gd name="connsiteX21" fmla="*/ 7635927 w 12045155"/>
                  <a:gd name="connsiteY21" fmla="*/ 105714 h 938354"/>
                  <a:gd name="connsiteX22" fmla="*/ 7049636 w 12045155"/>
                  <a:gd name="connsiteY22" fmla="*/ 199189 h 938354"/>
                  <a:gd name="connsiteX23" fmla="*/ 6342549 w 12045155"/>
                  <a:gd name="connsiteY23" fmla="*/ 146630 h 938354"/>
                  <a:gd name="connsiteX24" fmla="*/ 5902209 w 12045155"/>
                  <a:gd name="connsiteY24" fmla="*/ 249658 h 938354"/>
                  <a:gd name="connsiteX25" fmla="*/ 5182195 w 12045155"/>
                  <a:gd name="connsiteY25" fmla="*/ 292664 h 938354"/>
                  <a:gd name="connsiteX26" fmla="*/ 3822487 w 12045155"/>
                  <a:gd name="connsiteY26" fmla="*/ 90799 h 938354"/>
                  <a:gd name="connsiteX27" fmla="*/ 2370177 w 12045155"/>
                  <a:gd name="connsiteY27" fmla="*/ 156695 h 938354"/>
                  <a:gd name="connsiteX28" fmla="*/ 578745 w 12045155"/>
                  <a:gd name="connsiteY28" fmla="*/ 148189 h 938354"/>
                  <a:gd name="connsiteX29" fmla="*/ 38923 w 12045155"/>
                  <a:gd name="connsiteY29" fmla="*/ 157240 h 938354"/>
                  <a:gd name="connsiteX0" fmla="*/ 38923 w 12045155"/>
                  <a:gd name="connsiteY0" fmla="*/ 157240 h 1129823"/>
                  <a:gd name="connsiteX1" fmla="*/ 4765 w 12045155"/>
                  <a:gd name="connsiteY1" fmla="*/ 229969 h 1129823"/>
                  <a:gd name="connsiteX2" fmla="*/ 16985 w 12045155"/>
                  <a:gd name="connsiteY2" fmla="*/ 441204 h 1129823"/>
                  <a:gd name="connsiteX3" fmla="*/ 31647 w 12045155"/>
                  <a:gd name="connsiteY3" fmla="*/ 700450 h 1129823"/>
                  <a:gd name="connsiteX4" fmla="*/ 43864 w 12045155"/>
                  <a:gd name="connsiteY4" fmla="*/ 777266 h 1129823"/>
                  <a:gd name="connsiteX5" fmla="*/ 80207 w 12045155"/>
                  <a:gd name="connsiteY5" fmla="*/ 937416 h 1129823"/>
                  <a:gd name="connsiteX6" fmla="*/ 937008 w 12045155"/>
                  <a:gd name="connsiteY6" fmla="*/ 844973 h 1129823"/>
                  <a:gd name="connsiteX7" fmla="*/ 1631867 w 12045155"/>
                  <a:gd name="connsiteY7" fmla="*/ 878961 h 1129823"/>
                  <a:gd name="connsiteX8" fmla="*/ 2087877 w 12045155"/>
                  <a:gd name="connsiteY8" fmla="*/ 819473 h 1129823"/>
                  <a:gd name="connsiteX9" fmla="*/ 2565599 w 12045155"/>
                  <a:gd name="connsiteY9" fmla="*/ 819473 h 1129823"/>
                  <a:gd name="connsiteX10" fmla="*/ 3336468 w 12045155"/>
                  <a:gd name="connsiteY10" fmla="*/ 861967 h 1129823"/>
                  <a:gd name="connsiteX11" fmla="*/ 4215904 w 12045155"/>
                  <a:gd name="connsiteY11" fmla="*/ 844973 h 1129823"/>
                  <a:gd name="connsiteX12" fmla="*/ 4845622 w 12045155"/>
                  <a:gd name="connsiteY12" fmla="*/ 853479 h 1129823"/>
                  <a:gd name="connsiteX13" fmla="*/ 5681632 w 12045155"/>
                  <a:gd name="connsiteY13" fmla="*/ 853479 h 1129823"/>
                  <a:gd name="connsiteX14" fmla="*/ 6745645 w 12045155"/>
                  <a:gd name="connsiteY14" fmla="*/ 878979 h 1129823"/>
                  <a:gd name="connsiteX15" fmla="*/ 7494800 w 12045155"/>
                  <a:gd name="connsiteY15" fmla="*/ 870473 h 1129823"/>
                  <a:gd name="connsiteX16" fmla="*/ 8026795 w 12045155"/>
                  <a:gd name="connsiteY16" fmla="*/ 861967 h 1129823"/>
                  <a:gd name="connsiteX17" fmla="*/ 8504518 w 12045155"/>
                  <a:gd name="connsiteY17" fmla="*/ 827979 h 1129823"/>
                  <a:gd name="connsiteX18" fmla="*/ 11481826 w 12045155"/>
                  <a:gd name="connsiteY18" fmla="*/ 1127088 h 1129823"/>
                  <a:gd name="connsiteX19" fmla="*/ 12045155 w 12045155"/>
                  <a:gd name="connsiteY19" fmla="*/ 699393 h 1129823"/>
                  <a:gd name="connsiteX20" fmla="*/ 12045155 w 12045155"/>
                  <a:gd name="connsiteY20" fmla="*/ 261011 h 1129823"/>
                  <a:gd name="connsiteX21" fmla="*/ 8450223 w 12045155"/>
                  <a:gd name="connsiteY21" fmla="*/ 156695 h 1129823"/>
                  <a:gd name="connsiteX22" fmla="*/ 7635927 w 12045155"/>
                  <a:gd name="connsiteY22" fmla="*/ 105714 h 1129823"/>
                  <a:gd name="connsiteX23" fmla="*/ 7049636 w 12045155"/>
                  <a:gd name="connsiteY23" fmla="*/ 199189 h 1129823"/>
                  <a:gd name="connsiteX24" fmla="*/ 6342549 w 12045155"/>
                  <a:gd name="connsiteY24" fmla="*/ 146630 h 1129823"/>
                  <a:gd name="connsiteX25" fmla="*/ 5902209 w 12045155"/>
                  <a:gd name="connsiteY25" fmla="*/ 249658 h 1129823"/>
                  <a:gd name="connsiteX26" fmla="*/ 5182195 w 12045155"/>
                  <a:gd name="connsiteY26" fmla="*/ 292664 h 1129823"/>
                  <a:gd name="connsiteX27" fmla="*/ 3822487 w 12045155"/>
                  <a:gd name="connsiteY27" fmla="*/ 90799 h 1129823"/>
                  <a:gd name="connsiteX28" fmla="*/ 2370177 w 12045155"/>
                  <a:gd name="connsiteY28" fmla="*/ 156695 h 1129823"/>
                  <a:gd name="connsiteX29" fmla="*/ 578745 w 12045155"/>
                  <a:gd name="connsiteY29" fmla="*/ 148189 h 1129823"/>
                  <a:gd name="connsiteX30" fmla="*/ 38923 w 12045155"/>
                  <a:gd name="connsiteY30" fmla="*/ 157240 h 1129823"/>
                  <a:gd name="connsiteX0" fmla="*/ 38923 w 12045155"/>
                  <a:gd name="connsiteY0" fmla="*/ 157240 h 1784983"/>
                  <a:gd name="connsiteX1" fmla="*/ 4765 w 12045155"/>
                  <a:gd name="connsiteY1" fmla="*/ 229969 h 1784983"/>
                  <a:gd name="connsiteX2" fmla="*/ 16985 w 12045155"/>
                  <a:gd name="connsiteY2" fmla="*/ 441204 h 1784983"/>
                  <a:gd name="connsiteX3" fmla="*/ 31647 w 12045155"/>
                  <a:gd name="connsiteY3" fmla="*/ 700450 h 1784983"/>
                  <a:gd name="connsiteX4" fmla="*/ 43864 w 12045155"/>
                  <a:gd name="connsiteY4" fmla="*/ 777266 h 1784983"/>
                  <a:gd name="connsiteX5" fmla="*/ 80207 w 12045155"/>
                  <a:gd name="connsiteY5" fmla="*/ 937416 h 1784983"/>
                  <a:gd name="connsiteX6" fmla="*/ 937008 w 12045155"/>
                  <a:gd name="connsiteY6" fmla="*/ 844973 h 1784983"/>
                  <a:gd name="connsiteX7" fmla="*/ 1631867 w 12045155"/>
                  <a:gd name="connsiteY7" fmla="*/ 878961 h 1784983"/>
                  <a:gd name="connsiteX8" fmla="*/ 2087877 w 12045155"/>
                  <a:gd name="connsiteY8" fmla="*/ 819473 h 1784983"/>
                  <a:gd name="connsiteX9" fmla="*/ 2565599 w 12045155"/>
                  <a:gd name="connsiteY9" fmla="*/ 819473 h 1784983"/>
                  <a:gd name="connsiteX10" fmla="*/ 3336468 w 12045155"/>
                  <a:gd name="connsiteY10" fmla="*/ 861967 h 1784983"/>
                  <a:gd name="connsiteX11" fmla="*/ 4215904 w 12045155"/>
                  <a:gd name="connsiteY11" fmla="*/ 844973 h 1784983"/>
                  <a:gd name="connsiteX12" fmla="*/ 4845622 w 12045155"/>
                  <a:gd name="connsiteY12" fmla="*/ 853479 h 1784983"/>
                  <a:gd name="connsiteX13" fmla="*/ 5681632 w 12045155"/>
                  <a:gd name="connsiteY13" fmla="*/ 853479 h 1784983"/>
                  <a:gd name="connsiteX14" fmla="*/ 6745645 w 12045155"/>
                  <a:gd name="connsiteY14" fmla="*/ 878979 h 1784983"/>
                  <a:gd name="connsiteX15" fmla="*/ 7494800 w 12045155"/>
                  <a:gd name="connsiteY15" fmla="*/ 870473 h 1784983"/>
                  <a:gd name="connsiteX16" fmla="*/ 8026795 w 12045155"/>
                  <a:gd name="connsiteY16" fmla="*/ 861967 h 1784983"/>
                  <a:gd name="connsiteX17" fmla="*/ 8504518 w 12045155"/>
                  <a:gd name="connsiteY17" fmla="*/ 827979 h 1784983"/>
                  <a:gd name="connsiteX18" fmla="*/ 10922986 w 12045155"/>
                  <a:gd name="connsiteY18" fmla="*/ 1782194 h 1784983"/>
                  <a:gd name="connsiteX19" fmla="*/ 11481826 w 12045155"/>
                  <a:gd name="connsiteY19" fmla="*/ 1127088 h 1784983"/>
                  <a:gd name="connsiteX20" fmla="*/ 12045155 w 12045155"/>
                  <a:gd name="connsiteY20" fmla="*/ 699393 h 1784983"/>
                  <a:gd name="connsiteX21" fmla="*/ 12045155 w 12045155"/>
                  <a:gd name="connsiteY21" fmla="*/ 261011 h 1784983"/>
                  <a:gd name="connsiteX22" fmla="*/ 8450223 w 12045155"/>
                  <a:gd name="connsiteY22" fmla="*/ 156695 h 1784983"/>
                  <a:gd name="connsiteX23" fmla="*/ 7635927 w 12045155"/>
                  <a:gd name="connsiteY23" fmla="*/ 105714 h 1784983"/>
                  <a:gd name="connsiteX24" fmla="*/ 7049636 w 12045155"/>
                  <a:gd name="connsiteY24" fmla="*/ 199189 h 1784983"/>
                  <a:gd name="connsiteX25" fmla="*/ 6342549 w 12045155"/>
                  <a:gd name="connsiteY25" fmla="*/ 146630 h 1784983"/>
                  <a:gd name="connsiteX26" fmla="*/ 5902209 w 12045155"/>
                  <a:gd name="connsiteY26" fmla="*/ 249658 h 1784983"/>
                  <a:gd name="connsiteX27" fmla="*/ 5182195 w 12045155"/>
                  <a:gd name="connsiteY27" fmla="*/ 292664 h 1784983"/>
                  <a:gd name="connsiteX28" fmla="*/ 3822487 w 12045155"/>
                  <a:gd name="connsiteY28" fmla="*/ 90799 h 1784983"/>
                  <a:gd name="connsiteX29" fmla="*/ 2370177 w 12045155"/>
                  <a:gd name="connsiteY29" fmla="*/ 156695 h 1784983"/>
                  <a:gd name="connsiteX30" fmla="*/ 578745 w 12045155"/>
                  <a:gd name="connsiteY30" fmla="*/ 148189 h 1784983"/>
                  <a:gd name="connsiteX31" fmla="*/ 38923 w 12045155"/>
                  <a:gd name="connsiteY31" fmla="*/ 157240 h 1784983"/>
                  <a:gd name="connsiteX0" fmla="*/ 38923 w 12045155"/>
                  <a:gd name="connsiteY0" fmla="*/ 157240 h 1848237"/>
                  <a:gd name="connsiteX1" fmla="*/ 4765 w 12045155"/>
                  <a:gd name="connsiteY1" fmla="*/ 229969 h 1848237"/>
                  <a:gd name="connsiteX2" fmla="*/ 16985 w 12045155"/>
                  <a:gd name="connsiteY2" fmla="*/ 441204 h 1848237"/>
                  <a:gd name="connsiteX3" fmla="*/ 31647 w 12045155"/>
                  <a:gd name="connsiteY3" fmla="*/ 700450 h 1848237"/>
                  <a:gd name="connsiteX4" fmla="*/ 43864 w 12045155"/>
                  <a:gd name="connsiteY4" fmla="*/ 777266 h 1848237"/>
                  <a:gd name="connsiteX5" fmla="*/ 80207 w 12045155"/>
                  <a:gd name="connsiteY5" fmla="*/ 937416 h 1848237"/>
                  <a:gd name="connsiteX6" fmla="*/ 937008 w 12045155"/>
                  <a:gd name="connsiteY6" fmla="*/ 844973 h 1848237"/>
                  <a:gd name="connsiteX7" fmla="*/ 1631867 w 12045155"/>
                  <a:gd name="connsiteY7" fmla="*/ 878961 h 1848237"/>
                  <a:gd name="connsiteX8" fmla="*/ 2087877 w 12045155"/>
                  <a:gd name="connsiteY8" fmla="*/ 819473 h 1848237"/>
                  <a:gd name="connsiteX9" fmla="*/ 2565599 w 12045155"/>
                  <a:gd name="connsiteY9" fmla="*/ 819473 h 1848237"/>
                  <a:gd name="connsiteX10" fmla="*/ 3336468 w 12045155"/>
                  <a:gd name="connsiteY10" fmla="*/ 861967 h 1848237"/>
                  <a:gd name="connsiteX11" fmla="*/ 4215904 w 12045155"/>
                  <a:gd name="connsiteY11" fmla="*/ 844973 h 1848237"/>
                  <a:gd name="connsiteX12" fmla="*/ 4845622 w 12045155"/>
                  <a:gd name="connsiteY12" fmla="*/ 853479 h 1848237"/>
                  <a:gd name="connsiteX13" fmla="*/ 5681632 w 12045155"/>
                  <a:gd name="connsiteY13" fmla="*/ 853479 h 1848237"/>
                  <a:gd name="connsiteX14" fmla="*/ 6745645 w 12045155"/>
                  <a:gd name="connsiteY14" fmla="*/ 878979 h 1848237"/>
                  <a:gd name="connsiteX15" fmla="*/ 7494800 w 12045155"/>
                  <a:gd name="connsiteY15" fmla="*/ 870473 h 1848237"/>
                  <a:gd name="connsiteX16" fmla="*/ 8026795 w 12045155"/>
                  <a:gd name="connsiteY16" fmla="*/ 861967 h 1848237"/>
                  <a:gd name="connsiteX17" fmla="*/ 8504518 w 12045155"/>
                  <a:gd name="connsiteY17" fmla="*/ 827979 h 1848237"/>
                  <a:gd name="connsiteX18" fmla="*/ 10922986 w 12045155"/>
                  <a:gd name="connsiteY18" fmla="*/ 1782194 h 1848237"/>
                  <a:gd name="connsiteX19" fmla="*/ 11481826 w 12045155"/>
                  <a:gd name="connsiteY19" fmla="*/ 1127088 h 1848237"/>
                  <a:gd name="connsiteX20" fmla="*/ 12045155 w 12045155"/>
                  <a:gd name="connsiteY20" fmla="*/ 699393 h 1848237"/>
                  <a:gd name="connsiteX21" fmla="*/ 12045155 w 12045155"/>
                  <a:gd name="connsiteY21" fmla="*/ 261011 h 1848237"/>
                  <a:gd name="connsiteX22" fmla="*/ 8450223 w 12045155"/>
                  <a:gd name="connsiteY22" fmla="*/ 156695 h 1848237"/>
                  <a:gd name="connsiteX23" fmla="*/ 7635927 w 12045155"/>
                  <a:gd name="connsiteY23" fmla="*/ 105714 h 1848237"/>
                  <a:gd name="connsiteX24" fmla="*/ 7049636 w 12045155"/>
                  <a:gd name="connsiteY24" fmla="*/ 199189 h 1848237"/>
                  <a:gd name="connsiteX25" fmla="*/ 6342549 w 12045155"/>
                  <a:gd name="connsiteY25" fmla="*/ 146630 h 1848237"/>
                  <a:gd name="connsiteX26" fmla="*/ 5902209 w 12045155"/>
                  <a:gd name="connsiteY26" fmla="*/ 249658 h 1848237"/>
                  <a:gd name="connsiteX27" fmla="*/ 5182195 w 12045155"/>
                  <a:gd name="connsiteY27" fmla="*/ 292664 h 1848237"/>
                  <a:gd name="connsiteX28" fmla="*/ 3822487 w 12045155"/>
                  <a:gd name="connsiteY28" fmla="*/ 90799 h 1848237"/>
                  <a:gd name="connsiteX29" fmla="*/ 2370177 w 12045155"/>
                  <a:gd name="connsiteY29" fmla="*/ 156695 h 1848237"/>
                  <a:gd name="connsiteX30" fmla="*/ 578745 w 12045155"/>
                  <a:gd name="connsiteY30" fmla="*/ 148189 h 1848237"/>
                  <a:gd name="connsiteX31" fmla="*/ 38923 w 12045155"/>
                  <a:gd name="connsiteY31" fmla="*/ 157240 h 1848237"/>
                  <a:gd name="connsiteX0" fmla="*/ 38923 w 12045155"/>
                  <a:gd name="connsiteY0" fmla="*/ 157240 h 2147863"/>
                  <a:gd name="connsiteX1" fmla="*/ 4765 w 12045155"/>
                  <a:gd name="connsiteY1" fmla="*/ 229969 h 2147863"/>
                  <a:gd name="connsiteX2" fmla="*/ 16985 w 12045155"/>
                  <a:gd name="connsiteY2" fmla="*/ 441204 h 2147863"/>
                  <a:gd name="connsiteX3" fmla="*/ 31647 w 12045155"/>
                  <a:gd name="connsiteY3" fmla="*/ 700450 h 2147863"/>
                  <a:gd name="connsiteX4" fmla="*/ 43864 w 12045155"/>
                  <a:gd name="connsiteY4" fmla="*/ 777266 h 2147863"/>
                  <a:gd name="connsiteX5" fmla="*/ 80207 w 12045155"/>
                  <a:gd name="connsiteY5" fmla="*/ 937416 h 2147863"/>
                  <a:gd name="connsiteX6" fmla="*/ 937008 w 12045155"/>
                  <a:gd name="connsiteY6" fmla="*/ 844973 h 2147863"/>
                  <a:gd name="connsiteX7" fmla="*/ 1631867 w 12045155"/>
                  <a:gd name="connsiteY7" fmla="*/ 878961 h 2147863"/>
                  <a:gd name="connsiteX8" fmla="*/ 2087877 w 12045155"/>
                  <a:gd name="connsiteY8" fmla="*/ 819473 h 2147863"/>
                  <a:gd name="connsiteX9" fmla="*/ 2565599 w 12045155"/>
                  <a:gd name="connsiteY9" fmla="*/ 819473 h 2147863"/>
                  <a:gd name="connsiteX10" fmla="*/ 3336468 w 12045155"/>
                  <a:gd name="connsiteY10" fmla="*/ 861967 h 2147863"/>
                  <a:gd name="connsiteX11" fmla="*/ 4215904 w 12045155"/>
                  <a:gd name="connsiteY11" fmla="*/ 844973 h 2147863"/>
                  <a:gd name="connsiteX12" fmla="*/ 4845622 w 12045155"/>
                  <a:gd name="connsiteY12" fmla="*/ 853479 h 2147863"/>
                  <a:gd name="connsiteX13" fmla="*/ 5681632 w 12045155"/>
                  <a:gd name="connsiteY13" fmla="*/ 853479 h 2147863"/>
                  <a:gd name="connsiteX14" fmla="*/ 6745645 w 12045155"/>
                  <a:gd name="connsiteY14" fmla="*/ 878979 h 2147863"/>
                  <a:gd name="connsiteX15" fmla="*/ 7494800 w 12045155"/>
                  <a:gd name="connsiteY15" fmla="*/ 870473 h 2147863"/>
                  <a:gd name="connsiteX16" fmla="*/ 8026795 w 12045155"/>
                  <a:gd name="connsiteY16" fmla="*/ 861967 h 2147863"/>
                  <a:gd name="connsiteX17" fmla="*/ 8504518 w 12045155"/>
                  <a:gd name="connsiteY17" fmla="*/ 827979 h 2147863"/>
                  <a:gd name="connsiteX18" fmla="*/ 10177867 w 12045155"/>
                  <a:gd name="connsiteY18" fmla="*/ 2109744 h 2147863"/>
                  <a:gd name="connsiteX19" fmla="*/ 10922986 w 12045155"/>
                  <a:gd name="connsiteY19" fmla="*/ 1782194 h 2147863"/>
                  <a:gd name="connsiteX20" fmla="*/ 11481826 w 12045155"/>
                  <a:gd name="connsiteY20" fmla="*/ 1127088 h 2147863"/>
                  <a:gd name="connsiteX21" fmla="*/ 12045155 w 12045155"/>
                  <a:gd name="connsiteY21" fmla="*/ 699393 h 2147863"/>
                  <a:gd name="connsiteX22" fmla="*/ 12045155 w 12045155"/>
                  <a:gd name="connsiteY22" fmla="*/ 261011 h 2147863"/>
                  <a:gd name="connsiteX23" fmla="*/ 8450223 w 12045155"/>
                  <a:gd name="connsiteY23" fmla="*/ 156695 h 2147863"/>
                  <a:gd name="connsiteX24" fmla="*/ 7635927 w 12045155"/>
                  <a:gd name="connsiteY24" fmla="*/ 105714 h 2147863"/>
                  <a:gd name="connsiteX25" fmla="*/ 7049636 w 12045155"/>
                  <a:gd name="connsiteY25" fmla="*/ 199189 h 2147863"/>
                  <a:gd name="connsiteX26" fmla="*/ 6342549 w 12045155"/>
                  <a:gd name="connsiteY26" fmla="*/ 146630 h 2147863"/>
                  <a:gd name="connsiteX27" fmla="*/ 5902209 w 12045155"/>
                  <a:gd name="connsiteY27" fmla="*/ 249658 h 2147863"/>
                  <a:gd name="connsiteX28" fmla="*/ 5182195 w 12045155"/>
                  <a:gd name="connsiteY28" fmla="*/ 292664 h 2147863"/>
                  <a:gd name="connsiteX29" fmla="*/ 3822487 w 12045155"/>
                  <a:gd name="connsiteY29" fmla="*/ 90799 h 2147863"/>
                  <a:gd name="connsiteX30" fmla="*/ 2370177 w 12045155"/>
                  <a:gd name="connsiteY30" fmla="*/ 156695 h 2147863"/>
                  <a:gd name="connsiteX31" fmla="*/ 578745 w 12045155"/>
                  <a:gd name="connsiteY31" fmla="*/ 148189 h 2147863"/>
                  <a:gd name="connsiteX32" fmla="*/ 38923 w 12045155"/>
                  <a:gd name="connsiteY32" fmla="*/ 157240 h 2147863"/>
                  <a:gd name="connsiteX0" fmla="*/ 38923 w 12045155"/>
                  <a:gd name="connsiteY0" fmla="*/ 157240 h 2112232"/>
                  <a:gd name="connsiteX1" fmla="*/ 4765 w 12045155"/>
                  <a:gd name="connsiteY1" fmla="*/ 229969 h 2112232"/>
                  <a:gd name="connsiteX2" fmla="*/ 16985 w 12045155"/>
                  <a:gd name="connsiteY2" fmla="*/ 441204 h 2112232"/>
                  <a:gd name="connsiteX3" fmla="*/ 31647 w 12045155"/>
                  <a:gd name="connsiteY3" fmla="*/ 700450 h 2112232"/>
                  <a:gd name="connsiteX4" fmla="*/ 43864 w 12045155"/>
                  <a:gd name="connsiteY4" fmla="*/ 777266 h 2112232"/>
                  <a:gd name="connsiteX5" fmla="*/ 80207 w 12045155"/>
                  <a:gd name="connsiteY5" fmla="*/ 937416 h 2112232"/>
                  <a:gd name="connsiteX6" fmla="*/ 937008 w 12045155"/>
                  <a:gd name="connsiteY6" fmla="*/ 844973 h 2112232"/>
                  <a:gd name="connsiteX7" fmla="*/ 1631867 w 12045155"/>
                  <a:gd name="connsiteY7" fmla="*/ 878961 h 2112232"/>
                  <a:gd name="connsiteX8" fmla="*/ 2087877 w 12045155"/>
                  <a:gd name="connsiteY8" fmla="*/ 819473 h 2112232"/>
                  <a:gd name="connsiteX9" fmla="*/ 2565599 w 12045155"/>
                  <a:gd name="connsiteY9" fmla="*/ 819473 h 2112232"/>
                  <a:gd name="connsiteX10" fmla="*/ 3336468 w 12045155"/>
                  <a:gd name="connsiteY10" fmla="*/ 861967 h 2112232"/>
                  <a:gd name="connsiteX11" fmla="*/ 4215904 w 12045155"/>
                  <a:gd name="connsiteY11" fmla="*/ 844973 h 2112232"/>
                  <a:gd name="connsiteX12" fmla="*/ 4845622 w 12045155"/>
                  <a:gd name="connsiteY12" fmla="*/ 853479 h 2112232"/>
                  <a:gd name="connsiteX13" fmla="*/ 5681632 w 12045155"/>
                  <a:gd name="connsiteY13" fmla="*/ 853479 h 2112232"/>
                  <a:gd name="connsiteX14" fmla="*/ 6745645 w 12045155"/>
                  <a:gd name="connsiteY14" fmla="*/ 878979 h 2112232"/>
                  <a:gd name="connsiteX15" fmla="*/ 7494800 w 12045155"/>
                  <a:gd name="connsiteY15" fmla="*/ 870473 h 2112232"/>
                  <a:gd name="connsiteX16" fmla="*/ 8026795 w 12045155"/>
                  <a:gd name="connsiteY16" fmla="*/ 861967 h 2112232"/>
                  <a:gd name="connsiteX17" fmla="*/ 8504518 w 12045155"/>
                  <a:gd name="connsiteY17" fmla="*/ 827979 h 2112232"/>
                  <a:gd name="connsiteX18" fmla="*/ 9490064 w 12045155"/>
                  <a:gd name="connsiteY18" fmla="*/ 1654810 h 2112232"/>
                  <a:gd name="connsiteX19" fmla="*/ 10177867 w 12045155"/>
                  <a:gd name="connsiteY19" fmla="*/ 2109744 h 2112232"/>
                  <a:gd name="connsiteX20" fmla="*/ 10922986 w 12045155"/>
                  <a:gd name="connsiteY20" fmla="*/ 1782194 h 2112232"/>
                  <a:gd name="connsiteX21" fmla="*/ 11481826 w 12045155"/>
                  <a:gd name="connsiteY21" fmla="*/ 1127088 h 2112232"/>
                  <a:gd name="connsiteX22" fmla="*/ 12045155 w 12045155"/>
                  <a:gd name="connsiteY22" fmla="*/ 699393 h 2112232"/>
                  <a:gd name="connsiteX23" fmla="*/ 12045155 w 12045155"/>
                  <a:gd name="connsiteY23" fmla="*/ 261011 h 2112232"/>
                  <a:gd name="connsiteX24" fmla="*/ 8450223 w 12045155"/>
                  <a:gd name="connsiteY24" fmla="*/ 156695 h 2112232"/>
                  <a:gd name="connsiteX25" fmla="*/ 7635927 w 12045155"/>
                  <a:gd name="connsiteY25" fmla="*/ 105714 h 2112232"/>
                  <a:gd name="connsiteX26" fmla="*/ 7049636 w 12045155"/>
                  <a:gd name="connsiteY26" fmla="*/ 199189 h 2112232"/>
                  <a:gd name="connsiteX27" fmla="*/ 6342549 w 12045155"/>
                  <a:gd name="connsiteY27" fmla="*/ 146630 h 2112232"/>
                  <a:gd name="connsiteX28" fmla="*/ 5902209 w 12045155"/>
                  <a:gd name="connsiteY28" fmla="*/ 249658 h 2112232"/>
                  <a:gd name="connsiteX29" fmla="*/ 5182195 w 12045155"/>
                  <a:gd name="connsiteY29" fmla="*/ 292664 h 2112232"/>
                  <a:gd name="connsiteX30" fmla="*/ 3822487 w 12045155"/>
                  <a:gd name="connsiteY30" fmla="*/ 90799 h 2112232"/>
                  <a:gd name="connsiteX31" fmla="*/ 2370177 w 12045155"/>
                  <a:gd name="connsiteY31" fmla="*/ 156695 h 2112232"/>
                  <a:gd name="connsiteX32" fmla="*/ 578745 w 12045155"/>
                  <a:gd name="connsiteY32" fmla="*/ 148189 h 2112232"/>
                  <a:gd name="connsiteX33" fmla="*/ 38923 w 12045155"/>
                  <a:gd name="connsiteY33" fmla="*/ 157240 h 2112232"/>
                  <a:gd name="connsiteX0" fmla="*/ 38923 w 12045155"/>
                  <a:gd name="connsiteY0" fmla="*/ 157240 h 2112232"/>
                  <a:gd name="connsiteX1" fmla="*/ 4765 w 12045155"/>
                  <a:gd name="connsiteY1" fmla="*/ 229969 h 2112232"/>
                  <a:gd name="connsiteX2" fmla="*/ 16985 w 12045155"/>
                  <a:gd name="connsiteY2" fmla="*/ 441204 h 2112232"/>
                  <a:gd name="connsiteX3" fmla="*/ 31647 w 12045155"/>
                  <a:gd name="connsiteY3" fmla="*/ 700450 h 2112232"/>
                  <a:gd name="connsiteX4" fmla="*/ 43864 w 12045155"/>
                  <a:gd name="connsiteY4" fmla="*/ 777266 h 2112232"/>
                  <a:gd name="connsiteX5" fmla="*/ 80207 w 12045155"/>
                  <a:gd name="connsiteY5" fmla="*/ 937416 h 2112232"/>
                  <a:gd name="connsiteX6" fmla="*/ 937008 w 12045155"/>
                  <a:gd name="connsiteY6" fmla="*/ 844973 h 2112232"/>
                  <a:gd name="connsiteX7" fmla="*/ 1631867 w 12045155"/>
                  <a:gd name="connsiteY7" fmla="*/ 878961 h 2112232"/>
                  <a:gd name="connsiteX8" fmla="*/ 2087877 w 12045155"/>
                  <a:gd name="connsiteY8" fmla="*/ 819473 h 2112232"/>
                  <a:gd name="connsiteX9" fmla="*/ 2565599 w 12045155"/>
                  <a:gd name="connsiteY9" fmla="*/ 819473 h 2112232"/>
                  <a:gd name="connsiteX10" fmla="*/ 3336468 w 12045155"/>
                  <a:gd name="connsiteY10" fmla="*/ 861967 h 2112232"/>
                  <a:gd name="connsiteX11" fmla="*/ 4215904 w 12045155"/>
                  <a:gd name="connsiteY11" fmla="*/ 844973 h 2112232"/>
                  <a:gd name="connsiteX12" fmla="*/ 4845622 w 12045155"/>
                  <a:gd name="connsiteY12" fmla="*/ 853479 h 2112232"/>
                  <a:gd name="connsiteX13" fmla="*/ 5681632 w 12045155"/>
                  <a:gd name="connsiteY13" fmla="*/ 853479 h 2112232"/>
                  <a:gd name="connsiteX14" fmla="*/ 6745645 w 12045155"/>
                  <a:gd name="connsiteY14" fmla="*/ 878979 h 2112232"/>
                  <a:gd name="connsiteX15" fmla="*/ 7494800 w 12045155"/>
                  <a:gd name="connsiteY15" fmla="*/ 870473 h 2112232"/>
                  <a:gd name="connsiteX16" fmla="*/ 8026795 w 12045155"/>
                  <a:gd name="connsiteY16" fmla="*/ 861967 h 2112232"/>
                  <a:gd name="connsiteX17" fmla="*/ 8504518 w 12045155"/>
                  <a:gd name="connsiteY17" fmla="*/ 827979 h 2112232"/>
                  <a:gd name="connsiteX18" fmla="*/ 9490064 w 12045155"/>
                  <a:gd name="connsiteY18" fmla="*/ 1654810 h 2112232"/>
                  <a:gd name="connsiteX19" fmla="*/ 10177867 w 12045155"/>
                  <a:gd name="connsiteY19" fmla="*/ 2109744 h 2112232"/>
                  <a:gd name="connsiteX20" fmla="*/ 10922986 w 12045155"/>
                  <a:gd name="connsiteY20" fmla="*/ 1782194 h 2112232"/>
                  <a:gd name="connsiteX21" fmla="*/ 11481826 w 12045155"/>
                  <a:gd name="connsiteY21" fmla="*/ 1127088 h 2112232"/>
                  <a:gd name="connsiteX22" fmla="*/ 12045155 w 12045155"/>
                  <a:gd name="connsiteY22" fmla="*/ 699393 h 2112232"/>
                  <a:gd name="connsiteX23" fmla="*/ 12045155 w 12045155"/>
                  <a:gd name="connsiteY23" fmla="*/ 261011 h 2112232"/>
                  <a:gd name="connsiteX24" fmla="*/ 11438839 w 12045155"/>
                  <a:gd name="connsiteY24" fmla="*/ 435586 h 2112232"/>
                  <a:gd name="connsiteX25" fmla="*/ 8450223 w 12045155"/>
                  <a:gd name="connsiteY25" fmla="*/ 156695 h 2112232"/>
                  <a:gd name="connsiteX26" fmla="*/ 7635927 w 12045155"/>
                  <a:gd name="connsiteY26" fmla="*/ 105714 h 2112232"/>
                  <a:gd name="connsiteX27" fmla="*/ 7049636 w 12045155"/>
                  <a:gd name="connsiteY27" fmla="*/ 199189 h 2112232"/>
                  <a:gd name="connsiteX28" fmla="*/ 6342549 w 12045155"/>
                  <a:gd name="connsiteY28" fmla="*/ 146630 h 2112232"/>
                  <a:gd name="connsiteX29" fmla="*/ 5902209 w 12045155"/>
                  <a:gd name="connsiteY29" fmla="*/ 249658 h 2112232"/>
                  <a:gd name="connsiteX30" fmla="*/ 5182195 w 12045155"/>
                  <a:gd name="connsiteY30" fmla="*/ 292664 h 2112232"/>
                  <a:gd name="connsiteX31" fmla="*/ 3822487 w 12045155"/>
                  <a:gd name="connsiteY31" fmla="*/ 90799 h 2112232"/>
                  <a:gd name="connsiteX32" fmla="*/ 2370177 w 12045155"/>
                  <a:gd name="connsiteY32" fmla="*/ 156695 h 2112232"/>
                  <a:gd name="connsiteX33" fmla="*/ 578745 w 12045155"/>
                  <a:gd name="connsiteY33" fmla="*/ 148189 h 2112232"/>
                  <a:gd name="connsiteX34" fmla="*/ 38923 w 12045155"/>
                  <a:gd name="connsiteY34" fmla="*/ 157240 h 2112232"/>
                  <a:gd name="connsiteX0" fmla="*/ 38923 w 12045155"/>
                  <a:gd name="connsiteY0" fmla="*/ 157240 h 2112232"/>
                  <a:gd name="connsiteX1" fmla="*/ 4765 w 12045155"/>
                  <a:gd name="connsiteY1" fmla="*/ 229969 h 2112232"/>
                  <a:gd name="connsiteX2" fmla="*/ 16985 w 12045155"/>
                  <a:gd name="connsiteY2" fmla="*/ 441204 h 2112232"/>
                  <a:gd name="connsiteX3" fmla="*/ 31647 w 12045155"/>
                  <a:gd name="connsiteY3" fmla="*/ 700450 h 2112232"/>
                  <a:gd name="connsiteX4" fmla="*/ 43864 w 12045155"/>
                  <a:gd name="connsiteY4" fmla="*/ 777266 h 2112232"/>
                  <a:gd name="connsiteX5" fmla="*/ 80207 w 12045155"/>
                  <a:gd name="connsiteY5" fmla="*/ 937416 h 2112232"/>
                  <a:gd name="connsiteX6" fmla="*/ 937008 w 12045155"/>
                  <a:gd name="connsiteY6" fmla="*/ 844973 h 2112232"/>
                  <a:gd name="connsiteX7" fmla="*/ 1631867 w 12045155"/>
                  <a:gd name="connsiteY7" fmla="*/ 878961 h 2112232"/>
                  <a:gd name="connsiteX8" fmla="*/ 2087877 w 12045155"/>
                  <a:gd name="connsiteY8" fmla="*/ 819473 h 2112232"/>
                  <a:gd name="connsiteX9" fmla="*/ 2565599 w 12045155"/>
                  <a:gd name="connsiteY9" fmla="*/ 819473 h 2112232"/>
                  <a:gd name="connsiteX10" fmla="*/ 3336468 w 12045155"/>
                  <a:gd name="connsiteY10" fmla="*/ 861967 h 2112232"/>
                  <a:gd name="connsiteX11" fmla="*/ 4215904 w 12045155"/>
                  <a:gd name="connsiteY11" fmla="*/ 844973 h 2112232"/>
                  <a:gd name="connsiteX12" fmla="*/ 4845622 w 12045155"/>
                  <a:gd name="connsiteY12" fmla="*/ 853479 h 2112232"/>
                  <a:gd name="connsiteX13" fmla="*/ 5681632 w 12045155"/>
                  <a:gd name="connsiteY13" fmla="*/ 853479 h 2112232"/>
                  <a:gd name="connsiteX14" fmla="*/ 6745645 w 12045155"/>
                  <a:gd name="connsiteY14" fmla="*/ 878979 h 2112232"/>
                  <a:gd name="connsiteX15" fmla="*/ 7494800 w 12045155"/>
                  <a:gd name="connsiteY15" fmla="*/ 870473 h 2112232"/>
                  <a:gd name="connsiteX16" fmla="*/ 8026795 w 12045155"/>
                  <a:gd name="connsiteY16" fmla="*/ 861967 h 2112232"/>
                  <a:gd name="connsiteX17" fmla="*/ 8504518 w 12045155"/>
                  <a:gd name="connsiteY17" fmla="*/ 827979 h 2112232"/>
                  <a:gd name="connsiteX18" fmla="*/ 9490064 w 12045155"/>
                  <a:gd name="connsiteY18" fmla="*/ 1654810 h 2112232"/>
                  <a:gd name="connsiteX19" fmla="*/ 10177867 w 12045155"/>
                  <a:gd name="connsiteY19" fmla="*/ 2109744 h 2112232"/>
                  <a:gd name="connsiteX20" fmla="*/ 10922986 w 12045155"/>
                  <a:gd name="connsiteY20" fmla="*/ 1782194 h 2112232"/>
                  <a:gd name="connsiteX21" fmla="*/ 11481826 w 12045155"/>
                  <a:gd name="connsiteY21" fmla="*/ 1127088 h 2112232"/>
                  <a:gd name="connsiteX22" fmla="*/ 12045155 w 12045155"/>
                  <a:gd name="connsiteY22" fmla="*/ 699393 h 2112232"/>
                  <a:gd name="connsiteX23" fmla="*/ 12045155 w 12045155"/>
                  <a:gd name="connsiteY23" fmla="*/ 261011 h 2112232"/>
                  <a:gd name="connsiteX24" fmla="*/ 11438839 w 12045155"/>
                  <a:gd name="connsiteY24" fmla="*/ 435586 h 2112232"/>
                  <a:gd name="connsiteX25" fmla="*/ 8450223 w 12045155"/>
                  <a:gd name="connsiteY25" fmla="*/ 156695 h 2112232"/>
                  <a:gd name="connsiteX26" fmla="*/ 7635927 w 12045155"/>
                  <a:gd name="connsiteY26" fmla="*/ 105714 h 2112232"/>
                  <a:gd name="connsiteX27" fmla="*/ 7049636 w 12045155"/>
                  <a:gd name="connsiteY27" fmla="*/ 199189 h 2112232"/>
                  <a:gd name="connsiteX28" fmla="*/ 6342549 w 12045155"/>
                  <a:gd name="connsiteY28" fmla="*/ 146630 h 2112232"/>
                  <a:gd name="connsiteX29" fmla="*/ 5902209 w 12045155"/>
                  <a:gd name="connsiteY29" fmla="*/ 249658 h 2112232"/>
                  <a:gd name="connsiteX30" fmla="*/ 5182195 w 12045155"/>
                  <a:gd name="connsiteY30" fmla="*/ 292664 h 2112232"/>
                  <a:gd name="connsiteX31" fmla="*/ 3822487 w 12045155"/>
                  <a:gd name="connsiteY31" fmla="*/ 90799 h 2112232"/>
                  <a:gd name="connsiteX32" fmla="*/ 2370177 w 12045155"/>
                  <a:gd name="connsiteY32" fmla="*/ 156695 h 2112232"/>
                  <a:gd name="connsiteX33" fmla="*/ 578745 w 12045155"/>
                  <a:gd name="connsiteY33" fmla="*/ 148189 h 2112232"/>
                  <a:gd name="connsiteX34" fmla="*/ 38923 w 12045155"/>
                  <a:gd name="connsiteY34" fmla="*/ 157240 h 2112232"/>
                  <a:gd name="connsiteX0" fmla="*/ 38923 w 12045155"/>
                  <a:gd name="connsiteY0" fmla="*/ 157240 h 2112232"/>
                  <a:gd name="connsiteX1" fmla="*/ 4765 w 12045155"/>
                  <a:gd name="connsiteY1" fmla="*/ 229969 h 2112232"/>
                  <a:gd name="connsiteX2" fmla="*/ 16985 w 12045155"/>
                  <a:gd name="connsiteY2" fmla="*/ 441204 h 2112232"/>
                  <a:gd name="connsiteX3" fmla="*/ 31647 w 12045155"/>
                  <a:gd name="connsiteY3" fmla="*/ 700450 h 2112232"/>
                  <a:gd name="connsiteX4" fmla="*/ 43864 w 12045155"/>
                  <a:gd name="connsiteY4" fmla="*/ 777266 h 2112232"/>
                  <a:gd name="connsiteX5" fmla="*/ 80207 w 12045155"/>
                  <a:gd name="connsiteY5" fmla="*/ 937416 h 2112232"/>
                  <a:gd name="connsiteX6" fmla="*/ 937008 w 12045155"/>
                  <a:gd name="connsiteY6" fmla="*/ 844973 h 2112232"/>
                  <a:gd name="connsiteX7" fmla="*/ 1631867 w 12045155"/>
                  <a:gd name="connsiteY7" fmla="*/ 878961 h 2112232"/>
                  <a:gd name="connsiteX8" fmla="*/ 2087877 w 12045155"/>
                  <a:gd name="connsiteY8" fmla="*/ 819473 h 2112232"/>
                  <a:gd name="connsiteX9" fmla="*/ 2565599 w 12045155"/>
                  <a:gd name="connsiteY9" fmla="*/ 819473 h 2112232"/>
                  <a:gd name="connsiteX10" fmla="*/ 3336468 w 12045155"/>
                  <a:gd name="connsiteY10" fmla="*/ 861967 h 2112232"/>
                  <a:gd name="connsiteX11" fmla="*/ 4215904 w 12045155"/>
                  <a:gd name="connsiteY11" fmla="*/ 844973 h 2112232"/>
                  <a:gd name="connsiteX12" fmla="*/ 4845622 w 12045155"/>
                  <a:gd name="connsiteY12" fmla="*/ 853479 h 2112232"/>
                  <a:gd name="connsiteX13" fmla="*/ 5681632 w 12045155"/>
                  <a:gd name="connsiteY13" fmla="*/ 853479 h 2112232"/>
                  <a:gd name="connsiteX14" fmla="*/ 6745645 w 12045155"/>
                  <a:gd name="connsiteY14" fmla="*/ 878979 h 2112232"/>
                  <a:gd name="connsiteX15" fmla="*/ 7494800 w 12045155"/>
                  <a:gd name="connsiteY15" fmla="*/ 870473 h 2112232"/>
                  <a:gd name="connsiteX16" fmla="*/ 8026795 w 12045155"/>
                  <a:gd name="connsiteY16" fmla="*/ 861967 h 2112232"/>
                  <a:gd name="connsiteX17" fmla="*/ 8504518 w 12045155"/>
                  <a:gd name="connsiteY17" fmla="*/ 827979 h 2112232"/>
                  <a:gd name="connsiteX18" fmla="*/ 9490064 w 12045155"/>
                  <a:gd name="connsiteY18" fmla="*/ 1654810 h 2112232"/>
                  <a:gd name="connsiteX19" fmla="*/ 10177867 w 12045155"/>
                  <a:gd name="connsiteY19" fmla="*/ 2109744 h 2112232"/>
                  <a:gd name="connsiteX20" fmla="*/ 10922986 w 12045155"/>
                  <a:gd name="connsiteY20" fmla="*/ 1782194 h 2112232"/>
                  <a:gd name="connsiteX21" fmla="*/ 11481826 w 12045155"/>
                  <a:gd name="connsiteY21" fmla="*/ 1127088 h 2112232"/>
                  <a:gd name="connsiteX22" fmla="*/ 12045155 w 12045155"/>
                  <a:gd name="connsiteY22" fmla="*/ 699393 h 2112232"/>
                  <a:gd name="connsiteX23" fmla="*/ 12045155 w 12045155"/>
                  <a:gd name="connsiteY23" fmla="*/ 261011 h 2112232"/>
                  <a:gd name="connsiteX24" fmla="*/ 11438839 w 12045155"/>
                  <a:gd name="connsiteY24" fmla="*/ 435586 h 2112232"/>
                  <a:gd name="connsiteX25" fmla="*/ 9053022 w 12045155"/>
                  <a:gd name="connsiteY25" fmla="*/ 581165 h 2112232"/>
                  <a:gd name="connsiteX26" fmla="*/ 8450223 w 12045155"/>
                  <a:gd name="connsiteY26" fmla="*/ 156695 h 2112232"/>
                  <a:gd name="connsiteX27" fmla="*/ 7635927 w 12045155"/>
                  <a:gd name="connsiteY27" fmla="*/ 105714 h 2112232"/>
                  <a:gd name="connsiteX28" fmla="*/ 7049636 w 12045155"/>
                  <a:gd name="connsiteY28" fmla="*/ 199189 h 2112232"/>
                  <a:gd name="connsiteX29" fmla="*/ 6342549 w 12045155"/>
                  <a:gd name="connsiteY29" fmla="*/ 146630 h 2112232"/>
                  <a:gd name="connsiteX30" fmla="*/ 5902209 w 12045155"/>
                  <a:gd name="connsiteY30" fmla="*/ 249658 h 2112232"/>
                  <a:gd name="connsiteX31" fmla="*/ 5182195 w 12045155"/>
                  <a:gd name="connsiteY31" fmla="*/ 292664 h 2112232"/>
                  <a:gd name="connsiteX32" fmla="*/ 3822487 w 12045155"/>
                  <a:gd name="connsiteY32" fmla="*/ 90799 h 2112232"/>
                  <a:gd name="connsiteX33" fmla="*/ 2370177 w 12045155"/>
                  <a:gd name="connsiteY33" fmla="*/ 156695 h 2112232"/>
                  <a:gd name="connsiteX34" fmla="*/ 578745 w 12045155"/>
                  <a:gd name="connsiteY34" fmla="*/ 148189 h 2112232"/>
                  <a:gd name="connsiteX35" fmla="*/ 38923 w 12045155"/>
                  <a:gd name="connsiteY35" fmla="*/ 157240 h 2112232"/>
                  <a:gd name="connsiteX0" fmla="*/ 38923 w 12045155"/>
                  <a:gd name="connsiteY0" fmla="*/ 157240 h 2112232"/>
                  <a:gd name="connsiteX1" fmla="*/ 4765 w 12045155"/>
                  <a:gd name="connsiteY1" fmla="*/ 229969 h 2112232"/>
                  <a:gd name="connsiteX2" fmla="*/ 16985 w 12045155"/>
                  <a:gd name="connsiteY2" fmla="*/ 441204 h 2112232"/>
                  <a:gd name="connsiteX3" fmla="*/ 31647 w 12045155"/>
                  <a:gd name="connsiteY3" fmla="*/ 700450 h 2112232"/>
                  <a:gd name="connsiteX4" fmla="*/ 43864 w 12045155"/>
                  <a:gd name="connsiteY4" fmla="*/ 777266 h 2112232"/>
                  <a:gd name="connsiteX5" fmla="*/ 80207 w 12045155"/>
                  <a:gd name="connsiteY5" fmla="*/ 937416 h 2112232"/>
                  <a:gd name="connsiteX6" fmla="*/ 937008 w 12045155"/>
                  <a:gd name="connsiteY6" fmla="*/ 844973 h 2112232"/>
                  <a:gd name="connsiteX7" fmla="*/ 1631867 w 12045155"/>
                  <a:gd name="connsiteY7" fmla="*/ 878961 h 2112232"/>
                  <a:gd name="connsiteX8" fmla="*/ 2087877 w 12045155"/>
                  <a:gd name="connsiteY8" fmla="*/ 819473 h 2112232"/>
                  <a:gd name="connsiteX9" fmla="*/ 2565599 w 12045155"/>
                  <a:gd name="connsiteY9" fmla="*/ 819473 h 2112232"/>
                  <a:gd name="connsiteX10" fmla="*/ 3336468 w 12045155"/>
                  <a:gd name="connsiteY10" fmla="*/ 861967 h 2112232"/>
                  <a:gd name="connsiteX11" fmla="*/ 4215904 w 12045155"/>
                  <a:gd name="connsiteY11" fmla="*/ 844973 h 2112232"/>
                  <a:gd name="connsiteX12" fmla="*/ 4845622 w 12045155"/>
                  <a:gd name="connsiteY12" fmla="*/ 853479 h 2112232"/>
                  <a:gd name="connsiteX13" fmla="*/ 5681632 w 12045155"/>
                  <a:gd name="connsiteY13" fmla="*/ 853479 h 2112232"/>
                  <a:gd name="connsiteX14" fmla="*/ 6745645 w 12045155"/>
                  <a:gd name="connsiteY14" fmla="*/ 878979 h 2112232"/>
                  <a:gd name="connsiteX15" fmla="*/ 7494800 w 12045155"/>
                  <a:gd name="connsiteY15" fmla="*/ 870473 h 2112232"/>
                  <a:gd name="connsiteX16" fmla="*/ 8026795 w 12045155"/>
                  <a:gd name="connsiteY16" fmla="*/ 861967 h 2112232"/>
                  <a:gd name="connsiteX17" fmla="*/ 8504518 w 12045155"/>
                  <a:gd name="connsiteY17" fmla="*/ 827979 h 2112232"/>
                  <a:gd name="connsiteX18" fmla="*/ 9490064 w 12045155"/>
                  <a:gd name="connsiteY18" fmla="*/ 1654810 h 2112232"/>
                  <a:gd name="connsiteX19" fmla="*/ 10177867 w 12045155"/>
                  <a:gd name="connsiteY19" fmla="*/ 2109744 h 2112232"/>
                  <a:gd name="connsiteX20" fmla="*/ 10922986 w 12045155"/>
                  <a:gd name="connsiteY20" fmla="*/ 1782194 h 2112232"/>
                  <a:gd name="connsiteX21" fmla="*/ 11481826 w 12045155"/>
                  <a:gd name="connsiteY21" fmla="*/ 1127088 h 2112232"/>
                  <a:gd name="connsiteX22" fmla="*/ 12045155 w 12045155"/>
                  <a:gd name="connsiteY22" fmla="*/ 699393 h 2112232"/>
                  <a:gd name="connsiteX23" fmla="*/ 12045155 w 12045155"/>
                  <a:gd name="connsiteY23" fmla="*/ 261011 h 2112232"/>
                  <a:gd name="connsiteX24" fmla="*/ 11438839 w 12045155"/>
                  <a:gd name="connsiteY24" fmla="*/ 435586 h 2112232"/>
                  <a:gd name="connsiteX25" fmla="*/ 9527677 w 12045155"/>
                  <a:gd name="connsiteY25" fmla="*/ 1058846 h 2112232"/>
                  <a:gd name="connsiteX26" fmla="*/ 9053022 w 12045155"/>
                  <a:gd name="connsiteY26" fmla="*/ 581165 h 2112232"/>
                  <a:gd name="connsiteX27" fmla="*/ 8450223 w 12045155"/>
                  <a:gd name="connsiteY27" fmla="*/ 156695 h 2112232"/>
                  <a:gd name="connsiteX28" fmla="*/ 7635927 w 12045155"/>
                  <a:gd name="connsiteY28" fmla="*/ 105714 h 2112232"/>
                  <a:gd name="connsiteX29" fmla="*/ 7049636 w 12045155"/>
                  <a:gd name="connsiteY29" fmla="*/ 199189 h 2112232"/>
                  <a:gd name="connsiteX30" fmla="*/ 6342549 w 12045155"/>
                  <a:gd name="connsiteY30" fmla="*/ 146630 h 2112232"/>
                  <a:gd name="connsiteX31" fmla="*/ 5902209 w 12045155"/>
                  <a:gd name="connsiteY31" fmla="*/ 249658 h 2112232"/>
                  <a:gd name="connsiteX32" fmla="*/ 5182195 w 12045155"/>
                  <a:gd name="connsiteY32" fmla="*/ 292664 h 2112232"/>
                  <a:gd name="connsiteX33" fmla="*/ 3822487 w 12045155"/>
                  <a:gd name="connsiteY33" fmla="*/ 90799 h 2112232"/>
                  <a:gd name="connsiteX34" fmla="*/ 2370177 w 12045155"/>
                  <a:gd name="connsiteY34" fmla="*/ 156695 h 2112232"/>
                  <a:gd name="connsiteX35" fmla="*/ 578745 w 12045155"/>
                  <a:gd name="connsiteY35" fmla="*/ 148189 h 2112232"/>
                  <a:gd name="connsiteX36" fmla="*/ 38923 w 12045155"/>
                  <a:gd name="connsiteY36" fmla="*/ 157240 h 2112232"/>
                  <a:gd name="connsiteX0" fmla="*/ 38923 w 12045155"/>
                  <a:gd name="connsiteY0" fmla="*/ 157240 h 2112232"/>
                  <a:gd name="connsiteX1" fmla="*/ 4765 w 12045155"/>
                  <a:gd name="connsiteY1" fmla="*/ 229969 h 2112232"/>
                  <a:gd name="connsiteX2" fmla="*/ 16985 w 12045155"/>
                  <a:gd name="connsiteY2" fmla="*/ 441204 h 2112232"/>
                  <a:gd name="connsiteX3" fmla="*/ 31647 w 12045155"/>
                  <a:gd name="connsiteY3" fmla="*/ 700450 h 2112232"/>
                  <a:gd name="connsiteX4" fmla="*/ 43864 w 12045155"/>
                  <a:gd name="connsiteY4" fmla="*/ 777266 h 2112232"/>
                  <a:gd name="connsiteX5" fmla="*/ 80207 w 12045155"/>
                  <a:gd name="connsiteY5" fmla="*/ 937416 h 2112232"/>
                  <a:gd name="connsiteX6" fmla="*/ 937008 w 12045155"/>
                  <a:gd name="connsiteY6" fmla="*/ 844973 h 2112232"/>
                  <a:gd name="connsiteX7" fmla="*/ 1631867 w 12045155"/>
                  <a:gd name="connsiteY7" fmla="*/ 878961 h 2112232"/>
                  <a:gd name="connsiteX8" fmla="*/ 2087877 w 12045155"/>
                  <a:gd name="connsiteY8" fmla="*/ 819473 h 2112232"/>
                  <a:gd name="connsiteX9" fmla="*/ 2565599 w 12045155"/>
                  <a:gd name="connsiteY9" fmla="*/ 819473 h 2112232"/>
                  <a:gd name="connsiteX10" fmla="*/ 3336468 w 12045155"/>
                  <a:gd name="connsiteY10" fmla="*/ 861967 h 2112232"/>
                  <a:gd name="connsiteX11" fmla="*/ 4215904 w 12045155"/>
                  <a:gd name="connsiteY11" fmla="*/ 844973 h 2112232"/>
                  <a:gd name="connsiteX12" fmla="*/ 4845622 w 12045155"/>
                  <a:gd name="connsiteY12" fmla="*/ 853479 h 2112232"/>
                  <a:gd name="connsiteX13" fmla="*/ 5681632 w 12045155"/>
                  <a:gd name="connsiteY13" fmla="*/ 853479 h 2112232"/>
                  <a:gd name="connsiteX14" fmla="*/ 6745645 w 12045155"/>
                  <a:gd name="connsiteY14" fmla="*/ 878979 h 2112232"/>
                  <a:gd name="connsiteX15" fmla="*/ 7494800 w 12045155"/>
                  <a:gd name="connsiteY15" fmla="*/ 870473 h 2112232"/>
                  <a:gd name="connsiteX16" fmla="*/ 8026795 w 12045155"/>
                  <a:gd name="connsiteY16" fmla="*/ 861967 h 2112232"/>
                  <a:gd name="connsiteX17" fmla="*/ 8504518 w 12045155"/>
                  <a:gd name="connsiteY17" fmla="*/ 827979 h 2112232"/>
                  <a:gd name="connsiteX18" fmla="*/ 9490064 w 12045155"/>
                  <a:gd name="connsiteY18" fmla="*/ 1654810 h 2112232"/>
                  <a:gd name="connsiteX19" fmla="*/ 10177867 w 12045155"/>
                  <a:gd name="connsiteY19" fmla="*/ 2109744 h 2112232"/>
                  <a:gd name="connsiteX20" fmla="*/ 10922986 w 12045155"/>
                  <a:gd name="connsiteY20" fmla="*/ 1782194 h 2112232"/>
                  <a:gd name="connsiteX21" fmla="*/ 11481826 w 12045155"/>
                  <a:gd name="connsiteY21" fmla="*/ 1127088 h 2112232"/>
                  <a:gd name="connsiteX22" fmla="*/ 12045155 w 12045155"/>
                  <a:gd name="connsiteY22" fmla="*/ 699393 h 2112232"/>
                  <a:gd name="connsiteX23" fmla="*/ 12045155 w 12045155"/>
                  <a:gd name="connsiteY23" fmla="*/ 261011 h 2112232"/>
                  <a:gd name="connsiteX24" fmla="*/ 11438839 w 12045155"/>
                  <a:gd name="connsiteY24" fmla="*/ 435586 h 2112232"/>
                  <a:gd name="connsiteX25" fmla="*/ 11059114 w 12045155"/>
                  <a:gd name="connsiteY25" fmla="*/ 1047471 h 2112232"/>
                  <a:gd name="connsiteX26" fmla="*/ 9527677 w 12045155"/>
                  <a:gd name="connsiteY26" fmla="*/ 1058846 h 2112232"/>
                  <a:gd name="connsiteX27" fmla="*/ 9053022 w 12045155"/>
                  <a:gd name="connsiteY27" fmla="*/ 581165 h 2112232"/>
                  <a:gd name="connsiteX28" fmla="*/ 8450223 w 12045155"/>
                  <a:gd name="connsiteY28" fmla="*/ 156695 h 2112232"/>
                  <a:gd name="connsiteX29" fmla="*/ 7635927 w 12045155"/>
                  <a:gd name="connsiteY29" fmla="*/ 105714 h 2112232"/>
                  <a:gd name="connsiteX30" fmla="*/ 7049636 w 12045155"/>
                  <a:gd name="connsiteY30" fmla="*/ 199189 h 2112232"/>
                  <a:gd name="connsiteX31" fmla="*/ 6342549 w 12045155"/>
                  <a:gd name="connsiteY31" fmla="*/ 146630 h 2112232"/>
                  <a:gd name="connsiteX32" fmla="*/ 5902209 w 12045155"/>
                  <a:gd name="connsiteY32" fmla="*/ 249658 h 2112232"/>
                  <a:gd name="connsiteX33" fmla="*/ 5182195 w 12045155"/>
                  <a:gd name="connsiteY33" fmla="*/ 292664 h 2112232"/>
                  <a:gd name="connsiteX34" fmla="*/ 3822487 w 12045155"/>
                  <a:gd name="connsiteY34" fmla="*/ 90799 h 2112232"/>
                  <a:gd name="connsiteX35" fmla="*/ 2370177 w 12045155"/>
                  <a:gd name="connsiteY35" fmla="*/ 156695 h 2112232"/>
                  <a:gd name="connsiteX36" fmla="*/ 578745 w 12045155"/>
                  <a:gd name="connsiteY36" fmla="*/ 148189 h 2112232"/>
                  <a:gd name="connsiteX37" fmla="*/ 38923 w 12045155"/>
                  <a:gd name="connsiteY37" fmla="*/ 157240 h 2112232"/>
                  <a:gd name="connsiteX0" fmla="*/ 38923 w 12045155"/>
                  <a:gd name="connsiteY0" fmla="*/ 157240 h 2112232"/>
                  <a:gd name="connsiteX1" fmla="*/ 4765 w 12045155"/>
                  <a:gd name="connsiteY1" fmla="*/ 229969 h 2112232"/>
                  <a:gd name="connsiteX2" fmla="*/ 16985 w 12045155"/>
                  <a:gd name="connsiteY2" fmla="*/ 441204 h 2112232"/>
                  <a:gd name="connsiteX3" fmla="*/ 31647 w 12045155"/>
                  <a:gd name="connsiteY3" fmla="*/ 700450 h 2112232"/>
                  <a:gd name="connsiteX4" fmla="*/ 43864 w 12045155"/>
                  <a:gd name="connsiteY4" fmla="*/ 777266 h 2112232"/>
                  <a:gd name="connsiteX5" fmla="*/ 80207 w 12045155"/>
                  <a:gd name="connsiteY5" fmla="*/ 937416 h 2112232"/>
                  <a:gd name="connsiteX6" fmla="*/ 937008 w 12045155"/>
                  <a:gd name="connsiteY6" fmla="*/ 844973 h 2112232"/>
                  <a:gd name="connsiteX7" fmla="*/ 1631867 w 12045155"/>
                  <a:gd name="connsiteY7" fmla="*/ 878961 h 2112232"/>
                  <a:gd name="connsiteX8" fmla="*/ 2087877 w 12045155"/>
                  <a:gd name="connsiteY8" fmla="*/ 819473 h 2112232"/>
                  <a:gd name="connsiteX9" fmla="*/ 2565599 w 12045155"/>
                  <a:gd name="connsiteY9" fmla="*/ 819473 h 2112232"/>
                  <a:gd name="connsiteX10" fmla="*/ 3336468 w 12045155"/>
                  <a:gd name="connsiteY10" fmla="*/ 861967 h 2112232"/>
                  <a:gd name="connsiteX11" fmla="*/ 4215904 w 12045155"/>
                  <a:gd name="connsiteY11" fmla="*/ 844973 h 2112232"/>
                  <a:gd name="connsiteX12" fmla="*/ 4845622 w 12045155"/>
                  <a:gd name="connsiteY12" fmla="*/ 853479 h 2112232"/>
                  <a:gd name="connsiteX13" fmla="*/ 5681632 w 12045155"/>
                  <a:gd name="connsiteY13" fmla="*/ 853479 h 2112232"/>
                  <a:gd name="connsiteX14" fmla="*/ 6745645 w 12045155"/>
                  <a:gd name="connsiteY14" fmla="*/ 878979 h 2112232"/>
                  <a:gd name="connsiteX15" fmla="*/ 7494800 w 12045155"/>
                  <a:gd name="connsiteY15" fmla="*/ 870473 h 2112232"/>
                  <a:gd name="connsiteX16" fmla="*/ 8026795 w 12045155"/>
                  <a:gd name="connsiteY16" fmla="*/ 861967 h 2112232"/>
                  <a:gd name="connsiteX17" fmla="*/ 8504518 w 12045155"/>
                  <a:gd name="connsiteY17" fmla="*/ 827979 h 2112232"/>
                  <a:gd name="connsiteX18" fmla="*/ 9490064 w 12045155"/>
                  <a:gd name="connsiteY18" fmla="*/ 1654810 h 2112232"/>
                  <a:gd name="connsiteX19" fmla="*/ 10177867 w 12045155"/>
                  <a:gd name="connsiteY19" fmla="*/ 2109744 h 2112232"/>
                  <a:gd name="connsiteX20" fmla="*/ 10922986 w 12045155"/>
                  <a:gd name="connsiteY20" fmla="*/ 1782194 h 2112232"/>
                  <a:gd name="connsiteX21" fmla="*/ 11481826 w 12045155"/>
                  <a:gd name="connsiteY21" fmla="*/ 1127088 h 2112232"/>
                  <a:gd name="connsiteX22" fmla="*/ 12045155 w 12045155"/>
                  <a:gd name="connsiteY22" fmla="*/ 699393 h 2112232"/>
                  <a:gd name="connsiteX23" fmla="*/ 12045155 w 12045155"/>
                  <a:gd name="connsiteY23" fmla="*/ 261011 h 2112232"/>
                  <a:gd name="connsiteX24" fmla="*/ 11438839 w 12045155"/>
                  <a:gd name="connsiteY24" fmla="*/ 435586 h 2112232"/>
                  <a:gd name="connsiteX25" fmla="*/ 11059114 w 12045155"/>
                  <a:gd name="connsiteY25" fmla="*/ 1047471 h 2112232"/>
                  <a:gd name="connsiteX26" fmla="*/ 10602369 w 12045155"/>
                  <a:gd name="connsiteY26" fmla="*/ 1661632 h 2112232"/>
                  <a:gd name="connsiteX27" fmla="*/ 9527677 w 12045155"/>
                  <a:gd name="connsiteY27" fmla="*/ 1058846 h 2112232"/>
                  <a:gd name="connsiteX28" fmla="*/ 9053022 w 12045155"/>
                  <a:gd name="connsiteY28" fmla="*/ 581165 h 2112232"/>
                  <a:gd name="connsiteX29" fmla="*/ 8450223 w 12045155"/>
                  <a:gd name="connsiteY29" fmla="*/ 156695 h 2112232"/>
                  <a:gd name="connsiteX30" fmla="*/ 7635927 w 12045155"/>
                  <a:gd name="connsiteY30" fmla="*/ 105714 h 2112232"/>
                  <a:gd name="connsiteX31" fmla="*/ 7049636 w 12045155"/>
                  <a:gd name="connsiteY31" fmla="*/ 199189 h 2112232"/>
                  <a:gd name="connsiteX32" fmla="*/ 6342549 w 12045155"/>
                  <a:gd name="connsiteY32" fmla="*/ 146630 h 2112232"/>
                  <a:gd name="connsiteX33" fmla="*/ 5902209 w 12045155"/>
                  <a:gd name="connsiteY33" fmla="*/ 249658 h 2112232"/>
                  <a:gd name="connsiteX34" fmla="*/ 5182195 w 12045155"/>
                  <a:gd name="connsiteY34" fmla="*/ 292664 h 2112232"/>
                  <a:gd name="connsiteX35" fmla="*/ 3822487 w 12045155"/>
                  <a:gd name="connsiteY35" fmla="*/ 90799 h 2112232"/>
                  <a:gd name="connsiteX36" fmla="*/ 2370177 w 12045155"/>
                  <a:gd name="connsiteY36" fmla="*/ 156695 h 2112232"/>
                  <a:gd name="connsiteX37" fmla="*/ 578745 w 12045155"/>
                  <a:gd name="connsiteY37" fmla="*/ 148189 h 2112232"/>
                  <a:gd name="connsiteX38" fmla="*/ 38923 w 12045155"/>
                  <a:gd name="connsiteY38" fmla="*/ 157240 h 2112232"/>
                  <a:gd name="connsiteX0" fmla="*/ 38923 w 12045155"/>
                  <a:gd name="connsiteY0" fmla="*/ 157240 h 2112232"/>
                  <a:gd name="connsiteX1" fmla="*/ 4765 w 12045155"/>
                  <a:gd name="connsiteY1" fmla="*/ 229969 h 2112232"/>
                  <a:gd name="connsiteX2" fmla="*/ 16985 w 12045155"/>
                  <a:gd name="connsiteY2" fmla="*/ 441204 h 2112232"/>
                  <a:gd name="connsiteX3" fmla="*/ 31647 w 12045155"/>
                  <a:gd name="connsiteY3" fmla="*/ 700450 h 2112232"/>
                  <a:gd name="connsiteX4" fmla="*/ 43864 w 12045155"/>
                  <a:gd name="connsiteY4" fmla="*/ 777266 h 2112232"/>
                  <a:gd name="connsiteX5" fmla="*/ 80207 w 12045155"/>
                  <a:gd name="connsiteY5" fmla="*/ 937416 h 2112232"/>
                  <a:gd name="connsiteX6" fmla="*/ 937008 w 12045155"/>
                  <a:gd name="connsiteY6" fmla="*/ 844973 h 2112232"/>
                  <a:gd name="connsiteX7" fmla="*/ 1631867 w 12045155"/>
                  <a:gd name="connsiteY7" fmla="*/ 878961 h 2112232"/>
                  <a:gd name="connsiteX8" fmla="*/ 2087877 w 12045155"/>
                  <a:gd name="connsiteY8" fmla="*/ 819473 h 2112232"/>
                  <a:gd name="connsiteX9" fmla="*/ 2565599 w 12045155"/>
                  <a:gd name="connsiteY9" fmla="*/ 819473 h 2112232"/>
                  <a:gd name="connsiteX10" fmla="*/ 3336468 w 12045155"/>
                  <a:gd name="connsiteY10" fmla="*/ 861967 h 2112232"/>
                  <a:gd name="connsiteX11" fmla="*/ 4215904 w 12045155"/>
                  <a:gd name="connsiteY11" fmla="*/ 844973 h 2112232"/>
                  <a:gd name="connsiteX12" fmla="*/ 4845622 w 12045155"/>
                  <a:gd name="connsiteY12" fmla="*/ 853479 h 2112232"/>
                  <a:gd name="connsiteX13" fmla="*/ 5681632 w 12045155"/>
                  <a:gd name="connsiteY13" fmla="*/ 853479 h 2112232"/>
                  <a:gd name="connsiteX14" fmla="*/ 6745645 w 12045155"/>
                  <a:gd name="connsiteY14" fmla="*/ 878979 h 2112232"/>
                  <a:gd name="connsiteX15" fmla="*/ 7494800 w 12045155"/>
                  <a:gd name="connsiteY15" fmla="*/ 870473 h 2112232"/>
                  <a:gd name="connsiteX16" fmla="*/ 8026795 w 12045155"/>
                  <a:gd name="connsiteY16" fmla="*/ 861967 h 2112232"/>
                  <a:gd name="connsiteX17" fmla="*/ 8504518 w 12045155"/>
                  <a:gd name="connsiteY17" fmla="*/ 827979 h 2112232"/>
                  <a:gd name="connsiteX18" fmla="*/ 9490064 w 12045155"/>
                  <a:gd name="connsiteY18" fmla="*/ 1654810 h 2112232"/>
                  <a:gd name="connsiteX19" fmla="*/ 10177867 w 12045155"/>
                  <a:gd name="connsiteY19" fmla="*/ 2109744 h 2112232"/>
                  <a:gd name="connsiteX20" fmla="*/ 10922986 w 12045155"/>
                  <a:gd name="connsiteY20" fmla="*/ 1782194 h 2112232"/>
                  <a:gd name="connsiteX21" fmla="*/ 11481826 w 12045155"/>
                  <a:gd name="connsiteY21" fmla="*/ 1127088 h 2112232"/>
                  <a:gd name="connsiteX22" fmla="*/ 12045155 w 12045155"/>
                  <a:gd name="connsiteY22" fmla="*/ 699393 h 2112232"/>
                  <a:gd name="connsiteX23" fmla="*/ 12045155 w 12045155"/>
                  <a:gd name="connsiteY23" fmla="*/ 261011 h 2112232"/>
                  <a:gd name="connsiteX24" fmla="*/ 11438839 w 12045155"/>
                  <a:gd name="connsiteY24" fmla="*/ 435586 h 2112232"/>
                  <a:gd name="connsiteX25" fmla="*/ 11059114 w 12045155"/>
                  <a:gd name="connsiteY25" fmla="*/ 1047471 h 2112232"/>
                  <a:gd name="connsiteX26" fmla="*/ 10602369 w 12045155"/>
                  <a:gd name="connsiteY26" fmla="*/ 1661632 h 2112232"/>
                  <a:gd name="connsiteX27" fmla="*/ 9948599 w 12045155"/>
                  <a:gd name="connsiteY27" fmla="*/ 1673007 h 2112232"/>
                  <a:gd name="connsiteX28" fmla="*/ 9527677 w 12045155"/>
                  <a:gd name="connsiteY28" fmla="*/ 1058846 h 2112232"/>
                  <a:gd name="connsiteX29" fmla="*/ 9053022 w 12045155"/>
                  <a:gd name="connsiteY29" fmla="*/ 581165 h 2112232"/>
                  <a:gd name="connsiteX30" fmla="*/ 8450223 w 12045155"/>
                  <a:gd name="connsiteY30" fmla="*/ 156695 h 2112232"/>
                  <a:gd name="connsiteX31" fmla="*/ 7635927 w 12045155"/>
                  <a:gd name="connsiteY31" fmla="*/ 105714 h 2112232"/>
                  <a:gd name="connsiteX32" fmla="*/ 7049636 w 12045155"/>
                  <a:gd name="connsiteY32" fmla="*/ 199189 h 2112232"/>
                  <a:gd name="connsiteX33" fmla="*/ 6342549 w 12045155"/>
                  <a:gd name="connsiteY33" fmla="*/ 146630 h 2112232"/>
                  <a:gd name="connsiteX34" fmla="*/ 5902209 w 12045155"/>
                  <a:gd name="connsiteY34" fmla="*/ 249658 h 2112232"/>
                  <a:gd name="connsiteX35" fmla="*/ 5182195 w 12045155"/>
                  <a:gd name="connsiteY35" fmla="*/ 292664 h 2112232"/>
                  <a:gd name="connsiteX36" fmla="*/ 3822487 w 12045155"/>
                  <a:gd name="connsiteY36" fmla="*/ 90799 h 2112232"/>
                  <a:gd name="connsiteX37" fmla="*/ 2370177 w 12045155"/>
                  <a:gd name="connsiteY37" fmla="*/ 156695 h 2112232"/>
                  <a:gd name="connsiteX38" fmla="*/ 578745 w 12045155"/>
                  <a:gd name="connsiteY38" fmla="*/ 148189 h 2112232"/>
                  <a:gd name="connsiteX39" fmla="*/ 38923 w 12045155"/>
                  <a:gd name="connsiteY39" fmla="*/ 157240 h 2112232"/>
                  <a:gd name="connsiteX0" fmla="*/ 38923 w 12045155"/>
                  <a:gd name="connsiteY0" fmla="*/ 157240 h 2112232"/>
                  <a:gd name="connsiteX1" fmla="*/ 4765 w 12045155"/>
                  <a:gd name="connsiteY1" fmla="*/ 229969 h 2112232"/>
                  <a:gd name="connsiteX2" fmla="*/ 16985 w 12045155"/>
                  <a:gd name="connsiteY2" fmla="*/ 441204 h 2112232"/>
                  <a:gd name="connsiteX3" fmla="*/ 31647 w 12045155"/>
                  <a:gd name="connsiteY3" fmla="*/ 700450 h 2112232"/>
                  <a:gd name="connsiteX4" fmla="*/ 43864 w 12045155"/>
                  <a:gd name="connsiteY4" fmla="*/ 777266 h 2112232"/>
                  <a:gd name="connsiteX5" fmla="*/ 80207 w 12045155"/>
                  <a:gd name="connsiteY5" fmla="*/ 937416 h 2112232"/>
                  <a:gd name="connsiteX6" fmla="*/ 937008 w 12045155"/>
                  <a:gd name="connsiteY6" fmla="*/ 844973 h 2112232"/>
                  <a:gd name="connsiteX7" fmla="*/ 1631867 w 12045155"/>
                  <a:gd name="connsiteY7" fmla="*/ 878961 h 2112232"/>
                  <a:gd name="connsiteX8" fmla="*/ 2087877 w 12045155"/>
                  <a:gd name="connsiteY8" fmla="*/ 819473 h 2112232"/>
                  <a:gd name="connsiteX9" fmla="*/ 2565599 w 12045155"/>
                  <a:gd name="connsiteY9" fmla="*/ 819473 h 2112232"/>
                  <a:gd name="connsiteX10" fmla="*/ 3336468 w 12045155"/>
                  <a:gd name="connsiteY10" fmla="*/ 861967 h 2112232"/>
                  <a:gd name="connsiteX11" fmla="*/ 4215904 w 12045155"/>
                  <a:gd name="connsiteY11" fmla="*/ 844973 h 2112232"/>
                  <a:gd name="connsiteX12" fmla="*/ 4845622 w 12045155"/>
                  <a:gd name="connsiteY12" fmla="*/ 853479 h 2112232"/>
                  <a:gd name="connsiteX13" fmla="*/ 5681632 w 12045155"/>
                  <a:gd name="connsiteY13" fmla="*/ 853479 h 2112232"/>
                  <a:gd name="connsiteX14" fmla="*/ 6745645 w 12045155"/>
                  <a:gd name="connsiteY14" fmla="*/ 878979 h 2112232"/>
                  <a:gd name="connsiteX15" fmla="*/ 7494800 w 12045155"/>
                  <a:gd name="connsiteY15" fmla="*/ 870473 h 2112232"/>
                  <a:gd name="connsiteX16" fmla="*/ 8026795 w 12045155"/>
                  <a:gd name="connsiteY16" fmla="*/ 861967 h 2112232"/>
                  <a:gd name="connsiteX17" fmla="*/ 8504518 w 12045155"/>
                  <a:gd name="connsiteY17" fmla="*/ 827979 h 2112232"/>
                  <a:gd name="connsiteX18" fmla="*/ 9490064 w 12045155"/>
                  <a:gd name="connsiteY18" fmla="*/ 1654810 h 2112232"/>
                  <a:gd name="connsiteX19" fmla="*/ 10177867 w 12045155"/>
                  <a:gd name="connsiteY19" fmla="*/ 2109744 h 2112232"/>
                  <a:gd name="connsiteX20" fmla="*/ 10922986 w 12045155"/>
                  <a:gd name="connsiteY20" fmla="*/ 1782194 h 2112232"/>
                  <a:gd name="connsiteX21" fmla="*/ 11481826 w 12045155"/>
                  <a:gd name="connsiteY21" fmla="*/ 1127088 h 2112232"/>
                  <a:gd name="connsiteX22" fmla="*/ 12045155 w 12045155"/>
                  <a:gd name="connsiteY22" fmla="*/ 699393 h 2112232"/>
                  <a:gd name="connsiteX23" fmla="*/ 12045155 w 12045155"/>
                  <a:gd name="connsiteY23" fmla="*/ 261011 h 2112232"/>
                  <a:gd name="connsiteX24" fmla="*/ 11438839 w 12045155"/>
                  <a:gd name="connsiteY24" fmla="*/ 435586 h 2112232"/>
                  <a:gd name="connsiteX25" fmla="*/ 11059114 w 12045155"/>
                  <a:gd name="connsiteY25" fmla="*/ 1047471 h 2112232"/>
                  <a:gd name="connsiteX26" fmla="*/ 10602369 w 12045155"/>
                  <a:gd name="connsiteY26" fmla="*/ 1661632 h 2112232"/>
                  <a:gd name="connsiteX27" fmla="*/ 10034574 w 12045155"/>
                  <a:gd name="connsiteY27" fmla="*/ 1618415 h 2112232"/>
                  <a:gd name="connsiteX28" fmla="*/ 9527677 w 12045155"/>
                  <a:gd name="connsiteY28" fmla="*/ 1058846 h 2112232"/>
                  <a:gd name="connsiteX29" fmla="*/ 9053022 w 12045155"/>
                  <a:gd name="connsiteY29" fmla="*/ 581165 h 2112232"/>
                  <a:gd name="connsiteX30" fmla="*/ 8450223 w 12045155"/>
                  <a:gd name="connsiteY30" fmla="*/ 156695 h 2112232"/>
                  <a:gd name="connsiteX31" fmla="*/ 7635927 w 12045155"/>
                  <a:gd name="connsiteY31" fmla="*/ 105714 h 2112232"/>
                  <a:gd name="connsiteX32" fmla="*/ 7049636 w 12045155"/>
                  <a:gd name="connsiteY32" fmla="*/ 199189 h 2112232"/>
                  <a:gd name="connsiteX33" fmla="*/ 6342549 w 12045155"/>
                  <a:gd name="connsiteY33" fmla="*/ 146630 h 2112232"/>
                  <a:gd name="connsiteX34" fmla="*/ 5902209 w 12045155"/>
                  <a:gd name="connsiteY34" fmla="*/ 249658 h 2112232"/>
                  <a:gd name="connsiteX35" fmla="*/ 5182195 w 12045155"/>
                  <a:gd name="connsiteY35" fmla="*/ 292664 h 2112232"/>
                  <a:gd name="connsiteX36" fmla="*/ 3822487 w 12045155"/>
                  <a:gd name="connsiteY36" fmla="*/ 90799 h 2112232"/>
                  <a:gd name="connsiteX37" fmla="*/ 2370177 w 12045155"/>
                  <a:gd name="connsiteY37" fmla="*/ 156695 h 2112232"/>
                  <a:gd name="connsiteX38" fmla="*/ 578745 w 12045155"/>
                  <a:gd name="connsiteY38" fmla="*/ 148189 h 2112232"/>
                  <a:gd name="connsiteX39" fmla="*/ 38923 w 12045155"/>
                  <a:gd name="connsiteY39" fmla="*/ 157240 h 2112232"/>
                  <a:gd name="connsiteX0" fmla="*/ 38923 w 12045155"/>
                  <a:gd name="connsiteY0" fmla="*/ 157240 h 2159168"/>
                  <a:gd name="connsiteX1" fmla="*/ 4765 w 12045155"/>
                  <a:gd name="connsiteY1" fmla="*/ 229969 h 2159168"/>
                  <a:gd name="connsiteX2" fmla="*/ 16985 w 12045155"/>
                  <a:gd name="connsiteY2" fmla="*/ 441204 h 2159168"/>
                  <a:gd name="connsiteX3" fmla="*/ 31647 w 12045155"/>
                  <a:gd name="connsiteY3" fmla="*/ 700450 h 2159168"/>
                  <a:gd name="connsiteX4" fmla="*/ 43864 w 12045155"/>
                  <a:gd name="connsiteY4" fmla="*/ 777266 h 2159168"/>
                  <a:gd name="connsiteX5" fmla="*/ 80207 w 12045155"/>
                  <a:gd name="connsiteY5" fmla="*/ 937416 h 2159168"/>
                  <a:gd name="connsiteX6" fmla="*/ 937008 w 12045155"/>
                  <a:gd name="connsiteY6" fmla="*/ 844973 h 2159168"/>
                  <a:gd name="connsiteX7" fmla="*/ 1631867 w 12045155"/>
                  <a:gd name="connsiteY7" fmla="*/ 878961 h 2159168"/>
                  <a:gd name="connsiteX8" fmla="*/ 2087877 w 12045155"/>
                  <a:gd name="connsiteY8" fmla="*/ 819473 h 2159168"/>
                  <a:gd name="connsiteX9" fmla="*/ 2565599 w 12045155"/>
                  <a:gd name="connsiteY9" fmla="*/ 819473 h 2159168"/>
                  <a:gd name="connsiteX10" fmla="*/ 3336468 w 12045155"/>
                  <a:gd name="connsiteY10" fmla="*/ 861967 h 2159168"/>
                  <a:gd name="connsiteX11" fmla="*/ 4215904 w 12045155"/>
                  <a:gd name="connsiteY11" fmla="*/ 844973 h 2159168"/>
                  <a:gd name="connsiteX12" fmla="*/ 4845622 w 12045155"/>
                  <a:gd name="connsiteY12" fmla="*/ 853479 h 2159168"/>
                  <a:gd name="connsiteX13" fmla="*/ 5681632 w 12045155"/>
                  <a:gd name="connsiteY13" fmla="*/ 853479 h 2159168"/>
                  <a:gd name="connsiteX14" fmla="*/ 6745645 w 12045155"/>
                  <a:gd name="connsiteY14" fmla="*/ 878979 h 2159168"/>
                  <a:gd name="connsiteX15" fmla="*/ 7494800 w 12045155"/>
                  <a:gd name="connsiteY15" fmla="*/ 870473 h 2159168"/>
                  <a:gd name="connsiteX16" fmla="*/ 8026795 w 12045155"/>
                  <a:gd name="connsiteY16" fmla="*/ 861967 h 2159168"/>
                  <a:gd name="connsiteX17" fmla="*/ 8504518 w 12045155"/>
                  <a:gd name="connsiteY17" fmla="*/ 827979 h 2159168"/>
                  <a:gd name="connsiteX18" fmla="*/ 9361101 w 12045155"/>
                  <a:gd name="connsiteY18" fmla="*/ 2018757 h 2159168"/>
                  <a:gd name="connsiteX19" fmla="*/ 10177867 w 12045155"/>
                  <a:gd name="connsiteY19" fmla="*/ 2109744 h 2159168"/>
                  <a:gd name="connsiteX20" fmla="*/ 10922986 w 12045155"/>
                  <a:gd name="connsiteY20" fmla="*/ 1782194 h 2159168"/>
                  <a:gd name="connsiteX21" fmla="*/ 11481826 w 12045155"/>
                  <a:gd name="connsiteY21" fmla="*/ 1127088 h 2159168"/>
                  <a:gd name="connsiteX22" fmla="*/ 12045155 w 12045155"/>
                  <a:gd name="connsiteY22" fmla="*/ 699393 h 2159168"/>
                  <a:gd name="connsiteX23" fmla="*/ 12045155 w 12045155"/>
                  <a:gd name="connsiteY23" fmla="*/ 261011 h 2159168"/>
                  <a:gd name="connsiteX24" fmla="*/ 11438839 w 12045155"/>
                  <a:gd name="connsiteY24" fmla="*/ 435586 h 2159168"/>
                  <a:gd name="connsiteX25" fmla="*/ 11059114 w 12045155"/>
                  <a:gd name="connsiteY25" fmla="*/ 1047471 h 2159168"/>
                  <a:gd name="connsiteX26" fmla="*/ 10602369 w 12045155"/>
                  <a:gd name="connsiteY26" fmla="*/ 1661632 h 2159168"/>
                  <a:gd name="connsiteX27" fmla="*/ 10034574 w 12045155"/>
                  <a:gd name="connsiteY27" fmla="*/ 1618415 h 2159168"/>
                  <a:gd name="connsiteX28" fmla="*/ 9527677 w 12045155"/>
                  <a:gd name="connsiteY28" fmla="*/ 1058846 h 2159168"/>
                  <a:gd name="connsiteX29" fmla="*/ 9053022 w 12045155"/>
                  <a:gd name="connsiteY29" fmla="*/ 581165 h 2159168"/>
                  <a:gd name="connsiteX30" fmla="*/ 8450223 w 12045155"/>
                  <a:gd name="connsiteY30" fmla="*/ 156695 h 2159168"/>
                  <a:gd name="connsiteX31" fmla="*/ 7635927 w 12045155"/>
                  <a:gd name="connsiteY31" fmla="*/ 105714 h 2159168"/>
                  <a:gd name="connsiteX32" fmla="*/ 7049636 w 12045155"/>
                  <a:gd name="connsiteY32" fmla="*/ 199189 h 2159168"/>
                  <a:gd name="connsiteX33" fmla="*/ 6342549 w 12045155"/>
                  <a:gd name="connsiteY33" fmla="*/ 146630 h 2159168"/>
                  <a:gd name="connsiteX34" fmla="*/ 5902209 w 12045155"/>
                  <a:gd name="connsiteY34" fmla="*/ 249658 h 2159168"/>
                  <a:gd name="connsiteX35" fmla="*/ 5182195 w 12045155"/>
                  <a:gd name="connsiteY35" fmla="*/ 292664 h 2159168"/>
                  <a:gd name="connsiteX36" fmla="*/ 3822487 w 12045155"/>
                  <a:gd name="connsiteY36" fmla="*/ 90799 h 2159168"/>
                  <a:gd name="connsiteX37" fmla="*/ 2370177 w 12045155"/>
                  <a:gd name="connsiteY37" fmla="*/ 156695 h 2159168"/>
                  <a:gd name="connsiteX38" fmla="*/ 578745 w 12045155"/>
                  <a:gd name="connsiteY38" fmla="*/ 148189 h 2159168"/>
                  <a:gd name="connsiteX39" fmla="*/ 38923 w 12045155"/>
                  <a:gd name="connsiteY39" fmla="*/ 157240 h 2159168"/>
                  <a:gd name="connsiteX0" fmla="*/ 38923 w 12045155"/>
                  <a:gd name="connsiteY0" fmla="*/ 157240 h 2371492"/>
                  <a:gd name="connsiteX1" fmla="*/ 4765 w 12045155"/>
                  <a:gd name="connsiteY1" fmla="*/ 229969 h 2371492"/>
                  <a:gd name="connsiteX2" fmla="*/ 16985 w 12045155"/>
                  <a:gd name="connsiteY2" fmla="*/ 441204 h 2371492"/>
                  <a:gd name="connsiteX3" fmla="*/ 31647 w 12045155"/>
                  <a:gd name="connsiteY3" fmla="*/ 700450 h 2371492"/>
                  <a:gd name="connsiteX4" fmla="*/ 43864 w 12045155"/>
                  <a:gd name="connsiteY4" fmla="*/ 777266 h 2371492"/>
                  <a:gd name="connsiteX5" fmla="*/ 80207 w 12045155"/>
                  <a:gd name="connsiteY5" fmla="*/ 937416 h 2371492"/>
                  <a:gd name="connsiteX6" fmla="*/ 937008 w 12045155"/>
                  <a:gd name="connsiteY6" fmla="*/ 844973 h 2371492"/>
                  <a:gd name="connsiteX7" fmla="*/ 1631867 w 12045155"/>
                  <a:gd name="connsiteY7" fmla="*/ 878961 h 2371492"/>
                  <a:gd name="connsiteX8" fmla="*/ 2087877 w 12045155"/>
                  <a:gd name="connsiteY8" fmla="*/ 819473 h 2371492"/>
                  <a:gd name="connsiteX9" fmla="*/ 2565599 w 12045155"/>
                  <a:gd name="connsiteY9" fmla="*/ 819473 h 2371492"/>
                  <a:gd name="connsiteX10" fmla="*/ 3336468 w 12045155"/>
                  <a:gd name="connsiteY10" fmla="*/ 861967 h 2371492"/>
                  <a:gd name="connsiteX11" fmla="*/ 4215904 w 12045155"/>
                  <a:gd name="connsiteY11" fmla="*/ 844973 h 2371492"/>
                  <a:gd name="connsiteX12" fmla="*/ 4845622 w 12045155"/>
                  <a:gd name="connsiteY12" fmla="*/ 853479 h 2371492"/>
                  <a:gd name="connsiteX13" fmla="*/ 5681632 w 12045155"/>
                  <a:gd name="connsiteY13" fmla="*/ 853479 h 2371492"/>
                  <a:gd name="connsiteX14" fmla="*/ 6745645 w 12045155"/>
                  <a:gd name="connsiteY14" fmla="*/ 878979 h 2371492"/>
                  <a:gd name="connsiteX15" fmla="*/ 7494800 w 12045155"/>
                  <a:gd name="connsiteY15" fmla="*/ 870473 h 2371492"/>
                  <a:gd name="connsiteX16" fmla="*/ 8026795 w 12045155"/>
                  <a:gd name="connsiteY16" fmla="*/ 861967 h 2371492"/>
                  <a:gd name="connsiteX17" fmla="*/ 8504518 w 12045155"/>
                  <a:gd name="connsiteY17" fmla="*/ 827979 h 2371492"/>
                  <a:gd name="connsiteX18" fmla="*/ 9361101 w 12045155"/>
                  <a:gd name="connsiteY18" fmla="*/ 2018757 h 2371492"/>
                  <a:gd name="connsiteX19" fmla="*/ 10249513 w 12045155"/>
                  <a:gd name="connsiteY19" fmla="*/ 2364507 h 2371492"/>
                  <a:gd name="connsiteX20" fmla="*/ 10922986 w 12045155"/>
                  <a:gd name="connsiteY20" fmla="*/ 1782194 h 2371492"/>
                  <a:gd name="connsiteX21" fmla="*/ 11481826 w 12045155"/>
                  <a:gd name="connsiteY21" fmla="*/ 1127088 h 2371492"/>
                  <a:gd name="connsiteX22" fmla="*/ 12045155 w 12045155"/>
                  <a:gd name="connsiteY22" fmla="*/ 699393 h 2371492"/>
                  <a:gd name="connsiteX23" fmla="*/ 12045155 w 12045155"/>
                  <a:gd name="connsiteY23" fmla="*/ 261011 h 2371492"/>
                  <a:gd name="connsiteX24" fmla="*/ 11438839 w 12045155"/>
                  <a:gd name="connsiteY24" fmla="*/ 435586 h 2371492"/>
                  <a:gd name="connsiteX25" fmla="*/ 11059114 w 12045155"/>
                  <a:gd name="connsiteY25" fmla="*/ 1047471 h 2371492"/>
                  <a:gd name="connsiteX26" fmla="*/ 10602369 w 12045155"/>
                  <a:gd name="connsiteY26" fmla="*/ 1661632 h 2371492"/>
                  <a:gd name="connsiteX27" fmla="*/ 10034574 w 12045155"/>
                  <a:gd name="connsiteY27" fmla="*/ 1618415 h 2371492"/>
                  <a:gd name="connsiteX28" fmla="*/ 9527677 w 12045155"/>
                  <a:gd name="connsiteY28" fmla="*/ 1058846 h 2371492"/>
                  <a:gd name="connsiteX29" fmla="*/ 9053022 w 12045155"/>
                  <a:gd name="connsiteY29" fmla="*/ 581165 h 2371492"/>
                  <a:gd name="connsiteX30" fmla="*/ 8450223 w 12045155"/>
                  <a:gd name="connsiteY30" fmla="*/ 156695 h 2371492"/>
                  <a:gd name="connsiteX31" fmla="*/ 7635927 w 12045155"/>
                  <a:gd name="connsiteY31" fmla="*/ 105714 h 2371492"/>
                  <a:gd name="connsiteX32" fmla="*/ 7049636 w 12045155"/>
                  <a:gd name="connsiteY32" fmla="*/ 199189 h 2371492"/>
                  <a:gd name="connsiteX33" fmla="*/ 6342549 w 12045155"/>
                  <a:gd name="connsiteY33" fmla="*/ 146630 h 2371492"/>
                  <a:gd name="connsiteX34" fmla="*/ 5902209 w 12045155"/>
                  <a:gd name="connsiteY34" fmla="*/ 249658 h 2371492"/>
                  <a:gd name="connsiteX35" fmla="*/ 5182195 w 12045155"/>
                  <a:gd name="connsiteY35" fmla="*/ 292664 h 2371492"/>
                  <a:gd name="connsiteX36" fmla="*/ 3822487 w 12045155"/>
                  <a:gd name="connsiteY36" fmla="*/ 90799 h 2371492"/>
                  <a:gd name="connsiteX37" fmla="*/ 2370177 w 12045155"/>
                  <a:gd name="connsiteY37" fmla="*/ 156695 h 2371492"/>
                  <a:gd name="connsiteX38" fmla="*/ 578745 w 12045155"/>
                  <a:gd name="connsiteY38" fmla="*/ 148189 h 2371492"/>
                  <a:gd name="connsiteX39" fmla="*/ 38923 w 12045155"/>
                  <a:gd name="connsiteY39" fmla="*/ 157240 h 2371492"/>
                  <a:gd name="connsiteX0" fmla="*/ 38923 w 12045155"/>
                  <a:gd name="connsiteY0" fmla="*/ 157240 h 2365078"/>
                  <a:gd name="connsiteX1" fmla="*/ 4765 w 12045155"/>
                  <a:gd name="connsiteY1" fmla="*/ 229969 h 2365078"/>
                  <a:gd name="connsiteX2" fmla="*/ 16985 w 12045155"/>
                  <a:gd name="connsiteY2" fmla="*/ 441204 h 2365078"/>
                  <a:gd name="connsiteX3" fmla="*/ 31647 w 12045155"/>
                  <a:gd name="connsiteY3" fmla="*/ 700450 h 2365078"/>
                  <a:gd name="connsiteX4" fmla="*/ 43864 w 12045155"/>
                  <a:gd name="connsiteY4" fmla="*/ 777266 h 2365078"/>
                  <a:gd name="connsiteX5" fmla="*/ 80207 w 12045155"/>
                  <a:gd name="connsiteY5" fmla="*/ 937416 h 2365078"/>
                  <a:gd name="connsiteX6" fmla="*/ 937008 w 12045155"/>
                  <a:gd name="connsiteY6" fmla="*/ 844973 h 2365078"/>
                  <a:gd name="connsiteX7" fmla="*/ 1631867 w 12045155"/>
                  <a:gd name="connsiteY7" fmla="*/ 878961 h 2365078"/>
                  <a:gd name="connsiteX8" fmla="*/ 2087877 w 12045155"/>
                  <a:gd name="connsiteY8" fmla="*/ 819473 h 2365078"/>
                  <a:gd name="connsiteX9" fmla="*/ 2565599 w 12045155"/>
                  <a:gd name="connsiteY9" fmla="*/ 819473 h 2365078"/>
                  <a:gd name="connsiteX10" fmla="*/ 3336468 w 12045155"/>
                  <a:gd name="connsiteY10" fmla="*/ 861967 h 2365078"/>
                  <a:gd name="connsiteX11" fmla="*/ 4215904 w 12045155"/>
                  <a:gd name="connsiteY11" fmla="*/ 844973 h 2365078"/>
                  <a:gd name="connsiteX12" fmla="*/ 4845622 w 12045155"/>
                  <a:gd name="connsiteY12" fmla="*/ 853479 h 2365078"/>
                  <a:gd name="connsiteX13" fmla="*/ 5681632 w 12045155"/>
                  <a:gd name="connsiteY13" fmla="*/ 853479 h 2365078"/>
                  <a:gd name="connsiteX14" fmla="*/ 6745645 w 12045155"/>
                  <a:gd name="connsiteY14" fmla="*/ 878979 h 2365078"/>
                  <a:gd name="connsiteX15" fmla="*/ 7494800 w 12045155"/>
                  <a:gd name="connsiteY15" fmla="*/ 870473 h 2365078"/>
                  <a:gd name="connsiteX16" fmla="*/ 8026795 w 12045155"/>
                  <a:gd name="connsiteY16" fmla="*/ 861967 h 2365078"/>
                  <a:gd name="connsiteX17" fmla="*/ 8504518 w 12045155"/>
                  <a:gd name="connsiteY17" fmla="*/ 827979 h 2365078"/>
                  <a:gd name="connsiteX18" fmla="*/ 9361101 w 12045155"/>
                  <a:gd name="connsiteY18" fmla="*/ 2018757 h 2365078"/>
                  <a:gd name="connsiteX19" fmla="*/ 10249513 w 12045155"/>
                  <a:gd name="connsiteY19" fmla="*/ 2364507 h 2365078"/>
                  <a:gd name="connsiteX20" fmla="*/ 11123596 w 12045155"/>
                  <a:gd name="connsiteY20" fmla="*/ 1964167 h 2365078"/>
                  <a:gd name="connsiteX21" fmla="*/ 11481826 w 12045155"/>
                  <a:gd name="connsiteY21" fmla="*/ 1127088 h 2365078"/>
                  <a:gd name="connsiteX22" fmla="*/ 12045155 w 12045155"/>
                  <a:gd name="connsiteY22" fmla="*/ 699393 h 2365078"/>
                  <a:gd name="connsiteX23" fmla="*/ 12045155 w 12045155"/>
                  <a:gd name="connsiteY23" fmla="*/ 261011 h 2365078"/>
                  <a:gd name="connsiteX24" fmla="*/ 11438839 w 12045155"/>
                  <a:gd name="connsiteY24" fmla="*/ 435586 h 2365078"/>
                  <a:gd name="connsiteX25" fmla="*/ 11059114 w 12045155"/>
                  <a:gd name="connsiteY25" fmla="*/ 1047471 h 2365078"/>
                  <a:gd name="connsiteX26" fmla="*/ 10602369 w 12045155"/>
                  <a:gd name="connsiteY26" fmla="*/ 1661632 h 2365078"/>
                  <a:gd name="connsiteX27" fmla="*/ 10034574 w 12045155"/>
                  <a:gd name="connsiteY27" fmla="*/ 1618415 h 2365078"/>
                  <a:gd name="connsiteX28" fmla="*/ 9527677 w 12045155"/>
                  <a:gd name="connsiteY28" fmla="*/ 1058846 h 2365078"/>
                  <a:gd name="connsiteX29" fmla="*/ 9053022 w 12045155"/>
                  <a:gd name="connsiteY29" fmla="*/ 581165 h 2365078"/>
                  <a:gd name="connsiteX30" fmla="*/ 8450223 w 12045155"/>
                  <a:gd name="connsiteY30" fmla="*/ 156695 h 2365078"/>
                  <a:gd name="connsiteX31" fmla="*/ 7635927 w 12045155"/>
                  <a:gd name="connsiteY31" fmla="*/ 105714 h 2365078"/>
                  <a:gd name="connsiteX32" fmla="*/ 7049636 w 12045155"/>
                  <a:gd name="connsiteY32" fmla="*/ 199189 h 2365078"/>
                  <a:gd name="connsiteX33" fmla="*/ 6342549 w 12045155"/>
                  <a:gd name="connsiteY33" fmla="*/ 146630 h 2365078"/>
                  <a:gd name="connsiteX34" fmla="*/ 5902209 w 12045155"/>
                  <a:gd name="connsiteY34" fmla="*/ 249658 h 2365078"/>
                  <a:gd name="connsiteX35" fmla="*/ 5182195 w 12045155"/>
                  <a:gd name="connsiteY35" fmla="*/ 292664 h 2365078"/>
                  <a:gd name="connsiteX36" fmla="*/ 3822487 w 12045155"/>
                  <a:gd name="connsiteY36" fmla="*/ 90799 h 2365078"/>
                  <a:gd name="connsiteX37" fmla="*/ 2370177 w 12045155"/>
                  <a:gd name="connsiteY37" fmla="*/ 156695 h 2365078"/>
                  <a:gd name="connsiteX38" fmla="*/ 578745 w 12045155"/>
                  <a:gd name="connsiteY38" fmla="*/ 148189 h 2365078"/>
                  <a:gd name="connsiteX39" fmla="*/ 38923 w 12045155"/>
                  <a:gd name="connsiteY39" fmla="*/ 157240 h 2365078"/>
                  <a:gd name="connsiteX0" fmla="*/ 38923 w 12045155"/>
                  <a:gd name="connsiteY0" fmla="*/ 157240 h 2365078"/>
                  <a:gd name="connsiteX1" fmla="*/ 4765 w 12045155"/>
                  <a:gd name="connsiteY1" fmla="*/ 229969 h 2365078"/>
                  <a:gd name="connsiteX2" fmla="*/ 16985 w 12045155"/>
                  <a:gd name="connsiteY2" fmla="*/ 441204 h 2365078"/>
                  <a:gd name="connsiteX3" fmla="*/ 31647 w 12045155"/>
                  <a:gd name="connsiteY3" fmla="*/ 700450 h 2365078"/>
                  <a:gd name="connsiteX4" fmla="*/ 43864 w 12045155"/>
                  <a:gd name="connsiteY4" fmla="*/ 777266 h 2365078"/>
                  <a:gd name="connsiteX5" fmla="*/ 80207 w 12045155"/>
                  <a:gd name="connsiteY5" fmla="*/ 937416 h 2365078"/>
                  <a:gd name="connsiteX6" fmla="*/ 937008 w 12045155"/>
                  <a:gd name="connsiteY6" fmla="*/ 844973 h 2365078"/>
                  <a:gd name="connsiteX7" fmla="*/ 1631867 w 12045155"/>
                  <a:gd name="connsiteY7" fmla="*/ 878961 h 2365078"/>
                  <a:gd name="connsiteX8" fmla="*/ 2087877 w 12045155"/>
                  <a:gd name="connsiteY8" fmla="*/ 819473 h 2365078"/>
                  <a:gd name="connsiteX9" fmla="*/ 2565599 w 12045155"/>
                  <a:gd name="connsiteY9" fmla="*/ 819473 h 2365078"/>
                  <a:gd name="connsiteX10" fmla="*/ 3336468 w 12045155"/>
                  <a:gd name="connsiteY10" fmla="*/ 861967 h 2365078"/>
                  <a:gd name="connsiteX11" fmla="*/ 4215904 w 12045155"/>
                  <a:gd name="connsiteY11" fmla="*/ 844973 h 2365078"/>
                  <a:gd name="connsiteX12" fmla="*/ 4845622 w 12045155"/>
                  <a:gd name="connsiteY12" fmla="*/ 853479 h 2365078"/>
                  <a:gd name="connsiteX13" fmla="*/ 5681632 w 12045155"/>
                  <a:gd name="connsiteY13" fmla="*/ 853479 h 2365078"/>
                  <a:gd name="connsiteX14" fmla="*/ 6745645 w 12045155"/>
                  <a:gd name="connsiteY14" fmla="*/ 878979 h 2365078"/>
                  <a:gd name="connsiteX15" fmla="*/ 7494800 w 12045155"/>
                  <a:gd name="connsiteY15" fmla="*/ 870473 h 2365078"/>
                  <a:gd name="connsiteX16" fmla="*/ 8026795 w 12045155"/>
                  <a:gd name="connsiteY16" fmla="*/ 861967 h 2365078"/>
                  <a:gd name="connsiteX17" fmla="*/ 8504518 w 12045155"/>
                  <a:gd name="connsiteY17" fmla="*/ 827979 h 2365078"/>
                  <a:gd name="connsiteX18" fmla="*/ 9361101 w 12045155"/>
                  <a:gd name="connsiteY18" fmla="*/ 2018757 h 2365078"/>
                  <a:gd name="connsiteX19" fmla="*/ 10249513 w 12045155"/>
                  <a:gd name="connsiteY19" fmla="*/ 2364507 h 2365078"/>
                  <a:gd name="connsiteX20" fmla="*/ 11123596 w 12045155"/>
                  <a:gd name="connsiteY20" fmla="*/ 1964167 h 2365078"/>
                  <a:gd name="connsiteX21" fmla="*/ 11797069 w 12045155"/>
                  <a:gd name="connsiteY21" fmla="*/ 999707 h 2365078"/>
                  <a:gd name="connsiteX22" fmla="*/ 12045155 w 12045155"/>
                  <a:gd name="connsiteY22" fmla="*/ 699393 h 2365078"/>
                  <a:gd name="connsiteX23" fmla="*/ 12045155 w 12045155"/>
                  <a:gd name="connsiteY23" fmla="*/ 261011 h 2365078"/>
                  <a:gd name="connsiteX24" fmla="*/ 11438839 w 12045155"/>
                  <a:gd name="connsiteY24" fmla="*/ 435586 h 2365078"/>
                  <a:gd name="connsiteX25" fmla="*/ 11059114 w 12045155"/>
                  <a:gd name="connsiteY25" fmla="*/ 1047471 h 2365078"/>
                  <a:gd name="connsiteX26" fmla="*/ 10602369 w 12045155"/>
                  <a:gd name="connsiteY26" fmla="*/ 1661632 h 2365078"/>
                  <a:gd name="connsiteX27" fmla="*/ 10034574 w 12045155"/>
                  <a:gd name="connsiteY27" fmla="*/ 1618415 h 2365078"/>
                  <a:gd name="connsiteX28" fmla="*/ 9527677 w 12045155"/>
                  <a:gd name="connsiteY28" fmla="*/ 1058846 h 2365078"/>
                  <a:gd name="connsiteX29" fmla="*/ 9053022 w 12045155"/>
                  <a:gd name="connsiteY29" fmla="*/ 581165 h 2365078"/>
                  <a:gd name="connsiteX30" fmla="*/ 8450223 w 12045155"/>
                  <a:gd name="connsiteY30" fmla="*/ 156695 h 2365078"/>
                  <a:gd name="connsiteX31" fmla="*/ 7635927 w 12045155"/>
                  <a:gd name="connsiteY31" fmla="*/ 105714 h 2365078"/>
                  <a:gd name="connsiteX32" fmla="*/ 7049636 w 12045155"/>
                  <a:gd name="connsiteY32" fmla="*/ 199189 h 2365078"/>
                  <a:gd name="connsiteX33" fmla="*/ 6342549 w 12045155"/>
                  <a:gd name="connsiteY33" fmla="*/ 146630 h 2365078"/>
                  <a:gd name="connsiteX34" fmla="*/ 5902209 w 12045155"/>
                  <a:gd name="connsiteY34" fmla="*/ 249658 h 2365078"/>
                  <a:gd name="connsiteX35" fmla="*/ 5182195 w 12045155"/>
                  <a:gd name="connsiteY35" fmla="*/ 292664 h 2365078"/>
                  <a:gd name="connsiteX36" fmla="*/ 3822487 w 12045155"/>
                  <a:gd name="connsiteY36" fmla="*/ 90799 h 2365078"/>
                  <a:gd name="connsiteX37" fmla="*/ 2370177 w 12045155"/>
                  <a:gd name="connsiteY37" fmla="*/ 156695 h 2365078"/>
                  <a:gd name="connsiteX38" fmla="*/ 578745 w 12045155"/>
                  <a:gd name="connsiteY38" fmla="*/ 148189 h 2365078"/>
                  <a:gd name="connsiteX39" fmla="*/ 38923 w 12045155"/>
                  <a:gd name="connsiteY39" fmla="*/ 157240 h 2365078"/>
                  <a:gd name="connsiteX0" fmla="*/ 38923 w 12045155"/>
                  <a:gd name="connsiteY0" fmla="*/ 157240 h 2365078"/>
                  <a:gd name="connsiteX1" fmla="*/ 4765 w 12045155"/>
                  <a:gd name="connsiteY1" fmla="*/ 229969 h 2365078"/>
                  <a:gd name="connsiteX2" fmla="*/ 16985 w 12045155"/>
                  <a:gd name="connsiteY2" fmla="*/ 441204 h 2365078"/>
                  <a:gd name="connsiteX3" fmla="*/ 31647 w 12045155"/>
                  <a:gd name="connsiteY3" fmla="*/ 700450 h 2365078"/>
                  <a:gd name="connsiteX4" fmla="*/ 43864 w 12045155"/>
                  <a:gd name="connsiteY4" fmla="*/ 777266 h 2365078"/>
                  <a:gd name="connsiteX5" fmla="*/ 80207 w 12045155"/>
                  <a:gd name="connsiteY5" fmla="*/ 937416 h 2365078"/>
                  <a:gd name="connsiteX6" fmla="*/ 937008 w 12045155"/>
                  <a:gd name="connsiteY6" fmla="*/ 844973 h 2365078"/>
                  <a:gd name="connsiteX7" fmla="*/ 1631867 w 12045155"/>
                  <a:gd name="connsiteY7" fmla="*/ 878961 h 2365078"/>
                  <a:gd name="connsiteX8" fmla="*/ 2087877 w 12045155"/>
                  <a:gd name="connsiteY8" fmla="*/ 819473 h 2365078"/>
                  <a:gd name="connsiteX9" fmla="*/ 2565599 w 12045155"/>
                  <a:gd name="connsiteY9" fmla="*/ 819473 h 2365078"/>
                  <a:gd name="connsiteX10" fmla="*/ 3336468 w 12045155"/>
                  <a:gd name="connsiteY10" fmla="*/ 861967 h 2365078"/>
                  <a:gd name="connsiteX11" fmla="*/ 4215904 w 12045155"/>
                  <a:gd name="connsiteY11" fmla="*/ 844973 h 2365078"/>
                  <a:gd name="connsiteX12" fmla="*/ 4845622 w 12045155"/>
                  <a:gd name="connsiteY12" fmla="*/ 853479 h 2365078"/>
                  <a:gd name="connsiteX13" fmla="*/ 5681632 w 12045155"/>
                  <a:gd name="connsiteY13" fmla="*/ 853479 h 2365078"/>
                  <a:gd name="connsiteX14" fmla="*/ 6745645 w 12045155"/>
                  <a:gd name="connsiteY14" fmla="*/ 878979 h 2365078"/>
                  <a:gd name="connsiteX15" fmla="*/ 7494800 w 12045155"/>
                  <a:gd name="connsiteY15" fmla="*/ 870473 h 2365078"/>
                  <a:gd name="connsiteX16" fmla="*/ 8026795 w 12045155"/>
                  <a:gd name="connsiteY16" fmla="*/ 861967 h 2365078"/>
                  <a:gd name="connsiteX17" fmla="*/ 8504518 w 12045155"/>
                  <a:gd name="connsiteY17" fmla="*/ 827979 h 2365078"/>
                  <a:gd name="connsiteX18" fmla="*/ 9361101 w 12045155"/>
                  <a:gd name="connsiteY18" fmla="*/ 2018757 h 2365078"/>
                  <a:gd name="connsiteX19" fmla="*/ 10249513 w 12045155"/>
                  <a:gd name="connsiteY19" fmla="*/ 2364507 h 2365078"/>
                  <a:gd name="connsiteX20" fmla="*/ 11123596 w 12045155"/>
                  <a:gd name="connsiteY20" fmla="*/ 1964167 h 2365078"/>
                  <a:gd name="connsiteX21" fmla="*/ 11266888 w 12045155"/>
                  <a:gd name="connsiteY21" fmla="*/ 1582018 h 2365078"/>
                  <a:gd name="connsiteX22" fmla="*/ 11797069 w 12045155"/>
                  <a:gd name="connsiteY22" fmla="*/ 999707 h 2365078"/>
                  <a:gd name="connsiteX23" fmla="*/ 12045155 w 12045155"/>
                  <a:gd name="connsiteY23" fmla="*/ 699393 h 2365078"/>
                  <a:gd name="connsiteX24" fmla="*/ 12045155 w 12045155"/>
                  <a:gd name="connsiteY24" fmla="*/ 261011 h 2365078"/>
                  <a:gd name="connsiteX25" fmla="*/ 11438839 w 12045155"/>
                  <a:gd name="connsiteY25" fmla="*/ 435586 h 2365078"/>
                  <a:gd name="connsiteX26" fmla="*/ 11059114 w 12045155"/>
                  <a:gd name="connsiteY26" fmla="*/ 1047471 h 2365078"/>
                  <a:gd name="connsiteX27" fmla="*/ 10602369 w 12045155"/>
                  <a:gd name="connsiteY27" fmla="*/ 1661632 h 2365078"/>
                  <a:gd name="connsiteX28" fmla="*/ 10034574 w 12045155"/>
                  <a:gd name="connsiteY28" fmla="*/ 1618415 h 2365078"/>
                  <a:gd name="connsiteX29" fmla="*/ 9527677 w 12045155"/>
                  <a:gd name="connsiteY29" fmla="*/ 1058846 h 2365078"/>
                  <a:gd name="connsiteX30" fmla="*/ 9053022 w 12045155"/>
                  <a:gd name="connsiteY30" fmla="*/ 581165 h 2365078"/>
                  <a:gd name="connsiteX31" fmla="*/ 8450223 w 12045155"/>
                  <a:gd name="connsiteY31" fmla="*/ 156695 h 2365078"/>
                  <a:gd name="connsiteX32" fmla="*/ 7635927 w 12045155"/>
                  <a:gd name="connsiteY32" fmla="*/ 105714 h 2365078"/>
                  <a:gd name="connsiteX33" fmla="*/ 7049636 w 12045155"/>
                  <a:gd name="connsiteY33" fmla="*/ 199189 h 2365078"/>
                  <a:gd name="connsiteX34" fmla="*/ 6342549 w 12045155"/>
                  <a:gd name="connsiteY34" fmla="*/ 146630 h 2365078"/>
                  <a:gd name="connsiteX35" fmla="*/ 5902209 w 12045155"/>
                  <a:gd name="connsiteY35" fmla="*/ 249658 h 2365078"/>
                  <a:gd name="connsiteX36" fmla="*/ 5182195 w 12045155"/>
                  <a:gd name="connsiteY36" fmla="*/ 292664 h 2365078"/>
                  <a:gd name="connsiteX37" fmla="*/ 3822487 w 12045155"/>
                  <a:gd name="connsiteY37" fmla="*/ 90799 h 2365078"/>
                  <a:gd name="connsiteX38" fmla="*/ 2370177 w 12045155"/>
                  <a:gd name="connsiteY38" fmla="*/ 156695 h 2365078"/>
                  <a:gd name="connsiteX39" fmla="*/ 578745 w 12045155"/>
                  <a:gd name="connsiteY39" fmla="*/ 148189 h 2365078"/>
                  <a:gd name="connsiteX40" fmla="*/ 38923 w 12045155"/>
                  <a:gd name="connsiteY40" fmla="*/ 157240 h 2365078"/>
                  <a:gd name="connsiteX0" fmla="*/ 38923 w 12045155"/>
                  <a:gd name="connsiteY0" fmla="*/ 157240 h 2365078"/>
                  <a:gd name="connsiteX1" fmla="*/ 4765 w 12045155"/>
                  <a:gd name="connsiteY1" fmla="*/ 229969 h 2365078"/>
                  <a:gd name="connsiteX2" fmla="*/ 16985 w 12045155"/>
                  <a:gd name="connsiteY2" fmla="*/ 441204 h 2365078"/>
                  <a:gd name="connsiteX3" fmla="*/ 31647 w 12045155"/>
                  <a:gd name="connsiteY3" fmla="*/ 700450 h 2365078"/>
                  <a:gd name="connsiteX4" fmla="*/ 43864 w 12045155"/>
                  <a:gd name="connsiteY4" fmla="*/ 777266 h 2365078"/>
                  <a:gd name="connsiteX5" fmla="*/ 80207 w 12045155"/>
                  <a:gd name="connsiteY5" fmla="*/ 937416 h 2365078"/>
                  <a:gd name="connsiteX6" fmla="*/ 937008 w 12045155"/>
                  <a:gd name="connsiteY6" fmla="*/ 844973 h 2365078"/>
                  <a:gd name="connsiteX7" fmla="*/ 1631867 w 12045155"/>
                  <a:gd name="connsiteY7" fmla="*/ 878961 h 2365078"/>
                  <a:gd name="connsiteX8" fmla="*/ 2087877 w 12045155"/>
                  <a:gd name="connsiteY8" fmla="*/ 819473 h 2365078"/>
                  <a:gd name="connsiteX9" fmla="*/ 2565599 w 12045155"/>
                  <a:gd name="connsiteY9" fmla="*/ 819473 h 2365078"/>
                  <a:gd name="connsiteX10" fmla="*/ 3336468 w 12045155"/>
                  <a:gd name="connsiteY10" fmla="*/ 861967 h 2365078"/>
                  <a:gd name="connsiteX11" fmla="*/ 4215904 w 12045155"/>
                  <a:gd name="connsiteY11" fmla="*/ 844973 h 2365078"/>
                  <a:gd name="connsiteX12" fmla="*/ 4845622 w 12045155"/>
                  <a:gd name="connsiteY12" fmla="*/ 853479 h 2365078"/>
                  <a:gd name="connsiteX13" fmla="*/ 5681632 w 12045155"/>
                  <a:gd name="connsiteY13" fmla="*/ 853479 h 2365078"/>
                  <a:gd name="connsiteX14" fmla="*/ 6745645 w 12045155"/>
                  <a:gd name="connsiteY14" fmla="*/ 878979 h 2365078"/>
                  <a:gd name="connsiteX15" fmla="*/ 7494800 w 12045155"/>
                  <a:gd name="connsiteY15" fmla="*/ 870473 h 2365078"/>
                  <a:gd name="connsiteX16" fmla="*/ 8026795 w 12045155"/>
                  <a:gd name="connsiteY16" fmla="*/ 861967 h 2365078"/>
                  <a:gd name="connsiteX17" fmla="*/ 8504518 w 12045155"/>
                  <a:gd name="connsiteY17" fmla="*/ 827979 h 2365078"/>
                  <a:gd name="connsiteX18" fmla="*/ 9361101 w 12045155"/>
                  <a:gd name="connsiteY18" fmla="*/ 2018757 h 2365078"/>
                  <a:gd name="connsiteX19" fmla="*/ 10249513 w 12045155"/>
                  <a:gd name="connsiteY19" fmla="*/ 2364507 h 2365078"/>
                  <a:gd name="connsiteX20" fmla="*/ 11123596 w 12045155"/>
                  <a:gd name="connsiteY20" fmla="*/ 1964167 h 2365078"/>
                  <a:gd name="connsiteX21" fmla="*/ 11309876 w 12045155"/>
                  <a:gd name="connsiteY21" fmla="*/ 1618413 h 2365078"/>
                  <a:gd name="connsiteX22" fmla="*/ 11797069 w 12045155"/>
                  <a:gd name="connsiteY22" fmla="*/ 999707 h 2365078"/>
                  <a:gd name="connsiteX23" fmla="*/ 12045155 w 12045155"/>
                  <a:gd name="connsiteY23" fmla="*/ 699393 h 2365078"/>
                  <a:gd name="connsiteX24" fmla="*/ 12045155 w 12045155"/>
                  <a:gd name="connsiteY24" fmla="*/ 261011 h 2365078"/>
                  <a:gd name="connsiteX25" fmla="*/ 11438839 w 12045155"/>
                  <a:gd name="connsiteY25" fmla="*/ 435586 h 2365078"/>
                  <a:gd name="connsiteX26" fmla="*/ 11059114 w 12045155"/>
                  <a:gd name="connsiteY26" fmla="*/ 1047471 h 2365078"/>
                  <a:gd name="connsiteX27" fmla="*/ 10602369 w 12045155"/>
                  <a:gd name="connsiteY27" fmla="*/ 1661632 h 2365078"/>
                  <a:gd name="connsiteX28" fmla="*/ 10034574 w 12045155"/>
                  <a:gd name="connsiteY28" fmla="*/ 1618415 h 2365078"/>
                  <a:gd name="connsiteX29" fmla="*/ 9527677 w 12045155"/>
                  <a:gd name="connsiteY29" fmla="*/ 1058846 h 2365078"/>
                  <a:gd name="connsiteX30" fmla="*/ 9053022 w 12045155"/>
                  <a:gd name="connsiteY30" fmla="*/ 581165 h 2365078"/>
                  <a:gd name="connsiteX31" fmla="*/ 8450223 w 12045155"/>
                  <a:gd name="connsiteY31" fmla="*/ 156695 h 2365078"/>
                  <a:gd name="connsiteX32" fmla="*/ 7635927 w 12045155"/>
                  <a:gd name="connsiteY32" fmla="*/ 105714 h 2365078"/>
                  <a:gd name="connsiteX33" fmla="*/ 7049636 w 12045155"/>
                  <a:gd name="connsiteY33" fmla="*/ 199189 h 2365078"/>
                  <a:gd name="connsiteX34" fmla="*/ 6342549 w 12045155"/>
                  <a:gd name="connsiteY34" fmla="*/ 146630 h 2365078"/>
                  <a:gd name="connsiteX35" fmla="*/ 5902209 w 12045155"/>
                  <a:gd name="connsiteY35" fmla="*/ 249658 h 2365078"/>
                  <a:gd name="connsiteX36" fmla="*/ 5182195 w 12045155"/>
                  <a:gd name="connsiteY36" fmla="*/ 292664 h 2365078"/>
                  <a:gd name="connsiteX37" fmla="*/ 3822487 w 12045155"/>
                  <a:gd name="connsiteY37" fmla="*/ 90799 h 2365078"/>
                  <a:gd name="connsiteX38" fmla="*/ 2370177 w 12045155"/>
                  <a:gd name="connsiteY38" fmla="*/ 156695 h 2365078"/>
                  <a:gd name="connsiteX39" fmla="*/ 578745 w 12045155"/>
                  <a:gd name="connsiteY39" fmla="*/ 148189 h 2365078"/>
                  <a:gd name="connsiteX40" fmla="*/ 38923 w 12045155"/>
                  <a:gd name="connsiteY40" fmla="*/ 157240 h 2365078"/>
                  <a:gd name="connsiteX0" fmla="*/ 38923 w 12045155"/>
                  <a:gd name="connsiteY0" fmla="*/ 157240 h 2365066"/>
                  <a:gd name="connsiteX1" fmla="*/ 4765 w 12045155"/>
                  <a:gd name="connsiteY1" fmla="*/ 229969 h 2365066"/>
                  <a:gd name="connsiteX2" fmla="*/ 16985 w 12045155"/>
                  <a:gd name="connsiteY2" fmla="*/ 441204 h 2365066"/>
                  <a:gd name="connsiteX3" fmla="*/ 31647 w 12045155"/>
                  <a:gd name="connsiteY3" fmla="*/ 700450 h 2365066"/>
                  <a:gd name="connsiteX4" fmla="*/ 43864 w 12045155"/>
                  <a:gd name="connsiteY4" fmla="*/ 777266 h 2365066"/>
                  <a:gd name="connsiteX5" fmla="*/ 80207 w 12045155"/>
                  <a:gd name="connsiteY5" fmla="*/ 937416 h 2365066"/>
                  <a:gd name="connsiteX6" fmla="*/ 937008 w 12045155"/>
                  <a:gd name="connsiteY6" fmla="*/ 844973 h 2365066"/>
                  <a:gd name="connsiteX7" fmla="*/ 1631867 w 12045155"/>
                  <a:gd name="connsiteY7" fmla="*/ 878961 h 2365066"/>
                  <a:gd name="connsiteX8" fmla="*/ 2087877 w 12045155"/>
                  <a:gd name="connsiteY8" fmla="*/ 819473 h 2365066"/>
                  <a:gd name="connsiteX9" fmla="*/ 2565599 w 12045155"/>
                  <a:gd name="connsiteY9" fmla="*/ 819473 h 2365066"/>
                  <a:gd name="connsiteX10" fmla="*/ 3336468 w 12045155"/>
                  <a:gd name="connsiteY10" fmla="*/ 861967 h 2365066"/>
                  <a:gd name="connsiteX11" fmla="*/ 4215904 w 12045155"/>
                  <a:gd name="connsiteY11" fmla="*/ 844973 h 2365066"/>
                  <a:gd name="connsiteX12" fmla="*/ 4845622 w 12045155"/>
                  <a:gd name="connsiteY12" fmla="*/ 853479 h 2365066"/>
                  <a:gd name="connsiteX13" fmla="*/ 5681632 w 12045155"/>
                  <a:gd name="connsiteY13" fmla="*/ 853479 h 2365066"/>
                  <a:gd name="connsiteX14" fmla="*/ 6745645 w 12045155"/>
                  <a:gd name="connsiteY14" fmla="*/ 878979 h 2365066"/>
                  <a:gd name="connsiteX15" fmla="*/ 7494800 w 12045155"/>
                  <a:gd name="connsiteY15" fmla="*/ 870473 h 2365066"/>
                  <a:gd name="connsiteX16" fmla="*/ 8026795 w 12045155"/>
                  <a:gd name="connsiteY16" fmla="*/ 861967 h 2365066"/>
                  <a:gd name="connsiteX17" fmla="*/ 8504518 w 12045155"/>
                  <a:gd name="connsiteY17" fmla="*/ 827979 h 2365066"/>
                  <a:gd name="connsiteX18" fmla="*/ 9361101 w 12045155"/>
                  <a:gd name="connsiteY18" fmla="*/ 2018757 h 2365066"/>
                  <a:gd name="connsiteX19" fmla="*/ 10249513 w 12045155"/>
                  <a:gd name="connsiteY19" fmla="*/ 2364507 h 2365066"/>
                  <a:gd name="connsiteX20" fmla="*/ 11195242 w 12045155"/>
                  <a:gd name="connsiteY20" fmla="*/ 2091549 h 2365066"/>
                  <a:gd name="connsiteX21" fmla="*/ 11309876 w 12045155"/>
                  <a:gd name="connsiteY21" fmla="*/ 1618413 h 2365066"/>
                  <a:gd name="connsiteX22" fmla="*/ 11797069 w 12045155"/>
                  <a:gd name="connsiteY22" fmla="*/ 999707 h 2365066"/>
                  <a:gd name="connsiteX23" fmla="*/ 12045155 w 12045155"/>
                  <a:gd name="connsiteY23" fmla="*/ 699393 h 2365066"/>
                  <a:gd name="connsiteX24" fmla="*/ 12045155 w 12045155"/>
                  <a:gd name="connsiteY24" fmla="*/ 261011 h 2365066"/>
                  <a:gd name="connsiteX25" fmla="*/ 11438839 w 12045155"/>
                  <a:gd name="connsiteY25" fmla="*/ 435586 h 2365066"/>
                  <a:gd name="connsiteX26" fmla="*/ 11059114 w 12045155"/>
                  <a:gd name="connsiteY26" fmla="*/ 1047471 h 2365066"/>
                  <a:gd name="connsiteX27" fmla="*/ 10602369 w 12045155"/>
                  <a:gd name="connsiteY27" fmla="*/ 1661632 h 2365066"/>
                  <a:gd name="connsiteX28" fmla="*/ 10034574 w 12045155"/>
                  <a:gd name="connsiteY28" fmla="*/ 1618415 h 2365066"/>
                  <a:gd name="connsiteX29" fmla="*/ 9527677 w 12045155"/>
                  <a:gd name="connsiteY29" fmla="*/ 1058846 h 2365066"/>
                  <a:gd name="connsiteX30" fmla="*/ 9053022 w 12045155"/>
                  <a:gd name="connsiteY30" fmla="*/ 581165 h 2365066"/>
                  <a:gd name="connsiteX31" fmla="*/ 8450223 w 12045155"/>
                  <a:gd name="connsiteY31" fmla="*/ 156695 h 2365066"/>
                  <a:gd name="connsiteX32" fmla="*/ 7635927 w 12045155"/>
                  <a:gd name="connsiteY32" fmla="*/ 105714 h 2365066"/>
                  <a:gd name="connsiteX33" fmla="*/ 7049636 w 12045155"/>
                  <a:gd name="connsiteY33" fmla="*/ 199189 h 2365066"/>
                  <a:gd name="connsiteX34" fmla="*/ 6342549 w 12045155"/>
                  <a:gd name="connsiteY34" fmla="*/ 146630 h 2365066"/>
                  <a:gd name="connsiteX35" fmla="*/ 5902209 w 12045155"/>
                  <a:gd name="connsiteY35" fmla="*/ 249658 h 2365066"/>
                  <a:gd name="connsiteX36" fmla="*/ 5182195 w 12045155"/>
                  <a:gd name="connsiteY36" fmla="*/ 292664 h 2365066"/>
                  <a:gd name="connsiteX37" fmla="*/ 3822487 w 12045155"/>
                  <a:gd name="connsiteY37" fmla="*/ 90799 h 2365066"/>
                  <a:gd name="connsiteX38" fmla="*/ 2370177 w 12045155"/>
                  <a:gd name="connsiteY38" fmla="*/ 156695 h 2365066"/>
                  <a:gd name="connsiteX39" fmla="*/ 578745 w 12045155"/>
                  <a:gd name="connsiteY39" fmla="*/ 148189 h 2365066"/>
                  <a:gd name="connsiteX40" fmla="*/ 38923 w 12045155"/>
                  <a:gd name="connsiteY40" fmla="*/ 157240 h 2365066"/>
                  <a:gd name="connsiteX0" fmla="*/ 38923 w 12045155"/>
                  <a:gd name="connsiteY0" fmla="*/ 157240 h 2510409"/>
                  <a:gd name="connsiteX1" fmla="*/ 4765 w 12045155"/>
                  <a:gd name="connsiteY1" fmla="*/ 229969 h 2510409"/>
                  <a:gd name="connsiteX2" fmla="*/ 16985 w 12045155"/>
                  <a:gd name="connsiteY2" fmla="*/ 441204 h 2510409"/>
                  <a:gd name="connsiteX3" fmla="*/ 31647 w 12045155"/>
                  <a:gd name="connsiteY3" fmla="*/ 700450 h 2510409"/>
                  <a:gd name="connsiteX4" fmla="*/ 43864 w 12045155"/>
                  <a:gd name="connsiteY4" fmla="*/ 777266 h 2510409"/>
                  <a:gd name="connsiteX5" fmla="*/ 80207 w 12045155"/>
                  <a:gd name="connsiteY5" fmla="*/ 937416 h 2510409"/>
                  <a:gd name="connsiteX6" fmla="*/ 937008 w 12045155"/>
                  <a:gd name="connsiteY6" fmla="*/ 844973 h 2510409"/>
                  <a:gd name="connsiteX7" fmla="*/ 1631867 w 12045155"/>
                  <a:gd name="connsiteY7" fmla="*/ 878961 h 2510409"/>
                  <a:gd name="connsiteX8" fmla="*/ 2087877 w 12045155"/>
                  <a:gd name="connsiteY8" fmla="*/ 819473 h 2510409"/>
                  <a:gd name="connsiteX9" fmla="*/ 2565599 w 12045155"/>
                  <a:gd name="connsiteY9" fmla="*/ 819473 h 2510409"/>
                  <a:gd name="connsiteX10" fmla="*/ 3336468 w 12045155"/>
                  <a:gd name="connsiteY10" fmla="*/ 861967 h 2510409"/>
                  <a:gd name="connsiteX11" fmla="*/ 4215904 w 12045155"/>
                  <a:gd name="connsiteY11" fmla="*/ 844973 h 2510409"/>
                  <a:gd name="connsiteX12" fmla="*/ 4845622 w 12045155"/>
                  <a:gd name="connsiteY12" fmla="*/ 853479 h 2510409"/>
                  <a:gd name="connsiteX13" fmla="*/ 5681632 w 12045155"/>
                  <a:gd name="connsiteY13" fmla="*/ 853479 h 2510409"/>
                  <a:gd name="connsiteX14" fmla="*/ 6745645 w 12045155"/>
                  <a:gd name="connsiteY14" fmla="*/ 878979 h 2510409"/>
                  <a:gd name="connsiteX15" fmla="*/ 7494800 w 12045155"/>
                  <a:gd name="connsiteY15" fmla="*/ 870473 h 2510409"/>
                  <a:gd name="connsiteX16" fmla="*/ 8026795 w 12045155"/>
                  <a:gd name="connsiteY16" fmla="*/ 861967 h 2510409"/>
                  <a:gd name="connsiteX17" fmla="*/ 8504518 w 12045155"/>
                  <a:gd name="connsiteY17" fmla="*/ 827979 h 2510409"/>
                  <a:gd name="connsiteX18" fmla="*/ 9361101 w 12045155"/>
                  <a:gd name="connsiteY18" fmla="*/ 2018757 h 2510409"/>
                  <a:gd name="connsiteX19" fmla="*/ 10149208 w 12045155"/>
                  <a:gd name="connsiteY19" fmla="*/ 2510086 h 2510409"/>
                  <a:gd name="connsiteX20" fmla="*/ 11195242 w 12045155"/>
                  <a:gd name="connsiteY20" fmla="*/ 2091549 h 2510409"/>
                  <a:gd name="connsiteX21" fmla="*/ 11309876 w 12045155"/>
                  <a:gd name="connsiteY21" fmla="*/ 1618413 h 2510409"/>
                  <a:gd name="connsiteX22" fmla="*/ 11797069 w 12045155"/>
                  <a:gd name="connsiteY22" fmla="*/ 999707 h 2510409"/>
                  <a:gd name="connsiteX23" fmla="*/ 12045155 w 12045155"/>
                  <a:gd name="connsiteY23" fmla="*/ 699393 h 2510409"/>
                  <a:gd name="connsiteX24" fmla="*/ 12045155 w 12045155"/>
                  <a:gd name="connsiteY24" fmla="*/ 261011 h 2510409"/>
                  <a:gd name="connsiteX25" fmla="*/ 11438839 w 12045155"/>
                  <a:gd name="connsiteY25" fmla="*/ 435586 h 2510409"/>
                  <a:gd name="connsiteX26" fmla="*/ 11059114 w 12045155"/>
                  <a:gd name="connsiteY26" fmla="*/ 1047471 h 2510409"/>
                  <a:gd name="connsiteX27" fmla="*/ 10602369 w 12045155"/>
                  <a:gd name="connsiteY27" fmla="*/ 1661632 h 2510409"/>
                  <a:gd name="connsiteX28" fmla="*/ 10034574 w 12045155"/>
                  <a:gd name="connsiteY28" fmla="*/ 1618415 h 2510409"/>
                  <a:gd name="connsiteX29" fmla="*/ 9527677 w 12045155"/>
                  <a:gd name="connsiteY29" fmla="*/ 1058846 h 2510409"/>
                  <a:gd name="connsiteX30" fmla="*/ 9053022 w 12045155"/>
                  <a:gd name="connsiteY30" fmla="*/ 581165 h 2510409"/>
                  <a:gd name="connsiteX31" fmla="*/ 8450223 w 12045155"/>
                  <a:gd name="connsiteY31" fmla="*/ 156695 h 2510409"/>
                  <a:gd name="connsiteX32" fmla="*/ 7635927 w 12045155"/>
                  <a:gd name="connsiteY32" fmla="*/ 105714 h 2510409"/>
                  <a:gd name="connsiteX33" fmla="*/ 7049636 w 12045155"/>
                  <a:gd name="connsiteY33" fmla="*/ 199189 h 2510409"/>
                  <a:gd name="connsiteX34" fmla="*/ 6342549 w 12045155"/>
                  <a:gd name="connsiteY34" fmla="*/ 146630 h 2510409"/>
                  <a:gd name="connsiteX35" fmla="*/ 5902209 w 12045155"/>
                  <a:gd name="connsiteY35" fmla="*/ 249658 h 2510409"/>
                  <a:gd name="connsiteX36" fmla="*/ 5182195 w 12045155"/>
                  <a:gd name="connsiteY36" fmla="*/ 292664 h 2510409"/>
                  <a:gd name="connsiteX37" fmla="*/ 3822487 w 12045155"/>
                  <a:gd name="connsiteY37" fmla="*/ 90799 h 2510409"/>
                  <a:gd name="connsiteX38" fmla="*/ 2370177 w 12045155"/>
                  <a:gd name="connsiteY38" fmla="*/ 156695 h 2510409"/>
                  <a:gd name="connsiteX39" fmla="*/ 578745 w 12045155"/>
                  <a:gd name="connsiteY39" fmla="*/ 148189 h 2510409"/>
                  <a:gd name="connsiteX40" fmla="*/ 38923 w 12045155"/>
                  <a:gd name="connsiteY40" fmla="*/ 157240 h 2510409"/>
                  <a:gd name="connsiteX0" fmla="*/ 38923 w 12045155"/>
                  <a:gd name="connsiteY0" fmla="*/ 157240 h 2510087"/>
                  <a:gd name="connsiteX1" fmla="*/ 4765 w 12045155"/>
                  <a:gd name="connsiteY1" fmla="*/ 229969 h 2510087"/>
                  <a:gd name="connsiteX2" fmla="*/ 16985 w 12045155"/>
                  <a:gd name="connsiteY2" fmla="*/ 441204 h 2510087"/>
                  <a:gd name="connsiteX3" fmla="*/ 31647 w 12045155"/>
                  <a:gd name="connsiteY3" fmla="*/ 700450 h 2510087"/>
                  <a:gd name="connsiteX4" fmla="*/ 43864 w 12045155"/>
                  <a:gd name="connsiteY4" fmla="*/ 777266 h 2510087"/>
                  <a:gd name="connsiteX5" fmla="*/ 80207 w 12045155"/>
                  <a:gd name="connsiteY5" fmla="*/ 937416 h 2510087"/>
                  <a:gd name="connsiteX6" fmla="*/ 937008 w 12045155"/>
                  <a:gd name="connsiteY6" fmla="*/ 844973 h 2510087"/>
                  <a:gd name="connsiteX7" fmla="*/ 1631867 w 12045155"/>
                  <a:gd name="connsiteY7" fmla="*/ 878961 h 2510087"/>
                  <a:gd name="connsiteX8" fmla="*/ 2087877 w 12045155"/>
                  <a:gd name="connsiteY8" fmla="*/ 819473 h 2510087"/>
                  <a:gd name="connsiteX9" fmla="*/ 2565599 w 12045155"/>
                  <a:gd name="connsiteY9" fmla="*/ 819473 h 2510087"/>
                  <a:gd name="connsiteX10" fmla="*/ 3336468 w 12045155"/>
                  <a:gd name="connsiteY10" fmla="*/ 861967 h 2510087"/>
                  <a:gd name="connsiteX11" fmla="*/ 4215904 w 12045155"/>
                  <a:gd name="connsiteY11" fmla="*/ 844973 h 2510087"/>
                  <a:gd name="connsiteX12" fmla="*/ 4845622 w 12045155"/>
                  <a:gd name="connsiteY12" fmla="*/ 853479 h 2510087"/>
                  <a:gd name="connsiteX13" fmla="*/ 5681632 w 12045155"/>
                  <a:gd name="connsiteY13" fmla="*/ 853479 h 2510087"/>
                  <a:gd name="connsiteX14" fmla="*/ 6745645 w 12045155"/>
                  <a:gd name="connsiteY14" fmla="*/ 878979 h 2510087"/>
                  <a:gd name="connsiteX15" fmla="*/ 7494800 w 12045155"/>
                  <a:gd name="connsiteY15" fmla="*/ 870473 h 2510087"/>
                  <a:gd name="connsiteX16" fmla="*/ 8026795 w 12045155"/>
                  <a:gd name="connsiteY16" fmla="*/ 861967 h 2510087"/>
                  <a:gd name="connsiteX17" fmla="*/ 8504518 w 12045155"/>
                  <a:gd name="connsiteY17" fmla="*/ 827979 h 2510087"/>
                  <a:gd name="connsiteX18" fmla="*/ 9217808 w 12045155"/>
                  <a:gd name="connsiteY18" fmla="*/ 2091547 h 2510087"/>
                  <a:gd name="connsiteX19" fmla="*/ 10149208 w 12045155"/>
                  <a:gd name="connsiteY19" fmla="*/ 2510086 h 2510087"/>
                  <a:gd name="connsiteX20" fmla="*/ 11195242 w 12045155"/>
                  <a:gd name="connsiteY20" fmla="*/ 2091549 h 2510087"/>
                  <a:gd name="connsiteX21" fmla="*/ 11309876 w 12045155"/>
                  <a:gd name="connsiteY21" fmla="*/ 1618413 h 2510087"/>
                  <a:gd name="connsiteX22" fmla="*/ 11797069 w 12045155"/>
                  <a:gd name="connsiteY22" fmla="*/ 999707 h 2510087"/>
                  <a:gd name="connsiteX23" fmla="*/ 12045155 w 12045155"/>
                  <a:gd name="connsiteY23" fmla="*/ 699393 h 2510087"/>
                  <a:gd name="connsiteX24" fmla="*/ 12045155 w 12045155"/>
                  <a:gd name="connsiteY24" fmla="*/ 261011 h 2510087"/>
                  <a:gd name="connsiteX25" fmla="*/ 11438839 w 12045155"/>
                  <a:gd name="connsiteY25" fmla="*/ 435586 h 2510087"/>
                  <a:gd name="connsiteX26" fmla="*/ 11059114 w 12045155"/>
                  <a:gd name="connsiteY26" fmla="*/ 1047471 h 2510087"/>
                  <a:gd name="connsiteX27" fmla="*/ 10602369 w 12045155"/>
                  <a:gd name="connsiteY27" fmla="*/ 1661632 h 2510087"/>
                  <a:gd name="connsiteX28" fmla="*/ 10034574 w 12045155"/>
                  <a:gd name="connsiteY28" fmla="*/ 1618415 h 2510087"/>
                  <a:gd name="connsiteX29" fmla="*/ 9527677 w 12045155"/>
                  <a:gd name="connsiteY29" fmla="*/ 1058846 h 2510087"/>
                  <a:gd name="connsiteX30" fmla="*/ 9053022 w 12045155"/>
                  <a:gd name="connsiteY30" fmla="*/ 581165 h 2510087"/>
                  <a:gd name="connsiteX31" fmla="*/ 8450223 w 12045155"/>
                  <a:gd name="connsiteY31" fmla="*/ 156695 h 2510087"/>
                  <a:gd name="connsiteX32" fmla="*/ 7635927 w 12045155"/>
                  <a:gd name="connsiteY32" fmla="*/ 105714 h 2510087"/>
                  <a:gd name="connsiteX33" fmla="*/ 7049636 w 12045155"/>
                  <a:gd name="connsiteY33" fmla="*/ 199189 h 2510087"/>
                  <a:gd name="connsiteX34" fmla="*/ 6342549 w 12045155"/>
                  <a:gd name="connsiteY34" fmla="*/ 146630 h 2510087"/>
                  <a:gd name="connsiteX35" fmla="*/ 5902209 w 12045155"/>
                  <a:gd name="connsiteY35" fmla="*/ 249658 h 2510087"/>
                  <a:gd name="connsiteX36" fmla="*/ 5182195 w 12045155"/>
                  <a:gd name="connsiteY36" fmla="*/ 292664 h 2510087"/>
                  <a:gd name="connsiteX37" fmla="*/ 3822487 w 12045155"/>
                  <a:gd name="connsiteY37" fmla="*/ 90799 h 2510087"/>
                  <a:gd name="connsiteX38" fmla="*/ 2370177 w 12045155"/>
                  <a:gd name="connsiteY38" fmla="*/ 156695 h 2510087"/>
                  <a:gd name="connsiteX39" fmla="*/ 578745 w 12045155"/>
                  <a:gd name="connsiteY39" fmla="*/ 148189 h 2510087"/>
                  <a:gd name="connsiteX40" fmla="*/ 38923 w 12045155"/>
                  <a:gd name="connsiteY40" fmla="*/ 157240 h 2510087"/>
                  <a:gd name="connsiteX0" fmla="*/ 38923 w 12045155"/>
                  <a:gd name="connsiteY0" fmla="*/ 157240 h 2510087"/>
                  <a:gd name="connsiteX1" fmla="*/ 4765 w 12045155"/>
                  <a:gd name="connsiteY1" fmla="*/ 229969 h 2510087"/>
                  <a:gd name="connsiteX2" fmla="*/ 16985 w 12045155"/>
                  <a:gd name="connsiteY2" fmla="*/ 441204 h 2510087"/>
                  <a:gd name="connsiteX3" fmla="*/ 31647 w 12045155"/>
                  <a:gd name="connsiteY3" fmla="*/ 700450 h 2510087"/>
                  <a:gd name="connsiteX4" fmla="*/ 43864 w 12045155"/>
                  <a:gd name="connsiteY4" fmla="*/ 777266 h 2510087"/>
                  <a:gd name="connsiteX5" fmla="*/ 80207 w 12045155"/>
                  <a:gd name="connsiteY5" fmla="*/ 937416 h 2510087"/>
                  <a:gd name="connsiteX6" fmla="*/ 937008 w 12045155"/>
                  <a:gd name="connsiteY6" fmla="*/ 844973 h 2510087"/>
                  <a:gd name="connsiteX7" fmla="*/ 1631867 w 12045155"/>
                  <a:gd name="connsiteY7" fmla="*/ 878961 h 2510087"/>
                  <a:gd name="connsiteX8" fmla="*/ 2087877 w 12045155"/>
                  <a:gd name="connsiteY8" fmla="*/ 819473 h 2510087"/>
                  <a:gd name="connsiteX9" fmla="*/ 2565599 w 12045155"/>
                  <a:gd name="connsiteY9" fmla="*/ 819473 h 2510087"/>
                  <a:gd name="connsiteX10" fmla="*/ 3336468 w 12045155"/>
                  <a:gd name="connsiteY10" fmla="*/ 861967 h 2510087"/>
                  <a:gd name="connsiteX11" fmla="*/ 4215904 w 12045155"/>
                  <a:gd name="connsiteY11" fmla="*/ 844973 h 2510087"/>
                  <a:gd name="connsiteX12" fmla="*/ 4845622 w 12045155"/>
                  <a:gd name="connsiteY12" fmla="*/ 853479 h 2510087"/>
                  <a:gd name="connsiteX13" fmla="*/ 5681632 w 12045155"/>
                  <a:gd name="connsiteY13" fmla="*/ 853479 h 2510087"/>
                  <a:gd name="connsiteX14" fmla="*/ 6745645 w 12045155"/>
                  <a:gd name="connsiteY14" fmla="*/ 878979 h 2510087"/>
                  <a:gd name="connsiteX15" fmla="*/ 7494800 w 12045155"/>
                  <a:gd name="connsiteY15" fmla="*/ 870473 h 2510087"/>
                  <a:gd name="connsiteX16" fmla="*/ 8026795 w 12045155"/>
                  <a:gd name="connsiteY16" fmla="*/ 861967 h 2510087"/>
                  <a:gd name="connsiteX17" fmla="*/ 8504518 w 12045155"/>
                  <a:gd name="connsiteY17" fmla="*/ 827979 h 2510087"/>
                  <a:gd name="connsiteX18" fmla="*/ 9217808 w 12045155"/>
                  <a:gd name="connsiteY18" fmla="*/ 2091547 h 2510087"/>
                  <a:gd name="connsiteX19" fmla="*/ 10149208 w 12045155"/>
                  <a:gd name="connsiteY19" fmla="*/ 2510086 h 2510087"/>
                  <a:gd name="connsiteX20" fmla="*/ 11195242 w 12045155"/>
                  <a:gd name="connsiteY20" fmla="*/ 2091549 h 2510087"/>
                  <a:gd name="connsiteX21" fmla="*/ 11625119 w 12045155"/>
                  <a:gd name="connsiteY21" fmla="*/ 1600216 h 2510087"/>
                  <a:gd name="connsiteX22" fmla="*/ 11797069 w 12045155"/>
                  <a:gd name="connsiteY22" fmla="*/ 999707 h 2510087"/>
                  <a:gd name="connsiteX23" fmla="*/ 12045155 w 12045155"/>
                  <a:gd name="connsiteY23" fmla="*/ 699393 h 2510087"/>
                  <a:gd name="connsiteX24" fmla="*/ 12045155 w 12045155"/>
                  <a:gd name="connsiteY24" fmla="*/ 261011 h 2510087"/>
                  <a:gd name="connsiteX25" fmla="*/ 11438839 w 12045155"/>
                  <a:gd name="connsiteY25" fmla="*/ 435586 h 2510087"/>
                  <a:gd name="connsiteX26" fmla="*/ 11059114 w 12045155"/>
                  <a:gd name="connsiteY26" fmla="*/ 1047471 h 2510087"/>
                  <a:gd name="connsiteX27" fmla="*/ 10602369 w 12045155"/>
                  <a:gd name="connsiteY27" fmla="*/ 1661632 h 2510087"/>
                  <a:gd name="connsiteX28" fmla="*/ 10034574 w 12045155"/>
                  <a:gd name="connsiteY28" fmla="*/ 1618415 h 2510087"/>
                  <a:gd name="connsiteX29" fmla="*/ 9527677 w 12045155"/>
                  <a:gd name="connsiteY29" fmla="*/ 1058846 h 2510087"/>
                  <a:gd name="connsiteX30" fmla="*/ 9053022 w 12045155"/>
                  <a:gd name="connsiteY30" fmla="*/ 581165 h 2510087"/>
                  <a:gd name="connsiteX31" fmla="*/ 8450223 w 12045155"/>
                  <a:gd name="connsiteY31" fmla="*/ 156695 h 2510087"/>
                  <a:gd name="connsiteX32" fmla="*/ 7635927 w 12045155"/>
                  <a:gd name="connsiteY32" fmla="*/ 105714 h 2510087"/>
                  <a:gd name="connsiteX33" fmla="*/ 7049636 w 12045155"/>
                  <a:gd name="connsiteY33" fmla="*/ 199189 h 2510087"/>
                  <a:gd name="connsiteX34" fmla="*/ 6342549 w 12045155"/>
                  <a:gd name="connsiteY34" fmla="*/ 146630 h 2510087"/>
                  <a:gd name="connsiteX35" fmla="*/ 5902209 w 12045155"/>
                  <a:gd name="connsiteY35" fmla="*/ 249658 h 2510087"/>
                  <a:gd name="connsiteX36" fmla="*/ 5182195 w 12045155"/>
                  <a:gd name="connsiteY36" fmla="*/ 292664 h 2510087"/>
                  <a:gd name="connsiteX37" fmla="*/ 3822487 w 12045155"/>
                  <a:gd name="connsiteY37" fmla="*/ 90799 h 2510087"/>
                  <a:gd name="connsiteX38" fmla="*/ 2370177 w 12045155"/>
                  <a:gd name="connsiteY38" fmla="*/ 156695 h 2510087"/>
                  <a:gd name="connsiteX39" fmla="*/ 578745 w 12045155"/>
                  <a:gd name="connsiteY39" fmla="*/ 148189 h 2510087"/>
                  <a:gd name="connsiteX40" fmla="*/ 38923 w 12045155"/>
                  <a:gd name="connsiteY40" fmla="*/ 157240 h 2510087"/>
                  <a:gd name="connsiteX0" fmla="*/ 38923 w 12045155"/>
                  <a:gd name="connsiteY0" fmla="*/ 157240 h 2510087"/>
                  <a:gd name="connsiteX1" fmla="*/ 4765 w 12045155"/>
                  <a:gd name="connsiteY1" fmla="*/ 229969 h 2510087"/>
                  <a:gd name="connsiteX2" fmla="*/ 16985 w 12045155"/>
                  <a:gd name="connsiteY2" fmla="*/ 441204 h 2510087"/>
                  <a:gd name="connsiteX3" fmla="*/ 31647 w 12045155"/>
                  <a:gd name="connsiteY3" fmla="*/ 700450 h 2510087"/>
                  <a:gd name="connsiteX4" fmla="*/ 43864 w 12045155"/>
                  <a:gd name="connsiteY4" fmla="*/ 777266 h 2510087"/>
                  <a:gd name="connsiteX5" fmla="*/ 80207 w 12045155"/>
                  <a:gd name="connsiteY5" fmla="*/ 937416 h 2510087"/>
                  <a:gd name="connsiteX6" fmla="*/ 937008 w 12045155"/>
                  <a:gd name="connsiteY6" fmla="*/ 844973 h 2510087"/>
                  <a:gd name="connsiteX7" fmla="*/ 1631867 w 12045155"/>
                  <a:gd name="connsiteY7" fmla="*/ 878961 h 2510087"/>
                  <a:gd name="connsiteX8" fmla="*/ 2087877 w 12045155"/>
                  <a:gd name="connsiteY8" fmla="*/ 819473 h 2510087"/>
                  <a:gd name="connsiteX9" fmla="*/ 2565599 w 12045155"/>
                  <a:gd name="connsiteY9" fmla="*/ 819473 h 2510087"/>
                  <a:gd name="connsiteX10" fmla="*/ 3336468 w 12045155"/>
                  <a:gd name="connsiteY10" fmla="*/ 861967 h 2510087"/>
                  <a:gd name="connsiteX11" fmla="*/ 4215904 w 12045155"/>
                  <a:gd name="connsiteY11" fmla="*/ 844973 h 2510087"/>
                  <a:gd name="connsiteX12" fmla="*/ 4845622 w 12045155"/>
                  <a:gd name="connsiteY12" fmla="*/ 853479 h 2510087"/>
                  <a:gd name="connsiteX13" fmla="*/ 5681632 w 12045155"/>
                  <a:gd name="connsiteY13" fmla="*/ 853479 h 2510087"/>
                  <a:gd name="connsiteX14" fmla="*/ 6745645 w 12045155"/>
                  <a:gd name="connsiteY14" fmla="*/ 878979 h 2510087"/>
                  <a:gd name="connsiteX15" fmla="*/ 7494800 w 12045155"/>
                  <a:gd name="connsiteY15" fmla="*/ 870473 h 2510087"/>
                  <a:gd name="connsiteX16" fmla="*/ 8026795 w 12045155"/>
                  <a:gd name="connsiteY16" fmla="*/ 861967 h 2510087"/>
                  <a:gd name="connsiteX17" fmla="*/ 8647812 w 12045155"/>
                  <a:gd name="connsiteY17" fmla="*/ 1264715 h 2510087"/>
                  <a:gd name="connsiteX18" fmla="*/ 9217808 w 12045155"/>
                  <a:gd name="connsiteY18" fmla="*/ 2091547 h 2510087"/>
                  <a:gd name="connsiteX19" fmla="*/ 10149208 w 12045155"/>
                  <a:gd name="connsiteY19" fmla="*/ 2510086 h 2510087"/>
                  <a:gd name="connsiteX20" fmla="*/ 11195242 w 12045155"/>
                  <a:gd name="connsiteY20" fmla="*/ 2091549 h 2510087"/>
                  <a:gd name="connsiteX21" fmla="*/ 11625119 w 12045155"/>
                  <a:gd name="connsiteY21" fmla="*/ 1600216 h 2510087"/>
                  <a:gd name="connsiteX22" fmla="*/ 11797069 w 12045155"/>
                  <a:gd name="connsiteY22" fmla="*/ 999707 h 2510087"/>
                  <a:gd name="connsiteX23" fmla="*/ 12045155 w 12045155"/>
                  <a:gd name="connsiteY23" fmla="*/ 699393 h 2510087"/>
                  <a:gd name="connsiteX24" fmla="*/ 12045155 w 12045155"/>
                  <a:gd name="connsiteY24" fmla="*/ 261011 h 2510087"/>
                  <a:gd name="connsiteX25" fmla="*/ 11438839 w 12045155"/>
                  <a:gd name="connsiteY25" fmla="*/ 435586 h 2510087"/>
                  <a:gd name="connsiteX26" fmla="*/ 11059114 w 12045155"/>
                  <a:gd name="connsiteY26" fmla="*/ 1047471 h 2510087"/>
                  <a:gd name="connsiteX27" fmla="*/ 10602369 w 12045155"/>
                  <a:gd name="connsiteY27" fmla="*/ 1661632 h 2510087"/>
                  <a:gd name="connsiteX28" fmla="*/ 10034574 w 12045155"/>
                  <a:gd name="connsiteY28" fmla="*/ 1618415 h 2510087"/>
                  <a:gd name="connsiteX29" fmla="*/ 9527677 w 12045155"/>
                  <a:gd name="connsiteY29" fmla="*/ 1058846 h 2510087"/>
                  <a:gd name="connsiteX30" fmla="*/ 9053022 w 12045155"/>
                  <a:gd name="connsiteY30" fmla="*/ 581165 h 2510087"/>
                  <a:gd name="connsiteX31" fmla="*/ 8450223 w 12045155"/>
                  <a:gd name="connsiteY31" fmla="*/ 156695 h 2510087"/>
                  <a:gd name="connsiteX32" fmla="*/ 7635927 w 12045155"/>
                  <a:gd name="connsiteY32" fmla="*/ 105714 h 2510087"/>
                  <a:gd name="connsiteX33" fmla="*/ 7049636 w 12045155"/>
                  <a:gd name="connsiteY33" fmla="*/ 199189 h 2510087"/>
                  <a:gd name="connsiteX34" fmla="*/ 6342549 w 12045155"/>
                  <a:gd name="connsiteY34" fmla="*/ 146630 h 2510087"/>
                  <a:gd name="connsiteX35" fmla="*/ 5902209 w 12045155"/>
                  <a:gd name="connsiteY35" fmla="*/ 249658 h 2510087"/>
                  <a:gd name="connsiteX36" fmla="*/ 5182195 w 12045155"/>
                  <a:gd name="connsiteY36" fmla="*/ 292664 h 2510087"/>
                  <a:gd name="connsiteX37" fmla="*/ 3822487 w 12045155"/>
                  <a:gd name="connsiteY37" fmla="*/ 90799 h 2510087"/>
                  <a:gd name="connsiteX38" fmla="*/ 2370177 w 12045155"/>
                  <a:gd name="connsiteY38" fmla="*/ 156695 h 2510087"/>
                  <a:gd name="connsiteX39" fmla="*/ 578745 w 12045155"/>
                  <a:gd name="connsiteY39" fmla="*/ 148189 h 2510087"/>
                  <a:gd name="connsiteX40" fmla="*/ 38923 w 12045155"/>
                  <a:gd name="connsiteY40" fmla="*/ 157240 h 2510087"/>
                  <a:gd name="connsiteX0" fmla="*/ 38923 w 12045155"/>
                  <a:gd name="connsiteY0" fmla="*/ 157240 h 2510087"/>
                  <a:gd name="connsiteX1" fmla="*/ 4765 w 12045155"/>
                  <a:gd name="connsiteY1" fmla="*/ 229969 h 2510087"/>
                  <a:gd name="connsiteX2" fmla="*/ 16985 w 12045155"/>
                  <a:gd name="connsiteY2" fmla="*/ 441204 h 2510087"/>
                  <a:gd name="connsiteX3" fmla="*/ 31647 w 12045155"/>
                  <a:gd name="connsiteY3" fmla="*/ 700450 h 2510087"/>
                  <a:gd name="connsiteX4" fmla="*/ 43864 w 12045155"/>
                  <a:gd name="connsiteY4" fmla="*/ 777266 h 2510087"/>
                  <a:gd name="connsiteX5" fmla="*/ 80207 w 12045155"/>
                  <a:gd name="connsiteY5" fmla="*/ 937416 h 2510087"/>
                  <a:gd name="connsiteX6" fmla="*/ 937008 w 12045155"/>
                  <a:gd name="connsiteY6" fmla="*/ 844973 h 2510087"/>
                  <a:gd name="connsiteX7" fmla="*/ 1631867 w 12045155"/>
                  <a:gd name="connsiteY7" fmla="*/ 878961 h 2510087"/>
                  <a:gd name="connsiteX8" fmla="*/ 2087877 w 12045155"/>
                  <a:gd name="connsiteY8" fmla="*/ 819473 h 2510087"/>
                  <a:gd name="connsiteX9" fmla="*/ 2565599 w 12045155"/>
                  <a:gd name="connsiteY9" fmla="*/ 819473 h 2510087"/>
                  <a:gd name="connsiteX10" fmla="*/ 3336468 w 12045155"/>
                  <a:gd name="connsiteY10" fmla="*/ 861967 h 2510087"/>
                  <a:gd name="connsiteX11" fmla="*/ 4215904 w 12045155"/>
                  <a:gd name="connsiteY11" fmla="*/ 844973 h 2510087"/>
                  <a:gd name="connsiteX12" fmla="*/ 4845622 w 12045155"/>
                  <a:gd name="connsiteY12" fmla="*/ 853479 h 2510087"/>
                  <a:gd name="connsiteX13" fmla="*/ 5681632 w 12045155"/>
                  <a:gd name="connsiteY13" fmla="*/ 853479 h 2510087"/>
                  <a:gd name="connsiteX14" fmla="*/ 6745645 w 12045155"/>
                  <a:gd name="connsiteY14" fmla="*/ 878979 h 2510087"/>
                  <a:gd name="connsiteX15" fmla="*/ 7494800 w 12045155"/>
                  <a:gd name="connsiteY15" fmla="*/ 870473 h 2510087"/>
                  <a:gd name="connsiteX16" fmla="*/ 8026795 w 12045155"/>
                  <a:gd name="connsiteY16" fmla="*/ 861967 h 2510087"/>
                  <a:gd name="connsiteX17" fmla="*/ 8647812 w 12045155"/>
                  <a:gd name="connsiteY17" fmla="*/ 1264715 h 2510087"/>
                  <a:gd name="connsiteX18" fmla="*/ 9217808 w 12045155"/>
                  <a:gd name="connsiteY18" fmla="*/ 2091547 h 2510087"/>
                  <a:gd name="connsiteX19" fmla="*/ 10149208 w 12045155"/>
                  <a:gd name="connsiteY19" fmla="*/ 2510086 h 2510087"/>
                  <a:gd name="connsiteX20" fmla="*/ 11195242 w 12045155"/>
                  <a:gd name="connsiteY20" fmla="*/ 2091549 h 2510087"/>
                  <a:gd name="connsiteX21" fmla="*/ 11486173 w 12045155"/>
                  <a:gd name="connsiteY21" fmla="*/ 1445814 h 2510087"/>
                  <a:gd name="connsiteX22" fmla="*/ 11797069 w 12045155"/>
                  <a:gd name="connsiteY22" fmla="*/ 999707 h 2510087"/>
                  <a:gd name="connsiteX23" fmla="*/ 12045155 w 12045155"/>
                  <a:gd name="connsiteY23" fmla="*/ 699393 h 2510087"/>
                  <a:gd name="connsiteX24" fmla="*/ 12045155 w 12045155"/>
                  <a:gd name="connsiteY24" fmla="*/ 261011 h 2510087"/>
                  <a:gd name="connsiteX25" fmla="*/ 11438839 w 12045155"/>
                  <a:gd name="connsiteY25" fmla="*/ 435586 h 2510087"/>
                  <a:gd name="connsiteX26" fmla="*/ 11059114 w 12045155"/>
                  <a:gd name="connsiteY26" fmla="*/ 1047471 h 2510087"/>
                  <a:gd name="connsiteX27" fmla="*/ 10602369 w 12045155"/>
                  <a:gd name="connsiteY27" fmla="*/ 1661632 h 2510087"/>
                  <a:gd name="connsiteX28" fmla="*/ 10034574 w 12045155"/>
                  <a:gd name="connsiteY28" fmla="*/ 1618415 h 2510087"/>
                  <a:gd name="connsiteX29" fmla="*/ 9527677 w 12045155"/>
                  <a:gd name="connsiteY29" fmla="*/ 1058846 h 2510087"/>
                  <a:gd name="connsiteX30" fmla="*/ 9053022 w 12045155"/>
                  <a:gd name="connsiteY30" fmla="*/ 581165 h 2510087"/>
                  <a:gd name="connsiteX31" fmla="*/ 8450223 w 12045155"/>
                  <a:gd name="connsiteY31" fmla="*/ 156695 h 2510087"/>
                  <a:gd name="connsiteX32" fmla="*/ 7635927 w 12045155"/>
                  <a:gd name="connsiteY32" fmla="*/ 105714 h 2510087"/>
                  <a:gd name="connsiteX33" fmla="*/ 7049636 w 12045155"/>
                  <a:gd name="connsiteY33" fmla="*/ 199189 h 2510087"/>
                  <a:gd name="connsiteX34" fmla="*/ 6342549 w 12045155"/>
                  <a:gd name="connsiteY34" fmla="*/ 146630 h 2510087"/>
                  <a:gd name="connsiteX35" fmla="*/ 5902209 w 12045155"/>
                  <a:gd name="connsiteY35" fmla="*/ 249658 h 2510087"/>
                  <a:gd name="connsiteX36" fmla="*/ 5182195 w 12045155"/>
                  <a:gd name="connsiteY36" fmla="*/ 292664 h 2510087"/>
                  <a:gd name="connsiteX37" fmla="*/ 3822487 w 12045155"/>
                  <a:gd name="connsiteY37" fmla="*/ 90799 h 2510087"/>
                  <a:gd name="connsiteX38" fmla="*/ 2370177 w 12045155"/>
                  <a:gd name="connsiteY38" fmla="*/ 156695 h 2510087"/>
                  <a:gd name="connsiteX39" fmla="*/ 578745 w 12045155"/>
                  <a:gd name="connsiteY39" fmla="*/ 148189 h 2510087"/>
                  <a:gd name="connsiteX40" fmla="*/ 38923 w 12045155"/>
                  <a:gd name="connsiteY40" fmla="*/ 157240 h 2510087"/>
                  <a:gd name="connsiteX0" fmla="*/ 38923 w 12045155"/>
                  <a:gd name="connsiteY0" fmla="*/ 157240 h 2510087"/>
                  <a:gd name="connsiteX1" fmla="*/ 4765 w 12045155"/>
                  <a:gd name="connsiteY1" fmla="*/ 229969 h 2510087"/>
                  <a:gd name="connsiteX2" fmla="*/ 8249783 w 12045155"/>
                  <a:gd name="connsiteY2" fmla="*/ 507371 h 2510087"/>
                  <a:gd name="connsiteX3" fmla="*/ 31647 w 12045155"/>
                  <a:gd name="connsiteY3" fmla="*/ 700450 h 2510087"/>
                  <a:gd name="connsiteX4" fmla="*/ 43864 w 12045155"/>
                  <a:gd name="connsiteY4" fmla="*/ 777266 h 2510087"/>
                  <a:gd name="connsiteX5" fmla="*/ 80207 w 12045155"/>
                  <a:gd name="connsiteY5" fmla="*/ 937416 h 2510087"/>
                  <a:gd name="connsiteX6" fmla="*/ 937008 w 12045155"/>
                  <a:gd name="connsiteY6" fmla="*/ 844973 h 2510087"/>
                  <a:gd name="connsiteX7" fmla="*/ 1631867 w 12045155"/>
                  <a:gd name="connsiteY7" fmla="*/ 878961 h 2510087"/>
                  <a:gd name="connsiteX8" fmla="*/ 2087877 w 12045155"/>
                  <a:gd name="connsiteY8" fmla="*/ 819473 h 2510087"/>
                  <a:gd name="connsiteX9" fmla="*/ 2565599 w 12045155"/>
                  <a:gd name="connsiteY9" fmla="*/ 819473 h 2510087"/>
                  <a:gd name="connsiteX10" fmla="*/ 3336468 w 12045155"/>
                  <a:gd name="connsiteY10" fmla="*/ 861967 h 2510087"/>
                  <a:gd name="connsiteX11" fmla="*/ 4215904 w 12045155"/>
                  <a:gd name="connsiteY11" fmla="*/ 844973 h 2510087"/>
                  <a:gd name="connsiteX12" fmla="*/ 4845622 w 12045155"/>
                  <a:gd name="connsiteY12" fmla="*/ 853479 h 2510087"/>
                  <a:gd name="connsiteX13" fmla="*/ 5681632 w 12045155"/>
                  <a:gd name="connsiteY13" fmla="*/ 853479 h 2510087"/>
                  <a:gd name="connsiteX14" fmla="*/ 6745645 w 12045155"/>
                  <a:gd name="connsiteY14" fmla="*/ 878979 h 2510087"/>
                  <a:gd name="connsiteX15" fmla="*/ 7494800 w 12045155"/>
                  <a:gd name="connsiteY15" fmla="*/ 870473 h 2510087"/>
                  <a:gd name="connsiteX16" fmla="*/ 8026795 w 12045155"/>
                  <a:gd name="connsiteY16" fmla="*/ 861967 h 2510087"/>
                  <a:gd name="connsiteX17" fmla="*/ 8647812 w 12045155"/>
                  <a:gd name="connsiteY17" fmla="*/ 1264715 h 2510087"/>
                  <a:gd name="connsiteX18" fmla="*/ 9217808 w 12045155"/>
                  <a:gd name="connsiteY18" fmla="*/ 2091547 h 2510087"/>
                  <a:gd name="connsiteX19" fmla="*/ 10149208 w 12045155"/>
                  <a:gd name="connsiteY19" fmla="*/ 2510086 h 2510087"/>
                  <a:gd name="connsiteX20" fmla="*/ 11195242 w 12045155"/>
                  <a:gd name="connsiteY20" fmla="*/ 2091549 h 2510087"/>
                  <a:gd name="connsiteX21" fmla="*/ 11486173 w 12045155"/>
                  <a:gd name="connsiteY21" fmla="*/ 1445814 h 2510087"/>
                  <a:gd name="connsiteX22" fmla="*/ 11797069 w 12045155"/>
                  <a:gd name="connsiteY22" fmla="*/ 999707 h 2510087"/>
                  <a:gd name="connsiteX23" fmla="*/ 12045155 w 12045155"/>
                  <a:gd name="connsiteY23" fmla="*/ 699393 h 2510087"/>
                  <a:gd name="connsiteX24" fmla="*/ 12045155 w 12045155"/>
                  <a:gd name="connsiteY24" fmla="*/ 261011 h 2510087"/>
                  <a:gd name="connsiteX25" fmla="*/ 11438839 w 12045155"/>
                  <a:gd name="connsiteY25" fmla="*/ 435586 h 2510087"/>
                  <a:gd name="connsiteX26" fmla="*/ 11059114 w 12045155"/>
                  <a:gd name="connsiteY26" fmla="*/ 1047471 h 2510087"/>
                  <a:gd name="connsiteX27" fmla="*/ 10602369 w 12045155"/>
                  <a:gd name="connsiteY27" fmla="*/ 1661632 h 2510087"/>
                  <a:gd name="connsiteX28" fmla="*/ 10034574 w 12045155"/>
                  <a:gd name="connsiteY28" fmla="*/ 1618415 h 2510087"/>
                  <a:gd name="connsiteX29" fmla="*/ 9527677 w 12045155"/>
                  <a:gd name="connsiteY29" fmla="*/ 1058846 h 2510087"/>
                  <a:gd name="connsiteX30" fmla="*/ 9053022 w 12045155"/>
                  <a:gd name="connsiteY30" fmla="*/ 581165 h 2510087"/>
                  <a:gd name="connsiteX31" fmla="*/ 8450223 w 12045155"/>
                  <a:gd name="connsiteY31" fmla="*/ 156695 h 2510087"/>
                  <a:gd name="connsiteX32" fmla="*/ 7635927 w 12045155"/>
                  <a:gd name="connsiteY32" fmla="*/ 105714 h 2510087"/>
                  <a:gd name="connsiteX33" fmla="*/ 7049636 w 12045155"/>
                  <a:gd name="connsiteY33" fmla="*/ 199189 h 2510087"/>
                  <a:gd name="connsiteX34" fmla="*/ 6342549 w 12045155"/>
                  <a:gd name="connsiteY34" fmla="*/ 146630 h 2510087"/>
                  <a:gd name="connsiteX35" fmla="*/ 5902209 w 12045155"/>
                  <a:gd name="connsiteY35" fmla="*/ 249658 h 2510087"/>
                  <a:gd name="connsiteX36" fmla="*/ 5182195 w 12045155"/>
                  <a:gd name="connsiteY36" fmla="*/ 292664 h 2510087"/>
                  <a:gd name="connsiteX37" fmla="*/ 3822487 w 12045155"/>
                  <a:gd name="connsiteY37" fmla="*/ 90799 h 2510087"/>
                  <a:gd name="connsiteX38" fmla="*/ 2370177 w 12045155"/>
                  <a:gd name="connsiteY38" fmla="*/ 156695 h 2510087"/>
                  <a:gd name="connsiteX39" fmla="*/ 578745 w 12045155"/>
                  <a:gd name="connsiteY39" fmla="*/ 148189 h 2510087"/>
                  <a:gd name="connsiteX40" fmla="*/ 38923 w 12045155"/>
                  <a:gd name="connsiteY40" fmla="*/ 157240 h 2510087"/>
                  <a:gd name="connsiteX0" fmla="*/ 38923 w 12045155"/>
                  <a:gd name="connsiteY0" fmla="*/ 157240 h 2510087"/>
                  <a:gd name="connsiteX1" fmla="*/ 4765 w 12045155"/>
                  <a:gd name="connsiteY1" fmla="*/ 229969 h 2510087"/>
                  <a:gd name="connsiteX2" fmla="*/ 8249783 w 12045155"/>
                  <a:gd name="connsiteY2" fmla="*/ 507371 h 2510087"/>
                  <a:gd name="connsiteX3" fmla="*/ 31647 w 12045155"/>
                  <a:gd name="connsiteY3" fmla="*/ 700450 h 2510087"/>
                  <a:gd name="connsiteX4" fmla="*/ 43864 w 12045155"/>
                  <a:gd name="connsiteY4" fmla="*/ 777266 h 2510087"/>
                  <a:gd name="connsiteX5" fmla="*/ 80207 w 12045155"/>
                  <a:gd name="connsiteY5" fmla="*/ 937416 h 2510087"/>
                  <a:gd name="connsiteX6" fmla="*/ 937008 w 12045155"/>
                  <a:gd name="connsiteY6" fmla="*/ 844973 h 2510087"/>
                  <a:gd name="connsiteX7" fmla="*/ 1631867 w 12045155"/>
                  <a:gd name="connsiteY7" fmla="*/ 878961 h 2510087"/>
                  <a:gd name="connsiteX8" fmla="*/ 2087877 w 12045155"/>
                  <a:gd name="connsiteY8" fmla="*/ 819473 h 2510087"/>
                  <a:gd name="connsiteX9" fmla="*/ 2565599 w 12045155"/>
                  <a:gd name="connsiteY9" fmla="*/ 819473 h 2510087"/>
                  <a:gd name="connsiteX10" fmla="*/ 3336468 w 12045155"/>
                  <a:gd name="connsiteY10" fmla="*/ 861967 h 2510087"/>
                  <a:gd name="connsiteX11" fmla="*/ 4215904 w 12045155"/>
                  <a:gd name="connsiteY11" fmla="*/ 844973 h 2510087"/>
                  <a:gd name="connsiteX12" fmla="*/ 4845622 w 12045155"/>
                  <a:gd name="connsiteY12" fmla="*/ 853479 h 2510087"/>
                  <a:gd name="connsiteX13" fmla="*/ 5681632 w 12045155"/>
                  <a:gd name="connsiteY13" fmla="*/ 853479 h 2510087"/>
                  <a:gd name="connsiteX14" fmla="*/ 6745645 w 12045155"/>
                  <a:gd name="connsiteY14" fmla="*/ 878979 h 2510087"/>
                  <a:gd name="connsiteX15" fmla="*/ 7494800 w 12045155"/>
                  <a:gd name="connsiteY15" fmla="*/ 870473 h 2510087"/>
                  <a:gd name="connsiteX16" fmla="*/ 8026795 w 12045155"/>
                  <a:gd name="connsiteY16" fmla="*/ 861967 h 2510087"/>
                  <a:gd name="connsiteX17" fmla="*/ 8647812 w 12045155"/>
                  <a:gd name="connsiteY17" fmla="*/ 1264715 h 2510087"/>
                  <a:gd name="connsiteX18" fmla="*/ 9217808 w 12045155"/>
                  <a:gd name="connsiteY18" fmla="*/ 2091547 h 2510087"/>
                  <a:gd name="connsiteX19" fmla="*/ 10149208 w 12045155"/>
                  <a:gd name="connsiteY19" fmla="*/ 2510086 h 2510087"/>
                  <a:gd name="connsiteX20" fmla="*/ 11195242 w 12045155"/>
                  <a:gd name="connsiteY20" fmla="*/ 2091549 h 2510087"/>
                  <a:gd name="connsiteX21" fmla="*/ 11486173 w 12045155"/>
                  <a:gd name="connsiteY21" fmla="*/ 1445814 h 2510087"/>
                  <a:gd name="connsiteX22" fmla="*/ 11797069 w 12045155"/>
                  <a:gd name="connsiteY22" fmla="*/ 999707 h 2510087"/>
                  <a:gd name="connsiteX23" fmla="*/ 12045155 w 12045155"/>
                  <a:gd name="connsiteY23" fmla="*/ 699393 h 2510087"/>
                  <a:gd name="connsiteX24" fmla="*/ 12045155 w 12045155"/>
                  <a:gd name="connsiteY24" fmla="*/ 261011 h 2510087"/>
                  <a:gd name="connsiteX25" fmla="*/ 11438839 w 12045155"/>
                  <a:gd name="connsiteY25" fmla="*/ 435586 h 2510087"/>
                  <a:gd name="connsiteX26" fmla="*/ 11059114 w 12045155"/>
                  <a:gd name="connsiteY26" fmla="*/ 1047471 h 2510087"/>
                  <a:gd name="connsiteX27" fmla="*/ 10602369 w 12045155"/>
                  <a:gd name="connsiteY27" fmla="*/ 1661632 h 2510087"/>
                  <a:gd name="connsiteX28" fmla="*/ 10034574 w 12045155"/>
                  <a:gd name="connsiteY28" fmla="*/ 1618415 h 2510087"/>
                  <a:gd name="connsiteX29" fmla="*/ 9527677 w 12045155"/>
                  <a:gd name="connsiteY29" fmla="*/ 1058846 h 2510087"/>
                  <a:gd name="connsiteX30" fmla="*/ 9053022 w 12045155"/>
                  <a:gd name="connsiteY30" fmla="*/ 581165 h 2510087"/>
                  <a:gd name="connsiteX31" fmla="*/ 8450223 w 12045155"/>
                  <a:gd name="connsiteY31" fmla="*/ 156695 h 2510087"/>
                  <a:gd name="connsiteX32" fmla="*/ 7635927 w 12045155"/>
                  <a:gd name="connsiteY32" fmla="*/ 105714 h 2510087"/>
                  <a:gd name="connsiteX33" fmla="*/ 7049636 w 12045155"/>
                  <a:gd name="connsiteY33" fmla="*/ 199189 h 2510087"/>
                  <a:gd name="connsiteX34" fmla="*/ 6342549 w 12045155"/>
                  <a:gd name="connsiteY34" fmla="*/ 146630 h 2510087"/>
                  <a:gd name="connsiteX35" fmla="*/ 5902209 w 12045155"/>
                  <a:gd name="connsiteY35" fmla="*/ 249658 h 2510087"/>
                  <a:gd name="connsiteX36" fmla="*/ 5182195 w 12045155"/>
                  <a:gd name="connsiteY36" fmla="*/ 292664 h 2510087"/>
                  <a:gd name="connsiteX37" fmla="*/ 3822487 w 12045155"/>
                  <a:gd name="connsiteY37" fmla="*/ 90799 h 2510087"/>
                  <a:gd name="connsiteX38" fmla="*/ 2370177 w 12045155"/>
                  <a:gd name="connsiteY38" fmla="*/ 156695 h 2510087"/>
                  <a:gd name="connsiteX39" fmla="*/ 578745 w 12045155"/>
                  <a:gd name="connsiteY39" fmla="*/ 148189 h 2510087"/>
                  <a:gd name="connsiteX40" fmla="*/ 38923 w 12045155"/>
                  <a:gd name="connsiteY40" fmla="*/ 157240 h 2510087"/>
                  <a:gd name="connsiteX0" fmla="*/ 379789 w 12386021"/>
                  <a:gd name="connsiteY0" fmla="*/ 157240 h 2510087"/>
                  <a:gd name="connsiteX1" fmla="*/ 345631 w 12386021"/>
                  <a:gd name="connsiteY1" fmla="*/ 229969 h 2510087"/>
                  <a:gd name="connsiteX2" fmla="*/ 8590649 w 12386021"/>
                  <a:gd name="connsiteY2" fmla="*/ 507371 h 2510087"/>
                  <a:gd name="connsiteX3" fmla="*/ 372513 w 12386021"/>
                  <a:gd name="connsiteY3" fmla="*/ 700450 h 2510087"/>
                  <a:gd name="connsiteX4" fmla="*/ 8652699 w 12386021"/>
                  <a:gd name="connsiteY4" fmla="*/ 777261 h 2510087"/>
                  <a:gd name="connsiteX5" fmla="*/ 421073 w 12386021"/>
                  <a:gd name="connsiteY5" fmla="*/ 937416 h 2510087"/>
                  <a:gd name="connsiteX6" fmla="*/ 1277874 w 12386021"/>
                  <a:gd name="connsiteY6" fmla="*/ 844973 h 2510087"/>
                  <a:gd name="connsiteX7" fmla="*/ 1972733 w 12386021"/>
                  <a:gd name="connsiteY7" fmla="*/ 878961 h 2510087"/>
                  <a:gd name="connsiteX8" fmla="*/ 2428743 w 12386021"/>
                  <a:gd name="connsiteY8" fmla="*/ 819473 h 2510087"/>
                  <a:gd name="connsiteX9" fmla="*/ 2906465 w 12386021"/>
                  <a:gd name="connsiteY9" fmla="*/ 819473 h 2510087"/>
                  <a:gd name="connsiteX10" fmla="*/ 3677334 w 12386021"/>
                  <a:gd name="connsiteY10" fmla="*/ 861967 h 2510087"/>
                  <a:gd name="connsiteX11" fmla="*/ 4556770 w 12386021"/>
                  <a:gd name="connsiteY11" fmla="*/ 844973 h 2510087"/>
                  <a:gd name="connsiteX12" fmla="*/ 5186488 w 12386021"/>
                  <a:gd name="connsiteY12" fmla="*/ 853479 h 2510087"/>
                  <a:gd name="connsiteX13" fmla="*/ 6022498 w 12386021"/>
                  <a:gd name="connsiteY13" fmla="*/ 853479 h 2510087"/>
                  <a:gd name="connsiteX14" fmla="*/ 7086511 w 12386021"/>
                  <a:gd name="connsiteY14" fmla="*/ 878979 h 2510087"/>
                  <a:gd name="connsiteX15" fmla="*/ 7835666 w 12386021"/>
                  <a:gd name="connsiteY15" fmla="*/ 870473 h 2510087"/>
                  <a:gd name="connsiteX16" fmla="*/ 8367661 w 12386021"/>
                  <a:gd name="connsiteY16" fmla="*/ 861967 h 2510087"/>
                  <a:gd name="connsiteX17" fmla="*/ 8988678 w 12386021"/>
                  <a:gd name="connsiteY17" fmla="*/ 1264715 h 2510087"/>
                  <a:gd name="connsiteX18" fmla="*/ 9558674 w 12386021"/>
                  <a:gd name="connsiteY18" fmla="*/ 2091547 h 2510087"/>
                  <a:gd name="connsiteX19" fmla="*/ 10490074 w 12386021"/>
                  <a:gd name="connsiteY19" fmla="*/ 2510086 h 2510087"/>
                  <a:gd name="connsiteX20" fmla="*/ 11536108 w 12386021"/>
                  <a:gd name="connsiteY20" fmla="*/ 2091549 h 2510087"/>
                  <a:gd name="connsiteX21" fmla="*/ 11827039 w 12386021"/>
                  <a:gd name="connsiteY21" fmla="*/ 1445814 h 2510087"/>
                  <a:gd name="connsiteX22" fmla="*/ 12137935 w 12386021"/>
                  <a:gd name="connsiteY22" fmla="*/ 999707 h 2510087"/>
                  <a:gd name="connsiteX23" fmla="*/ 12386021 w 12386021"/>
                  <a:gd name="connsiteY23" fmla="*/ 699393 h 2510087"/>
                  <a:gd name="connsiteX24" fmla="*/ 12386021 w 12386021"/>
                  <a:gd name="connsiteY24" fmla="*/ 261011 h 2510087"/>
                  <a:gd name="connsiteX25" fmla="*/ 11779705 w 12386021"/>
                  <a:gd name="connsiteY25" fmla="*/ 435586 h 2510087"/>
                  <a:gd name="connsiteX26" fmla="*/ 11399980 w 12386021"/>
                  <a:gd name="connsiteY26" fmla="*/ 1047471 h 2510087"/>
                  <a:gd name="connsiteX27" fmla="*/ 10943235 w 12386021"/>
                  <a:gd name="connsiteY27" fmla="*/ 1661632 h 2510087"/>
                  <a:gd name="connsiteX28" fmla="*/ 10375440 w 12386021"/>
                  <a:gd name="connsiteY28" fmla="*/ 1618415 h 2510087"/>
                  <a:gd name="connsiteX29" fmla="*/ 9868543 w 12386021"/>
                  <a:gd name="connsiteY29" fmla="*/ 1058846 h 2510087"/>
                  <a:gd name="connsiteX30" fmla="*/ 9393888 w 12386021"/>
                  <a:gd name="connsiteY30" fmla="*/ 581165 h 2510087"/>
                  <a:gd name="connsiteX31" fmla="*/ 8791089 w 12386021"/>
                  <a:gd name="connsiteY31" fmla="*/ 156695 h 2510087"/>
                  <a:gd name="connsiteX32" fmla="*/ 7976793 w 12386021"/>
                  <a:gd name="connsiteY32" fmla="*/ 105714 h 2510087"/>
                  <a:gd name="connsiteX33" fmla="*/ 7390502 w 12386021"/>
                  <a:gd name="connsiteY33" fmla="*/ 199189 h 2510087"/>
                  <a:gd name="connsiteX34" fmla="*/ 6683415 w 12386021"/>
                  <a:gd name="connsiteY34" fmla="*/ 146630 h 2510087"/>
                  <a:gd name="connsiteX35" fmla="*/ 6243075 w 12386021"/>
                  <a:gd name="connsiteY35" fmla="*/ 249658 h 2510087"/>
                  <a:gd name="connsiteX36" fmla="*/ 5523061 w 12386021"/>
                  <a:gd name="connsiteY36" fmla="*/ 292664 h 2510087"/>
                  <a:gd name="connsiteX37" fmla="*/ 4163353 w 12386021"/>
                  <a:gd name="connsiteY37" fmla="*/ 90799 h 2510087"/>
                  <a:gd name="connsiteX38" fmla="*/ 2711043 w 12386021"/>
                  <a:gd name="connsiteY38" fmla="*/ 156695 h 2510087"/>
                  <a:gd name="connsiteX39" fmla="*/ 919611 w 12386021"/>
                  <a:gd name="connsiteY39" fmla="*/ 148189 h 2510087"/>
                  <a:gd name="connsiteX40" fmla="*/ 379789 w 12386021"/>
                  <a:gd name="connsiteY40" fmla="*/ 157240 h 2510087"/>
                  <a:gd name="connsiteX0" fmla="*/ 379791 w 12386023"/>
                  <a:gd name="connsiteY0" fmla="*/ 157240 h 2510087"/>
                  <a:gd name="connsiteX1" fmla="*/ 345633 w 12386023"/>
                  <a:gd name="connsiteY1" fmla="*/ 229969 h 2510087"/>
                  <a:gd name="connsiteX2" fmla="*/ 8590651 w 12386023"/>
                  <a:gd name="connsiteY2" fmla="*/ 507371 h 2510087"/>
                  <a:gd name="connsiteX3" fmla="*/ 8697801 w 12386023"/>
                  <a:gd name="connsiteY3" fmla="*/ 591261 h 2510087"/>
                  <a:gd name="connsiteX4" fmla="*/ 8652701 w 12386023"/>
                  <a:gd name="connsiteY4" fmla="*/ 777261 h 2510087"/>
                  <a:gd name="connsiteX5" fmla="*/ 421075 w 12386023"/>
                  <a:gd name="connsiteY5" fmla="*/ 937416 h 2510087"/>
                  <a:gd name="connsiteX6" fmla="*/ 1277876 w 12386023"/>
                  <a:gd name="connsiteY6" fmla="*/ 844973 h 2510087"/>
                  <a:gd name="connsiteX7" fmla="*/ 1972735 w 12386023"/>
                  <a:gd name="connsiteY7" fmla="*/ 878961 h 2510087"/>
                  <a:gd name="connsiteX8" fmla="*/ 2428745 w 12386023"/>
                  <a:gd name="connsiteY8" fmla="*/ 819473 h 2510087"/>
                  <a:gd name="connsiteX9" fmla="*/ 2906467 w 12386023"/>
                  <a:gd name="connsiteY9" fmla="*/ 819473 h 2510087"/>
                  <a:gd name="connsiteX10" fmla="*/ 3677336 w 12386023"/>
                  <a:gd name="connsiteY10" fmla="*/ 861967 h 2510087"/>
                  <a:gd name="connsiteX11" fmla="*/ 4556772 w 12386023"/>
                  <a:gd name="connsiteY11" fmla="*/ 844973 h 2510087"/>
                  <a:gd name="connsiteX12" fmla="*/ 5186490 w 12386023"/>
                  <a:gd name="connsiteY12" fmla="*/ 853479 h 2510087"/>
                  <a:gd name="connsiteX13" fmla="*/ 6022500 w 12386023"/>
                  <a:gd name="connsiteY13" fmla="*/ 853479 h 2510087"/>
                  <a:gd name="connsiteX14" fmla="*/ 7086513 w 12386023"/>
                  <a:gd name="connsiteY14" fmla="*/ 878979 h 2510087"/>
                  <a:gd name="connsiteX15" fmla="*/ 7835668 w 12386023"/>
                  <a:gd name="connsiteY15" fmla="*/ 870473 h 2510087"/>
                  <a:gd name="connsiteX16" fmla="*/ 8367663 w 12386023"/>
                  <a:gd name="connsiteY16" fmla="*/ 861967 h 2510087"/>
                  <a:gd name="connsiteX17" fmla="*/ 8988680 w 12386023"/>
                  <a:gd name="connsiteY17" fmla="*/ 1264715 h 2510087"/>
                  <a:gd name="connsiteX18" fmla="*/ 9558676 w 12386023"/>
                  <a:gd name="connsiteY18" fmla="*/ 2091547 h 2510087"/>
                  <a:gd name="connsiteX19" fmla="*/ 10490076 w 12386023"/>
                  <a:gd name="connsiteY19" fmla="*/ 2510086 h 2510087"/>
                  <a:gd name="connsiteX20" fmla="*/ 11536110 w 12386023"/>
                  <a:gd name="connsiteY20" fmla="*/ 2091549 h 2510087"/>
                  <a:gd name="connsiteX21" fmla="*/ 11827041 w 12386023"/>
                  <a:gd name="connsiteY21" fmla="*/ 1445814 h 2510087"/>
                  <a:gd name="connsiteX22" fmla="*/ 12137937 w 12386023"/>
                  <a:gd name="connsiteY22" fmla="*/ 999707 h 2510087"/>
                  <a:gd name="connsiteX23" fmla="*/ 12386023 w 12386023"/>
                  <a:gd name="connsiteY23" fmla="*/ 699393 h 2510087"/>
                  <a:gd name="connsiteX24" fmla="*/ 12386023 w 12386023"/>
                  <a:gd name="connsiteY24" fmla="*/ 261011 h 2510087"/>
                  <a:gd name="connsiteX25" fmla="*/ 11779707 w 12386023"/>
                  <a:gd name="connsiteY25" fmla="*/ 435586 h 2510087"/>
                  <a:gd name="connsiteX26" fmla="*/ 11399982 w 12386023"/>
                  <a:gd name="connsiteY26" fmla="*/ 1047471 h 2510087"/>
                  <a:gd name="connsiteX27" fmla="*/ 10943237 w 12386023"/>
                  <a:gd name="connsiteY27" fmla="*/ 1661632 h 2510087"/>
                  <a:gd name="connsiteX28" fmla="*/ 10375442 w 12386023"/>
                  <a:gd name="connsiteY28" fmla="*/ 1618415 h 2510087"/>
                  <a:gd name="connsiteX29" fmla="*/ 9868545 w 12386023"/>
                  <a:gd name="connsiteY29" fmla="*/ 1058846 h 2510087"/>
                  <a:gd name="connsiteX30" fmla="*/ 9393890 w 12386023"/>
                  <a:gd name="connsiteY30" fmla="*/ 581165 h 2510087"/>
                  <a:gd name="connsiteX31" fmla="*/ 8791091 w 12386023"/>
                  <a:gd name="connsiteY31" fmla="*/ 156695 h 2510087"/>
                  <a:gd name="connsiteX32" fmla="*/ 7976795 w 12386023"/>
                  <a:gd name="connsiteY32" fmla="*/ 105714 h 2510087"/>
                  <a:gd name="connsiteX33" fmla="*/ 7390504 w 12386023"/>
                  <a:gd name="connsiteY33" fmla="*/ 199189 h 2510087"/>
                  <a:gd name="connsiteX34" fmla="*/ 6683417 w 12386023"/>
                  <a:gd name="connsiteY34" fmla="*/ 146630 h 2510087"/>
                  <a:gd name="connsiteX35" fmla="*/ 6243077 w 12386023"/>
                  <a:gd name="connsiteY35" fmla="*/ 249658 h 2510087"/>
                  <a:gd name="connsiteX36" fmla="*/ 5523063 w 12386023"/>
                  <a:gd name="connsiteY36" fmla="*/ 292664 h 2510087"/>
                  <a:gd name="connsiteX37" fmla="*/ 4163355 w 12386023"/>
                  <a:gd name="connsiteY37" fmla="*/ 90799 h 2510087"/>
                  <a:gd name="connsiteX38" fmla="*/ 2711045 w 12386023"/>
                  <a:gd name="connsiteY38" fmla="*/ 156695 h 2510087"/>
                  <a:gd name="connsiteX39" fmla="*/ 919613 w 12386023"/>
                  <a:gd name="connsiteY39" fmla="*/ 148189 h 2510087"/>
                  <a:gd name="connsiteX40" fmla="*/ 379791 w 12386023"/>
                  <a:gd name="connsiteY40" fmla="*/ 157240 h 2510087"/>
                  <a:gd name="connsiteX0" fmla="*/ 379791 w 12386023"/>
                  <a:gd name="connsiteY0" fmla="*/ 157240 h 2510087"/>
                  <a:gd name="connsiteX1" fmla="*/ 345633 w 12386023"/>
                  <a:gd name="connsiteY1" fmla="*/ 229969 h 2510087"/>
                  <a:gd name="connsiteX2" fmla="*/ 8676628 w 12386023"/>
                  <a:gd name="connsiteY2" fmla="*/ 434581 h 2510087"/>
                  <a:gd name="connsiteX3" fmla="*/ 8697801 w 12386023"/>
                  <a:gd name="connsiteY3" fmla="*/ 591261 h 2510087"/>
                  <a:gd name="connsiteX4" fmla="*/ 8652701 w 12386023"/>
                  <a:gd name="connsiteY4" fmla="*/ 777261 h 2510087"/>
                  <a:gd name="connsiteX5" fmla="*/ 421075 w 12386023"/>
                  <a:gd name="connsiteY5" fmla="*/ 937416 h 2510087"/>
                  <a:gd name="connsiteX6" fmla="*/ 1277876 w 12386023"/>
                  <a:gd name="connsiteY6" fmla="*/ 844973 h 2510087"/>
                  <a:gd name="connsiteX7" fmla="*/ 1972735 w 12386023"/>
                  <a:gd name="connsiteY7" fmla="*/ 878961 h 2510087"/>
                  <a:gd name="connsiteX8" fmla="*/ 2428745 w 12386023"/>
                  <a:gd name="connsiteY8" fmla="*/ 819473 h 2510087"/>
                  <a:gd name="connsiteX9" fmla="*/ 2906467 w 12386023"/>
                  <a:gd name="connsiteY9" fmla="*/ 819473 h 2510087"/>
                  <a:gd name="connsiteX10" fmla="*/ 3677336 w 12386023"/>
                  <a:gd name="connsiteY10" fmla="*/ 861967 h 2510087"/>
                  <a:gd name="connsiteX11" fmla="*/ 4556772 w 12386023"/>
                  <a:gd name="connsiteY11" fmla="*/ 844973 h 2510087"/>
                  <a:gd name="connsiteX12" fmla="*/ 5186490 w 12386023"/>
                  <a:gd name="connsiteY12" fmla="*/ 853479 h 2510087"/>
                  <a:gd name="connsiteX13" fmla="*/ 6022500 w 12386023"/>
                  <a:gd name="connsiteY13" fmla="*/ 853479 h 2510087"/>
                  <a:gd name="connsiteX14" fmla="*/ 7086513 w 12386023"/>
                  <a:gd name="connsiteY14" fmla="*/ 878979 h 2510087"/>
                  <a:gd name="connsiteX15" fmla="*/ 7835668 w 12386023"/>
                  <a:gd name="connsiteY15" fmla="*/ 870473 h 2510087"/>
                  <a:gd name="connsiteX16" fmla="*/ 8367663 w 12386023"/>
                  <a:gd name="connsiteY16" fmla="*/ 861967 h 2510087"/>
                  <a:gd name="connsiteX17" fmla="*/ 8988680 w 12386023"/>
                  <a:gd name="connsiteY17" fmla="*/ 1264715 h 2510087"/>
                  <a:gd name="connsiteX18" fmla="*/ 9558676 w 12386023"/>
                  <a:gd name="connsiteY18" fmla="*/ 2091547 h 2510087"/>
                  <a:gd name="connsiteX19" fmla="*/ 10490076 w 12386023"/>
                  <a:gd name="connsiteY19" fmla="*/ 2510086 h 2510087"/>
                  <a:gd name="connsiteX20" fmla="*/ 11536110 w 12386023"/>
                  <a:gd name="connsiteY20" fmla="*/ 2091549 h 2510087"/>
                  <a:gd name="connsiteX21" fmla="*/ 11827041 w 12386023"/>
                  <a:gd name="connsiteY21" fmla="*/ 1445814 h 2510087"/>
                  <a:gd name="connsiteX22" fmla="*/ 12137937 w 12386023"/>
                  <a:gd name="connsiteY22" fmla="*/ 999707 h 2510087"/>
                  <a:gd name="connsiteX23" fmla="*/ 12386023 w 12386023"/>
                  <a:gd name="connsiteY23" fmla="*/ 699393 h 2510087"/>
                  <a:gd name="connsiteX24" fmla="*/ 12386023 w 12386023"/>
                  <a:gd name="connsiteY24" fmla="*/ 261011 h 2510087"/>
                  <a:gd name="connsiteX25" fmla="*/ 11779707 w 12386023"/>
                  <a:gd name="connsiteY25" fmla="*/ 435586 h 2510087"/>
                  <a:gd name="connsiteX26" fmla="*/ 11399982 w 12386023"/>
                  <a:gd name="connsiteY26" fmla="*/ 1047471 h 2510087"/>
                  <a:gd name="connsiteX27" fmla="*/ 10943237 w 12386023"/>
                  <a:gd name="connsiteY27" fmla="*/ 1661632 h 2510087"/>
                  <a:gd name="connsiteX28" fmla="*/ 10375442 w 12386023"/>
                  <a:gd name="connsiteY28" fmla="*/ 1618415 h 2510087"/>
                  <a:gd name="connsiteX29" fmla="*/ 9868545 w 12386023"/>
                  <a:gd name="connsiteY29" fmla="*/ 1058846 h 2510087"/>
                  <a:gd name="connsiteX30" fmla="*/ 9393890 w 12386023"/>
                  <a:gd name="connsiteY30" fmla="*/ 581165 h 2510087"/>
                  <a:gd name="connsiteX31" fmla="*/ 8791091 w 12386023"/>
                  <a:gd name="connsiteY31" fmla="*/ 156695 h 2510087"/>
                  <a:gd name="connsiteX32" fmla="*/ 7976795 w 12386023"/>
                  <a:gd name="connsiteY32" fmla="*/ 105714 h 2510087"/>
                  <a:gd name="connsiteX33" fmla="*/ 7390504 w 12386023"/>
                  <a:gd name="connsiteY33" fmla="*/ 199189 h 2510087"/>
                  <a:gd name="connsiteX34" fmla="*/ 6683417 w 12386023"/>
                  <a:gd name="connsiteY34" fmla="*/ 146630 h 2510087"/>
                  <a:gd name="connsiteX35" fmla="*/ 6243077 w 12386023"/>
                  <a:gd name="connsiteY35" fmla="*/ 249658 h 2510087"/>
                  <a:gd name="connsiteX36" fmla="*/ 5523063 w 12386023"/>
                  <a:gd name="connsiteY36" fmla="*/ 292664 h 2510087"/>
                  <a:gd name="connsiteX37" fmla="*/ 4163355 w 12386023"/>
                  <a:gd name="connsiteY37" fmla="*/ 90799 h 2510087"/>
                  <a:gd name="connsiteX38" fmla="*/ 2711045 w 12386023"/>
                  <a:gd name="connsiteY38" fmla="*/ 156695 h 2510087"/>
                  <a:gd name="connsiteX39" fmla="*/ 919613 w 12386023"/>
                  <a:gd name="connsiteY39" fmla="*/ 148189 h 2510087"/>
                  <a:gd name="connsiteX40" fmla="*/ 379791 w 12386023"/>
                  <a:gd name="connsiteY40" fmla="*/ 157240 h 2510087"/>
                  <a:gd name="connsiteX0" fmla="*/ 8705072 w 12386023"/>
                  <a:gd name="connsiteY0" fmla="*/ 284622 h 2510087"/>
                  <a:gd name="connsiteX1" fmla="*/ 345633 w 12386023"/>
                  <a:gd name="connsiteY1" fmla="*/ 229969 h 2510087"/>
                  <a:gd name="connsiteX2" fmla="*/ 8676628 w 12386023"/>
                  <a:gd name="connsiteY2" fmla="*/ 434581 h 2510087"/>
                  <a:gd name="connsiteX3" fmla="*/ 8697801 w 12386023"/>
                  <a:gd name="connsiteY3" fmla="*/ 591261 h 2510087"/>
                  <a:gd name="connsiteX4" fmla="*/ 8652701 w 12386023"/>
                  <a:gd name="connsiteY4" fmla="*/ 777261 h 2510087"/>
                  <a:gd name="connsiteX5" fmla="*/ 421075 w 12386023"/>
                  <a:gd name="connsiteY5" fmla="*/ 937416 h 2510087"/>
                  <a:gd name="connsiteX6" fmla="*/ 1277876 w 12386023"/>
                  <a:gd name="connsiteY6" fmla="*/ 844973 h 2510087"/>
                  <a:gd name="connsiteX7" fmla="*/ 1972735 w 12386023"/>
                  <a:gd name="connsiteY7" fmla="*/ 878961 h 2510087"/>
                  <a:gd name="connsiteX8" fmla="*/ 2428745 w 12386023"/>
                  <a:gd name="connsiteY8" fmla="*/ 819473 h 2510087"/>
                  <a:gd name="connsiteX9" fmla="*/ 2906467 w 12386023"/>
                  <a:gd name="connsiteY9" fmla="*/ 819473 h 2510087"/>
                  <a:gd name="connsiteX10" fmla="*/ 3677336 w 12386023"/>
                  <a:gd name="connsiteY10" fmla="*/ 861967 h 2510087"/>
                  <a:gd name="connsiteX11" fmla="*/ 4556772 w 12386023"/>
                  <a:gd name="connsiteY11" fmla="*/ 844973 h 2510087"/>
                  <a:gd name="connsiteX12" fmla="*/ 5186490 w 12386023"/>
                  <a:gd name="connsiteY12" fmla="*/ 853479 h 2510087"/>
                  <a:gd name="connsiteX13" fmla="*/ 6022500 w 12386023"/>
                  <a:gd name="connsiteY13" fmla="*/ 853479 h 2510087"/>
                  <a:gd name="connsiteX14" fmla="*/ 7086513 w 12386023"/>
                  <a:gd name="connsiteY14" fmla="*/ 878979 h 2510087"/>
                  <a:gd name="connsiteX15" fmla="*/ 7835668 w 12386023"/>
                  <a:gd name="connsiteY15" fmla="*/ 870473 h 2510087"/>
                  <a:gd name="connsiteX16" fmla="*/ 8367663 w 12386023"/>
                  <a:gd name="connsiteY16" fmla="*/ 861967 h 2510087"/>
                  <a:gd name="connsiteX17" fmla="*/ 8988680 w 12386023"/>
                  <a:gd name="connsiteY17" fmla="*/ 1264715 h 2510087"/>
                  <a:gd name="connsiteX18" fmla="*/ 9558676 w 12386023"/>
                  <a:gd name="connsiteY18" fmla="*/ 2091547 h 2510087"/>
                  <a:gd name="connsiteX19" fmla="*/ 10490076 w 12386023"/>
                  <a:gd name="connsiteY19" fmla="*/ 2510086 h 2510087"/>
                  <a:gd name="connsiteX20" fmla="*/ 11536110 w 12386023"/>
                  <a:gd name="connsiteY20" fmla="*/ 2091549 h 2510087"/>
                  <a:gd name="connsiteX21" fmla="*/ 11827041 w 12386023"/>
                  <a:gd name="connsiteY21" fmla="*/ 1445814 h 2510087"/>
                  <a:gd name="connsiteX22" fmla="*/ 12137937 w 12386023"/>
                  <a:gd name="connsiteY22" fmla="*/ 999707 h 2510087"/>
                  <a:gd name="connsiteX23" fmla="*/ 12386023 w 12386023"/>
                  <a:gd name="connsiteY23" fmla="*/ 699393 h 2510087"/>
                  <a:gd name="connsiteX24" fmla="*/ 12386023 w 12386023"/>
                  <a:gd name="connsiteY24" fmla="*/ 261011 h 2510087"/>
                  <a:gd name="connsiteX25" fmla="*/ 11779707 w 12386023"/>
                  <a:gd name="connsiteY25" fmla="*/ 435586 h 2510087"/>
                  <a:gd name="connsiteX26" fmla="*/ 11399982 w 12386023"/>
                  <a:gd name="connsiteY26" fmla="*/ 1047471 h 2510087"/>
                  <a:gd name="connsiteX27" fmla="*/ 10943237 w 12386023"/>
                  <a:gd name="connsiteY27" fmla="*/ 1661632 h 2510087"/>
                  <a:gd name="connsiteX28" fmla="*/ 10375442 w 12386023"/>
                  <a:gd name="connsiteY28" fmla="*/ 1618415 h 2510087"/>
                  <a:gd name="connsiteX29" fmla="*/ 9868545 w 12386023"/>
                  <a:gd name="connsiteY29" fmla="*/ 1058846 h 2510087"/>
                  <a:gd name="connsiteX30" fmla="*/ 9393890 w 12386023"/>
                  <a:gd name="connsiteY30" fmla="*/ 581165 h 2510087"/>
                  <a:gd name="connsiteX31" fmla="*/ 8791091 w 12386023"/>
                  <a:gd name="connsiteY31" fmla="*/ 156695 h 2510087"/>
                  <a:gd name="connsiteX32" fmla="*/ 7976795 w 12386023"/>
                  <a:gd name="connsiteY32" fmla="*/ 105714 h 2510087"/>
                  <a:gd name="connsiteX33" fmla="*/ 7390504 w 12386023"/>
                  <a:gd name="connsiteY33" fmla="*/ 199189 h 2510087"/>
                  <a:gd name="connsiteX34" fmla="*/ 6683417 w 12386023"/>
                  <a:gd name="connsiteY34" fmla="*/ 146630 h 2510087"/>
                  <a:gd name="connsiteX35" fmla="*/ 6243077 w 12386023"/>
                  <a:gd name="connsiteY35" fmla="*/ 249658 h 2510087"/>
                  <a:gd name="connsiteX36" fmla="*/ 5523063 w 12386023"/>
                  <a:gd name="connsiteY36" fmla="*/ 292664 h 2510087"/>
                  <a:gd name="connsiteX37" fmla="*/ 4163355 w 12386023"/>
                  <a:gd name="connsiteY37" fmla="*/ 90799 h 2510087"/>
                  <a:gd name="connsiteX38" fmla="*/ 2711045 w 12386023"/>
                  <a:gd name="connsiteY38" fmla="*/ 156695 h 2510087"/>
                  <a:gd name="connsiteX39" fmla="*/ 919613 w 12386023"/>
                  <a:gd name="connsiteY39" fmla="*/ 148189 h 2510087"/>
                  <a:gd name="connsiteX40" fmla="*/ 8705072 w 12386023"/>
                  <a:gd name="connsiteY40" fmla="*/ 284622 h 2510087"/>
                  <a:gd name="connsiteX0" fmla="*/ 8705072 w 12386023"/>
                  <a:gd name="connsiteY0" fmla="*/ 284622 h 2510087"/>
                  <a:gd name="connsiteX1" fmla="*/ 8742561 w 12386023"/>
                  <a:gd name="connsiteY1" fmla="*/ 521128 h 2510087"/>
                  <a:gd name="connsiteX2" fmla="*/ 8676628 w 12386023"/>
                  <a:gd name="connsiteY2" fmla="*/ 434581 h 2510087"/>
                  <a:gd name="connsiteX3" fmla="*/ 8697801 w 12386023"/>
                  <a:gd name="connsiteY3" fmla="*/ 591261 h 2510087"/>
                  <a:gd name="connsiteX4" fmla="*/ 8652701 w 12386023"/>
                  <a:gd name="connsiteY4" fmla="*/ 777261 h 2510087"/>
                  <a:gd name="connsiteX5" fmla="*/ 421075 w 12386023"/>
                  <a:gd name="connsiteY5" fmla="*/ 937416 h 2510087"/>
                  <a:gd name="connsiteX6" fmla="*/ 1277876 w 12386023"/>
                  <a:gd name="connsiteY6" fmla="*/ 844973 h 2510087"/>
                  <a:gd name="connsiteX7" fmla="*/ 1972735 w 12386023"/>
                  <a:gd name="connsiteY7" fmla="*/ 878961 h 2510087"/>
                  <a:gd name="connsiteX8" fmla="*/ 2428745 w 12386023"/>
                  <a:gd name="connsiteY8" fmla="*/ 819473 h 2510087"/>
                  <a:gd name="connsiteX9" fmla="*/ 2906467 w 12386023"/>
                  <a:gd name="connsiteY9" fmla="*/ 819473 h 2510087"/>
                  <a:gd name="connsiteX10" fmla="*/ 3677336 w 12386023"/>
                  <a:gd name="connsiteY10" fmla="*/ 861967 h 2510087"/>
                  <a:gd name="connsiteX11" fmla="*/ 4556772 w 12386023"/>
                  <a:gd name="connsiteY11" fmla="*/ 844973 h 2510087"/>
                  <a:gd name="connsiteX12" fmla="*/ 5186490 w 12386023"/>
                  <a:gd name="connsiteY12" fmla="*/ 853479 h 2510087"/>
                  <a:gd name="connsiteX13" fmla="*/ 6022500 w 12386023"/>
                  <a:gd name="connsiteY13" fmla="*/ 853479 h 2510087"/>
                  <a:gd name="connsiteX14" fmla="*/ 7086513 w 12386023"/>
                  <a:gd name="connsiteY14" fmla="*/ 878979 h 2510087"/>
                  <a:gd name="connsiteX15" fmla="*/ 7835668 w 12386023"/>
                  <a:gd name="connsiteY15" fmla="*/ 870473 h 2510087"/>
                  <a:gd name="connsiteX16" fmla="*/ 8367663 w 12386023"/>
                  <a:gd name="connsiteY16" fmla="*/ 861967 h 2510087"/>
                  <a:gd name="connsiteX17" fmla="*/ 8988680 w 12386023"/>
                  <a:gd name="connsiteY17" fmla="*/ 1264715 h 2510087"/>
                  <a:gd name="connsiteX18" fmla="*/ 9558676 w 12386023"/>
                  <a:gd name="connsiteY18" fmla="*/ 2091547 h 2510087"/>
                  <a:gd name="connsiteX19" fmla="*/ 10490076 w 12386023"/>
                  <a:gd name="connsiteY19" fmla="*/ 2510086 h 2510087"/>
                  <a:gd name="connsiteX20" fmla="*/ 11536110 w 12386023"/>
                  <a:gd name="connsiteY20" fmla="*/ 2091549 h 2510087"/>
                  <a:gd name="connsiteX21" fmla="*/ 11827041 w 12386023"/>
                  <a:gd name="connsiteY21" fmla="*/ 1445814 h 2510087"/>
                  <a:gd name="connsiteX22" fmla="*/ 12137937 w 12386023"/>
                  <a:gd name="connsiteY22" fmla="*/ 999707 h 2510087"/>
                  <a:gd name="connsiteX23" fmla="*/ 12386023 w 12386023"/>
                  <a:gd name="connsiteY23" fmla="*/ 699393 h 2510087"/>
                  <a:gd name="connsiteX24" fmla="*/ 12386023 w 12386023"/>
                  <a:gd name="connsiteY24" fmla="*/ 261011 h 2510087"/>
                  <a:gd name="connsiteX25" fmla="*/ 11779707 w 12386023"/>
                  <a:gd name="connsiteY25" fmla="*/ 435586 h 2510087"/>
                  <a:gd name="connsiteX26" fmla="*/ 11399982 w 12386023"/>
                  <a:gd name="connsiteY26" fmla="*/ 1047471 h 2510087"/>
                  <a:gd name="connsiteX27" fmla="*/ 10943237 w 12386023"/>
                  <a:gd name="connsiteY27" fmla="*/ 1661632 h 2510087"/>
                  <a:gd name="connsiteX28" fmla="*/ 10375442 w 12386023"/>
                  <a:gd name="connsiteY28" fmla="*/ 1618415 h 2510087"/>
                  <a:gd name="connsiteX29" fmla="*/ 9868545 w 12386023"/>
                  <a:gd name="connsiteY29" fmla="*/ 1058846 h 2510087"/>
                  <a:gd name="connsiteX30" fmla="*/ 9393890 w 12386023"/>
                  <a:gd name="connsiteY30" fmla="*/ 581165 h 2510087"/>
                  <a:gd name="connsiteX31" fmla="*/ 8791091 w 12386023"/>
                  <a:gd name="connsiteY31" fmla="*/ 156695 h 2510087"/>
                  <a:gd name="connsiteX32" fmla="*/ 7976795 w 12386023"/>
                  <a:gd name="connsiteY32" fmla="*/ 105714 h 2510087"/>
                  <a:gd name="connsiteX33" fmla="*/ 7390504 w 12386023"/>
                  <a:gd name="connsiteY33" fmla="*/ 199189 h 2510087"/>
                  <a:gd name="connsiteX34" fmla="*/ 6683417 w 12386023"/>
                  <a:gd name="connsiteY34" fmla="*/ 146630 h 2510087"/>
                  <a:gd name="connsiteX35" fmla="*/ 6243077 w 12386023"/>
                  <a:gd name="connsiteY35" fmla="*/ 249658 h 2510087"/>
                  <a:gd name="connsiteX36" fmla="*/ 5523063 w 12386023"/>
                  <a:gd name="connsiteY36" fmla="*/ 292664 h 2510087"/>
                  <a:gd name="connsiteX37" fmla="*/ 4163355 w 12386023"/>
                  <a:gd name="connsiteY37" fmla="*/ 90799 h 2510087"/>
                  <a:gd name="connsiteX38" fmla="*/ 2711045 w 12386023"/>
                  <a:gd name="connsiteY38" fmla="*/ 156695 h 2510087"/>
                  <a:gd name="connsiteX39" fmla="*/ 919613 w 12386023"/>
                  <a:gd name="connsiteY39" fmla="*/ 148189 h 2510087"/>
                  <a:gd name="connsiteX40" fmla="*/ 8705072 w 12386023"/>
                  <a:gd name="connsiteY40" fmla="*/ 284622 h 2510087"/>
                  <a:gd name="connsiteX0" fmla="*/ 8705072 w 12386023"/>
                  <a:gd name="connsiteY0" fmla="*/ 284622 h 2510087"/>
                  <a:gd name="connsiteX1" fmla="*/ 8742561 w 12386023"/>
                  <a:gd name="connsiteY1" fmla="*/ 521128 h 2510087"/>
                  <a:gd name="connsiteX2" fmla="*/ 8676628 w 12386023"/>
                  <a:gd name="connsiteY2" fmla="*/ 434581 h 2510087"/>
                  <a:gd name="connsiteX3" fmla="*/ 8697801 w 12386023"/>
                  <a:gd name="connsiteY3" fmla="*/ 591261 h 2510087"/>
                  <a:gd name="connsiteX4" fmla="*/ 8652701 w 12386023"/>
                  <a:gd name="connsiteY4" fmla="*/ 777261 h 2510087"/>
                  <a:gd name="connsiteX5" fmla="*/ 421075 w 12386023"/>
                  <a:gd name="connsiteY5" fmla="*/ 937416 h 2510087"/>
                  <a:gd name="connsiteX6" fmla="*/ 1277876 w 12386023"/>
                  <a:gd name="connsiteY6" fmla="*/ 844973 h 2510087"/>
                  <a:gd name="connsiteX7" fmla="*/ 1972735 w 12386023"/>
                  <a:gd name="connsiteY7" fmla="*/ 878961 h 2510087"/>
                  <a:gd name="connsiteX8" fmla="*/ 2428745 w 12386023"/>
                  <a:gd name="connsiteY8" fmla="*/ 819473 h 2510087"/>
                  <a:gd name="connsiteX9" fmla="*/ 2906467 w 12386023"/>
                  <a:gd name="connsiteY9" fmla="*/ 819473 h 2510087"/>
                  <a:gd name="connsiteX10" fmla="*/ 3677336 w 12386023"/>
                  <a:gd name="connsiteY10" fmla="*/ 861967 h 2510087"/>
                  <a:gd name="connsiteX11" fmla="*/ 4556772 w 12386023"/>
                  <a:gd name="connsiteY11" fmla="*/ 844973 h 2510087"/>
                  <a:gd name="connsiteX12" fmla="*/ 5186490 w 12386023"/>
                  <a:gd name="connsiteY12" fmla="*/ 853479 h 2510087"/>
                  <a:gd name="connsiteX13" fmla="*/ 6022500 w 12386023"/>
                  <a:gd name="connsiteY13" fmla="*/ 853479 h 2510087"/>
                  <a:gd name="connsiteX14" fmla="*/ 7086513 w 12386023"/>
                  <a:gd name="connsiteY14" fmla="*/ 878979 h 2510087"/>
                  <a:gd name="connsiteX15" fmla="*/ 7835668 w 12386023"/>
                  <a:gd name="connsiteY15" fmla="*/ 870473 h 2510087"/>
                  <a:gd name="connsiteX16" fmla="*/ 8367663 w 12386023"/>
                  <a:gd name="connsiteY16" fmla="*/ 861967 h 2510087"/>
                  <a:gd name="connsiteX17" fmla="*/ 8988680 w 12386023"/>
                  <a:gd name="connsiteY17" fmla="*/ 1264715 h 2510087"/>
                  <a:gd name="connsiteX18" fmla="*/ 9558676 w 12386023"/>
                  <a:gd name="connsiteY18" fmla="*/ 2091547 h 2510087"/>
                  <a:gd name="connsiteX19" fmla="*/ 10490076 w 12386023"/>
                  <a:gd name="connsiteY19" fmla="*/ 2510086 h 2510087"/>
                  <a:gd name="connsiteX20" fmla="*/ 11536110 w 12386023"/>
                  <a:gd name="connsiteY20" fmla="*/ 2091549 h 2510087"/>
                  <a:gd name="connsiteX21" fmla="*/ 11827041 w 12386023"/>
                  <a:gd name="connsiteY21" fmla="*/ 1445814 h 2510087"/>
                  <a:gd name="connsiteX22" fmla="*/ 12137937 w 12386023"/>
                  <a:gd name="connsiteY22" fmla="*/ 999707 h 2510087"/>
                  <a:gd name="connsiteX23" fmla="*/ 12386023 w 12386023"/>
                  <a:gd name="connsiteY23" fmla="*/ 699393 h 2510087"/>
                  <a:gd name="connsiteX24" fmla="*/ 12386023 w 12386023"/>
                  <a:gd name="connsiteY24" fmla="*/ 261011 h 2510087"/>
                  <a:gd name="connsiteX25" fmla="*/ 11779707 w 12386023"/>
                  <a:gd name="connsiteY25" fmla="*/ 435586 h 2510087"/>
                  <a:gd name="connsiteX26" fmla="*/ 11399982 w 12386023"/>
                  <a:gd name="connsiteY26" fmla="*/ 1047471 h 2510087"/>
                  <a:gd name="connsiteX27" fmla="*/ 10943237 w 12386023"/>
                  <a:gd name="connsiteY27" fmla="*/ 1661632 h 2510087"/>
                  <a:gd name="connsiteX28" fmla="*/ 10375442 w 12386023"/>
                  <a:gd name="connsiteY28" fmla="*/ 1618415 h 2510087"/>
                  <a:gd name="connsiteX29" fmla="*/ 9868545 w 12386023"/>
                  <a:gd name="connsiteY29" fmla="*/ 1058846 h 2510087"/>
                  <a:gd name="connsiteX30" fmla="*/ 9393890 w 12386023"/>
                  <a:gd name="connsiteY30" fmla="*/ 581165 h 2510087"/>
                  <a:gd name="connsiteX31" fmla="*/ 8791091 w 12386023"/>
                  <a:gd name="connsiteY31" fmla="*/ 156695 h 2510087"/>
                  <a:gd name="connsiteX32" fmla="*/ 7976795 w 12386023"/>
                  <a:gd name="connsiteY32" fmla="*/ 105714 h 2510087"/>
                  <a:gd name="connsiteX33" fmla="*/ 7390504 w 12386023"/>
                  <a:gd name="connsiteY33" fmla="*/ 199189 h 2510087"/>
                  <a:gd name="connsiteX34" fmla="*/ 6683417 w 12386023"/>
                  <a:gd name="connsiteY34" fmla="*/ 146630 h 2510087"/>
                  <a:gd name="connsiteX35" fmla="*/ 6243077 w 12386023"/>
                  <a:gd name="connsiteY35" fmla="*/ 249658 h 2510087"/>
                  <a:gd name="connsiteX36" fmla="*/ 5523063 w 12386023"/>
                  <a:gd name="connsiteY36" fmla="*/ 292664 h 2510087"/>
                  <a:gd name="connsiteX37" fmla="*/ 4163355 w 12386023"/>
                  <a:gd name="connsiteY37" fmla="*/ 90799 h 2510087"/>
                  <a:gd name="connsiteX38" fmla="*/ 2711045 w 12386023"/>
                  <a:gd name="connsiteY38" fmla="*/ 156695 h 2510087"/>
                  <a:gd name="connsiteX39" fmla="*/ 8714713 w 12386023"/>
                  <a:gd name="connsiteY39" fmla="*/ 457545 h 2510087"/>
                  <a:gd name="connsiteX40" fmla="*/ 8705072 w 12386023"/>
                  <a:gd name="connsiteY40" fmla="*/ 284622 h 2510087"/>
                  <a:gd name="connsiteX0" fmla="*/ 8705072 w 12386023"/>
                  <a:gd name="connsiteY0" fmla="*/ 215157 h 2440622"/>
                  <a:gd name="connsiteX1" fmla="*/ 8742561 w 12386023"/>
                  <a:gd name="connsiteY1" fmla="*/ 451663 h 2440622"/>
                  <a:gd name="connsiteX2" fmla="*/ 8676628 w 12386023"/>
                  <a:gd name="connsiteY2" fmla="*/ 365116 h 2440622"/>
                  <a:gd name="connsiteX3" fmla="*/ 8697801 w 12386023"/>
                  <a:gd name="connsiteY3" fmla="*/ 521796 h 2440622"/>
                  <a:gd name="connsiteX4" fmla="*/ 8652701 w 12386023"/>
                  <a:gd name="connsiteY4" fmla="*/ 707796 h 2440622"/>
                  <a:gd name="connsiteX5" fmla="*/ 421075 w 12386023"/>
                  <a:gd name="connsiteY5" fmla="*/ 867951 h 2440622"/>
                  <a:gd name="connsiteX6" fmla="*/ 1277876 w 12386023"/>
                  <a:gd name="connsiteY6" fmla="*/ 775508 h 2440622"/>
                  <a:gd name="connsiteX7" fmla="*/ 1972735 w 12386023"/>
                  <a:gd name="connsiteY7" fmla="*/ 809496 h 2440622"/>
                  <a:gd name="connsiteX8" fmla="*/ 2428745 w 12386023"/>
                  <a:gd name="connsiteY8" fmla="*/ 750008 h 2440622"/>
                  <a:gd name="connsiteX9" fmla="*/ 2906467 w 12386023"/>
                  <a:gd name="connsiteY9" fmla="*/ 750008 h 2440622"/>
                  <a:gd name="connsiteX10" fmla="*/ 3677336 w 12386023"/>
                  <a:gd name="connsiteY10" fmla="*/ 792502 h 2440622"/>
                  <a:gd name="connsiteX11" fmla="*/ 4556772 w 12386023"/>
                  <a:gd name="connsiteY11" fmla="*/ 775508 h 2440622"/>
                  <a:gd name="connsiteX12" fmla="*/ 5186490 w 12386023"/>
                  <a:gd name="connsiteY12" fmla="*/ 784014 h 2440622"/>
                  <a:gd name="connsiteX13" fmla="*/ 6022500 w 12386023"/>
                  <a:gd name="connsiteY13" fmla="*/ 784014 h 2440622"/>
                  <a:gd name="connsiteX14" fmla="*/ 7086513 w 12386023"/>
                  <a:gd name="connsiteY14" fmla="*/ 809514 h 2440622"/>
                  <a:gd name="connsiteX15" fmla="*/ 7835668 w 12386023"/>
                  <a:gd name="connsiteY15" fmla="*/ 801008 h 2440622"/>
                  <a:gd name="connsiteX16" fmla="*/ 8367663 w 12386023"/>
                  <a:gd name="connsiteY16" fmla="*/ 792502 h 2440622"/>
                  <a:gd name="connsiteX17" fmla="*/ 8988680 w 12386023"/>
                  <a:gd name="connsiteY17" fmla="*/ 1195250 h 2440622"/>
                  <a:gd name="connsiteX18" fmla="*/ 9558676 w 12386023"/>
                  <a:gd name="connsiteY18" fmla="*/ 2022082 h 2440622"/>
                  <a:gd name="connsiteX19" fmla="*/ 10490076 w 12386023"/>
                  <a:gd name="connsiteY19" fmla="*/ 2440621 h 2440622"/>
                  <a:gd name="connsiteX20" fmla="*/ 11536110 w 12386023"/>
                  <a:gd name="connsiteY20" fmla="*/ 2022084 h 2440622"/>
                  <a:gd name="connsiteX21" fmla="*/ 11827041 w 12386023"/>
                  <a:gd name="connsiteY21" fmla="*/ 1376349 h 2440622"/>
                  <a:gd name="connsiteX22" fmla="*/ 12137937 w 12386023"/>
                  <a:gd name="connsiteY22" fmla="*/ 930242 h 2440622"/>
                  <a:gd name="connsiteX23" fmla="*/ 12386023 w 12386023"/>
                  <a:gd name="connsiteY23" fmla="*/ 629928 h 2440622"/>
                  <a:gd name="connsiteX24" fmla="*/ 12386023 w 12386023"/>
                  <a:gd name="connsiteY24" fmla="*/ 191546 h 2440622"/>
                  <a:gd name="connsiteX25" fmla="*/ 11779707 w 12386023"/>
                  <a:gd name="connsiteY25" fmla="*/ 366121 h 2440622"/>
                  <a:gd name="connsiteX26" fmla="*/ 11399982 w 12386023"/>
                  <a:gd name="connsiteY26" fmla="*/ 978006 h 2440622"/>
                  <a:gd name="connsiteX27" fmla="*/ 10943237 w 12386023"/>
                  <a:gd name="connsiteY27" fmla="*/ 1592167 h 2440622"/>
                  <a:gd name="connsiteX28" fmla="*/ 10375442 w 12386023"/>
                  <a:gd name="connsiteY28" fmla="*/ 1548950 h 2440622"/>
                  <a:gd name="connsiteX29" fmla="*/ 9868545 w 12386023"/>
                  <a:gd name="connsiteY29" fmla="*/ 989381 h 2440622"/>
                  <a:gd name="connsiteX30" fmla="*/ 9393890 w 12386023"/>
                  <a:gd name="connsiteY30" fmla="*/ 511700 h 2440622"/>
                  <a:gd name="connsiteX31" fmla="*/ 8791091 w 12386023"/>
                  <a:gd name="connsiteY31" fmla="*/ 87230 h 2440622"/>
                  <a:gd name="connsiteX32" fmla="*/ 7976795 w 12386023"/>
                  <a:gd name="connsiteY32" fmla="*/ 36249 h 2440622"/>
                  <a:gd name="connsiteX33" fmla="*/ 7390504 w 12386023"/>
                  <a:gd name="connsiteY33" fmla="*/ 129724 h 2440622"/>
                  <a:gd name="connsiteX34" fmla="*/ 6683417 w 12386023"/>
                  <a:gd name="connsiteY34" fmla="*/ 77165 h 2440622"/>
                  <a:gd name="connsiteX35" fmla="*/ 6243077 w 12386023"/>
                  <a:gd name="connsiteY35" fmla="*/ 180193 h 2440622"/>
                  <a:gd name="connsiteX36" fmla="*/ 5523063 w 12386023"/>
                  <a:gd name="connsiteY36" fmla="*/ 223199 h 2440622"/>
                  <a:gd name="connsiteX37" fmla="*/ 4163355 w 12386023"/>
                  <a:gd name="connsiteY37" fmla="*/ 21334 h 2440622"/>
                  <a:gd name="connsiteX38" fmla="*/ 9073222 w 12386023"/>
                  <a:gd name="connsiteY38" fmla="*/ 815126 h 2440622"/>
                  <a:gd name="connsiteX39" fmla="*/ 8714713 w 12386023"/>
                  <a:gd name="connsiteY39" fmla="*/ 388080 h 2440622"/>
                  <a:gd name="connsiteX40" fmla="*/ 8705072 w 12386023"/>
                  <a:gd name="connsiteY40" fmla="*/ 215157 h 2440622"/>
                  <a:gd name="connsiteX0" fmla="*/ 8705072 w 12386023"/>
                  <a:gd name="connsiteY0" fmla="*/ 200377 h 2425842"/>
                  <a:gd name="connsiteX1" fmla="*/ 8742561 w 12386023"/>
                  <a:gd name="connsiteY1" fmla="*/ 436883 h 2425842"/>
                  <a:gd name="connsiteX2" fmla="*/ 8676628 w 12386023"/>
                  <a:gd name="connsiteY2" fmla="*/ 350336 h 2425842"/>
                  <a:gd name="connsiteX3" fmla="*/ 8697801 w 12386023"/>
                  <a:gd name="connsiteY3" fmla="*/ 507016 h 2425842"/>
                  <a:gd name="connsiteX4" fmla="*/ 8652701 w 12386023"/>
                  <a:gd name="connsiteY4" fmla="*/ 693016 h 2425842"/>
                  <a:gd name="connsiteX5" fmla="*/ 421075 w 12386023"/>
                  <a:gd name="connsiteY5" fmla="*/ 853171 h 2425842"/>
                  <a:gd name="connsiteX6" fmla="*/ 1277876 w 12386023"/>
                  <a:gd name="connsiteY6" fmla="*/ 760728 h 2425842"/>
                  <a:gd name="connsiteX7" fmla="*/ 1972735 w 12386023"/>
                  <a:gd name="connsiteY7" fmla="*/ 794716 h 2425842"/>
                  <a:gd name="connsiteX8" fmla="*/ 2428745 w 12386023"/>
                  <a:gd name="connsiteY8" fmla="*/ 735228 h 2425842"/>
                  <a:gd name="connsiteX9" fmla="*/ 2906467 w 12386023"/>
                  <a:gd name="connsiteY9" fmla="*/ 735228 h 2425842"/>
                  <a:gd name="connsiteX10" fmla="*/ 3677336 w 12386023"/>
                  <a:gd name="connsiteY10" fmla="*/ 777722 h 2425842"/>
                  <a:gd name="connsiteX11" fmla="*/ 4556772 w 12386023"/>
                  <a:gd name="connsiteY11" fmla="*/ 760728 h 2425842"/>
                  <a:gd name="connsiteX12" fmla="*/ 5186490 w 12386023"/>
                  <a:gd name="connsiteY12" fmla="*/ 769234 h 2425842"/>
                  <a:gd name="connsiteX13" fmla="*/ 6022500 w 12386023"/>
                  <a:gd name="connsiteY13" fmla="*/ 769234 h 2425842"/>
                  <a:gd name="connsiteX14" fmla="*/ 7086513 w 12386023"/>
                  <a:gd name="connsiteY14" fmla="*/ 794734 h 2425842"/>
                  <a:gd name="connsiteX15" fmla="*/ 7835668 w 12386023"/>
                  <a:gd name="connsiteY15" fmla="*/ 786228 h 2425842"/>
                  <a:gd name="connsiteX16" fmla="*/ 8367663 w 12386023"/>
                  <a:gd name="connsiteY16" fmla="*/ 777722 h 2425842"/>
                  <a:gd name="connsiteX17" fmla="*/ 8988680 w 12386023"/>
                  <a:gd name="connsiteY17" fmla="*/ 1180470 h 2425842"/>
                  <a:gd name="connsiteX18" fmla="*/ 9558676 w 12386023"/>
                  <a:gd name="connsiteY18" fmla="*/ 2007302 h 2425842"/>
                  <a:gd name="connsiteX19" fmla="*/ 10490076 w 12386023"/>
                  <a:gd name="connsiteY19" fmla="*/ 2425841 h 2425842"/>
                  <a:gd name="connsiteX20" fmla="*/ 11536110 w 12386023"/>
                  <a:gd name="connsiteY20" fmla="*/ 2007304 h 2425842"/>
                  <a:gd name="connsiteX21" fmla="*/ 11827041 w 12386023"/>
                  <a:gd name="connsiteY21" fmla="*/ 1361569 h 2425842"/>
                  <a:gd name="connsiteX22" fmla="*/ 12137937 w 12386023"/>
                  <a:gd name="connsiteY22" fmla="*/ 915462 h 2425842"/>
                  <a:gd name="connsiteX23" fmla="*/ 12386023 w 12386023"/>
                  <a:gd name="connsiteY23" fmla="*/ 615148 h 2425842"/>
                  <a:gd name="connsiteX24" fmla="*/ 12386023 w 12386023"/>
                  <a:gd name="connsiteY24" fmla="*/ 176766 h 2425842"/>
                  <a:gd name="connsiteX25" fmla="*/ 11779707 w 12386023"/>
                  <a:gd name="connsiteY25" fmla="*/ 351341 h 2425842"/>
                  <a:gd name="connsiteX26" fmla="*/ 11399982 w 12386023"/>
                  <a:gd name="connsiteY26" fmla="*/ 963226 h 2425842"/>
                  <a:gd name="connsiteX27" fmla="*/ 10943237 w 12386023"/>
                  <a:gd name="connsiteY27" fmla="*/ 1577387 h 2425842"/>
                  <a:gd name="connsiteX28" fmla="*/ 10375442 w 12386023"/>
                  <a:gd name="connsiteY28" fmla="*/ 1534170 h 2425842"/>
                  <a:gd name="connsiteX29" fmla="*/ 9868545 w 12386023"/>
                  <a:gd name="connsiteY29" fmla="*/ 974601 h 2425842"/>
                  <a:gd name="connsiteX30" fmla="*/ 9393890 w 12386023"/>
                  <a:gd name="connsiteY30" fmla="*/ 496920 h 2425842"/>
                  <a:gd name="connsiteX31" fmla="*/ 8791091 w 12386023"/>
                  <a:gd name="connsiteY31" fmla="*/ 72450 h 2425842"/>
                  <a:gd name="connsiteX32" fmla="*/ 7976795 w 12386023"/>
                  <a:gd name="connsiteY32" fmla="*/ 21469 h 2425842"/>
                  <a:gd name="connsiteX33" fmla="*/ 7390504 w 12386023"/>
                  <a:gd name="connsiteY33" fmla="*/ 114944 h 2425842"/>
                  <a:gd name="connsiteX34" fmla="*/ 6683417 w 12386023"/>
                  <a:gd name="connsiteY34" fmla="*/ 62385 h 2425842"/>
                  <a:gd name="connsiteX35" fmla="*/ 6243077 w 12386023"/>
                  <a:gd name="connsiteY35" fmla="*/ 165413 h 2425842"/>
                  <a:gd name="connsiteX36" fmla="*/ 5523063 w 12386023"/>
                  <a:gd name="connsiteY36" fmla="*/ 208419 h 2425842"/>
                  <a:gd name="connsiteX37" fmla="*/ 8892001 w 12386023"/>
                  <a:gd name="connsiteY37" fmla="*/ 497882 h 2425842"/>
                  <a:gd name="connsiteX38" fmla="*/ 9073222 w 12386023"/>
                  <a:gd name="connsiteY38" fmla="*/ 800346 h 2425842"/>
                  <a:gd name="connsiteX39" fmla="*/ 8714713 w 12386023"/>
                  <a:gd name="connsiteY39" fmla="*/ 373300 h 2425842"/>
                  <a:gd name="connsiteX40" fmla="*/ 8705072 w 12386023"/>
                  <a:gd name="connsiteY40" fmla="*/ 200377 h 2425842"/>
                  <a:gd name="connsiteX0" fmla="*/ 8705072 w 12386023"/>
                  <a:gd name="connsiteY0" fmla="*/ 200377 h 2425842"/>
                  <a:gd name="connsiteX1" fmla="*/ 8742561 w 12386023"/>
                  <a:gd name="connsiteY1" fmla="*/ 436883 h 2425842"/>
                  <a:gd name="connsiteX2" fmla="*/ 8676628 w 12386023"/>
                  <a:gd name="connsiteY2" fmla="*/ 350336 h 2425842"/>
                  <a:gd name="connsiteX3" fmla="*/ 8697801 w 12386023"/>
                  <a:gd name="connsiteY3" fmla="*/ 507016 h 2425842"/>
                  <a:gd name="connsiteX4" fmla="*/ 8652701 w 12386023"/>
                  <a:gd name="connsiteY4" fmla="*/ 693016 h 2425842"/>
                  <a:gd name="connsiteX5" fmla="*/ 421075 w 12386023"/>
                  <a:gd name="connsiteY5" fmla="*/ 853171 h 2425842"/>
                  <a:gd name="connsiteX6" fmla="*/ 1277876 w 12386023"/>
                  <a:gd name="connsiteY6" fmla="*/ 760728 h 2425842"/>
                  <a:gd name="connsiteX7" fmla="*/ 1972735 w 12386023"/>
                  <a:gd name="connsiteY7" fmla="*/ 794716 h 2425842"/>
                  <a:gd name="connsiteX8" fmla="*/ 2428745 w 12386023"/>
                  <a:gd name="connsiteY8" fmla="*/ 735228 h 2425842"/>
                  <a:gd name="connsiteX9" fmla="*/ 2906467 w 12386023"/>
                  <a:gd name="connsiteY9" fmla="*/ 735228 h 2425842"/>
                  <a:gd name="connsiteX10" fmla="*/ 3677336 w 12386023"/>
                  <a:gd name="connsiteY10" fmla="*/ 777722 h 2425842"/>
                  <a:gd name="connsiteX11" fmla="*/ 4556772 w 12386023"/>
                  <a:gd name="connsiteY11" fmla="*/ 760728 h 2425842"/>
                  <a:gd name="connsiteX12" fmla="*/ 5186490 w 12386023"/>
                  <a:gd name="connsiteY12" fmla="*/ 769234 h 2425842"/>
                  <a:gd name="connsiteX13" fmla="*/ 6022500 w 12386023"/>
                  <a:gd name="connsiteY13" fmla="*/ 769234 h 2425842"/>
                  <a:gd name="connsiteX14" fmla="*/ 7086513 w 12386023"/>
                  <a:gd name="connsiteY14" fmla="*/ 794734 h 2425842"/>
                  <a:gd name="connsiteX15" fmla="*/ 7835668 w 12386023"/>
                  <a:gd name="connsiteY15" fmla="*/ 786228 h 2425842"/>
                  <a:gd name="connsiteX16" fmla="*/ 8367663 w 12386023"/>
                  <a:gd name="connsiteY16" fmla="*/ 777722 h 2425842"/>
                  <a:gd name="connsiteX17" fmla="*/ 8988680 w 12386023"/>
                  <a:gd name="connsiteY17" fmla="*/ 1180470 h 2425842"/>
                  <a:gd name="connsiteX18" fmla="*/ 9558676 w 12386023"/>
                  <a:gd name="connsiteY18" fmla="*/ 2007302 h 2425842"/>
                  <a:gd name="connsiteX19" fmla="*/ 10490076 w 12386023"/>
                  <a:gd name="connsiteY19" fmla="*/ 2425841 h 2425842"/>
                  <a:gd name="connsiteX20" fmla="*/ 11536110 w 12386023"/>
                  <a:gd name="connsiteY20" fmla="*/ 2007304 h 2425842"/>
                  <a:gd name="connsiteX21" fmla="*/ 11827041 w 12386023"/>
                  <a:gd name="connsiteY21" fmla="*/ 1361569 h 2425842"/>
                  <a:gd name="connsiteX22" fmla="*/ 12137937 w 12386023"/>
                  <a:gd name="connsiteY22" fmla="*/ 915462 h 2425842"/>
                  <a:gd name="connsiteX23" fmla="*/ 12386023 w 12386023"/>
                  <a:gd name="connsiteY23" fmla="*/ 615148 h 2425842"/>
                  <a:gd name="connsiteX24" fmla="*/ 12386023 w 12386023"/>
                  <a:gd name="connsiteY24" fmla="*/ 176766 h 2425842"/>
                  <a:gd name="connsiteX25" fmla="*/ 11779707 w 12386023"/>
                  <a:gd name="connsiteY25" fmla="*/ 351341 h 2425842"/>
                  <a:gd name="connsiteX26" fmla="*/ 11399982 w 12386023"/>
                  <a:gd name="connsiteY26" fmla="*/ 963226 h 2425842"/>
                  <a:gd name="connsiteX27" fmla="*/ 10943237 w 12386023"/>
                  <a:gd name="connsiteY27" fmla="*/ 1577387 h 2425842"/>
                  <a:gd name="connsiteX28" fmla="*/ 10375442 w 12386023"/>
                  <a:gd name="connsiteY28" fmla="*/ 1534170 h 2425842"/>
                  <a:gd name="connsiteX29" fmla="*/ 9868545 w 12386023"/>
                  <a:gd name="connsiteY29" fmla="*/ 974601 h 2425842"/>
                  <a:gd name="connsiteX30" fmla="*/ 9393890 w 12386023"/>
                  <a:gd name="connsiteY30" fmla="*/ 496920 h 2425842"/>
                  <a:gd name="connsiteX31" fmla="*/ 8791091 w 12386023"/>
                  <a:gd name="connsiteY31" fmla="*/ 72450 h 2425842"/>
                  <a:gd name="connsiteX32" fmla="*/ 7976795 w 12386023"/>
                  <a:gd name="connsiteY32" fmla="*/ 21469 h 2425842"/>
                  <a:gd name="connsiteX33" fmla="*/ 7390504 w 12386023"/>
                  <a:gd name="connsiteY33" fmla="*/ 114944 h 2425842"/>
                  <a:gd name="connsiteX34" fmla="*/ 6683417 w 12386023"/>
                  <a:gd name="connsiteY34" fmla="*/ 62385 h 2425842"/>
                  <a:gd name="connsiteX35" fmla="*/ 6243077 w 12386023"/>
                  <a:gd name="connsiteY35" fmla="*/ 165413 h 2425842"/>
                  <a:gd name="connsiteX36" fmla="*/ 9248668 w 12386023"/>
                  <a:gd name="connsiteY36" fmla="*/ 535967 h 2425842"/>
                  <a:gd name="connsiteX37" fmla="*/ 8892001 w 12386023"/>
                  <a:gd name="connsiteY37" fmla="*/ 497882 h 2425842"/>
                  <a:gd name="connsiteX38" fmla="*/ 9073222 w 12386023"/>
                  <a:gd name="connsiteY38" fmla="*/ 800346 h 2425842"/>
                  <a:gd name="connsiteX39" fmla="*/ 8714713 w 12386023"/>
                  <a:gd name="connsiteY39" fmla="*/ 373300 h 2425842"/>
                  <a:gd name="connsiteX40" fmla="*/ 8705072 w 12386023"/>
                  <a:gd name="connsiteY40" fmla="*/ 200377 h 2425842"/>
                  <a:gd name="connsiteX0" fmla="*/ 8705072 w 12386023"/>
                  <a:gd name="connsiteY0" fmla="*/ 148058 h 2373523"/>
                  <a:gd name="connsiteX1" fmla="*/ 8742561 w 12386023"/>
                  <a:gd name="connsiteY1" fmla="*/ 384564 h 2373523"/>
                  <a:gd name="connsiteX2" fmla="*/ 8676628 w 12386023"/>
                  <a:gd name="connsiteY2" fmla="*/ 298017 h 2373523"/>
                  <a:gd name="connsiteX3" fmla="*/ 8697801 w 12386023"/>
                  <a:gd name="connsiteY3" fmla="*/ 454697 h 2373523"/>
                  <a:gd name="connsiteX4" fmla="*/ 8652701 w 12386023"/>
                  <a:gd name="connsiteY4" fmla="*/ 640697 h 2373523"/>
                  <a:gd name="connsiteX5" fmla="*/ 421075 w 12386023"/>
                  <a:gd name="connsiteY5" fmla="*/ 800852 h 2373523"/>
                  <a:gd name="connsiteX6" fmla="*/ 1277876 w 12386023"/>
                  <a:gd name="connsiteY6" fmla="*/ 708409 h 2373523"/>
                  <a:gd name="connsiteX7" fmla="*/ 1972735 w 12386023"/>
                  <a:gd name="connsiteY7" fmla="*/ 742397 h 2373523"/>
                  <a:gd name="connsiteX8" fmla="*/ 2428745 w 12386023"/>
                  <a:gd name="connsiteY8" fmla="*/ 682909 h 2373523"/>
                  <a:gd name="connsiteX9" fmla="*/ 2906467 w 12386023"/>
                  <a:gd name="connsiteY9" fmla="*/ 682909 h 2373523"/>
                  <a:gd name="connsiteX10" fmla="*/ 3677336 w 12386023"/>
                  <a:gd name="connsiteY10" fmla="*/ 725403 h 2373523"/>
                  <a:gd name="connsiteX11" fmla="*/ 4556772 w 12386023"/>
                  <a:gd name="connsiteY11" fmla="*/ 708409 h 2373523"/>
                  <a:gd name="connsiteX12" fmla="*/ 5186490 w 12386023"/>
                  <a:gd name="connsiteY12" fmla="*/ 716915 h 2373523"/>
                  <a:gd name="connsiteX13" fmla="*/ 6022500 w 12386023"/>
                  <a:gd name="connsiteY13" fmla="*/ 716915 h 2373523"/>
                  <a:gd name="connsiteX14" fmla="*/ 7086513 w 12386023"/>
                  <a:gd name="connsiteY14" fmla="*/ 742415 h 2373523"/>
                  <a:gd name="connsiteX15" fmla="*/ 7835668 w 12386023"/>
                  <a:gd name="connsiteY15" fmla="*/ 733909 h 2373523"/>
                  <a:gd name="connsiteX16" fmla="*/ 8367663 w 12386023"/>
                  <a:gd name="connsiteY16" fmla="*/ 725403 h 2373523"/>
                  <a:gd name="connsiteX17" fmla="*/ 8988680 w 12386023"/>
                  <a:gd name="connsiteY17" fmla="*/ 1128151 h 2373523"/>
                  <a:gd name="connsiteX18" fmla="*/ 9558676 w 12386023"/>
                  <a:gd name="connsiteY18" fmla="*/ 1954983 h 2373523"/>
                  <a:gd name="connsiteX19" fmla="*/ 10490076 w 12386023"/>
                  <a:gd name="connsiteY19" fmla="*/ 2373522 h 2373523"/>
                  <a:gd name="connsiteX20" fmla="*/ 11536110 w 12386023"/>
                  <a:gd name="connsiteY20" fmla="*/ 1954985 h 2373523"/>
                  <a:gd name="connsiteX21" fmla="*/ 11827041 w 12386023"/>
                  <a:gd name="connsiteY21" fmla="*/ 1309250 h 2373523"/>
                  <a:gd name="connsiteX22" fmla="*/ 12137937 w 12386023"/>
                  <a:gd name="connsiteY22" fmla="*/ 863143 h 2373523"/>
                  <a:gd name="connsiteX23" fmla="*/ 12386023 w 12386023"/>
                  <a:gd name="connsiteY23" fmla="*/ 562829 h 2373523"/>
                  <a:gd name="connsiteX24" fmla="*/ 12386023 w 12386023"/>
                  <a:gd name="connsiteY24" fmla="*/ 124447 h 2373523"/>
                  <a:gd name="connsiteX25" fmla="*/ 11779707 w 12386023"/>
                  <a:gd name="connsiteY25" fmla="*/ 299022 h 2373523"/>
                  <a:gd name="connsiteX26" fmla="*/ 11399982 w 12386023"/>
                  <a:gd name="connsiteY26" fmla="*/ 910907 h 2373523"/>
                  <a:gd name="connsiteX27" fmla="*/ 10943237 w 12386023"/>
                  <a:gd name="connsiteY27" fmla="*/ 1525068 h 2373523"/>
                  <a:gd name="connsiteX28" fmla="*/ 10375442 w 12386023"/>
                  <a:gd name="connsiteY28" fmla="*/ 1481851 h 2373523"/>
                  <a:gd name="connsiteX29" fmla="*/ 9868545 w 12386023"/>
                  <a:gd name="connsiteY29" fmla="*/ 922282 h 2373523"/>
                  <a:gd name="connsiteX30" fmla="*/ 9393890 w 12386023"/>
                  <a:gd name="connsiteY30" fmla="*/ 444601 h 2373523"/>
                  <a:gd name="connsiteX31" fmla="*/ 8791091 w 12386023"/>
                  <a:gd name="connsiteY31" fmla="*/ 20131 h 2373523"/>
                  <a:gd name="connsiteX32" fmla="*/ 7390504 w 12386023"/>
                  <a:gd name="connsiteY32" fmla="*/ 62625 h 2373523"/>
                  <a:gd name="connsiteX33" fmla="*/ 6683417 w 12386023"/>
                  <a:gd name="connsiteY33" fmla="*/ 10066 h 2373523"/>
                  <a:gd name="connsiteX34" fmla="*/ 6243077 w 12386023"/>
                  <a:gd name="connsiteY34" fmla="*/ 113094 h 2373523"/>
                  <a:gd name="connsiteX35" fmla="*/ 9248668 w 12386023"/>
                  <a:gd name="connsiteY35" fmla="*/ 483648 h 2373523"/>
                  <a:gd name="connsiteX36" fmla="*/ 8892001 w 12386023"/>
                  <a:gd name="connsiteY36" fmla="*/ 445563 h 2373523"/>
                  <a:gd name="connsiteX37" fmla="*/ 9073222 w 12386023"/>
                  <a:gd name="connsiteY37" fmla="*/ 748027 h 2373523"/>
                  <a:gd name="connsiteX38" fmla="*/ 8714713 w 12386023"/>
                  <a:gd name="connsiteY38" fmla="*/ 320981 h 2373523"/>
                  <a:gd name="connsiteX39" fmla="*/ 8705072 w 12386023"/>
                  <a:gd name="connsiteY39" fmla="*/ 148058 h 2373523"/>
                  <a:gd name="connsiteX0" fmla="*/ 8705072 w 12386023"/>
                  <a:gd name="connsiteY0" fmla="*/ 148058 h 2373523"/>
                  <a:gd name="connsiteX1" fmla="*/ 8742561 w 12386023"/>
                  <a:gd name="connsiteY1" fmla="*/ 384564 h 2373523"/>
                  <a:gd name="connsiteX2" fmla="*/ 8676628 w 12386023"/>
                  <a:gd name="connsiteY2" fmla="*/ 298017 h 2373523"/>
                  <a:gd name="connsiteX3" fmla="*/ 8697801 w 12386023"/>
                  <a:gd name="connsiteY3" fmla="*/ 454697 h 2373523"/>
                  <a:gd name="connsiteX4" fmla="*/ 8652701 w 12386023"/>
                  <a:gd name="connsiteY4" fmla="*/ 640697 h 2373523"/>
                  <a:gd name="connsiteX5" fmla="*/ 421075 w 12386023"/>
                  <a:gd name="connsiteY5" fmla="*/ 800852 h 2373523"/>
                  <a:gd name="connsiteX6" fmla="*/ 1277876 w 12386023"/>
                  <a:gd name="connsiteY6" fmla="*/ 708409 h 2373523"/>
                  <a:gd name="connsiteX7" fmla="*/ 1972735 w 12386023"/>
                  <a:gd name="connsiteY7" fmla="*/ 742397 h 2373523"/>
                  <a:gd name="connsiteX8" fmla="*/ 2428745 w 12386023"/>
                  <a:gd name="connsiteY8" fmla="*/ 682909 h 2373523"/>
                  <a:gd name="connsiteX9" fmla="*/ 2906467 w 12386023"/>
                  <a:gd name="connsiteY9" fmla="*/ 682909 h 2373523"/>
                  <a:gd name="connsiteX10" fmla="*/ 3677336 w 12386023"/>
                  <a:gd name="connsiteY10" fmla="*/ 725403 h 2373523"/>
                  <a:gd name="connsiteX11" fmla="*/ 4556772 w 12386023"/>
                  <a:gd name="connsiteY11" fmla="*/ 708409 h 2373523"/>
                  <a:gd name="connsiteX12" fmla="*/ 5186490 w 12386023"/>
                  <a:gd name="connsiteY12" fmla="*/ 716915 h 2373523"/>
                  <a:gd name="connsiteX13" fmla="*/ 6022500 w 12386023"/>
                  <a:gd name="connsiteY13" fmla="*/ 716915 h 2373523"/>
                  <a:gd name="connsiteX14" fmla="*/ 7086513 w 12386023"/>
                  <a:gd name="connsiteY14" fmla="*/ 742415 h 2373523"/>
                  <a:gd name="connsiteX15" fmla="*/ 7835668 w 12386023"/>
                  <a:gd name="connsiteY15" fmla="*/ 733909 h 2373523"/>
                  <a:gd name="connsiteX16" fmla="*/ 8367663 w 12386023"/>
                  <a:gd name="connsiteY16" fmla="*/ 725403 h 2373523"/>
                  <a:gd name="connsiteX17" fmla="*/ 8988680 w 12386023"/>
                  <a:gd name="connsiteY17" fmla="*/ 1128151 h 2373523"/>
                  <a:gd name="connsiteX18" fmla="*/ 9558676 w 12386023"/>
                  <a:gd name="connsiteY18" fmla="*/ 1954983 h 2373523"/>
                  <a:gd name="connsiteX19" fmla="*/ 10490076 w 12386023"/>
                  <a:gd name="connsiteY19" fmla="*/ 2373522 h 2373523"/>
                  <a:gd name="connsiteX20" fmla="*/ 11536110 w 12386023"/>
                  <a:gd name="connsiteY20" fmla="*/ 1954985 h 2373523"/>
                  <a:gd name="connsiteX21" fmla="*/ 11827041 w 12386023"/>
                  <a:gd name="connsiteY21" fmla="*/ 1309250 h 2373523"/>
                  <a:gd name="connsiteX22" fmla="*/ 12137937 w 12386023"/>
                  <a:gd name="connsiteY22" fmla="*/ 863143 h 2373523"/>
                  <a:gd name="connsiteX23" fmla="*/ 12386023 w 12386023"/>
                  <a:gd name="connsiteY23" fmla="*/ 562829 h 2373523"/>
                  <a:gd name="connsiteX24" fmla="*/ 12386023 w 12386023"/>
                  <a:gd name="connsiteY24" fmla="*/ 124447 h 2373523"/>
                  <a:gd name="connsiteX25" fmla="*/ 11779707 w 12386023"/>
                  <a:gd name="connsiteY25" fmla="*/ 299022 h 2373523"/>
                  <a:gd name="connsiteX26" fmla="*/ 11399982 w 12386023"/>
                  <a:gd name="connsiteY26" fmla="*/ 910907 h 2373523"/>
                  <a:gd name="connsiteX27" fmla="*/ 10943237 w 12386023"/>
                  <a:gd name="connsiteY27" fmla="*/ 1525068 h 2373523"/>
                  <a:gd name="connsiteX28" fmla="*/ 10375442 w 12386023"/>
                  <a:gd name="connsiteY28" fmla="*/ 1481851 h 2373523"/>
                  <a:gd name="connsiteX29" fmla="*/ 9868545 w 12386023"/>
                  <a:gd name="connsiteY29" fmla="*/ 922282 h 2373523"/>
                  <a:gd name="connsiteX30" fmla="*/ 9393890 w 12386023"/>
                  <a:gd name="connsiteY30" fmla="*/ 444601 h 2373523"/>
                  <a:gd name="connsiteX31" fmla="*/ 8791091 w 12386023"/>
                  <a:gd name="connsiteY31" fmla="*/ 20131 h 2373523"/>
                  <a:gd name="connsiteX32" fmla="*/ 7390504 w 12386023"/>
                  <a:gd name="connsiteY32" fmla="*/ 62625 h 2373523"/>
                  <a:gd name="connsiteX33" fmla="*/ 6243077 w 12386023"/>
                  <a:gd name="connsiteY33" fmla="*/ 113094 h 2373523"/>
                  <a:gd name="connsiteX34" fmla="*/ 9248668 w 12386023"/>
                  <a:gd name="connsiteY34" fmla="*/ 483648 h 2373523"/>
                  <a:gd name="connsiteX35" fmla="*/ 8892001 w 12386023"/>
                  <a:gd name="connsiteY35" fmla="*/ 445563 h 2373523"/>
                  <a:gd name="connsiteX36" fmla="*/ 9073222 w 12386023"/>
                  <a:gd name="connsiteY36" fmla="*/ 748027 h 2373523"/>
                  <a:gd name="connsiteX37" fmla="*/ 8714713 w 12386023"/>
                  <a:gd name="connsiteY37" fmla="*/ 320981 h 2373523"/>
                  <a:gd name="connsiteX38" fmla="*/ 8705072 w 12386023"/>
                  <a:gd name="connsiteY38" fmla="*/ 148058 h 2373523"/>
                  <a:gd name="connsiteX0" fmla="*/ 8705072 w 12386023"/>
                  <a:gd name="connsiteY0" fmla="*/ 148058 h 2373523"/>
                  <a:gd name="connsiteX1" fmla="*/ 8742561 w 12386023"/>
                  <a:gd name="connsiteY1" fmla="*/ 384564 h 2373523"/>
                  <a:gd name="connsiteX2" fmla="*/ 8676628 w 12386023"/>
                  <a:gd name="connsiteY2" fmla="*/ 298017 h 2373523"/>
                  <a:gd name="connsiteX3" fmla="*/ 8697801 w 12386023"/>
                  <a:gd name="connsiteY3" fmla="*/ 454697 h 2373523"/>
                  <a:gd name="connsiteX4" fmla="*/ 8652701 w 12386023"/>
                  <a:gd name="connsiteY4" fmla="*/ 640697 h 2373523"/>
                  <a:gd name="connsiteX5" fmla="*/ 421075 w 12386023"/>
                  <a:gd name="connsiteY5" fmla="*/ 800852 h 2373523"/>
                  <a:gd name="connsiteX6" fmla="*/ 1277876 w 12386023"/>
                  <a:gd name="connsiteY6" fmla="*/ 708409 h 2373523"/>
                  <a:gd name="connsiteX7" fmla="*/ 1972735 w 12386023"/>
                  <a:gd name="connsiteY7" fmla="*/ 742397 h 2373523"/>
                  <a:gd name="connsiteX8" fmla="*/ 2428745 w 12386023"/>
                  <a:gd name="connsiteY8" fmla="*/ 682909 h 2373523"/>
                  <a:gd name="connsiteX9" fmla="*/ 2906467 w 12386023"/>
                  <a:gd name="connsiteY9" fmla="*/ 682909 h 2373523"/>
                  <a:gd name="connsiteX10" fmla="*/ 3677336 w 12386023"/>
                  <a:gd name="connsiteY10" fmla="*/ 725403 h 2373523"/>
                  <a:gd name="connsiteX11" fmla="*/ 4556772 w 12386023"/>
                  <a:gd name="connsiteY11" fmla="*/ 708409 h 2373523"/>
                  <a:gd name="connsiteX12" fmla="*/ 5186490 w 12386023"/>
                  <a:gd name="connsiteY12" fmla="*/ 716915 h 2373523"/>
                  <a:gd name="connsiteX13" fmla="*/ 6022500 w 12386023"/>
                  <a:gd name="connsiteY13" fmla="*/ 716915 h 2373523"/>
                  <a:gd name="connsiteX14" fmla="*/ 7086513 w 12386023"/>
                  <a:gd name="connsiteY14" fmla="*/ 742415 h 2373523"/>
                  <a:gd name="connsiteX15" fmla="*/ 7835668 w 12386023"/>
                  <a:gd name="connsiteY15" fmla="*/ 733909 h 2373523"/>
                  <a:gd name="connsiteX16" fmla="*/ 8367663 w 12386023"/>
                  <a:gd name="connsiteY16" fmla="*/ 725403 h 2373523"/>
                  <a:gd name="connsiteX17" fmla="*/ 8988680 w 12386023"/>
                  <a:gd name="connsiteY17" fmla="*/ 1128151 h 2373523"/>
                  <a:gd name="connsiteX18" fmla="*/ 9558676 w 12386023"/>
                  <a:gd name="connsiteY18" fmla="*/ 1954983 h 2373523"/>
                  <a:gd name="connsiteX19" fmla="*/ 10490076 w 12386023"/>
                  <a:gd name="connsiteY19" fmla="*/ 2373522 h 2373523"/>
                  <a:gd name="connsiteX20" fmla="*/ 11536110 w 12386023"/>
                  <a:gd name="connsiteY20" fmla="*/ 1954985 h 2373523"/>
                  <a:gd name="connsiteX21" fmla="*/ 11827041 w 12386023"/>
                  <a:gd name="connsiteY21" fmla="*/ 1309250 h 2373523"/>
                  <a:gd name="connsiteX22" fmla="*/ 12137937 w 12386023"/>
                  <a:gd name="connsiteY22" fmla="*/ 863143 h 2373523"/>
                  <a:gd name="connsiteX23" fmla="*/ 12386023 w 12386023"/>
                  <a:gd name="connsiteY23" fmla="*/ 562829 h 2373523"/>
                  <a:gd name="connsiteX24" fmla="*/ 12386023 w 12386023"/>
                  <a:gd name="connsiteY24" fmla="*/ 124447 h 2373523"/>
                  <a:gd name="connsiteX25" fmla="*/ 11779707 w 12386023"/>
                  <a:gd name="connsiteY25" fmla="*/ 299022 h 2373523"/>
                  <a:gd name="connsiteX26" fmla="*/ 11399982 w 12386023"/>
                  <a:gd name="connsiteY26" fmla="*/ 910907 h 2373523"/>
                  <a:gd name="connsiteX27" fmla="*/ 10943237 w 12386023"/>
                  <a:gd name="connsiteY27" fmla="*/ 1525068 h 2373523"/>
                  <a:gd name="connsiteX28" fmla="*/ 10375442 w 12386023"/>
                  <a:gd name="connsiteY28" fmla="*/ 1481851 h 2373523"/>
                  <a:gd name="connsiteX29" fmla="*/ 9868545 w 12386023"/>
                  <a:gd name="connsiteY29" fmla="*/ 922282 h 2373523"/>
                  <a:gd name="connsiteX30" fmla="*/ 9393890 w 12386023"/>
                  <a:gd name="connsiteY30" fmla="*/ 444601 h 2373523"/>
                  <a:gd name="connsiteX31" fmla="*/ 8791091 w 12386023"/>
                  <a:gd name="connsiteY31" fmla="*/ 20131 h 2373523"/>
                  <a:gd name="connsiteX32" fmla="*/ 7390504 w 12386023"/>
                  <a:gd name="connsiteY32" fmla="*/ 62625 h 2373523"/>
                  <a:gd name="connsiteX33" fmla="*/ 9248668 w 12386023"/>
                  <a:gd name="connsiteY33" fmla="*/ 483648 h 2373523"/>
                  <a:gd name="connsiteX34" fmla="*/ 8892001 w 12386023"/>
                  <a:gd name="connsiteY34" fmla="*/ 445563 h 2373523"/>
                  <a:gd name="connsiteX35" fmla="*/ 9073222 w 12386023"/>
                  <a:gd name="connsiteY35" fmla="*/ 748027 h 2373523"/>
                  <a:gd name="connsiteX36" fmla="*/ 8714713 w 12386023"/>
                  <a:gd name="connsiteY36" fmla="*/ 320981 h 2373523"/>
                  <a:gd name="connsiteX37" fmla="*/ 8705072 w 12386023"/>
                  <a:gd name="connsiteY37" fmla="*/ 148058 h 2373523"/>
                  <a:gd name="connsiteX0" fmla="*/ 8705072 w 12386023"/>
                  <a:gd name="connsiteY0" fmla="*/ 148058 h 2373523"/>
                  <a:gd name="connsiteX1" fmla="*/ 8742561 w 12386023"/>
                  <a:gd name="connsiteY1" fmla="*/ 384564 h 2373523"/>
                  <a:gd name="connsiteX2" fmla="*/ 8676628 w 12386023"/>
                  <a:gd name="connsiteY2" fmla="*/ 298017 h 2373523"/>
                  <a:gd name="connsiteX3" fmla="*/ 8697801 w 12386023"/>
                  <a:gd name="connsiteY3" fmla="*/ 454697 h 2373523"/>
                  <a:gd name="connsiteX4" fmla="*/ 8652701 w 12386023"/>
                  <a:gd name="connsiteY4" fmla="*/ 640697 h 2373523"/>
                  <a:gd name="connsiteX5" fmla="*/ 421075 w 12386023"/>
                  <a:gd name="connsiteY5" fmla="*/ 800852 h 2373523"/>
                  <a:gd name="connsiteX6" fmla="*/ 1277876 w 12386023"/>
                  <a:gd name="connsiteY6" fmla="*/ 708409 h 2373523"/>
                  <a:gd name="connsiteX7" fmla="*/ 1972735 w 12386023"/>
                  <a:gd name="connsiteY7" fmla="*/ 742397 h 2373523"/>
                  <a:gd name="connsiteX8" fmla="*/ 2428745 w 12386023"/>
                  <a:gd name="connsiteY8" fmla="*/ 682909 h 2373523"/>
                  <a:gd name="connsiteX9" fmla="*/ 2906467 w 12386023"/>
                  <a:gd name="connsiteY9" fmla="*/ 682909 h 2373523"/>
                  <a:gd name="connsiteX10" fmla="*/ 3677336 w 12386023"/>
                  <a:gd name="connsiteY10" fmla="*/ 725403 h 2373523"/>
                  <a:gd name="connsiteX11" fmla="*/ 4556772 w 12386023"/>
                  <a:gd name="connsiteY11" fmla="*/ 708409 h 2373523"/>
                  <a:gd name="connsiteX12" fmla="*/ 5186490 w 12386023"/>
                  <a:gd name="connsiteY12" fmla="*/ 716915 h 2373523"/>
                  <a:gd name="connsiteX13" fmla="*/ 6022500 w 12386023"/>
                  <a:gd name="connsiteY13" fmla="*/ 716915 h 2373523"/>
                  <a:gd name="connsiteX14" fmla="*/ 7086513 w 12386023"/>
                  <a:gd name="connsiteY14" fmla="*/ 742415 h 2373523"/>
                  <a:gd name="connsiteX15" fmla="*/ 7835668 w 12386023"/>
                  <a:gd name="connsiteY15" fmla="*/ 733909 h 2373523"/>
                  <a:gd name="connsiteX16" fmla="*/ 8367663 w 12386023"/>
                  <a:gd name="connsiteY16" fmla="*/ 725403 h 2373523"/>
                  <a:gd name="connsiteX17" fmla="*/ 8988680 w 12386023"/>
                  <a:gd name="connsiteY17" fmla="*/ 1128151 h 2373523"/>
                  <a:gd name="connsiteX18" fmla="*/ 9558676 w 12386023"/>
                  <a:gd name="connsiteY18" fmla="*/ 1954983 h 2373523"/>
                  <a:gd name="connsiteX19" fmla="*/ 10490076 w 12386023"/>
                  <a:gd name="connsiteY19" fmla="*/ 2373522 h 2373523"/>
                  <a:gd name="connsiteX20" fmla="*/ 11536110 w 12386023"/>
                  <a:gd name="connsiteY20" fmla="*/ 1954985 h 2373523"/>
                  <a:gd name="connsiteX21" fmla="*/ 11827041 w 12386023"/>
                  <a:gd name="connsiteY21" fmla="*/ 1309250 h 2373523"/>
                  <a:gd name="connsiteX22" fmla="*/ 12137937 w 12386023"/>
                  <a:gd name="connsiteY22" fmla="*/ 863143 h 2373523"/>
                  <a:gd name="connsiteX23" fmla="*/ 12386023 w 12386023"/>
                  <a:gd name="connsiteY23" fmla="*/ 562829 h 2373523"/>
                  <a:gd name="connsiteX24" fmla="*/ 12386023 w 12386023"/>
                  <a:gd name="connsiteY24" fmla="*/ 124447 h 2373523"/>
                  <a:gd name="connsiteX25" fmla="*/ 11779707 w 12386023"/>
                  <a:gd name="connsiteY25" fmla="*/ 299022 h 2373523"/>
                  <a:gd name="connsiteX26" fmla="*/ 11399982 w 12386023"/>
                  <a:gd name="connsiteY26" fmla="*/ 910907 h 2373523"/>
                  <a:gd name="connsiteX27" fmla="*/ 10943237 w 12386023"/>
                  <a:gd name="connsiteY27" fmla="*/ 1525068 h 2373523"/>
                  <a:gd name="connsiteX28" fmla="*/ 10375442 w 12386023"/>
                  <a:gd name="connsiteY28" fmla="*/ 1481851 h 2373523"/>
                  <a:gd name="connsiteX29" fmla="*/ 9868545 w 12386023"/>
                  <a:gd name="connsiteY29" fmla="*/ 922282 h 2373523"/>
                  <a:gd name="connsiteX30" fmla="*/ 9393890 w 12386023"/>
                  <a:gd name="connsiteY30" fmla="*/ 444601 h 2373523"/>
                  <a:gd name="connsiteX31" fmla="*/ 8791091 w 12386023"/>
                  <a:gd name="connsiteY31" fmla="*/ 20131 h 2373523"/>
                  <a:gd name="connsiteX32" fmla="*/ 7390504 w 12386023"/>
                  <a:gd name="connsiteY32" fmla="*/ 62625 h 2373523"/>
                  <a:gd name="connsiteX33" fmla="*/ 9248668 w 12386023"/>
                  <a:gd name="connsiteY33" fmla="*/ 483648 h 2373523"/>
                  <a:gd name="connsiteX34" fmla="*/ 8892001 w 12386023"/>
                  <a:gd name="connsiteY34" fmla="*/ 445563 h 2373523"/>
                  <a:gd name="connsiteX35" fmla="*/ 9073222 w 12386023"/>
                  <a:gd name="connsiteY35" fmla="*/ 748027 h 2373523"/>
                  <a:gd name="connsiteX36" fmla="*/ 8705072 w 12386023"/>
                  <a:gd name="connsiteY36" fmla="*/ 148058 h 2373523"/>
                  <a:gd name="connsiteX0" fmla="*/ 8705072 w 12386023"/>
                  <a:gd name="connsiteY0" fmla="*/ 148058 h 2373523"/>
                  <a:gd name="connsiteX1" fmla="*/ 8742561 w 12386023"/>
                  <a:gd name="connsiteY1" fmla="*/ 384564 h 2373523"/>
                  <a:gd name="connsiteX2" fmla="*/ 8697801 w 12386023"/>
                  <a:gd name="connsiteY2" fmla="*/ 454697 h 2373523"/>
                  <a:gd name="connsiteX3" fmla="*/ 8652701 w 12386023"/>
                  <a:gd name="connsiteY3" fmla="*/ 640697 h 2373523"/>
                  <a:gd name="connsiteX4" fmla="*/ 421075 w 12386023"/>
                  <a:gd name="connsiteY4" fmla="*/ 800852 h 2373523"/>
                  <a:gd name="connsiteX5" fmla="*/ 1277876 w 12386023"/>
                  <a:gd name="connsiteY5" fmla="*/ 708409 h 2373523"/>
                  <a:gd name="connsiteX6" fmla="*/ 1972735 w 12386023"/>
                  <a:gd name="connsiteY6" fmla="*/ 742397 h 2373523"/>
                  <a:gd name="connsiteX7" fmla="*/ 2428745 w 12386023"/>
                  <a:gd name="connsiteY7" fmla="*/ 682909 h 2373523"/>
                  <a:gd name="connsiteX8" fmla="*/ 2906467 w 12386023"/>
                  <a:gd name="connsiteY8" fmla="*/ 682909 h 2373523"/>
                  <a:gd name="connsiteX9" fmla="*/ 3677336 w 12386023"/>
                  <a:gd name="connsiteY9" fmla="*/ 725403 h 2373523"/>
                  <a:gd name="connsiteX10" fmla="*/ 4556772 w 12386023"/>
                  <a:gd name="connsiteY10" fmla="*/ 708409 h 2373523"/>
                  <a:gd name="connsiteX11" fmla="*/ 5186490 w 12386023"/>
                  <a:gd name="connsiteY11" fmla="*/ 716915 h 2373523"/>
                  <a:gd name="connsiteX12" fmla="*/ 6022500 w 12386023"/>
                  <a:gd name="connsiteY12" fmla="*/ 716915 h 2373523"/>
                  <a:gd name="connsiteX13" fmla="*/ 7086513 w 12386023"/>
                  <a:gd name="connsiteY13" fmla="*/ 742415 h 2373523"/>
                  <a:gd name="connsiteX14" fmla="*/ 7835668 w 12386023"/>
                  <a:gd name="connsiteY14" fmla="*/ 733909 h 2373523"/>
                  <a:gd name="connsiteX15" fmla="*/ 8367663 w 12386023"/>
                  <a:gd name="connsiteY15" fmla="*/ 725403 h 2373523"/>
                  <a:gd name="connsiteX16" fmla="*/ 8988680 w 12386023"/>
                  <a:gd name="connsiteY16" fmla="*/ 1128151 h 2373523"/>
                  <a:gd name="connsiteX17" fmla="*/ 9558676 w 12386023"/>
                  <a:gd name="connsiteY17" fmla="*/ 1954983 h 2373523"/>
                  <a:gd name="connsiteX18" fmla="*/ 10490076 w 12386023"/>
                  <a:gd name="connsiteY18" fmla="*/ 2373522 h 2373523"/>
                  <a:gd name="connsiteX19" fmla="*/ 11536110 w 12386023"/>
                  <a:gd name="connsiteY19" fmla="*/ 1954985 h 2373523"/>
                  <a:gd name="connsiteX20" fmla="*/ 11827041 w 12386023"/>
                  <a:gd name="connsiteY20" fmla="*/ 1309250 h 2373523"/>
                  <a:gd name="connsiteX21" fmla="*/ 12137937 w 12386023"/>
                  <a:gd name="connsiteY21" fmla="*/ 863143 h 2373523"/>
                  <a:gd name="connsiteX22" fmla="*/ 12386023 w 12386023"/>
                  <a:gd name="connsiteY22" fmla="*/ 562829 h 2373523"/>
                  <a:gd name="connsiteX23" fmla="*/ 12386023 w 12386023"/>
                  <a:gd name="connsiteY23" fmla="*/ 124447 h 2373523"/>
                  <a:gd name="connsiteX24" fmla="*/ 11779707 w 12386023"/>
                  <a:gd name="connsiteY24" fmla="*/ 299022 h 2373523"/>
                  <a:gd name="connsiteX25" fmla="*/ 11399982 w 12386023"/>
                  <a:gd name="connsiteY25" fmla="*/ 910907 h 2373523"/>
                  <a:gd name="connsiteX26" fmla="*/ 10943237 w 12386023"/>
                  <a:gd name="connsiteY26" fmla="*/ 1525068 h 2373523"/>
                  <a:gd name="connsiteX27" fmla="*/ 10375442 w 12386023"/>
                  <a:gd name="connsiteY27" fmla="*/ 1481851 h 2373523"/>
                  <a:gd name="connsiteX28" fmla="*/ 9868545 w 12386023"/>
                  <a:gd name="connsiteY28" fmla="*/ 922282 h 2373523"/>
                  <a:gd name="connsiteX29" fmla="*/ 9393890 w 12386023"/>
                  <a:gd name="connsiteY29" fmla="*/ 444601 h 2373523"/>
                  <a:gd name="connsiteX30" fmla="*/ 8791091 w 12386023"/>
                  <a:gd name="connsiteY30" fmla="*/ 20131 h 2373523"/>
                  <a:gd name="connsiteX31" fmla="*/ 7390504 w 12386023"/>
                  <a:gd name="connsiteY31" fmla="*/ 62625 h 2373523"/>
                  <a:gd name="connsiteX32" fmla="*/ 9248668 w 12386023"/>
                  <a:gd name="connsiteY32" fmla="*/ 483648 h 2373523"/>
                  <a:gd name="connsiteX33" fmla="*/ 8892001 w 12386023"/>
                  <a:gd name="connsiteY33" fmla="*/ 445563 h 2373523"/>
                  <a:gd name="connsiteX34" fmla="*/ 9073222 w 12386023"/>
                  <a:gd name="connsiteY34" fmla="*/ 748027 h 2373523"/>
                  <a:gd name="connsiteX35" fmla="*/ 8705072 w 12386023"/>
                  <a:gd name="connsiteY35" fmla="*/ 148058 h 2373523"/>
                  <a:gd name="connsiteX0" fmla="*/ 8705072 w 12386023"/>
                  <a:gd name="connsiteY0" fmla="*/ 148058 h 2373523"/>
                  <a:gd name="connsiteX1" fmla="*/ 8697801 w 12386023"/>
                  <a:gd name="connsiteY1" fmla="*/ 454697 h 2373523"/>
                  <a:gd name="connsiteX2" fmla="*/ 8652701 w 12386023"/>
                  <a:gd name="connsiteY2" fmla="*/ 640697 h 2373523"/>
                  <a:gd name="connsiteX3" fmla="*/ 421075 w 12386023"/>
                  <a:gd name="connsiteY3" fmla="*/ 800852 h 2373523"/>
                  <a:gd name="connsiteX4" fmla="*/ 1277876 w 12386023"/>
                  <a:gd name="connsiteY4" fmla="*/ 708409 h 2373523"/>
                  <a:gd name="connsiteX5" fmla="*/ 1972735 w 12386023"/>
                  <a:gd name="connsiteY5" fmla="*/ 742397 h 2373523"/>
                  <a:gd name="connsiteX6" fmla="*/ 2428745 w 12386023"/>
                  <a:gd name="connsiteY6" fmla="*/ 682909 h 2373523"/>
                  <a:gd name="connsiteX7" fmla="*/ 2906467 w 12386023"/>
                  <a:gd name="connsiteY7" fmla="*/ 682909 h 2373523"/>
                  <a:gd name="connsiteX8" fmla="*/ 3677336 w 12386023"/>
                  <a:gd name="connsiteY8" fmla="*/ 725403 h 2373523"/>
                  <a:gd name="connsiteX9" fmla="*/ 4556772 w 12386023"/>
                  <a:gd name="connsiteY9" fmla="*/ 708409 h 2373523"/>
                  <a:gd name="connsiteX10" fmla="*/ 5186490 w 12386023"/>
                  <a:gd name="connsiteY10" fmla="*/ 716915 h 2373523"/>
                  <a:gd name="connsiteX11" fmla="*/ 6022500 w 12386023"/>
                  <a:gd name="connsiteY11" fmla="*/ 716915 h 2373523"/>
                  <a:gd name="connsiteX12" fmla="*/ 7086513 w 12386023"/>
                  <a:gd name="connsiteY12" fmla="*/ 742415 h 2373523"/>
                  <a:gd name="connsiteX13" fmla="*/ 7835668 w 12386023"/>
                  <a:gd name="connsiteY13" fmla="*/ 733909 h 2373523"/>
                  <a:gd name="connsiteX14" fmla="*/ 8367663 w 12386023"/>
                  <a:gd name="connsiteY14" fmla="*/ 725403 h 2373523"/>
                  <a:gd name="connsiteX15" fmla="*/ 8988680 w 12386023"/>
                  <a:gd name="connsiteY15" fmla="*/ 1128151 h 2373523"/>
                  <a:gd name="connsiteX16" fmla="*/ 9558676 w 12386023"/>
                  <a:gd name="connsiteY16" fmla="*/ 1954983 h 2373523"/>
                  <a:gd name="connsiteX17" fmla="*/ 10490076 w 12386023"/>
                  <a:gd name="connsiteY17" fmla="*/ 2373522 h 2373523"/>
                  <a:gd name="connsiteX18" fmla="*/ 11536110 w 12386023"/>
                  <a:gd name="connsiteY18" fmla="*/ 1954985 h 2373523"/>
                  <a:gd name="connsiteX19" fmla="*/ 11827041 w 12386023"/>
                  <a:gd name="connsiteY19" fmla="*/ 1309250 h 2373523"/>
                  <a:gd name="connsiteX20" fmla="*/ 12137937 w 12386023"/>
                  <a:gd name="connsiteY20" fmla="*/ 863143 h 2373523"/>
                  <a:gd name="connsiteX21" fmla="*/ 12386023 w 12386023"/>
                  <a:gd name="connsiteY21" fmla="*/ 562829 h 2373523"/>
                  <a:gd name="connsiteX22" fmla="*/ 12386023 w 12386023"/>
                  <a:gd name="connsiteY22" fmla="*/ 124447 h 2373523"/>
                  <a:gd name="connsiteX23" fmla="*/ 11779707 w 12386023"/>
                  <a:gd name="connsiteY23" fmla="*/ 299022 h 2373523"/>
                  <a:gd name="connsiteX24" fmla="*/ 11399982 w 12386023"/>
                  <a:gd name="connsiteY24" fmla="*/ 910907 h 2373523"/>
                  <a:gd name="connsiteX25" fmla="*/ 10943237 w 12386023"/>
                  <a:gd name="connsiteY25" fmla="*/ 1525068 h 2373523"/>
                  <a:gd name="connsiteX26" fmla="*/ 10375442 w 12386023"/>
                  <a:gd name="connsiteY26" fmla="*/ 1481851 h 2373523"/>
                  <a:gd name="connsiteX27" fmla="*/ 9868545 w 12386023"/>
                  <a:gd name="connsiteY27" fmla="*/ 922282 h 2373523"/>
                  <a:gd name="connsiteX28" fmla="*/ 9393890 w 12386023"/>
                  <a:gd name="connsiteY28" fmla="*/ 444601 h 2373523"/>
                  <a:gd name="connsiteX29" fmla="*/ 8791091 w 12386023"/>
                  <a:gd name="connsiteY29" fmla="*/ 20131 h 2373523"/>
                  <a:gd name="connsiteX30" fmla="*/ 7390504 w 12386023"/>
                  <a:gd name="connsiteY30" fmla="*/ 62625 h 2373523"/>
                  <a:gd name="connsiteX31" fmla="*/ 9248668 w 12386023"/>
                  <a:gd name="connsiteY31" fmla="*/ 483648 h 2373523"/>
                  <a:gd name="connsiteX32" fmla="*/ 8892001 w 12386023"/>
                  <a:gd name="connsiteY32" fmla="*/ 445563 h 2373523"/>
                  <a:gd name="connsiteX33" fmla="*/ 9073222 w 12386023"/>
                  <a:gd name="connsiteY33" fmla="*/ 748027 h 2373523"/>
                  <a:gd name="connsiteX34" fmla="*/ 8705072 w 12386023"/>
                  <a:gd name="connsiteY34" fmla="*/ 148058 h 2373523"/>
                  <a:gd name="connsiteX0" fmla="*/ 9073222 w 12386023"/>
                  <a:gd name="connsiteY0" fmla="*/ 748027 h 2373523"/>
                  <a:gd name="connsiteX1" fmla="*/ 8697801 w 12386023"/>
                  <a:gd name="connsiteY1" fmla="*/ 454697 h 2373523"/>
                  <a:gd name="connsiteX2" fmla="*/ 8652701 w 12386023"/>
                  <a:gd name="connsiteY2" fmla="*/ 640697 h 2373523"/>
                  <a:gd name="connsiteX3" fmla="*/ 421075 w 12386023"/>
                  <a:gd name="connsiteY3" fmla="*/ 800852 h 2373523"/>
                  <a:gd name="connsiteX4" fmla="*/ 1277876 w 12386023"/>
                  <a:gd name="connsiteY4" fmla="*/ 708409 h 2373523"/>
                  <a:gd name="connsiteX5" fmla="*/ 1972735 w 12386023"/>
                  <a:gd name="connsiteY5" fmla="*/ 742397 h 2373523"/>
                  <a:gd name="connsiteX6" fmla="*/ 2428745 w 12386023"/>
                  <a:gd name="connsiteY6" fmla="*/ 682909 h 2373523"/>
                  <a:gd name="connsiteX7" fmla="*/ 2906467 w 12386023"/>
                  <a:gd name="connsiteY7" fmla="*/ 682909 h 2373523"/>
                  <a:gd name="connsiteX8" fmla="*/ 3677336 w 12386023"/>
                  <a:gd name="connsiteY8" fmla="*/ 725403 h 2373523"/>
                  <a:gd name="connsiteX9" fmla="*/ 4556772 w 12386023"/>
                  <a:gd name="connsiteY9" fmla="*/ 708409 h 2373523"/>
                  <a:gd name="connsiteX10" fmla="*/ 5186490 w 12386023"/>
                  <a:gd name="connsiteY10" fmla="*/ 716915 h 2373523"/>
                  <a:gd name="connsiteX11" fmla="*/ 6022500 w 12386023"/>
                  <a:gd name="connsiteY11" fmla="*/ 716915 h 2373523"/>
                  <a:gd name="connsiteX12" fmla="*/ 7086513 w 12386023"/>
                  <a:gd name="connsiteY12" fmla="*/ 742415 h 2373523"/>
                  <a:gd name="connsiteX13" fmla="*/ 7835668 w 12386023"/>
                  <a:gd name="connsiteY13" fmla="*/ 733909 h 2373523"/>
                  <a:gd name="connsiteX14" fmla="*/ 8367663 w 12386023"/>
                  <a:gd name="connsiteY14" fmla="*/ 725403 h 2373523"/>
                  <a:gd name="connsiteX15" fmla="*/ 8988680 w 12386023"/>
                  <a:gd name="connsiteY15" fmla="*/ 1128151 h 2373523"/>
                  <a:gd name="connsiteX16" fmla="*/ 9558676 w 12386023"/>
                  <a:gd name="connsiteY16" fmla="*/ 1954983 h 2373523"/>
                  <a:gd name="connsiteX17" fmla="*/ 10490076 w 12386023"/>
                  <a:gd name="connsiteY17" fmla="*/ 2373522 h 2373523"/>
                  <a:gd name="connsiteX18" fmla="*/ 11536110 w 12386023"/>
                  <a:gd name="connsiteY18" fmla="*/ 1954985 h 2373523"/>
                  <a:gd name="connsiteX19" fmla="*/ 11827041 w 12386023"/>
                  <a:gd name="connsiteY19" fmla="*/ 1309250 h 2373523"/>
                  <a:gd name="connsiteX20" fmla="*/ 12137937 w 12386023"/>
                  <a:gd name="connsiteY20" fmla="*/ 863143 h 2373523"/>
                  <a:gd name="connsiteX21" fmla="*/ 12386023 w 12386023"/>
                  <a:gd name="connsiteY21" fmla="*/ 562829 h 2373523"/>
                  <a:gd name="connsiteX22" fmla="*/ 12386023 w 12386023"/>
                  <a:gd name="connsiteY22" fmla="*/ 124447 h 2373523"/>
                  <a:gd name="connsiteX23" fmla="*/ 11779707 w 12386023"/>
                  <a:gd name="connsiteY23" fmla="*/ 299022 h 2373523"/>
                  <a:gd name="connsiteX24" fmla="*/ 11399982 w 12386023"/>
                  <a:gd name="connsiteY24" fmla="*/ 910907 h 2373523"/>
                  <a:gd name="connsiteX25" fmla="*/ 10943237 w 12386023"/>
                  <a:gd name="connsiteY25" fmla="*/ 1525068 h 2373523"/>
                  <a:gd name="connsiteX26" fmla="*/ 10375442 w 12386023"/>
                  <a:gd name="connsiteY26" fmla="*/ 1481851 h 2373523"/>
                  <a:gd name="connsiteX27" fmla="*/ 9868545 w 12386023"/>
                  <a:gd name="connsiteY27" fmla="*/ 922282 h 2373523"/>
                  <a:gd name="connsiteX28" fmla="*/ 9393890 w 12386023"/>
                  <a:gd name="connsiteY28" fmla="*/ 444601 h 2373523"/>
                  <a:gd name="connsiteX29" fmla="*/ 8791091 w 12386023"/>
                  <a:gd name="connsiteY29" fmla="*/ 20131 h 2373523"/>
                  <a:gd name="connsiteX30" fmla="*/ 7390504 w 12386023"/>
                  <a:gd name="connsiteY30" fmla="*/ 62625 h 2373523"/>
                  <a:gd name="connsiteX31" fmla="*/ 9248668 w 12386023"/>
                  <a:gd name="connsiteY31" fmla="*/ 483648 h 2373523"/>
                  <a:gd name="connsiteX32" fmla="*/ 8892001 w 12386023"/>
                  <a:gd name="connsiteY32" fmla="*/ 445563 h 2373523"/>
                  <a:gd name="connsiteX33" fmla="*/ 9073222 w 12386023"/>
                  <a:gd name="connsiteY33" fmla="*/ 748027 h 2373523"/>
                  <a:gd name="connsiteX0" fmla="*/ 9073222 w 12386023"/>
                  <a:gd name="connsiteY0" fmla="*/ 748027 h 2373523"/>
                  <a:gd name="connsiteX1" fmla="*/ 8652701 w 12386023"/>
                  <a:gd name="connsiteY1" fmla="*/ 640697 h 2373523"/>
                  <a:gd name="connsiteX2" fmla="*/ 421075 w 12386023"/>
                  <a:gd name="connsiteY2" fmla="*/ 800852 h 2373523"/>
                  <a:gd name="connsiteX3" fmla="*/ 1277876 w 12386023"/>
                  <a:gd name="connsiteY3" fmla="*/ 708409 h 2373523"/>
                  <a:gd name="connsiteX4" fmla="*/ 1972735 w 12386023"/>
                  <a:gd name="connsiteY4" fmla="*/ 742397 h 2373523"/>
                  <a:gd name="connsiteX5" fmla="*/ 2428745 w 12386023"/>
                  <a:gd name="connsiteY5" fmla="*/ 682909 h 2373523"/>
                  <a:gd name="connsiteX6" fmla="*/ 2906467 w 12386023"/>
                  <a:gd name="connsiteY6" fmla="*/ 682909 h 2373523"/>
                  <a:gd name="connsiteX7" fmla="*/ 3677336 w 12386023"/>
                  <a:gd name="connsiteY7" fmla="*/ 725403 h 2373523"/>
                  <a:gd name="connsiteX8" fmla="*/ 4556772 w 12386023"/>
                  <a:gd name="connsiteY8" fmla="*/ 708409 h 2373523"/>
                  <a:gd name="connsiteX9" fmla="*/ 5186490 w 12386023"/>
                  <a:gd name="connsiteY9" fmla="*/ 716915 h 2373523"/>
                  <a:gd name="connsiteX10" fmla="*/ 6022500 w 12386023"/>
                  <a:gd name="connsiteY10" fmla="*/ 716915 h 2373523"/>
                  <a:gd name="connsiteX11" fmla="*/ 7086513 w 12386023"/>
                  <a:gd name="connsiteY11" fmla="*/ 742415 h 2373523"/>
                  <a:gd name="connsiteX12" fmla="*/ 7835668 w 12386023"/>
                  <a:gd name="connsiteY12" fmla="*/ 733909 h 2373523"/>
                  <a:gd name="connsiteX13" fmla="*/ 8367663 w 12386023"/>
                  <a:gd name="connsiteY13" fmla="*/ 725403 h 2373523"/>
                  <a:gd name="connsiteX14" fmla="*/ 8988680 w 12386023"/>
                  <a:gd name="connsiteY14" fmla="*/ 1128151 h 2373523"/>
                  <a:gd name="connsiteX15" fmla="*/ 9558676 w 12386023"/>
                  <a:gd name="connsiteY15" fmla="*/ 1954983 h 2373523"/>
                  <a:gd name="connsiteX16" fmla="*/ 10490076 w 12386023"/>
                  <a:gd name="connsiteY16" fmla="*/ 2373522 h 2373523"/>
                  <a:gd name="connsiteX17" fmla="*/ 11536110 w 12386023"/>
                  <a:gd name="connsiteY17" fmla="*/ 1954985 h 2373523"/>
                  <a:gd name="connsiteX18" fmla="*/ 11827041 w 12386023"/>
                  <a:gd name="connsiteY18" fmla="*/ 1309250 h 2373523"/>
                  <a:gd name="connsiteX19" fmla="*/ 12137937 w 12386023"/>
                  <a:gd name="connsiteY19" fmla="*/ 863143 h 2373523"/>
                  <a:gd name="connsiteX20" fmla="*/ 12386023 w 12386023"/>
                  <a:gd name="connsiteY20" fmla="*/ 562829 h 2373523"/>
                  <a:gd name="connsiteX21" fmla="*/ 12386023 w 12386023"/>
                  <a:gd name="connsiteY21" fmla="*/ 124447 h 2373523"/>
                  <a:gd name="connsiteX22" fmla="*/ 11779707 w 12386023"/>
                  <a:gd name="connsiteY22" fmla="*/ 299022 h 2373523"/>
                  <a:gd name="connsiteX23" fmla="*/ 11399982 w 12386023"/>
                  <a:gd name="connsiteY23" fmla="*/ 910907 h 2373523"/>
                  <a:gd name="connsiteX24" fmla="*/ 10943237 w 12386023"/>
                  <a:gd name="connsiteY24" fmla="*/ 1525068 h 2373523"/>
                  <a:gd name="connsiteX25" fmla="*/ 10375442 w 12386023"/>
                  <a:gd name="connsiteY25" fmla="*/ 1481851 h 2373523"/>
                  <a:gd name="connsiteX26" fmla="*/ 9868545 w 12386023"/>
                  <a:gd name="connsiteY26" fmla="*/ 922282 h 2373523"/>
                  <a:gd name="connsiteX27" fmla="*/ 9393890 w 12386023"/>
                  <a:gd name="connsiteY27" fmla="*/ 444601 h 2373523"/>
                  <a:gd name="connsiteX28" fmla="*/ 8791091 w 12386023"/>
                  <a:gd name="connsiteY28" fmla="*/ 20131 h 2373523"/>
                  <a:gd name="connsiteX29" fmla="*/ 7390504 w 12386023"/>
                  <a:gd name="connsiteY29" fmla="*/ 62625 h 2373523"/>
                  <a:gd name="connsiteX30" fmla="*/ 9248668 w 12386023"/>
                  <a:gd name="connsiteY30" fmla="*/ 483648 h 2373523"/>
                  <a:gd name="connsiteX31" fmla="*/ 8892001 w 12386023"/>
                  <a:gd name="connsiteY31" fmla="*/ 445563 h 2373523"/>
                  <a:gd name="connsiteX32" fmla="*/ 9073222 w 12386023"/>
                  <a:gd name="connsiteY32" fmla="*/ 748027 h 2373523"/>
                  <a:gd name="connsiteX0" fmla="*/ 9102751 w 12415552"/>
                  <a:gd name="connsiteY0" fmla="*/ 748027 h 2373523"/>
                  <a:gd name="connsiteX1" fmla="*/ 450604 w 12415552"/>
                  <a:gd name="connsiteY1" fmla="*/ 800852 h 2373523"/>
                  <a:gd name="connsiteX2" fmla="*/ 1307405 w 12415552"/>
                  <a:gd name="connsiteY2" fmla="*/ 708409 h 2373523"/>
                  <a:gd name="connsiteX3" fmla="*/ 2002264 w 12415552"/>
                  <a:gd name="connsiteY3" fmla="*/ 742397 h 2373523"/>
                  <a:gd name="connsiteX4" fmla="*/ 2458274 w 12415552"/>
                  <a:gd name="connsiteY4" fmla="*/ 682909 h 2373523"/>
                  <a:gd name="connsiteX5" fmla="*/ 2935996 w 12415552"/>
                  <a:gd name="connsiteY5" fmla="*/ 682909 h 2373523"/>
                  <a:gd name="connsiteX6" fmla="*/ 3706865 w 12415552"/>
                  <a:gd name="connsiteY6" fmla="*/ 725403 h 2373523"/>
                  <a:gd name="connsiteX7" fmla="*/ 4586301 w 12415552"/>
                  <a:gd name="connsiteY7" fmla="*/ 708409 h 2373523"/>
                  <a:gd name="connsiteX8" fmla="*/ 5216019 w 12415552"/>
                  <a:gd name="connsiteY8" fmla="*/ 716915 h 2373523"/>
                  <a:gd name="connsiteX9" fmla="*/ 6052029 w 12415552"/>
                  <a:gd name="connsiteY9" fmla="*/ 716915 h 2373523"/>
                  <a:gd name="connsiteX10" fmla="*/ 7116042 w 12415552"/>
                  <a:gd name="connsiteY10" fmla="*/ 742415 h 2373523"/>
                  <a:gd name="connsiteX11" fmla="*/ 7865197 w 12415552"/>
                  <a:gd name="connsiteY11" fmla="*/ 733909 h 2373523"/>
                  <a:gd name="connsiteX12" fmla="*/ 8397192 w 12415552"/>
                  <a:gd name="connsiteY12" fmla="*/ 725403 h 2373523"/>
                  <a:gd name="connsiteX13" fmla="*/ 9018209 w 12415552"/>
                  <a:gd name="connsiteY13" fmla="*/ 1128151 h 2373523"/>
                  <a:gd name="connsiteX14" fmla="*/ 9588205 w 12415552"/>
                  <a:gd name="connsiteY14" fmla="*/ 1954983 h 2373523"/>
                  <a:gd name="connsiteX15" fmla="*/ 10519605 w 12415552"/>
                  <a:gd name="connsiteY15" fmla="*/ 2373522 h 2373523"/>
                  <a:gd name="connsiteX16" fmla="*/ 11565639 w 12415552"/>
                  <a:gd name="connsiteY16" fmla="*/ 1954985 h 2373523"/>
                  <a:gd name="connsiteX17" fmla="*/ 11856570 w 12415552"/>
                  <a:gd name="connsiteY17" fmla="*/ 1309250 h 2373523"/>
                  <a:gd name="connsiteX18" fmla="*/ 12167466 w 12415552"/>
                  <a:gd name="connsiteY18" fmla="*/ 863143 h 2373523"/>
                  <a:gd name="connsiteX19" fmla="*/ 12415552 w 12415552"/>
                  <a:gd name="connsiteY19" fmla="*/ 562829 h 2373523"/>
                  <a:gd name="connsiteX20" fmla="*/ 12415552 w 12415552"/>
                  <a:gd name="connsiteY20" fmla="*/ 124447 h 2373523"/>
                  <a:gd name="connsiteX21" fmla="*/ 11809236 w 12415552"/>
                  <a:gd name="connsiteY21" fmla="*/ 299022 h 2373523"/>
                  <a:gd name="connsiteX22" fmla="*/ 11429511 w 12415552"/>
                  <a:gd name="connsiteY22" fmla="*/ 910907 h 2373523"/>
                  <a:gd name="connsiteX23" fmla="*/ 10972766 w 12415552"/>
                  <a:gd name="connsiteY23" fmla="*/ 1525068 h 2373523"/>
                  <a:gd name="connsiteX24" fmla="*/ 10404971 w 12415552"/>
                  <a:gd name="connsiteY24" fmla="*/ 1481851 h 2373523"/>
                  <a:gd name="connsiteX25" fmla="*/ 9898074 w 12415552"/>
                  <a:gd name="connsiteY25" fmla="*/ 922282 h 2373523"/>
                  <a:gd name="connsiteX26" fmla="*/ 9423419 w 12415552"/>
                  <a:gd name="connsiteY26" fmla="*/ 444601 h 2373523"/>
                  <a:gd name="connsiteX27" fmla="*/ 8820620 w 12415552"/>
                  <a:gd name="connsiteY27" fmla="*/ 20131 h 2373523"/>
                  <a:gd name="connsiteX28" fmla="*/ 7420033 w 12415552"/>
                  <a:gd name="connsiteY28" fmla="*/ 62625 h 2373523"/>
                  <a:gd name="connsiteX29" fmla="*/ 9278197 w 12415552"/>
                  <a:gd name="connsiteY29" fmla="*/ 483648 h 2373523"/>
                  <a:gd name="connsiteX30" fmla="*/ 8921530 w 12415552"/>
                  <a:gd name="connsiteY30" fmla="*/ 445563 h 2373523"/>
                  <a:gd name="connsiteX31" fmla="*/ 9102751 w 12415552"/>
                  <a:gd name="connsiteY31" fmla="*/ 748027 h 2373523"/>
                  <a:gd name="connsiteX0" fmla="*/ 9102753 w 12415554"/>
                  <a:gd name="connsiteY0" fmla="*/ 748027 h 2373523"/>
                  <a:gd name="connsiteX1" fmla="*/ 450606 w 12415554"/>
                  <a:gd name="connsiteY1" fmla="*/ 800852 h 2373523"/>
                  <a:gd name="connsiteX2" fmla="*/ 1307407 w 12415554"/>
                  <a:gd name="connsiteY2" fmla="*/ 708409 h 2373523"/>
                  <a:gd name="connsiteX3" fmla="*/ 2002266 w 12415554"/>
                  <a:gd name="connsiteY3" fmla="*/ 742397 h 2373523"/>
                  <a:gd name="connsiteX4" fmla="*/ 2458276 w 12415554"/>
                  <a:gd name="connsiteY4" fmla="*/ 682909 h 2373523"/>
                  <a:gd name="connsiteX5" fmla="*/ 2935998 w 12415554"/>
                  <a:gd name="connsiteY5" fmla="*/ 682909 h 2373523"/>
                  <a:gd name="connsiteX6" fmla="*/ 3706867 w 12415554"/>
                  <a:gd name="connsiteY6" fmla="*/ 725403 h 2373523"/>
                  <a:gd name="connsiteX7" fmla="*/ 4586303 w 12415554"/>
                  <a:gd name="connsiteY7" fmla="*/ 708409 h 2373523"/>
                  <a:gd name="connsiteX8" fmla="*/ 5216021 w 12415554"/>
                  <a:gd name="connsiteY8" fmla="*/ 716915 h 2373523"/>
                  <a:gd name="connsiteX9" fmla="*/ 6052031 w 12415554"/>
                  <a:gd name="connsiteY9" fmla="*/ 716915 h 2373523"/>
                  <a:gd name="connsiteX10" fmla="*/ 7116044 w 12415554"/>
                  <a:gd name="connsiteY10" fmla="*/ 742415 h 2373523"/>
                  <a:gd name="connsiteX11" fmla="*/ 7865199 w 12415554"/>
                  <a:gd name="connsiteY11" fmla="*/ 733909 h 2373523"/>
                  <a:gd name="connsiteX12" fmla="*/ 8397194 w 12415554"/>
                  <a:gd name="connsiteY12" fmla="*/ 725403 h 2373523"/>
                  <a:gd name="connsiteX13" fmla="*/ 9018211 w 12415554"/>
                  <a:gd name="connsiteY13" fmla="*/ 1128151 h 2373523"/>
                  <a:gd name="connsiteX14" fmla="*/ 9588207 w 12415554"/>
                  <a:gd name="connsiteY14" fmla="*/ 1954983 h 2373523"/>
                  <a:gd name="connsiteX15" fmla="*/ 10519607 w 12415554"/>
                  <a:gd name="connsiteY15" fmla="*/ 2373522 h 2373523"/>
                  <a:gd name="connsiteX16" fmla="*/ 11565641 w 12415554"/>
                  <a:gd name="connsiteY16" fmla="*/ 1954985 h 2373523"/>
                  <a:gd name="connsiteX17" fmla="*/ 11856572 w 12415554"/>
                  <a:gd name="connsiteY17" fmla="*/ 1309250 h 2373523"/>
                  <a:gd name="connsiteX18" fmla="*/ 12167468 w 12415554"/>
                  <a:gd name="connsiteY18" fmla="*/ 863143 h 2373523"/>
                  <a:gd name="connsiteX19" fmla="*/ 12415554 w 12415554"/>
                  <a:gd name="connsiteY19" fmla="*/ 562829 h 2373523"/>
                  <a:gd name="connsiteX20" fmla="*/ 12415554 w 12415554"/>
                  <a:gd name="connsiteY20" fmla="*/ 124447 h 2373523"/>
                  <a:gd name="connsiteX21" fmla="*/ 11809238 w 12415554"/>
                  <a:gd name="connsiteY21" fmla="*/ 299022 h 2373523"/>
                  <a:gd name="connsiteX22" fmla="*/ 11429513 w 12415554"/>
                  <a:gd name="connsiteY22" fmla="*/ 910907 h 2373523"/>
                  <a:gd name="connsiteX23" fmla="*/ 10972768 w 12415554"/>
                  <a:gd name="connsiteY23" fmla="*/ 1525068 h 2373523"/>
                  <a:gd name="connsiteX24" fmla="*/ 10404973 w 12415554"/>
                  <a:gd name="connsiteY24" fmla="*/ 1481851 h 2373523"/>
                  <a:gd name="connsiteX25" fmla="*/ 9898076 w 12415554"/>
                  <a:gd name="connsiteY25" fmla="*/ 922282 h 2373523"/>
                  <a:gd name="connsiteX26" fmla="*/ 9423421 w 12415554"/>
                  <a:gd name="connsiteY26" fmla="*/ 444601 h 2373523"/>
                  <a:gd name="connsiteX27" fmla="*/ 8820622 w 12415554"/>
                  <a:gd name="connsiteY27" fmla="*/ 20131 h 2373523"/>
                  <a:gd name="connsiteX28" fmla="*/ 7420035 w 12415554"/>
                  <a:gd name="connsiteY28" fmla="*/ 62625 h 2373523"/>
                  <a:gd name="connsiteX29" fmla="*/ 9278199 w 12415554"/>
                  <a:gd name="connsiteY29" fmla="*/ 483648 h 2373523"/>
                  <a:gd name="connsiteX30" fmla="*/ 9102753 w 12415554"/>
                  <a:gd name="connsiteY30" fmla="*/ 748027 h 2373523"/>
                  <a:gd name="connsiteX0" fmla="*/ 9102753 w 12415554"/>
                  <a:gd name="connsiteY0" fmla="*/ 748027 h 2373523"/>
                  <a:gd name="connsiteX1" fmla="*/ 450606 w 12415554"/>
                  <a:gd name="connsiteY1" fmla="*/ 800852 h 2373523"/>
                  <a:gd name="connsiteX2" fmla="*/ 1307407 w 12415554"/>
                  <a:gd name="connsiteY2" fmla="*/ 708409 h 2373523"/>
                  <a:gd name="connsiteX3" fmla="*/ 2002266 w 12415554"/>
                  <a:gd name="connsiteY3" fmla="*/ 742397 h 2373523"/>
                  <a:gd name="connsiteX4" fmla="*/ 2458276 w 12415554"/>
                  <a:gd name="connsiteY4" fmla="*/ 682909 h 2373523"/>
                  <a:gd name="connsiteX5" fmla="*/ 2935998 w 12415554"/>
                  <a:gd name="connsiteY5" fmla="*/ 682909 h 2373523"/>
                  <a:gd name="connsiteX6" fmla="*/ 3706867 w 12415554"/>
                  <a:gd name="connsiteY6" fmla="*/ 725403 h 2373523"/>
                  <a:gd name="connsiteX7" fmla="*/ 4586303 w 12415554"/>
                  <a:gd name="connsiteY7" fmla="*/ 708409 h 2373523"/>
                  <a:gd name="connsiteX8" fmla="*/ 5216021 w 12415554"/>
                  <a:gd name="connsiteY8" fmla="*/ 716915 h 2373523"/>
                  <a:gd name="connsiteX9" fmla="*/ 6052031 w 12415554"/>
                  <a:gd name="connsiteY9" fmla="*/ 716915 h 2373523"/>
                  <a:gd name="connsiteX10" fmla="*/ 7116044 w 12415554"/>
                  <a:gd name="connsiteY10" fmla="*/ 742415 h 2373523"/>
                  <a:gd name="connsiteX11" fmla="*/ 7865199 w 12415554"/>
                  <a:gd name="connsiteY11" fmla="*/ 733909 h 2373523"/>
                  <a:gd name="connsiteX12" fmla="*/ 8397194 w 12415554"/>
                  <a:gd name="connsiteY12" fmla="*/ 725403 h 2373523"/>
                  <a:gd name="connsiteX13" fmla="*/ 9018211 w 12415554"/>
                  <a:gd name="connsiteY13" fmla="*/ 1128151 h 2373523"/>
                  <a:gd name="connsiteX14" fmla="*/ 9588207 w 12415554"/>
                  <a:gd name="connsiteY14" fmla="*/ 1954983 h 2373523"/>
                  <a:gd name="connsiteX15" fmla="*/ 10519607 w 12415554"/>
                  <a:gd name="connsiteY15" fmla="*/ 2373522 h 2373523"/>
                  <a:gd name="connsiteX16" fmla="*/ 11565641 w 12415554"/>
                  <a:gd name="connsiteY16" fmla="*/ 1954985 h 2373523"/>
                  <a:gd name="connsiteX17" fmla="*/ 11856572 w 12415554"/>
                  <a:gd name="connsiteY17" fmla="*/ 1309250 h 2373523"/>
                  <a:gd name="connsiteX18" fmla="*/ 12167468 w 12415554"/>
                  <a:gd name="connsiteY18" fmla="*/ 863143 h 2373523"/>
                  <a:gd name="connsiteX19" fmla="*/ 12415554 w 12415554"/>
                  <a:gd name="connsiteY19" fmla="*/ 562829 h 2373523"/>
                  <a:gd name="connsiteX20" fmla="*/ 12415554 w 12415554"/>
                  <a:gd name="connsiteY20" fmla="*/ 124447 h 2373523"/>
                  <a:gd name="connsiteX21" fmla="*/ 11809238 w 12415554"/>
                  <a:gd name="connsiteY21" fmla="*/ 299022 h 2373523"/>
                  <a:gd name="connsiteX22" fmla="*/ 11429513 w 12415554"/>
                  <a:gd name="connsiteY22" fmla="*/ 910907 h 2373523"/>
                  <a:gd name="connsiteX23" fmla="*/ 10972768 w 12415554"/>
                  <a:gd name="connsiteY23" fmla="*/ 1525068 h 2373523"/>
                  <a:gd name="connsiteX24" fmla="*/ 10404973 w 12415554"/>
                  <a:gd name="connsiteY24" fmla="*/ 1481851 h 2373523"/>
                  <a:gd name="connsiteX25" fmla="*/ 9898076 w 12415554"/>
                  <a:gd name="connsiteY25" fmla="*/ 922282 h 2373523"/>
                  <a:gd name="connsiteX26" fmla="*/ 9423421 w 12415554"/>
                  <a:gd name="connsiteY26" fmla="*/ 444601 h 2373523"/>
                  <a:gd name="connsiteX27" fmla="*/ 8820622 w 12415554"/>
                  <a:gd name="connsiteY27" fmla="*/ 20131 h 2373523"/>
                  <a:gd name="connsiteX28" fmla="*/ 7420035 w 12415554"/>
                  <a:gd name="connsiteY28" fmla="*/ 62625 h 2373523"/>
                  <a:gd name="connsiteX29" fmla="*/ 9102753 w 12415554"/>
                  <a:gd name="connsiteY29" fmla="*/ 748027 h 2373523"/>
                  <a:gd name="connsiteX0" fmla="*/ 7302823 w 12298342"/>
                  <a:gd name="connsiteY0" fmla="*/ 62625 h 2373523"/>
                  <a:gd name="connsiteX1" fmla="*/ 333394 w 12298342"/>
                  <a:gd name="connsiteY1" fmla="*/ 800852 h 2373523"/>
                  <a:gd name="connsiteX2" fmla="*/ 1190195 w 12298342"/>
                  <a:gd name="connsiteY2" fmla="*/ 708409 h 2373523"/>
                  <a:gd name="connsiteX3" fmla="*/ 1885054 w 12298342"/>
                  <a:gd name="connsiteY3" fmla="*/ 742397 h 2373523"/>
                  <a:gd name="connsiteX4" fmla="*/ 2341064 w 12298342"/>
                  <a:gd name="connsiteY4" fmla="*/ 682909 h 2373523"/>
                  <a:gd name="connsiteX5" fmla="*/ 2818786 w 12298342"/>
                  <a:gd name="connsiteY5" fmla="*/ 682909 h 2373523"/>
                  <a:gd name="connsiteX6" fmla="*/ 3589655 w 12298342"/>
                  <a:gd name="connsiteY6" fmla="*/ 725403 h 2373523"/>
                  <a:gd name="connsiteX7" fmla="*/ 4469091 w 12298342"/>
                  <a:gd name="connsiteY7" fmla="*/ 708409 h 2373523"/>
                  <a:gd name="connsiteX8" fmla="*/ 5098809 w 12298342"/>
                  <a:gd name="connsiteY8" fmla="*/ 716915 h 2373523"/>
                  <a:gd name="connsiteX9" fmla="*/ 5934819 w 12298342"/>
                  <a:gd name="connsiteY9" fmla="*/ 716915 h 2373523"/>
                  <a:gd name="connsiteX10" fmla="*/ 6998832 w 12298342"/>
                  <a:gd name="connsiteY10" fmla="*/ 742415 h 2373523"/>
                  <a:gd name="connsiteX11" fmla="*/ 7747987 w 12298342"/>
                  <a:gd name="connsiteY11" fmla="*/ 733909 h 2373523"/>
                  <a:gd name="connsiteX12" fmla="*/ 8279982 w 12298342"/>
                  <a:gd name="connsiteY12" fmla="*/ 725403 h 2373523"/>
                  <a:gd name="connsiteX13" fmla="*/ 8900999 w 12298342"/>
                  <a:gd name="connsiteY13" fmla="*/ 1128151 h 2373523"/>
                  <a:gd name="connsiteX14" fmla="*/ 9470995 w 12298342"/>
                  <a:gd name="connsiteY14" fmla="*/ 1954983 h 2373523"/>
                  <a:gd name="connsiteX15" fmla="*/ 10402395 w 12298342"/>
                  <a:gd name="connsiteY15" fmla="*/ 2373522 h 2373523"/>
                  <a:gd name="connsiteX16" fmla="*/ 11448429 w 12298342"/>
                  <a:gd name="connsiteY16" fmla="*/ 1954985 h 2373523"/>
                  <a:gd name="connsiteX17" fmla="*/ 11739360 w 12298342"/>
                  <a:gd name="connsiteY17" fmla="*/ 1309250 h 2373523"/>
                  <a:gd name="connsiteX18" fmla="*/ 12050256 w 12298342"/>
                  <a:gd name="connsiteY18" fmla="*/ 863143 h 2373523"/>
                  <a:gd name="connsiteX19" fmla="*/ 12298342 w 12298342"/>
                  <a:gd name="connsiteY19" fmla="*/ 562829 h 2373523"/>
                  <a:gd name="connsiteX20" fmla="*/ 12298342 w 12298342"/>
                  <a:gd name="connsiteY20" fmla="*/ 124447 h 2373523"/>
                  <a:gd name="connsiteX21" fmla="*/ 11692026 w 12298342"/>
                  <a:gd name="connsiteY21" fmla="*/ 299022 h 2373523"/>
                  <a:gd name="connsiteX22" fmla="*/ 11312301 w 12298342"/>
                  <a:gd name="connsiteY22" fmla="*/ 910907 h 2373523"/>
                  <a:gd name="connsiteX23" fmla="*/ 10855556 w 12298342"/>
                  <a:gd name="connsiteY23" fmla="*/ 1525068 h 2373523"/>
                  <a:gd name="connsiteX24" fmla="*/ 10287761 w 12298342"/>
                  <a:gd name="connsiteY24" fmla="*/ 1481851 h 2373523"/>
                  <a:gd name="connsiteX25" fmla="*/ 9780864 w 12298342"/>
                  <a:gd name="connsiteY25" fmla="*/ 922282 h 2373523"/>
                  <a:gd name="connsiteX26" fmla="*/ 9306209 w 12298342"/>
                  <a:gd name="connsiteY26" fmla="*/ 444601 h 2373523"/>
                  <a:gd name="connsiteX27" fmla="*/ 8703410 w 12298342"/>
                  <a:gd name="connsiteY27" fmla="*/ 20131 h 2373523"/>
                  <a:gd name="connsiteX28" fmla="*/ 7302823 w 12298342"/>
                  <a:gd name="connsiteY28" fmla="*/ 62625 h 2373523"/>
                  <a:gd name="connsiteX0" fmla="*/ 8557475 w 12379789"/>
                  <a:gd name="connsiteY0" fmla="*/ 304971 h 2354282"/>
                  <a:gd name="connsiteX1" fmla="*/ 414841 w 12379789"/>
                  <a:gd name="connsiteY1" fmla="*/ 781611 h 2354282"/>
                  <a:gd name="connsiteX2" fmla="*/ 1271642 w 12379789"/>
                  <a:gd name="connsiteY2" fmla="*/ 689168 h 2354282"/>
                  <a:gd name="connsiteX3" fmla="*/ 1966501 w 12379789"/>
                  <a:gd name="connsiteY3" fmla="*/ 723156 h 2354282"/>
                  <a:gd name="connsiteX4" fmla="*/ 2422511 w 12379789"/>
                  <a:gd name="connsiteY4" fmla="*/ 663668 h 2354282"/>
                  <a:gd name="connsiteX5" fmla="*/ 2900233 w 12379789"/>
                  <a:gd name="connsiteY5" fmla="*/ 663668 h 2354282"/>
                  <a:gd name="connsiteX6" fmla="*/ 3671102 w 12379789"/>
                  <a:gd name="connsiteY6" fmla="*/ 706162 h 2354282"/>
                  <a:gd name="connsiteX7" fmla="*/ 4550538 w 12379789"/>
                  <a:gd name="connsiteY7" fmla="*/ 689168 h 2354282"/>
                  <a:gd name="connsiteX8" fmla="*/ 5180256 w 12379789"/>
                  <a:gd name="connsiteY8" fmla="*/ 697674 h 2354282"/>
                  <a:gd name="connsiteX9" fmla="*/ 6016266 w 12379789"/>
                  <a:gd name="connsiteY9" fmla="*/ 697674 h 2354282"/>
                  <a:gd name="connsiteX10" fmla="*/ 7080279 w 12379789"/>
                  <a:gd name="connsiteY10" fmla="*/ 723174 h 2354282"/>
                  <a:gd name="connsiteX11" fmla="*/ 7829434 w 12379789"/>
                  <a:gd name="connsiteY11" fmla="*/ 714668 h 2354282"/>
                  <a:gd name="connsiteX12" fmla="*/ 8361429 w 12379789"/>
                  <a:gd name="connsiteY12" fmla="*/ 706162 h 2354282"/>
                  <a:gd name="connsiteX13" fmla="*/ 8982446 w 12379789"/>
                  <a:gd name="connsiteY13" fmla="*/ 1108910 h 2354282"/>
                  <a:gd name="connsiteX14" fmla="*/ 9552442 w 12379789"/>
                  <a:gd name="connsiteY14" fmla="*/ 1935742 h 2354282"/>
                  <a:gd name="connsiteX15" fmla="*/ 10483842 w 12379789"/>
                  <a:gd name="connsiteY15" fmla="*/ 2354281 h 2354282"/>
                  <a:gd name="connsiteX16" fmla="*/ 11529876 w 12379789"/>
                  <a:gd name="connsiteY16" fmla="*/ 1935744 h 2354282"/>
                  <a:gd name="connsiteX17" fmla="*/ 11820807 w 12379789"/>
                  <a:gd name="connsiteY17" fmla="*/ 1290009 h 2354282"/>
                  <a:gd name="connsiteX18" fmla="*/ 12131703 w 12379789"/>
                  <a:gd name="connsiteY18" fmla="*/ 843902 h 2354282"/>
                  <a:gd name="connsiteX19" fmla="*/ 12379789 w 12379789"/>
                  <a:gd name="connsiteY19" fmla="*/ 543588 h 2354282"/>
                  <a:gd name="connsiteX20" fmla="*/ 12379789 w 12379789"/>
                  <a:gd name="connsiteY20" fmla="*/ 105206 h 2354282"/>
                  <a:gd name="connsiteX21" fmla="*/ 11773473 w 12379789"/>
                  <a:gd name="connsiteY21" fmla="*/ 279781 h 2354282"/>
                  <a:gd name="connsiteX22" fmla="*/ 11393748 w 12379789"/>
                  <a:gd name="connsiteY22" fmla="*/ 891666 h 2354282"/>
                  <a:gd name="connsiteX23" fmla="*/ 10937003 w 12379789"/>
                  <a:gd name="connsiteY23" fmla="*/ 1505827 h 2354282"/>
                  <a:gd name="connsiteX24" fmla="*/ 10369208 w 12379789"/>
                  <a:gd name="connsiteY24" fmla="*/ 1462610 h 2354282"/>
                  <a:gd name="connsiteX25" fmla="*/ 9862311 w 12379789"/>
                  <a:gd name="connsiteY25" fmla="*/ 903041 h 2354282"/>
                  <a:gd name="connsiteX26" fmla="*/ 9387656 w 12379789"/>
                  <a:gd name="connsiteY26" fmla="*/ 425360 h 2354282"/>
                  <a:gd name="connsiteX27" fmla="*/ 8784857 w 12379789"/>
                  <a:gd name="connsiteY27" fmla="*/ 890 h 2354282"/>
                  <a:gd name="connsiteX28" fmla="*/ 8557475 w 12379789"/>
                  <a:gd name="connsiteY28" fmla="*/ 304971 h 2354282"/>
                  <a:gd name="connsiteX0" fmla="*/ 8557477 w 12379791"/>
                  <a:gd name="connsiteY0" fmla="*/ 212886 h 2262197"/>
                  <a:gd name="connsiteX1" fmla="*/ 414843 w 12379791"/>
                  <a:gd name="connsiteY1" fmla="*/ 689526 h 2262197"/>
                  <a:gd name="connsiteX2" fmla="*/ 1271644 w 12379791"/>
                  <a:gd name="connsiteY2" fmla="*/ 597083 h 2262197"/>
                  <a:gd name="connsiteX3" fmla="*/ 1966503 w 12379791"/>
                  <a:gd name="connsiteY3" fmla="*/ 631071 h 2262197"/>
                  <a:gd name="connsiteX4" fmla="*/ 2422513 w 12379791"/>
                  <a:gd name="connsiteY4" fmla="*/ 571583 h 2262197"/>
                  <a:gd name="connsiteX5" fmla="*/ 2900235 w 12379791"/>
                  <a:gd name="connsiteY5" fmla="*/ 571583 h 2262197"/>
                  <a:gd name="connsiteX6" fmla="*/ 3671104 w 12379791"/>
                  <a:gd name="connsiteY6" fmla="*/ 614077 h 2262197"/>
                  <a:gd name="connsiteX7" fmla="*/ 4550540 w 12379791"/>
                  <a:gd name="connsiteY7" fmla="*/ 597083 h 2262197"/>
                  <a:gd name="connsiteX8" fmla="*/ 5180258 w 12379791"/>
                  <a:gd name="connsiteY8" fmla="*/ 605589 h 2262197"/>
                  <a:gd name="connsiteX9" fmla="*/ 6016268 w 12379791"/>
                  <a:gd name="connsiteY9" fmla="*/ 605589 h 2262197"/>
                  <a:gd name="connsiteX10" fmla="*/ 7080281 w 12379791"/>
                  <a:gd name="connsiteY10" fmla="*/ 631089 h 2262197"/>
                  <a:gd name="connsiteX11" fmla="*/ 7829436 w 12379791"/>
                  <a:gd name="connsiteY11" fmla="*/ 622583 h 2262197"/>
                  <a:gd name="connsiteX12" fmla="*/ 8361431 w 12379791"/>
                  <a:gd name="connsiteY12" fmla="*/ 614077 h 2262197"/>
                  <a:gd name="connsiteX13" fmla="*/ 8982448 w 12379791"/>
                  <a:gd name="connsiteY13" fmla="*/ 1016825 h 2262197"/>
                  <a:gd name="connsiteX14" fmla="*/ 9552444 w 12379791"/>
                  <a:gd name="connsiteY14" fmla="*/ 1843657 h 2262197"/>
                  <a:gd name="connsiteX15" fmla="*/ 10483844 w 12379791"/>
                  <a:gd name="connsiteY15" fmla="*/ 2262196 h 2262197"/>
                  <a:gd name="connsiteX16" fmla="*/ 11529878 w 12379791"/>
                  <a:gd name="connsiteY16" fmla="*/ 1843659 h 2262197"/>
                  <a:gd name="connsiteX17" fmla="*/ 11820809 w 12379791"/>
                  <a:gd name="connsiteY17" fmla="*/ 1197924 h 2262197"/>
                  <a:gd name="connsiteX18" fmla="*/ 12131705 w 12379791"/>
                  <a:gd name="connsiteY18" fmla="*/ 751817 h 2262197"/>
                  <a:gd name="connsiteX19" fmla="*/ 12379791 w 12379791"/>
                  <a:gd name="connsiteY19" fmla="*/ 451503 h 2262197"/>
                  <a:gd name="connsiteX20" fmla="*/ 12379791 w 12379791"/>
                  <a:gd name="connsiteY20" fmla="*/ 13121 h 2262197"/>
                  <a:gd name="connsiteX21" fmla="*/ 11773475 w 12379791"/>
                  <a:gd name="connsiteY21" fmla="*/ 187696 h 2262197"/>
                  <a:gd name="connsiteX22" fmla="*/ 11393750 w 12379791"/>
                  <a:gd name="connsiteY22" fmla="*/ 799581 h 2262197"/>
                  <a:gd name="connsiteX23" fmla="*/ 10937005 w 12379791"/>
                  <a:gd name="connsiteY23" fmla="*/ 1413742 h 2262197"/>
                  <a:gd name="connsiteX24" fmla="*/ 10369210 w 12379791"/>
                  <a:gd name="connsiteY24" fmla="*/ 1370525 h 2262197"/>
                  <a:gd name="connsiteX25" fmla="*/ 9862313 w 12379791"/>
                  <a:gd name="connsiteY25" fmla="*/ 810956 h 2262197"/>
                  <a:gd name="connsiteX26" fmla="*/ 9387658 w 12379791"/>
                  <a:gd name="connsiteY26" fmla="*/ 333275 h 2262197"/>
                  <a:gd name="connsiteX27" fmla="*/ 8614705 w 12379791"/>
                  <a:gd name="connsiteY27" fmla="*/ 45280 h 2262197"/>
                  <a:gd name="connsiteX28" fmla="*/ 8557477 w 12379791"/>
                  <a:gd name="connsiteY28" fmla="*/ 212886 h 2262197"/>
                  <a:gd name="connsiteX0" fmla="*/ 8557477 w 12379791"/>
                  <a:gd name="connsiteY0" fmla="*/ 220165 h 2269476"/>
                  <a:gd name="connsiteX1" fmla="*/ 414843 w 12379791"/>
                  <a:gd name="connsiteY1" fmla="*/ 696805 h 2269476"/>
                  <a:gd name="connsiteX2" fmla="*/ 1271644 w 12379791"/>
                  <a:gd name="connsiteY2" fmla="*/ 604362 h 2269476"/>
                  <a:gd name="connsiteX3" fmla="*/ 1966503 w 12379791"/>
                  <a:gd name="connsiteY3" fmla="*/ 638350 h 2269476"/>
                  <a:gd name="connsiteX4" fmla="*/ 2422513 w 12379791"/>
                  <a:gd name="connsiteY4" fmla="*/ 578862 h 2269476"/>
                  <a:gd name="connsiteX5" fmla="*/ 2900235 w 12379791"/>
                  <a:gd name="connsiteY5" fmla="*/ 578862 h 2269476"/>
                  <a:gd name="connsiteX6" fmla="*/ 3671104 w 12379791"/>
                  <a:gd name="connsiteY6" fmla="*/ 621356 h 2269476"/>
                  <a:gd name="connsiteX7" fmla="*/ 4550540 w 12379791"/>
                  <a:gd name="connsiteY7" fmla="*/ 604362 h 2269476"/>
                  <a:gd name="connsiteX8" fmla="*/ 5180258 w 12379791"/>
                  <a:gd name="connsiteY8" fmla="*/ 612868 h 2269476"/>
                  <a:gd name="connsiteX9" fmla="*/ 6016268 w 12379791"/>
                  <a:gd name="connsiteY9" fmla="*/ 612868 h 2269476"/>
                  <a:gd name="connsiteX10" fmla="*/ 7080281 w 12379791"/>
                  <a:gd name="connsiteY10" fmla="*/ 638368 h 2269476"/>
                  <a:gd name="connsiteX11" fmla="*/ 7829436 w 12379791"/>
                  <a:gd name="connsiteY11" fmla="*/ 629862 h 2269476"/>
                  <a:gd name="connsiteX12" fmla="*/ 8361431 w 12379791"/>
                  <a:gd name="connsiteY12" fmla="*/ 621356 h 2269476"/>
                  <a:gd name="connsiteX13" fmla="*/ 8982448 w 12379791"/>
                  <a:gd name="connsiteY13" fmla="*/ 1024104 h 2269476"/>
                  <a:gd name="connsiteX14" fmla="*/ 9552444 w 12379791"/>
                  <a:gd name="connsiteY14" fmla="*/ 1850936 h 2269476"/>
                  <a:gd name="connsiteX15" fmla="*/ 10483844 w 12379791"/>
                  <a:gd name="connsiteY15" fmla="*/ 2269475 h 2269476"/>
                  <a:gd name="connsiteX16" fmla="*/ 11529878 w 12379791"/>
                  <a:gd name="connsiteY16" fmla="*/ 1850938 h 2269476"/>
                  <a:gd name="connsiteX17" fmla="*/ 11820809 w 12379791"/>
                  <a:gd name="connsiteY17" fmla="*/ 1205203 h 2269476"/>
                  <a:gd name="connsiteX18" fmla="*/ 12131705 w 12379791"/>
                  <a:gd name="connsiteY18" fmla="*/ 759096 h 2269476"/>
                  <a:gd name="connsiteX19" fmla="*/ 12379791 w 12379791"/>
                  <a:gd name="connsiteY19" fmla="*/ 458782 h 2269476"/>
                  <a:gd name="connsiteX20" fmla="*/ 12379791 w 12379791"/>
                  <a:gd name="connsiteY20" fmla="*/ 20400 h 2269476"/>
                  <a:gd name="connsiteX21" fmla="*/ 11773475 w 12379791"/>
                  <a:gd name="connsiteY21" fmla="*/ 194975 h 2269476"/>
                  <a:gd name="connsiteX22" fmla="*/ 11393750 w 12379791"/>
                  <a:gd name="connsiteY22" fmla="*/ 806860 h 2269476"/>
                  <a:gd name="connsiteX23" fmla="*/ 10937005 w 12379791"/>
                  <a:gd name="connsiteY23" fmla="*/ 1421021 h 2269476"/>
                  <a:gd name="connsiteX24" fmla="*/ 10369210 w 12379791"/>
                  <a:gd name="connsiteY24" fmla="*/ 1377804 h 2269476"/>
                  <a:gd name="connsiteX25" fmla="*/ 9862313 w 12379791"/>
                  <a:gd name="connsiteY25" fmla="*/ 818235 h 2269476"/>
                  <a:gd name="connsiteX26" fmla="*/ 9387658 w 12379791"/>
                  <a:gd name="connsiteY26" fmla="*/ 340554 h 2269476"/>
                  <a:gd name="connsiteX27" fmla="*/ 8614705 w 12379791"/>
                  <a:gd name="connsiteY27" fmla="*/ 52559 h 2269476"/>
                  <a:gd name="connsiteX28" fmla="*/ 8557477 w 12379791"/>
                  <a:gd name="connsiteY28" fmla="*/ 220165 h 2269476"/>
                  <a:gd name="connsiteX0" fmla="*/ 8557477 w 12379791"/>
                  <a:gd name="connsiteY0" fmla="*/ 220165 h 2269476"/>
                  <a:gd name="connsiteX1" fmla="*/ 414843 w 12379791"/>
                  <a:gd name="connsiteY1" fmla="*/ 696805 h 2269476"/>
                  <a:gd name="connsiteX2" fmla="*/ 1271644 w 12379791"/>
                  <a:gd name="connsiteY2" fmla="*/ 604362 h 2269476"/>
                  <a:gd name="connsiteX3" fmla="*/ 1966503 w 12379791"/>
                  <a:gd name="connsiteY3" fmla="*/ 638350 h 2269476"/>
                  <a:gd name="connsiteX4" fmla="*/ 2422513 w 12379791"/>
                  <a:gd name="connsiteY4" fmla="*/ 578862 h 2269476"/>
                  <a:gd name="connsiteX5" fmla="*/ 2900235 w 12379791"/>
                  <a:gd name="connsiteY5" fmla="*/ 578862 h 2269476"/>
                  <a:gd name="connsiteX6" fmla="*/ 3671104 w 12379791"/>
                  <a:gd name="connsiteY6" fmla="*/ 621356 h 2269476"/>
                  <a:gd name="connsiteX7" fmla="*/ 4550540 w 12379791"/>
                  <a:gd name="connsiteY7" fmla="*/ 604362 h 2269476"/>
                  <a:gd name="connsiteX8" fmla="*/ 5180258 w 12379791"/>
                  <a:gd name="connsiteY8" fmla="*/ 612868 h 2269476"/>
                  <a:gd name="connsiteX9" fmla="*/ 6016268 w 12379791"/>
                  <a:gd name="connsiteY9" fmla="*/ 612868 h 2269476"/>
                  <a:gd name="connsiteX10" fmla="*/ 7080281 w 12379791"/>
                  <a:gd name="connsiteY10" fmla="*/ 638368 h 2269476"/>
                  <a:gd name="connsiteX11" fmla="*/ 7829436 w 12379791"/>
                  <a:gd name="connsiteY11" fmla="*/ 629862 h 2269476"/>
                  <a:gd name="connsiteX12" fmla="*/ 8361431 w 12379791"/>
                  <a:gd name="connsiteY12" fmla="*/ 621356 h 2269476"/>
                  <a:gd name="connsiteX13" fmla="*/ 8982448 w 12379791"/>
                  <a:gd name="connsiteY13" fmla="*/ 1024104 h 2269476"/>
                  <a:gd name="connsiteX14" fmla="*/ 9552444 w 12379791"/>
                  <a:gd name="connsiteY14" fmla="*/ 1850936 h 2269476"/>
                  <a:gd name="connsiteX15" fmla="*/ 10483844 w 12379791"/>
                  <a:gd name="connsiteY15" fmla="*/ 2269475 h 2269476"/>
                  <a:gd name="connsiteX16" fmla="*/ 11529878 w 12379791"/>
                  <a:gd name="connsiteY16" fmla="*/ 1850938 h 2269476"/>
                  <a:gd name="connsiteX17" fmla="*/ 11820809 w 12379791"/>
                  <a:gd name="connsiteY17" fmla="*/ 1205203 h 2269476"/>
                  <a:gd name="connsiteX18" fmla="*/ 12131705 w 12379791"/>
                  <a:gd name="connsiteY18" fmla="*/ 759096 h 2269476"/>
                  <a:gd name="connsiteX19" fmla="*/ 12379791 w 12379791"/>
                  <a:gd name="connsiteY19" fmla="*/ 458782 h 2269476"/>
                  <a:gd name="connsiteX20" fmla="*/ 12379791 w 12379791"/>
                  <a:gd name="connsiteY20" fmla="*/ 20400 h 2269476"/>
                  <a:gd name="connsiteX21" fmla="*/ 11773475 w 12379791"/>
                  <a:gd name="connsiteY21" fmla="*/ 194975 h 2269476"/>
                  <a:gd name="connsiteX22" fmla="*/ 11393750 w 12379791"/>
                  <a:gd name="connsiteY22" fmla="*/ 806860 h 2269476"/>
                  <a:gd name="connsiteX23" fmla="*/ 10937005 w 12379791"/>
                  <a:gd name="connsiteY23" fmla="*/ 1421021 h 2269476"/>
                  <a:gd name="connsiteX24" fmla="*/ 10369210 w 12379791"/>
                  <a:gd name="connsiteY24" fmla="*/ 1377804 h 2269476"/>
                  <a:gd name="connsiteX25" fmla="*/ 9862313 w 12379791"/>
                  <a:gd name="connsiteY25" fmla="*/ 818235 h 2269476"/>
                  <a:gd name="connsiteX26" fmla="*/ 9387658 w 12379791"/>
                  <a:gd name="connsiteY26" fmla="*/ 340554 h 2269476"/>
                  <a:gd name="connsiteX27" fmla="*/ 8614705 w 12379791"/>
                  <a:gd name="connsiteY27" fmla="*/ 52559 h 2269476"/>
                  <a:gd name="connsiteX28" fmla="*/ 8557477 w 12379791"/>
                  <a:gd name="connsiteY28" fmla="*/ 220165 h 2269476"/>
                  <a:gd name="connsiteX0" fmla="*/ 8557477 w 12379791"/>
                  <a:gd name="connsiteY0" fmla="*/ 212886 h 2262197"/>
                  <a:gd name="connsiteX1" fmla="*/ 414843 w 12379791"/>
                  <a:gd name="connsiteY1" fmla="*/ 689526 h 2262197"/>
                  <a:gd name="connsiteX2" fmla="*/ 1271644 w 12379791"/>
                  <a:gd name="connsiteY2" fmla="*/ 597083 h 2262197"/>
                  <a:gd name="connsiteX3" fmla="*/ 1966503 w 12379791"/>
                  <a:gd name="connsiteY3" fmla="*/ 631071 h 2262197"/>
                  <a:gd name="connsiteX4" fmla="*/ 2422513 w 12379791"/>
                  <a:gd name="connsiteY4" fmla="*/ 571583 h 2262197"/>
                  <a:gd name="connsiteX5" fmla="*/ 2900235 w 12379791"/>
                  <a:gd name="connsiteY5" fmla="*/ 571583 h 2262197"/>
                  <a:gd name="connsiteX6" fmla="*/ 3671104 w 12379791"/>
                  <a:gd name="connsiteY6" fmla="*/ 614077 h 2262197"/>
                  <a:gd name="connsiteX7" fmla="*/ 4550540 w 12379791"/>
                  <a:gd name="connsiteY7" fmla="*/ 597083 h 2262197"/>
                  <a:gd name="connsiteX8" fmla="*/ 5180258 w 12379791"/>
                  <a:gd name="connsiteY8" fmla="*/ 605589 h 2262197"/>
                  <a:gd name="connsiteX9" fmla="*/ 6016268 w 12379791"/>
                  <a:gd name="connsiteY9" fmla="*/ 605589 h 2262197"/>
                  <a:gd name="connsiteX10" fmla="*/ 7080281 w 12379791"/>
                  <a:gd name="connsiteY10" fmla="*/ 631089 h 2262197"/>
                  <a:gd name="connsiteX11" fmla="*/ 7829436 w 12379791"/>
                  <a:gd name="connsiteY11" fmla="*/ 622583 h 2262197"/>
                  <a:gd name="connsiteX12" fmla="*/ 8361431 w 12379791"/>
                  <a:gd name="connsiteY12" fmla="*/ 614077 h 2262197"/>
                  <a:gd name="connsiteX13" fmla="*/ 8982448 w 12379791"/>
                  <a:gd name="connsiteY13" fmla="*/ 1016825 h 2262197"/>
                  <a:gd name="connsiteX14" fmla="*/ 9552444 w 12379791"/>
                  <a:gd name="connsiteY14" fmla="*/ 1843657 h 2262197"/>
                  <a:gd name="connsiteX15" fmla="*/ 10483844 w 12379791"/>
                  <a:gd name="connsiteY15" fmla="*/ 2262196 h 2262197"/>
                  <a:gd name="connsiteX16" fmla="*/ 11529878 w 12379791"/>
                  <a:gd name="connsiteY16" fmla="*/ 1843659 h 2262197"/>
                  <a:gd name="connsiteX17" fmla="*/ 11820809 w 12379791"/>
                  <a:gd name="connsiteY17" fmla="*/ 1197924 h 2262197"/>
                  <a:gd name="connsiteX18" fmla="*/ 12131705 w 12379791"/>
                  <a:gd name="connsiteY18" fmla="*/ 751817 h 2262197"/>
                  <a:gd name="connsiteX19" fmla="*/ 12379791 w 12379791"/>
                  <a:gd name="connsiteY19" fmla="*/ 451503 h 2262197"/>
                  <a:gd name="connsiteX20" fmla="*/ 12379791 w 12379791"/>
                  <a:gd name="connsiteY20" fmla="*/ 13121 h 2262197"/>
                  <a:gd name="connsiteX21" fmla="*/ 11773475 w 12379791"/>
                  <a:gd name="connsiteY21" fmla="*/ 187696 h 2262197"/>
                  <a:gd name="connsiteX22" fmla="*/ 11393750 w 12379791"/>
                  <a:gd name="connsiteY22" fmla="*/ 799581 h 2262197"/>
                  <a:gd name="connsiteX23" fmla="*/ 10937005 w 12379791"/>
                  <a:gd name="connsiteY23" fmla="*/ 1413742 h 2262197"/>
                  <a:gd name="connsiteX24" fmla="*/ 10369210 w 12379791"/>
                  <a:gd name="connsiteY24" fmla="*/ 1370525 h 2262197"/>
                  <a:gd name="connsiteX25" fmla="*/ 9862313 w 12379791"/>
                  <a:gd name="connsiteY25" fmla="*/ 810956 h 2262197"/>
                  <a:gd name="connsiteX26" fmla="*/ 9387658 w 12379791"/>
                  <a:gd name="connsiteY26" fmla="*/ 333275 h 2262197"/>
                  <a:gd name="connsiteX27" fmla="*/ 8557477 w 12379791"/>
                  <a:gd name="connsiteY27" fmla="*/ 212886 h 2262197"/>
                  <a:gd name="connsiteX0" fmla="*/ 8557477 w 12379791"/>
                  <a:gd name="connsiteY0" fmla="*/ 212886 h 2262197"/>
                  <a:gd name="connsiteX1" fmla="*/ 414843 w 12379791"/>
                  <a:gd name="connsiteY1" fmla="*/ 689526 h 2262197"/>
                  <a:gd name="connsiteX2" fmla="*/ 1271644 w 12379791"/>
                  <a:gd name="connsiteY2" fmla="*/ 597083 h 2262197"/>
                  <a:gd name="connsiteX3" fmla="*/ 1966503 w 12379791"/>
                  <a:gd name="connsiteY3" fmla="*/ 631071 h 2262197"/>
                  <a:gd name="connsiteX4" fmla="*/ 2422513 w 12379791"/>
                  <a:gd name="connsiteY4" fmla="*/ 571583 h 2262197"/>
                  <a:gd name="connsiteX5" fmla="*/ 2900235 w 12379791"/>
                  <a:gd name="connsiteY5" fmla="*/ 571583 h 2262197"/>
                  <a:gd name="connsiteX6" fmla="*/ 3671104 w 12379791"/>
                  <a:gd name="connsiteY6" fmla="*/ 614077 h 2262197"/>
                  <a:gd name="connsiteX7" fmla="*/ 4550540 w 12379791"/>
                  <a:gd name="connsiteY7" fmla="*/ 597083 h 2262197"/>
                  <a:gd name="connsiteX8" fmla="*/ 5180258 w 12379791"/>
                  <a:gd name="connsiteY8" fmla="*/ 605589 h 2262197"/>
                  <a:gd name="connsiteX9" fmla="*/ 6016268 w 12379791"/>
                  <a:gd name="connsiteY9" fmla="*/ 605589 h 2262197"/>
                  <a:gd name="connsiteX10" fmla="*/ 7080281 w 12379791"/>
                  <a:gd name="connsiteY10" fmla="*/ 631089 h 2262197"/>
                  <a:gd name="connsiteX11" fmla="*/ 7829436 w 12379791"/>
                  <a:gd name="connsiteY11" fmla="*/ 622583 h 2262197"/>
                  <a:gd name="connsiteX12" fmla="*/ 8361431 w 12379791"/>
                  <a:gd name="connsiteY12" fmla="*/ 614077 h 2262197"/>
                  <a:gd name="connsiteX13" fmla="*/ 8982448 w 12379791"/>
                  <a:gd name="connsiteY13" fmla="*/ 1016825 h 2262197"/>
                  <a:gd name="connsiteX14" fmla="*/ 9552444 w 12379791"/>
                  <a:gd name="connsiteY14" fmla="*/ 1843657 h 2262197"/>
                  <a:gd name="connsiteX15" fmla="*/ 10483844 w 12379791"/>
                  <a:gd name="connsiteY15" fmla="*/ 2262196 h 2262197"/>
                  <a:gd name="connsiteX16" fmla="*/ 11529878 w 12379791"/>
                  <a:gd name="connsiteY16" fmla="*/ 1843659 h 2262197"/>
                  <a:gd name="connsiteX17" fmla="*/ 11820809 w 12379791"/>
                  <a:gd name="connsiteY17" fmla="*/ 1197924 h 2262197"/>
                  <a:gd name="connsiteX18" fmla="*/ 12131705 w 12379791"/>
                  <a:gd name="connsiteY18" fmla="*/ 751817 h 2262197"/>
                  <a:gd name="connsiteX19" fmla="*/ 12379791 w 12379791"/>
                  <a:gd name="connsiteY19" fmla="*/ 451503 h 2262197"/>
                  <a:gd name="connsiteX20" fmla="*/ 12379791 w 12379791"/>
                  <a:gd name="connsiteY20" fmla="*/ 13121 h 2262197"/>
                  <a:gd name="connsiteX21" fmla="*/ 11773475 w 12379791"/>
                  <a:gd name="connsiteY21" fmla="*/ 187696 h 2262197"/>
                  <a:gd name="connsiteX22" fmla="*/ 11393750 w 12379791"/>
                  <a:gd name="connsiteY22" fmla="*/ 799581 h 2262197"/>
                  <a:gd name="connsiteX23" fmla="*/ 10937005 w 12379791"/>
                  <a:gd name="connsiteY23" fmla="*/ 1413742 h 2262197"/>
                  <a:gd name="connsiteX24" fmla="*/ 10369210 w 12379791"/>
                  <a:gd name="connsiteY24" fmla="*/ 1370525 h 2262197"/>
                  <a:gd name="connsiteX25" fmla="*/ 9862313 w 12379791"/>
                  <a:gd name="connsiteY25" fmla="*/ 810956 h 2262197"/>
                  <a:gd name="connsiteX26" fmla="*/ 9450348 w 12379791"/>
                  <a:gd name="connsiteY26" fmla="*/ 299156 h 2262197"/>
                  <a:gd name="connsiteX27" fmla="*/ 8557477 w 12379791"/>
                  <a:gd name="connsiteY27" fmla="*/ 212886 h 2262197"/>
                  <a:gd name="connsiteX0" fmla="*/ 8557477 w 12379791"/>
                  <a:gd name="connsiteY0" fmla="*/ 212886 h 2262197"/>
                  <a:gd name="connsiteX1" fmla="*/ 414843 w 12379791"/>
                  <a:gd name="connsiteY1" fmla="*/ 689526 h 2262197"/>
                  <a:gd name="connsiteX2" fmla="*/ 1271644 w 12379791"/>
                  <a:gd name="connsiteY2" fmla="*/ 597083 h 2262197"/>
                  <a:gd name="connsiteX3" fmla="*/ 1966503 w 12379791"/>
                  <a:gd name="connsiteY3" fmla="*/ 631071 h 2262197"/>
                  <a:gd name="connsiteX4" fmla="*/ 2422513 w 12379791"/>
                  <a:gd name="connsiteY4" fmla="*/ 571583 h 2262197"/>
                  <a:gd name="connsiteX5" fmla="*/ 2900235 w 12379791"/>
                  <a:gd name="connsiteY5" fmla="*/ 571583 h 2262197"/>
                  <a:gd name="connsiteX6" fmla="*/ 3671104 w 12379791"/>
                  <a:gd name="connsiteY6" fmla="*/ 614077 h 2262197"/>
                  <a:gd name="connsiteX7" fmla="*/ 4550540 w 12379791"/>
                  <a:gd name="connsiteY7" fmla="*/ 597083 h 2262197"/>
                  <a:gd name="connsiteX8" fmla="*/ 5180258 w 12379791"/>
                  <a:gd name="connsiteY8" fmla="*/ 605589 h 2262197"/>
                  <a:gd name="connsiteX9" fmla="*/ 6016268 w 12379791"/>
                  <a:gd name="connsiteY9" fmla="*/ 605589 h 2262197"/>
                  <a:gd name="connsiteX10" fmla="*/ 7080281 w 12379791"/>
                  <a:gd name="connsiteY10" fmla="*/ 631089 h 2262197"/>
                  <a:gd name="connsiteX11" fmla="*/ 7829436 w 12379791"/>
                  <a:gd name="connsiteY11" fmla="*/ 622583 h 2262197"/>
                  <a:gd name="connsiteX12" fmla="*/ 8361431 w 12379791"/>
                  <a:gd name="connsiteY12" fmla="*/ 614077 h 2262197"/>
                  <a:gd name="connsiteX13" fmla="*/ 8982448 w 12379791"/>
                  <a:gd name="connsiteY13" fmla="*/ 1016825 h 2262197"/>
                  <a:gd name="connsiteX14" fmla="*/ 9552444 w 12379791"/>
                  <a:gd name="connsiteY14" fmla="*/ 1843657 h 2262197"/>
                  <a:gd name="connsiteX15" fmla="*/ 10483844 w 12379791"/>
                  <a:gd name="connsiteY15" fmla="*/ 2262196 h 2262197"/>
                  <a:gd name="connsiteX16" fmla="*/ 11529878 w 12379791"/>
                  <a:gd name="connsiteY16" fmla="*/ 1843659 h 2262197"/>
                  <a:gd name="connsiteX17" fmla="*/ 11820809 w 12379791"/>
                  <a:gd name="connsiteY17" fmla="*/ 1197924 h 2262197"/>
                  <a:gd name="connsiteX18" fmla="*/ 12131705 w 12379791"/>
                  <a:gd name="connsiteY18" fmla="*/ 751817 h 2262197"/>
                  <a:gd name="connsiteX19" fmla="*/ 12379791 w 12379791"/>
                  <a:gd name="connsiteY19" fmla="*/ 451503 h 2262197"/>
                  <a:gd name="connsiteX20" fmla="*/ 12379791 w 12379791"/>
                  <a:gd name="connsiteY20" fmla="*/ 13121 h 2262197"/>
                  <a:gd name="connsiteX21" fmla="*/ 11773475 w 12379791"/>
                  <a:gd name="connsiteY21" fmla="*/ 187696 h 2262197"/>
                  <a:gd name="connsiteX22" fmla="*/ 11393750 w 12379791"/>
                  <a:gd name="connsiteY22" fmla="*/ 799581 h 2262197"/>
                  <a:gd name="connsiteX23" fmla="*/ 10937005 w 12379791"/>
                  <a:gd name="connsiteY23" fmla="*/ 1413742 h 2262197"/>
                  <a:gd name="connsiteX24" fmla="*/ 10369210 w 12379791"/>
                  <a:gd name="connsiteY24" fmla="*/ 1370525 h 2262197"/>
                  <a:gd name="connsiteX25" fmla="*/ 9862313 w 12379791"/>
                  <a:gd name="connsiteY25" fmla="*/ 810956 h 2262197"/>
                  <a:gd name="connsiteX26" fmla="*/ 9450348 w 12379791"/>
                  <a:gd name="connsiteY26" fmla="*/ 299156 h 2262197"/>
                  <a:gd name="connsiteX27" fmla="*/ 8557477 w 12379791"/>
                  <a:gd name="connsiteY27" fmla="*/ 212886 h 2262197"/>
                  <a:gd name="connsiteX0" fmla="*/ 8557477 w 12379791"/>
                  <a:gd name="connsiteY0" fmla="*/ 212886 h 2262197"/>
                  <a:gd name="connsiteX1" fmla="*/ 414843 w 12379791"/>
                  <a:gd name="connsiteY1" fmla="*/ 689526 h 2262197"/>
                  <a:gd name="connsiteX2" fmla="*/ 1271644 w 12379791"/>
                  <a:gd name="connsiteY2" fmla="*/ 597083 h 2262197"/>
                  <a:gd name="connsiteX3" fmla="*/ 1966503 w 12379791"/>
                  <a:gd name="connsiteY3" fmla="*/ 631071 h 2262197"/>
                  <a:gd name="connsiteX4" fmla="*/ 2422513 w 12379791"/>
                  <a:gd name="connsiteY4" fmla="*/ 571583 h 2262197"/>
                  <a:gd name="connsiteX5" fmla="*/ 2900235 w 12379791"/>
                  <a:gd name="connsiteY5" fmla="*/ 571583 h 2262197"/>
                  <a:gd name="connsiteX6" fmla="*/ 4550540 w 12379791"/>
                  <a:gd name="connsiteY6" fmla="*/ 597083 h 2262197"/>
                  <a:gd name="connsiteX7" fmla="*/ 5180258 w 12379791"/>
                  <a:gd name="connsiteY7" fmla="*/ 605589 h 2262197"/>
                  <a:gd name="connsiteX8" fmla="*/ 6016268 w 12379791"/>
                  <a:gd name="connsiteY8" fmla="*/ 605589 h 2262197"/>
                  <a:gd name="connsiteX9" fmla="*/ 7080281 w 12379791"/>
                  <a:gd name="connsiteY9" fmla="*/ 631089 h 2262197"/>
                  <a:gd name="connsiteX10" fmla="*/ 7829436 w 12379791"/>
                  <a:gd name="connsiteY10" fmla="*/ 622583 h 2262197"/>
                  <a:gd name="connsiteX11" fmla="*/ 8361431 w 12379791"/>
                  <a:gd name="connsiteY11" fmla="*/ 614077 h 2262197"/>
                  <a:gd name="connsiteX12" fmla="*/ 8982448 w 12379791"/>
                  <a:gd name="connsiteY12" fmla="*/ 1016825 h 2262197"/>
                  <a:gd name="connsiteX13" fmla="*/ 9552444 w 12379791"/>
                  <a:gd name="connsiteY13" fmla="*/ 1843657 h 2262197"/>
                  <a:gd name="connsiteX14" fmla="*/ 10483844 w 12379791"/>
                  <a:gd name="connsiteY14" fmla="*/ 2262196 h 2262197"/>
                  <a:gd name="connsiteX15" fmla="*/ 11529878 w 12379791"/>
                  <a:gd name="connsiteY15" fmla="*/ 1843659 h 2262197"/>
                  <a:gd name="connsiteX16" fmla="*/ 11820809 w 12379791"/>
                  <a:gd name="connsiteY16" fmla="*/ 1197924 h 2262197"/>
                  <a:gd name="connsiteX17" fmla="*/ 12131705 w 12379791"/>
                  <a:gd name="connsiteY17" fmla="*/ 751817 h 2262197"/>
                  <a:gd name="connsiteX18" fmla="*/ 12379791 w 12379791"/>
                  <a:gd name="connsiteY18" fmla="*/ 451503 h 2262197"/>
                  <a:gd name="connsiteX19" fmla="*/ 12379791 w 12379791"/>
                  <a:gd name="connsiteY19" fmla="*/ 13121 h 2262197"/>
                  <a:gd name="connsiteX20" fmla="*/ 11773475 w 12379791"/>
                  <a:gd name="connsiteY20" fmla="*/ 187696 h 2262197"/>
                  <a:gd name="connsiteX21" fmla="*/ 11393750 w 12379791"/>
                  <a:gd name="connsiteY21" fmla="*/ 799581 h 2262197"/>
                  <a:gd name="connsiteX22" fmla="*/ 10937005 w 12379791"/>
                  <a:gd name="connsiteY22" fmla="*/ 1413742 h 2262197"/>
                  <a:gd name="connsiteX23" fmla="*/ 10369210 w 12379791"/>
                  <a:gd name="connsiteY23" fmla="*/ 1370525 h 2262197"/>
                  <a:gd name="connsiteX24" fmla="*/ 9862313 w 12379791"/>
                  <a:gd name="connsiteY24" fmla="*/ 810956 h 2262197"/>
                  <a:gd name="connsiteX25" fmla="*/ 9450348 w 12379791"/>
                  <a:gd name="connsiteY25" fmla="*/ 299156 h 2262197"/>
                  <a:gd name="connsiteX26" fmla="*/ 8557477 w 12379791"/>
                  <a:gd name="connsiteY26" fmla="*/ 212886 h 2262197"/>
                  <a:gd name="connsiteX0" fmla="*/ 8557477 w 12379791"/>
                  <a:gd name="connsiteY0" fmla="*/ 212886 h 2262197"/>
                  <a:gd name="connsiteX1" fmla="*/ 414843 w 12379791"/>
                  <a:gd name="connsiteY1" fmla="*/ 689526 h 2262197"/>
                  <a:gd name="connsiteX2" fmla="*/ 1271644 w 12379791"/>
                  <a:gd name="connsiteY2" fmla="*/ 597083 h 2262197"/>
                  <a:gd name="connsiteX3" fmla="*/ 1966503 w 12379791"/>
                  <a:gd name="connsiteY3" fmla="*/ 631071 h 2262197"/>
                  <a:gd name="connsiteX4" fmla="*/ 2422513 w 12379791"/>
                  <a:gd name="connsiteY4" fmla="*/ 571583 h 2262197"/>
                  <a:gd name="connsiteX5" fmla="*/ 2900235 w 12379791"/>
                  <a:gd name="connsiteY5" fmla="*/ 571583 h 2262197"/>
                  <a:gd name="connsiteX6" fmla="*/ 5180258 w 12379791"/>
                  <a:gd name="connsiteY6" fmla="*/ 605589 h 2262197"/>
                  <a:gd name="connsiteX7" fmla="*/ 6016268 w 12379791"/>
                  <a:gd name="connsiteY7" fmla="*/ 605589 h 2262197"/>
                  <a:gd name="connsiteX8" fmla="*/ 7080281 w 12379791"/>
                  <a:gd name="connsiteY8" fmla="*/ 631089 h 2262197"/>
                  <a:gd name="connsiteX9" fmla="*/ 7829436 w 12379791"/>
                  <a:gd name="connsiteY9" fmla="*/ 622583 h 2262197"/>
                  <a:gd name="connsiteX10" fmla="*/ 8361431 w 12379791"/>
                  <a:gd name="connsiteY10" fmla="*/ 614077 h 2262197"/>
                  <a:gd name="connsiteX11" fmla="*/ 8982448 w 12379791"/>
                  <a:gd name="connsiteY11" fmla="*/ 1016825 h 2262197"/>
                  <a:gd name="connsiteX12" fmla="*/ 9552444 w 12379791"/>
                  <a:gd name="connsiteY12" fmla="*/ 1843657 h 2262197"/>
                  <a:gd name="connsiteX13" fmla="*/ 10483844 w 12379791"/>
                  <a:gd name="connsiteY13" fmla="*/ 2262196 h 2262197"/>
                  <a:gd name="connsiteX14" fmla="*/ 11529878 w 12379791"/>
                  <a:gd name="connsiteY14" fmla="*/ 1843659 h 2262197"/>
                  <a:gd name="connsiteX15" fmla="*/ 11820809 w 12379791"/>
                  <a:gd name="connsiteY15" fmla="*/ 1197924 h 2262197"/>
                  <a:gd name="connsiteX16" fmla="*/ 12131705 w 12379791"/>
                  <a:gd name="connsiteY16" fmla="*/ 751817 h 2262197"/>
                  <a:gd name="connsiteX17" fmla="*/ 12379791 w 12379791"/>
                  <a:gd name="connsiteY17" fmla="*/ 451503 h 2262197"/>
                  <a:gd name="connsiteX18" fmla="*/ 12379791 w 12379791"/>
                  <a:gd name="connsiteY18" fmla="*/ 13121 h 2262197"/>
                  <a:gd name="connsiteX19" fmla="*/ 11773475 w 12379791"/>
                  <a:gd name="connsiteY19" fmla="*/ 187696 h 2262197"/>
                  <a:gd name="connsiteX20" fmla="*/ 11393750 w 12379791"/>
                  <a:gd name="connsiteY20" fmla="*/ 799581 h 2262197"/>
                  <a:gd name="connsiteX21" fmla="*/ 10937005 w 12379791"/>
                  <a:gd name="connsiteY21" fmla="*/ 1413742 h 2262197"/>
                  <a:gd name="connsiteX22" fmla="*/ 10369210 w 12379791"/>
                  <a:gd name="connsiteY22" fmla="*/ 1370525 h 2262197"/>
                  <a:gd name="connsiteX23" fmla="*/ 9862313 w 12379791"/>
                  <a:gd name="connsiteY23" fmla="*/ 810956 h 2262197"/>
                  <a:gd name="connsiteX24" fmla="*/ 9450348 w 12379791"/>
                  <a:gd name="connsiteY24" fmla="*/ 299156 h 2262197"/>
                  <a:gd name="connsiteX25" fmla="*/ 8557477 w 12379791"/>
                  <a:gd name="connsiteY25" fmla="*/ 212886 h 2262197"/>
                  <a:gd name="connsiteX0" fmla="*/ 8557477 w 12379791"/>
                  <a:gd name="connsiteY0" fmla="*/ 212886 h 2262197"/>
                  <a:gd name="connsiteX1" fmla="*/ 414843 w 12379791"/>
                  <a:gd name="connsiteY1" fmla="*/ 689526 h 2262197"/>
                  <a:gd name="connsiteX2" fmla="*/ 1271644 w 12379791"/>
                  <a:gd name="connsiteY2" fmla="*/ 597083 h 2262197"/>
                  <a:gd name="connsiteX3" fmla="*/ 1966503 w 12379791"/>
                  <a:gd name="connsiteY3" fmla="*/ 631071 h 2262197"/>
                  <a:gd name="connsiteX4" fmla="*/ 2422513 w 12379791"/>
                  <a:gd name="connsiteY4" fmla="*/ 571583 h 2262197"/>
                  <a:gd name="connsiteX5" fmla="*/ 2900235 w 12379791"/>
                  <a:gd name="connsiteY5" fmla="*/ 571583 h 2262197"/>
                  <a:gd name="connsiteX6" fmla="*/ 6016268 w 12379791"/>
                  <a:gd name="connsiteY6" fmla="*/ 605589 h 2262197"/>
                  <a:gd name="connsiteX7" fmla="*/ 7080281 w 12379791"/>
                  <a:gd name="connsiteY7" fmla="*/ 631089 h 2262197"/>
                  <a:gd name="connsiteX8" fmla="*/ 7829436 w 12379791"/>
                  <a:gd name="connsiteY8" fmla="*/ 622583 h 2262197"/>
                  <a:gd name="connsiteX9" fmla="*/ 8361431 w 12379791"/>
                  <a:gd name="connsiteY9" fmla="*/ 614077 h 2262197"/>
                  <a:gd name="connsiteX10" fmla="*/ 8982448 w 12379791"/>
                  <a:gd name="connsiteY10" fmla="*/ 1016825 h 2262197"/>
                  <a:gd name="connsiteX11" fmla="*/ 9552444 w 12379791"/>
                  <a:gd name="connsiteY11" fmla="*/ 1843657 h 2262197"/>
                  <a:gd name="connsiteX12" fmla="*/ 10483844 w 12379791"/>
                  <a:gd name="connsiteY12" fmla="*/ 2262196 h 2262197"/>
                  <a:gd name="connsiteX13" fmla="*/ 11529878 w 12379791"/>
                  <a:gd name="connsiteY13" fmla="*/ 1843659 h 2262197"/>
                  <a:gd name="connsiteX14" fmla="*/ 11820809 w 12379791"/>
                  <a:gd name="connsiteY14" fmla="*/ 1197924 h 2262197"/>
                  <a:gd name="connsiteX15" fmla="*/ 12131705 w 12379791"/>
                  <a:gd name="connsiteY15" fmla="*/ 751817 h 2262197"/>
                  <a:gd name="connsiteX16" fmla="*/ 12379791 w 12379791"/>
                  <a:gd name="connsiteY16" fmla="*/ 451503 h 2262197"/>
                  <a:gd name="connsiteX17" fmla="*/ 12379791 w 12379791"/>
                  <a:gd name="connsiteY17" fmla="*/ 13121 h 2262197"/>
                  <a:gd name="connsiteX18" fmla="*/ 11773475 w 12379791"/>
                  <a:gd name="connsiteY18" fmla="*/ 187696 h 2262197"/>
                  <a:gd name="connsiteX19" fmla="*/ 11393750 w 12379791"/>
                  <a:gd name="connsiteY19" fmla="*/ 799581 h 2262197"/>
                  <a:gd name="connsiteX20" fmla="*/ 10937005 w 12379791"/>
                  <a:gd name="connsiteY20" fmla="*/ 1413742 h 2262197"/>
                  <a:gd name="connsiteX21" fmla="*/ 10369210 w 12379791"/>
                  <a:gd name="connsiteY21" fmla="*/ 1370525 h 2262197"/>
                  <a:gd name="connsiteX22" fmla="*/ 9862313 w 12379791"/>
                  <a:gd name="connsiteY22" fmla="*/ 810956 h 2262197"/>
                  <a:gd name="connsiteX23" fmla="*/ 9450348 w 12379791"/>
                  <a:gd name="connsiteY23" fmla="*/ 299156 h 2262197"/>
                  <a:gd name="connsiteX24" fmla="*/ 8557477 w 12379791"/>
                  <a:gd name="connsiteY24" fmla="*/ 212886 h 2262197"/>
                  <a:gd name="connsiteX0" fmla="*/ 8557477 w 12379791"/>
                  <a:gd name="connsiteY0" fmla="*/ 212886 h 2262197"/>
                  <a:gd name="connsiteX1" fmla="*/ 414843 w 12379791"/>
                  <a:gd name="connsiteY1" fmla="*/ 689526 h 2262197"/>
                  <a:gd name="connsiteX2" fmla="*/ 1271644 w 12379791"/>
                  <a:gd name="connsiteY2" fmla="*/ 597083 h 2262197"/>
                  <a:gd name="connsiteX3" fmla="*/ 1966503 w 12379791"/>
                  <a:gd name="connsiteY3" fmla="*/ 631071 h 2262197"/>
                  <a:gd name="connsiteX4" fmla="*/ 2422513 w 12379791"/>
                  <a:gd name="connsiteY4" fmla="*/ 571583 h 2262197"/>
                  <a:gd name="connsiteX5" fmla="*/ 2900235 w 12379791"/>
                  <a:gd name="connsiteY5" fmla="*/ 571583 h 2262197"/>
                  <a:gd name="connsiteX6" fmla="*/ 7080281 w 12379791"/>
                  <a:gd name="connsiteY6" fmla="*/ 631089 h 2262197"/>
                  <a:gd name="connsiteX7" fmla="*/ 7829436 w 12379791"/>
                  <a:gd name="connsiteY7" fmla="*/ 622583 h 2262197"/>
                  <a:gd name="connsiteX8" fmla="*/ 8361431 w 12379791"/>
                  <a:gd name="connsiteY8" fmla="*/ 614077 h 2262197"/>
                  <a:gd name="connsiteX9" fmla="*/ 8982448 w 12379791"/>
                  <a:gd name="connsiteY9" fmla="*/ 1016825 h 2262197"/>
                  <a:gd name="connsiteX10" fmla="*/ 9552444 w 12379791"/>
                  <a:gd name="connsiteY10" fmla="*/ 1843657 h 2262197"/>
                  <a:gd name="connsiteX11" fmla="*/ 10483844 w 12379791"/>
                  <a:gd name="connsiteY11" fmla="*/ 2262196 h 2262197"/>
                  <a:gd name="connsiteX12" fmla="*/ 11529878 w 12379791"/>
                  <a:gd name="connsiteY12" fmla="*/ 1843659 h 2262197"/>
                  <a:gd name="connsiteX13" fmla="*/ 11820809 w 12379791"/>
                  <a:gd name="connsiteY13" fmla="*/ 1197924 h 2262197"/>
                  <a:gd name="connsiteX14" fmla="*/ 12131705 w 12379791"/>
                  <a:gd name="connsiteY14" fmla="*/ 751817 h 2262197"/>
                  <a:gd name="connsiteX15" fmla="*/ 12379791 w 12379791"/>
                  <a:gd name="connsiteY15" fmla="*/ 451503 h 2262197"/>
                  <a:gd name="connsiteX16" fmla="*/ 12379791 w 12379791"/>
                  <a:gd name="connsiteY16" fmla="*/ 13121 h 2262197"/>
                  <a:gd name="connsiteX17" fmla="*/ 11773475 w 12379791"/>
                  <a:gd name="connsiteY17" fmla="*/ 187696 h 2262197"/>
                  <a:gd name="connsiteX18" fmla="*/ 11393750 w 12379791"/>
                  <a:gd name="connsiteY18" fmla="*/ 799581 h 2262197"/>
                  <a:gd name="connsiteX19" fmla="*/ 10937005 w 12379791"/>
                  <a:gd name="connsiteY19" fmla="*/ 1413742 h 2262197"/>
                  <a:gd name="connsiteX20" fmla="*/ 10369210 w 12379791"/>
                  <a:gd name="connsiteY20" fmla="*/ 1370525 h 2262197"/>
                  <a:gd name="connsiteX21" fmla="*/ 9862313 w 12379791"/>
                  <a:gd name="connsiteY21" fmla="*/ 810956 h 2262197"/>
                  <a:gd name="connsiteX22" fmla="*/ 9450348 w 12379791"/>
                  <a:gd name="connsiteY22" fmla="*/ 299156 h 2262197"/>
                  <a:gd name="connsiteX23" fmla="*/ 8557477 w 12379791"/>
                  <a:gd name="connsiteY23" fmla="*/ 212886 h 2262197"/>
                  <a:gd name="connsiteX0" fmla="*/ 8557477 w 12379791"/>
                  <a:gd name="connsiteY0" fmla="*/ 212886 h 2262197"/>
                  <a:gd name="connsiteX1" fmla="*/ 414843 w 12379791"/>
                  <a:gd name="connsiteY1" fmla="*/ 689526 h 2262197"/>
                  <a:gd name="connsiteX2" fmla="*/ 1271644 w 12379791"/>
                  <a:gd name="connsiteY2" fmla="*/ 597083 h 2262197"/>
                  <a:gd name="connsiteX3" fmla="*/ 1966503 w 12379791"/>
                  <a:gd name="connsiteY3" fmla="*/ 631071 h 2262197"/>
                  <a:gd name="connsiteX4" fmla="*/ 2422513 w 12379791"/>
                  <a:gd name="connsiteY4" fmla="*/ 571583 h 2262197"/>
                  <a:gd name="connsiteX5" fmla="*/ 2900235 w 12379791"/>
                  <a:gd name="connsiteY5" fmla="*/ 571583 h 2262197"/>
                  <a:gd name="connsiteX6" fmla="*/ 7829436 w 12379791"/>
                  <a:gd name="connsiteY6" fmla="*/ 622583 h 2262197"/>
                  <a:gd name="connsiteX7" fmla="*/ 8361431 w 12379791"/>
                  <a:gd name="connsiteY7" fmla="*/ 614077 h 2262197"/>
                  <a:gd name="connsiteX8" fmla="*/ 8982448 w 12379791"/>
                  <a:gd name="connsiteY8" fmla="*/ 1016825 h 2262197"/>
                  <a:gd name="connsiteX9" fmla="*/ 9552444 w 12379791"/>
                  <a:gd name="connsiteY9" fmla="*/ 1843657 h 2262197"/>
                  <a:gd name="connsiteX10" fmla="*/ 10483844 w 12379791"/>
                  <a:gd name="connsiteY10" fmla="*/ 2262196 h 2262197"/>
                  <a:gd name="connsiteX11" fmla="*/ 11529878 w 12379791"/>
                  <a:gd name="connsiteY11" fmla="*/ 1843659 h 2262197"/>
                  <a:gd name="connsiteX12" fmla="*/ 11820809 w 12379791"/>
                  <a:gd name="connsiteY12" fmla="*/ 1197924 h 2262197"/>
                  <a:gd name="connsiteX13" fmla="*/ 12131705 w 12379791"/>
                  <a:gd name="connsiteY13" fmla="*/ 751817 h 2262197"/>
                  <a:gd name="connsiteX14" fmla="*/ 12379791 w 12379791"/>
                  <a:gd name="connsiteY14" fmla="*/ 451503 h 2262197"/>
                  <a:gd name="connsiteX15" fmla="*/ 12379791 w 12379791"/>
                  <a:gd name="connsiteY15" fmla="*/ 13121 h 2262197"/>
                  <a:gd name="connsiteX16" fmla="*/ 11773475 w 12379791"/>
                  <a:gd name="connsiteY16" fmla="*/ 187696 h 2262197"/>
                  <a:gd name="connsiteX17" fmla="*/ 11393750 w 12379791"/>
                  <a:gd name="connsiteY17" fmla="*/ 799581 h 2262197"/>
                  <a:gd name="connsiteX18" fmla="*/ 10937005 w 12379791"/>
                  <a:gd name="connsiteY18" fmla="*/ 1413742 h 2262197"/>
                  <a:gd name="connsiteX19" fmla="*/ 10369210 w 12379791"/>
                  <a:gd name="connsiteY19" fmla="*/ 1370525 h 2262197"/>
                  <a:gd name="connsiteX20" fmla="*/ 9862313 w 12379791"/>
                  <a:gd name="connsiteY20" fmla="*/ 810956 h 2262197"/>
                  <a:gd name="connsiteX21" fmla="*/ 9450348 w 12379791"/>
                  <a:gd name="connsiteY21" fmla="*/ 299156 h 2262197"/>
                  <a:gd name="connsiteX22" fmla="*/ 8557477 w 12379791"/>
                  <a:gd name="connsiteY22" fmla="*/ 212886 h 2262197"/>
                  <a:gd name="connsiteX0" fmla="*/ 8557477 w 12379791"/>
                  <a:gd name="connsiteY0" fmla="*/ 212886 h 2262197"/>
                  <a:gd name="connsiteX1" fmla="*/ 414843 w 12379791"/>
                  <a:gd name="connsiteY1" fmla="*/ 689526 h 2262197"/>
                  <a:gd name="connsiteX2" fmla="*/ 1271644 w 12379791"/>
                  <a:gd name="connsiteY2" fmla="*/ 597083 h 2262197"/>
                  <a:gd name="connsiteX3" fmla="*/ 1966503 w 12379791"/>
                  <a:gd name="connsiteY3" fmla="*/ 631071 h 2262197"/>
                  <a:gd name="connsiteX4" fmla="*/ 2422513 w 12379791"/>
                  <a:gd name="connsiteY4" fmla="*/ 571583 h 2262197"/>
                  <a:gd name="connsiteX5" fmla="*/ 2900235 w 12379791"/>
                  <a:gd name="connsiteY5" fmla="*/ 571583 h 2262197"/>
                  <a:gd name="connsiteX6" fmla="*/ 8361431 w 12379791"/>
                  <a:gd name="connsiteY6" fmla="*/ 614077 h 2262197"/>
                  <a:gd name="connsiteX7" fmla="*/ 8982448 w 12379791"/>
                  <a:gd name="connsiteY7" fmla="*/ 1016825 h 2262197"/>
                  <a:gd name="connsiteX8" fmla="*/ 9552444 w 12379791"/>
                  <a:gd name="connsiteY8" fmla="*/ 1843657 h 2262197"/>
                  <a:gd name="connsiteX9" fmla="*/ 10483844 w 12379791"/>
                  <a:gd name="connsiteY9" fmla="*/ 2262196 h 2262197"/>
                  <a:gd name="connsiteX10" fmla="*/ 11529878 w 12379791"/>
                  <a:gd name="connsiteY10" fmla="*/ 1843659 h 2262197"/>
                  <a:gd name="connsiteX11" fmla="*/ 11820809 w 12379791"/>
                  <a:gd name="connsiteY11" fmla="*/ 1197924 h 2262197"/>
                  <a:gd name="connsiteX12" fmla="*/ 12131705 w 12379791"/>
                  <a:gd name="connsiteY12" fmla="*/ 751817 h 2262197"/>
                  <a:gd name="connsiteX13" fmla="*/ 12379791 w 12379791"/>
                  <a:gd name="connsiteY13" fmla="*/ 451503 h 2262197"/>
                  <a:gd name="connsiteX14" fmla="*/ 12379791 w 12379791"/>
                  <a:gd name="connsiteY14" fmla="*/ 13121 h 2262197"/>
                  <a:gd name="connsiteX15" fmla="*/ 11773475 w 12379791"/>
                  <a:gd name="connsiteY15" fmla="*/ 187696 h 2262197"/>
                  <a:gd name="connsiteX16" fmla="*/ 11393750 w 12379791"/>
                  <a:gd name="connsiteY16" fmla="*/ 799581 h 2262197"/>
                  <a:gd name="connsiteX17" fmla="*/ 10937005 w 12379791"/>
                  <a:gd name="connsiteY17" fmla="*/ 1413742 h 2262197"/>
                  <a:gd name="connsiteX18" fmla="*/ 10369210 w 12379791"/>
                  <a:gd name="connsiteY18" fmla="*/ 1370525 h 2262197"/>
                  <a:gd name="connsiteX19" fmla="*/ 9862313 w 12379791"/>
                  <a:gd name="connsiteY19" fmla="*/ 810956 h 2262197"/>
                  <a:gd name="connsiteX20" fmla="*/ 9450348 w 12379791"/>
                  <a:gd name="connsiteY20" fmla="*/ 299156 h 2262197"/>
                  <a:gd name="connsiteX21" fmla="*/ 8557477 w 12379791"/>
                  <a:gd name="connsiteY21" fmla="*/ 212886 h 2262197"/>
                  <a:gd name="connsiteX0" fmla="*/ 8557477 w 12379791"/>
                  <a:gd name="connsiteY0" fmla="*/ 212886 h 2262197"/>
                  <a:gd name="connsiteX1" fmla="*/ 414843 w 12379791"/>
                  <a:gd name="connsiteY1" fmla="*/ 689526 h 2262197"/>
                  <a:gd name="connsiteX2" fmla="*/ 1271644 w 12379791"/>
                  <a:gd name="connsiteY2" fmla="*/ 597083 h 2262197"/>
                  <a:gd name="connsiteX3" fmla="*/ 1966503 w 12379791"/>
                  <a:gd name="connsiteY3" fmla="*/ 631071 h 2262197"/>
                  <a:gd name="connsiteX4" fmla="*/ 2422513 w 12379791"/>
                  <a:gd name="connsiteY4" fmla="*/ 571583 h 2262197"/>
                  <a:gd name="connsiteX5" fmla="*/ 2900235 w 12379791"/>
                  <a:gd name="connsiteY5" fmla="*/ 571583 h 2262197"/>
                  <a:gd name="connsiteX6" fmla="*/ 8370387 w 12379791"/>
                  <a:gd name="connsiteY6" fmla="*/ 545838 h 2262197"/>
                  <a:gd name="connsiteX7" fmla="*/ 8982448 w 12379791"/>
                  <a:gd name="connsiteY7" fmla="*/ 1016825 h 2262197"/>
                  <a:gd name="connsiteX8" fmla="*/ 9552444 w 12379791"/>
                  <a:gd name="connsiteY8" fmla="*/ 1843657 h 2262197"/>
                  <a:gd name="connsiteX9" fmla="*/ 10483844 w 12379791"/>
                  <a:gd name="connsiteY9" fmla="*/ 2262196 h 2262197"/>
                  <a:gd name="connsiteX10" fmla="*/ 11529878 w 12379791"/>
                  <a:gd name="connsiteY10" fmla="*/ 1843659 h 2262197"/>
                  <a:gd name="connsiteX11" fmla="*/ 11820809 w 12379791"/>
                  <a:gd name="connsiteY11" fmla="*/ 1197924 h 2262197"/>
                  <a:gd name="connsiteX12" fmla="*/ 12131705 w 12379791"/>
                  <a:gd name="connsiteY12" fmla="*/ 751817 h 2262197"/>
                  <a:gd name="connsiteX13" fmla="*/ 12379791 w 12379791"/>
                  <a:gd name="connsiteY13" fmla="*/ 451503 h 2262197"/>
                  <a:gd name="connsiteX14" fmla="*/ 12379791 w 12379791"/>
                  <a:gd name="connsiteY14" fmla="*/ 13121 h 2262197"/>
                  <a:gd name="connsiteX15" fmla="*/ 11773475 w 12379791"/>
                  <a:gd name="connsiteY15" fmla="*/ 187696 h 2262197"/>
                  <a:gd name="connsiteX16" fmla="*/ 11393750 w 12379791"/>
                  <a:gd name="connsiteY16" fmla="*/ 799581 h 2262197"/>
                  <a:gd name="connsiteX17" fmla="*/ 10937005 w 12379791"/>
                  <a:gd name="connsiteY17" fmla="*/ 1413742 h 2262197"/>
                  <a:gd name="connsiteX18" fmla="*/ 10369210 w 12379791"/>
                  <a:gd name="connsiteY18" fmla="*/ 1370525 h 2262197"/>
                  <a:gd name="connsiteX19" fmla="*/ 9862313 w 12379791"/>
                  <a:gd name="connsiteY19" fmla="*/ 810956 h 2262197"/>
                  <a:gd name="connsiteX20" fmla="*/ 9450348 w 12379791"/>
                  <a:gd name="connsiteY20" fmla="*/ 299156 h 2262197"/>
                  <a:gd name="connsiteX21" fmla="*/ 8557477 w 12379791"/>
                  <a:gd name="connsiteY21" fmla="*/ 212886 h 2262197"/>
                  <a:gd name="connsiteX0" fmla="*/ 8557477 w 12379791"/>
                  <a:gd name="connsiteY0" fmla="*/ 212886 h 2262197"/>
                  <a:gd name="connsiteX1" fmla="*/ 414843 w 12379791"/>
                  <a:gd name="connsiteY1" fmla="*/ 689526 h 2262197"/>
                  <a:gd name="connsiteX2" fmla="*/ 1271644 w 12379791"/>
                  <a:gd name="connsiteY2" fmla="*/ 597083 h 2262197"/>
                  <a:gd name="connsiteX3" fmla="*/ 1966503 w 12379791"/>
                  <a:gd name="connsiteY3" fmla="*/ 631071 h 2262197"/>
                  <a:gd name="connsiteX4" fmla="*/ 2422513 w 12379791"/>
                  <a:gd name="connsiteY4" fmla="*/ 571583 h 2262197"/>
                  <a:gd name="connsiteX5" fmla="*/ 2900235 w 12379791"/>
                  <a:gd name="connsiteY5" fmla="*/ 571583 h 2262197"/>
                  <a:gd name="connsiteX6" fmla="*/ 8982448 w 12379791"/>
                  <a:gd name="connsiteY6" fmla="*/ 1016825 h 2262197"/>
                  <a:gd name="connsiteX7" fmla="*/ 9552444 w 12379791"/>
                  <a:gd name="connsiteY7" fmla="*/ 1843657 h 2262197"/>
                  <a:gd name="connsiteX8" fmla="*/ 10483844 w 12379791"/>
                  <a:gd name="connsiteY8" fmla="*/ 2262196 h 2262197"/>
                  <a:gd name="connsiteX9" fmla="*/ 11529878 w 12379791"/>
                  <a:gd name="connsiteY9" fmla="*/ 1843659 h 2262197"/>
                  <a:gd name="connsiteX10" fmla="*/ 11820809 w 12379791"/>
                  <a:gd name="connsiteY10" fmla="*/ 1197924 h 2262197"/>
                  <a:gd name="connsiteX11" fmla="*/ 12131705 w 12379791"/>
                  <a:gd name="connsiteY11" fmla="*/ 751817 h 2262197"/>
                  <a:gd name="connsiteX12" fmla="*/ 12379791 w 12379791"/>
                  <a:gd name="connsiteY12" fmla="*/ 451503 h 2262197"/>
                  <a:gd name="connsiteX13" fmla="*/ 12379791 w 12379791"/>
                  <a:gd name="connsiteY13" fmla="*/ 13121 h 2262197"/>
                  <a:gd name="connsiteX14" fmla="*/ 11773475 w 12379791"/>
                  <a:gd name="connsiteY14" fmla="*/ 187696 h 2262197"/>
                  <a:gd name="connsiteX15" fmla="*/ 11393750 w 12379791"/>
                  <a:gd name="connsiteY15" fmla="*/ 799581 h 2262197"/>
                  <a:gd name="connsiteX16" fmla="*/ 10937005 w 12379791"/>
                  <a:gd name="connsiteY16" fmla="*/ 1413742 h 2262197"/>
                  <a:gd name="connsiteX17" fmla="*/ 10369210 w 12379791"/>
                  <a:gd name="connsiteY17" fmla="*/ 1370525 h 2262197"/>
                  <a:gd name="connsiteX18" fmla="*/ 9862313 w 12379791"/>
                  <a:gd name="connsiteY18" fmla="*/ 810956 h 2262197"/>
                  <a:gd name="connsiteX19" fmla="*/ 9450348 w 12379791"/>
                  <a:gd name="connsiteY19" fmla="*/ 299156 h 2262197"/>
                  <a:gd name="connsiteX20" fmla="*/ 8557477 w 12379791"/>
                  <a:gd name="connsiteY20" fmla="*/ 212886 h 2262197"/>
                  <a:gd name="connsiteX0" fmla="*/ 8557477 w 12379791"/>
                  <a:gd name="connsiteY0" fmla="*/ 212886 h 2262197"/>
                  <a:gd name="connsiteX1" fmla="*/ 414843 w 12379791"/>
                  <a:gd name="connsiteY1" fmla="*/ 689526 h 2262197"/>
                  <a:gd name="connsiteX2" fmla="*/ 1271644 w 12379791"/>
                  <a:gd name="connsiteY2" fmla="*/ 597083 h 2262197"/>
                  <a:gd name="connsiteX3" fmla="*/ 1966503 w 12379791"/>
                  <a:gd name="connsiteY3" fmla="*/ 631071 h 2262197"/>
                  <a:gd name="connsiteX4" fmla="*/ 2422513 w 12379791"/>
                  <a:gd name="connsiteY4" fmla="*/ 571583 h 2262197"/>
                  <a:gd name="connsiteX5" fmla="*/ 8622972 w 12379791"/>
                  <a:gd name="connsiteY5" fmla="*/ 537465 h 2262197"/>
                  <a:gd name="connsiteX6" fmla="*/ 8982448 w 12379791"/>
                  <a:gd name="connsiteY6" fmla="*/ 1016825 h 2262197"/>
                  <a:gd name="connsiteX7" fmla="*/ 9552444 w 12379791"/>
                  <a:gd name="connsiteY7" fmla="*/ 1843657 h 2262197"/>
                  <a:gd name="connsiteX8" fmla="*/ 10483844 w 12379791"/>
                  <a:gd name="connsiteY8" fmla="*/ 2262196 h 2262197"/>
                  <a:gd name="connsiteX9" fmla="*/ 11529878 w 12379791"/>
                  <a:gd name="connsiteY9" fmla="*/ 1843659 h 2262197"/>
                  <a:gd name="connsiteX10" fmla="*/ 11820809 w 12379791"/>
                  <a:gd name="connsiteY10" fmla="*/ 1197924 h 2262197"/>
                  <a:gd name="connsiteX11" fmla="*/ 12131705 w 12379791"/>
                  <a:gd name="connsiteY11" fmla="*/ 751817 h 2262197"/>
                  <a:gd name="connsiteX12" fmla="*/ 12379791 w 12379791"/>
                  <a:gd name="connsiteY12" fmla="*/ 451503 h 2262197"/>
                  <a:gd name="connsiteX13" fmla="*/ 12379791 w 12379791"/>
                  <a:gd name="connsiteY13" fmla="*/ 13121 h 2262197"/>
                  <a:gd name="connsiteX14" fmla="*/ 11773475 w 12379791"/>
                  <a:gd name="connsiteY14" fmla="*/ 187696 h 2262197"/>
                  <a:gd name="connsiteX15" fmla="*/ 11393750 w 12379791"/>
                  <a:gd name="connsiteY15" fmla="*/ 799581 h 2262197"/>
                  <a:gd name="connsiteX16" fmla="*/ 10937005 w 12379791"/>
                  <a:gd name="connsiteY16" fmla="*/ 1413742 h 2262197"/>
                  <a:gd name="connsiteX17" fmla="*/ 10369210 w 12379791"/>
                  <a:gd name="connsiteY17" fmla="*/ 1370525 h 2262197"/>
                  <a:gd name="connsiteX18" fmla="*/ 9862313 w 12379791"/>
                  <a:gd name="connsiteY18" fmla="*/ 810956 h 2262197"/>
                  <a:gd name="connsiteX19" fmla="*/ 9450348 w 12379791"/>
                  <a:gd name="connsiteY19" fmla="*/ 299156 h 2262197"/>
                  <a:gd name="connsiteX20" fmla="*/ 8557477 w 12379791"/>
                  <a:gd name="connsiteY20" fmla="*/ 212886 h 2262197"/>
                  <a:gd name="connsiteX0" fmla="*/ 8568147 w 12390461"/>
                  <a:gd name="connsiteY0" fmla="*/ 212886 h 2262197"/>
                  <a:gd name="connsiteX1" fmla="*/ 425513 w 12390461"/>
                  <a:gd name="connsiteY1" fmla="*/ 689526 h 2262197"/>
                  <a:gd name="connsiteX2" fmla="*/ 1282314 w 12390461"/>
                  <a:gd name="connsiteY2" fmla="*/ 597083 h 2262197"/>
                  <a:gd name="connsiteX3" fmla="*/ 2433183 w 12390461"/>
                  <a:gd name="connsiteY3" fmla="*/ 571583 h 2262197"/>
                  <a:gd name="connsiteX4" fmla="*/ 8633642 w 12390461"/>
                  <a:gd name="connsiteY4" fmla="*/ 537465 h 2262197"/>
                  <a:gd name="connsiteX5" fmla="*/ 8993118 w 12390461"/>
                  <a:gd name="connsiteY5" fmla="*/ 1016825 h 2262197"/>
                  <a:gd name="connsiteX6" fmla="*/ 9563114 w 12390461"/>
                  <a:gd name="connsiteY6" fmla="*/ 1843657 h 2262197"/>
                  <a:gd name="connsiteX7" fmla="*/ 10494514 w 12390461"/>
                  <a:gd name="connsiteY7" fmla="*/ 2262196 h 2262197"/>
                  <a:gd name="connsiteX8" fmla="*/ 11540548 w 12390461"/>
                  <a:gd name="connsiteY8" fmla="*/ 1843659 h 2262197"/>
                  <a:gd name="connsiteX9" fmla="*/ 11831479 w 12390461"/>
                  <a:gd name="connsiteY9" fmla="*/ 1197924 h 2262197"/>
                  <a:gd name="connsiteX10" fmla="*/ 12142375 w 12390461"/>
                  <a:gd name="connsiteY10" fmla="*/ 751817 h 2262197"/>
                  <a:gd name="connsiteX11" fmla="*/ 12390461 w 12390461"/>
                  <a:gd name="connsiteY11" fmla="*/ 451503 h 2262197"/>
                  <a:gd name="connsiteX12" fmla="*/ 12390461 w 12390461"/>
                  <a:gd name="connsiteY12" fmla="*/ 13121 h 2262197"/>
                  <a:gd name="connsiteX13" fmla="*/ 11784145 w 12390461"/>
                  <a:gd name="connsiteY13" fmla="*/ 187696 h 2262197"/>
                  <a:gd name="connsiteX14" fmla="*/ 11404420 w 12390461"/>
                  <a:gd name="connsiteY14" fmla="*/ 799581 h 2262197"/>
                  <a:gd name="connsiteX15" fmla="*/ 10947675 w 12390461"/>
                  <a:gd name="connsiteY15" fmla="*/ 1413742 h 2262197"/>
                  <a:gd name="connsiteX16" fmla="*/ 10379880 w 12390461"/>
                  <a:gd name="connsiteY16" fmla="*/ 1370525 h 2262197"/>
                  <a:gd name="connsiteX17" fmla="*/ 9872983 w 12390461"/>
                  <a:gd name="connsiteY17" fmla="*/ 810956 h 2262197"/>
                  <a:gd name="connsiteX18" fmla="*/ 9461018 w 12390461"/>
                  <a:gd name="connsiteY18" fmla="*/ 299156 h 2262197"/>
                  <a:gd name="connsiteX19" fmla="*/ 8568147 w 12390461"/>
                  <a:gd name="connsiteY19" fmla="*/ 212886 h 2262197"/>
                  <a:gd name="connsiteX0" fmla="*/ 8767043 w 12589357"/>
                  <a:gd name="connsiteY0" fmla="*/ 212886 h 2262197"/>
                  <a:gd name="connsiteX1" fmla="*/ 624409 w 12589357"/>
                  <a:gd name="connsiteY1" fmla="*/ 689526 h 2262197"/>
                  <a:gd name="connsiteX2" fmla="*/ 1481210 w 12589357"/>
                  <a:gd name="connsiteY2" fmla="*/ 597083 h 2262197"/>
                  <a:gd name="connsiteX3" fmla="*/ 8832538 w 12589357"/>
                  <a:gd name="connsiteY3" fmla="*/ 537465 h 2262197"/>
                  <a:gd name="connsiteX4" fmla="*/ 9192014 w 12589357"/>
                  <a:gd name="connsiteY4" fmla="*/ 1016825 h 2262197"/>
                  <a:gd name="connsiteX5" fmla="*/ 9762010 w 12589357"/>
                  <a:gd name="connsiteY5" fmla="*/ 1843657 h 2262197"/>
                  <a:gd name="connsiteX6" fmla="*/ 10693410 w 12589357"/>
                  <a:gd name="connsiteY6" fmla="*/ 2262196 h 2262197"/>
                  <a:gd name="connsiteX7" fmla="*/ 11739444 w 12589357"/>
                  <a:gd name="connsiteY7" fmla="*/ 1843659 h 2262197"/>
                  <a:gd name="connsiteX8" fmla="*/ 12030375 w 12589357"/>
                  <a:gd name="connsiteY8" fmla="*/ 1197924 h 2262197"/>
                  <a:gd name="connsiteX9" fmla="*/ 12341271 w 12589357"/>
                  <a:gd name="connsiteY9" fmla="*/ 751817 h 2262197"/>
                  <a:gd name="connsiteX10" fmla="*/ 12589357 w 12589357"/>
                  <a:gd name="connsiteY10" fmla="*/ 451503 h 2262197"/>
                  <a:gd name="connsiteX11" fmla="*/ 12589357 w 12589357"/>
                  <a:gd name="connsiteY11" fmla="*/ 13121 h 2262197"/>
                  <a:gd name="connsiteX12" fmla="*/ 11983041 w 12589357"/>
                  <a:gd name="connsiteY12" fmla="*/ 187696 h 2262197"/>
                  <a:gd name="connsiteX13" fmla="*/ 11603316 w 12589357"/>
                  <a:gd name="connsiteY13" fmla="*/ 799581 h 2262197"/>
                  <a:gd name="connsiteX14" fmla="*/ 11146571 w 12589357"/>
                  <a:gd name="connsiteY14" fmla="*/ 1413742 h 2262197"/>
                  <a:gd name="connsiteX15" fmla="*/ 10578776 w 12589357"/>
                  <a:gd name="connsiteY15" fmla="*/ 1370525 h 2262197"/>
                  <a:gd name="connsiteX16" fmla="*/ 10071879 w 12589357"/>
                  <a:gd name="connsiteY16" fmla="*/ 810956 h 2262197"/>
                  <a:gd name="connsiteX17" fmla="*/ 9659914 w 12589357"/>
                  <a:gd name="connsiteY17" fmla="*/ 299156 h 2262197"/>
                  <a:gd name="connsiteX18" fmla="*/ 8767043 w 12589357"/>
                  <a:gd name="connsiteY18" fmla="*/ 212886 h 2262197"/>
                  <a:gd name="connsiteX0" fmla="*/ 8142648 w 11964962"/>
                  <a:gd name="connsiteY0" fmla="*/ 212886 h 2262197"/>
                  <a:gd name="connsiteX1" fmla="*/ 14 w 11964962"/>
                  <a:gd name="connsiteY1" fmla="*/ 689526 h 2262197"/>
                  <a:gd name="connsiteX2" fmla="*/ 8208143 w 11964962"/>
                  <a:gd name="connsiteY2" fmla="*/ 537465 h 2262197"/>
                  <a:gd name="connsiteX3" fmla="*/ 8567619 w 11964962"/>
                  <a:gd name="connsiteY3" fmla="*/ 1016825 h 2262197"/>
                  <a:gd name="connsiteX4" fmla="*/ 9137615 w 11964962"/>
                  <a:gd name="connsiteY4" fmla="*/ 1843657 h 2262197"/>
                  <a:gd name="connsiteX5" fmla="*/ 10069015 w 11964962"/>
                  <a:gd name="connsiteY5" fmla="*/ 2262196 h 2262197"/>
                  <a:gd name="connsiteX6" fmla="*/ 11115049 w 11964962"/>
                  <a:gd name="connsiteY6" fmla="*/ 1843659 h 2262197"/>
                  <a:gd name="connsiteX7" fmla="*/ 11405980 w 11964962"/>
                  <a:gd name="connsiteY7" fmla="*/ 1197924 h 2262197"/>
                  <a:gd name="connsiteX8" fmla="*/ 11716876 w 11964962"/>
                  <a:gd name="connsiteY8" fmla="*/ 751817 h 2262197"/>
                  <a:gd name="connsiteX9" fmla="*/ 11964962 w 11964962"/>
                  <a:gd name="connsiteY9" fmla="*/ 451503 h 2262197"/>
                  <a:gd name="connsiteX10" fmla="*/ 11964962 w 11964962"/>
                  <a:gd name="connsiteY10" fmla="*/ 13121 h 2262197"/>
                  <a:gd name="connsiteX11" fmla="*/ 11358646 w 11964962"/>
                  <a:gd name="connsiteY11" fmla="*/ 187696 h 2262197"/>
                  <a:gd name="connsiteX12" fmla="*/ 10978921 w 11964962"/>
                  <a:gd name="connsiteY12" fmla="*/ 799581 h 2262197"/>
                  <a:gd name="connsiteX13" fmla="*/ 10522176 w 11964962"/>
                  <a:gd name="connsiteY13" fmla="*/ 1413742 h 2262197"/>
                  <a:gd name="connsiteX14" fmla="*/ 9954381 w 11964962"/>
                  <a:gd name="connsiteY14" fmla="*/ 1370525 h 2262197"/>
                  <a:gd name="connsiteX15" fmla="*/ 9447484 w 11964962"/>
                  <a:gd name="connsiteY15" fmla="*/ 810956 h 2262197"/>
                  <a:gd name="connsiteX16" fmla="*/ 9035519 w 11964962"/>
                  <a:gd name="connsiteY16" fmla="*/ 299156 h 2262197"/>
                  <a:gd name="connsiteX17" fmla="*/ 8142648 w 11964962"/>
                  <a:gd name="connsiteY17" fmla="*/ 212886 h 2262197"/>
                  <a:gd name="connsiteX0" fmla="*/ 60187 w 3882501"/>
                  <a:gd name="connsiteY0" fmla="*/ 212886 h 2262197"/>
                  <a:gd name="connsiteX1" fmla="*/ 125682 w 3882501"/>
                  <a:gd name="connsiteY1" fmla="*/ 537465 h 2262197"/>
                  <a:gd name="connsiteX2" fmla="*/ 485158 w 3882501"/>
                  <a:gd name="connsiteY2" fmla="*/ 1016825 h 2262197"/>
                  <a:gd name="connsiteX3" fmla="*/ 1055154 w 3882501"/>
                  <a:gd name="connsiteY3" fmla="*/ 1843657 h 2262197"/>
                  <a:gd name="connsiteX4" fmla="*/ 1986554 w 3882501"/>
                  <a:gd name="connsiteY4" fmla="*/ 2262196 h 2262197"/>
                  <a:gd name="connsiteX5" fmla="*/ 3032588 w 3882501"/>
                  <a:gd name="connsiteY5" fmla="*/ 1843659 h 2262197"/>
                  <a:gd name="connsiteX6" fmla="*/ 3323519 w 3882501"/>
                  <a:gd name="connsiteY6" fmla="*/ 1197924 h 2262197"/>
                  <a:gd name="connsiteX7" fmla="*/ 3634415 w 3882501"/>
                  <a:gd name="connsiteY7" fmla="*/ 751817 h 2262197"/>
                  <a:gd name="connsiteX8" fmla="*/ 3882501 w 3882501"/>
                  <a:gd name="connsiteY8" fmla="*/ 451503 h 2262197"/>
                  <a:gd name="connsiteX9" fmla="*/ 3882501 w 3882501"/>
                  <a:gd name="connsiteY9" fmla="*/ 13121 h 2262197"/>
                  <a:gd name="connsiteX10" fmla="*/ 3276185 w 3882501"/>
                  <a:gd name="connsiteY10" fmla="*/ 187696 h 2262197"/>
                  <a:gd name="connsiteX11" fmla="*/ 2896460 w 3882501"/>
                  <a:gd name="connsiteY11" fmla="*/ 799581 h 2262197"/>
                  <a:gd name="connsiteX12" fmla="*/ 2439715 w 3882501"/>
                  <a:gd name="connsiteY12" fmla="*/ 1413742 h 2262197"/>
                  <a:gd name="connsiteX13" fmla="*/ 1871920 w 3882501"/>
                  <a:gd name="connsiteY13" fmla="*/ 1370525 h 2262197"/>
                  <a:gd name="connsiteX14" fmla="*/ 1365023 w 3882501"/>
                  <a:gd name="connsiteY14" fmla="*/ 810956 h 2262197"/>
                  <a:gd name="connsiteX15" fmla="*/ 953058 w 3882501"/>
                  <a:gd name="connsiteY15" fmla="*/ 299156 h 2262197"/>
                  <a:gd name="connsiteX16" fmla="*/ 60187 w 3882501"/>
                  <a:gd name="connsiteY16" fmla="*/ 212886 h 2262197"/>
                  <a:gd name="connsiteX0" fmla="*/ 60187 w 3882501"/>
                  <a:gd name="connsiteY0" fmla="*/ 212886 h 2262197"/>
                  <a:gd name="connsiteX1" fmla="*/ 125682 w 3882501"/>
                  <a:gd name="connsiteY1" fmla="*/ 537465 h 2262197"/>
                  <a:gd name="connsiteX2" fmla="*/ 485158 w 3882501"/>
                  <a:gd name="connsiteY2" fmla="*/ 1016825 h 2262197"/>
                  <a:gd name="connsiteX3" fmla="*/ 1055154 w 3882501"/>
                  <a:gd name="connsiteY3" fmla="*/ 1843657 h 2262197"/>
                  <a:gd name="connsiteX4" fmla="*/ 1986554 w 3882501"/>
                  <a:gd name="connsiteY4" fmla="*/ 2262196 h 2262197"/>
                  <a:gd name="connsiteX5" fmla="*/ 3032588 w 3882501"/>
                  <a:gd name="connsiteY5" fmla="*/ 1843659 h 2262197"/>
                  <a:gd name="connsiteX6" fmla="*/ 3323519 w 3882501"/>
                  <a:gd name="connsiteY6" fmla="*/ 1197924 h 2262197"/>
                  <a:gd name="connsiteX7" fmla="*/ 3634415 w 3882501"/>
                  <a:gd name="connsiteY7" fmla="*/ 751817 h 2262197"/>
                  <a:gd name="connsiteX8" fmla="*/ 3882501 w 3882501"/>
                  <a:gd name="connsiteY8" fmla="*/ 451503 h 2262197"/>
                  <a:gd name="connsiteX9" fmla="*/ 3882501 w 3882501"/>
                  <a:gd name="connsiteY9" fmla="*/ 13121 h 2262197"/>
                  <a:gd name="connsiteX10" fmla="*/ 3276185 w 3882501"/>
                  <a:gd name="connsiteY10" fmla="*/ 187696 h 2262197"/>
                  <a:gd name="connsiteX11" fmla="*/ 2896460 w 3882501"/>
                  <a:gd name="connsiteY11" fmla="*/ 799581 h 2262197"/>
                  <a:gd name="connsiteX12" fmla="*/ 2439715 w 3882501"/>
                  <a:gd name="connsiteY12" fmla="*/ 1413742 h 2262197"/>
                  <a:gd name="connsiteX13" fmla="*/ 1871920 w 3882501"/>
                  <a:gd name="connsiteY13" fmla="*/ 1370525 h 2262197"/>
                  <a:gd name="connsiteX14" fmla="*/ 1579966 w 3882501"/>
                  <a:gd name="connsiteY14" fmla="*/ 185419 h 2262197"/>
                  <a:gd name="connsiteX15" fmla="*/ 953058 w 3882501"/>
                  <a:gd name="connsiteY15" fmla="*/ 299156 h 2262197"/>
                  <a:gd name="connsiteX16" fmla="*/ 60187 w 3882501"/>
                  <a:gd name="connsiteY16" fmla="*/ 212886 h 2262197"/>
                  <a:gd name="connsiteX0" fmla="*/ 62173 w 3884487"/>
                  <a:gd name="connsiteY0" fmla="*/ 212886 h 2262197"/>
                  <a:gd name="connsiteX1" fmla="*/ 127668 w 3884487"/>
                  <a:gd name="connsiteY1" fmla="*/ 537465 h 2262197"/>
                  <a:gd name="connsiteX2" fmla="*/ 487144 w 3884487"/>
                  <a:gd name="connsiteY2" fmla="*/ 1016825 h 2262197"/>
                  <a:gd name="connsiteX3" fmla="*/ 1057140 w 3884487"/>
                  <a:gd name="connsiteY3" fmla="*/ 1843657 h 2262197"/>
                  <a:gd name="connsiteX4" fmla="*/ 1988540 w 3884487"/>
                  <a:gd name="connsiteY4" fmla="*/ 2262196 h 2262197"/>
                  <a:gd name="connsiteX5" fmla="*/ 3034574 w 3884487"/>
                  <a:gd name="connsiteY5" fmla="*/ 1843659 h 2262197"/>
                  <a:gd name="connsiteX6" fmla="*/ 3325505 w 3884487"/>
                  <a:gd name="connsiteY6" fmla="*/ 1197924 h 2262197"/>
                  <a:gd name="connsiteX7" fmla="*/ 3636401 w 3884487"/>
                  <a:gd name="connsiteY7" fmla="*/ 751817 h 2262197"/>
                  <a:gd name="connsiteX8" fmla="*/ 3884487 w 3884487"/>
                  <a:gd name="connsiteY8" fmla="*/ 451503 h 2262197"/>
                  <a:gd name="connsiteX9" fmla="*/ 3884487 w 3884487"/>
                  <a:gd name="connsiteY9" fmla="*/ 13121 h 2262197"/>
                  <a:gd name="connsiteX10" fmla="*/ 3278171 w 3884487"/>
                  <a:gd name="connsiteY10" fmla="*/ 187696 h 2262197"/>
                  <a:gd name="connsiteX11" fmla="*/ 2898446 w 3884487"/>
                  <a:gd name="connsiteY11" fmla="*/ 799581 h 2262197"/>
                  <a:gd name="connsiteX12" fmla="*/ 2441701 w 3884487"/>
                  <a:gd name="connsiteY12" fmla="*/ 1413742 h 2262197"/>
                  <a:gd name="connsiteX13" fmla="*/ 1873906 w 3884487"/>
                  <a:gd name="connsiteY13" fmla="*/ 1370525 h 2262197"/>
                  <a:gd name="connsiteX14" fmla="*/ 1581952 w 3884487"/>
                  <a:gd name="connsiteY14" fmla="*/ 185419 h 2262197"/>
                  <a:gd name="connsiteX15" fmla="*/ 981914 w 3884487"/>
                  <a:gd name="connsiteY15" fmla="*/ 94434 h 2262197"/>
                  <a:gd name="connsiteX16" fmla="*/ 62173 w 3884487"/>
                  <a:gd name="connsiteY16" fmla="*/ 212886 h 2262197"/>
                  <a:gd name="connsiteX0" fmla="*/ 62175 w 3884485"/>
                  <a:gd name="connsiteY0" fmla="*/ 30910 h 2262197"/>
                  <a:gd name="connsiteX1" fmla="*/ 127666 w 3884485"/>
                  <a:gd name="connsiteY1" fmla="*/ 537465 h 2262197"/>
                  <a:gd name="connsiteX2" fmla="*/ 487142 w 3884485"/>
                  <a:gd name="connsiteY2" fmla="*/ 1016825 h 2262197"/>
                  <a:gd name="connsiteX3" fmla="*/ 1057138 w 3884485"/>
                  <a:gd name="connsiteY3" fmla="*/ 1843657 h 2262197"/>
                  <a:gd name="connsiteX4" fmla="*/ 1988538 w 3884485"/>
                  <a:gd name="connsiteY4" fmla="*/ 2262196 h 2262197"/>
                  <a:gd name="connsiteX5" fmla="*/ 3034572 w 3884485"/>
                  <a:gd name="connsiteY5" fmla="*/ 1843659 h 2262197"/>
                  <a:gd name="connsiteX6" fmla="*/ 3325503 w 3884485"/>
                  <a:gd name="connsiteY6" fmla="*/ 1197924 h 2262197"/>
                  <a:gd name="connsiteX7" fmla="*/ 3636399 w 3884485"/>
                  <a:gd name="connsiteY7" fmla="*/ 751817 h 2262197"/>
                  <a:gd name="connsiteX8" fmla="*/ 3884485 w 3884485"/>
                  <a:gd name="connsiteY8" fmla="*/ 451503 h 2262197"/>
                  <a:gd name="connsiteX9" fmla="*/ 3884485 w 3884485"/>
                  <a:gd name="connsiteY9" fmla="*/ 13121 h 2262197"/>
                  <a:gd name="connsiteX10" fmla="*/ 3278169 w 3884485"/>
                  <a:gd name="connsiteY10" fmla="*/ 187696 h 2262197"/>
                  <a:gd name="connsiteX11" fmla="*/ 2898444 w 3884485"/>
                  <a:gd name="connsiteY11" fmla="*/ 799581 h 2262197"/>
                  <a:gd name="connsiteX12" fmla="*/ 2441699 w 3884485"/>
                  <a:gd name="connsiteY12" fmla="*/ 1413742 h 2262197"/>
                  <a:gd name="connsiteX13" fmla="*/ 1873904 w 3884485"/>
                  <a:gd name="connsiteY13" fmla="*/ 1370525 h 2262197"/>
                  <a:gd name="connsiteX14" fmla="*/ 1581950 w 3884485"/>
                  <a:gd name="connsiteY14" fmla="*/ 185419 h 2262197"/>
                  <a:gd name="connsiteX15" fmla="*/ 981912 w 3884485"/>
                  <a:gd name="connsiteY15" fmla="*/ 94434 h 2262197"/>
                  <a:gd name="connsiteX16" fmla="*/ 62175 w 3884485"/>
                  <a:gd name="connsiteY16" fmla="*/ 30910 h 2262197"/>
                  <a:gd name="connsiteX0" fmla="*/ 61263 w 3883573"/>
                  <a:gd name="connsiteY0" fmla="*/ 30910 h 2262197"/>
                  <a:gd name="connsiteX1" fmla="*/ 126754 w 3883573"/>
                  <a:gd name="connsiteY1" fmla="*/ 537465 h 2262197"/>
                  <a:gd name="connsiteX2" fmla="*/ 459363 w 3883573"/>
                  <a:gd name="connsiteY2" fmla="*/ 1062319 h 2262197"/>
                  <a:gd name="connsiteX3" fmla="*/ 1056226 w 3883573"/>
                  <a:gd name="connsiteY3" fmla="*/ 1843657 h 2262197"/>
                  <a:gd name="connsiteX4" fmla="*/ 1987626 w 3883573"/>
                  <a:gd name="connsiteY4" fmla="*/ 2262196 h 2262197"/>
                  <a:gd name="connsiteX5" fmla="*/ 3033660 w 3883573"/>
                  <a:gd name="connsiteY5" fmla="*/ 1843659 h 2262197"/>
                  <a:gd name="connsiteX6" fmla="*/ 3324591 w 3883573"/>
                  <a:gd name="connsiteY6" fmla="*/ 1197924 h 2262197"/>
                  <a:gd name="connsiteX7" fmla="*/ 3635487 w 3883573"/>
                  <a:gd name="connsiteY7" fmla="*/ 751817 h 2262197"/>
                  <a:gd name="connsiteX8" fmla="*/ 3883573 w 3883573"/>
                  <a:gd name="connsiteY8" fmla="*/ 451503 h 2262197"/>
                  <a:gd name="connsiteX9" fmla="*/ 3883573 w 3883573"/>
                  <a:gd name="connsiteY9" fmla="*/ 13121 h 2262197"/>
                  <a:gd name="connsiteX10" fmla="*/ 3277257 w 3883573"/>
                  <a:gd name="connsiteY10" fmla="*/ 187696 h 2262197"/>
                  <a:gd name="connsiteX11" fmla="*/ 2897532 w 3883573"/>
                  <a:gd name="connsiteY11" fmla="*/ 799581 h 2262197"/>
                  <a:gd name="connsiteX12" fmla="*/ 2440787 w 3883573"/>
                  <a:gd name="connsiteY12" fmla="*/ 1413742 h 2262197"/>
                  <a:gd name="connsiteX13" fmla="*/ 1872992 w 3883573"/>
                  <a:gd name="connsiteY13" fmla="*/ 1370525 h 2262197"/>
                  <a:gd name="connsiteX14" fmla="*/ 1581038 w 3883573"/>
                  <a:gd name="connsiteY14" fmla="*/ 185419 h 2262197"/>
                  <a:gd name="connsiteX15" fmla="*/ 981000 w 3883573"/>
                  <a:gd name="connsiteY15" fmla="*/ 94434 h 2262197"/>
                  <a:gd name="connsiteX16" fmla="*/ 61263 w 3883573"/>
                  <a:gd name="connsiteY16" fmla="*/ 30910 h 2262197"/>
                  <a:gd name="connsiteX0" fmla="*/ 61263 w 3883573"/>
                  <a:gd name="connsiteY0" fmla="*/ 30910 h 2277068"/>
                  <a:gd name="connsiteX1" fmla="*/ 126754 w 3883573"/>
                  <a:gd name="connsiteY1" fmla="*/ 537465 h 2277068"/>
                  <a:gd name="connsiteX2" fmla="*/ 459363 w 3883573"/>
                  <a:gd name="connsiteY2" fmla="*/ 1062319 h 2277068"/>
                  <a:gd name="connsiteX3" fmla="*/ 1235346 w 3883573"/>
                  <a:gd name="connsiteY3" fmla="*/ 1252241 h 2277068"/>
                  <a:gd name="connsiteX4" fmla="*/ 1987626 w 3883573"/>
                  <a:gd name="connsiteY4" fmla="*/ 2262196 h 2277068"/>
                  <a:gd name="connsiteX5" fmla="*/ 3033660 w 3883573"/>
                  <a:gd name="connsiteY5" fmla="*/ 1843659 h 2277068"/>
                  <a:gd name="connsiteX6" fmla="*/ 3324591 w 3883573"/>
                  <a:gd name="connsiteY6" fmla="*/ 1197924 h 2277068"/>
                  <a:gd name="connsiteX7" fmla="*/ 3635487 w 3883573"/>
                  <a:gd name="connsiteY7" fmla="*/ 751817 h 2277068"/>
                  <a:gd name="connsiteX8" fmla="*/ 3883573 w 3883573"/>
                  <a:gd name="connsiteY8" fmla="*/ 451503 h 2277068"/>
                  <a:gd name="connsiteX9" fmla="*/ 3883573 w 3883573"/>
                  <a:gd name="connsiteY9" fmla="*/ 13121 h 2277068"/>
                  <a:gd name="connsiteX10" fmla="*/ 3277257 w 3883573"/>
                  <a:gd name="connsiteY10" fmla="*/ 187696 h 2277068"/>
                  <a:gd name="connsiteX11" fmla="*/ 2897532 w 3883573"/>
                  <a:gd name="connsiteY11" fmla="*/ 799581 h 2277068"/>
                  <a:gd name="connsiteX12" fmla="*/ 2440787 w 3883573"/>
                  <a:gd name="connsiteY12" fmla="*/ 1413742 h 2277068"/>
                  <a:gd name="connsiteX13" fmla="*/ 1872992 w 3883573"/>
                  <a:gd name="connsiteY13" fmla="*/ 1370525 h 2277068"/>
                  <a:gd name="connsiteX14" fmla="*/ 1581038 w 3883573"/>
                  <a:gd name="connsiteY14" fmla="*/ 185419 h 2277068"/>
                  <a:gd name="connsiteX15" fmla="*/ 981000 w 3883573"/>
                  <a:gd name="connsiteY15" fmla="*/ 94434 h 2277068"/>
                  <a:gd name="connsiteX16" fmla="*/ 61263 w 3883573"/>
                  <a:gd name="connsiteY16" fmla="*/ 30910 h 2277068"/>
                  <a:gd name="connsiteX0" fmla="*/ 61263 w 3883573"/>
                  <a:gd name="connsiteY0" fmla="*/ 30910 h 2277068"/>
                  <a:gd name="connsiteX1" fmla="*/ 126754 w 3883573"/>
                  <a:gd name="connsiteY1" fmla="*/ 537465 h 2277068"/>
                  <a:gd name="connsiteX2" fmla="*/ 459363 w 3883573"/>
                  <a:gd name="connsiteY2" fmla="*/ 1062319 h 2277068"/>
                  <a:gd name="connsiteX3" fmla="*/ 1235346 w 3883573"/>
                  <a:gd name="connsiteY3" fmla="*/ 1252241 h 2277068"/>
                  <a:gd name="connsiteX4" fmla="*/ 1987626 w 3883573"/>
                  <a:gd name="connsiteY4" fmla="*/ 2262196 h 2277068"/>
                  <a:gd name="connsiteX5" fmla="*/ 3033660 w 3883573"/>
                  <a:gd name="connsiteY5" fmla="*/ 1843659 h 2277068"/>
                  <a:gd name="connsiteX6" fmla="*/ 3324591 w 3883573"/>
                  <a:gd name="connsiteY6" fmla="*/ 1197924 h 2277068"/>
                  <a:gd name="connsiteX7" fmla="*/ 3635487 w 3883573"/>
                  <a:gd name="connsiteY7" fmla="*/ 751817 h 2277068"/>
                  <a:gd name="connsiteX8" fmla="*/ 3883573 w 3883573"/>
                  <a:gd name="connsiteY8" fmla="*/ 451503 h 2277068"/>
                  <a:gd name="connsiteX9" fmla="*/ 3883573 w 3883573"/>
                  <a:gd name="connsiteY9" fmla="*/ 13121 h 2277068"/>
                  <a:gd name="connsiteX10" fmla="*/ 3277257 w 3883573"/>
                  <a:gd name="connsiteY10" fmla="*/ 187696 h 2277068"/>
                  <a:gd name="connsiteX11" fmla="*/ 2897532 w 3883573"/>
                  <a:gd name="connsiteY11" fmla="*/ 799581 h 2277068"/>
                  <a:gd name="connsiteX12" fmla="*/ 2440787 w 3883573"/>
                  <a:gd name="connsiteY12" fmla="*/ 1413742 h 2277068"/>
                  <a:gd name="connsiteX13" fmla="*/ 2320781 w 3883573"/>
                  <a:gd name="connsiteY13" fmla="*/ 210442 h 2277068"/>
                  <a:gd name="connsiteX14" fmla="*/ 1581038 w 3883573"/>
                  <a:gd name="connsiteY14" fmla="*/ 185419 h 2277068"/>
                  <a:gd name="connsiteX15" fmla="*/ 981000 w 3883573"/>
                  <a:gd name="connsiteY15" fmla="*/ 94434 h 2277068"/>
                  <a:gd name="connsiteX16" fmla="*/ 61263 w 3883573"/>
                  <a:gd name="connsiteY16" fmla="*/ 30910 h 2277068"/>
                  <a:gd name="connsiteX0" fmla="*/ 61263 w 3883573"/>
                  <a:gd name="connsiteY0" fmla="*/ 30910 h 2277068"/>
                  <a:gd name="connsiteX1" fmla="*/ 126754 w 3883573"/>
                  <a:gd name="connsiteY1" fmla="*/ 537465 h 2277068"/>
                  <a:gd name="connsiteX2" fmla="*/ 459363 w 3883573"/>
                  <a:gd name="connsiteY2" fmla="*/ 1062319 h 2277068"/>
                  <a:gd name="connsiteX3" fmla="*/ 1235346 w 3883573"/>
                  <a:gd name="connsiteY3" fmla="*/ 1252241 h 2277068"/>
                  <a:gd name="connsiteX4" fmla="*/ 1987626 w 3883573"/>
                  <a:gd name="connsiteY4" fmla="*/ 2262196 h 2277068"/>
                  <a:gd name="connsiteX5" fmla="*/ 3033660 w 3883573"/>
                  <a:gd name="connsiteY5" fmla="*/ 1843659 h 2277068"/>
                  <a:gd name="connsiteX6" fmla="*/ 3324591 w 3883573"/>
                  <a:gd name="connsiteY6" fmla="*/ 1197924 h 2277068"/>
                  <a:gd name="connsiteX7" fmla="*/ 3635487 w 3883573"/>
                  <a:gd name="connsiteY7" fmla="*/ 751817 h 2277068"/>
                  <a:gd name="connsiteX8" fmla="*/ 3883573 w 3883573"/>
                  <a:gd name="connsiteY8" fmla="*/ 451503 h 2277068"/>
                  <a:gd name="connsiteX9" fmla="*/ 3883573 w 3883573"/>
                  <a:gd name="connsiteY9" fmla="*/ 13121 h 2277068"/>
                  <a:gd name="connsiteX10" fmla="*/ 3277257 w 3883573"/>
                  <a:gd name="connsiteY10" fmla="*/ 187696 h 2277068"/>
                  <a:gd name="connsiteX11" fmla="*/ 2897532 w 3883573"/>
                  <a:gd name="connsiteY11" fmla="*/ 799581 h 2277068"/>
                  <a:gd name="connsiteX12" fmla="*/ 2320781 w 3883573"/>
                  <a:gd name="connsiteY12" fmla="*/ 210442 h 2277068"/>
                  <a:gd name="connsiteX13" fmla="*/ 1581038 w 3883573"/>
                  <a:gd name="connsiteY13" fmla="*/ 185419 h 2277068"/>
                  <a:gd name="connsiteX14" fmla="*/ 981000 w 3883573"/>
                  <a:gd name="connsiteY14" fmla="*/ 94434 h 2277068"/>
                  <a:gd name="connsiteX15" fmla="*/ 61263 w 3883573"/>
                  <a:gd name="connsiteY15" fmla="*/ 30910 h 2277068"/>
                  <a:gd name="connsiteX0" fmla="*/ 61263 w 3883573"/>
                  <a:gd name="connsiteY0" fmla="*/ 30910 h 2277068"/>
                  <a:gd name="connsiteX1" fmla="*/ 126754 w 3883573"/>
                  <a:gd name="connsiteY1" fmla="*/ 537465 h 2277068"/>
                  <a:gd name="connsiteX2" fmla="*/ 459363 w 3883573"/>
                  <a:gd name="connsiteY2" fmla="*/ 1062319 h 2277068"/>
                  <a:gd name="connsiteX3" fmla="*/ 1235346 w 3883573"/>
                  <a:gd name="connsiteY3" fmla="*/ 1252241 h 2277068"/>
                  <a:gd name="connsiteX4" fmla="*/ 1987626 w 3883573"/>
                  <a:gd name="connsiteY4" fmla="*/ 2262196 h 2277068"/>
                  <a:gd name="connsiteX5" fmla="*/ 3033660 w 3883573"/>
                  <a:gd name="connsiteY5" fmla="*/ 1843659 h 2277068"/>
                  <a:gd name="connsiteX6" fmla="*/ 3324591 w 3883573"/>
                  <a:gd name="connsiteY6" fmla="*/ 1197924 h 2277068"/>
                  <a:gd name="connsiteX7" fmla="*/ 3635487 w 3883573"/>
                  <a:gd name="connsiteY7" fmla="*/ 751817 h 2277068"/>
                  <a:gd name="connsiteX8" fmla="*/ 3883573 w 3883573"/>
                  <a:gd name="connsiteY8" fmla="*/ 451503 h 2277068"/>
                  <a:gd name="connsiteX9" fmla="*/ 3883573 w 3883573"/>
                  <a:gd name="connsiteY9" fmla="*/ 13121 h 2277068"/>
                  <a:gd name="connsiteX10" fmla="*/ 3277257 w 3883573"/>
                  <a:gd name="connsiteY10" fmla="*/ 187696 h 2277068"/>
                  <a:gd name="connsiteX11" fmla="*/ 2790063 w 3883573"/>
                  <a:gd name="connsiteY11" fmla="*/ 287779 h 2277068"/>
                  <a:gd name="connsiteX12" fmla="*/ 2320781 w 3883573"/>
                  <a:gd name="connsiteY12" fmla="*/ 210442 h 2277068"/>
                  <a:gd name="connsiteX13" fmla="*/ 1581038 w 3883573"/>
                  <a:gd name="connsiteY13" fmla="*/ 185419 h 2277068"/>
                  <a:gd name="connsiteX14" fmla="*/ 981000 w 3883573"/>
                  <a:gd name="connsiteY14" fmla="*/ 94434 h 2277068"/>
                  <a:gd name="connsiteX15" fmla="*/ 61263 w 3883573"/>
                  <a:gd name="connsiteY15" fmla="*/ 30910 h 2277068"/>
                  <a:gd name="connsiteX0" fmla="*/ 61263 w 3883573"/>
                  <a:gd name="connsiteY0" fmla="*/ 30910 h 1851428"/>
                  <a:gd name="connsiteX1" fmla="*/ 126754 w 3883573"/>
                  <a:gd name="connsiteY1" fmla="*/ 537465 h 1851428"/>
                  <a:gd name="connsiteX2" fmla="*/ 459363 w 3883573"/>
                  <a:gd name="connsiteY2" fmla="*/ 1062319 h 1851428"/>
                  <a:gd name="connsiteX3" fmla="*/ 1235346 w 3883573"/>
                  <a:gd name="connsiteY3" fmla="*/ 1252241 h 1851428"/>
                  <a:gd name="connsiteX4" fmla="*/ 2023449 w 3883573"/>
                  <a:gd name="connsiteY4" fmla="*/ 999753 h 1851428"/>
                  <a:gd name="connsiteX5" fmla="*/ 3033660 w 3883573"/>
                  <a:gd name="connsiteY5" fmla="*/ 1843659 h 1851428"/>
                  <a:gd name="connsiteX6" fmla="*/ 3324591 w 3883573"/>
                  <a:gd name="connsiteY6" fmla="*/ 1197924 h 1851428"/>
                  <a:gd name="connsiteX7" fmla="*/ 3635487 w 3883573"/>
                  <a:gd name="connsiteY7" fmla="*/ 751817 h 1851428"/>
                  <a:gd name="connsiteX8" fmla="*/ 3883573 w 3883573"/>
                  <a:gd name="connsiteY8" fmla="*/ 451503 h 1851428"/>
                  <a:gd name="connsiteX9" fmla="*/ 3883573 w 3883573"/>
                  <a:gd name="connsiteY9" fmla="*/ 13121 h 1851428"/>
                  <a:gd name="connsiteX10" fmla="*/ 3277257 w 3883573"/>
                  <a:gd name="connsiteY10" fmla="*/ 187696 h 1851428"/>
                  <a:gd name="connsiteX11" fmla="*/ 2790063 w 3883573"/>
                  <a:gd name="connsiteY11" fmla="*/ 287779 h 1851428"/>
                  <a:gd name="connsiteX12" fmla="*/ 2320781 w 3883573"/>
                  <a:gd name="connsiteY12" fmla="*/ 210442 h 1851428"/>
                  <a:gd name="connsiteX13" fmla="*/ 1581038 w 3883573"/>
                  <a:gd name="connsiteY13" fmla="*/ 185419 h 1851428"/>
                  <a:gd name="connsiteX14" fmla="*/ 981000 w 3883573"/>
                  <a:gd name="connsiteY14" fmla="*/ 94434 h 1851428"/>
                  <a:gd name="connsiteX15" fmla="*/ 61263 w 3883573"/>
                  <a:gd name="connsiteY15" fmla="*/ 30910 h 1851428"/>
                  <a:gd name="connsiteX0" fmla="*/ 61263 w 3883573"/>
                  <a:gd name="connsiteY0" fmla="*/ 30910 h 1847024"/>
                  <a:gd name="connsiteX1" fmla="*/ 126754 w 3883573"/>
                  <a:gd name="connsiteY1" fmla="*/ 537465 h 1847024"/>
                  <a:gd name="connsiteX2" fmla="*/ 459363 w 3883573"/>
                  <a:gd name="connsiteY2" fmla="*/ 1062319 h 1847024"/>
                  <a:gd name="connsiteX3" fmla="*/ 1235346 w 3883573"/>
                  <a:gd name="connsiteY3" fmla="*/ 1252241 h 1847024"/>
                  <a:gd name="connsiteX4" fmla="*/ 2023449 w 3883573"/>
                  <a:gd name="connsiteY4" fmla="*/ 999753 h 1847024"/>
                  <a:gd name="connsiteX5" fmla="*/ 2490859 w 3883573"/>
                  <a:gd name="connsiteY5" fmla="*/ 1155322 h 1847024"/>
                  <a:gd name="connsiteX6" fmla="*/ 3033660 w 3883573"/>
                  <a:gd name="connsiteY6" fmla="*/ 1843659 h 1847024"/>
                  <a:gd name="connsiteX7" fmla="*/ 3324591 w 3883573"/>
                  <a:gd name="connsiteY7" fmla="*/ 1197924 h 1847024"/>
                  <a:gd name="connsiteX8" fmla="*/ 3635487 w 3883573"/>
                  <a:gd name="connsiteY8" fmla="*/ 751817 h 1847024"/>
                  <a:gd name="connsiteX9" fmla="*/ 3883573 w 3883573"/>
                  <a:gd name="connsiteY9" fmla="*/ 451503 h 1847024"/>
                  <a:gd name="connsiteX10" fmla="*/ 3883573 w 3883573"/>
                  <a:gd name="connsiteY10" fmla="*/ 13121 h 1847024"/>
                  <a:gd name="connsiteX11" fmla="*/ 3277257 w 3883573"/>
                  <a:gd name="connsiteY11" fmla="*/ 187696 h 1847024"/>
                  <a:gd name="connsiteX12" fmla="*/ 2790063 w 3883573"/>
                  <a:gd name="connsiteY12" fmla="*/ 287779 h 1847024"/>
                  <a:gd name="connsiteX13" fmla="*/ 2320781 w 3883573"/>
                  <a:gd name="connsiteY13" fmla="*/ 210442 h 1847024"/>
                  <a:gd name="connsiteX14" fmla="*/ 1581038 w 3883573"/>
                  <a:gd name="connsiteY14" fmla="*/ 185419 h 1847024"/>
                  <a:gd name="connsiteX15" fmla="*/ 981000 w 3883573"/>
                  <a:gd name="connsiteY15" fmla="*/ 94434 h 1847024"/>
                  <a:gd name="connsiteX16" fmla="*/ 61263 w 3883573"/>
                  <a:gd name="connsiteY16" fmla="*/ 30910 h 1847024"/>
                  <a:gd name="connsiteX0" fmla="*/ 61263 w 3883573"/>
                  <a:gd name="connsiteY0" fmla="*/ 30910 h 1847024"/>
                  <a:gd name="connsiteX1" fmla="*/ 126754 w 3883573"/>
                  <a:gd name="connsiteY1" fmla="*/ 537465 h 1847024"/>
                  <a:gd name="connsiteX2" fmla="*/ 459363 w 3883573"/>
                  <a:gd name="connsiteY2" fmla="*/ 1062319 h 1847024"/>
                  <a:gd name="connsiteX3" fmla="*/ 1235346 w 3883573"/>
                  <a:gd name="connsiteY3" fmla="*/ 1252241 h 1847024"/>
                  <a:gd name="connsiteX4" fmla="*/ 1736869 w 3883573"/>
                  <a:gd name="connsiteY4" fmla="*/ 1011123 h 1847024"/>
                  <a:gd name="connsiteX5" fmla="*/ 2490859 w 3883573"/>
                  <a:gd name="connsiteY5" fmla="*/ 1155322 h 1847024"/>
                  <a:gd name="connsiteX6" fmla="*/ 3033660 w 3883573"/>
                  <a:gd name="connsiteY6" fmla="*/ 1843659 h 1847024"/>
                  <a:gd name="connsiteX7" fmla="*/ 3324591 w 3883573"/>
                  <a:gd name="connsiteY7" fmla="*/ 1197924 h 1847024"/>
                  <a:gd name="connsiteX8" fmla="*/ 3635487 w 3883573"/>
                  <a:gd name="connsiteY8" fmla="*/ 751817 h 1847024"/>
                  <a:gd name="connsiteX9" fmla="*/ 3883573 w 3883573"/>
                  <a:gd name="connsiteY9" fmla="*/ 451503 h 1847024"/>
                  <a:gd name="connsiteX10" fmla="*/ 3883573 w 3883573"/>
                  <a:gd name="connsiteY10" fmla="*/ 13121 h 1847024"/>
                  <a:gd name="connsiteX11" fmla="*/ 3277257 w 3883573"/>
                  <a:gd name="connsiteY11" fmla="*/ 187696 h 1847024"/>
                  <a:gd name="connsiteX12" fmla="*/ 2790063 w 3883573"/>
                  <a:gd name="connsiteY12" fmla="*/ 287779 h 1847024"/>
                  <a:gd name="connsiteX13" fmla="*/ 2320781 w 3883573"/>
                  <a:gd name="connsiteY13" fmla="*/ 210442 h 1847024"/>
                  <a:gd name="connsiteX14" fmla="*/ 1581038 w 3883573"/>
                  <a:gd name="connsiteY14" fmla="*/ 185419 h 1847024"/>
                  <a:gd name="connsiteX15" fmla="*/ 981000 w 3883573"/>
                  <a:gd name="connsiteY15" fmla="*/ 94434 h 1847024"/>
                  <a:gd name="connsiteX16" fmla="*/ 61263 w 3883573"/>
                  <a:gd name="connsiteY16" fmla="*/ 30910 h 1847024"/>
                  <a:gd name="connsiteX0" fmla="*/ 61263 w 3883573"/>
                  <a:gd name="connsiteY0" fmla="*/ 30910 h 1847024"/>
                  <a:gd name="connsiteX1" fmla="*/ 126754 w 3883573"/>
                  <a:gd name="connsiteY1" fmla="*/ 537465 h 1847024"/>
                  <a:gd name="connsiteX2" fmla="*/ 459363 w 3883573"/>
                  <a:gd name="connsiteY2" fmla="*/ 1062319 h 1847024"/>
                  <a:gd name="connsiteX3" fmla="*/ 903987 w 3883573"/>
                  <a:gd name="connsiteY3" fmla="*/ 1127135 h 1847024"/>
                  <a:gd name="connsiteX4" fmla="*/ 1736869 w 3883573"/>
                  <a:gd name="connsiteY4" fmla="*/ 1011123 h 1847024"/>
                  <a:gd name="connsiteX5" fmla="*/ 2490859 w 3883573"/>
                  <a:gd name="connsiteY5" fmla="*/ 1155322 h 1847024"/>
                  <a:gd name="connsiteX6" fmla="*/ 3033660 w 3883573"/>
                  <a:gd name="connsiteY6" fmla="*/ 1843659 h 1847024"/>
                  <a:gd name="connsiteX7" fmla="*/ 3324591 w 3883573"/>
                  <a:gd name="connsiteY7" fmla="*/ 1197924 h 1847024"/>
                  <a:gd name="connsiteX8" fmla="*/ 3635487 w 3883573"/>
                  <a:gd name="connsiteY8" fmla="*/ 751817 h 1847024"/>
                  <a:gd name="connsiteX9" fmla="*/ 3883573 w 3883573"/>
                  <a:gd name="connsiteY9" fmla="*/ 451503 h 1847024"/>
                  <a:gd name="connsiteX10" fmla="*/ 3883573 w 3883573"/>
                  <a:gd name="connsiteY10" fmla="*/ 13121 h 1847024"/>
                  <a:gd name="connsiteX11" fmla="*/ 3277257 w 3883573"/>
                  <a:gd name="connsiteY11" fmla="*/ 187696 h 1847024"/>
                  <a:gd name="connsiteX12" fmla="*/ 2790063 w 3883573"/>
                  <a:gd name="connsiteY12" fmla="*/ 287779 h 1847024"/>
                  <a:gd name="connsiteX13" fmla="*/ 2320781 w 3883573"/>
                  <a:gd name="connsiteY13" fmla="*/ 210442 h 1847024"/>
                  <a:gd name="connsiteX14" fmla="*/ 1581038 w 3883573"/>
                  <a:gd name="connsiteY14" fmla="*/ 185419 h 1847024"/>
                  <a:gd name="connsiteX15" fmla="*/ 981000 w 3883573"/>
                  <a:gd name="connsiteY15" fmla="*/ 94434 h 1847024"/>
                  <a:gd name="connsiteX16" fmla="*/ 61263 w 3883573"/>
                  <a:gd name="connsiteY16" fmla="*/ 30910 h 1847024"/>
                  <a:gd name="connsiteX0" fmla="*/ 61263 w 3883573"/>
                  <a:gd name="connsiteY0" fmla="*/ 30910 h 1847000"/>
                  <a:gd name="connsiteX1" fmla="*/ 126754 w 3883573"/>
                  <a:gd name="connsiteY1" fmla="*/ 537465 h 1847000"/>
                  <a:gd name="connsiteX2" fmla="*/ 459363 w 3883573"/>
                  <a:gd name="connsiteY2" fmla="*/ 1062319 h 1847000"/>
                  <a:gd name="connsiteX3" fmla="*/ 903987 w 3883573"/>
                  <a:gd name="connsiteY3" fmla="*/ 1127135 h 1847000"/>
                  <a:gd name="connsiteX4" fmla="*/ 1736869 w 3883573"/>
                  <a:gd name="connsiteY4" fmla="*/ 1011123 h 1847000"/>
                  <a:gd name="connsiteX5" fmla="*/ 2069939 w 3883573"/>
                  <a:gd name="connsiteY5" fmla="*/ 1166694 h 1847000"/>
                  <a:gd name="connsiteX6" fmla="*/ 2490859 w 3883573"/>
                  <a:gd name="connsiteY6" fmla="*/ 1155322 h 1847000"/>
                  <a:gd name="connsiteX7" fmla="*/ 3033660 w 3883573"/>
                  <a:gd name="connsiteY7" fmla="*/ 1843659 h 1847000"/>
                  <a:gd name="connsiteX8" fmla="*/ 3324591 w 3883573"/>
                  <a:gd name="connsiteY8" fmla="*/ 1197924 h 1847000"/>
                  <a:gd name="connsiteX9" fmla="*/ 3635487 w 3883573"/>
                  <a:gd name="connsiteY9" fmla="*/ 751817 h 1847000"/>
                  <a:gd name="connsiteX10" fmla="*/ 3883573 w 3883573"/>
                  <a:gd name="connsiteY10" fmla="*/ 451503 h 1847000"/>
                  <a:gd name="connsiteX11" fmla="*/ 3883573 w 3883573"/>
                  <a:gd name="connsiteY11" fmla="*/ 13121 h 1847000"/>
                  <a:gd name="connsiteX12" fmla="*/ 3277257 w 3883573"/>
                  <a:gd name="connsiteY12" fmla="*/ 187696 h 1847000"/>
                  <a:gd name="connsiteX13" fmla="*/ 2790063 w 3883573"/>
                  <a:gd name="connsiteY13" fmla="*/ 287779 h 1847000"/>
                  <a:gd name="connsiteX14" fmla="*/ 2320781 w 3883573"/>
                  <a:gd name="connsiteY14" fmla="*/ 210442 h 1847000"/>
                  <a:gd name="connsiteX15" fmla="*/ 1581038 w 3883573"/>
                  <a:gd name="connsiteY15" fmla="*/ 185419 h 1847000"/>
                  <a:gd name="connsiteX16" fmla="*/ 981000 w 3883573"/>
                  <a:gd name="connsiteY16" fmla="*/ 94434 h 1847000"/>
                  <a:gd name="connsiteX17" fmla="*/ 61263 w 3883573"/>
                  <a:gd name="connsiteY17" fmla="*/ 30910 h 1847000"/>
                  <a:gd name="connsiteX0" fmla="*/ 61263 w 3883573"/>
                  <a:gd name="connsiteY0" fmla="*/ 30910 h 1220392"/>
                  <a:gd name="connsiteX1" fmla="*/ 126754 w 3883573"/>
                  <a:gd name="connsiteY1" fmla="*/ 537465 h 1220392"/>
                  <a:gd name="connsiteX2" fmla="*/ 459363 w 3883573"/>
                  <a:gd name="connsiteY2" fmla="*/ 1062319 h 1220392"/>
                  <a:gd name="connsiteX3" fmla="*/ 903987 w 3883573"/>
                  <a:gd name="connsiteY3" fmla="*/ 1127135 h 1220392"/>
                  <a:gd name="connsiteX4" fmla="*/ 1736869 w 3883573"/>
                  <a:gd name="connsiteY4" fmla="*/ 1011123 h 1220392"/>
                  <a:gd name="connsiteX5" fmla="*/ 2069939 w 3883573"/>
                  <a:gd name="connsiteY5" fmla="*/ 1166694 h 1220392"/>
                  <a:gd name="connsiteX6" fmla="*/ 2490859 w 3883573"/>
                  <a:gd name="connsiteY6" fmla="*/ 1155322 h 1220392"/>
                  <a:gd name="connsiteX7" fmla="*/ 3324591 w 3883573"/>
                  <a:gd name="connsiteY7" fmla="*/ 1197924 h 1220392"/>
                  <a:gd name="connsiteX8" fmla="*/ 3635487 w 3883573"/>
                  <a:gd name="connsiteY8" fmla="*/ 751817 h 1220392"/>
                  <a:gd name="connsiteX9" fmla="*/ 3883573 w 3883573"/>
                  <a:gd name="connsiteY9" fmla="*/ 451503 h 1220392"/>
                  <a:gd name="connsiteX10" fmla="*/ 3883573 w 3883573"/>
                  <a:gd name="connsiteY10" fmla="*/ 13121 h 1220392"/>
                  <a:gd name="connsiteX11" fmla="*/ 3277257 w 3883573"/>
                  <a:gd name="connsiteY11" fmla="*/ 187696 h 1220392"/>
                  <a:gd name="connsiteX12" fmla="*/ 2790063 w 3883573"/>
                  <a:gd name="connsiteY12" fmla="*/ 287779 h 1220392"/>
                  <a:gd name="connsiteX13" fmla="*/ 2320781 w 3883573"/>
                  <a:gd name="connsiteY13" fmla="*/ 210442 h 1220392"/>
                  <a:gd name="connsiteX14" fmla="*/ 1581038 w 3883573"/>
                  <a:gd name="connsiteY14" fmla="*/ 185419 h 1220392"/>
                  <a:gd name="connsiteX15" fmla="*/ 981000 w 3883573"/>
                  <a:gd name="connsiteY15" fmla="*/ 94434 h 1220392"/>
                  <a:gd name="connsiteX16" fmla="*/ 61263 w 3883573"/>
                  <a:gd name="connsiteY16" fmla="*/ 30910 h 1220392"/>
                  <a:gd name="connsiteX0" fmla="*/ 61263 w 3883573"/>
                  <a:gd name="connsiteY0" fmla="*/ 30910 h 1174361"/>
                  <a:gd name="connsiteX1" fmla="*/ 126754 w 3883573"/>
                  <a:gd name="connsiteY1" fmla="*/ 537465 h 1174361"/>
                  <a:gd name="connsiteX2" fmla="*/ 459363 w 3883573"/>
                  <a:gd name="connsiteY2" fmla="*/ 1062319 h 1174361"/>
                  <a:gd name="connsiteX3" fmla="*/ 903987 w 3883573"/>
                  <a:gd name="connsiteY3" fmla="*/ 1127135 h 1174361"/>
                  <a:gd name="connsiteX4" fmla="*/ 1736869 w 3883573"/>
                  <a:gd name="connsiteY4" fmla="*/ 1011123 h 1174361"/>
                  <a:gd name="connsiteX5" fmla="*/ 2069939 w 3883573"/>
                  <a:gd name="connsiteY5" fmla="*/ 1166694 h 1174361"/>
                  <a:gd name="connsiteX6" fmla="*/ 2490859 w 3883573"/>
                  <a:gd name="connsiteY6" fmla="*/ 1155322 h 1174361"/>
                  <a:gd name="connsiteX7" fmla="*/ 3243989 w 3883573"/>
                  <a:gd name="connsiteY7" fmla="*/ 959085 h 1174361"/>
                  <a:gd name="connsiteX8" fmla="*/ 3635487 w 3883573"/>
                  <a:gd name="connsiteY8" fmla="*/ 751817 h 1174361"/>
                  <a:gd name="connsiteX9" fmla="*/ 3883573 w 3883573"/>
                  <a:gd name="connsiteY9" fmla="*/ 451503 h 1174361"/>
                  <a:gd name="connsiteX10" fmla="*/ 3883573 w 3883573"/>
                  <a:gd name="connsiteY10" fmla="*/ 13121 h 1174361"/>
                  <a:gd name="connsiteX11" fmla="*/ 3277257 w 3883573"/>
                  <a:gd name="connsiteY11" fmla="*/ 187696 h 1174361"/>
                  <a:gd name="connsiteX12" fmla="*/ 2790063 w 3883573"/>
                  <a:gd name="connsiteY12" fmla="*/ 287779 h 1174361"/>
                  <a:gd name="connsiteX13" fmla="*/ 2320781 w 3883573"/>
                  <a:gd name="connsiteY13" fmla="*/ 210442 h 1174361"/>
                  <a:gd name="connsiteX14" fmla="*/ 1581038 w 3883573"/>
                  <a:gd name="connsiteY14" fmla="*/ 185419 h 1174361"/>
                  <a:gd name="connsiteX15" fmla="*/ 981000 w 3883573"/>
                  <a:gd name="connsiteY15" fmla="*/ 94434 h 1174361"/>
                  <a:gd name="connsiteX16" fmla="*/ 61263 w 3883573"/>
                  <a:gd name="connsiteY16" fmla="*/ 30910 h 1174361"/>
                  <a:gd name="connsiteX0" fmla="*/ 61263 w 3883573"/>
                  <a:gd name="connsiteY0" fmla="*/ 30910 h 1174361"/>
                  <a:gd name="connsiteX1" fmla="*/ 126754 w 3883573"/>
                  <a:gd name="connsiteY1" fmla="*/ 537465 h 1174361"/>
                  <a:gd name="connsiteX2" fmla="*/ 459363 w 3883573"/>
                  <a:gd name="connsiteY2" fmla="*/ 1062319 h 1174361"/>
                  <a:gd name="connsiteX3" fmla="*/ 903987 w 3883573"/>
                  <a:gd name="connsiteY3" fmla="*/ 1127135 h 1174361"/>
                  <a:gd name="connsiteX4" fmla="*/ 1736869 w 3883573"/>
                  <a:gd name="connsiteY4" fmla="*/ 1011123 h 1174361"/>
                  <a:gd name="connsiteX5" fmla="*/ 2069939 w 3883573"/>
                  <a:gd name="connsiteY5" fmla="*/ 1166694 h 1174361"/>
                  <a:gd name="connsiteX6" fmla="*/ 2490859 w 3883573"/>
                  <a:gd name="connsiteY6" fmla="*/ 1155322 h 1174361"/>
                  <a:gd name="connsiteX7" fmla="*/ 3360418 w 3883573"/>
                  <a:gd name="connsiteY7" fmla="*/ 1050071 h 1174361"/>
                  <a:gd name="connsiteX8" fmla="*/ 3635487 w 3883573"/>
                  <a:gd name="connsiteY8" fmla="*/ 751817 h 1174361"/>
                  <a:gd name="connsiteX9" fmla="*/ 3883573 w 3883573"/>
                  <a:gd name="connsiteY9" fmla="*/ 451503 h 1174361"/>
                  <a:gd name="connsiteX10" fmla="*/ 3883573 w 3883573"/>
                  <a:gd name="connsiteY10" fmla="*/ 13121 h 1174361"/>
                  <a:gd name="connsiteX11" fmla="*/ 3277257 w 3883573"/>
                  <a:gd name="connsiteY11" fmla="*/ 187696 h 1174361"/>
                  <a:gd name="connsiteX12" fmla="*/ 2790063 w 3883573"/>
                  <a:gd name="connsiteY12" fmla="*/ 287779 h 1174361"/>
                  <a:gd name="connsiteX13" fmla="*/ 2320781 w 3883573"/>
                  <a:gd name="connsiteY13" fmla="*/ 210442 h 1174361"/>
                  <a:gd name="connsiteX14" fmla="*/ 1581038 w 3883573"/>
                  <a:gd name="connsiteY14" fmla="*/ 185419 h 1174361"/>
                  <a:gd name="connsiteX15" fmla="*/ 981000 w 3883573"/>
                  <a:gd name="connsiteY15" fmla="*/ 94434 h 1174361"/>
                  <a:gd name="connsiteX16" fmla="*/ 61263 w 3883573"/>
                  <a:gd name="connsiteY16" fmla="*/ 30910 h 1174361"/>
                  <a:gd name="connsiteX0" fmla="*/ 61263 w 3892533"/>
                  <a:gd name="connsiteY0" fmla="*/ 24870 h 1168321"/>
                  <a:gd name="connsiteX1" fmla="*/ 126754 w 3892533"/>
                  <a:gd name="connsiteY1" fmla="*/ 531425 h 1168321"/>
                  <a:gd name="connsiteX2" fmla="*/ 459363 w 3892533"/>
                  <a:gd name="connsiteY2" fmla="*/ 1056279 h 1168321"/>
                  <a:gd name="connsiteX3" fmla="*/ 903987 w 3892533"/>
                  <a:gd name="connsiteY3" fmla="*/ 1121095 h 1168321"/>
                  <a:gd name="connsiteX4" fmla="*/ 1736869 w 3892533"/>
                  <a:gd name="connsiteY4" fmla="*/ 1005083 h 1168321"/>
                  <a:gd name="connsiteX5" fmla="*/ 2069939 w 3892533"/>
                  <a:gd name="connsiteY5" fmla="*/ 1160654 h 1168321"/>
                  <a:gd name="connsiteX6" fmla="*/ 2490859 w 3892533"/>
                  <a:gd name="connsiteY6" fmla="*/ 1149282 h 1168321"/>
                  <a:gd name="connsiteX7" fmla="*/ 3360418 w 3892533"/>
                  <a:gd name="connsiteY7" fmla="*/ 1044031 h 1168321"/>
                  <a:gd name="connsiteX8" fmla="*/ 3635487 w 3892533"/>
                  <a:gd name="connsiteY8" fmla="*/ 745777 h 1168321"/>
                  <a:gd name="connsiteX9" fmla="*/ 3883573 w 3892533"/>
                  <a:gd name="connsiteY9" fmla="*/ 445463 h 1168321"/>
                  <a:gd name="connsiteX10" fmla="*/ 3892534 w 3892533"/>
                  <a:gd name="connsiteY10" fmla="*/ 166306 h 1168321"/>
                  <a:gd name="connsiteX11" fmla="*/ 3277257 w 3892533"/>
                  <a:gd name="connsiteY11" fmla="*/ 181656 h 1168321"/>
                  <a:gd name="connsiteX12" fmla="*/ 2790063 w 3892533"/>
                  <a:gd name="connsiteY12" fmla="*/ 281739 h 1168321"/>
                  <a:gd name="connsiteX13" fmla="*/ 2320781 w 3892533"/>
                  <a:gd name="connsiteY13" fmla="*/ 204402 h 1168321"/>
                  <a:gd name="connsiteX14" fmla="*/ 1581038 w 3892533"/>
                  <a:gd name="connsiteY14" fmla="*/ 179379 h 1168321"/>
                  <a:gd name="connsiteX15" fmla="*/ 981000 w 3892533"/>
                  <a:gd name="connsiteY15" fmla="*/ 88394 h 1168321"/>
                  <a:gd name="connsiteX16" fmla="*/ 61263 w 3892533"/>
                  <a:gd name="connsiteY16" fmla="*/ 24870 h 1168321"/>
                  <a:gd name="connsiteX0" fmla="*/ 61263 w 3892535"/>
                  <a:gd name="connsiteY0" fmla="*/ 24870 h 1280796"/>
                  <a:gd name="connsiteX1" fmla="*/ 126754 w 3892535"/>
                  <a:gd name="connsiteY1" fmla="*/ 531425 h 1280796"/>
                  <a:gd name="connsiteX2" fmla="*/ 459363 w 3892535"/>
                  <a:gd name="connsiteY2" fmla="*/ 1056279 h 1280796"/>
                  <a:gd name="connsiteX3" fmla="*/ 966682 w 3892535"/>
                  <a:gd name="connsiteY3" fmla="*/ 1280322 h 1280796"/>
                  <a:gd name="connsiteX4" fmla="*/ 1736869 w 3892535"/>
                  <a:gd name="connsiteY4" fmla="*/ 1005083 h 1280796"/>
                  <a:gd name="connsiteX5" fmla="*/ 2069939 w 3892535"/>
                  <a:gd name="connsiteY5" fmla="*/ 1160654 h 1280796"/>
                  <a:gd name="connsiteX6" fmla="*/ 2490859 w 3892535"/>
                  <a:gd name="connsiteY6" fmla="*/ 1149282 h 1280796"/>
                  <a:gd name="connsiteX7" fmla="*/ 3360418 w 3892535"/>
                  <a:gd name="connsiteY7" fmla="*/ 1044031 h 1280796"/>
                  <a:gd name="connsiteX8" fmla="*/ 3635487 w 3892535"/>
                  <a:gd name="connsiteY8" fmla="*/ 745777 h 1280796"/>
                  <a:gd name="connsiteX9" fmla="*/ 3883573 w 3892535"/>
                  <a:gd name="connsiteY9" fmla="*/ 445463 h 1280796"/>
                  <a:gd name="connsiteX10" fmla="*/ 3892534 w 3892535"/>
                  <a:gd name="connsiteY10" fmla="*/ 166306 h 1280796"/>
                  <a:gd name="connsiteX11" fmla="*/ 3277257 w 3892535"/>
                  <a:gd name="connsiteY11" fmla="*/ 181656 h 1280796"/>
                  <a:gd name="connsiteX12" fmla="*/ 2790063 w 3892535"/>
                  <a:gd name="connsiteY12" fmla="*/ 281739 h 1280796"/>
                  <a:gd name="connsiteX13" fmla="*/ 2320781 w 3892535"/>
                  <a:gd name="connsiteY13" fmla="*/ 204402 h 1280796"/>
                  <a:gd name="connsiteX14" fmla="*/ 1581038 w 3892535"/>
                  <a:gd name="connsiteY14" fmla="*/ 179379 h 1280796"/>
                  <a:gd name="connsiteX15" fmla="*/ 981000 w 3892535"/>
                  <a:gd name="connsiteY15" fmla="*/ 88394 h 1280796"/>
                  <a:gd name="connsiteX16" fmla="*/ 61263 w 3892535"/>
                  <a:gd name="connsiteY16" fmla="*/ 24870 h 1280796"/>
                  <a:gd name="connsiteX0" fmla="*/ 61263 w 3892533"/>
                  <a:gd name="connsiteY0" fmla="*/ 24870 h 1288550"/>
                  <a:gd name="connsiteX1" fmla="*/ 126754 w 3892533"/>
                  <a:gd name="connsiteY1" fmla="*/ 531425 h 1288550"/>
                  <a:gd name="connsiteX2" fmla="*/ 459363 w 3892533"/>
                  <a:gd name="connsiteY2" fmla="*/ 1056279 h 1288550"/>
                  <a:gd name="connsiteX3" fmla="*/ 966682 w 3892533"/>
                  <a:gd name="connsiteY3" fmla="*/ 1280322 h 1288550"/>
                  <a:gd name="connsiteX4" fmla="*/ 1584621 w 3892533"/>
                  <a:gd name="connsiteY4" fmla="*/ 1232549 h 1288550"/>
                  <a:gd name="connsiteX5" fmla="*/ 2069939 w 3892533"/>
                  <a:gd name="connsiteY5" fmla="*/ 1160654 h 1288550"/>
                  <a:gd name="connsiteX6" fmla="*/ 2490859 w 3892533"/>
                  <a:gd name="connsiteY6" fmla="*/ 1149282 h 1288550"/>
                  <a:gd name="connsiteX7" fmla="*/ 3360418 w 3892533"/>
                  <a:gd name="connsiteY7" fmla="*/ 1044031 h 1288550"/>
                  <a:gd name="connsiteX8" fmla="*/ 3635487 w 3892533"/>
                  <a:gd name="connsiteY8" fmla="*/ 745777 h 1288550"/>
                  <a:gd name="connsiteX9" fmla="*/ 3883573 w 3892533"/>
                  <a:gd name="connsiteY9" fmla="*/ 445463 h 1288550"/>
                  <a:gd name="connsiteX10" fmla="*/ 3892534 w 3892533"/>
                  <a:gd name="connsiteY10" fmla="*/ 166306 h 1288550"/>
                  <a:gd name="connsiteX11" fmla="*/ 3277257 w 3892533"/>
                  <a:gd name="connsiteY11" fmla="*/ 181656 h 1288550"/>
                  <a:gd name="connsiteX12" fmla="*/ 2790063 w 3892533"/>
                  <a:gd name="connsiteY12" fmla="*/ 281739 h 1288550"/>
                  <a:gd name="connsiteX13" fmla="*/ 2320781 w 3892533"/>
                  <a:gd name="connsiteY13" fmla="*/ 204402 h 1288550"/>
                  <a:gd name="connsiteX14" fmla="*/ 1581038 w 3892533"/>
                  <a:gd name="connsiteY14" fmla="*/ 179379 h 1288550"/>
                  <a:gd name="connsiteX15" fmla="*/ 981000 w 3892533"/>
                  <a:gd name="connsiteY15" fmla="*/ 88394 h 1288550"/>
                  <a:gd name="connsiteX16" fmla="*/ 61263 w 3892533"/>
                  <a:gd name="connsiteY16" fmla="*/ 24870 h 1288550"/>
                  <a:gd name="connsiteX0" fmla="*/ 61263 w 3892535"/>
                  <a:gd name="connsiteY0" fmla="*/ 24870 h 1288550"/>
                  <a:gd name="connsiteX1" fmla="*/ 126754 w 3892535"/>
                  <a:gd name="connsiteY1" fmla="*/ 531425 h 1288550"/>
                  <a:gd name="connsiteX2" fmla="*/ 459363 w 3892535"/>
                  <a:gd name="connsiteY2" fmla="*/ 1056279 h 1288550"/>
                  <a:gd name="connsiteX3" fmla="*/ 966682 w 3892535"/>
                  <a:gd name="connsiteY3" fmla="*/ 1280322 h 1288550"/>
                  <a:gd name="connsiteX4" fmla="*/ 1584621 w 3892535"/>
                  <a:gd name="connsiteY4" fmla="*/ 1232549 h 1288550"/>
                  <a:gd name="connsiteX5" fmla="*/ 2069939 w 3892535"/>
                  <a:gd name="connsiteY5" fmla="*/ 1160654 h 1288550"/>
                  <a:gd name="connsiteX6" fmla="*/ 2338605 w 3892535"/>
                  <a:gd name="connsiteY6" fmla="*/ 1285763 h 1288550"/>
                  <a:gd name="connsiteX7" fmla="*/ 2490859 w 3892535"/>
                  <a:gd name="connsiteY7" fmla="*/ 1149282 h 1288550"/>
                  <a:gd name="connsiteX8" fmla="*/ 3360418 w 3892535"/>
                  <a:gd name="connsiteY8" fmla="*/ 1044031 h 1288550"/>
                  <a:gd name="connsiteX9" fmla="*/ 3635487 w 3892535"/>
                  <a:gd name="connsiteY9" fmla="*/ 745777 h 1288550"/>
                  <a:gd name="connsiteX10" fmla="*/ 3883573 w 3892535"/>
                  <a:gd name="connsiteY10" fmla="*/ 445463 h 1288550"/>
                  <a:gd name="connsiteX11" fmla="*/ 3892534 w 3892535"/>
                  <a:gd name="connsiteY11" fmla="*/ 166306 h 1288550"/>
                  <a:gd name="connsiteX12" fmla="*/ 3277257 w 3892535"/>
                  <a:gd name="connsiteY12" fmla="*/ 181656 h 1288550"/>
                  <a:gd name="connsiteX13" fmla="*/ 2790063 w 3892535"/>
                  <a:gd name="connsiteY13" fmla="*/ 281739 h 1288550"/>
                  <a:gd name="connsiteX14" fmla="*/ 2320781 w 3892535"/>
                  <a:gd name="connsiteY14" fmla="*/ 204402 h 1288550"/>
                  <a:gd name="connsiteX15" fmla="*/ 1581038 w 3892535"/>
                  <a:gd name="connsiteY15" fmla="*/ 179379 h 1288550"/>
                  <a:gd name="connsiteX16" fmla="*/ 981000 w 3892535"/>
                  <a:gd name="connsiteY16" fmla="*/ 88394 h 1288550"/>
                  <a:gd name="connsiteX17" fmla="*/ 61263 w 3892535"/>
                  <a:gd name="connsiteY17" fmla="*/ 24870 h 1288550"/>
                  <a:gd name="connsiteX0" fmla="*/ 61263 w 3892533"/>
                  <a:gd name="connsiteY0" fmla="*/ 24870 h 1288550"/>
                  <a:gd name="connsiteX1" fmla="*/ 126754 w 3892533"/>
                  <a:gd name="connsiteY1" fmla="*/ 531425 h 1288550"/>
                  <a:gd name="connsiteX2" fmla="*/ 459363 w 3892533"/>
                  <a:gd name="connsiteY2" fmla="*/ 1056279 h 1288550"/>
                  <a:gd name="connsiteX3" fmla="*/ 966682 w 3892533"/>
                  <a:gd name="connsiteY3" fmla="*/ 1280322 h 1288550"/>
                  <a:gd name="connsiteX4" fmla="*/ 1584621 w 3892533"/>
                  <a:gd name="connsiteY4" fmla="*/ 1232549 h 1288550"/>
                  <a:gd name="connsiteX5" fmla="*/ 2069939 w 3892533"/>
                  <a:gd name="connsiteY5" fmla="*/ 1160654 h 1288550"/>
                  <a:gd name="connsiteX6" fmla="*/ 2338605 w 3892533"/>
                  <a:gd name="connsiteY6" fmla="*/ 1285763 h 1288550"/>
                  <a:gd name="connsiteX7" fmla="*/ 2490859 w 3892533"/>
                  <a:gd name="connsiteY7" fmla="*/ 1149282 h 1288550"/>
                  <a:gd name="connsiteX8" fmla="*/ 2768487 w 3892533"/>
                  <a:gd name="connsiteY8" fmla="*/ 1206147 h 1288550"/>
                  <a:gd name="connsiteX9" fmla="*/ 3360418 w 3892533"/>
                  <a:gd name="connsiteY9" fmla="*/ 1044031 h 1288550"/>
                  <a:gd name="connsiteX10" fmla="*/ 3635487 w 3892533"/>
                  <a:gd name="connsiteY10" fmla="*/ 745777 h 1288550"/>
                  <a:gd name="connsiteX11" fmla="*/ 3883573 w 3892533"/>
                  <a:gd name="connsiteY11" fmla="*/ 445463 h 1288550"/>
                  <a:gd name="connsiteX12" fmla="*/ 3892534 w 3892533"/>
                  <a:gd name="connsiteY12" fmla="*/ 166306 h 1288550"/>
                  <a:gd name="connsiteX13" fmla="*/ 3277257 w 3892533"/>
                  <a:gd name="connsiteY13" fmla="*/ 181656 h 1288550"/>
                  <a:gd name="connsiteX14" fmla="*/ 2790063 w 3892533"/>
                  <a:gd name="connsiteY14" fmla="*/ 281739 h 1288550"/>
                  <a:gd name="connsiteX15" fmla="*/ 2320781 w 3892533"/>
                  <a:gd name="connsiteY15" fmla="*/ 204402 h 1288550"/>
                  <a:gd name="connsiteX16" fmla="*/ 1581038 w 3892533"/>
                  <a:gd name="connsiteY16" fmla="*/ 179379 h 1288550"/>
                  <a:gd name="connsiteX17" fmla="*/ 981000 w 3892533"/>
                  <a:gd name="connsiteY17" fmla="*/ 88394 h 1288550"/>
                  <a:gd name="connsiteX18" fmla="*/ 61263 w 3892533"/>
                  <a:gd name="connsiteY18" fmla="*/ 24870 h 1288550"/>
                  <a:gd name="connsiteX0" fmla="*/ 61263 w 3892535"/>
                  <a:gd name="connsiteY0" fmla="*/ 24870 h 1289751"/>
                  <a:gd name="connsiteX1" fmla="*/ 126754 w 3892535"/>
                  <a:gd name="connsiteY1" fmla="*/ 531425 h 1289751"/>
                  <a:gd name="connsiteX2" fmla="*/ 459363 w 3892535"/>
                  <a:gd name="connsiteY2" fmla="*/ 1056279 h 1289751"/>
                  <a:gd name="connsiteX3" fmla="*/ 966682 w 3892535"/>
                  <a:gd name="connsiteY3" fmla="*/ 1280322 h 1289751"/>
                  <a:gd name="connsiteX4" fmla="*/ 1584621 w 3892535"/>
                  <a:gd name="connsiteY4" fmla="*/ 1232549 h 1289751"/>
                  <a:gd name="connsiteX5" fmla="*/ 1881860 w 3892535"/>
                  <a:gd name="connsiteY5" fmla="*/ 1092415 h 1289751"/>
                  <a:gd name="connsiteX6" fmla="*/ 2069939 w 3892535"/>
                  <a:gd name="connsiteY6" fmla="*/ 1160654 h 1289751"/>
                  <a:gd name="connsiteX7" fmla="*/ 2338605 w 3892535"/>
                  <a:gd name="connsiteY7" fmla="*/ 1285763 h 1289751"/>
                  <a:gd name="connsiteX8" fmla="*/ 2490859 w 3892535"/>
                  <a:gd name="connsiteY8" fmla="*/ 1149282 h 1289751"/>
                  <a:gd name="connsiteX9" fmla="*/ 2768487 w 3892535"/>
                  <a:gd name="connsiteY9" fmla="*/ 1206147 h 1289751"/>
                  <a:gd name="connsiteX10" fmla="*/ 3360418 w 3892535"/>
                  <a:gd name="connsiteY10" fmla="*/ 1044031 h 1289751"/>
                  <a:gd name="connsiteX11" fmla="*/ 3635487 w 3892535"/>
                  <a:gd name="connsiteY11" fmla="*/ 745777 h 1289751"/>
                  <a:gd name="connsiteX12" fmla="*/ 3883573 w 3892535"/>
                  <a:gd name="connsiteY12" fmla="*/ 445463 h 1289751"/>
                  <a:gd name="connsiteX13" fmla="*/ 3892534 w 3892535"/>
                  <a:gd name="connsiteY13" fmla="*/ 166306 h 1289751"/>
                  <a:gd name="connsiteX14" fmla="*/ 3277257 w 3892535"/>
                  <a:gd name="connsiteY14" fmla="*/ 181656 h 1289751"/>
                  <a:gd name="connsiteX15" fmla="*/ 2790063 w 3892535"/>
                  <a:gd name="connsiteY15" fmla="*/ 281739 h 1289751"/>
                  <a:gd name="connsiteX16" fmla="*/ 2320781 w 3892535"/>
                  <a:gd name="connsiteY16" fmla="*/ 204402 h 1289751"/>
                  <a:gd name="connsiteX17" fmla="*/ 1581038 w 3892535"/>
                  <a:gd name="connsiteY17" fmla="*/ 179379 h 1289751"/>
                  <a:gd name="connsiteX18" fmla="*/ 981000 w 3892535"/>
                  <a:gd name="connsiteY18" fmla="*/ 88394 h 1289751"/>
                  <a:gd name="connsiteX19" fmla="*/ 61263 w 3892535"/>
                  <a:gd name="connsiteY19" fmla="*/ 24870 h 1289751"/>
                  <a:gd name="connsiteX0" fmla="*/ 61263 w 3892533"/>
                  <a:gd name="connsiteY0" fmla="*/ 24870 h 1411420"/>
                  <a:gd name="connsiteX1" fmla="*/ 126754 w 3892533"/>
                  <a:gd name="connsiteY1" fmla="*/ 531425 h 1411420"/>
                  <a:gd name="connsiteX2" fmla="*/ 459363 w 3892533"/>
                  <a:gd name="connsiteY2" fmla="*/ 1056279 h 1411420"/>
                  <a:gd name="connsiteX3" fmla="*/ 966682 w 3892533"/>
                  <a:gd name="connsiteY3" fmla="*/ 1280322 h 1411420"/>
                  <a:gd name="connsiteX4" fmla="*/ 1407205 w 3892533"/>
                  <a:gd name="connsiteY4" fmla="*/ 1410866 h 1411420"/>
                  <a:gd name="connsiteX5" fmla="*/ 1584621 w 3892533"/>
                  <a:gd name="connsiteY5" fmla="*/ 1232549 h 1411420"/>
                  <a:gd name="connsiteX6" fmla="*/ 1881860 w 3892533"/>
                  <a:gd name="connsiteY6" fmla="*/ 1092415 h 1411420"/>
                  <a:gd name="connsiteX7" fmla="*/ 2069939 w 3892533"/>
                  <a:gd name="connsiteY7" fmla="*/ 1160654 h 1411420"/>
                  <a:gd name="connsiteX8" fmla="*/ 2338605 w 3892533"/>
                  <a:gd name="connsiteY8" fmla="*/ 1285763 h 1411420"/>
                  <a:gd name="connsiteX9" fmla="*/ 2490859 w 3892533"/>
                  <a:gd name="connsiteY9" fmla="*/ 1149282 h 1411420"/>
                  <a:gd name="connsiteX10" fmla="*/ 2768487 w 3892533"/>
                  <a:gd name="connsiteY10" fmla="*/ 1206147 h 1411420"/>
                  <a:gd name="connsiteX11" fmla="*/ 3360418 w 3892533"/>
                  <a:gd name="connsiteY11" fmla="*/ 1044031 h 1411420"/>
                  <a:gd name="connsiteX12" fmla="*/ 3635487 w 3892533"/>
                  <a:gd name="connsiteY12" fmla="*/ 745777 h 1411420"/>
                  <a:gd name="connsiteX13" fmla="*/ 3883573 w 3892533"/>
                  <a:gd name="connsiteY13" fmla="*/ 445463 h 1411420"/>
                  <a:gd name="connsiteX14" fmla="*/ 3892534 w 3892533"/>
                  <a:gd name="connsiteY14" fmla="*/ 166306 h 1411420"/>
                  <a:gd name="connsiteX15" fmla="*/ 3277257 w 3892533"/>
                  <a:gd name="connsiteY15" fmla="*/ 181656 h 1411420"/>
                  <a:gd name="connsiteX16" fmla="*/ 2790063 w 3892533"/>
                  <a:gd name="connsiteY16" fmla="*/ 281739 h 1411420"/>
                  <a:gd name="connsiteX17" fmla="*/ 2320781 w 3892533"/>
                  <a:gd name="connsiteY17" fmla="*/ 204402 h 1411420"/>
                  <a:gd name="connsiteX18" fmla="*/ 1581038 w 3892533"/>
                  <a:gd name="connsiteY18" fmla="*/ 179379 h 1411420"/>
                  <a:gd name="connsiteX19" fmla="*/ 981000 w 3892533"/>
                  <a:gd name="connsiteY19" fmla="*/ 88394 h 1411420"/>
                  <a:gd name="connsiteX20" fmla="*/ 61263 w 3892533"/>
                  <a:gd name="connsiteY20" fmla="*/ 24870 h 1411420"/>
                  <a:gd name="connsiteX0" fmla="*/ 61263 w 3892534"/>
                  <a:gd name="connsiteY0" fmla="*/ 24870 h 1411420"/>
                  <a:gd name="connsiteX1" fmla="*/ 126754 w 3892534"/>
                  <a:gd name="connsiteY1" fmla="*/ 531425 h 1411420"/>
                  <a:gd name="connsiteX2" fmla="*/ 459363 w 3892534"/>
                  <a:gd name="connsiteY2" fmla="*/ 1056279 h 1411420"/>
                  <a:gd name="connsiteX3" fmla="*/ 966682 w 3892534"/>
                  <a:gd name="connsiteY3" fmla="*/ 1280322 h 1411420"/>
                  <a:gd name="connsiteX4" fmla="*/ 1407205 w 3892534"/>
                  <a:gd name="connsiteY4" fmla="*/ 1410866 h 1411420"/>
                  <a:gd name="connsiteX5" fmla="*/ 1584621 w 3892534"/>
                  <a:gd name="connsiteY5" fmla="*/ 1232549 h 1411420"/>
                  <a:gd name="connsiteX6" fmla="*/ 1881860 w 3892534"/>
                  <a:gd name="connsiteY6" fmla="*/ 1092415 h 1411420"/>
                  <a:gd name="connsiteX7" fmla="*/ 2069939 w 3892534"/>
                  <a:gd name="connsiteY7" fmla="*/ 1160654 h 1411420"/>
                  <a:gd name="connsiteX8" fmla="*/ 2338605 w 3892534"/>
                  <a:gd name="connsiteY8" fmla="*/ 1285763 h 1411420"/>
                  <a:gd name="connsiteX9" fmla="*/ 2490859 w 3892534"/>
                  <a:gd name="connsiteY9" fmla="*/ 1149282 h 1411420"/>
                  <a:gd name="connsiteX10" fmla="*/ 2768487 w 3892534"/>
                  <a:gd name="connsiteY10" fmla="*/ 1206147 h 1411420"/>
                  <a:gd name="connsiteX11" fmla="*/ 3360418 w 3892534"/>
                  <a:gd name="connsiteY11" fmla="*/ 1044031 h 1411420"/>
                  <a:gd name="connsiteX12" fmla="*/ 3635487 w 3892534"/>
                  <a:gd name="connsiteY12" fmla="*/ 745777 h 1411420"/>
                  <a:gd name="connsiteX13" fmla="*/ 3892534 w 3892534"/>
                  <a:gd name="connsiteY13" fmla="*/ 166306 h 1411420"/>
                  <a:gd name="connsiteX14" fmla="*/ 3277257 w 3892534"/>
                  <a:gd name="connsiteY14" fmla="*/ 181656 h 1411420"/>
                  <a:gd name="connsiteX15" fmla="*/ 2790063 w 3892534"/>
                  <a:gd name="connsiteY15" fmla="*/ 281739 h 1411420"/>
                  <a:gd name="connsiteX16" fmla="*/ 2320781 w 3892534"/>
                  <a:gd name="connsiteY16" fmla="*/ 204402 h 1411420"/>
                  <a:gd name="connsiteX17" fmla="*/ 1581038 w 3892534"/>
                  <a:gd name="connsiteY17" fmla="*/ 179379 h 1411420"/>
                  <a:gd name="connsiteX18" fmla="*/ 981000 w 3892534"/>
                  <a:gd name="connsiteY18" fmla="*/ 88394 h 1411420"/>
                  <a:gd name="connsiteX19" fmla="*/ 61263 w 3892534"/>
                  <a:gd name="connsiteY19" fmla="*/ 24870 h 1411420"/>
                  <a:gd name="connsiteX0" fmla="*/ 61263 w 3635487"/>
                  <a:gd name="connsiteY0" fmla="*/ 24870 h 1411420"/>
                  <a:gd name="connsiteX1" fmla="*/ 126754 w 3635487"/>
                  <a:gd name="connsiteY1" fmla="*/ 531425 h 1411420"/>
                  <a:gd name="connsiteX2" fmla="*/ 459363 w 3635487"/>
                  <a:gd name="connsiteY2" fmla="*/ 1056279 h 1411420"/>
                  <a:gd name="connsiteX3" fmla="*/ 966682 w 3635487"/>
                  <a:gd name="connsiteY3" fmla="*/ 1280322 h 1411420"/>
                  <a:gd name="connsiteX4" fmla="*/ 1407205 w 3635487"/>
                  <a:gd name="connsiteY4" fmla="*/ 1410866 h 1411420"/>
                  <a:gd name="connsiteX5" fmla="*/ 1584621 w 3635487"/>
                  <a:gd name="connsiteY5" fmla="*/ 1232549 h 1411420"/>
                  <a:gd name="connsiteX6" fmla="*/ 1881860 w 3635487"/>
                  <a:gd name="connsiteY6" fmla="*/ 1092415 h 1411420"/>
                  <a:gd name="connsiteX7" fmla="*/ 2069939 w 3635487"/>
                  <a:gd name="connsiteY7" fmla="*/ 1160654 h 1411420"/>
                  <a:gd name="connsiteX8" fmla="*/ 2338605 w 3635487"/>
                  <a:gd name="connsiteY8" fmla="*/ 1285763 h 1411420"/>
                  <a:gd name="connsiteX9" fmla="*/ 2490859 w 3635487"/>
                  <a:gd name="connsiteY9" fmla="*/ 1149282 h 1411420"/>
                  <a:gd name="connsiteX10" fmla="*/ 2768487 w 3635487"/>
                  <a:gd name="connsiteY10" fmla="*/ 1206147 h 1411420"/>
                  <a:gd name="connsiteX11" fmla="*/ 3360418 w 3635487"/>
                  <a:gd name="connsiteY11" fmla="*/ 1044031 h 1411420"/>
                  <a:gd name="connsiteX12" fmla="*/ 3635487 w 3635487"/>
                  <a:gd name="connsiteY12" fmla="*/ 745777 h 1411420"/>
                  <a:gd name="connsiteX13" fmla="*/ 3585596 w 3635487"/>
                  <a:gd name="connsiteY13" fmla="*/ 222686 h 1411420"/>
                  <a:gd name="connsiteX14" fmla="*/ 3277257 w 3635487"/>
                  <a:gd name="connsiteY14" fmla="*/ 181656 h 1411420"/>
                  <a:gd name="connsiteX15" fmla="*/ 2790063 w 3635487"/>
                  <a:gd name="connsiteY15" fmla="*/ 281739 h 1411420"/>
                  <a:gd name="connsiteX16" fmla="*/ 2320781 w 3635487"/>
                  <a:gd name="connsiteY16" fmla="*/ 204402 h 1411420"/>
                  <a:gd name="connsiteX17" fmla="*/ 1581038 w 3635487"/>
                  <a:gd name="connsiteY17" fmla="*/ 179379 h 1411420"/>
                  <a:gd name="connsiteX18" fmla="*/ 981000 w 3635487"/>
                  <a:gd name="connsiteY18" fmla="*/ 88394 h 1411420"/>
                  <a:gd name="connsiteX19" fmla="*/ 61263 w 3635487"/>
                  <a:gd name="connsiteY19" fmla="*/ 24870 h 1411420"/>
                  <a:gd name="connsiteX0" fmla="*/ 94360 w 3556971"/>
                  <a:gd name="connsiteY0" fmla="*/ 63653 h 1326168"/>
                  <a:gd name="connsiteX1" fmla="*/ 48238 w 3556971"/>
                  <a:gd name="connsiteY1" fmla="*/ 446173 h 1326168"/>
                  <a:gd name="connsiteX2" fmla="*/ 380847 w 3556971"/>
                  <a:gd name="connsiteY2" fmla="*/ 971027 h 1326168"/>
                  <a:gd name="connsiteX3" fmla="*/ 888166 w 3556971"/>
                  <a:gd name="connsiteY3" fmla="*/ 1195070 h 1326168"/>
                  <a:gd name="connsiteX4" fmla="*/ 1328689 w 3556971"/>
                  <a:gd name="connsiteY4" fmla="*/ 1325614 h 1326168"/>
                  <a:gd name="connsiteX5" fmla="*/ 1506105 w 3556971"/>
                  <a:gd name="connsiteY5" fmla="*/ 1147297 h 1326168"/>
                  <a:gd name="connsiteX6" fmla="*/ 1803344 w 3556971"/>
                  <a:gd name="connsiteY6" fmla="*/ 1007163 h 1326168"/>
                  <a:gd name="connsiteX7" fmla="*/ 1991423 w 3556971"/>
                  <a:gd name="connsiteY7" fmla="*/ 1075402 h 1326168"/>
                  <a:gd name="connsiteX8" fmla="*/ 2260089 w 3556971"/>
                  <a:gd name="connsiteY8" fmla="*/ 1200511 h 1326168"/>
                  <a:gd name="connsiteX9" fmla="*/ 2412343 w 3556971"/>
                  <a:gd name="connsiteY9" fmla="*/ 1064030 h 1326168"/>
                  <a:gd name="connsiteX10" fmla="*/ 2689971 w 3556971"/>
                  <a:gd name="connsiteY10" fmla="*/ 1120895 h 1326168"/>
                  <a:gd name="connsiteX11" fmla="*/ 3281902 w 3556971"/>
                  <a:gd name="connsiteY11" fmla="*/ 958779 h 1326168"/>
                  <a:gd name="connsiteX12" fmla="*/ 3556971 w 3556971"/>
                  <a:gd name="connsiteY12" fmla="*/ 660525 h 1326168"/>
                  <a:gd name="connsiteX13" fmla="*/ 3507080 w 3556971"/>
                  <a:gd name="connsiteY13" fmla="*/ 137434 h 1326168"/>
                  <a:gd name="connsiteX14" fmla="*/ 3198741 w 3556971"/>
                  <a:gd name="connsiteY14" fmla="*/ 96404 h 1326168"/>
                  <a:gd name="connsiteX15" fmla="*/ 2711547 w 3556971"/>
                  <a:gd name="connsiteY15" fmla="*/ 196487 h 1326168"/>
                  <a:gd name="connsiteX16" fmla="*/ 2242265 w 3556971"/>
                  <a:gd name="connsiteY16" fmla="*/ 119150 h 1326168"/>
                  <a:gd name="connsiteX17" fmla="*/ 1502522 w 3556971"/>
                  <a:gd name="connsiteY17" fmla="*/ 94127 h 1326168"/>
                  <a:gd name="connsiteX18" fmla="*/ 902484 w 3556971"/>
                  <a:gd name="connsiteY18" fmla="*/ 3142 h 1326168"/>
                  <a:gd name="connsiteX19" fmla="*/ 94360 w 3556971"/>
                  <a:gd name="connsiteY19" fmla="*/ 63653 h 1326168"/>
                  <a:gd name="connsiteX0" fmla="*/ 57946 w 3520557"/>
                  <a:gd name="connsiteY0" fmla="*/ 61876 h 1324391"/>
                  <a:gd name="connsiteX1" fmla="*/ 95534 w 3520557"/>
                  <a:gd name="connsiteY1" fmla="*/ 354189 h 1324391"/>
                  <a:gd name="connsiteX2" fmla="*/ 344433 w 3520557"/>
                  <a:gd name="connsiteY2" fmla="*/ 969250 h 1324391"/>
                  <a:gd name="connsiteX3" fmla="*/ 851752 w 3520557"/>
                  <a:gd name="connsiteY3" fmla="*/ 1193293 h 1324391"/>
                  <a:gd name="connsiteX4" fmla="*/ 1292275 w 3520557"/>
                  <a:gd name="connsiteY4" fmla="*/ 1323837 h 1324391"/>
                  <a:gd name="connsiteX5" fmla="*/ 1469691 w 3520557"/>
                  <a:gd name="connsiteY5" fmla="*/ 1145520 h 1324391"/>
                  <a:gd name="connsiteX6" fmla="*/ 1766930 w 3520557"/>
                  <a:gd name="connsiteY6" fmla="*/ 1005386 h 1324391"/>
                  <a:gd name="connsiteX7" fmla="*/ 1955009 w 3520557"/>
                  <a:gd name="connsiteY7" fmla="*/ 1073625 h 1324391"/>
                  <a:gd name="connsiteX8" fmla="*/ 2223675 w 3520557"/>
                  <a:gd name="connsiteY8" fmla="*/ 1198734 h 1324391"/>
                  <a:gd name="connsiteX9" fmla="*/ 2375929 w 3520557"/>
                  <a:gd name="connsiteY9" fmla="*/ 1062253 h 1324391"/>
                  <a:gd name="connsiteX10" fmla="*/ 2653557 w 3520557"/>
                  <a:gd name="connsiteY10" fmla="*/ 1119118 h 1324391"/>
                  <a:gd name="connsiteX11" fmla="*/ 3245488 w 3520557"/>
                  <a:gd name="connsiteY11" fmla="*/ 957002 h 1324391"/>
                  <a:gd name="connsiteX12" fmla="*/ 3520557 w 3520557"/>
                  <a:gd name="connsiteY12" fmla="*/ 658748 h 1324391"/>
                  <a:gd name="connsiteX13" fmla="*/ 3470666 w 3520557"/>
                  <a:gd name="connsiteY13" fmla="*/ 135657 h 1324391"/>
                  <a:gd name="connsiteX14" fmla="*/ 3162327 w 3520557"/>
                  <a:gd name="connsiteY14" fmla="*/ 94627 h 1324391"/>
                  <a:gd name="connsiteX15" fmla="*/ 2675133 w 3520557"/>
                  <a:gd name="connsiteY15" fmla="*/ 194710 h 1324391"/>
                  <a:gd name="connsiteX16" fmla="*/ 2205851 w 3520557"/>
                  <a:gd name="connsiteY16" fmla="*/ 117373 h 1324391"/>
                  <a:gd name="connsiteX17" fmla="*/ 1466108 w 3520557"/>
                  <a:gd name="connsiteY17" fmla="*/ 92350 h 1324391"/>
                  <a:gd name="connsiteX18" fmla="*/ 866070 w 3520557"/>
                  <a:gd name="connsiteY18" fmla="*/ 1365 h 1324391"/>
                  <a:gd name="connsiteX19" fmla="*/ 57946 w 3520557"/>
                  <a:gd name="connsiteY19" fmla="*/ 61876 h 1324391"/>
                  <a:gd name="connsiteX0" fmla="*/ 119984 w 3436101"/>
                  <a:gd name="connsiteY0" fmla="*/ 39450 h 1335792"/>
                  <a:gd name="connsiteX1" fmla="*/ 11078 w 3436101"/>
                  <a:gd name="connsiteY1" fmla="*/ 365590 h 1335792"/>
                  <a:gd name="connsiteX2" fmla="*/ 259977 w 3436101"/>
                  <a:gd name="connsiteY2" fmla="*/ 980651 h 1335792"/>
                  <a:gd name="connsiteX3" fmla="*/ 767296 w 3436101"/>
                  <a:gd name="connsiteY3" fmla="*/ 1204694 h 1335792"/>
                  <a:gd name="connsiteX4" fmla="*/ 1207819 w 3436101"/>
                  <a:gd name="connsiteY4" fmla="*/ 1335238 h 1335792"/>
                  <a:gd name="connsiteX5" fmla="*/ 1385235 w 3436101"/>
                  <a:gd name="connsiteY5" fmla="*/ 1156921 h 1335792"/>
                  <a:gd name="connsiteX6" fmla="*/ 1682474 w 3436101"/>
                  <a:gd name="connsiteY6" fmla="*/ 1016787 h 1335792"/>
                  <a:gd name="connsiteX7" fmla="*/ 1870553 w 3436101"/>
                  <a:gd name="connsiteY7" fmla="*/ 1085026 h 1335792"/>
                  <a:gd name="connsiteX8" fmla="*/ 2139219 w 3436101"/>
                  <a:gd name="connsiteY8" fmla="*/ 1210135 h 1335792"/>
                  <a:gd name="connsiteX9" fmla="*/ 2291473 w 3436101"/>
                  <a:gd name="connsiteY9" fmla="*/ 1073654 h 1335792"/>
                  <a:gd name="connsiteX10" fmla="*/ 2569101 w 3436101"/>
                  <a:gd name="connsiteY10" fmla="*/ 1130519 h 1335792"/>
                  <a:gd name="connsiteX11" fmla="*/ 3161032 w 3436101"/>
                  <a:gd name="connsiteY11" fmla="*/ 968403 h 1335792"/>
                  <a:gd name="connsiteX12" fmla="*/ 3436101 w 3436101"/>
                  <a:gd name="connsiteY12" fmla="*/ 670149 h 1335792"/>
                  <a:gd name="connsiteX13" fmla="*/ 3386210 w 3436101"/>
                  <a:gd name="connsiteY13" fmla="*/ 147058 h 1335792"/>
                  <a:gd name="connsiteX14" fmla="*/ 3077871 w 3436101"/>
                  <a:gd name="connsiteY14" fmla="*/ 106028 h 1335792"/>
                  <a:gd name="connsiteX15" fmla="*/ 2590677 w 3436101"/>
                  <a:gd name="connsiteY15" fmla="*/ 206111 h 1335792"/>
                  <a:gd name="connsiteX16" fmla="*/ 2121395 w 3436101"/>
                  <a:gd name="connsiteY16" fmla="*/ 128774 h 1335792"/>
                  <a:gd name="connsiteX17" fmla="*/ 1381652 w 3436101"/>
                  <a:gd name="connsiteY17" fmla="*/ 103751 h 1335792"/>
                  <a:gd name="connsiteX18" fmla="*/ 781614 w 3436101"/>
                  <a:gd name="connsiteY18" fmla="*/ 12766 h 1335792"/>
                  <a:gd name="connsiteX19" fmla="*/ 119984 w 3436101"/>
                  <a:gd name="connsiteY19" fmla="*/ 39450 h 1335792"/>
                  <a:gd name="connsiteX0" fmla="*/ 119984 w 3436101"/>
                  <a:gd name="connsiteY0" fmla="*/ 39450 h 1335792"/>
                  <a:gd name="connsiteX1" fmla="*/ 11078 w 3436101"/>
                  <a:gd name="connsiteY1" fmla="*/ 365590 h 1335792"/>
                  <a:gd name="connsiteX2" fmla="*/ 259977 w 3436101"/>
                  <a:gd name="connsiteY2" fmla="*/ 980651 h 1335792"/>
                  <a:gd name="connsiteX3" fmla="*/ 767296 w 3436101"/>
                  <a:gd name="connsiteY3" fmla="*/ 1204694 h 1335792"/>
                  <a:gd name="connsiteX4" fmla="*/ 1207819 w 3436101"/>
                  <a:gd name="connsiteY4" fmla="*/ 1335238 h 1335792"/>
                  <a:gd name="connsiteX5" fmla="*/ 1385235 w 3436101"/>
                  <a:gd name="connsiteY5" fmla="*/ 1156921 h 1335792"/>
                  <a:gd name="connsiteX6" fmla="*/ 1682474 w 3436101"/>
                  <a:gd name="connsiteY6" fmla="*/ 1016787 h 1335792"/>
                  <a:gd name="connsiteX7" fmla="*/ 1870553 w 3436101"/>
                  <a:gd name="connsiteY7" fmla="*/ 1085026 h 1335792"/>
                  <a:gd name="connsiteX8" fmla="*/ 2139219 w 3436101"/>
                  <a:gd name="connsiteY8" fmla="*/ 1210135 h 1335792"/>
                  <a:gd name="connsiteX9" fmla="*/ 2291473 w 3436101"/>
                  <a:gd name="connsiteY9" fmla="*/ 1073654 h 1335792"/>
                  <a:gd name="connsiteX10" fmla="*/ 2569101 w 3436101"/>
                  <a:gd name="connsiteY10" fmla="*/ 1130519 h 1335792"/>
                  <a:gd name="connsiteX11" fmla="*/ 3436101 w 3436101"/>
                  <a:gd name="connsiteY11" fmla="*/ 670149 h 1335792"/>
                  <a:gd name="connsiteX12" fmla="*/ 3386210 w 3436101"/>
                  <a:gd name="connsiteY12" fmla="*/ 147058 h 1335792"/>
                  <a:gd name="connsiteX13" fmla="*/ 3077871 w 3436101"/>
                  <a:gd name="connsiteY13" fmla="*/ 106028 h 1335792"/>
                  <a:gd name="connsiteX14" fmla="*/ 2590677 w 3436101"/>
                  <a:gd name="connsiteY14" fmla="*/ 206111 h 1335792"/>
                  <a:gd name="connsiteX15" fmla="*/ 2121395 w 3436101"/>
                  <a:gd name="connsiteY15" fmla="*/ 128774 h 1335792"/>
                  <a:gd name="connsiteX16" fmla="*/ 1381652 w 3436101"/>
                  <a:gd name="connsiteY16" fmla="*/ 103751 h 1335792"/>
                  <a:gd name="connsiteX17" fmla="*/ 781614 w 3436101"/>
                  <a:gd name="connsiteY17" fmla="*/ 12766 h 1335792"/>
                  <a:gd name="connsiteX18" fmla="*/ 119984 w 3436101"/>
                  <a:gd name="connsiteY18" fmla="*/ 39450 h 1335792"/>
                  <a:gd name="connsiteX0" fmla="*/ 119984 w 3421700"/>
                  <a:gd name="connsiteY0" fmla="*/ 39450 h 1335792"/>
                  <a:gd name="connsiteX1" fmla="*/ 11078 w 3421700"/>
                  <a:gd name="connsiteY1" fmla="*/ 365590 h 1335792"/>
                  <a:gd name="connsiteX2" fmla="*/ 259977 w 3421700"/>
                  <a:gd name="connsiteY2" fmla="*/ 980651 h 1335792"/>
                  <a:gd name="connsiteX3" fmla="*/ 767296 w 3421700"/>
                  <a:gd name="connsiteY3" fmla="*/ 1204694 h 1335792"/>
                  <a:gd name="connsiteX4" fmla="*/ 1207819 w 3421700"/>
                  <a:gd name="connsiteY4" fmla="*/ 1335238 h 1335792"/>
                  <a:gd name="connsiteX5" fmla="*/ 1385235 w 3421700"/>
                  <a:gd name="connsiteY5" fmla="*/ 1156921 h 1335792"/>
                  <a:gd name="connsiteX6" fmla="*/ 1682474 w 3421700"/>
                  <a:gd name="connsiteY6" fmla="*/ 1016787 h 1335792"/>
                  <a:gd name="connsiteX7" fmla="*/ 1870553 w 3421700"/>
                  <a:gd name="connsiteY7" fmla="*/ 1085026 h 1335792"/>
                  <a:gd name="connsiteX8" fmla="*/ 2139219 w 3421700"/>
                  <a:gd name="connsiteY8" fmla="*/ 1210135 h 1335792"/>
                  <a:gd name="connsiteX9" fmla="*/ 2291473 w 3421700"/>
                  <a:gd name="connsiteY9" fmla="*/ 1073654 h 1335792"/>
                  <a:gd name="connsiteX10" fmla="*/ 2569101 w 3421700"/>
                  <a:gd name="connsiteY10" fmla="*/ 1130519 h 1335792"/>
                  <a:gd name="connsiteX11" fmla="*/ 3386210 w 3421700"/>
                  <a:gd name="connsiteY11" fmla="*/ 147058 h 1335792"/>
                  <a:gd name="connsiteX12" fmla="*/ 3077871 w 3421700"/>
                  <a:gd name="connsiteY12" fmla="*/ 106028 h 1335792"/>
                  <a:gd name="connsiteX13" fmla="*/ 2590677 w 3421700"/>
                  <a:gd name="connsiteY13" fmla="*/ 206111 h 1335792"/>
                  <a:gd name="connsiteX14" fmla="*/ 2121395 w 3421700"/>
                  <a:gd name="connsiteY14" fmla="*/ 128774 h 1335792"/>
                  <a:gd name="connsiteX15" fmla="*/ 1381652 w 3421700"/>
                  <a:gd name="connsiteY15" fmla="*/ 103751 h 1335792"/>
                  <a:gd name="connsiteX16" fmla="*/ 781614 w 3421700"/>
                  <a:gd name="connsiteY16" fmla="*/ 12766 h 1335792"/>
                  <a:gd name="connsiteX17" fmla="*/ 119984 w 3421700"/>
                  <a:gd name="connsiteY17" fmla="*/ 39450 h 1335792"/>
                  <a:gd name="connsiteX0" fmla="*/ 119984 w 3077872"/>
                  <a:gd name="connsiteY0" fmla="*/ 39450 h 1335792"/>
                  <a:gd name="connsiteX1" fmla="*/ 11078 w 3077872"/>
                  <a:gd name="connsiteY1" fmla="*/ 365590 h 1335792"/>
                  <a:gd name="connsiteX2" fmla="*/ 259977 w 3077872"/>
                  <a:gd name="connsiteY2" fmla="*/ 980651 h 1335792"/>
                  <a:gd name="connsiteX3" fmla="*/ 767296 w 3077872"/>
                  <a:gd name="connsiteY3" fmla="*/ 1204694 h 1335792"/>
                  <a:gd name="connsiteX4" fmla="*/ 1207819 w 3077872"/>
                  <a:gd name="connsiteY4" fmla="*/ 1335238 h 1335792"/>
                  <a:gd name="connsiteX5" fmla="*/ 1385235 w 3077872"/>
                  <a:gd name="connsiteY5" fmla="*/ 1156921 h 1335792"/>
                  <a:gd name="connsiteX6" fmla="*/ 1682474 w 3077872"/>
                  <a:gd name="connsiteY6" fmla="*/ 1016787 h 1335792"/>
                  <a:gd name="connsiteX7" fmla="*/ 1870553 w 3077872"/>
                  <a:gd name="connsiteY7" fmla="*/ 1085026 h 1335792"/>
                  <a:gd name="connsiteX8" fmla="*/ 2139219 w 3077872"/>
                  <a:gd name="connsiteY8" fmla="*/ 1210135 h 1335792"/>
                  <a:gd name="connsiteX9" fmla="*/ 2291473 w 3077872"/>
                  <a:gd name="connsiteY9" fmla="*/ 1073654 h 1335792"/>
                  <a:gd name="connsiteX10" fmla="*/ 2569101 w 3077872"/>
                  <a:gd name="connsiteY10" fmla="*/ 1130519 h 1335792"/>
                  <a:gd name="connsiteX11" fmla="*/ 3077871 w 3077872"/>
                  <a:gd name="connsiteY11" fmla="*/ 106028 h 1335792"/>
                  <a:gd name="connsiteX12" fmla="*/ 2590677 w 3077872"/>
                  <a:gd name="connsiteY12" fmla="*/ 206111 h 1335792"/>
                  <a:gd name="connsiteX13" fmla="*/ 2121395 w 3077872"/>
                  <a:gd name="connsiteY13" fmla="*/ 128774 h 1335792"/>
                  <a:gd name="connsiteX14" fmla="*/ 1381652 w 3077872"/>
                  <a:gd name="connsiteY14" fmla="*/ 103751 h 1335792"/>
                  <a:gd name="connsiteX15" fmla="*/ 781614 w 3077872"/>
                  <a:gd name="connsiteY15" fmla="*/ 12766 h 1335792"/>
                  <a:gd name="connsiteX16" fmla="*/ 119984 w 3077872"/>
                  <a:gd name="connsiteY16" fmla="*/ 39450 h 1335792"/>
                  <a:gd name="connsiteX0" fmla="*/ 119984 w 2629790"/>
                  <a:gd name="connsiteY0" fmla="*/ 39450 h 1335792"/>
                  <a:gd name="connsiteX1" fmla="*/ 11078 w 2629790"/>
                  <a:gd name="connsiteY1" fmla="*/ 365590 h 1335792"/>
                  <a:gd name="connsiteX2" fmla="*/ 259977 w 2629790"/>
                  <a:gd name="connsiteY2" fmla="*/ 980651 h 1335792"/>
                  <a:gd name="connsiteX3" fmla="*/ 767296 w 2629790"/>
                  <a:gd name="connsiteY3" fmla="*/ 1204694 h 1335792"/>
                  <a:gd name="connsiteX4" fmla="*/ 1207819 w 2629790"/>
                  <a:gd name="connsiteY4" fmla="*/ 1335238 h 1335792"/>
                  <a:gd name="connsiteX5" fmla="*/ 1385235 w 2629790"/>
                  <a:gd name="connsiteY5" fmla="*/ 1156921 h 1335792"/>
                  <a:gd name="connsiteX6" fmla="*/ 1682474 w 2629790"/>
                  <a:gd name="connsiteY6" fmla="*/ 1016787 h 1335792"/>
                  <a:gd name="connsiteX7" fmla="*/ 1870553 w 2629790"/>
                  <a:gd name="connsiteY7" fmla="*/ 1085026 h 1335792"/>
                  <a:gd name="connsiteX8" fmla="*/ 2139219 w 2629790"/>
                  <a:gd name="connsiteY8" fmla="*/ 1210135 h 1335792"/>
                  <a:gd name="connsiteX9" fmla="*/ 2291473 w 2629790"/>
                  <a:gd name="connsiteY9" fmla="*/ 1073654 h 1335792"/>
                  <a:gd name="connsiteX10" fmla="*/ 2569101 w 2629790"/>
                  <a:gd name="connsiteY10" fmla="*/ 1130519 h 1335792"/>
                  <a:gd name="connsiteX11" fmla="*/ 2590677 w 2629790"/>
                  <a:gd name="connsiteY11" fmla="*/ 206111 h 1335792"/>
                  <a:gd name="connsiteX12" fmla="*/ 2121395 w 2629790"/>
                  <a:gd name="connsiteY12" fmla="*/ 128774 h 1335792"/>
                  <a:gd name="connsiteX13" fmla="*/ 1381652 w 2629790"/>
                  <a:gd name="connsiteY13" fmla="*/ 103751 h 1335792"/>
                  <a:gd name="connsiteX14" fmla="*/ 781614 w 2629790"/>
                  <a:gd name="connsiteY14" fmla="*/ 12766 h 1335792"/>
                  <a:gd name="connsiteX15" fmla="*/ 119984 w 2629790"/>
                  <a:gd name="connsiteY15" fmla="*/ 39450 h 1335792"/>
                  <a:gd name="connsiteX0" fmla="*/ 119984 w 2629790"/>
                  <a:gd name="connsiteY0" fmla="*/ 39450 h 1352354"/>
                  <a:gd name="connsiteX1" fmla="*/ 11078 w 2629790"/>
                  <a:gd name="connsiteY1" fmla="*/ 365590 h 1352354"/>
                  <a:gd name="connsiteX2" fmla="*/ 259977 w 2629790"/>
                  <a:gd name="connsiteY2" fmla="*/ 980651 h 1352354"/>
                  <a:gd name="connsiteX3" fmla="*/ 785740 w 2629790"/>
                  <a:gd name="connsiteY3" fmla="*/ 697773 h 1352354"/>
                  <a:gd name="connsiteX4" fmla="*/ 1207819 w 2629790"/>
                  <a:gd name="connsiteY4" fmla="*/ 1335238 h 1352354"/>
                  <a:gd name="connsiteX5" fmla="*/ 1385235 w 2629790"/>
                  <a:gd name="connsiteY5" fmla="*/ 1156921 h 1352354"/>
                  <a:gd name="connsiteX6" fmla="*/ 1682474 w 2629790"/>
                  <a:gd name="connsiteY6" fmla="*/ 1016787 h 1352354"/>
                  <a:gd name="connsiteX7" fmla="*/ 1870553 w 2629790"/>
                  <a:gd name="connsiteY7" fmla="*/ 1085026 h 1352354"/>
                  <a:gd name="connsiteX8" fmla="*/ 2139219 w 2629790"/>
                  <a:gd name="connsiteY8" fmla="*/ 1210135 h 1352354"/>
                  <a:gd name="connsiteX9" fmla="*/ 2291473 w 2629790"/>
                  <a:gd name="connsiteY9" fmla="*/ 1073654 h 1352354"/>
                  <a:gd name="connsiteX10" fmla="*/ 2569101 w 2629790"/>
                  <a:gd name="connsiteY10" fmla="*/ 1130519 h 1352354"/>
                  <a:gd name="connsiteX11" fmla="*/ 2590677 w 2629790"/>
                  <a:gd name="connsiteY11" fmla="*/ 206111 h 1352354"/>
                  <a:gd name="connsiteX12" fmla="*/ 2121395 w 2629790"/>
                  <a:gd name="connsiteY12" fmla="*/ 128774 h 1352354"/>
                  <a:gd name="connsiteX13" fmla="*/ 1381652 w 2629790"/>
                  <a:gd name="connsiteY13" fmla="*/ 103751 h 1352354"/>
                  <a:gd name="connsiteX14" fmla="*/ 781614 w 2629790"/>
                  <a:gd name="connsiteY14" fmla="*/ 12766 h 1352354"/>
                  <a:gd name="connsiteX15" fmla="*/ 119984 w 2629790"/>
                  <a:gd name="connsiteY15" fmla="*/ 39450 h 1352354"/>
                  <a:gd name="connsiteX0" fmla="*/ 119984 w 2629790"/>
                  <a:gd name="connsiteY0" fmla="*/ 39450 h 1342303"/>
                  <a:gd name="connsiteX1" fmla="*/ 11078 w 2629790"/>
                  <a:gd name="connsiteY1" fmla="*/ 365590 h 1342303"/>
                  <a:gd name="connsiteX2" fmla="*/ 259977 w 2629790"/>
                  <a:gd name="connsiteY2" fmla="*/ 980651 h 1342303"/>
                  <a:gd name="connsiteX3" fmla="*/ 821775 w 2629790"/>
                  <a:gd name="connsiteY3" fmla="*/ 896473 h 1342303"/>
                  <a:gd name="connsiteX4" fmla="*/ 1207819 w 2629790"/>
                  <a:gd name="connsiteY4" fmla="*/ 1335238 h 1342303"/>
                  <a:gd name="connsiteX5" fmla="*/ 1385235 w 2629790"/>
                  <a:gd name="connsiteY5" fmla="*/ 1156921 h 1342303"/>
                  <a:gd name="connsiteX6" fmla="*/ 1682474 w 2629790"/>
                  <a:gd name="connsiteY6" fmla="*/ 1016787 h 1342303"/>
                  <a:gd name="connsiteX7" fmla="*/ 1870553 w 2629790"/>
                  <a:gd name="connsiteY7" fmla="*/ 1085026 h 1342303"/>
                  <a:gd name="connsiteX8" fmla="*/ 2139219 w 2629790"/>
                  <a:gd name="connsiteY8" fmla="*/ 1210135 h 1342303"/>
                  <a:gd name="connsiteX9" fmla="*/ 2291473 w 2629790"/>
                  <a:gd name="connsiteY9" fmla="*/ 1073654 h 1342303"/>
                  <a:gd name="connsiteX10" fmla="*/ 2569101 w 2629790"/>
                  <a:gd name="connsiteY10" fmla="*/ 1130519 h 1342303"/>
                  <a:gd name="connsiteX11" fmla="*/ 2590677 w 2629790"/>
                  <a:gd name="connsiteY11" fmla="*/ 206111 h 1342303"/>
                  <a:gd name="connsiteX12" fmla="*/ 2121395 w 2629790"/>
                  <a:gd name="connsiteY12" fmla="*/ 128774 h 1342303"/>
                  <a:gd name="connsiteX13" fmla="*/ 1381652 w 2629790"/>
                  <a:gd name="connsiteY13" fmla="*/ 103751 h 1342303"/>
                  <a:gd name="connsiteX14" fmla="*/ 781614 w 2629790"/>
                  <a:gd name="connsiteY14" fmla="*/ 12766 h 1342303"/>
                  <a:gd name="connsiteX15" fmla="*/ 119984 w 2629790"/>
                  <a:gd name="connsiteY15" fmla="*/ 39450 h 1342303"/>
                  <a:gd name="connsiteX0" fmla="*/ 119984 w 2626696"/>
                  <a:gd name="connsiteY0" fmla="*/ 39450 h 1342303"/>
                  <a:gd name="connsiteX1" fmla="*/ 11078 w 2626696"/>
                  <a:gd name="connsiteY1" fmla="*/ 365590 h 1342303"/>
                  <a:gd name="connsiteX2" fmla="*/ 259977 w 2626696"/>
                  <a:gd name="connsiteY2" fmla="*/ 980651 h 1342303"/>
                  <a:gd name="connsiteX3" fmla="*/ 821775 w 2626696"/>
                  <a:gd name="connsiteY3" fmla="*/ 896473 h 1342303"/>
                  <a:gd name="connsiteX4" fmla="*/ 1207819 w 2626696"/>
                  <a:gd name="connsiteY4" fmla="*/ 1335238 h 1342303"/>
                  <a:gd name="connsiteX5" fmla="*/ 1385235 w 2626696"/>
                  <a:gd name="connsiteY5" fmla="*/ 1156921 h 1342303"/>
                  <a:gd name="connsiteX6" fmla="*/ 1682474 w 2626696"/>
                  <a:gd name="connsiteY6" fmla="*/ 1016787 h 1342303"/>
                  <a:gd name="connsiteX7" fmla="*/ 1870553 w 2626696"/>
                  <a:gd name="connsiteY7" fmla="*/ 1085026 h 1342303"/>
                  <a:gd name="connsiteX8" fmla="*/ 2139219 w 2626696"/>
                  <a:gd name="connsiteY8" fmla="*/ 1210135 h 1342303"/>
                  <a:gd name="connsiteX9" fmla="*/ 2291473 w 2626696"/>
                  <a:gd name="connsiteY9" fmla="*/ 1073654 h 1342303"/>
                  <a:gd name="connsiteX10" fmla="*/ 2569101 w 2626696"/>
                  <a:gd name="connsiteY10" fmla="*/ 1130519 h 1342303"/>
                  <a:gd name="connsiteX11" fmla="*/ 2591960 w 2626696"/>
                  <a:gd name="connsiteY11" fmla="*/ 784331 h 1342303"/>
                  <a:gd name="connsiteX12" fmla="*/ 2590677 w 2626696"/>
                  <a:gd name="connsiteY12" fmla="*/ 206111 h 1342303"/>
                  <a:gd name="connsiteX13" fmla="*/ 2121395 w 2626696"/>
                  <a:gd name="connsiteY13" fmla="*/ 128774 h 1342303"/>
                  <a:gd name="connsiteX14" fmla="*/ 1381652 w 2626696"/>
                  <a:gd name="connsiteY14" fmla="*/ 103751 h 1342303"/>
                  <a:gd name="connsiteX15" fmla="*/ 781614 w 2626696"/>
                  <a:gd name="connsiteY15" fmla="*/ 12766 h 1342303"/>
                  <a:gd name="connsiteX16" fmla="*/ 119984 w 2626696"/>
                  <a:gd name="connsiteY16" fmla="*/ 39450 h 1342303"/>
                  <a:gd name="connsiteX0" fmla="*/ 119984 w 3023168"/>
                  <a:gd name="connsiteY0" fmla="*/ 39450 h 1342303"/>
                  <a:gd name="connsiteX1" fmla="*/ 11078 w 3023168"/>
                  <a:gd name="connsiteY1" fmla="*/ 365590 h 1342303"/>
                  <a:gd name="connsiteX2" fmla="*/ 259977 w 3023168"/>
                  <a:gd name="connsiteY2" fmla="*/ 980651 h 1342303"/>
                  <a:gd name="connsiteX3" fmla="*/ 821775 w 3023168"/>
                  <a:gd name="connsiteY3" fmla="*/ 896473 h 1342303"/>
                  <a:gd name="connsiteX4" fmla="*/ 1207819 w 3023168"/>
                  <a:gd name="connsiteY4" fmla="*/ 1335238 h 1342303"/>
                  <a:gd name="connsiteX5" fmla="*/ 1385235 w 3023168"/>
                  <a:gd name="connsiteY5" fmla="*/ 1156921 h 1342303"/>
                  <a:gd name="connsiteX6" fmla="*/ 1682474 w 3023168"/>
                  <a:gd name="connsiteY6" fmla="*/ 1016787 h 1342303"/>
                  <a:gd name="connsiteX7" fmla="*/ 1870553 w 3023168"/>
                  <a:gd name="connsiteY7" fmla="*/ 1085026 h 1342303"/>
                  <a:gd name="connsiteX8" fmla="*/ 2139219 w 3023168"/>
                  <a:gd name="connsiteY8" fmla="*/ 1210135 h 1342303"/>
                  <a:gd name="connsiteX9" fmla="*/ 2291473 w 3023168"/>
                  <a:gd name="connsiteY9" fmla="*/ 1073654 h 1342303"/>
                  <a:gd name="connsiteX10" fmla="*/ 2569101 w 3023168"/>
                  <a:gd name="connsiteY10" fmla="*/ 1130519 h 1342303"/>
                  <a:gd name="connsiteX11" fmla="*/ 3023142 w 3023168"/>
                  <a:gd name="connsiteY11" fmla="*/ 136859 h 1342303"/>
                  <a:gd name="connsiteX12" fmla="*/ 2590677 w 3023168"/>
                  <a:gd name="connsiteY12" fmla="*/ 206111 h 1342303"/>
                  <a:gd name="connsiteX13" fmla="*/ 2121395 w 3023168"/>
                  <a:gd name="connsiteY13" fmla="*/ 128774 h 1342303"/>
                  <a:gd name="connsiteX14" fmla="*/ 1381652 w 3023168"/>
                  <a:gd name="connsiteY14" fmla="*/ 103751 h 1342303"/>
                  <a:gd name="connsiteX15" fmla="*/ 781614 w 3023168"/>
                  <a:gd name="connsiteY15" fmla="*/ 12766 h 1342303"/>
                  <a:gd name="connsiteX16" fmla="*/ 119984 w 3023168"/>
                  <a:gd name="connsiteY16" fmla="*/ 39450 h 1342303"/>
                  <a:gd name="connsiteX0" fmla="*/ 119984 w 3023174"/>
                  <a:gd name="connsiteY0" fmla="*/ 39450 h 1342303"/>
                  <a:gd name="connsiteX1" fmla="*/ 11078 w 3023174"/>
                  <a:gd name="connsiteY1" fmla="*/ 365590 h 1342303"/>
                  <a:gd name="connsiteX2" fmla="*/ 259977 w 3023174"/>
                  <a:gd name="connsiteY2" fmla="*/ 980651 h 1342303"/>
                  <a:gd name="connsiteX3" fmla="*/ 821775 w 3023174"/>
                  <a:gd name="connsiteY3" fmla="*/ 896473 h 1342303"/>
                  <a:gd name="connsiteX4" fmla="*/ 1207819 w 3023174"/>
                  <a:gd name="connsiteY4" fmla="*/ 1335238 h 1342303"/>
                  <a:gd name="connsiteX5" fmla="*/ 1385235 w 3023174"/>
                  <a:gd name="connsiteY5" fmla="*/ 1156921 h 1342303"/>
                  <a:gd name="connsiteX6" fmla="*/ 1682474 w 3023174"/>
                  <a:gd name="connsiteY6" fmla="*/ 1016787 h 1342303"/>
                  <a:gd name="connsiteX7" fmla="*/ 1870553 w 3023174"/>
                  <a:gd name="connsiteY7" fmla="*/ 1085026 h 1342303"/>
                  <a:gd name="connsiteX8" fmla="*/ 2139219 w 3023174"/>
                  <a:gd name="connsiteY8" fmla="*/ 1210135 h 1342303"/>
                  <a:gd name="connsiteX9" fmla="*/ 2291473 w 3023174"/>
                  <a:gd name="connsiteY9" fmla="*/ 1073654 h 1342303"/>
                  <a:gd name="connsiteX10" fmla="*/ 2569101 w 3023174"/>
                  <a:gd name="connsiteY10" fmla="*/ 1130519 h 1342303"/>
                  <a:gd name="connsiteX11" fmla="*/ 3023142 w 3023174"/>
                  <a:gd name="connsiteY11" fmla="*/ 136859 h 1342303"/>
                  <a:gd name="connsiteX12" fmla="*/ 2650719 w 3023174"/>
                  <a:gd name="connsiteY12" fmla="*/ 104626 h 1342303"/>
                  <a:gd name="connsiteX13" fmla="*/ 2121395 w 3023174"/>
                  <a:gd name="connsiteY13" fmla="*/ 128774 h 1342303"/>
                  <a:gd name="connsiteX14" fmla="*/ 1381652 w 3023174"/>
                  <a:gd name="connsiteY14" fmla="*/ 103751 h 1342303"/>
                  <a:gd name="connsiteX15" fmla="*/ 781614 w 3023174"/>
                  <a:gd name="connsiteY15" fmla="*/ 12766 h 1342303"/>
                  <a:gd name="connsiteX16" fmla="*/ 119984 w 3023174"/>
                  <a:gd name="connsiteY16" fmla="*/ 39450 h 1342303"/>
                  <a:gd name="connsiteX0" fmla="*/ 119984 w 3023174"/>
                  <a:gd name="connsiteY0" fmla="*/ 39450 h 1210157"/>
                  <a:gd name="connsiteX1" fmla="*/ 11078 w 3023174"/>
                  <a:gd name="connsiteY1" fmla="*/ 365590 h 1210157"/>
                  <a:gd name="connsiteX2" fmla="*/ 259977 w 3023174"/>
                  <a:gd name="connsiteY2" fmla="*/ 980651 h 1210157"/>
                  <a:gd name="connsiteX3" fmla="*/ 821775 w 3023174"/>
                  <a:gd name="connsiteY3" fmla="*/ 896473 h 1210157"/>
                  <a:gd name="connsiteX4" fmla="*/ 1143036 w 3023174"/>
                  <a:gd name="connsiteY4" fmla="*/ 1162850 h 1210157"/>
                  <a:gd name="connsiteX5" fmla="*/ 1385235 w 3023174"/>
                  <a:gd name="connsiteY5" fmla="*/ 1156921 h 1210157"/>
                  <a:gd name="connsiteX6" fmla="*/ 1682474 w 3023174"/>
                  <a:gd name="connsiteY6" fmla="*/ 1016787 h 1210157"/>
                  <a:gd name="connsiteX7" fmla="*/ 1870553 w 3023174"/>
                  <a:gd name="connsiteY7" fmla="*/ 1085026 h 1210157"/>
                  <a:gd name="connsiteX8" fmla="*/ 2139219 w 3023174"/>
                  <a:gd name="connsiteY8" fmla="*/ 1210135 h 1210157"/>
                  <a:gd name="connsiteX9" fmla="*/ 2291473 w 3023174"/>
                  <a:gd name="connsiteY9" fmla="*/ 1073654 h 1210157"/>
                  <a:gd name="connsiteX10" fmla="*/ 2569101 w 3023174"/>
                  <a:gd name="connsiteY10" fmla="*/ 1130519 h 1210157"/>
                  <a:gd name="connsiteX11" fmla="*/ 3023142 w 3023174"/>
                  <a:gd name="connsiteY11" fmla="*/ 136859 h 1210157"/>
                  <a:gd name="connsiteX12" fmla="*/ 2650719 w 3023174"/>
                  <a:gd name="connsiteY12" fmla="*/ 104626 h 1210157"/>
                  <a:gd name="connsiteX13" fmla="*/ 2121395 w 3023174"/>
                  <a:gd name="connsiteY13" fmla="*/ 128774 h 1210157"/>
                  <a:gd name="connsiteX14" fmla="*/ 1381652 w 3023174"/>
                  <a:gd name="connsiteY14" fmla="*/ 103751 h 1210157"/>
                  <a:gd name="connsiteX15" fmla="*/ 781614 w 3023174"/>
                  <a:gd name="connsiteY15" fmla="*/ 12766 h 1210157"/>
                  <a:gd name="connsiteX16" fmla="*/ 119984 w 3023174"/>
                  <a:gd name="connsiteY16" fmla="*/ 39450 h 1210157"/>
                  <a:gd name="connsiteX0" fmla="*/ 119984 w 3023174"/>
                  <a:gd name="connsiteY0" fmla="*/ 39450 h 1188129"/>
                  <a:gd name="connsiteX1" fmla="*/ 11078 w 3023174"/>
                  <a:gd name="connsiteY1" fmla="*/ 365590 h 1188129"/>
                  <a:gd name="connsiteX2" fmla="*/ 259977 w 3023174"/>
                  <a:gd name="connsiteY2" fmla="*/ 980651 h 1188129"/>
                  <a:gd name="connsiteX3" fmla="*/ 821775 w 3023174"/>
                  <a:gd name="connsiteY3" fmla="*/ 896473 h 1188129"/>
                  <a:gd name="connsiteX4" fmla="*/ 1143036 w 3023174"/>
                  <a:gd name="connsiteY4" fmla="*/ 1162850 h 1188129"/>
                  <a:gd name="connsiteX5" fmla="*/ 1385235 w 3023174"/>
                  <a:gd name="connsiteY5" fmla="*/ 1156921 h 1188129"/>
                  <a:gd name="connsiteX6" fmla="*/ 1682474 w 3023174"/>
                  <a:gd name="connsiteY6" fmla="*/ 1016787 h 1188129"/>
                  <a:gd name="connsiteX7" fmla="*/ 1870553 w 3023174"/>
                  <a:gd name="connsiteY7" fmla="*/ 1085026 h 1188129"/>
                  <a:gd name="connsiteX8" fmla="*/ 2113041 w 3023174"/>
                  <a:gd name="connsiteY8" fmla="*/ 1114970 h 1188129"/>
                  <a:gd name="connsiteX9" fmla="*/ 2291473 w 3023174"/>
                  <a:gd name="connsiteY9" fmla="*/ 1073654 h 1188129"/>
                  <a:gd name="connsiteX10" fmla="*/ 2569101 w 3023174"/>
                  <a:gd name="connsiteY10" fmla="*/ 1130519 h 1188129"/>
                  <a:gd name="connsiteX11" fmla="*/ 3023142 w 3023174"/>
                  <a:gd name="connsiteY11" fmla="*/ 136859 h 1188129"/>
                  <a:gd name="connsiteX12" fmla="*/ 2650719 w 3023174"/>
                  <a:gd name="connsiteY12" fmla="*/ 104626 h 1188129"/>
                  <a:gd name="connsiteX13" fmla="*/ 2121395 w 3023174"/>
                  <a:gd name="connsiteY13" fmla="*/ 128774 h 1188129"/>
                  <a:gd name="connsiteX14" fmla="*/ 1381652 w 3023174"/>
                  <a:gd name="connsiteY14" fmla="*/ 103751 h 1188129"/>
                  <a:gd name="connsiteX15" fmla="*/ 781614 w 3023174"/>
                  <a:gd name="connsiteY15" fmla="*/ 12766 h 1188129"/>
                  <a:gd name="connsiteX16" fmla="*/ 119984 w 3023174"/>
                  <a:gd name="connsiteY16" fmla="*/ 39450 h 1188129"/>
                  <a:gd name="connsiteX0" fmla="*/ 119984 w 3023174"/>
                  <a:gd name="connsiteY0" fmla="*/ 39450 h 1186528"/>
                  <a:gd name="connsiteX1" fmla="*/ 11078 w 3023174"/>
                  <a:gd name="connsiteY1" fmla="*/ 365590 h 1186528"/>
                  <a:gd name="connsiteX2" fmla="*/ 259977 w 3023174"/>
                  <a:gd name="connsiteY2" fmla="*/ 980651 h 1186528"/>
                  <a:gd name="connsiteX3" fmla="*/ 821775 w 3023174"/>
                  <a:gd name="connsiteY3" fmla="*/ 896473 h 1186528"/>
                  <a:gd name="connsiteX4" fmla="*/ 1143036 w 3023174"/>
                  <a:gd name="connsiteY4" fmla="*/ 1162850 h 1186528"/>
                  <a:gd name="connsiteX5" fmla="*/ 1385235 w 3023174"/>
                  <a:gd name="connsiteY5" fmla="*/ 1156921 h 1186528"/>
                  <a:gd name="connsiteX6" fmla="*/ 1682474 w 3023174"/>
                  <a:gd name="connsiteY6" fmla="*/ 1016787 h 1186528"/>
                  <a:gd name="connsiteX7" fmla="*/ 1870553 w 3023174"/>
                  <a:gd name="connsiteY7" fmla="*/ 1085026 h 1186528"/>
                  <a:gd name="connsiteX8" fmla="*/ 2113041 w 3023174"/>
                  <a:gd name="connsiteY8" fmla="*/ 1114970 h 1186528"/>
                  <a:gd name="connsiteX9" fmla="*/ 2291473 w 3023174"/>
                  <a:gd name="connsiteY9" fmla="*/ 1073654 h 1186528"/>
                  <a:gd name="connsiteX10" fmla="*/ 2555263 w 3023174"/>
                  <a:gd name="connsiteY10" fmla="*/ 1089805 h 1186528"/>
                  <a:gd name="connsiteX11" fmla="*/ 3023142 w 3023174"/>
                  <a:gd name="connsiteY11" fmla="*/ 136859 h 1186528"/>
                  <a:gd name="connsiteX12" fmla="*/ 2650719 w 3023174"/>
                  <a:gd name="connsiteY12" fmla="*/ 104626 h 1186528"/>
                  <a:gd name="connsiteX13" fmla="*/ 2121395 w 3023174"/>
                  <a:gd name="connsiteY13" fmla="*/ 128774 h 1186528"/>
                  <a:gd name="connsiteX14" fmla="*/ 1381652 w 3023174"/>
                  <a:gd name="connsiteY14" fmla="*/ 103751 h 1186528"/>
                  <a:gd name="connsiteX15" fmla="*/ 781614 w 3023174"/>
                  <a:gd name="connsiteY15" fmla="*/ 12766 h 1186528"/>
                  <a:gd name="connsiteX16" fmla="*/ 119984 w 3023174"/>
                  <a:gd name="connsiteY16" fmla="*/ 39450 h 1186528"/>
                  <a:gd name="connsiteX0" fmla="*/ 119984 w 3023174"/>
                  <a:gd name="connsiteY0" fmla="*/ 39450 h 1186528"/>
                  <a:gd name="connsiteX1" fmla="*/ 11078 w 3023174"/>
                  <a:gd name="connsiteY1" fmla="*/ 365590 h 1186528"/>
                  <a:gd name="connsiteX2" fmla="*/ 259977 w 3023174"/>
                  <a:gd name="connsiteY2" fmla="*/ 980651 h 1186528"/>
                  <a:gd name="connsiteX3" fmla="*/ 821775 w 3023174"/>
                  <a:gd name="connsiteY3" fmla="*/ 896473 h 1186528"/>
                  <a:gd name="connsiteX4" fmla="*/ 1143036 w 3023174"/>
                  <a:gd name="connsiteY4" fmla="*/ 1162850 h 1186528"/>
                  <a:gd name="connsiteX5" fmla="*/ 1385235 w 3023174"/>
                  <a:gd name="connsiteY5" fmla="*/ 1156921 h 1186528"/>
                  <a:gd name="connsiteX6" fmla="*/ 1682474 w 3023174"/>
                  <a:gd name="connsiteY6" fmla="*/ 1016787 h 1186528"/>
                  <a:gd name="connsiteX7" fmla="*/ 1870553 w 3023174"/>
                  <a:gd name="connsiteY7" fmla="*/ 1085026 h 1186528"/>
                  <a:gd name="connsiteX8" fmla="*/ 2084705 w 3023174"/>
                  <a:gd name="connsiteY8" fmla="*/ 1158798 h 1186528"/>
                  <a:gd name="connsiteX9" fmla="*/ 2291473 w 3023174"/>
                  <a:gd name="connsiteY9" fmla="*/ 1073654 h 1186528"/>
                  <a:gd name="connsiteX10" fmla="*/ 2555263 w 3023174"/>
                  <a:gd name="connsiteY10" fmla="*/ 1089805 h 1186528"/>
                  <a:gd name="connsiteX11" fmla="*/ 3023142 w 3023174"/>
                  <a:gd name="connsiteY11" fmla="*/ 136859 h 1186528"/>
                  <a:gd name="connsiteX12" fmla="*/ 2650719 w 3023174"/>
                  <a:gd name="connsiteY12" fmla="*/ 104626 h 1186528"/>
                  <a:gd name="connsiteX13" fmla="*/ 2121395 w 3023174"/>
                  <a:gd name="connsiteY13" fmla="*/ 128774 h 1186528"/>
                  <a:gd name="connsiteX14" fmla="*/ 1381652 w 3023174"/>
                  <a:gd name="connsiteY14" fmla="*/ 103751 h 1186528"/>
                  <a:gd name="connsiteX15" fmla="*/ 781614 w 3023174"/>
                  <a:gd name="connsiteY15" fmla="*/ 12766 h 1186528"/>
                  <a:gd name="connsiteX16" fmla="*/ 119984 w 3023174"/>
                  <a:gd name="connsiteY16" fmla="*/ 39450 h 11865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023174" h="1186528">
                    <a:moveTo>
                      <a:pt x="119984" y="39450"/>
                    </a:moveTo>
                    <a:cubicBezTo>
                      <a:pt x="-8439" y="98254"/>
                      <a:pt x="-12254" y="208723"/>
                      <a:pt x="11078" y="365590"/>
                    </a:cubicBezTo>
                    <a:cubicBezTo>
                      <a:pt x="34410" y="522457"/>
                      <a:pt x="124861" y="892171"/>
                      <a:pt x="259977" y="980651"/>
                    </a:cubicBezTo>
                    <a:cubicBezTo>
                      <a:pt x="395093" y="1069131"/>
                      <a:pt x="674599" y="866107"/>
                      <a:pt x="821775" y="896473"/>
                    </a:cubicBezTo>
                    <a:cubicBezTo>
                      <a:pt x="968952" y="926840"/>
                      <a:pt x="1049126" y="1119442"/>
                      <a:pt x="1143036" y="1162850"/>
                    </a:cubicBezTo>
                    <a:cubicBezTo>
                      <a:pt x="1236946" y="1206258"/>
                      <a:pt x="1295329" y="1181265"/>
                      <a:pt x="1385235" y="1156921"/>
                    </a:cubicBezTo>
                    <a:cubicBezTo>
                      <a:pt x="1475141" y="1132577"/>
                      <a:pt x="1601588" y="1028769"/>
                      <a:pt x="1682474" y="1016787"/>
                    </a:cubicBezTo>
                    <a:cubicBezTo>
                      <a:pt x="1763360" y="1004805"/>
                      <a:pt x="1803515" y="1061358"/>
                      <a:pt x="1870553" y="1085026"/>
                    </a:cubicBezTo>
                    <a:cubicBezTo>
                      <a:pt x="1937591" y="1108694"/>
                      <a:pt x="2014552" y="1160693"/>
                      <a:pt x="2084705" y="1158798"/>
                    </a:cubicBezTo>
                    <a:cubicBezTo>
                      <a:pt x="2154858" y="1156903"/>
                      <a:pt x="2213047" y="1085153"/>
                      <a:pt x="2291473" y="1073654"/>
                    </a:cubicBezTo>
                    <a:cubicBezTo>
                      <a:pt x="2369899" y="1062155"/>
                      <a:pt x="2433318" y="1245937"/>
                      <a:pt x="2555263" y="1089805"/>
                    </a:cubicBezTo>
                    <a:cubicBezTo>
                      <a:pt x="2677208" y="933673"/>
                      <a:pt x="3019546" y="290927"/>
                      <a:pt x="3023142" y="136859"/>
                    </a:cubicBezTo>
                    <a:cubicBezTo>
                      <a:pt x="3026738" y="-17209"/>
                      <a:pt x="2729146" y="213885"/>
                      <a:pt x="2650719" y="104626"/>
                    </a:cubicBezTo>
                    <a:cubicBezTo>
                      <a:pt x="2572292" y="-4633"/>
                      <a:pt x="2332906" y="128920"/>
                      <a:pt x="2121395" y="128774"/>
                    </a:cubicBezTo>
                    <a:cubicBezTo>
                      <a:pt x="1909884" y="128628"/>
                      <a:pt x="1604949" y="123086"/>
                      <a:pt x="1381652" y="103751"/>
                    </a:cubicBezTo>
                    <a:cubicBezTo>
                      <a:pt x="1158355" y="84416"/>
                      <a:pt x="991892" y="23483"/>
                      <a:pt x="781614" y="12766"/>
                    </a:cubicBezTo>
                    <a:cubicBezTo>
                      <a:pt x="571336" y="2049"/>
                      <a:pt x="248407" y="-19354"/>
                      <a:pt x="119984" y="39450"/>
                    </a:cubicBezTo>
                    <a:close/>
                  </a:path>
                </a:pathLst>
              </a:custGeom>
              <a:solidFill>
                <a:srgbClr val="E3D16D">
                  <a:alpha val="80000"/>
                </a:srgbClr>
              </a:solidFill>
              <a:ln w="127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600"/>
              </a:p>
            </p:txBody>
          </p:sp>
          <p:sp>
            <p:nvSpPr>
              <p:cNvPr id="3362" name="!!mucus">
                <a:extLst>
                  <a:ext uri="{FF2B5EF4-FFF2-40B4-BE49-F238E27FC236}">
                    <a16:creationId xmlns:a16="http://schemas.microsoft.com/office/drawing/2014/main" id="{FB9D0D56-FEE7-F43C-5F2C-4F730D6BE016}"/>
                  </a:ext>
                </a:extLst>
              </p:cNvPr>
              <p:cNvSpPr/>
              <p:nvPr/>
            </p:nvSpPr>
            <p:spPr>
              <a:xfrm rot="10800000" flipH="1">
                <a:off x="4348102" y="4416012"/>
                <a:ext cx="661839" cy="420680"/>
              </a:xfrm>
              <a:custGeom>
                <a:avLst/>
                <a:gdLst>
                  <a:gd name="connsiteX0" fmla="*/ 0 w 11280654"/>
                  <a:gd name="connsiteY0" fmla="*/ 91352 h 1986246"/>
                  <a:gd name="connsiteX1" fmla="*/ 10868 w 11280654"/>
                  <a:gd name="connsiteY1" fmla="*/ 745642 h 1986246"/>
                  <a:gd name="connsiteX2" fmla="*/ 260587 w 11280654"/>
                  <a:gd name="connsiteY2" fmla="*/ 915580 h 1986246"/>
                  <a:gd name="connsiteX3" fmla="*/ 282300 w 11280654"/>
                  <a:gd name="connsiteY3" fmla="*/ 1077031 h 1986246"/>
                  <a:gd name="connsiteX4" fmla="*/ 510305 w 11280654"/>
                  <a:gd name="connsiteY4" fmla="*/ 1416926 h 1986246"/>
                  <a:gd name="connsiteX5" fmla="*/ 640587 w 11280654"/>
                  <a:gd name="connsiteY5" fmla="*/ 1595370 h 1986246"/>
                  <a:gd name="connsiteX6" fmla="*/ 694882 w 11280654"/>
                  <a:gd name="connsiteY6" fmla="*/ 1790808 h 1986246"/>
                  <a:gd name="connsiteX7" fmla="*/ 857746 w 11280654"/>
                  <a:gd name="connsiteY7" fmla="*/ 1986246 h 1986246"/>
                  <a:gd name="connsiteX8" fmla="*/ 1020610 w 11280654"/>
                  <a:gd name="connsiteY8" fmla="*/ 1858784 h 1986246"/>
                  <a:gd name="connsiteX9" fmla="*/ 1042324 w 11280654"/>
                  <a:gd name="connsiteY9" fmla="*/ 1595370 h 1986246"/>
                  <a:gd name="connsiteX10" fmla="*/ 1194319 w 11280654"/>
                  <a:gd name="connsiteY10" fmla="*/ 1510401 h 1986246"/>
                  <a:gd name="connsiteX11" fmla="*/ 1302887 w 11280654"/>
                  <a:gd name="connsiteY11" fmla="*/ 1229994 h 1986246"/>
                  <a:gd name="connsiteX12" fmla="*/ 1411455 w 11280654"/>
                  <a:gd name="connsiteY12" fmla="*/ 873105 h 1986246"/>
                  <a:gd name="connsiteX13" fmla="*/ 1563450 w 11280654"/>
                  <a:gd name="connsiteY13" fmla="*/ 737154 h 1986246"/>
                  <a:gd name="connsiteX14" fmla="*/ 1867441 w 11280654"/>
                  <a:gd name="connsiteY14" fmla="*/ 737154 h 1986246"/>
                  <a:gd name="connsiteX15" fmla="*/ 2442864 w 11280654"/>
                  <a:gd name="connsiteY15" fmla="*/ 754148 h 1986246"/>
                  <a:gd name="connsiteX16" fmla="*/ 3582863 w 11280654"/>
                  <a:gd name="connsiteY16" fmla="*/ 754148 h 1986246"/>
                  <a:gd name="connsiteX17" fmla="*/ 4277722 w 11280654"/>
                  <a:gd name="connsiteY17" fmla="*/ 788136 h 1986246"/>
                  <a:gd name="connsiteX18" fmla="*/ 4733732 w 11280654"/>
                  <a:gd name="connsiteY18" fmla="*/ 728648 h 1986246"/>
                  <a:gd name="connsiteX19" fmla="*/ 5211454 w 11280654"/>
                  <a:gd name="connsiteY19" fmla="*/ 728648 h 1986246"/>
                  <a:gd name="connsiteX20" fmla="*/ 5982323 w 11280654"/>
                  <a:gd name="connsiteY20" fmla="*/ 771142 h 1986246"/>
                  <a:gd name="connsiteX21" fmla="*/ 6861759 w 11280654"/>
                  <a:gd name="connsiteY21" fmla="*/ 754148 h 1986246"/>
                  <a:gd name="connsiteX22" fmla="*/ 7491477 w 11280654"/>
                  <a:gd name="connsiteY22" fmla="*/ 762654 h 1986246"/>
                  <a:gd name="connsiteX23" fmla="*/ 8327487 w 11280654"/>
                  <a:gd name="connsiteY23" fmla="*/ 762654 h 1986246"/>
                  <a:gd name="connsiteX24" fmla="*/ 9391500 w 11280654"/>
                  <a:gd name="connsiteY24" fmla="*/ 788154 h 1986246"/>
                  <a:gd name="connsiteX25" fmla="*/ 10140655 w 11280654"/>
                  <a:gd name="connsiteY25" fmla="*/ 779648 h 1986246"/>
                  <a:gd name="connsiteX26" fmla="*/ 10672650 w 11280654"/>
                  <a:gd name="connsiteY26" fmla="*/ 771142 h 1986246"/>
                  <a:gd name="connsiteX27" fmla="*/ 11150373 w 11280654"/>
                  <a:gd name="connsiteY27" fmla="*/ 737154 h 1986246"/>
                  <a:gd name="connsiteX28" fmla="*/ 11280654 w 11280654"/>
                  <a:gd name="connsiteY28" fmla="*/ 754148 h 1986246"/>
                  <a:gd name="connsiteX29" fmla="*/ 11280654 w 11280654"/>
                  <a:gd name="connsiteY29" fmla="*/ 133791 h 1986246"/>
                  <a:gd name="connsiteX30" fmla="*/ 11096078 w 11280654"/>
                  <a:gd name="connsiteY30" fmla="*/ 65870 h 1986246"/>
                  <a:gd name="connsiteX31" fmla="*/ 10281782 w 11280654"/>
                  <a:gd name="connsiteY31" fmla="*/ 14889 h 1986246"/>
                  <a:gd name="connsiteX32" fmla="*/ 9695491 w 11280654"/>
                  <a:gd name="connsiteY32" fmla="*/ 108364 h 1986246"/>
                  <a:gd name="connsiteX33" fmla="*/ 8794341 w 11280654"/>
                  <a:gd name="connsiteY33" fmla="*/ 201839 h 1986246"/>
                  <a:gd name="connsiteX34" fmla="*/ 7828050 w 11280654"/>
                  <a:gd name="connsiteY34" fmla="*/ 201839 h 1986246"/>
                  <a:gd name="connsiteX35" fmla="*/ 6101760 w 11280654"/>
                  <a:gd name="connsiteY35" fmla="*/ 193333 h 1986246"/>
                  <a:gd name="connsiteX36" fmla="*/ 5016032 w 11280654"/>
                  <a:gd name="connsiteY36" fmla="*/ 65870 h 1986246"/>
                  <a:gd name="connsiteX37" fmla="*/ 3224600 w 11280654"/>
                  <a:gd name="connsiteY37" fmla="*/ 57364 h 1986246"/>
                  <a:gd name="connsiteX38" fmla="*/ 2171455 w 11280654"/>
                  <a:gd name="connsiteY38" fmla="*/ 82864 h 1986246"/>
                  <a:gd name="connsiteX39" fmla="*/ 760023 w 11280654"/>
                  <a:gd name="connsiteY39" fmla="*/ 116852 h 1986246"/>
                  <a:gd name="connsiteX40" fmla="*/ 0 w 11280654"/>
                  <a:gd name="connsiteY40" fmla="*/ 91352 h 1986246"/>
                  <a:gd name="connsiteX0" fmla="*/ 0 w 11280654"/>
                  <a:gd name="connsiteY0" fmla="*/ 91352 h 1994638"/>
                  <a:gd name="connsiteX1" fmla="*/ 10868 w 11280654"/>
                  <a:gd name="connsiteY1" fmla="*/ 745642 h 1994638"/>
                  <a:gd name="connsiteX2" fmla="*/ 260587 w 11280654"/>
                  <a:gd name="connsiteY2" fmla="*/ 915580 h 1994638"/>
                  <a:gd name="connsiteX3" fmla="*/ 282300 w 11280654"/>
                  <a:gd name="connsiteY3" fmla="*/ 1077031 h 1994638"/>
                  <a:gd name="connsiteX4" fmla="*/ 510305 w 11280654"/>
                  <a:gd name="connsiteY4" fmla="*/ 1416926 h 1994638"/>
                  <a:gd name="connsiteX5" fmla="*/ 640587 w 11280654"/>
                  <a:gd name="connsiteY5" fmla="*/ 1595370 h 1994638"/>
                  <a:gd name="connsiteX6" fmla="*/ 694882 w 11280654"/>
                  <a:gd name="connsiteY6" fmla="*/ 1790808 h 1994638"/>
                  <a:gd name="connsiteX7" fmla="*/ 857746 w 11280654"/>
                  <a:gd name="connsiteY7" fmla="*/ 1986246 h 1994638"/>
                  <a:gd name="connsiteX8" fmla="*/ 1020610 w 11280654"/>
                  <a:gd name="connsiteY8" fmla="*/ 1858784 h 1994638"/>
                  <a:gd name="connsiteX9" fmla="*/ 1042324 w 11280654"/>
                  <a:gd name="connsiteY9" fmla="*/ 1595370 h 1994638"/>
                  <a:gd name="connsiteX10" fmla="*/ 1194319 w 11280654"/>
                  <a:gd name="connsiteY10" fmla="*/ 1510401 h 1994638"/>
                  <a:gd name="connsiteX11" fmla="*/ 1302887 w 11280654"/>
                  <a:gd name="connsiteY11" fmla="*/ 1229994 h 1994638"/>
                  <a:gd name="connsiteX12" fmla="*/ 1411455 w 11280654"/>
                  <a:gd name="connsiteY12" fmla="*/ 873105 h 1994638"/>
                  <a:gd name="connsiteX13" fmla="*/ 1563450 w 11280654"/>
                  <a:gd name="connsiteY13" fmla="*/ 737154 h 1994638"/>
                  <a:gd name="connsiteX14" fmla="*/ 1867441 w 11280654"/>
                  <a:gd name="connsiteY14" fmla="*/ 737154 h 1994638"/>
                  <a:gd name="connsiteX15" fmla="*/ 2442864 w 11280654"/>
                  <a:gd name="connsiteY15" fmla="*/ 754148 h 1994638"/>
                  <a:gd name="connsiteX16" fmla="*/ 3582863 w 11280654"/>
                  <a:gd name="connsiteY16" fmla="*/ 754148 h 1994638"/>
                  <a:gd name="connsiteX17" fmla="*/ 4277722 w 11280654"/>
                  <a:gd name="connsiteY17" fmla="*/ 788136 h 1994638"/>
                  <a:gd name="connsiteX18" fmla="*/ 4733732 w 11280654"/>
                  <a:gd name="connsiteY18" fmla="*/ 728648 h 1994638"/>
                  <a:gd name="connsiteX19" fmla="*/ 5211454 w 11280654"/>
                  <a:gd name="connsiteY19" fmla="*/ 728648 h 1994638"/>
                  <a:gd name="connsiteX20" fmla="*/ 5982323 w 11280654"/>
                  <a:gd name="connsiteY20" fmla="*/ 771142 h 1994638"/>
                  <a:gd name="connsiteX21" fmla="*/ 6861759 w 11280654"/>
                  <a:gd name="connsiteY21" fmla="*/ 754148 h 1994638"/>
                  <a:gd name="connsiteX22" fmla="*/ 7491477 w 11280654"/>
                  <a:gd name="connsiteY22" fmla="*/ 762654 h 1994638"/>
                  <a:gd name="connsiteX23" fmla="*/ 8327487 w 11280654"/>
                  <a:gd name="connsiteY23" fmla="*/ 762654 h 1994638"/>
                  <a:gd name="connsiteX24" fmla="*/ 9391500 w 11280654"/>
                  <a:gd name="connsiteY24" fmla="*/ 788154 h 1994638"/>
                  <a:gd name="connsiteX25" fmla="*/ 10140655 w 11280654"/>
                  <a:gd name="connsiteY25" fmla="*/ 779648 h 1994638"/>
                  <a:gd name="connsiteX26" fmla="*/ 10672650 w 11280654"/>
                  <a:gd name="connsiteY26" fmla="*/ 771142 h 1994638"/>
                  <a:gd name="connsiteX27" fmla="*/ 11150373 w 11280654"/>
                  <a:gd name="connsiteY27" fmla="*/ 737154 h 1994638"/>
                  <a:gd name="connsiteX28" fmla="*/ 11280654 w 11280654"/>
                  <a:gd name="connsiteY28" fmla="*/ 754148 h 1994638"/>
                  <a:gd name="connsiteX29" fmla="*/ 11280654 w 11280654"/>
                  <a:gd name="connsiteY29" fmla="*/ 133791 h 1994638"/>
                  <a:gd name="connsiteX30" fmla="*/ 11096078 w 11280654"/>
                  <a:gd name="connsiteY30" fmla="*/ 65870 h 1994638"/>
                  <a:gd name="connsiteX31" fmla="*/ 10281782 w 11280654"/>
                  <a:gd name="connsiteY31" fmla="*/ 14889 h 1994638"/>
                  <a:gd name="connsiteX32" fmla="*/ 9695491 w 11280654"/>
                  <a:gd name="connsiteY32" fmla="*/ 108364 h 1994638"/>
                  <a:gd name="connsiteX33" fmla="*/ 8794341 w 11280654"/>
                  <a:gd name="connsiteY33" fmla="*/ 201839 h 1994638"/>
                  <a:gd name="connsiteX34" fmla="*/ 7828050 w 11280654"/>
                  <a:gd name="connsiteY34" fmla="*/ 201839 h 1994638"/>
                  <a:gd name="connsiteX35" fmla="*/ 6101760 w 11280654"/>
                  <a:gd name="connsiteY35" fmla="*/ 193333 h 1994638"/>
                  <a:gd name="connsiteX36" fmla="*/ 5016032 w 11280654"/>
                  <a:gd name="connsiteY36" fmla="*/ 65870 h 1994638"/>
                  <a:gd name="connsiteX37" fmla="*/ 3224600 w 11280654"/>
                  <a:gd name="connsiteY37" fmla="*/ 57364 h 1994638"/>
                  <a:gd name="connsiteX38" fmla="*/ 2171455 w 11280654"/>
                  <a:gd name="connsiteY38" fmla="*/ 82864 h 1994638"/>
                  <a:gd name="connsiteX39" fmla="*/ 760023 w 11280654"/>
                  <a:gd name="connsiteY39" fmla="*/ 116852 h 1994638"/>
                  <a:gd name="connsiteX40" fmla="*/ 0 w 11280654"/>
                  <a:gd name="connsiteY40" fmla="*/ 91352 h 1994638"/>
                  <a:gd name="connsiteX0" fmla="*/ 2673914 w 11269790"/>
                  <a:gd name="connsiteY0" fmla="*/ 66415 h 1994638"/>
                  <a:gd name="connsiteX1" fmla="*/ 4 w 11269790"/>
                  <a:gd name="connsiteY1" fmla="*/ 745642 h 1994638"/>
                  <a:gd name="connsiteX2" fmla="*/ 249723 w 11269790"/>
                  <a:gd name="connsiteY2" fmla="*/ 915580 h 1994638"/>
                  <a:gd name="connsiteX3" fmla="*/ 271436 w 11269790"/>
                  <a:gd name="connsiteY3" fmla="*/ 1077031 h 1994638"/>
                  <a:gd name="connsiteX4" fmla="*/ 499441 w 11269790"/>
                  <a:gd name="connsiteY4" fmla="*/ 1416926 h 1994638"/>
                  <a:gd name="connsiteX5" fmla="*/ 629723 w 11269790"/>
                  <a:gd name="connsiteY5" fmla="*/ 1595370 h 1994638"/>
                  <a:gd name="connsiteX6" fmla="*/ 684018 w 11269790"/>
                  <a:gd name="connsiteY6" fmla="*/ 1790808 h 1994638"/>
                  <a:gd name="connsiteX7" fmla="*/ 846882 w 11269790"/>
                  <a:gd name="connsiteY7" fmla="*/ 1986246 h 1994638"/>
                  <a:gd name="connsiteX8" fmla="*/ 1009746 w 11269790"/>
                  <a:gd name="connsiteY8" fmla="*/ 1858784 h 1994638"/>
                  <a:gd name="connsiteX9" fmla="*/ 1031460 w 11269790"/>
                  <a:gd name="connsiteY9" fmla="*/ 1595370 h 1994638"/>
                  <a:gd name="connsiteX10" fmla="*/ 1183455 w 11269790"/>
                  <a:gd name="connsiteY10" fmla="*/ 1510401 h 1994638"/>
                  <a:gd name="connsiteX11" fmla="*/ 1292023 w 11269790"/>
                  <a:gd name="connsiteY11" fmla="*/ 1229994 h 1994638"/>
                  <a:gd name="connsiteX12" fmla="*/ 1400591 w 11269790"/>
                  <a:gd name="connsiteY12" fmla="*/ 873105 h 1994638"/>
                  <a:gd name="connsiteX13" fmla="*/ 1552586 w 11269790"/>
                  <a:gd name="connsiteY13" fmla="*/ 737154 h 1994638"/>
                  <a:gd name="connsiteX14" fmla="*/ 1856577 w 11269790"/>
                  <a:gd name="connsiteY14" fmla="*/ 737154 h 1994638"/>
                  <a:gd name="connsiteX15" fmla="*/ 2432000 w 11269790"/>
                  <a:gd name="connsiteY15" fmla="*/ 754148 h 1994638"/>
                  <a:gd name="connsiteX16" fmla="*/ 3571999 w 11269790"/>
                  <a:gd name="connsiteY16" fmla="*/ 754148 h 1994638"/>
                  <a:gd name="connsiteX17" fmla="*/ 4266858 w 11269790"/>
                  <a:gd name="connsiteY17" fmla="*/ 788136 h 1994638"/>
                  <a:gd name="connsiteX18" fmla="*/ 4722868 w 11269790"/>
                  <a:gd name="connsiteY18" fmla="*/ 728648 h 1994638"/>
                  <a:gd name="connsiteX19" fmla="*/ 5200590 w 11269790"/>
                  <a:gd name="connsiteY19" fmla="*/ 728648 h 1994638"/>
                  <a:gd name="connsiteX20" fmla="*/ 5971459 w 11269790"/>
                  <a:gd name="connsiteY20" fmla="*/ 771142 h 1994638"/>
                  <a:gd name="connsiteX21" fmla="*/ 6850895 w 11269790"/>
                  <a:gd name="connsiteY21" fmla="*/ 754148 h 1994638"/>
                  <a:gd name="connsiteX22" fmla="*/ 7480613 w 11269790"/>
                  <a:gd name="connsiteY22" fmla="*/ 762654 h 1994638"/>
                  <a:gd name="connsiteX23" fmla="*/ 8316623 w 11269790"/>
                  <a:gd name="connsiteY23" fmla="*/ 762654 h 1994638"/>
                  <a:gd name="connsiteX24" fmla="*/ 9380636 w 11269790"/>
                  <a:gd name="connsiteY24" fmla="*/ 788154 h 1994638"/>
                  <a:gd name="connsiteX25" fmla="*/ 10129791 w 11269790"/>
                  <a:gd name="connsiteY25" fmla="*/ 779648 h 1994638"/>
                  <a:gd name="connsiteX26" fmla="*/ 10661786 w 11269790"/>
                  <a:gd name="connsiteY26" fmla="*/ 771142 h 1994638"/>
                  <a:gd name="connsiteX27" fmla="*/ 11139509 w 11269790"/>
                  <a:gd name="connsiteY27" fmla="*/ 737154 h 1994638"/>
                  <a:gd name="connsiteX28" fmla="*/ 11269790 w 11269790"/>
                  <a:gd name="connsiteY28" fmla="*/ 754148 h 1994638"/>
                  <a:gd name="connsiteX29" fmla="*/ 11269790 w 11269790"/>
                  <a:gd name="connsiteY29" fmla="*/ 133791 h 1994638"/>
                  <a:gd name="connsiteX30" fmla="*/ 11085214 w 11269790"/>
                  <a:gd name="connsiteY30" fmla="*/ 65870 h 1994638"/>
                  <a:gd name="connsiteX31" fmla="*/ 10270918 w 11269790"/>
                  <a:gd name="connsiteY31" fmla="*/ 14889 h 1994638"/>
                  <a:gd name="connsiteX32" fmla="*/ 9684627 w 11269790"/>
                  <a:gd name="connsiteY32" fmla="*/ 108364 h 1994638"/>
                  <a:gd name="connsiteX33" fmla="*/ 8783477 w 11269790"/>
                  <a:gd name="connsiteY33" fmla="*/ 201839 h 1994638"/>
                  <a:gd name="connsiteX34" fmla="*/ 7817186 w 11269790"/>
                  <a:gd name="connsiteY34" fmla="*/ 201839 h 1994638"/>
                  <a:gd name="connsiteX35" fmla="*/ 6090896 w 11269790"/>
                  <a:gd name="connsiteY35" fmla="*/ 193333 h 1994638"/>
                  <a:gd name="connsiteX36" fmla="*/ 5005168 w 11269790"/>
                  <a:gd name="connsiteY36" fmla="*/ 65870 h 1994638"/>
                  <a:gd name="connsiteX37" fmla="*/ 3213736 w 11269790"/>
                  <a:gd name="connsiteY37" fmla="*/ 57364 h 1994638"/>
                  <a:gd name="connsiteX38" fmla="*/ 2160591 w 11269790"/>
                  <a:gd name="connsiteY38" fmla="*/ 82864 h 1994638"/>
                  <a:gd name="connsiteX39" fmla="*/ 749159 w 11269790"/>
                  <a:gd name="connsiteY39" fmla="*/ 116852 h 1994638"/>
                  <a:gd name="connsiteX40" fmla="*/ 2673914 w 11269790"/>
                  <a:gd name="connsiteY40" fmla="*/ 66415 h 1994638"/>
                  <a:gd name="connsiteX0" fmla="*/ 2673914 w 11269790"/>
                  <a:gd name="connsiteY0" fmla="*/ 66415 h 1994638"/>
                  <a:gd name="connsiteX1" fmla="*/ 4 w 11269790"/>
                  <a:gd name="connsiteY1" fmla="*/ 745642 h 1994638"/>
                  <a:gd name="connsiteX2" fmla="*/ 249723 w 11269790"/>
                  <a:gd name="connsiteY2" fmla="*/ 915580 h 1994638"/>
                  <a:gd name="connsiteX3" fmla="*/ 271436 w 11269790"/>
                  <a:gd name="connsiteY3" fmla="*/ 1077031 h 1994638"/>
                  <a:gd name="connsiteX4" fmla="*/ 499441 w 11269790"/>
                  <a:gd name="connsiteY4" fmla="*/ 1416926 h 1994638"/>
                  <a:gd name="connsiteX5" fmla="*/ 629723 w 11269790"/>
                  <a:gd name="connsiteY5" fmla="*/ 1595370 h 1994638"/>
                  <a:gd name="connsiteX6" fmla="*/ 684018 w 11269790"/>
                  <a:gd name="connsiteY6" fmla="*/ 1790808 h 1994638"/>
                  <a:gd name="connsiteX7" fmla="*/ 846882 w 11269790"/>
                  <a:gd name="connsiteY7" fmla="*/ 1986246 h 1994638"/>
                  <a:gd name="connsiteX8" fmla="*/ 1009746 w 11269790"/>
                  <a:gd name="connsiteY8" fmla="*/ 1858784 h 1994638"/>
                  <a:gd name="connsiteX9" fmla="*/ 1031460 w 11269790"/>
                  <a:gd name="connsiteY9" fmla="*/ 1595370 h 1994638"/>
                  <a:gd name="connsiteX10" fmla="*/ 1183455 w 11269790"/>
                  <a:gd name="connsiteY10" fmla="*/ 1510401 h 1994638"/>
                  <a:gd name="connsiteX11" fmla="*/ 1292023 w 11269790"/>
                  <a:gd name="connsiteY11" fmla="*/ 1229994 h 1994638"/>
                  <a:gd name="connsiteX12" fmla="*/ 1400591 w 11269790"/>
                  <a:gd name="connsiteY12" fmla="*/ 873105 h 1994638"/>
                  <a:gd name="connsiteX13" fmla="*/ 1552586 w 11269790"/>
                  <a:gd name="connsiteY13" fmla="*/ 737154 h 1994638"/>
                  <a:gd name="connsiteX14" fmla="*/ 1856577 w 11269790"/>
                  <a:gd name="connsiteY14" fmla="*/ 737154 h 1994638"/>
                  <a:gd name="connsiteX15" fmla="*/ 2432000 w 11269790"/>
                  <a:gd name="connsiteY15" fmla="*/ 754148 h 1994638"/>
                  <a:gd name="connsiteX16" fmla="*/ 3571999 w 11269790"/>
                  <a:gd name="connsiteY16" fmla="*/ 754148 h 1994638"/>
                  <a:gd name="connsiteX17" fmla="*/ 4266858 w 11269790"/>
                  <a:gd name="connsiteY17" fmla="*/ 788136 h 1994638"/>
                  <a:gd name="connsiteX18" fmla="*/ 4722868 w 11269790"/>
                  <a:gd name="connsiteY18" fmla="*/ 728648 h 1994638"/>
                  <a:gd name="connsiteX19" fmla="*/ 5200590 w 11269790"/>
                  <a:gd name="connsiteY19" fmla="*/ 728648 h 1994638"/>
                  <a:gd name="connsiteX20" fmla="*/ 5971459 w 11269790"/>
                  <a:gd name="connsiteY20" fmla="*/ 771142 h 1994638"/>
                  <a:gd name="connsiteX21" fmla="*/ 6850895 w 11269790"/>
                  <a:gd name="connsiteY21" fmla="*/ 754148 h 1994638"/>
                  <a:gd name="connsiteX22" fmla="*/ 7480613 w 11269790"/>
                  <a:gd name="connsiteY22" fmla="*/ 762654 h 1994638"/>
                  <a:gd name="connsiteX23" fmla="*/ 8316623 w 11269790"/>
                  <a:gd name="connsiteY23" fmla="*/ 762654 h 1994638"/>
                  <a:gd name="connsiteX24" fmla="*/ 9380636 w 11269790"/>
                  <a:gd name="connsiteY24" fmla="*/ 788154 h 1994638"/>
                  <a:gd name="connsiteX25" fmla="*/ 10129791 w 11269790"/>
                  <a:gd name="connsiteY25" fmla="*/ 779648 h 1994638"/>
                  <a:gd name="connsiteX26" fmla="*/ 10661786 w 11269790"/>
                  <a:gd name="connsiteY26" fmla="*/ 771142 h 1994638"/>
                  <a:gd name="connsiteX27" fmla="*/ 11139509 w 11269790"/>
                  <a:gd name="connsiteY27" fmla="*/ 737154 h 1994638"/>
                  <a:gd name="connsiteX28" fmla="*/ 11269790 w 11269790"/>
                  <a:gd name="connsiteY28" fmla="*/ 754148 h 1994638"/>
                  <a:gd name="connsiteX29" fmla="*/ 11269790 w 11269790"/>
                  <a:gd name="connsiteY29" fmla="*/ 133791 h 1994638"/>
                  <a:gd name="connsiteX30" fmla="*/ 11085214 w 11269790"/>
                  <a:gd name="connsiteY30" fmla="*/ 65870 h 1994638"/>
                  <a:gd name="connsiteX31" fmla="*/ 10270918 w 11269790"/>
                  <a:gd name="connsiteY31" fmla="*/ 14889 h 1994638"/>
                  <a:gd name="connsiteX32" fmla="*/ 9684627 w 11269790"/>
                  <a:gd name="connsiteY32" fmla="*/ 108364 h 1994638"/>
                  <a:gd name="connsiteX33" fmla="*/ 8783477 w 11269790"/>
                  <a:gd name="connsiteY33" fmla="*/ 201839 h 1994638"/>
                  <a:gd name="connsiteX34" fmla="*/ 7817186 w 11269790"/>
                  <a:gd name="connsiteY34" fmla="*/ 201839 h 1994638"/>
                  <a:gd name="connsiteX35" fmla="*/ 6090896 w 11269790"/>
                  <a:gd name="connsiteY35" fmla="*/ 193333 h 1994638"/>
                  <a:gd name="connsiteX36" fmla="*/ 5005168 w 11269790"/>
                  <a:gd name="connsiteY36" fmla="*/ 65870 h 1994638"/>
                  <a:gd name="connsiteX37" fmla="*/ 3213736 w 11269790"/>
                  <a:gd name="connsiteY37" fmla="*/ 57364 h 1994638"/>
                  <a:gd name="connsiteX38" fmla="*/ 2160591 w 11269790"/>
                  <a:gd name="connsiteY38" fmla="*/ 82864 h 1994638"/>
                  <a:gd name="connsiteX39" fmla="*/ 2673914 w 11269790"/>
                  <a:gd name="connsiteY39" fmla="*/ 66415 h 1994638"/>
                  <a:gd name="connsiteX0" fmla="*/ 2673914 w 11269790"/>
                  <a:gd name="connsiteY0" fmla="*/ 66415 h 1994638"/>
                  <a:gd name="connsiteX1" fmla="*/ 4 w 11269790"/>
                  <a:gd name="connsiteY1" fmla="*/ 745642 h 1994638"/>
                  <a:gd name="connsiteX2" fmla="*/ 249723 w 11269790"/>
                  <a:gd name="connsiteY2" fmla="*/ 915580 h 1994638"/>
                  <a:gd name="connsiteX3" fmla="*/ 271436 w 11269790"/>
                  <a:gd name="connsiteY3" fmla="*/ 1077031 h 1994638"/>
                  <a:gd name="connsiteX4" fmla="*/ 499441 w 11269790"/>
                  <a:gd name="connsiteY4" fmla="*/ 1416926 h 1994638"/>
                  <a:gd name="connsiteX5" fmla="*/ 629723 w 11269790"/>
                  <a:gd name="connsiteY5" fmla="*/ 1595370 h 1994638"/>
                  <a:gd name="connsiteX6" fmla="*/ 684018 w 11269790"/>
                  <a:gd name="connsiteY6" fmla="*/ 1790808 h 1994638"/>
                  <a:gd name="connsiteX7" fmla="*/ 846882 w 11269790"/>
                  <a:gd name="connsiteY7" fmla="*/ 1986246 h 1994638"/>
                  <a:gd name="connsiteX8" fmla="*/ 1009746 w 11269790"/>
                  <a:gd name="connsiteY8" fmla="*/ 1858784 h 1994638"/>
                  <a:gd name="connsiteX9" fmla="*/ 1031460 w 11269790"/>
                  <a:gd name="connsiteY9" fmla="*/ 1595370 h 1994638"/>
                  <a:gd name="connsiteX10" fmla="*/ 1183455 w 11269790"/>
                  <a:gd name="connsiteY10" fmla="*/ 1510401 h 1994638"/>
                  <a:gd name="connsiteX11" fmla="*/ 1292023 w 11269790"/>
                  <a:gd name="connsiteY11" fmla="*/ 1229994 h 1994638"/>
                  <a:gd name="connsiteX12" fmla="*/ 1400591 w 11269790"/>
                  <a:gd name="connsiteY12" fmla="*/ 873105 h 1994638"/>
                  <a:gd name="connsiteX13" fmla="*/ 1552586 w 11269790"/>
                  <a:gd name="connsiteY13" fmla="*/ 737154 h 1994638"/>
                  <a:gd name="connsiteX14" fmla="*/ 1856577 w 11269790"/>
                  <a:gd name="connsiteY14" fmla="*/ 737154 h 1994638"/>
                  <a:gd name="connsiteX15" fmla="*/ 2432000 w 11269790"/>
                  <a:gd name="connsiteY15" fmla="*/ 754148 h 1994638"/>
                  <a:gd name="connsiteX16" fmla="*/ 3571999 w 11269790"/>
                  <a:gd name="connsiteY16" fmla="*/ 754148 h 1994638"/>
                  <a:gd name="connsiteX17" fmla="*/ 4266858 w 11269790"/>
                  <a:gd name="connsiteY17" fmla="*/ 788136 h 1994638"/>
                  <a:gd name="connsiteX18" fmla="*/ 4722868 w 11269790"/>
                  <a:gd name="connsiteY18" fmla="*/ 728648 h 1994638"/>
                  <a:gd name="connsiteX19" fmla="*/ 5200590 w 11269790"/>
                  <a:gd name="connsiteY19" fmla="*/ 728648 h 1994638"/>
                  <a:gd name="connsiteX20" fmla="*/ 5971459 w 11269790"/>
                  <a:gd name="connsiteY20" fmla="*/ 771142 h 1994638"/>
                  <a:gd name="connsiteX21" fmla="*/ 6850895 w 11269790"/>
                  <a:gd name="connsiteY21" fmla="*/ 754148 h 1994638"/>
                  <a:gd name="connsiteX22" fmla="*/ 7480613 w 11269790"/>
                  <a:gd name="connsiteY22" fmla="*/ 762654 h 1994638"/>
                  <a:gd name="connsiteX23" fmla="*/ 8316623 w 11269790"/>
                  <a:gd name="connsiteY23" fmla="*/ 762654 h 1994638"/>
                  <a:gd name="connsiteX24" fmla="*/ 9380636 w 11269790"/>
                  <a:gd name="connsiteY24" fmla="*/ 788154 h 1994638"/>
                  <a:gd name="connsiteX25" fmla="*/ 10129791 w 11269790"/>
                  <a:gd name="connsiteY25" fmla="*/ 779648 h 1994638"/>
                  <a:gd name="connsiteX26" fmla="*/ 10661786 w 11269790"/>
                  <a:gd name="connsiteY26" fmla="*/ 771142 h 1994638"/>
                  <a:gd name="connsiteX27" fmla="*/ 11139509 w 11269790"/>
                  <a:gd name="connsiteY27" fmla="*/ 737154 h 1994638"/>
                  <a:gd name="connsiteX28" fmla="*/ 11269790 w 11269790"/>
                  <a:gd name="connsiteY28" fmla="*/ 754148 h 1994638"/>
                  <a:gd name="connsiteX29" fmla="*/ 11269790 w 11269790"/>
                  <a:gd name="connsiteY29" fmla="*/ 133791 h 1994638"/>
                  <a:gd name="connsiteX30" fmla="*/ 11085214 w 11269790"/>
                  <a:gd name="connsiteY30" fmla="*/ 65870 h 1994638"/>
                  <a:gd name="connsiteX31" fmla="*/ 10270918 w 11269790"/>
                  <a:gd name="connsiteY31" fmla="*/ 14889 h 1994638"/>
                  <a:gd name="connsiteX32" fmla="*/ 9684627 w 11269790"/>
                  <a:gd name="connsiteY32" fmla="*/ 108364 h 1994638"/>
                  <a:gd name="connsiteX33" fmla="*/ 8783477 w 11269790"/>
                  <a:gd name="connsiteY33" fmla="*/ 201839 h 1994638"/>
                  <a:gd name="connsiteX34" fmla="*/ 7817186 w 11269790"/>
                  <a:gd name="connsiteY34" fmla="*/ 201839 h 1994638"/>
                  <a:gd name="connsiteX35" fmla="*/ 6090896 w 11269790"/>
                  <a:gd name="connsiteY35" fmla="*/ 193333 h 1994638"/>
                  <a:gd name="connsiteX36" fmla="*/ 5005168 w 11269790"/>
                  <a:gd name="connsiteY36" fmla="*/ 65870 h 1994638"/>
                  <a:gd name="connsiteX37" fmla="*/ 3213736 w 11269790"/>
                  <a:gd name="connsiteY37" fmla="*/ 57364 h 1994638"/>
                  <a:gd name="connsiteX38" fmla="*/ 2673914 w 11269790"/>
                  <a:gd name="connsiteY38" fmla="*/ 66415 h 1994638"/>
                  <a:gd name="connsiteX0" fmla="*/ 2598674 w 11194550"/>
                  <a:gd name="connsiteY0" fmla="*/ 66415 h 1994638"/>
                  <a:gd name="connsiteX1" fmla="*/ 174483 w 11194550"/>
                  <a:gd name="connsiteY1" fmla="*/ 915580 h 1994638"/>
                  <a:gd name="connsiteX2" fmla="*/ 196196 w 11194550"/>
                  <a:gd name="connsiteY2" fmla="*/ 1077031 h 1994638"/>
                  <a:gd name="connsiteX3" fmla="*/ 424201 w 11194550"/>
                  <a:gd name="connsiteY3" fmla="*/ 1416926 h 1994638"/>
                  <a:gd name="connsiteX4" fmla="*/ 554483 w 11194550"/>
                  <a:gd name="connsiteY4" fmla="*/ 1595370 h 1994638"/>
                  <a:gd name="connsiteX5" fmla="*/ 608778 w 11194550"/>
                  <a:gd name="connsiteY5" fmla="*/ 1790808 h 1994638"/>
                  <a:gd name="connsiteX6" fmla="*/ 771642 w 11194550"/>
                  <a:gd name="connsiteY6" fmla="*/ 1986246 h 1994638"/>
                  <a:gd name="connsiteX7" fmla="*/ 934506 w 11194550"/>
                  <a:gd name="connsiteY7" fmla="*/ 1858784 h 1994638"/>
                  <a:gd name="connsiteX8" fmla="*/ 956220 w 11194550"/>
                  <a:gd name="connsiteY8" fmla="*/ 1595370 h 1994638"/>
                  <a:gd name="connsiteX9" fmla="*/ 1108215 w 11194550"/>
                  <a:gd name="connsiteY9" fmla="*/ 1510401 h 1994638"/>
                  <a:gd name="connsiteX10" fmla="*/ 1216783 w 11194550"/>
                  <a:gd name="connsiteY10" fmla="*/ 1229994 h 1994638"/>
                  <a:gd name="connsiteX11" fmla="*/ 1325351 w 11194550"/>
                  <a:gd name="connsiteY11" fmla="*/ 873105 h 1994638"/>
                  <a:gd name="connsiteX12" fmla="*/ 1477346 w 11194550"/>
                  <a:gd name="connsiteY12" fmla="*/ 737154 h 1994638"/>
                  <a:gd name="connsiteX13" fmla="*/ 1781337 w 11194550"/>
                  <a:gd name="connsiteY13" fmla="*/ 737154 h 1994638"/>
                  <a:gd name="connsiteX14" fmla="*/ 2356760 w 11194550"/>
                  <a:gd name="connsiteY14" fmla="*/ 754148 h 1994638"/>
                  <a:gd name="connsiteX15" fmla="*/ 3496759 w 11194550"/>
                  <a:gd name="connsiteY15" fmla="*/ 754148 h 1994638"/>
                  <a:gd name="connsiteX16" fmla="*/ 4191618 w 11194550"/>
                  <a:gd name="connsiteY16" fmla="*/ 788136 h 1994638"/>
                  <a:gd name="connsiteX17" fmla="*/ 4647628 w 11194550"/>
                  <a:gd name="connsiteY17" fmla="*/ 728648 h 1994638"/>
                  <a:gd name="connsiteX18" fmla="*/ 5125350 w 11194550"/>
                  <a:gd name="connsiteY18" fmla="*/ 728648 h 1994638"/>
                  <a:gd name="connsiteX19" fmla="*/ 5896219 w 11194550"/>
                  <a:gd name="connsiteY19" fmla="*/ 771142 h 1994638"/>
                  <a:gd name="connsiteX20" fmla="*/ 6775655 w 11194550"/>
                  <a:gd name="connsiteY20" fmla="*/ 754148 h 1994638"/>
                  <a:gd name="connsiteX21" fmla="*/ 7405373 w 11194550"/>
                  <a:gd name="connsiteY21" fmla="*/ 762654 h 1994638"/>
                  <a:gd name="connsiteX22" fmla="*/ 8241383 w 11194550"/>
                  <a:gd name="connsiteY22" fmla="*/ 762654 h 1994638"/>
                  <a:gd name="connsiteX23" fmla="*/ 9305396 w 11194550"/>
                  <a:gd name="connsiteY23" fmla="*/ 788154 h 1994638"/>
                  <a:gd name="connsiteX24" fmla="*/ 10054551 w 11194550"/>
                  <a:gd name="connsiteY24" fmla="*/ 779648 h 1994638"/>
                  <a:gd name="connsiteX25" fmla="*/ 10586546 w 11194550"/>
                  <a:gd name="connsiteY25" fmla="*/ 771142 h 1994638"/>
                  <a:gd name="connsiteX26" fmla="*/ 11064269 w 11194550"/>
                  <a:gd name="connsiteY26" fmla="*/ 737154 h 1994638"/>
                  <a:gd name="connsiteX27" fmla="*/ 11194550 w 11194550"/>
                  <a:gd name="connsiteY27" fmla="*/ 754148 h 1994638"/>
                  <a:gd name="connsiteX28" fmla="*/ 11194550 w 11194550"/>
                  <a:gd name="connsiteY28" fmla="*/ 133791 h 1994638"/>
                  <a:gd name="connsiteX29" fmla="*/ 11009974 w 11194550"/>
                  <a:gd name="connsiteY29" fmla="*/ 65870 h 1994638"/>
                  <a:gd name="connsiteX30" fmla="*/ 10195678 w 11194550"/>
                  <a:gd name="connsiteY30" fmla="*/ 14889 h 1994638"/>
                  <a:gd name="connsiteX31" fmla="*/ 9609387 w 11194550"/>
                  <a:gd name="connsiteY31" fmla="*/ 108364 h 1994638"/>
                  <a:gd name="connsiteX32" fmla="*/ 8708237 w 11194550"/>
                  <a:gd name="connsiteY32" fmla="*/ 201839 h 1994638"/>
                  <a:gd name="connsiteX33" fmla="*/ 7741946 w 11194550"/>
                  <a:gd name="connsiteY33" fmla="*/ 201839 h 1994638"/>
                  <a:gd name="connsiteX34" fmla="*/ 6015656 w 11194550"/>
                  <a:gd name="connsiteY34" fmla="*/ 193333 h 1994638"/>
                  <a:gd name="connsiteX35" fmla="*/ 4929928 w 11194550"/>
                  <a:gd name="connsiteY35" fmla="*/ 65870 h 1994638"/>
                  <a:gd name="connsiteX36" fmla="*/ 3138496 w 11194550"/>
                  <a:gd name="connsiteY36" fmla="*/ 57364 h 1994638"/>
                  <a:gd name="connsiteX37" fmla="*/ 2598674 w 11194550"/>
                  <a:gd name="connsiteY37" fmla="*/ 66415 h 1994638"/>
                  <a:gd name="connsiteX0" fmla="*/ 2523012 w 11118888"/>
                  <a:gd name="connsiteY0" fmla="*/ 66415 h 1994638"/>
                  <a:gd name="connsiteX1" fmla="*/ 2391070 w 11118888"/>
                  <a:gd name="connsiteY1" fmla="*/ 622730 h 1994638"/>
                  <a:gd name="connsiteX2" fmla="*/ 120534 w 11118888"/>
                  <a:gd name="connsiteY2" fmla="*/ 1077031 h 1994638"/>
                  <a:gd name="connsiteX3" fmla="*/ 348539 w 11118888"/>
                  <a:gd name="connsiteY3" fmla="*/ 1416926 h 1994638"/>
                  <a:gd name="connsiteX4" fmla="*/ 478821 w 11118888"/>
                  <a:gd name="connsiteY4" fmla="*/ 1595370 h 1994638"/>
                  <a:gd name="connsiteX5" fmla="*/ 533116 w 11118888"/>
                  <a:gd name="connsiteY5" fmla="*/ 1790808 h 1994638"/>
                  <a:gd name="connsiteX6" fmla="*/ 695980 w 11118888"/>
                  <a:gd name="connsiteY6" fmla="*/ 1986246 h 1994638"/>
                  <a:gd name="connsiteX7" fmla="*/ 858844 w 11118888"/>
                  <a:gd name="connsiteY7" fmla="*/ 1858784 h 1994638"/>
                  <a:gd name="connsiteX8" fmla="*/ 880558 w 11118888"/>
                  <a:gd name="connsiteY8" fmla="*/ 1595370 h 1994638"/>
                  <a:gd name="connsiteX9" fmla="*/ 1032553 w 11118888"/>
                  <a:gd name="connsiteY9" fmla="*/ 1510401 h 1994638"/>
                  <a:gd name="connsiteX10" fmla="*/ 1141121 w 11118888"/>
                  <a:gd name="connsiteY10" fmla="*/ 1229994 h 1994638"/>
                  <a:gd name="connsiteX11" fmla="*/ 1249689 w 11118888"/>
                  <a:gd name="connsiteY11" fmla="*/ 873105 h 1994638"/>
                  <a:gd name="connsiteX12" fmla="*/ 1401684 w 11118888"/>
                  <a:gd name="connsiteY12" fmla="*/ 737154 h 1994638"/>
                  <a:gd name="connsiteX13" fmla="*/ 1705675 w 11118888"/>
                  <a:gd name="connsiteY13" fmla="*/ 737154 h 1994638"/>
                  <a:gd name="connsiteX14" fmla="*/ 2281098 w 11118888"/>
                  <a:gd name="connsiteY14" fmla="*/ 754148 h 1994638"/>
                  <a:gd name="connsiteX15" fmla="*/ 3421097 w 11118888"/>
                  <a:gd name="connsiteY15" fmla="*/ 754148 h 1994638"/>
                  <a:gd name="connsiteX16" fmla="*/ 4115956 w 11118888"/>
                  <a:gd name="connsiteY16" fmla="*/ 788136 h 1994638"/>
                  <a:gd name="connsiteX17" fmla="*/ 4571966 w 11118888"/>
                  <a:gd name="connsiteY17" fmla="*/ 728648 h 1994638"/>
                  <a:gd name="connsiteX18" fmla="*/ 5049688 w 11118888"/>
                  <a:gd name="connsiteY18" fmla="*/ 728648 h 1994638"/>
                  <a:gd name="connsiteX19" fmla="*/ 5820557 w 11118888"/>
                  <a:gd name="connsiteY19" fmla="*/ 771142 h 1994638"/>
                  <a:gd name="connsiteX20" fmla="*/ 6699993 w 11118888"/>
                  <a:gd name="connsiteY20" fmla="*/ 754148 h 1994638"/>
                  <a:gd name="connsiteX21" fmla="*/ 7329711 w 11118888"/>
                  <a:gd name="connsiteY21" fmla="*/ 762654 h 1994638"/>
                  <a:gd name="connsiteX22" fmla="*/ 8165721 w 11118888"/>
                  <a:gd name="connsiteY22" fmla="*/ 762654 h 1994638"/>
                  <a:gd name="connsiteX23" fmla="*/ 9229734 w 11118888"/>
                  <a:gd name="connsiteY23" fmla="*/ 788154 h 1994638"/>
                  <a:gd name="connsiteX24" fmla="*/ 9978889 w 11118888"/>
                  <a:gd name="connsiteY24" fmla="*/ 779648 h 1994638"/>
                  <a:gd name="connsiteX25" fmla="*/ 10510884 w 11118888"/>
                  <a:gd name="connsiteY25" fmla="*/ 771142 h 1994638"/>
                  <a:gd name="connsiteX26" fmla="*/ 10988607 w 11118888"/>
                  <a:gd name="connsiteY26" fmla="*/ 737154 h 1994638"/>
                  <a:gd name="connsiteX27" fmla="*/ 11118888 w 11118888"/>
                  <a:gd name="connsiteY27" fmla="*/ 754148 h 1994638"/>
                  <a:gd name="connsiteX28" fmla="*/ 11118888 w 11118888"/>
                  <a:gd name="connsiteY28" fmla="*/ 133791 h 1994638"/>
                  <a:gd name="connsiteX29" fmla="*/ 10934312 w 11118888"/>
                  <a:gd name="connsiteY29" fmla="*/ 65870 h 1994638"/>
                  <a:gd name="connsiteX30" fmla="*/ 10120016 w 11118888"/>
                  <a:gd name="connsiteY30" fmla="*/ 14889 h 1994638"/>
                  <a:gd name="connsiteX31" fmla="*/ 9533725 w 11118888"/>
                  <a:gd name="connsiteY31" fmla="*/ 108364 h 1994638"/>
                  <a:gd name="connsiteX32" fmla="*/ 8632575 w 11118888"/>
                  <a:gd name="connsiteY32" fmla="*/ 201839 h 1994638"/>
                  <a:gd name="connsiteX33" fmla="*/ 7666284 w 11118888"/>
                  <a:gd name="connsiteY33" fmla="*/ 201839 h 1994638"/>
                  <a:gd name="connsiteX34" fmla="*/ 5939994 w 11118888"/>
                  <a:gd name="connsiteY34" fmla="*/ 193333 h 1994638"/>
                  <a:gd name="connsiteX35" fmla="*/ 4854266 w 11118888"/>
                  <a:gd name="connsiteY35" fmla="*/ 65870 h 1994638"/>
                  <a:gd name="connsiteX36" fmla="*/ 3062834 w 11118888"/>
                  <a:gd name="connsiteY36" fmla="*/ 57364 h 1994638"/>
                  <a:gd name="connsiteX37" fmla="*/ 2523012 w 11118888"/>
                  <a:gd name="connsiteY37" fmla="*/ 66415 h 1994638"/>
                  <a:gd name="connsiteX0" fmla="*/ 2523012 w 11118888"/>
                  <a:gd name="connsiteY0" fmla="*/ 66415 h 1994638"/>
                  <a:gd name="connsiteX1" fmla="*/ 2391070 w 11118888"/>
                  <a:gd name="connsiteY1" fmla="*/ 622730 h 1994638"/>
                  <a:gd name="connsiteX2" fmla="*/ 120534 w 11118888"/>
                  <a:gd name="connsiteY2" fmla="*/ 1077031 h 1994638"/>
                  <a:gd name="connsiteX3" fmla="*/ 348539 w 11118888"/>
                  <a:gd name="connsiteY3" fmla="*/ 1416926 h 1994638"/>
                  <a:gd name="connsiteX4" fmla="*/ 478821 w 11118888"/>
                  <a:gd name="connsiteY4" fmla="*/ 1595370 h 1994638"/>
                  <a:gd name="connsiteX5" fmla="*/ 533116 w 11118888"/>
                  <a:gd name="connsiteY5" fmla="*/ 1790808 h 1994638"/>
                  <a:gd name="connsiteX6" fmla="*/ 695980 w 11118888"/>
                  <a:gd name="connsiteY6" fmla="*/ 1986246 h 1994638"/>
                  <a:gd name="connsiteX7" fmla="*/ 858844 w 11118888"/>
                  <a:gd name="connsiteY7" fmla="*/ 1858784 h 1994638"/>
                  <a:gd name="connsiteX8" fmla="*/ 880558 w 11118888"/>
                  <a:gd name="connsiteY8" fmla="*/ 1595370 h 1994638"/>
                  <a:gd name="connsiteX9" fmla="*/ 1032553 w 11118888"/>
                  <a:gd name="connsiteY9" fmla="*/ 1510401 h 1994638"/>
                  <a:gd name="connsiteX10" fmla="*/ 1141121 w 11118888"/>
                  <a:gd name="connsiteY10" fmla="*/ 1229994 h 1994638"/>
                  <a:gd name="connsiteX11" fmla="*/ 1249689 w 11118888"/>
                  <a:gd name="connsiteY11" fmla="*/ 873105 h 1994638"/>
                  <a:gd name="connsiteX12" fmla="*/ 1401684 w 11118888"/>
                  <a:gd name="connsiteY12" fmla="*/ 737154 h 1994638"/>
                  <a:gd name="connsiteX13" fmla="*/ 1705675 w 11118888"/>
                  <a:gd name="connsiteY13" fmla="*/ 737154 h 1994638"/>
                  <a:gd name="connsiteX14" fmla="*/ 2281098 w 11118888"/>
                  <a:gd name="connsiteY14" fmla="*/ 754148 h 1994638"/>
                  <a:gd name="connsiteX15" fmla="*/ 3421097 w 11118888"/>
                  <a:gd name="connsiteY15" fmla="*/ 754148 h 1994638"/>
                  <a:gd name="connsiteX16" fmla="*/ 4115956 w 11118888"/>
                  <a:gd name="connsiteY16" fmla="*/ 788136 h 1994638"/>
                  <a:gd name="connsiteX17" fmla="*/ 4571966 w 11118888"/>
                  <a:gd name="connsiteY17" fmla="*/ 728648 h 1994638"/>
                  <a:gd name="connsiteX18" fmla="*/ 5049688 w 11118888"/>
                  <a:gd name="connsiteY18" fmla="*/ 728648 h 1994638"/>
                  <a:gd name="connsiteX19" fmla="*/ 5820557 w 11118888"/>
                  <a:gd name="connsiteY19" fmla="*/ 771142 h 1994638"/>
                  <a:gd name="connsiteX20" fmla="*/ 6699993 w 11118888"/>
                  <a:gd name="connsiteY20" fmla="*/ 754148 h 1994638"/>
                  <a:gd name="connsiteX21" fmla="*/ 7329711 w 11118888"/>
                  <a:gd name="connsiteY21" fmla="*/ 762654 h 1994638"/>
                  <a:gd name="connsiteX22" fmla="*/ 8165721 w 11118888"/>
                  <a:gd name="connsiteY22" fmla="*/ 762654 h 1994638"/>
                  <a:gd name="connsiteX23" fmla="*/ 9229734 w 11118888"/>
                  <a:gd name="connsiteY23" fmla="*/ 788154 h 1994638"/>
                  <a:gd name="connsiteX24" fmla="*/ 9978889 w 11118888"/>
                  <a:gd name="connsiteY24" fmla="*/ 779648 h 1994638"/>
                  <a:gd name="connsiteX25" fmla="*/ 10510884 w 11118888"/>
                  <a:gd name="connsiteY25" fmla="*/ 771142 h 1994638"/>
                  <a:gd name="connsiteX26" fmla="*/ 10988607 w 11118888"/>
                  <a:gd name="connsiteY26" fmla="*/ 737154 h 1994638"/>
                  <a:gd name="connsiteX27" fmla="*/ 11118888 w 11118888"/>
                  <a:gd name="connsiteY27" fmla="*/ 754148 h 1994638"/>
                  <a:gd name="connsiteX28" fmla="*/ 11118888 w 11118888"/>
                  <a:gd name="connsiteY28" fmla="*/ 133791 h 1994638"/>
                  <a:gd name="connsiteX29" fmla="*/ 10934312 w 11118888"/>
                  <a:gd name="connsiteY29" fmla="*/ 65870 h 1994638"/>
                  <a:gd name="connsiteX30" fmla="*/ 10120016 w 11118888"/>
                  <a:gd name="connsiteY30" fmla="*/ 14889 h 1994638"/>
                  <a:gd name="connsiteX31" fmla="*/ 9533725 w 11118888"/>
                  <a:gd name="connsiteY31" fmla="*/ 108364 h 1994638"/>
                  <a:gd name="connsiteX32" fmla="*/ 8632575 w 11118888"/>
                  <a:gd name="connsiteY32" fmla="*/ 201839 h 1994638"/>
                  <a:gd name="connsiteX33" fmla="*/ 7666284 w 11118888"/>
                  <a:gd name="connsiteY33" fmla="*/ 201839 h 1994638"/>
                  <a:gd name="connsiteX34" fmla="*/ 5939994 w 11118888"/>
                  <a:gd name="connsiteY34" fmla="*/ 193333 h 1994638"/>
                  <a:gd name="connsiteX35" fmla="*/ 4854266 w 11118888"/>
                  <a:gd name="connsiteY35" fmla="*/ 65870 h 1994638"/>
                  <a:gd name="connsiteX36" fmla="*/ 3062834 w 11118888"/>
                  <a:gd name="connsiteY36" fmla="*/ 57364 h 1994638"/>
                  <a:gd name="connsiteX37" fmla="*/ 2523012 w 11118888"/>
                  <a:gd name="connsiteY37" fmla="*/ 66415 h 1994638"/>
                  <a:gd name="connsiteX0" fmla="*/ 2532379 w 11128255"/>
                  <a:gd name="connsiteY0" fmla="*/ 66415 h 1994638"/>
                  <a:gd name="connsiteX1" fmla="*/ 129901 w 11128255"/>
                  <a:gd name="connsiteY1" fmla="*/ 1077031 h 1994638"/>
                  <a:gd name="connsiteX2" fmla="*/ 357906 w 11128255"/>
                  <a:gd name="connsiteY2" fmla="*/ 1416926 h 1994638"/>
                  <a:gd name="connsiteX3" fmla="*/ 488188 w 11128255"/>
                  <a:gd name="connsiteY3" fmla="*/ 1595370 h 1994638"/>
                  <a:gd name="connsiteX4" fmla="*/ 542483 w 11128255"/>
                  <a:gd name="connsiteY4" fmla="*/ 1790808 h 1994638"/>
                  <a:gd name="connsiteX5" fmla="*/ 705347 w 11128255"/>
                  <a:gd name="connsiteY5" fmla="*/ 1986246 h 1994638"/>
                  <a:gd name="connsiteX6" fmla="*/ 868211 w 11128255"/>
                  <a:gd name="connsiteY6" fmla="*/ 1858784 h 1994638"/>
                  <a:gd name="connsiteX7" fmla="*/ 889925 w 11128255"/>
                  <a:gd name="connsiteY7" fmla="*/ 1595370 h 1994638"/>
                  <a:gd name="connsiteX8" fmla="*/ 1041920 w 11128255"/>
                  <a:gd name="connsiteY8" fmla="*/ 1510401 h 1994638"/>
                  <a:gd name="connsiteX9" fmla="*/ 1150488 w 11128255"/>
                  <a:gd name="connsiteY9" fmla="*/ 1229994 h 1994638"/>
                  <a:gd name="connsiteX10" fmla="*/ 1259056 w 11128255"/>
                  <a:gd name="connsiteY10" fmla="*/ 873105 h 1994638"/>
                  <a:gd name="connsiteX11" fmla="*/ 1411051 w 11128255"/>
                  <a:gd name="connsiteY11" fmla="*/ 737154 h 1994638"/>
                  <a:gd name="connsiteX12" fmla="*/ 1715042 w 11128255"/>
                  <a:gd name="connsiteY12" fmla="*/ 737154 h 1994638"/>
                  <a:gd name="connsiteX13" fmla="*/ 2290465 w 11128255"/>
                  <a:gd name="connsiteY13" fmla="*/ 754148 h 1994638"/>
                  <a:gd name="connsiteX14" fmla="*/ 3430464 w 11128255"/>
                  <a:gd name="connsiteY14" fmla="*/ 754148 h 1994638"/>
                  <a:gd name="connsiteX15" fmla="*/ 4125323 w 11128255"/>
                  <a:gd name="connsiteY15" fmla="*/ 788136 h 1994638"/>
                  <a:gd name="connsiteX16" fmla="*/ 4581333 w 11128255"/>
                  <a:gd name="connsiteY16" fmla="*/ 728648 h 1994638"/>
                  <a:gd name="connsiteX17" fmla="*/ 5059055 w 11128255"/>
                  <a:gd name="connsiteY17" fmla="*/ 728648 h 1994638"/>
                  <a:gd name="connsiteX18" fmla="*/ 5829924 w 11128255"/>
                  <a:gd name="connsiteY18" fmla="*/ 771142 h 1994638"/>
                  <a:gd name="connsiteX19" fmla="*/ 6709360 w 11128255"/>
                  <a:gd name="connsiteY19" fmla="*/ 754148 h 1994638"/>
                  <a:gd name="connsiteX20" fmla="*/ 7339078 w 11128255"/>
                  <a:gd name="connsiteY20" fmla="*/ 762654 h 1994638"/>
                  <a:gd name="connsiteX21" fmla="*/ 8175088 w 11128255"/>
                  <a:gd name="connsiteY21" fmla="*/ 762654 h 1994638"/>
                  <a:gd name="connsiteX22" fmla="*/ 9239101 w 11128255"/>
                  <a:gd name="connsiteY22" fmla="*/ 788154 h 1994638"/>
                  <a:gd name="connsiteX23" fmla="*/ 9988256 w 11128255"/>
                  <a:gd name="connsiteY23" fmla="*/ 779648 h 1994638"/>
                  <a:gd name="connsiteX24" fmla="*/ 10520251 w 11128255"/>
                  <a:gd name="connsiteY24" fmla="*/ 771142 h 1994638"/>
                  <a:gd name="connsiteX25" fmla="*/ 10997974 w 11128255"/>
                  <a:gd name="connsiteY25" fmla="*/ 737154 h 1994638"/>
                  <a:gd name="connsiteX26" fmla="*/ 11128255 w 11128255"/>
                  <a:gd name="connsiteY26" fmla="*/ 754148 h 1994638"/>
                  <a:gd name="connsiteX27" fmla="*/ 11128255 w 11128255"/>
                  <a:gd name="connsiteY27" fmla="*/ 133791 h 1994638"/>
                  <a:gd name="connsiteX28" fmla="*/ 10943679 w 11128255"/>
                  <a:gd name="connsiteY28" fmla="*/ 65870 h 1994638"/>
                  <a:gd name="connsiteX29" fmla="*/ 10129383 w 11128255"/>
                  <a:gd name="connsiteY29" fmla="*/ 14889 h 1994638"/>
                  <a:gd name="connsiteX30" fmla="*/ 9543092 w 11128255"/>
                  <a:gd name="connsiteY30" fmla="*/ 108364 h 1994638"/>
                  <a:gd name="connsiteX31" fmla="*/ 8641942 w 11128255"/>
                  <a:gd name="connsiteY31" fmla="*/ 201839 h 1994638"/>
                  <a:gd name="connsiteX32" fmla="*/ 7675651 w 11128255"/>
                  <a:gd name="connsiteY32" fmla="*/ 201839 h 1994638"/>
                  <a:gd name="connsiteX33" fmla="*/ 5949361 w 11128255"/>
                  <a:gd name="connsiteY33" fmla="*/ 193333 h 1994638"/>
                  <a:gd name="connsiteX34" fmla="*/ 4863633 w 11128255"/>
                  <a:gd name="connsiteY34" fmla="*/ 65870 h 1994638"/>
                  <a:gd name="connsiteX35" fmla="*/ 3072201 w 11128255"/>
                  <a:gd name="connsiteY35" fmla="*/ 57364 h 1994638"/>
                  <a:gd name="connsiteX36" fmla="*/ 2532379 w 11128255"/>
                  <a:gd name="connsiteY36" fmla="*/ 66415 h 1994638"/>
                  <a:gd name="connsiteX0" fmla="*/ 2290884 w 10886760"/>
                  <a:gd name="connsiteY0" fmla="*/ 66415 h 1994638"/>
                  <a:gd name="connsiteX1" fmla="*/ 2173324 w 10886760"/>
                  <a:gd name="connsiteY1" fmla="*/ 625754 h 1994638"/>
                  <a:gd name="connsiteX2" fmla="*/ 116411 w 10886760"/>
                  <a:gd name="connsiteY2" fmla="*/ 1416926 h 1994638"/>
                  <a:gd name="connsiteX3" fmla="*/ 246693 w 10886760"/>
                  <a:gd name="connsiteY3" fmla="*/ 1595370 h 1994638"/>
                  <a:gd name="connsiteX4" fmla="*/ 300988 w 10886760"/>
                  <a:gd name="connsiteY4" fmla="*/ 1790808 h 1994638"/>
                  <a:gd name="connsiteX5" fmla="*/ 463852 w 10886760"/>
                  <a:gd name="connsiteY5" fmla="*/ 1986246 h 1994638"/>
                  <a:gd name="connsiteX6" fmla="*/ 626716 w 10886760"/>
                  <a:gd name="connsiteY6" fmla="*/ 1858784 h 1994638"/>
                  <a:gd name="connsiteX7" fmla="*/ 648430 w 10886760"/>
                  <a:gd name="connsiteY7" fmla="*/ 1595370 h 1994638"/>
                  <a:gd name="connsiteX8" fmla="*/ 800425 w 10886760"/>
                  <a:gd name="connsiteY8" fmla="*/ 1510401 h 1994638"/>
                  <a:gd name="connsiteX9" fmla="*/ 908993 w 10886760"/>
                  <a:gd name="connsiteY9" fmla="*/ 1229994 h 1994638"/>
                  <a:gd name="connsiteX10" fmla="*/ 1017561 w 10886760"/>
                  <a:gd name="connsiteY10" fmla="*/ 873105 h 1994638"/>
                  <a:gd name="connsiteX11" fmla="*/ 1169556 w 10886760"/>
                  <a:gd name="connsiteY11" fmla="*/ 737154 h 1994638"/>
                  <a:gd name="connsiteX12" fmla="*/ 1473547 w 10886760"/>
                  <a:gd name="connsiteY12" fmla="*/ 737154 h 1994638"/>
                  <a:gd name="connsiteX13" fmla="*/ 2048970 w 10886760"/>
                  <a:gd name="connsiteY13" fmla="*/ 754148 h 1994638"/>
                  <a:gd name="connsiteX14" fmla="*/ 3188969 w 10886760"/>
                  <a:gd name="connsiteY14" fmla="*/ 754148 h 1994638"/>
                  <a:gd name="connsiteX15" fmla="*/ 3883828 w 10886760"/>
                  <a:gd name="connsiteY15" fmla="*/ 788136 h 1994638"/>
                  <a:gd name="connsiteX16" fmla="*/ 4339838 w 10886760"/>
                  <a:gd name="connsiteY16" fmla="*/ 728648 h 1994638"/>
                  <a:gd name="connsiteX17" fmla="*/ 4817560 w 10886760"/>
                  <a:gd name="connsiteY17" fmla="*/ 728648 h 1994638"/>
                  <a:gd name="connsiteX18" fmla="*/ 5588429 w 10886760"/>
                  <a:gd name="connsiteY18" fmla="*/ 771142 h 1994638"/>
                  <a:gd name="connsiteX19" fmla="*/ 6467865 w 10886760"/>
                  <a:gd name="connsiteY19" fmla="*/ 754148 h 1994638"/>
                  <a:gd name="connsiteX20" fmla="*/ 7097583 w 10886760"/>
                  <a:gd name="connsiteY20" fmla="*/ 762654 h 1994638"/>
                  <a:gd name="connsiteX21" fmla="*/ 7933593 w 10886760"/>
                  <a:gd name="connsiteY21" fmla="*/ 762654 h 1994638"/>
                  <a:gd name="connsiteX22" fmla="*/ 8997606 w 10886760"/>
                  <a:gd name="connsiteY22" fmla="*/ 788154 h 1994638"/>
                  <a:gd name="connsiteX23" fmla="*/ 9746761 w 10886760"/>
                  <a:gd name="connsiteY23" fmla="*/ 779648 h 1994638"/>
                  <a:gd name="connsiteX24" fmla="*/ 10278756 w 10886760"/>
                  <a:gd name="connsiteY24" fmla="*/ 771142 h 1994638"/>
                  <a:gd name="connsiteX25" fmla="*/ 10756479 w 10886760"/>
                  <a:gd name="connsiteY25" fmla="*/ 737154 h 1994638"/>
                  <a:gd name="connsiteX26" fmla="*/ 10886760 w 10886760"/>
                  <a:gd name="connsiteY26" fmla="*/ 754148 h 1994638"/>
                  <a:gd name="connsiteX27" fmla="*/ 10886760 w 10886760"/>
                  <a:gd name="connsiteY27" fmla="*/ 133791 h 1994638"/>
                  <a:gd name="connsiteX28" fmla="*/ 10702184 w 10886760"/>
                  <a:gd name="connsiteY28" fmla="*/ 65870 h 1994638"/>
                  <a:gd name="connsiteX29" fmla="*/ 9887888 w 10886760"/>
                  <a:gd name="connsiteY29" fmla="*/ 14889 h 1994638"/>
                  <a:gd name="connsiteX30" fmla="*/ 9301597 w 10886760"/>
                  <a:gd name="connsiteY30" fmla="*/ 108364 h 1994638"/>
                  <a:gd name="connsiteX31" fmla="*/ 8400447 w 10886760"/>
                  <a:gd name="connsiteY31" fmla="*/ 201839 h 1994638"/>
                  <a:gd name="connsiteX32" fmla="*/ 7434156 w 10886760"/>
                  <a:gd name="connsiteY32" fmla="*/ 201839 h 1994638"/>
                  <a:gd name="connsiteX33" fmla="*/ 5707866 w 10886760"/>
                  <a:gd name="connsiteY33" fmla="*/ 193333 h 1994638"/>
                  <a:gd name="connsiteX34" fmla="*/ 4622138 w 10886760"/>
                  <a:gd name="connsiteY34" fmla="*/ 65870 h 1994638"/>
                  <a:gd name="connsiteX35" fmla="*/ 2830706 w 10886760"/>
                  <a:gd name="connsiteY35" fmla="*/ 57364 h 1994638"/>
                  <a:gd name="connsiteX36" fmla="*/ 2290884 w 10886760"/>
                  <a:gd name="connsiteY36" fmla="*/ 66415 h 1994638"/>
                  <a:gd name="connsiteX0" fmla="*/ 2179017 w 10774893"/>
                  <a:gd name="connsiteY0" fmla="*/ 66415 h 1994638"/>
                  <a:gd name="connsiteX1" fmla="*/ 2061457 w 10774893"/>
                  <a:gd name="connsiteY1" fmla="*/ 625754 h 1994638"/>
                  <a:gd name="connsiteX2" fmla="*/ 134826 w 10774893"/>
                  <a:gd name="connsiteY2" fmla="*/ 1595370 h 1994638"/>
                  <a:gd name="connsiteX3" fmla="*/ 189121 w 10774893"/>
                  <a:gd name="connsiteY3" fmla="*/ 1790808 h 1994638"/>
                  <a:gd name="connsiteX4" fmla="*/ 351985 w 10774893"/>
                  <a:gd name="connsiteY4" fmla="*/ 1986246 h 1994638"/>
                  <a:gd name="connsiteX5" fmla="*/ 514849 w 10774893"/>
                  <a:gd name="connsiteY5" fmla="*/ 1858784 h 1994638"/>
                  <a:gd name="connsiteX6" fmla="*/ 536563 w 10774893"/>
                  <a:gd name="connsiteY6" fmla="*/ 1595370 h 1994638"/>
                  <a:gd name="connsiteX7" fmla="*/ 688558 w 10774893"/>
                  <a:gd name="connsiteY7" fmla="*/ 1510401 h 1994638"/>
                  <a:gd name="connsiteX8" fmla="*/ 797126 w 10774893"/>
                  <a:gd name="connsiteY8" fmla="*/ 1229994 h 1994638"/>
                  <a:gd name="connsiteX9" fmla="*/ 905694 w 10774893"/>
                  <a:gd name="connsiteY9" fmla="*/ 873105 h 1994638"/>
                  <a:gd name="connsiteX10" fmla="*/ 1057689 w 10774893"/>
                  <a:gd name="connsiteY10" fmla="*/ 737154 h 1994638"/>
                  <a:gd name="connsiteX11" fmla="*/ 1361680 w 10774893"/>
                  <a:gd name="connsiteY11" fmla="*/ 737154 h 1994638"/>
                  <a:gd name="connsiteX12" fmla="*/ 1937103 w 10774893"/>
                  <a:gd name="connsiteY12" fmla="*/ 754148 h 1994638"/>
                  <a:gd name="connsiteX13" fmla="*/ 3077102 w 10774893"/>
                  <a:gd name="connsiteY13" fmla="*/ 754148 h 1994638"/>
                  <a:gd name="connsiteX14" fmla="*/ 3771961 w 10774893"/>
                  <a:gd name="connsiteY14" fmla="*/ 788136 h 1994638"/>
                  <a:gd name="connsiteX15" fmla="*/ 4227971 w 10774893"/>
                  <a:gd name="connsiteY15" fmla="*/ 728648 h 1994638"/>
                  <a:gd name="connsiteX16" fmla="*/ 4705693 w 10774893"/>
                  <a:gd name="connsiteY16" fmla="*/ 728648 h 1994638"/>
                  <a:gd name="connsiteX17" fmla="*/ 5476562 w 10774893"/>
                  <a:gd name="connsiteY17" fmla="*/ 771142 h 1994638"/>
                  <a:gd name="connsiteX18" fmla="*/ 6355998 w 10774893"/>
                  <a:gd name="connsiteY18" fmla="*/ 754148 h 1994638"/>
                  <a:gd name="connsiteX19" fmla="*/ 6985716 w 10774893"/>
                  <a:gd name="connsiteY19" fmla="*/ 762654 h 1994638"/>
                  <a:gd name="connsiteX20" fmla="*/ 7821726 w 10774893"/>
                  <a:gd name="connsiteY20" fmla="*/ 762654 h 1994638"/>
                  <a:gd name="connsiteX21" fmla="*/ 8885739 w 10774893"/>
                  <a:gd name="connsiteY21" fmla="*/ 788154 h 1994638"/>
                  <a:gd name="connsiteX22" fmla="*/ 9634894 w 10774893"/>
                  <a:gd name="connsiteY22" fmla="*/ 779648 h 1994638"/>
                  <a:gd name="connsiteX23" fmla="*/ 10166889 w 10774893"/>
                  <a:gd name="connsiteY23" fmla="*/ 771142 h 1994638"/>
                  <a:gd name="connsiteX24" fmla="*/ 10644612 w 10774893"/>
                  <a:gd name="connsiteY24" fmla="*/ 737154 h 1994638"/>
                  <a:gd name="connsiteX25" fmla="*/ 10774893 w 10774893"/>
                  <a:gd name="connsiteY25" fmla="*/ 754148 h 1994638"/>
                  <a:gd name="connsiteX26" fmla="*/ 10774893 w 10774893"/>
                  <a:gd name="connsiteY26" fmla="*/ 133791 h 1994638"/>
                  <a:gd name="connsiteX27" fmla="*/ 10590317 w 10774893"/>
                  <a:gd name="connsiteY27" fmla="*/ 65870 h 1994638"/>
                  <a:gd name="connsiteX28" fmla="*/ 9776021 w 10774893"/>
                  <a:gd name="connsiteY28" fmla="*/ 14889 h 1994638"/>
                  <a:gd name="connsiteX29" fmla="*/ 9189730 w 10774893"/>
                  <a:gd name="connsiteY29" fmla="*/ 108364 h 1994638"/>
                  <a:gd name="connsiteX30" fmla="*/ 8288580 w 10774893"/>
                  <a:gd name="connsiteY30" fmla="*/ 201839 h 1994638"/>
                  <a:gd name="connsiteX31" fmla="*/ 7322289 w 10774893"/>
                  <a:gd name="connsiteY31" fmla="*/ 201839 h 1994638"/>
                  <a:gd name="connsiteX32" fmla="*/ 5595999 w 10774893"/>
                  <a:gd name="connsiteY32" fmla="*/ 193333 h 1994638"/>
                  <a:gd name="connsiteX33" fmla="*/ 4510271 w 10774893"/>
                  <a:gd name="connsiteY33" fmla="*/ 65870 h 1994638"/>
                  <a:gd name="connsiteX34" fmla="*/ 2718839 w 10774893"/>
                  <a:gd name="connsiteY34" fmla="*/ 57364 h 1994638"/>
                  <a:gd name="connsiteX35" fmla="*/ 2179017 w 10774893"/>
                  <a:gd name="connsiteY35" fmla="*/ 66415 h 1994638"/>
                  <a:gd name="connsiteX0" fmla="*/ 2100767 w 10696643"/>
                  <a:gd name="connsiteY0" fmla="*/ 66415 h 2006207"/>
                  <a:gd name="connsiteX1" fmla="*/ 1983207 w 10696643"/>
                  <a:gd name="connsiteY1" fmla="*/ 625754 h 2006207"/>
                  <a:gd name="connsiteX2" fmla="*/ 110871 w 10696643"/>
                  <a:gd name="connsiteY2" fmla="*/ 1790808 h 2006207"/>
                  <a:gd name="connsiteX3" fmla="*/ 273735 w 10696643"/>
                  <a:gd name="connsiteY3" fmla="*/ 1986246 h 2006207"/>
                  <a:gd name="connsiteX4" fmla="*/ 436599 w 10696643"/>
                  <a:gd name="connsiteY4" fmla="*/ 1858784 h 2006207"/>
                  <a:gd name="connsiteX5" fmla="*/ 458313 w 10696643"/>
                  <a:gd name="connsiteY5" fmla="*/ 1595370 h 2006207"/>
                  <a:gd name="connsiteX6" fmla="*/ 610308 w 10696643"/>
                  <a:gd name="connsiteY6" fmla="*/ 1510401 h 2006207"/>
                  <a:gd name="connsiteX7" fmla="*/ 718876 w 10696643"/>
                  <a:gd name="connsiteY7" fmla="*/ 1229994 h 2006207"/>
                  <a:gd name="connsiteX8" fmla="*/ 827444 w 10696643"/>
                  <a:gd name="connsiteY8" fmla="*/ 873105 h 2006207"/>
                  <a:gd name="connsiteX9" fmla="*/ 979439 w 10696643"/>
                  <a:gd name="connsiteY9" fmla="*/ 737154 h 2006207"/>
                  <a:gd name="connsiteX10" fmla="*/ 1283430 w 10696643"/>
                  <a:gd name="connsiteY10" fmla="*/ 737154 h 2006207"/>
                  <a:gd name="connsiteX11" fmla="*/ 1858853 w 10696643"/>
                  <a:gd name="connsiteY11" fmla="*/ 754148 h 2006207"/>
                  <a:gd name="connsiteX12" fmla="*/ 2998852 w 10696643"/>
                  <a:gd name="connsiteY12" fmla="*/ 754148 h 2006207"/>
                  <a:gd name="connsiteX13" fmla="*/ 3693711 w 10696643"/>
                  <a:gd name="connsiteY13" fmla="*/ 788136 h 2006207"/>
                  <a:gd name="connsiteX14" fmla="*/ 4149721 w 10696643"/>
                  <a:gd name="connsiteY14" fmla="*/ 728648 h 2006207"/>
                  <a:gd name="connsiteX15" fmla="*/ 4627443 w 10696643"/>
                  <a:gd name="connsiteY15" fmla="*/ 728648 h 2006207"/>
                  <a:gd name="connsiteX16" fmla="*/ 5398312 w 10696643"/>
                  <a:gd name="connsiteY16" fmla="*/ 771142 h 2006207"/>
                  <a:gd name="connsiteX17" fmla="*/ 6277748 w 10696643"/>
                  <a:gd name="connsiteY17" fmla="*/ 754148 h 2006207"/>
                  <a:gd name="connsiteX18" fmla="*/ 6907466 w 10696643"/>
                  <a:gd name="connsiteY18" fmla="*/ 762654 h 2006207"/>
                  <a:gd name="connsiteX19" fmla="*/ 7743476 w 10696643"/>
                  <a:gd name="connsiteY19" fmla="*/ 762654 h 2006207"/>
                  <a:gd name="connsiteX20" fmla="*/ 8807489 w 10696643"/>
                  <a:gd name="connsiteY20" fmla="*/ 788154 h 2006207"/>
                  <a:gd name="connsiteX21" fmla="*/ 9556644 w 10696643"/>
                  <a:gd name="connsiteY21" fmla="*/ 779648 h 2006207"/>
                  <a:gd name="connsiteX22" fmla="*/ 10088639 w 10696643"/>
                  <a:gd name="connsiteY22" fmla="*/ 771142 h 2006207"/>
                  <a:gd name="connsiteX23" fmla="*/ 10566362 w 10696643"/>
                  <a:gd name="connsiteY23" fmla="*/ 737154 h 2006207"/>
                  <a:gd name="connsiteX24" fmla="*/ 10696643 w 10696643"/>
                  <a:gd name="connsiteY24" fmla="*/ 754148 h 2006207"/>
                  <a:gd name="connsiteX25" fmla="*/ 10696643 w 10696643"/>
                  <a:gd name="connsiteY25" fmla="*/ 133791 h 2006207"/>
                  <a:gd name="connsiteX26" fmla="*/ 10512067 w 10696643"/>
                  <a:gd name="connsiteY26" fmla="*/ 65870 h 2006207"/>
                  <a:gd name="connsiteX27" fmla="*/ 9697771 w 10696643"/>
                  <a:gd name="connsiteY27" fmla="*/ 14889 h 2006207"/>
                  <a:gd name="connsiteX28" fmla="*/ 9111480 w 10696643"/>
                  <a:gd name="connsiteY28" fmla="*/ 108364 h 2006207"/>
                  <a:gd name="connsiteX29" fmla="*/ 8210330 w 10696643"/>
                  <a:gd name="connsiteY29" fmla="*/ 201839 h 2006207"/>
                  <a:gd name="connsiteX30" fmla="*/ 7244039 w 10696643"/>
                  <a:gd name="connsiteY30" fmla="*/ 201839 h 2006207"/>
                  <a:gd name="connsiteX31" fmla="*/ 5517749 w 10696643"/>
                  <a:gd name="connsiteY31" fmla="*/ 193333 h 2006207"/>
                  <a:gd name="connsiteX32" fmla="*/ 4432021 w 10696643"/>
                  <a:gd name="connsiteY32" fmla="*/ 65870 h 2006207"/>
                  <a:gd name="connsiteX33" fmla="*/ 2640589 w 10696643"/>
                  <a:gd name="connsiteY33" fmla="*/ 57364 h 2006207"/>
                  <a:gd name="connsiteX34" fmla="*/ 2100767 w 10696643"/>
                  <a:gd name="connsiteY34" fmla="*/ 66415 h 2006207"/>
                  <a:gd name="connsiteX0" fmla="*/ 1827032 w 10422908"/>
                  <a:gd name="connsiteY0" fmla="*/ 66415 h 1986245"/>
                  <a:gd name="connsiteX1" fmla="*/ 1709472 w 10422908"/>
                  <a:gd name="connsiteY1" fmla="*/ 625754 h 1986245"/>
                  <a:gd name="connsiteX2" fmla="*/ 0 w 10422908"/>
                  <a:gd name="connsiteY2" fmla="*/ 1986246 h 1986245"/>
                  <a:gd name="connsiteX3" fmla="*/ 162864 w 10422908"/>
                  <a:gd name="connsiteY3" fmla="*/ 1858784 h 1986245"/>
                  <a:gd name="connsiteX4" fmla="*/ 184578 w 10422908"/>
                  <a:gd name="connsiteY4" fmla="*/ 1595370 h 1986245"/>
                  <a:gd name="connsiteX5" fmla="*/ 336573 w 10422908"/>
                  <a:gd name="connsiteY5" fmla="*/ 1510401 h 1986245"/>
                  <a:gd name="connsiteX6" fmla="*/ 445141 w 10422908"/>
                  <a:gd name="connsiteY6" fmla="*/ 1229994 h 1986245"/>
                  <a:gd name="connsiteX7" fmla="*/ 553709 w 10422908"/>
                  <a:gd name="connsiteY7" fmla="*/ 873105 h 1986245"/>
                  <a:gd name="connsiteX8" fmla="*/ 705704 w 10422908"/>
                  <a:gd name="connsiteY8" fmla="*/ 737154 h 1986245"/>
                  <a:gd name="connsiteX9" fmla="*/ 1009695 w 10422908"/>
                  <a:gd name="connsiteY9" fmla="*/ 737154 h 1986245"/>
                  <a:gd name="connsiteX10" fmla="*/ 1585118 w 10422908"/>
                  <a:gd name="connsiteY10" fmla="*/ 754148 h 1986245"/>
                  <a:gd name="connsiteX11" fmla="*/ 2725117 w 10422908"/>
                  <a:gd name="connsiteY11" fmla="*/ 754148 h 1986245"/>
                  <a:gd name="connsiteX12" fmla="*/ 3419976 w 10422908"/>
                  <a:gd name="connsiteY12" fmla="*/ 788136 h 1986245"/>
                  <a:gd name="connsiteX13" fmla="*/ 3875986 w 10422908"/>
                  <a:gd name="connsiteY13" fmla="*/ 728648 h 1986245"/>
                  <a:gd name="connsiteX14" fmla="*/ 4353708 w 10422908"/>
                  <a:gd name="connsiteY14" fmla="*/ 728648 h 1986245"/>
                  <a:gd name="connsiteX15" fmla="*/ 5124577 w 10422908"/>
                  <a:gd name="connsiteY15" fmla="*/ 771142 h 1986245"/>
                  <a:gd name="connsiteX16" fmla="*/ 6004013 w 10422908"/>
                  <a:gd name="connsiteY16" fmla="*/ 754148 h 1986245"/>
                  <a:gd name="connsiteX17" fmla="*/ 6633731 w 10422908"/>
                  <a:gd name="connsiteY17" fmla="*/ 762654 h 1986245"/>
                  <a:gd name="connsiteX18" fmla="*/ 7469741 w 10422908"/>
                  <a:gd name="connsiteY18" fmla="*/ 762654 h 1986245"/>
                  <a:gd name="connsiteX19" fmla="*/ 8533754 w 10422908"/>
                  <a:gd name="connsiteY19" fmla="*/ 788154 h 1986245"/>
                  <a:gd name="connsiteX20" fmla="*/ 9282909 w 10422908"/>
                  <a:gd name="connsiteY20" fmla="*/ 779648 h 1986245"/>
                  <a:gd name="connsiteX21" fmla="*/ 9814904 w 10422908"/>
                  <a:gd name="connsiteY21" fmla="*/ 771142 h 1986245"/>
                  <a:gd name="connsiteX22" fmla="*/ 10292627 w 10422908"/>
                  <a:gd name="connsiteY22" fmla="*/ 737154 h 1986245"/>
                  <a:gd name="connsiteX23" fmla="*/ 10422908 w 10422908"/>
                  <a:gd name="connsiteY23" fmla="*/ 754148 h 1986245"/>
                  <a:gd name="connsiteX24" fmla="*/ 10422908 w 10422908"/>
                  <a:gd name="connsiteY24" fmla="*/ 133791 h 1986245"/>
                  <a:gd name="connsiteX25" fmla="*/ 10238332 w 10422908"/>
                  <a:gd name="connsiteY25" fmla="*/ 65870 h 1986245"/>
                  <a:gd name="connsiteX26" fmla="*/ 9424036 w 10422908"/>
                  <a:gd name="connsiteY26" fmla="*/ 14889 h 1986245"/>
                  <a:gd name="connsiteX27" fmla="*/ 8837745 w 10422908"/>
                  <a:gd name="connsiteY27" fmla="*/ 108364 h 1986245"/>
                  <a:gd name="connsiteX28" fmla="*/ 7936595 w 10422908"/>
                  <a:gd name="connsiteY28" fmla="*/ 201839 h 1986245"/>
                  <a:gd name="connsiteX29" fmla="*/ 6970304 w 10422908"/>
                  <a:gd name="connsiteY29" fmla="*/ 201839 h 1986245"/>
                  <a:gd name="connsiteX30" fmla="*/ 5244014 w 10422908"/>
                  <a:gd name="connsiteY30" fmla="*/ 193333 h 1986245"/>
                  <a:gd name="connsiteX31" fmla="*/ 4158286 w 10422908"/>
                  <a:gd name="connsiteY31" fmla="*/ 65870 h 1986245"/>
                  <a:gd name="connsiteX32" fmla="*/ 2366854 w 10422908"/>
                  <a:gd name="connsiteY32" fmla="*/ 57364 h 1986245"/>
                  <a:gd name="connsiteX33" fmla="*/ 1827032 w 10422908"/>
                  <a:gd name="connsiteY33" fmla="*/ 66415 h 1986245"/>
                  <a:gd name="connsiteX0" fmla="*/ 1786453 w 10382329"/>
                  <a:gd name="connsiteY0" fmla="*/ 66415 h 1901488"/>
                  <a:gd name="connsiteX1" fmla="*/ 1668893 w 10382329"/>
                  <a:gd name="connsiteY1" fmla="*/ 625754 h 1901488"/>
                  <a:gd name="connsiteX2" fmla="*/ 122285 w 10382329"/>
                  <a:gd name="connsiteY2" fmla="*/ 1858784 h 1901488"/>
                  <a:gd name="connsiteX3" fmla="*/ 143999 w 10382329"/>
                  <a:gd name="connsiteY3" fmla="*/ 1595370 h 1901488"/>
                  <a:gd name="connsiteX4" fmla="*/ 295994 w 10382329"/>
                  <a:gd name="connsiteY4" fmla="*/ 1510401 h 1901488"/>
                  <a:gd name="connsiteX5" fmla="*/ 404562 w 10382329"/>
                  <a:gd name="connsiteY5" fmla="*/ 1229994 h 1901488"/>
                  <a:gd name="connsiteX6" fmla="*/ 513130 w 10382329"/>
                  <a:gd name="connsiteY6" fmla="*/ 873105 h 1901488"/>
                  <a:gd name="connsiteX7" fmla="*/ 665125 w 10382329"/>
                  <a:gd name="connsiteY7" fmla="*/ 737154 h 1901488"/>
                  <a:gd name="connsiteX8" fmla="*/ 969116 w 10382329"/>
                  <a:gd name="connsiteY8" fmla="*/ 737154 h 1901488"/>
                  <a:gd name="connsiteX9" fmla="*/ 1544539 w 10382329"/>
                  <a:gd name="connsiteY9" fmla="*/ 754148 h 1901488"/>
                  <a:gd name="connsiteX10" fmla="*/ 2684538 w 10382329"/>
                  <a:gd name="connsiteY10" fmla="*/ 754148 h 1901488"/>
                  <a:gd name="connsiteX11" fmla="*/ 3379397 w 10382329"/>
                  <a:gd name="connsiteY11" fmla="*/ 788136 h 1901488"/>
                  <a:gd name="connsiteX12" fmla="*/ 3835407 w 10382329"/>
                  <a:gd name="connsiteY12" fmla="*/ 728648 h 1901488"/>
                  <a:gd name="connsiteX13" fmla="*/ 4313129 w 10382329"/>
                  <a:gd name="connsiteY13" fmla="*/ 728648 h 1901488"/>
                  <a:gd name="connsiteX14" fmla="*/ 5083998 w 10382329"/>
                  <a:gd name="connsiteY14" fmla="*/ 771142 h 1901488"/>
                  <a:gd name="connsiteX15" fmla="*/ 5963434 w 10382329"/>
                  <a:gd name="connsiteY15" fmla="*/ 754148 h 1901488"/>
                  <a:gd name="connsiteX16" fmla="*/ 6593152 w 10382329"/>
                  <a:gd name="connsiteY16" fmla="*/ 762654 h 1901488"/>
                  <a:gd name="connsiteX17" fmla="*/ 7429162 w 10382329"/>
                  <a:gd name="connsiteY17" fmla="*/ 762654 h 1901488"/>
                  <a:gd name="connsiteX18" fmla="*/ 8493175 w 10382329"/>
                  <a:gd name="connsiteY18" fmla="*/ 788154 h 1901488"/>
                  <a:gd name="connsiteX19" fmla="*/ 9242330 w 10382329"/>
                  <a:gd name="connsiteY19" fmla="*/ 779648 h 1901488"/>
                  <a:gd name="connsiteX20" fmla="*/ 9774325 w 10382329"/>
                  <a:gd name="connsiteY20" fmla="*/ 771142 h 1901488"/>
                  <a:gd name="connsiteX21" fmla="*/ 10252048 w 10382329"/>
                  <a:gd name="connsiteY21" fmla="*/ 737154 h 1901488"/>
                  <a:gd name="connsiteX22" fmla="*/ 10382329 w 10382329"/>
                  <a:gd name="connsiteY22" fmla="*/ 754148 h 1901488"/>
                  <a:gd name="connsiteX23" fmla="*/ 10382329 w 10382329"/>
                  <a:gd name="connsiteY23" fmla="*/ 133791 h 1901488"/>
                  <a:gd name="connsiteX24" fmla="*/ 10197753 w 10382329"/>
                  <a:gd name="connsiteY24" fmla="*/ 65870 h 1901488"/>
                  <a:gd name="connsiteX25" fmla="*/ 9383457 w 10382329"/>
                  <a:gd name="connsiteY25" fmla="*/ 14889 h 1901488"/>
                  <a:gd name="connsiteX26" fmla="*/ 8797166 w 10382329"/>
                  <a:gd name="connsiteY26" fmla="*/ 108364 h 1901488"/>
                  <a:gd name="connsiteX27" fmla="*/ 7896016 w 10382329"/>
                  <a:gd name="connsiteY27" fmla="*/ 201839 h 1901488"/>
                  <a:gd name="connsiteX28" fmla="*/ 6929725 w 10382329"/>
                  <a:gd name="connsiteY28" fmla="*/ 201839 h 1901488"/>
                  <a:gd name="connsiteX29" fmla="*/ 5203435 w 10382329"/>
                  <a:gd name="connsiteY29" fmla="*/ 193333 h 1901488"/>
                  <a:gd name="connsiteX30" fmla="*/ 4117707 w 10382329"/>
                  <a:gd name="connsiteY30" fmla="*/ 65870 h 1901488"/>
                  <a:gd name="connsiteX31" fmla="*/ 2326275 w 10382329"/>
                  <a:gd name="connsiteY31" fmla="*/ 57364 h 1901488"/>
                  <a:gd name="connsiteX32" fmla="*/ 1786453 w 10382329"/>
                  <a:gd name="connsiteY32" fmla="*/ 66415 h 1901488"/>
                  <a:gd name="connsiteX0" fmla="*/ 1724759 w 10320635"/>
                  <a:gd name="connsiteY0" fmla="*/ 66415 h 1652063"/>
                  <a:gd name="connsiteX1" fmla="*/ 1607199 w 10320635"/>
                  <a:gd name="connsiteY1" fmla="*/ 625754 h 1652063"/>
                  <a:gd name="connsiteX2" fmla="*/ 82305 w 10320635"/>
                  <a:gd name="connsiteY2" fmla="*/ 1595370 h 1652063"/>
                  <a:gd name="connsiteX3" fmla="*/ 234300 w 10320635"/>
                  <a:gd name="connsiteY3" fmla="*/ 1510401 h 1652063"/>
                  <a:gd name="connsiteX4" fmla="*/ 342868 w 10320635"/>
                  <a:gd name="connsiteY4" fmla="*/ 1229994 h 1652063"/>
                  <a:gd name="connsiteX5" fmla="*/ 451436 w 10320635"/>
                  <a:gd name="connsiteY5" fmla="*/ 873105 h 1652063"/>
                  <a:gd name="connsiteX6" fmla="*/ 603431 w 10320635"/>
                  <a:gd name="connsiteY6" fmla="*/ 737154 h 1652063"/>
                  <a:gd name="connsiteX7" fmla="*/ 907422 w 10320635"/>
                  <a:gd name="connsiteY7" fmla="*/ 737154 h 1652063"/>
                  <a:gd name="connsiteX8" fmla="*/ 1482845 w 10320635"/>
                  <a:gd name="connsiteY8" fmla="*/ 754148 h 1652063"/>
                  <a:gd name="connsiteX9" fmla="*/ 2622844 w 10320635"/>
                  <a:gd name="connsiteY9" fmla="*/ 754148 h 1652063"/>
                  <a:gd name="connsiteX10" fmla="*/ 3317703 w 10320635"/>
                  <a:gd name="connsiteY10" fmla="*/ 788136 h 1652063"/>
                  <a:gd name="connsiteX11" fmla="*/ 3773713 w 10320635"/>
                  <a:gd name="connsiteY11" fmla="*/ 728648 h 1652063"/>
                  <a:gd name="connsiteX12" fmla="*/ 4251435 w 10320635"/>
                  <a:gd name="connsiteY12" fmla="*/ 728648 h 1652063"/>
                  <a:gd name="connsiteX13" fmla="*/ 5022304 w 10320635"/>
                  <a:gd name="connsiteY13" fmla="*/ 771142 h 1652063"/>
                  <a:gd name="connsiteX14" fmla="*/ 5901740 w 10320635"/>
                  <a:gd name="connsiteY14" fmla="*/ 754148 h 1652063"/>
                  <a:gd name="connsiteX15" fmla="*/ 6531458 w 10320635"/>
                  <a:gd name="connsiteY15" fmla="*/ 762654 h 1652063"/>
                  <a:gd name="connsiteX16" fmla="*/ 7367468 w 10320635"/>
                  <a:gd name="connsiteY16" fmla="*/ 762654 h 1652063"/>
                  <a:gd name="connsiteX17" fmla="*/ 8431481 w 10320635"/>
                  <a:gd name="connsiteY17" fmla="*/ 788154 h 1652063"/>
                  <a:gd name="connsiteX18" fmla="*/ 9180636 w 10320635"/>
                  <a:gd name="connsiteY18" fmla="*/ 779648 h 1652063"/>
                  <a:gd name="connsiteX19" fmla="*/ 9712631 w 10320635"/>
                  <a:gd name="connsiteY19" fmla="*/ 771142 h 1652063"/>
                  <a:gd name="connsiteX20" fmla="*/ 10190354 w 10320635"/>
                  <a:gd name="connsiteY20" fmla="*/ 737154 h 1652063"/>
                  <a:gd name="connsiteX21" fmla="*/ 10320635 w 10320635"/>
                  <a:gd name="connsiteY21" fmla="*/ 754148 h 1652063"/>
                  <a:gd name="connsiteX22" fmla="*/ 10320635 w 10320635"/>
                  <a:gd name="connsiteY22" fmla="*/ 133791 h 1652063"/>
                  <a:gd name="connsiteX23" fmla="*/ 10136059 w 10320635"/>
                  <a:gd name="connsiteY23" fmla="*/ 65870 h 1652063"/>
                  <a:gd name="connsiteX24" fmla="*/ 9321763 w 10320635"/>
                  <a:gd name="connsiteY24" fmla="*/ 14889 h 1652063"/>
                  <a:gd name="connsiteX25" fmla="*/ 8735472 w 10320635"/>
                  <a:gd name="connsiteY25" fmla="*/ 108364 h 1652063"/>
                  <a:gd name="connsiteX26" fmla="*/ 7834322 w 10320635"/>
                  <a:gd name="connsiteY26" fmla="*/ 201839 h 1652063"/>
                  <a:gd name="connsiteX27" fmla="*/ 6868031 w 10320635"/>
                  <a:gd name="connsiteY27" fmla="*/ 201839 h 1652063"/>
                  <a:gd name="connsiteX28" fmla="*/ 5141741 w 10320635"/>
                  <a:gd name="connsiteY28" fmla="*/ 193333 h 1652063"/>
                  <a:gd name="connsiteX29" fmla="*/ 4056013 w 10320635"/>
                  <a:gd name="connsiteY29" fmla="*/ 65870 h 1652063"/>
                  <a:gd name="connsiteX30" fmla="*/ 2264581 w 10320635"/>
                  <a:gd name="connsiteY30" fmla="*/ 57364 h 1652063"/>
                  <a:gd name="connsiteX31" fmla="*/ 1724759 w 10320635"/>
                  <a:gd name="connsiteY31" fmla="*/ 66415 h 1652063"/>
                  <a:gd name="connsiteX0" fmla="*/ 1567192 w 10163068"/>
                  <a:gd name="connsiteY0" fmla="*/ 66415 h 1535484"/>
                  <a:gd name="connsiteX1" fmla="*/ 1449632 w 10163068"/>
                  <a:gd name="connsiteY1" fmla="*/ 625754 h 1535484"/>
                  <a:gd name="connsiteX2" fmla="*/ 76733 w 10163068"/>
                  <a:gd name="connsiteY2" fmla="*/ 1510401 h 1535484"/>
                  <a:gd name="connsiteX3" fmla="*/ 185301 w 10163068"/>
                  <a:gd name="connsiteY3" fmla="*/ 1229994 h 1535484"/>
                  <a:gd name="connsiteX4" fmla="*/ 293869 w 10163068"/>
                  <a:gd name="connsiteY4" fmla="*/ 873105 h 1535484"/>
                  <a:gd name="connsiteX5" fmla="*/ 445864 w 10163068"/>
                  <a:gd name="connsiteY5" fmla="*/ 737154 h 1535484"/>
                  <a:gd name="connsiteX6" fmla="*/ 749855 w 10163068"/>
                  <a:gd name="connsiteY6" fmla="*/ 737154 h 1535484"/>
                  <a:gd name="connsiteX7" fmla="*/ 1325278 w 10163068"/>
                  <a:gd name="connsiteY7" fmla="*/ 754148 h 1535484"/>
                  <a:gd name="connsiteX8" fmla="*/ 2465277 w 10163068"/>
                  <a:gd name="connsiteY8" fmla="*/ 754148 h 1535484"/>
                  <a:gd name="connsiteX9" fmla="*/ 3160136 w 10163068"/>
                  <a:gd name="connsiteY9" fmla="*/ 788136 h 1535484"/>
                  <a:gd name="connsiteX10" fmla="*/ 3616146 w 10163068"/>
                  <a:gd name="connsiteY10" fmla="*/ 728648 h 1535484"/>
                  <a:gd name="connsiteX11" fmla="*/ 4093868 w 10163068"/>
                  <a:gd name="connsiteY11" fmla="*/ 728648 h 1535484"/>
                  <a:gd name="connsiteX12" fmla="*/ 4864737 w 10163068"/>
                  <a:gd name="connsiteY12" fmla="*/ 771142 h 1535484"/>
                  <a:gd name="connsiteX13" fmla="*/ 5744173 w 10163068"/>
                  <a:gd name="connsiteY13" fmla="*/ 754148 h 1535484"/>
                  <a:gd name="connsiteX14" fmla="*/ 6373891 w 10163068"/>
                  <a:gd name="connsiteY14" fmla="*/ 762654 h 1535484"/>
                  <a:gd name="connsiteX15" fmla="*/ 7209901 w 10163068"/>
                  <a:gd name="connsiteY15" fmla="*/ 762654 h 1535484"/>
                  <a:gd name="connsiteX16" fmla="*/ 8273914 w 10163068"/>
                  <a:gd name="connsiteY16" fmla="*/ 788154 h 1535484"/>
                  <a:gd name="connsiteX17" fmla="*/ 9023069 w 10163068"/>
                  <a:gd name="connsiteY17" fmla="*/ 779648 h 1535484"/>
                  <a:gd name="connsiteX18" fmla="*/ 9555064 w 10163068"/>
                  <a:gd name="connsiteY18" fmla="*/ 771142 h 1535484"/>
                  <a:gd name="connsiteX19" fmla="*/ 10032787 w 10163068"/>
                  <a:gd name="connsiteY19" fmla="*/ 737154 h 1535484"/>
                  <a:gd name="connsiteX20" fmla="*/ 10163068 w 10163068"/>
                  <a:gd name="connsiteY20" fmla="*/ 754148 h 1535484"/>
                  <a:gd name="connsiteX21" fmla="*/ 10163068 w 10163068"/>
                  <a:gd name="connsiteY21" fmla="*/ 133791 h 1535484"/>
                  <a:gd name="connsiteX22" fmla="*/ 9978492 w 10163068"/>
                  <a:gd name="connsiteY22" fmla="*/ 65870 h 1535484"/>
                  <a:gd name="connsiteX23" fmla="*/ 9164196 w 10163068"/>
                  <a:gd name="connsiteY23" fmla="*/ 14889 h 1535484"/>
                  <a:gd name="connsiteX24" fmla="*/ 8577905 w 10163068"/>
                  <a:gd name="connsiteY24" fmla="*/ 108364 h 1535484"/>
                  <a:gd name="connsiteX25" fmla="*/ 7676755 w 10163068"/>
                  <a:gd name="connsiteY25" fmla="*/ 201839 h 1535484"/>
                  <a:gd name="connsiteX26" fmla="*/ 6710464 w 10163068"/>
                  <a:gd name="connsiteY26" fmla="*/ 201839 h 1535484"/>
                  <a:gd name="connsiteX27" fmla="*/ 4984174 w 10163068"/>
                  <a:gd name="connsiteY27" fmla="*/ 193333 h 1535484"/>
                  <a:gd name="connsiteX28" fmla="*/ 3898446 w 10163068"/>
                  <a:gd name="connsiteY28" fmla="*/ 65870 h 1535484"/>
                  <a:gd name="connsiteX29" fmla="*/ 2107014 w 10163068"/>
                  <a:gd name="connsiteY29" fmla="*/ 57364 h 1535484"/>
                  <a:gd name="connsiteX30" fmla="*/ 1567192 w 10163068"/>
                  <a:gd name="connsiteY30" fmla="*/ 66415 h 1535484"/>
                  <a:gd name="connsiteX0" fmla="*/ 1453651 w 10049527"/>
                  <a:gd name="connsiteY0" fmla="*/ 66415 h 1233597"/>
                  <a:gd name="connsiteX1" fmla="*/ 1336091 w 10049527"/>
                  <a:gd name="connsiteY1" fmla="*/ 625754 h 1233597"/>
                  <a:gd name="connsiteX2" fmla="*/ 71760 w 10049527"/>
                  <a:gd name="connsiteY2" fmla="*/ 1229994 h 1233597"/>
                  <a:gd name="connsiteX3" fmla="*/ 180328 w 10049527"/>
                  <a:gd name="connsiteY3" fmla="*/ 873105 h 1233597"/>
                  <a:gd name="connsiteX4" fmla="*/ 332323 w 10049527"/>
                  <a:gd name="connsiteY4" fmla="*/ 737154 h 1233597"/>
                  <a:gd name="connsiteX5" fmla="*/ 636314 w 10049527"/>
                  <a:gd name="connsiteY5" fmla="*/ 737154 h 1233597"/>
                  <a:gd name="connsiteX6" fmla="*/ 1211737 w 10049527"/>
                  <a:gd name="connsiteY6" fmla="*/ 754148 h 1233597"/>
                  <a:gd name="connsiteX7" fmla="*/ 2351736 w 10049527"/>
                  <a:gd name="connsiteY7" fmla="*/ 754148 h 1233597"/>
                  <a:gd name="connsiteX8" fmla="*/ 3046595 w 10049527"/>
                  <a:gd name="connsiteY8" fmla="*/ 788136 h 1233597"/>
                  <a:gd name="connsiteX9" fmla="*/ 3502605 w 10049527"/>
                  <a:gd name="connsiteY9" fmla="*/ 728648 h 1233597"/>
                  <a:gd name="connsiteX10" fmla="*/ 3980327 w 10049527"/>
                  <a:gd name="connsiteY10" fmla="*/ 728648 h 1233597"/>
                  <a:gd name="connsiteX11" fmla="*/ 4751196 w 10049527"/>
                  <a:gd name="connsiteY11" fmla="*/ 771142 h 1233597"/>
                  <a:gd name="connsiteX12" fmla="*/ 5630632 w 10049527"/>
                  <a:gd name="connsiteY12" fmla="*/ 754148 h 1233597"/>
                  <a:gd name="connsiteX13" fmla="*/ 6260350 w 10049527"/>
                  <a:gd name="connsiteY13" fmla="*/ 762654 h 1233597"/>
                  <a:gd name="connsiteX14" fmla="*/ 7096360 w 10049527"/>
                  <a:gd name="connsiteY14" fmla="*/ 762654 h 1233597"/>
                  <a:gd name="connsiteX15" fmla="*/ 8160373 w 10049527"/>
                  <a:gd name="connsiteY15" fmla="*/ 788154 h 1233597"/>
                  <a:gd name="connsiteX16" fmla="*/ 8909528 w 10049527"/>
                  <a:gd name="connsiteY16" fmla="*/ 779648 h 1233597"/>
                  <a:gd name="connsiteX17" fmla="*/ 9441523 w 10049527"/>
                  <a:gd name="connsiteY17" fmla="*/ 771142 h 1233597"/>
                  <a:gd name="connsiteX18" fmla="*/ 9919246 w 10049527"/>
                  <a:gd name="connsiteY18" fmla="*/ 737154 h 1233597"/>
                  <a:gd name="connsiteX19" fmla="*/ 10049527 w 10049527"/>
                  <a:gd name="connsiteY19" fmla="*/ 754148 h 1233597"/>
                  <a:gd name="connsiteX20" fmla="*/ 10049527 w 10049527"/>
                  <a:gd name="connsiteY20" fmla="*/ 133791 h 1233597"/>
                  <a:gd name="connsiteX21" fmla="*/ 9864951 w 10049527"/>
                  <a:gd name="connsiteY21" fmla="*/ 65870 h 1233597"/>
                  <a:gd name="connsiteX22" fmla="*/ 9050655 w 10049527"/>
                  <a:gd name="connsiteY22" fmla="*/ 14889 h 1233597"/>
                  <a:gd name="connsiteX23" fmla="*/ 8464364 w 10049527"/>
                  <a:gd name="connsiteY23" fmla="*/ 108364 h 1233597"/>
                  <a:gd name="connsiteX24" fmla="*/ 7563214 w 10049527"/>
                  <a:gd name="connsiteY24" fmla="*/ 201839 h 1233597"/>
                  <a:gd name="connsiteX25" fmla="*/ 6596923 w 10049527"/>
                  <a:gd name="connsiteY25" fmla="*/ 201839 h 1233597"/>
                  <a:gd name="connsiteX26" fmla="*/ 4870633 w 10049527"/>
                  <a:gd name="connsiteY26" fmla="*/ 193333 h 1233597"/>
                  <a:gd name="connsiteX27" fmla="*/ 3784905 w 10049527"/>
                  <a:gd name="connsiteY27" fmla="*/ 65870 h 1233597"/>
                  <a:gd name="connsiteX28" fmla="*/ 1993473 w 10049527"/>
                  <a:gd name="connsiteY28" fmla="*/ 57364 h 1233597"/>
                  <a:gd name="connsiteX29" fmla="*/ 1453651 w 10049527"/>
                  <a:gd name="connsiteY29" fmla="*/ 66415 h 1233597"/>
                  <a:gd name="connsiteX0" fmla="*/ 1428093 w 10023969"/>
                  <a:gd name="connsiteY0" fmla="*/ 66415 h 1230579"/>
                  <a:gd name="connsiteX1" fmla="*/ 1310533 w 10023969"/>
                  <a:gd name="connsiteY1" fmla="*/ 625754 h 1230579"/>
                  <a:gd name="connsiteX2" fmla="*/ 46202 w 10023969"/>
                  <a:gd name="connsiteY2" fmla="*/ 1229994 h 1230579"/>
                  <a:gd name="connsiteX3" fmla="*/ 306765 w 10023969"/>
                  <a:gd name="connsiteY3" fmla="*/ 737154 h 1230579"/>
                  <a:gd name="connsiteX4" fmla="*/ 610756 w 10023969"/>
                  <a:gd name="connsiteY4" fmla="*/ 737154 h 1230579"/>
                  <a:gd name="connsiteX5" fmla="*/ 1186179 w 10023969"/>
                  <a:gd name="connsiteY5" fmla="*/ 754148 h 1230579"/>
                  <a:gd name="connsiteX6" fmla="*/ 2326178 w 10023969"/>
                  <a:gd name="connsiteY6" fmla="*/ 754148 h 1230579"/>
                  <a:gd name="connsiteX7" fmla="*/ 3021037 w 10023969"/>
                  <a:gd name="connsiteY7" fmla="*/ 788136 h 1230579"/>
                  <a:gd name="connsiteX8" fmla="*/ 3477047 w 10023969"/>
                  <a:gd name="connsiteY8" fmla="*/ 728648 h 1230579"/>
                  <a:gd name="connsiteX9" fmla="*/ 3954769 w 10023969"/>
                  <a:gd name="connsiteY9" fmla="*/ 728648 h 1230579"/>
                  <a:gd name="connsiteX10" fmla="*/ 4725638 w 10023969"/>
                  <a:gd name="connsiteY10" fmla="*/ 771142 h 1230579"/>
                  <a:gd name="connsiteX11" fmla="*/ 5605074 w 10023969"/>
                  <a:gd name="connsiteY11" fmla="*/ 754148 h 1230579"/>
                  <a:gd name="connsiteX12" fmla="*/ 6234792 w 10023969"/>
                  <a:gd name="connsiteY12" fmla="*/ 762654 h 1230579"/>
                  <a:gd name="connsiteX13" fmla="*/ 7070802 w 10023969"/>
                  <a:gd name="connsiteY13" fmla="*/ 762654 h 1230579"/>
                  <a:gd name="connsiteX14" fmla="*/ 8134815 w 10023969"/>
                  <a:gd name="connsiteY14" fmla="*/ 788154 h 1230579"/>
                  <a:gd name="connsiteX15" fmla="*/ 8883970 w 10023969"/>
                  <a:gd name="connsiteY15" fmla="*/ 779648 h 1230579"/>
                  <a:gd name="connsiteX16" fmla="*/ 9415965 w 10023969"/>
                  <a:gd name="connsiteY16" fmla="*/ 771142 h 1230579"/>
                  <a:gd name="connsiteX17" fmla="*/ 9893688 w 10023969"/>
                  <a:gd name="connsiteY17" fmla="*/ 737154 h 1230579"/>
                  <a:gd name="connsiteX18" fmla="*/ 10023969 w 10023969"/>
                  <a:gd name="connsiteY18" fmla="*/ 754148 h 1230579"/>
                  <a:gd name="connsiteX19" fmla="*/ 10023969 w 10023969"/>
                  <a:gd name="connsiteY19" fmla="*/ 133791 h 1230579"/>
                  <a:gd name="connsiteX20" fmla="*/ 9839393 w 10023969"/>
                  <a:gd name="connsiteY20" fmla="*/ 65870 h 1230579"/>
                  <a:gd name="connsiteX21" fmla="*/ 9025097 w 10023969"/>
                  <a:gd name="connsiteY21" fmla="*/ 14889 h 1230579"/>
                  <a:gd name="connsiteX22" fmla="*/ 8438806 w 10023969"/>
                  <a:gd name="connsiteY22" fmla="*/ 108364 h 1230579"/>
                  <a:gd name="connsiteX23" fmla="*/ 7537656 w 10023969"/>
                  <a:gd name="connsiteY23" fmla="*/ 201839 h 1230579"/>
                  <a:gd name="connsiteX24" fmla="*/ 6571365 w 10023969"/>
                  <a:gd name="connsiteY24" fmla="*/ 201839 h 1230579"/>
                  <a:gd name="connsiteX25" fmla="*/ 4845075 w 10023969"/>
                  <a:gd name="connsiteY25" fmla="*/ 193333 h 1230579"/>
                  <a:gd name="connsiteX26" fmla="*/ 3759347 w 10023969"/>
                  <a:gd name="connsiteY26" fmla="*/ 65870 h 1230579"/>
                  <a:gd name="connsiteX27" fmla="*/ 1967915 w 10023969"/>
                  <a:gd name="connsiteY27" fmla="*/ 57364 h 1230579"/>
                  <a:gd name="connsiteX28" fmla="*/ 1428093 w 10023969"/>
                  <a:gd name="connsiteY28" fmla="*/ 66415 h 1230579"/>
                  <a:gd name="connsiteX0" fmla="*/ 1143230 w 9739106"/>
                  <a:gd name="connsiteY0" fmla="*/ 66415 h 797578"/>
                  <a:gd name="connsiteX1" fmla="*/ 1025670 w 9739106"/>
                  <a:gd name="connsiteY1" fmla="*/ 625754 h 797578"/>
                  <a:gd name="connsiteX2" fmla="*/ 21902 w 9739106"/>
                  <a:gd name="connsiteY2" fmla="*/ 737154 h 797578"/>
                  <a:gd name="connsiteX3" fmla="*/ 325893 w 9739106"/>
                  <a:gd name="connsiteY3" fmla="*/ 737154 h 797578"/>
                  <a:gd name="connsiteX4" fmla="*/ 901316 w 9739106"/>
                  <a:gd name="connsiteY4" fmla="*/ 754148 h 797578"/>
                  <a:gd name="connsiteX5" fmla="*/ 2041315 w 9739106"/>
                  <a:gd name="connsiteY5" fmla="*/ 754148 h 797578"/>
                  <a:gd name="connsiteX6" fmla="*/ 2736174 w 9739106"/>
                  <a:gd name="connsiteY6" fmla="*/ 788136 h 797578"/>
                  <a:gd name="connsiteX7" fmla="*/ 3192184 w 9739106"/>
                  <a:gd name="connsiteY7" fmla="*/ 728648 h 797578"/>
                  <a:gd name="connsiteX8" fmla="*/ 3669906 w 9739106"/>
                  <a:gd name="connsiteY8" fmla="*/ 728648 h 797578"/>
                  <a:gd name="connsiteX9" fmla="*/ 4440775 w 9739106"/>
                  <a:gd name="connsiteY9" fmla="*/ 771142 h 797578"/>
                  <a:gd name="connsiteX10" fmla="*/ 5320211 w 9739106"/>
                  <a:gd name="connsiteY10" fmla="*/ 754148 h 797578"/>
                  <a:gd name="connsiteX11" fmla="*/ 5949929 w 9739106"/>
                  <a:gd name="connsiteY11" fmla="*/ 762654 h 797578"/>
                  <a:gd name="connsiteX12" fmla="*/ 6785939 w 9739106"/>
                  <a:gd name="connsiteY12" fmla="*/ 762654 h 797578"/>
                  <a:gd name="connsiteX13" fmla="*/ 7849952 w 9739106"/>
                  <a:gd name="connsiteY13" fmla="*/ 788154 h 797578"/>
                  <a:gd name="connsiteX14" fmla="*/ 8599107 w 9739106"/>
                  <a:gd name="connsiteY14" fmla="*/ 779648 h 797578"/>
                  <a:gd name="connsiteX15" fmla="*/ 9131102 w 9739106"/>
                  <a:gd name="connsiteY15" fmla="*/ 771142 h 797578"/>
                  <a:gd name="connsiteX16" fmla="*/ 9608825 w 9739106"/>
                  <a:gd name="connsiteY16" fmla="*/ 737154 h 797578"/>
                  <a:gd name="connsiteX17" fmla="*/ 9739106 w 9739106"/>
                  <a:gd name="connsiteY17" fmla="*/ 754148 h 797578"/>
                  <a:gd name="connsiteX18" fmla="*/ 9739106 w 9739106"/>
                  <a:gd name="connsiteY18" fmla="*/ 133791 h 797578"/>
                  <a:gd name="connsiteX19" fmla="*/ 9554530 w 9739106"/>
                  <a:gd name="connsiteY19" fmla="*/ 65870 h 797578"/>
                  <a:gd name="connsiteX20" fmla="*/ 8740234 w 9739106"/>
                  <a:gd name="connsiteY20" fmla="*/ 14889 h 797578"/>
                  <a:gd name="connsiteX21" fmla="*/ 8153943 w 9739106"/>
                  <a:gd name="connsiteY21" fmla="*/ 108364 h 797578"/>
                  <a:gd name="connsiteX22" fmla="*/ 7252793 w 9739106"/>
                  <a:gd name="connsiteY22" fmla="*/ 201839 h 797578"/>
                  <a:gd name="connsiteX23" fmla="*/ 6286502 w 9739106"/>
                  <a:gd name="connsiteY23" fmla="*/ 201839 h 797578"/>
                  <a:gd name="connsiteX24" fmla="*/ 4560212 w 9739106"/>
                  <a:gd name="connsiteY24" fmla="*/ 193333 h 797578"/>
                  <a:gd name="connsiteX25" fmla="*/ 3474484 w 9739106"/>
                  <a:gd name="connsiteY25" fmla="*/ 65870 h 797578"/>
                  <a:gd name="connsiteX26" fmla="*/ 1683052 w 9739106"/>
                  <a:gd name="connsiteY26" fmla="*/ 57364 h 797578"/>
                  <a:gd name="connsiteX27" fmla="*/ 1143230 w 9739106"/>
                  <a:gd name="connsiteY27" fmla="*/ 66415 h 797578"/>
                  <a:gd name="connsiteX0" fmla="*/ 817337 w 9413213"/>
                  <a:gd name="connsiteY0" fmla="*/ 66415 h 797576"/>
                  <a:gd name="connsiteX1" fmla="*/ 699777 w 9413213"/>
                  <a:gd name="connsiteY1" fmla="*/ 625754 h 797576"/>
                  <a:gd name="connsiteX2" fmla="*/ 0 w 9413213"/>
                  <a:gd name="connsiteY2" fmla="*/ 737154 h 797576"/>
                  <a:gd name="connsiteX3" fmla="*/ 575423 w 9413213"/>
                  <a:gd name="connsiteY3" fmla="*/ 754148 h 797576"/>
                  <a:gd name="connsiteX4" fmla="*/ 1715422 w 9413213"/>
                  <a:gd name="connsiteY4" fmla="*/ 754148 h 797576"/>
                  <a:gd name="connsiteX5" fmla="*/ 2410281 w 9413213"/>
                  <a:gd name="connsiteY5" fmla="*/ 788136 h 797576"/>
                  <a:gd name="connsiteX6" fmla="*/ 2866291 w 9413213"/>
                  <a:gd name="connsiteY6" fmla="*/ 728648 h 797576"/>
                  <a:gd name="connsiteX7" fmla="*/ 3344013 w 9413213"/>
                  <a:gd name="connsiteY7" fmla="*/ 728648 h 797576"/>
                  <a:gd name="connsiteX8" fmla="*/ 4114882 w 9413213"/>
                  <a:gd name="connsiteY8" fmla="*/ 771142 h 797576"/>
                  <a:gd name="connsiteX9" fmla="*/ 4994318 w 9413213"/>
                  <a:gd name="connsiteY9" fmla="*/ 754148 h 797576"/>
                  <a:gd name="connsiteX10" fmla="*/ 5624036 w 9413213"/>
                  <a:gd name="connsiteY10" fmla="*/ 762654 h 797576"/>
                  <a:gd name="connsiteX11" fmla="*/ 6460046 w 9413213"/>
                  <a:gd name="connsiteY11" fmla="*/ 762654 h 797576"/>
                  <a:gd name="connsiteX12" fmla="*/ 7524059 w 9413213"/>
                  <a:gd name="connsiteY12" fmla="*/ 788154 h 797576"/>
                  <a:gd name="connsiteX13" fmla="*/ 8273214 w 9413213"/>
                  <a:gd name="connsiteY13" fmla="*/ 779648 h 797576"/>
                  <a:gd name="connsiteX14" fmla="*/ 8805209 w 9413213"/>
                  <a:gd name="connsiteY14" fmla="*/ 771142 h 797576"/>
                  <a:gd name="connsiteX15" fmla="*/ 9282932 w 9413213"/>
                  <a:gd name="connsiteY15" fmla="*/ 737154 h 797576"/>
                  <a:gd name="connsiteX16" fmla="*/ 9413213 w 9413213"/>
                  <a:gd name="connsiteY16" fmla="*/ 754148 h 797576"/>
                  <a:gd name="connsiteX17" fmla="*/ 9413213 w 9413213"/>
                  <a:gd name="connsiteY17" fmla="*/ 133791 h 797576"/>
                  <a:gd name="connsiteX18" fmla="*/ 9228637 w 9413213"/>
                  <a:gd name="connsiteY18" fmla="*/ 65870 h 797576"/>
                  <a:gd name="connsiteX19" fmla="*/ 8414341 w 9413213"/>
                  <a:gd name="connsiteY19" fmla="*/ 14889 h 797576"/>
                  <a:gd name="connsiteX20" fmla="*/ 7828050 w 9413213"/>
                  <a:gd name="connsiteY20" fmla="*/ 108364 h 797576"/>
                  <a:gd name="connsiteX21" fmla="*/ 6926900 w 9413213"/>
                  <a:gd name="connsiteY21" fmla="*/ 201839 h 797576"/>
                  <a:gd name="connsiteX22" fmla="*/ 5960609 w 9413213"/>
                  <a:gd name="connsiteY22" fmla="*/ 201839 h 797576"/>
                  <a:gd name="connsiteX23" fmla="*/ 4234319 w 9413213"/>
                  <a:gd name="connsiteY23" fmla="*/ 193333 h 797576"/>
                  <a:gd name="connsiteX24" fmla="*/ 3148591 w 9413213"/>
                  <a:gd name="connsiteY24" fmla="*/ 65870 h 797576"/>
                  <a:gd name="connsiteX25" fmla="*/ 1357159 w 9413213"/>
                  <a:gd name="connsiteY25" fmla="*/ 57364 h 797576"/>
                  <a:gd name="connsiteX26" fmla="*/ 817337 w 9413213"/>
                  <a:gd name="connsiteY26" fmla="*/ 66415 h 797576"/>
                  <a:gd name="connsiteX0" fmla="*/ 299581 w 8895457"/>
                  <a:gd name="connsiteY0" fmla="*/ 66415 h 797578"/>
                  <a:gd name="connsiteX1" fmla="*/ 182021 w 8895457"/>
                  <a:gd name="connsiteY1" fmla="*/ 625754 h 797578"/>
                  <a:gd name="connsiteX2" fmla="*/ 57667 w 8895457"/>
                  <a:gd name="connsiteY2" fmla="*/ 754148 h 797578"/>
                  <a:gd name="connsiteX3" fmla="*/ 1197666 w 8895457"/>
                  <a:gd name="connsiteY3" fmla="*/ 754148 h 797578"/>
                  <a:gd name="connsiteX4" fmla="*/ 1892525 w 8895457"/>
                  <a:gd name="connsiteY4" fmla="*/ 788136 h 797578"/>
                  <a:gd name="connsiteX5" fmla="*/ 2348535 w 8895457"/>
                  <a:gd name="connsiteY5" fmla="*/ 728648 h 797578"/>
                  <a:gd name="connsiteX6" fmla="*/ 2826257 w 8895457"/>
                  <a:gd name="connsiteY6" fmla="*/ 728648 h 797578"/>
                  <a:gd name="connsiteX7" fmla="*/ 3597126 w 8895457"/>
                  <a:gd name="connsiteY7" fmla="*/ 771142 h 797578"/>
                  <a:gd name="connsiteX8" fmla="*/ 4476562 w 8895457"/>
                  <a:gd name="connsiteY8" fmla="*/ 754148 h 797578"/>
                  <a:gd name="connsiteX9" fmla="*/ 5106280 w 8895457"/>
                  <a:gd name="connsiteY9" fmla="*/ 762654 h 797578"/>
                  <a:gd name="connsiteX10" fmla="*/ 5942290 w 8895457"/>
                  <a:gd name="connsiteY10" fmla="*/ 762654 h 797578"/>
                  <a:gd name="connsiteX11" fmla="*/ 7006303 w 8895457"/>
                  <a:gd name="connsiteY11" fmla="*/ 788154 h 797578"/>
                  <a:gd name="connsiteX12" fmla="*/ 7755458 w 8895457"/>
                  <a:gd name="connsiteY12" fmla="*/ 779648 h 797578"/>
                  <a:gd name="connsiteX13" fmla="*/ 8287453 w 8895457"/>
                  <a:gd name="connsiteY13" fmla="*/ 771142 h 797578"/>
                  <a:gd name="connsiteX14" fmla="*/ 8765176 w 8895457"/>
                  <a:gd name="connsiteY14" fmla="*/ 737154 h 797578"/>
                  <a:gd name="connsiteX15" fmla="*/ 8895457 w 8895457"/>
                  <a:gd name="connsiteY15" fmla="*/ 754148 h 797578"/>
                  <a:gd name="connsiteX16" fmla="*/ 8895457 w 8895457"/>
                  <a:gd name="connsiteY16" fmla="*/ 133791 h 797578"/>
                  <a:gd name="connsiteX17" fmla="*/ 8710881 w 8895457"/>
                  <a:gd name="connsiteY17" fmla="*/ 65870 h 797578"/>
                  <a:gd name="connsiteX18" fmla="*/ 7896585 w 8895457"/>
                  <a:gd name="connsiteY18" fmla="*/ 14889 h 797578"/>
                  <a:gd name="connsiteX19" fmla="*/ 7310294 w 8895457"/>
                  <a:gd name="connsiteY19" fmla="*/ 108364 h 797578"/>
                  <a:gd name="connsiteX20" fmla="*/ 6409144 w 8895457"/>
                  <a:gd name="connsiteY20" fmla="*/ 201839 h 797578"/>
                  <a:gd name="connsiteX21" fmla="*/ 5442853 w 8895457"/>
                  <a:gd name="connsiteY21" fmla="*/ 201839 h 797578"/>
                  <a:gd name="connsiteX22" fmla="*/ 3716563 w 8895457"/>
                  <a:gd name="connsiteY22" fmla="*/ 193333 h 797578"/>
                  <a:gd name="connsiteX23" fmla="*/ 2630835 w 8895457"/>
                  <a:gd name="connsiteY23" fmla="*/ 65870 h 797578"/>
                  <a:gd name="connsiteX24" fmla="*/ 839403 w 8895457"/>
                  <a:gd name="connsiteY24" fmla="*/ 57364 h 797578"/>
                  <a:gd name="connsiteX25" fmla="*/ 299581 w 8895457"/>
                  <a:gd name="connsiteY25" fmla="*/ 66415 h 797578"/>
                  <a:gd name="connsiteX0" fmla="*/ 300385 w 8896261"/>
                  <a:gd name="connsiteY0" fmla="*/ 66415 h 797969"/>
                  <a:gd name="connsiteX1" fmla="*/ 182825 w 8896261"/>
                  <a:gd name="connsiteY1" fmla="*/ 625754 h 797969"/>
                  <a:gd name="connsiteX2" fmla="*/ 1198470 w 8896261"/>
                  <a:gd name="connsiteY2" fmla="*/ 754148 h 797969"/>
                  <a:gd name="connsiteX3" fmla="*/ 1893329 w 8896261"/>
                  <a:gd name="connsiteY3" fmla="*/ 788136 h 797969"/>
                  <a:gd name="connsiteX4" fmla="*/ 2349339 w 8896261"/>
                  <a:gd name="connsiteY4" fmla="*/ 728648 h 797969"/>
                  <a:gd name="connsiteX5" fmla="*/ 2827061 w 8896261"/>
                  <a:gd name="connsiteY5" fmla="*/ 728648 h 797969"/>
                  <a:gd name="connsiteX6" fmla="*/ 3597930 w 8896261"/>
                  <a:gd name="connsiteY6" fmla="*/ 771142 h 797969"/>
                  <a:gd name="connsiteX7" fmla="*/ 4477366 w 8896261"/>
                  <a:gd name="connsiteY7" fmla="*/ 754148 h 797969"/>
                  <a:gd name="connsiteX8" fmla="*/ 5107084 w 8896261"/>
                  <a:gd name="connsiteY8" fmla="*/ 762654 h 797969"/>
                  <a:gd name="connsiteX9" fmla="*/ 5943094 w 8896261"/>
                  <a:gd name="connsiteY9" fmla="*/ 762654 h 797969"/>
                  <a:gd name="connsiteX10" fmla="*/ 7007107 w 8896261"/>
                  <a:gd name="connsiteY10" fmla="*/ 788154 h 797969"/>
                  <a:gd name="connsiteX11" fmla="*/ 7756262 w 8896261"/>
                  <a:gd name="connsiteY11" fmla="*/ 779648 h 797969"/>
                  <a:gd name="connsiteX12" fmla="*/ 8288257 w 8896261"/>
                  <a:gd name="connsiteY12" fmla="*/ 771142 h 797969"/>
                  <a:gd name="connsiteX13" fmla="*/ 8765980 w 8896261"/>
                  <a:gd name="connsiteY13" fmla="*/ 737154 h 797969"/>
                  <a:gd name="connsiteX14" fmla="*/ 8896261 w 8896261"/>
                  <a:gd name="connsiteY14" fmla="*/ 754148 h 797969"/>
                  <a:gd name="connsiteX15" fmla="*/ 8896261 w 8896261"/>
                  <a:gd name="connsiteY15" fmla="*/ 133791 h 797969"/>
                  <a:gd name="connsiteX16" fmla="*/ 8711685 w 8896261"/>
                  <a:gd name="connsiteY16" fmla="*/ 65870 h 797969"/>
                  <a:gd name="connsiteX17" fmla="*/ 7897389 w 8896261"/>
                  <a:gd name="connsiteY17" fmla="*/ 14889 h 797969"/>
                  <a:gd name="connsiteX18" fmla="*/ 7311098 w 8896261"/>
                  <a:gd name="connsiteY18" fmla="*/ 108364 h 797969"/>
                  <a:gd name="connsiteX19" fmla="*/ 6409948 w 8896261"/>
                  <a:gd name="connsiteY19" fmla="*/ 201839 h 797969"/>
                  <a:gd name="connsiteX20" fmla="*/ 5443657 w 8896261"/>
                  <a:gd name="connsiteY20" fmla="*/ 201839 h 797969"/>
                  <a:gd name="connsiteX21" fmla="*/ 3717367 w 8896261"/>
                  <a:gd name="connsiteY21" fmla="*/ 193333 h 797969"/>
                  <a:gd name="connsiteX22" fmla="*/ 2631639 w 8896261"/>
                  <a:gd name="connsiteY22" fmla="*/ 65870 h 797969"/>
                  <a:gd name="connsiteX23" fmla="*/ 840207 w 8896261"/>
                  <a:gd name="connsiteY23" fmla="*/ 57364 h 797969"/>
                  <a:gd name="connsiteX24" fmla="*/ 300385 w 8896261"/>
                  <a:gd name="connsiteY24" fmla="*/ 66415 h 797969"/>
                  <a:gd name="connsiteX0" fmla="*/ 263649 w 8859525"/>
                  <a:gd name="connsiteY0" fmla="*/ 66415 h 795901"/>
                  <a:gd name="connsiteX1" fmla="*/ 238952 w 8859525"/>
                  <a:gd name="connsiteY1" fmla="*/ 726571 h 795901"/>
                  <a:gd name="connsiteX2" fmla="*/ 1161734 w 8859525"/>
                  <a:gd name="connsiteY2" fmla="*/ 754148 h 795901"/>
                  <a:gd name="connsiteX3" fmla="*/ 1856593 w 8859525"/>
                  <a:gd name="connsiteY3" fmla="*/ 788136 h 795901"/>
                  <a:gd name="connsiteX4" fmla="*/ 2312603 w 8859525"/>
                  <a:gd name="connsiteY4" fmla="*/ 728648 h 795901"/>
                  <a:gd name="connsiteX5" fmla="*/ 2790325 w 8859525"/>
                  <a:gd name="connsiteY5" fmla="*/ 728648 h 795901"/>
                  <a:gd name="connsiteX6" fmla="*/ 3561194 w 8859525"/>
                  <a:gd name="connsiteY6" fmla="*/ 771142 h 795901"/>
                  <a:gd name="connsiteX7" fmla="*/ 4440630 w 8859525"/>
                  <a:gd name="connsiteY7" fmla="*/ 754148 h 795901"/>
                  <a:gd name="connsiteX8" fmla="*/ 5070348 w 8859525"/>
                  <a:gd name="connsiteY8" fmla="*/ 762654 h 795901"/>
                  <a:gd name="connsiteX9" fmla="*/ 5906358 w 8859525"/>
                  <a:gd name="connsiteY9" fmla="*/ 762654 h 795901"/>
                  <a:gd name="connsiteX10" fmla="*/ 6970371 w 8859525"/>
                  <a:gd name="connsiteY10" fmla="*/ 788154 h 795901"/>
                  <a:gd name="connsiteX11" fmla="*/ 7719526 w 8859525"/>
                  <a:gd name="connsiteY11" fmla="*/ 779648 h 795901"/>
                  <a:gd name="connsiteX12" fmla="*/ 8251521 w 8859525"/>
                  <a:gd name="connsiteY12" fmla="*/ 771142 h 795901"/>
                  <a:gd name="connsiteX13" fmla="*/ 8729244 w 8859525"/>
                  <a:gd name="connsiteY13" fmla="*/ 737154 h 795901"/>
                  <a:gd name="connsiteX14" fmla="*/ 8859525 w 8859525"/>
                  <a:gd name="connsiteY14" fmla="*/ 754148 h 795901"/>
                  <a:gd name="connsiteX15" fmla="*/ 8859525 w 8859525"/>
                  <a:gd name="connsiteY15" fmla="*/ 133791 h 795901"/>
                  <a:gd name="connsiteX16" fmla="*/ 8674949 w 8859525"/>
                  <a:gd name="connsiteY16" fmla="*/ 65870 h 795901"/>
                  <a:gd name="connsiteX17" fmla="*/ 7860653 w 8859525"/>
                  <a:gd name="connsiteY17" fmla="*/ 14889 h 795901"/>
                  <a:gd name="connsiteX18" fmla="*/ 7274362 w 8859525"/>
                  <a:gd name="connsiteY18" fmla="*/ 108364 h 795901"/>
                  <a:gd name="connsiteX19" fmla="*/ 6373212 w 8859525"/>
                  <a:gd name="connsiteY19" fmla="*/ 201839 h 795901"/>
                  <a:gd name="connsiteX20" fmla="*/ 5406921 w 8859525"/>
                  <a:gd name="connsiteY20" fmla="*/ 201839 h 795901"/>
                  <a:gd name="connsiteX21" fmla="*/ 3680631 w 8859525"/>
                  <a:gd name="connsiteY21" fmla="*/ 193333 h 795901"/>
                  <a:gd name="connsiteX22" fmla="*/ 2594903 w 8859525"/>
                  <a:gd name="connsiteY22" fmla="*/ 65870 h 795901"/>
                  <a:gd name="connsiteX23" fmla="*/ 803471 w 8859525"/>
                  <a:gd name="connsiteY23" fmla="*/ 57364 h 795901"/>
                  <a:gd name="connsiteX24" fmla="*/ 263649 w 8859525"/>
                  <a:gd name="connsiteY24" fmla="*/ 66415 h 795901"/>
                  <a:gd name="connsiteX0" fmla="*/ 224684 w 8820560"/>
                  <a:gd name="connsiteY0" fmla="*/ 66415 h 815564"/>
                  <a:gd name="connsiteX1" fmla="*/ 199987 w 8820560"/>
                  <a:gd name="connsiteY1" fmla="*/ 726571 h 815564"/>
                  <a:gd name="connsiteX2" fmla="*/ 1122769 w 8820560"/>
                  <a:gd name="connsiteY2" fmla="*/ 754148 h 815564"/>
                  <a:gd name="connsiteX3" fmla="*/ 1817628 w 8820560"/>
                  <a:gd name="connsiteY3" fmla="*/ 788136 h 815564"/>
                  <a:gd name="connsiteX4" fmla="*/ 2273638 w 8820560"/>
                  <a:gd name="connsiteY4" fmla="*/ 728648 h 815564"/>
                  <a:gd name="connsiteX5" fmla="*/ 2751360 w 8820560"/>
                  <a:gd name="connsiteY5" fmla="*/ 728648 h 815564"/>
                  <a:gd name="connsiteX6" fmla="*/ 3522229 w 8820560"/>
                  <a:gd name="connsiteY6" fmla="*/ 771142 h 815564"/>
                  <a:gd name="connsiteX7" fmla="*/ 4401665 w 8820560"/>
                  <a:gd name="connsiteY7" fmla="*/ 754148 h 815564"/>
                  <a:gd name="connsiteX8" fmla="*/ 5031383 w 8820560"/>
                  <a:gd name="connsiteY8" fmla="*/ 762654 h 815564"/>
                  <a:gd name="connsiteX9" fmla="*/ 5867393 w 8820560"/>
                  <a:gd name="connsiteY9" fmla="*/ 762654 h 815564"/>
                  <a:gd name="connsiteX10" fmla="*/ 6931406 w 8820560"/>
                  <a:gd name="connsiteY10" fmla="*/ 788154 h 815564"/>
                  <a:gd name="connsiteX11" fmla="*/ 7680561 w 8820560"/>
                  <a:gd name="connsiteY11" fmla="*/ 779648 h 815564"/>
                  <a:gd name="connsiteX12" fmla="*/ 8212556 w 8820560"/>
                  <a:gd name="connsiteY12" fmla="*/ 771142 h 815564"/>
                  <a:gd name="connsiteX13" fmla="*/ 8690279 w 8820560"/>
                  <a:gd name="connsiteY13" fmla="*/ 737154 h 815564"/>
                  <a:gd name="connsiteX14" fmla="*/ 8820560 w 8820560"/>
                  <a:gd name="connsiteY14" fmla="*/ 754148 h 815564"/>
                  <a:gd name="connsiteX15" fmla="*/ 8820560 w 8820560"/>
                  <a:gd name="connsiteY15" fmla="*/ 133791 h 815564"/>
                  <a:gd name="connsiteX16" fmla="*/ 8635984 w 8820560"/>
                  <a:gd name="connsiteY16" fmla="*/ 65870 h 815564"/>
                  <a:gd name="connsiteX17" fmla="*/ 7821688 w 8820560"/>
                  <a:gd name="connsiteY17" fmla="*/ 14889 h 815564"/>
                  <a:gd name="connsiteX18" fmla="*/ 7235397 w 8820560"/>
                  <a:gd name="connsiteY18" fmla="*/ 108364 h 815564"/>
                  <a:gd name="connsiteX19" fmla="*/ 6334247 w 8820560"/>
                  <a:gd name="connsiteY19" fmla="*/ 201839 h 815564"/>
                  <a:gd name="connsiteX20" fmla="*/ 5367956 w 8820560"/>
                  <a:gd name="connsiteY20" fmla="*/ 201839 h 815564"/>
                  <a:gd name="connsiteX21" fmla="*/ 3641666 w 8820560"/>
                  <a:gd name="connsiteY21" fmla="*/ 193333 h 815564"/>
                  <a:gd name="connsiteX22" fmla="*/ 2555938 w 8820560"/>
                  <a:gd name="connsiteY22" fmla="*/ 65870 h 815564"/>
                  <a:gd name="connsiteX23" fmla="*/ 764506 w 8820560"/>
                  <a:gd name="connsiteY23" fmla="*/ 57364 h 815564"/>
                  <a:gd name="connsiteX24" fmla="*/ 224684 w 8820560"/>
                  <a:gd name="connsiteY24" fmla="*/ 66415 h 815564"/>
                  <a:gd name="connsiteX0" fmla="*/ 93047 w 8688923"/>
                  <a:gd name="connsiteY0" fmla="*/ 66415 h 795903"/>
                  <a:gd name="connsiteX1" fmla="*/ 71109 w 8688923"/>
                  <a:gd name="connsiteY1" fmla="*/ 350379 h 795903"/>
                  <a:gd name="connsiteX2" fmla="*/ 68350 w 8688923"/>
                  <a:gd name="connsiteY2" fmla="*/ 726571 h 795903"/>
                  <a:gd name="connsiteX3" fmla="*/ 991132 w 8688923"/>
                  <a:gd name="connsiteY3" fmla="*/ 754148 h 795903"/>
                  <a:gd name="connsiteX4" fmla="*/ 1685991 w 8688923"/>
                  <a:gd name="connsiteY4" fmla="*/ 788136 h 795903"/>
                  <a:gd name="connsiteX5" fmla="*/ 2142001 w 8688923"/>
                  <a:gd name="connsiteY5" fmla="*/ 728648 h 795903"/>
                  <a:gd name="connsiteX6" fmla="*/ 2619723 w 8688923"/>
                  <a:gd name="connsiteY6" fmla="*/ 728648 h 795903"/>
                  <a:gd name="connsiteX7" fmla="*/ 3390592 w 8688923"/>
                  <a:gd name="connsiteY7" fmla="*/ 771142 h 795903"/>
                  <a:gd name="connsiteX8" fmla="*/ 4270028 w 8688923"/>
                  <a:gd name="connsiteY8" fmla="*/ 754148 h 795903"/>
                  <a:gd name="connsiteX9" fmla="*/ 4899746 w 8688923"/>
                  <a:gd name="connsiteY9" fmla="*/ 762654 h 795903"/>
                  <a:gd name="connsiteX10" fmla="*/ 5735756 w 8688923"/>
                  <a:gd name="connsiteY10" fmla="*/ 762654 h 795903"/>
                  <a:gd name="connsiteX11" fmla="*/ 6799769 w 8688923"/>
                  <a:gd name="connsiteY11" fmla="*/ 788154 h 795903"/>
                  <a:gd name="connsiteX12" fmla="*/ 7548924 w 8688923"/>
                  <a:gd name="connsiteY12" fmla="*/ 779648 h 795903"/>
                  <a:gd name="connsiteX13" fmla="*/ 8080919 w 8688923"/>
                  <a:gd name="connsiteY13" fmla="*/ 771142 h 795903"/>
                  <a:gd name="connsiteX14" fmla="*/ 8558642 w 8688923"/>
                  <a:gd name="connsiteY14" fmla="*/ 737154 h 795903"/>
                  <a:gd name="connsiteX15" fmla="*/ 8688923 w 8688923"/>
                  <a:gd name="connsiteY15" fmla="*/ 754148 h 795903"/>
                  <a:gd name="connsiteX16" fmla="*/ 8688923 w 8688923"/>
                  <a:gd name="connsiteY16" fmla="*/ 133791 h 795903"/>
                  <a:gd name="connsiteX17" fmla="*/ 8504347 w 8688923"/>
                  <a:gd name="connsiteY17" fmla="*/ 65870 h 795903"/>
                  <a:gd name="connsiteX18" fmla="*/ 7690051 w 8688923"/>
                  <a:gd name="connsiteY18" fmla="*/ 14889 h 795903"/>
                  <a:gd name="connsiteX19" fmla="*/ 7103760 w 8688923"/>
                  <a:gd name="connsiteY19" fmla="*/ 108364 h 795903"/>
                  <a:gd name="connsiteX20" fmla="*/ 6202610 w 8688923"/>
                  <a:gd name="connsiteY20" fmla="*/ 201839 h 795903"/>
                  <a:gd name="connsiteX21" fmla="*/ 5236319 w 8688923"/>
                  <a:gd name="connsiteY21" fmla="*/ 201839 h 795903"/>
                  <a:gd name="connsiteX22" fmla="*/ 3510029 w 8688923"/>
                  <a:gd name="connsiteY22" fmla="*/ 193333 h 795903"/>
                  <a:gd name="connsiteX23" fmla="*/ 2424301 w 8688923"/>
                  <a:gd name="connsiteY23" fmla="*/ 65870 h 795903"/>
                  <a:gd name="connsiteX24" fmla="*/ 632869 w 8688923"/>
                  <a:gd name="connsiteY24" fmla="*/ 57364 h 795903"/>
                  <a:gd name="connsiteX25" fmla="*/ 93047 w 8688923"/>
                  <a:gd name="connsiteY25" fmla="*/ 66415 h 795903"/>
                  <a:gd name="connsiteX0" fmla="*/ 91443 w 8687319"/>
                  <a:gd name="connsiteY0" fmla="*/ 66415 h 795901"/>
                  <a:gd name="connsiteX1" fmla="*/ 69505 w 8687319"/>
                  <a:gd name="connsiteY1" fmla="*/ 350379 h 795901"/>
                  <a:gd name="connsiteX2" fmla="*/ 66746 w 8687319"/>
                  <a:gd name="connsiteY2" fmla="*/ 726571 h 795901"/>
                  <a:gd name="connsiteX3" fmla="*/ 989528 w 8687319"/>
                  <a:gd name="connsiteY3" fmla="*/ 754148 h 795901"/>
                  <a:gd name="connsiteX4" fmla="*/ 1684387 w 8687319"/>
                  <a:gd name="connsiteY4" fmla="*/ 788136 h 795901"/>
                  <a:gd name="connsiteX5" fmla="*/ 2140397 w 8687319"/>
                  <a:gd name="connsiteY5" fmla="*/ 728648 h 795901"/>
                  <a:gd name="connsiteX6" fmla="*/ 2618119 w 8687319"/>
                  <a:gd name="connsiteY6" fmla="*/ 728648 h 795901"/>
                  <a:gd name="connsiteX7" fmla="*/ 3388988 w 8687319"/>
                  <a:gd name="connsiteY7" fmla="*/ 771142 h 795901"/>
                  <a:gd name="connsiteX8" fmla="*/ 4268424 w 8687319"/>
                  <a:gd name="connsiteY8" fmla="*/ 754148 h 795901"/>
                  <a:gd name="connsiteX9" fmla="*/ 4898142 w 8687319"/>
                  <a:gd name="connsiteY9" fmla="*/ 762654 h 795901"/>
                  <a:gd name="connsiteX10" fmla="*/ 5734152 w 8687319"/>
                  <a:gd name="connsiteY10" fmla="*/ 762654 h 795901"/>
                  <a:gd name="connsiteX11" fmla="*/ 6798165 w 8687319"/>
                  <a:gd name="connsiteY11" fmla="*/ 788154 h 795901"/>
                  <a:gd name="connsiteX12" fmla="*/ 7547320 w 8687319"/>
                  <a:gd name="connsiteY12" fmla="*/ 779648 h 795901"/>
                  <a:gd name="connsiteX13" fmla="*/ 8079315 w 8687319"/>
                  <a:gd name="connsiteY13" fmla="*/ 771142 h 795901"/>
                  <a:gd name="connsiteX14" fmla="*/ 8557038 w 8687319"/>
                  <a:gd name="connsiteY14" fmla="*/ 737154 h 795901"/>
                  <a:gd name="connsiteX15" fmla="*/ 8687319 w 8687319"/>
                  <a:gd name="connsiteY15" fmla="*/ 754148 h 795901"/>
                  <a:gd name="connsiteX16" fmla="*/ 8687319 w 8687319"/>
                  <a:gd name="connsiteY16" fmla="*/ 133791 h 795901"/>
                  <a:gd name="connsiteX17" fmla="*/ 8502743 w 8687319"/>
                  <a:gd name="connsiteY17" fmla="*/ 65870 h 795901"/>
                  <a:gd name="connsiteX18" fmla="*/ 7688447 w 8687319"/>
                  <a:gd name="connsiteY18" fmla="*/ 14889 h 795901"/>
                  <a:gd name="connsiteX19" fmla="*/ 7102156 w 8687319"/>
                  <a:gd name="connsiteY19" fmla="*/ 108364 h 795901"/>
                  <a:gd name="connsiteX20" fmla="*/ 6201006 w 8687319"/>
                  <a:gd name="connsiteY20" fmla="*/ 201839 h 795901"/>
                  <a:gd name="connsiteX21" fmla="*/ 5234715 w 8687319"/>
                  <a:gd name="connsiteY21" fmla="*/ 201839 h 795901"/>
                  <a:gd name="connsiteX22" fmla="*/ 3508425 w 8687319"/>
                  <a:gd name="connsiteY22" fmla="*/ 193333 h 795901"/>
                  <a:gd name="connsiteX23" fmla="*/ 2422697 w 8687319"/>
                  <a:gd name="connsiteY23" fmla="*/ 65870 h 795901"/>
                  <a:gd name="connsiteX24" fmla="*/ 631265 w 8687319"/>
                  <a:gd name="connsiteY24" fmla="*/ 57364 h 795901"/>
                  <a:gd name="connsiteX25" fmla="*/ 91443 w 8687319"/>
                  <a:gd name="connsiteY25" fmla="*/ 66415 h 795901"/>
                  <a:gd name="connsiteX0" fmla="*/ 91443 w 8687319"/>
                  <a:gd name="connsiteY0" fmla="*/ 66415 h 795903"/>
                  <a:gd name="connsiteX1" fmla="*/ 69505 w 8687319"/>
                  <a:gd name="connsiteY1" fmla="*/ 350379 h 795903"/>
                  <a:gd name="connsiteX2" fmla="*/ 66746 w 8687319"/>
                  <a:gd name="connsiteY2" fmla="*/ 726571 h 795903"/>
                  <a:gd name="connsiteX3" fmla="*/ 989528 w 8687319"/>
                  <a:gd name="connsiteY3" fmla="*/ 754148 h 795903"/>
                  <a:gd name="connsiteX4" fmla="*/ 1684387 w 8687319"/>
                  <a:gd name="connsiteY4" fmla="*/ 788136 h 795903"/>
                  <a:gd name="connsiteX5" fmla="*/ 2140397 w 8687319"/>
                  <a:gd name="connsiteY5" fmla="*/ 728648 h 795903"/>
                  <a:gd name="connsiteX6" fmla="*/ 2618119 w 8687319"/>
                  <a:gd name="connsiteY6" fmla="*/ 728648 h 795903"/>
                  <a:gd name="connsiteX7" fmla="*/ 3388988 w 8687319"/>
                  <a:gd name="connsiteY7" fmla="*/ 771142 h 795903"/>
                  <a:gd name="connsiteX8" fmla="*/ 4268424 w 8687319"/>
                  <a:gd name="connsiteY8" fmla="*/ 754148 h 795903"/>
                  <a:gd name="connsiteX9" fmla="*/ 4898142 w 8687319"/>
                  <a:gd name="connsiteY9" fmla="*/ 762654 h 795903"/>
                  <a:gd name="connsiteX10" fmla="*/ 5734152 w 8687319"/>
                  <a:gd name="connsiteY10" fmla="*/ 762654 h 795903"/>
                  <a:gd name="connsiteX11" fmla="*/ 6798165 w 8687319"/>
                  <a:gd name="connsiteY11" fmla="*/ 788154 h 795903"/>
                  <a:gd name="connsiteX12" fmla="*/ 7547320 w 8687319"/>
                  <a:gd name="connsiteY12" fmla="*/ 779648 h 795903"/>
                  <a:gd name="connsiteX13" fmla="*/ 8079315 w 8687319"/>
                  <a:gd name="connsiteY13" fmla="*/ 771142 h 795903"/>
                  <a:gd name="connsiteX14" fmla="*/ 8557038 w 8687319"/>
                  <a:gd name="connsiteY14" fmla="*/ 737154 h 795903"/>
                  <a:gd name="connsiteX15" fmla="*/ 8687319 w 8687319"/>
                  <a:gd name="connsiteY15" fmla="*/ 754148 h 795903"/>
                  <a:gd name="connsiteX16" fmla="*/ 8687319 w 8687319"/>
                  <a:gd name="connsiteY16" fmla="*/ 133791 h 795903"/>
                  <a:gd name="connsiteX17" fmla="*/ 8502743 w 8687319"/>
                  <a:gd name="connsiteY17" fmla="*/ 65870 h 795903"/>
                  <a:gd name="connsiteX18" fmla="*/ 7688447 w 8687319"/>
                  <a:gd name="connsiteY18" fmla="*/ 14889 h 795903"/>
                  <a:gd name="connsiteX19" fmla="*/ 7102156 w 8687319"/>
                  <a:gd name="connsiteY19" fmla="*/ 108364 h 795903"/>
                  <a:gd name="connsiteX20" fmla="*/ 6201006 w 8687319"/>
                  <a:gd name="connsiteY20" fmla="*/ 201839 h 795903"/>
                  <a:gd name="connsiteX21" fmla="*/ 5234715 w 8687319"/>
                  <a:gd name="connsiteY21" fmla="*/ 201839 h 795903"/>
                  <a:gd name="connsiteX22" fmla="*/ 3508425 w 8687319"/>
                  <a:gd name="connsiteY22" fmla="*/ 193333 h 795903"/>
                  <a:gd name="connsiteX23" fmla="*/ 2422697 w 8687319"/>
                  <a:gd name="connsiteY23" fmla="*/ 65870 h 795903"/>
                  <a:gd name="connsiteX24" fmla="*/ 631265 w 8687319"/>
                  <a:gd name="connsiteY24" fmla="*/ 57364 h 795903"/>
                  <a:gd name="connsiteX25" fmla="*/ 91443 w 8687319"/>
                  <a:gd name="connsiteY25" fmla="*/ 66415 h 795903"/>
                  <a:gd name="connsiteX0" fmla="*/ 87616 w 8683492"/>
                  <a:gd name="connsiteY0" fmla="*/ 66415 h 795901"/>
                  <a:gd name="connsiteX1" fmla="*/ 65678 w 8683492"/>
                  <a:gd name="connsiteY1" fmla="*/ 350379 h 795901"/>
                  <a:gd name="connsiteX2" fmla="*/ 80340 w 8683492"/>
                  <a:gd name="connsiteY2" fmla="*/ 609625 h 795901"/>
                  <a:gd name="connsiteX3" fmla="*/ 62919 w 8683492"/>
                  <a:gd name="connsiteY3" fmla="*/ 726571 h 795901"/>
                  <a:gd name="connsiteX4" fmla="*/ 985701 w 8683492"/>
                  <a:gd name="connsiteY4" fmla="*/ 754148 h 795901"/>
                  <a:gd name="connsiteX5" fmla="*/ 1680560 w 8683492"/>
                  <a:gd name="connsiteY5" fmla="*/ 788136 h 795901"/>
                  <a:gd name="connsiteX6" fmla="*/ 2136570 w 8683492"/>
                  <a:gd name="connsiteY6" fmla="*/ 728648 h 795901"/>
                  <a:gd name="connsiteX7" fmla="*/ 2614292 w 8683492"/>
                  <a:gd name="connsiteY7" fmla="*/ 728648 h 795901"/>
                  <a:gd name="connsiteX8" fmla="*/ 3385161 w 8683492"/>
                  <a:gd name="connsiteY8" fmla="*/ 771142 h 795901"/>
                  <a:gd name="connsiteX9" fmla="*/ 4264597 w 8683492"/>
                  <a:gd name="connsiteY9" fmla="*/ 754148 h 795901"/>
                  <a:gd name="connsiteX10" fmla="*/ 4894315 w 8683492"/>
                  <a:gd name="connsiteY10" fmla="*/ 762654 h 795901"/>
                  <a:gd name="connsiteX11" fmla="*/ 5730325 w 8683492"/>
                  <a:gd name="connsiteY11" fmla="*/ 762654 h 795901"/>
                  <a:gd name="connsiteX12" fmla="*/ 6794338 w 8683492"/>
                  <a:gd name="connsiteY12" fmla="*/ 788154 h 795901"/>
                  <a:gd name="connsiteX13" fmla="*/ 7543493 w 8683492"/>
                  <a:gd name="connsiteY13" fmla="*/ 779648 h 795901"/>
                  <a:gd name="connsiteX14" fmla="*/ 8075488 w 8683492"/>
                  <a:gd name="connsiteY14" fmla="*/ 771142 h 795901"/>
                  <a:gd name="connsiteX15" fmla="*/ 8553211 w 8683492"/>
                  <a:gd name="connsiteY15" fmla="*/ 737154 h 795901"/>
                  <a:gd name="connsiteX16" fmla="*/ 8683492 w 8683492"/>
                  <a:gd name="connsiteY16" fmla="*/ 754148 h 795901"/>
                  <a:gd name="connsiteX17" fmla="*/ 8683492 w 8683492"/>
                  <a:gd name="connsiteY17" fmla="*/ 133791 h 795901"/>
                  <a:gd name="connsiteX18" fmla="*/ 8498916 w 8683492"/>
                  <a:gd name="connsiteY18" fmla="*/ 65870 h 795901"/>
                  <a:gd name="connsiteX19" fmla="*/ 7684620 w 8683492"/>
                  <a:gd name="connsiteY19" fmla="*/ 14889 h 795901"/>
                  <a:gd name="connsiteX20" fmla="*/ 7098329 w 8683492"/>
                  <a:gd name="connsiteY20" fmla="*/ 108364 h 795901"/>
                  <a:gd name="connsiteX21" fmla="*/ 6197179 w 8683492"/>
                  <a:gd name="connsiteY21" fmla="*/ 201839 h 795901"/>
                  <a:gd name="connsiteX22" fmla="*/ 5230888 w 8683492"/>
                  <a:gd name="connsiteY22" fmla="*/ 201839 h 795901"/>
                  <a:gd name="connsiteX23" fmla="*/ 3504598 w 8683492"/>
                  <a:gd name="connsiteY23" fmla="*/ 193333 h 795901"/>
                  <a:gd name="connsiteX24" fmla="*/ 2418870 w 8683492"/>
                  <a:gd name="connsiteY24" fmla="*/ 65870 h 795901"/>
                  <a:gd name="connsiteX25" fmla="*/ 627438 w 8683492"/>
                  <a:gd name="connsiteY25" fmla="*/ 57364 h 795901"/>
                  <a:gd name="connsiteX26" fmla="*/ 87616 w 8683492"/>
                  <a:gd name="connsiteY26" fmla="*/ 66415 h 795901"/>
                  <a:gd name="connsiteX0" fmla="*/ 84495 w 8680371"/>
                  <a:gd name="connsiteY0" fmla="*/ 66415 h 795903"/>
                  <a:gd name="connsiteX1" fmla="*/ 62557 w 8680371"/>
                  <a:gd name="connsiteY1" fmla="*/ 350379 h 795903"/>
                  <a:gd name="connsiteX2" fmla="*/ 77219 w 8680371"/>
                  <a:gd name="connsiteY2" fmla="*/ 609625 h 795903"/>
                  <a:gd name="connsiteX3" fmla="*/ 89436 w 8680371"/>
                  <a:gd name="connsiteY3" fmla="*/ 686441 h 795903"/>
                  <a:gd name="connsiteX4" fmla="*/ 59798 w 8680371"/>
                  <a:gd name="connsiteY4" fmla="*/ 726571 h 795903"/>
                  <a:gd name="connsiteX5" fmla="*/ 982580 w 8680371"/>
                  <a:gd name="connsiteY5" fmla="*/ 754148 h 795903"/>
                  <a:gd name="connsiteX6" fmla="*/ 1677439 w 8680371"/>
                  <a:gd name="connsiteY6" fmla="*/ 788136 h 795903"/>
                  <a:gd name="connsiteX7" fmla="*/ 2133449 w 8680371"/>
                  <a:gd name="connsiteY7" fmla="*/ 728648 h 795903"/>
                  <a:gd name="connsiteX8" fmla="*/ 2611171 w 8680371"/>
                  <a:gd name="connsiteY8" fmla="*/ 728648 h 795903"/>
                  <a:gd name="connsiteX9" fmla="*/ 3382040 w 8680371"/>
                  <a:gd name="connsiteY9" fmla="*/ 771142 h 795903"/>
                  <a:gd name="connsiteX10" fmla="*/ 4261476 w 8680371"/>
                  <a:gd name="connsiteY10" fmla="*/ 754148 h 795903"/>
                  <a:gd name="connsiteX11" fmla="*/ 4891194 w 8680371"/>
                  <a:gd name="connsiteY11" fmla="*/ 762654 h 795903"/>
                  <a:gd name="connsiteX12" fmla="*/ 5727204 w 8680371"/>
                  <a:gd name="connsiteY12" fmla="*/ 762654 h 795903"/>
                  <a:gd name="connsiteX13" fmla="*/ 6791217 w 8680371"/>
                  <a:gd name="connsiteY13" fmla="*/ 788154 h 795903"/>
                  <a:gd name="connsiteX14" fmla="*/ 7540372 w 8680371"/>
                  <a:gd name="connsiteY14" fmla="*/ 779648 h 795903"/>
                  <a:gd name="connsiteX15" fmla="*/ 8072367 w 8680371"/>
                  <a:gd name="connsiteY15" fmla="*/ 771142 h 795903"/>
                  <a:gd name="connsiteX16" fmla="*/ 8550090 w 8680371"/>
                  <a:gd name="connsiteY16" fmla="*/ 737154 h 795903"/>
                  <a:gd name="connsiteX17" fmla="*/ 8680371 w 8680371"/>
                  <a:gd name="connsiteY17" fmla="*/ 754148 h 795903"/>
                  <a:gd name="connsiteX18" fmla="*/ 8680371 w 8680371"/>
                  <a:gd name="connsiteY18" fmla="*/ 133791 h 795903"/>
                  <a:gd name="connsiteX19" fmla="*/ 8495795 w 8680371"/>
                  <a:gd name="connsiteY19" fmla="*/ 65870 h 795903"/>
                  <a:gd name="connsiteX20" fmla="*/ 7681499 w 8680371"/>
                  <a:gd name="connsiteY20" fmla="*/ 14889 h 795903"/>
                  <a:gd name="connsiteX21" fmla="*/ 7095208 w 8680371"/>
                  <a:gd name="connsiteY21" fmla="*/ 108364 h 795903"/>
                  <a:gd name="connsiteX22" fmla="*/ 6194058 w 8680371"/>
                  <a:gd name="connsiteY22" fmla="*/ 201839 h 795903"/>
                  <a:gd name="connsiteX23" fmla="*/ 5227767 w 8680371"/>
                  <a:gd name="connsiteY23" fmla="*/ 201839 h 795903"/>
                  <a:gd name="connsiteX24" fmla="*/ 3501477 w 8680371"/>
                  <a:gd name="connsiteY24" fmla="*/ 193333 h 795903"/>
                  <a:gd name="connsiteX25" fmla="*/ 2415749 w 8680371"/>
                  <a:gd name="connsiteY25" fmla="*/ 65870 h 795903"/>
                  <a:gd name="connsiteX26" fmla="*/ 624317 w 8680371"/>
                  <a:gd name="connsiteY26" fmla="*/ 57364 h 795903"/>
                  <a:gd name="connsiteX27" fmla="*/ 84495 w 8680371"/>
                  <a:gd name="connsiteY27" fmla="*/ 66415 h 795903"/>
                  <a:gd name="connsiteX0" fmla="*/ 58632 w 8654508"/>
                  <a:gd name="connsiteY0" fmla="*/ 66415 h 847530"/>
                  <a:gd name="connsiteX1" fmla="*/ 36694 w 8654508"/>
                  <a:gd name="connsiteY1" fmla="*/ 350379 h 847530"/>
                  <a:gd name="connsiteX2" fmla="*/ 51356 w 8654508"/>
                  <a:gd name="connsiteY2" fmla="*/ 609625 h 847530"/>
                  <a:gd name="connsiteX3" fmla="*/ 63573 w 8654508"/>
                  <a:gd name="connsiteY3" fmla="*/ 686441 h 847530"/>
                  <a:gd name="connsiteX4" fmla="*/ 99916 w 8654508"/>
                  <a:gd name="connsiteY4" fmla="*/ 846591 h 847530"/>
                  <a:gd name="connsiteX5" fmla="*/ 956717 w 8654508"/>
                  <a:gd name="connsiteY5" fmla="*/ 754148 h 847530"/>
                  <a:gd name="connsiteX6" fmla="*/ 1651576 w 8654508"/>
                  <a:gd name="connsiteY6" fmla="*/ 788136 h 847530"/>
                  <a:gd name="connsiteX7" fmla="*/ 2107586 w 8654508"/>
                  <a:gd name="connsiteY7" fmla="*/ 728648 h 847530"/>
                  <a:gd name="connsiteX8" fmla="*/ 2585308 w 8654508"/>
                  <a:gd name="connsiteY8" fmla="*/ 728648 h 847530"/>
                  <a:gd name="connsiteX9" fmla="*/ 3356177 w 8654508"/>
                  <a:gd name="connsiteY9" fmla="*/ 771142 h 847530"/>
                  <a:gd name="connsiteX10" fmla="*/ 4235613 w 8654508"/>
                  <a:gd name="connsiteY10" fmla="*/ 754148 h 847530"/>
                  <a:gd name="connsiteX11" fmla="*/ 4865331 w 8654508"/>
                  <a:gd name="connsiteY11" fmla="*/ 762654 h 847530"/>
                  <a:gd name="connsiteX12" fmla="*/ 5701341 w 8654508"/>
                  <a:gd name="connsiteY12" fmla="*/ 762654 h 847530"/>
                  <a:gd name="connsiteX13" fmla="*/ 6765354 w 8654508"/>
                  <a:gd name="connsiteY13" fmla="*/ 788154 h 847530"/>
                  <a:gd name="connsiteX14" fmla="*/ 7514509 w 8654508"/>
                  <a:gd name="connsiteY14" fmla="*/ 779648 h 847530"/>
                  <a:gd name="connsiteX15" fmla="*/ 8046504 w 8654508"/>
                  <a:gd name="connsiteY15" fmla="*/ 771142 h 847530"/>
                  <a:gd name="connsiteX16" fmla="*/ 8524227 w 8654508"/>
                  <a:gd name="connsiteY16" fmla="*/ 737154 h 847530"/>
                  <a:gd name="connsiteX17" fmla="*/ 8654508 w 8654508"/>
                  <a:gd name="connsiteY17" fmla="*/ 754148 h 847530"/>
                  <a:gd name="connsiteX18" fmla="*/ 8654508 w 8654508"/>
                  <a:gd name="connsiteY18" fmla="*/ 133791 h 847530"/>
                  <a:gd name="connsiteX19" fmla="*/ 8469932 w 8654508"/>
                  <a:gd name="connsiteY19" fmla="*/ 65870 h 847530"/>
                  <a:gd name="connsiteX20" fmla="*/ 7655636 w 8654508"/>
                  <a:gd name="connsiteY20" fmla="*/ 14889 h 847530"/>
                  <a:gd name="connsiteX21" fmla="*/ 7069345 w 8654508"/>
                  <a:gd name="connsiteY21" fmla="*/ 108364 h 847530"/>
                  <a:gd name="connsiteX22" fmla="*/ 6168195 w 8654508"/>
                  <a:gd name="connsiteY22" fmla="*/ 201839 h 847530"/>
                  <a:gd name="connsiteX23" fmla="*/ 5201904 w 8654508"/>
                  <a:gd name="connsiteY23" fmla="*/ 201839 h 847530"/>
                  <a:gd name="connsiteX24" fmla="*/ 3475614 w 8654508"/>
                  <a:gd name="connsiteY24" fmla="*/ 193333 h 847530"/>
                  <a:gd name="connsiteX25" fmla="*/ 2389886 w 8654508"/>
                  <a:gd name="connsiteY25" fmla="*/ 65870 h 847530"/>
                  <a:gd name="connsiteX26" fmla="*/ 598454 w 8654508"/>
                  <a:gd name="connsiteY26" fmla="*/ 57364 h 847530"/>
                  <a:gd name="connsiteX27" fmla="*/ 58632 w 8654508"/>
                  <a:gd name="connsiteY27" fmla="*/ 66415 h 847530"/>
                  <a:gd name="connsiteX0" fmla="*/ 54170 w 8650046"/>
                  <a:gd name="connsiteY0" fmla="*/ 66415 h 847528"/>
                  <a:gd name="connsiteX1" fmla="*/ 20012 w 8650046"/>
                  <a:gd name="connsiteY1" fmla="*/ 139144 h 847528"/>
                  <a:gd name="connsiteX2" fmla="*/ 32232 w 8650046"/>
                  <a:gd name="connsiteY2" fmla="*/ 350379 h 847528"/>
                  <a:gd name="connsiteX3" fmla="*/ 46894 w 8650046"/>
                  <a:gd name="connsiteY3" fmla="*/ 609625 h 847528"/>
                  <a:gd name="connsiteX4" fmla="*/ 59111 w 8650046"/>
                  <a:gd name="connsiteY4" fmla="*/ 686441 h 847528"/>
                  <a:gd name="connsiteX5" fmla="*/ 95454 w 8650046"/>
                  <a:gd name="connsiteY5" fmla="*/ 846591 h 847528"/>
                  <a:gd name="connsiteX6" fmla="*/ 952255 w 8650046"/>
                  <a:gd name="connsiteY6" fmla="*/ 754148 h 847528"/>
                  <a:gd name="connsiteX7" fmla="*/ 1647114 w 8650046"/>
                  <a:gd name="connsiteY7" fmla="*/ 788136 h 847528"/>
                  <a:gd name="connsiteX8" fmla="*/ 2103124 w 8650046"/>
                  <a:gd name="connsiteY8" fmla="*/ 728648 h 847528"/>
                  <a:gd name="connsiteX9" fmla="*/ 2580846 w 8650046"/>
                  <a:gd name="connsiteY9" fmla="*/ 728648 h 847528"/>
                  <a:gd name="connsiteX10" fmla="*/ 3351715 w 8650046"/>
                  <a:gd name="connsiteY10" fmla="*/ 771142 h 847528"/>
                  <a:gd name="connsiteX11" fmla="*/ 4231151 w 8650046"/>
                  <a:gd name="connsiteY11" fmla="*/ 754148 h 847528"/>
                  <a:gd name="connsiteX12" fmla="*/ 4860869 w 8650046"/>
                  <a:gd name="connsiteY12" fmla="*/ 762654 h 847528"/>
                  <a:gd name="connsiteX13" fmla="*/ 5696879 w 8650046"/>
                  <a:gd name="connsiteY13" fmla="*/ 762654 h 847528"/>
                  <a:gd name="connsiteX14" fmla="*/ 6760892 w 8650046"/>
                  <a:gd name="connsiteY14" fmla="*/ 788154 h 847528"/>
                  <a:gd name="connsiteX15" fmla="*/ 7510047 w 8650046"/>
                  <a:gd name="connsiteY15" fmla="*/ 779648 h 847528"/>
                  <a:gd name="connsiteX16" fmla="*/ 8042042 w 8650046"/>
                  <a:gd name="connsiteY16" fmla="*/ 771142 h 847528"/>
                  <a:gd name="connsiteX17" fmla="*/ 8519765 w 8650046"/>
                  <a:gd name="connsiteY17" fmla="*/ 737154 h 847528"/>
                  <a:gd name="connsiteX18" fmla="*/ 8650046 w 8650046"/>
                  <a:gd name="connsiteY18" fmla="*/ 754148 h 847528"/>
                  <a:gd name="connsiteX19" fmla="*/ 8650046 w 8650046"/>
                  <a:gd name="connsiteY19" fmla="*/ 133791 h 847528"/>
                  <a:gd name="connsiteX20" fmla="*/ 8465470 w 8650046"/>
                  <a:gd name="connsiteY20" fmla="*/ 65870 h 847528"/>
                  <a:gd name="connsiteX21" fmla="*/ 7651174 w 8650046"/>
                  <a:gd name="connsiteY21" fmla="*/ 14889 h 847528"/>
                  <a:gd name="connsiteX22" fmla="*/ 7064883 w 8650046"/>
                  <a:gd name="connsiteY22" fmla="*/ 108364 h 847528"/>
                  <a:gd name="connsiteX23" fmla="*/ 6163733 w 8650046"/>
                  <a:gd name="connsiteY23" fmla="*/ 201839 h 847528"/>
                  <a:gd name="connsiteX24" fmla="*/ 5197442 w 8650046"/>
                  <a:gd name="connsiteY24" fmla="*/ 201839 h 847528"/>
                  <a:gd name="connsiteX25" fmla="*/ 3471152 w 8650046"/>
                  <a:gd name="connsiteY25" fmla="*/ 193333 h 847528"/>
                  <a:gd name="connsiteX26" fmla="*/ 2385424 w 8650046"/>
                  <a:gd name="connsiteY26" fmla="*/ 65870 h 847528"/>
                  <a:gd name="connsiteX27" fmla="*/ 593992 w 8650046"/>
                  <a:gd name="connsiteY27" fmla="*/ 57364 h 847528"/>
                  <a:gd name="connsiteX28" fmla="*/ 54170 w 8650046"/>
                  <a:gd name="connsiteY28" fmla="*/ 66415 h 847528"/>
                  <a:gd name="connsiteX0" fmla="*/ 54170 w 8650046"/>
                  <a:gd name="connsiteY0" fmla="*/ 66415 h 847530"/>
                  <a:gd name="connsiteX1" fmla="*/ 20012 w 8650046"/>
                  <a:gd name="connsiteY1" fmla="*/ 139144 h 847530"/>
                  <a:gd name="connsiteX2" fmla="*/ 32232 w 8650046"/>
                  <a:gd name="connsiteY2" fmla="*/ 350379 h 847530"/>
                  <a:gd name="connsiteX3" fmla="*/ 46894 w 8650046"/>
                  <a:gd name="connsiteY3" fmla="*/ 609625 h 847530"/>
                  <a:gd name="connsiteX4" fmla="*/ 59111 w 8650046"/>
                  <a:gd name="connsiteY4" fmla="*/ 686441 h 847530"/>
                  <a:gd name="connsiteX5" fmla="*/ 95454 w 8650046"/>
                  <a:gd name="connsiteY5" fmla="*/ 846591 h 847530"/>
                  <a:gd name="connsiteX6" fmla="*/ 952255 w 8650046"/>
                  <a:gd name="connsiteY6" fmla="*/ 754148 h 847530"/>
                  <a:gd name="connsiteX7" fmla="*/ 1647114 w 8650046"/>
                  <a:gd name="connsiteY7" fmla="*/ 788136 h 847530"/>
                  <a:gd name="connsiteX8" fmla="*/ 2103124 w 8650046"/>
                  <a:gd name="connsiteY8" fmla="*/ 728648 h 847530"/>
                  <a:gd name="connsiteX9" fmla="*/ 2580846 w 8650046"/>
                  <a:gd name="connsiteY9" fmla="*/ 728648 h 847530"/>
                  <a:gd name="connsiteX10" fmla="*/ 3351715 w 8650046"/>
                  <a:gd name="connsiteY10" fmla="*/ 771142 h 847530"/>
                  <a:gd name="connsiteX11" fmla="*/ 4231151 w 8650046"/>
                  <a:gd name="connsiteY11" fmla="*/ 754148 h 847530"/>
                  <a:gd name="connsiteX12" fmla="*/ 4860869 w 8650046"/>
                  <a:gd name="connsiteY12" fmla="*/ 762654 h 847530"/>
                  <a:gd name="connsiteX13" fmla="*/ 5696879 w 8650046"/>
                  <a:gd name="connsiteY13" fmla="*/ 762654 h 847530"/>
                  <a:gd name="connsiteX14" fmla="*/ 6760892 w 8650046"/>
                  <a:gd name="connsiteY14" fmla="*/ 788154 h 847530"/>
                  <a:gd name="connsiteX15" fmla="*/ 7510047 w 8650046"/>
                  <a:gd name="connsiteY15" fmla="*/ 779648 h 847530"/>
                  <a:gd name="connsiteX16" fmla="*/ 8042042 w 8650046"/>
                  <a:gd name="connsiteY16" fmla="*/ 771142 h 847530"/>
                  <a:gd name="connsiteX17" fmla="*/ 8519765 w 8650046"/>
                  <a:gd name="connsiteY17" fmla="*/ 737154 h 847530"/>
                  <a:gd name="connsiteX18" fmla="*/ 8650046 w 8650046"/>
                  <a:gd name="connsiteY18" fmla="*/ 754148 h 847530"/>
                  <a:gd name="connsiteX19" fmla="*/ 8650046 w 8650046"/>
                  <a:gd name="connsiteY19" fmla="*/ 133791 h 847530"/>
                  <a:gd name="connsiteX20" fmla="*/ 8465470 w 8650046"/>
                  <a:gd name="connsiteY20" fmla="*/ 65870 h 847530"/>
                  <a:gd name="connsiteX21" fmla="*/ 7651174 w 8650046"/>
                  <a:gd name="connsiteY21" fmla="*/ 14889 h 847530"/>
                  <a:gd name="connsiteX22" fmla="*/ 7064883 w 8650046"/>
                  <a:gd name="connsiteY22" fmla="*/ 108364 h 847530"/>
                  <a:gd name="connsiteX23" fmla="*/ 6163733 w 8650046"/>
                  <a:gd name="connsiteY23" fmla="*/ 201839 h 847530"/>
                  <a:gd name="connsiteX24" fmla="*/ 5197442 w 8650046"/>
                  <a:gd name="connsiteY24" fmla="*/ 201839 h 847530"/>
                  <a:gd name="connsiteX25" fmla="*/ 3471152 w 8650046"/>
                  <a:gd name="connsiteY25" fmla="*/ 193333 h 847530"/>
                  <a:gd name="connsiteX26" fmla="*/ 2385424 w 8650046"/>
                  <a:gd name="connsiteY26" fmla="*/ 65870 h 847530"/>
                  <a:gd name="connsiteX27" fmla="*/ 593992 w 8650046"/>
                  <a:gd name="connsiteY27" fmla="*/ 57364 h 847530"/>
                  <a:gd name="connsiteX28" fmla="*/ 54170 w 8650046"/>
                  <a:gd name="connsiteY28" fmla="*/ 66415 h 847530"/>
                  <a:gd name="connsiteX0" fmla="*/ 48208 w 8644084"/>
                  <a:gd name="connsiteY0" fmla="*/ 66415 h 847528"/>
                  <a:gd name="connsiteX1" fmla="*/ 14050 w 8644084"/>
                  <a:gd name="connsiteY1" fmla="*/ 139144 h 847528"/>
                  <a:gd name="connsiteX2" fmla="*/ 26270 w 8644084"/>
                  <a:gd name="connsiteY2" fmla="*/ 350379 h 847528"/>
                  <a:gd name="connsiteX3" fmla="*/ 40932 w 8644084"/>
                  <a:gd name="connsiteY3" fmla="*/ 609625 h 847528"/>
                  <a:gd name="connsiteX4" fmla="*/ 53149 w 8644084"/>
                  <a:gd name="connsiteY4" fmla="*/ 686441 h 847528"/>
                  <a:gd name="connsiteX5" fmla="*/ 89492 w 8644084"/>
                  <a:gd name="connsiteY5" fmla="*/ 846591 h 847528"/>
                  <a:gd name="connsiteX6" fmla="*/ 946293 w 8644084"/>
                  <a:gd name="connsiteY6" fmla="*/ 754148 h 847528"/>
                  <a:gd name="connsiteX7" fmla="*/ 1641152 w 8644084"/>
                  <a:gd name="connsiteY7" fmla="*/ 788136 h 847528"/>
                  <a:gd name="connsiteX8" fmla="*/ 2097162 w 8644084"/>
                  <a:gd name="connsiteY8" fmla="*/ 728648 h 847528"/>
                  <a:gd name="connsiteX9" fmla="*/ 2574884 w 8644084"/>
                  <a:gd name="connsiteY9" fmla="*/ 728648 h 847528"/>
                  <a:gd name="connsiteX10" fmla="*/ 3345753 w 8644084"/>
                  <a:gd name="connsiteY10" fmla="*/ 771142 h 847528"/>
                  <a:gd name="connsiteX11" fmla="*/ 4225189 w 8644084"/>
                  <a:gd name="connsiteY11" fmla="*/ 754148 h 847528"/>
                  <a:gd name="connsiteX12" fmla="*/ 4854907 w 8644084"/>
                  <a:gd name="connsiteY12" fmla="*/ 762654 h 847528"/>
                  <a:gd name="connsiteX13" fmla="*/ 5690917 w 8644084"/>
                  <a:gd name="connsiteY13" fmla="*/ 762654 h 847528"/>
                  <a:gd name="connsiteX14" fmla="*/ 6754930 w 8644084"/>
                  <a:gd name="connsiteY14" fmla="*/ 788154 h 847528"/>
                  <a:gd name="connsiteX15" fmla="*/ 7504085 w 8644084"/>
                  <a:gd name="connsiteY15" fmla="*/ 779648 h 847528"/>
                  <a:gd name="connsiteX16" fmla="*/ 8036080 w 8644084"/>
                  <a:gd name="connsiteY16" fmla="*/ 771142 h 847528"/>
                  <a:gd name="connsiteX17" fmla="*/ 8513803 w 8644084"/>
                  <a:gd name="connsiteY17" fmla="*/ 737154 h 847528"/>
                  <a:gd name="connsiteX18" fmla="*/ 8644084 w 8644084"/>
                  <a:gd name="connsiteY18" fmla="*/ 754148 h 847528"/>
                  <a:gd name="connsiteX19" fmla="*/ 8644084 w 8644084"/>
                  <a:gd name="connsiteY19" fmla="*/ 133791 h 847528"/>
                  <a:gd name="connsiteX20" fmla="*/ 8459508 w 8644084"/>
                  <a:gd name="connsiteY20" fmla="*/ 65870 h 847528"/>
                  <a:gd name="connsiteX21" fmla="*/ 7645212 w 8644084"/>
                  <a:gd name="connsiteY21" fmla="*/ 14889 h 847528"/>
                  <a:gd name="connsiteX22" fmla="*/ 7058921 w 8644084"/>
                  <a:gd name="connsiteY22" fmla="*/ 108364 h 847528"/>
                  <a:gd name="connsiteX23" fmla="*/ 6157771 w 8644084"/>
                  <a:gd name="connsiteY23" fmla="*/ 201839 h 847528"/>
                  <a:gd name="connsiteX24" fmla="*/ 5191480 w 8644084"/>
                  <a:gd name="connsiteY24" fmla="*/ 201839 h 847528"/>
                  <a:gd name="connsiteX25" fmla="*/ 3465190 w 8644084"/>
                  <a:gd name="connsiteY25" fmla="*/ 193333 h 847528"/>
                  <a:gd name="connsiteX26" fmla="*/ 2379462 w 8644084"/>
                  <a:gd name="connsiteY26" fmla="*/ 65870 h 847528"/>
                  <a:gd name="connsiteX27" fmla="*/ 588030 w 8644084"/>
                  <a:gd name="connsiteY27" fmla="*/ 57364 h 847528"/>
                  <a:gd name="connsiteX28" fmla="*/ 48208 w 8644084"/>
                  <a:gd name="connsiteY28" fmla="*/ 66415 h 847528"/>
                  <a:gd name="connsiteX0" fmla="*/ 39893 w 8635769"/>
                  <a:gd name="connsiteY0" fmla="*/ 66415 h 847530"/>
                  <a:gd name="connsiteX1" fmla="*/ 5735 w 8635769"/>
                  <a:gd name="connsiteY1" fmla="*/ 139144 h 847530"/>
                  <a:gd name="connsiteX2" fmla="*/ 17955 w 8635769"/>
                  <a:gd name="connsiteY2" fmla="*/ 350379 h 847530"/>
                  <a:gd name="connsiteX3" fmla="*/ 32617 w 8635769"/>
                  <a:gd name="connsiteY3" fmla="*/ 609625 h 847530"/>
                  <a:gd name="connsiteX4" fmla="*/ 44834 w 8635769"/>
                  <a:gd name="connsiteY4" fmla="*/ 686441 h 847530"/>
                  <a:gd name="connsiteX5" fmla="*/ 81177 w 8635769"/>
                  <a:gd name="connsiteY5" fmla="*/ 846591 h 847530"/>
                  <a:gd name="connsiteX6" fmla="*/ 937978 w 8635769"/>
                  <a:gd name="connsiteY6" fmla="*/ 754148 h 847530"/>
                  <a:gd name="connsiteX7" fmla="*/ 1632837 w 8635769"/>
                  <a:gd name="connsiteY7" fmla="*/ 788136 h 847530"/>
                  <a:gd name="connsiteX8" fmla="*/ 2088847 w 8635769"/>
                  <a:gd name="connsiteY8" fmla="*/ 728648 h 847530"/>
                  <a:gd name="connsiteX9" fmla="*/ 2566569 w 8635769"/>
                  <a:gd name="connsiteY9" fmla="*/ 728648 h 847530"/>
                  <a:gd name="connsiteX10" fmla="*/ 3337438 w 8635769"/>
                  <a:gd name="connsiteY10" fmla="*/ 771142 h 847530"/>
                  <a:gd name="connsiteX11" fmla="*/ 4216874 w 8635769"/>
                  <a:gd name="connsiteY11" fmla="*/ 754148 h 847530"/>
                  <a:gd name="connsiteX12" fmla="*/ 4846592 w 8635769"/>
                  <a:gd name="connsiteY12" fmla="*/ 762654 h 847530"/>
                  <a:gd name="connsiteX13" fmla="*/ 5682602 w 8635769"/>
                  <a:gd name="connsiteY13" fmla="*/ 762654 h 847530"/>
                  <a:gd name="connsiteX14" fmla="*/ 6746615 w 8635769"/>
                  <a:gd name="connsiteY14" fmla="*/ 788154 h 847530"/>
                  <a:gd name="connsiteX15" fmla="*/ 7495770 w 8635769"/>
                  <a:gd name="connsiteY15" fmla="*/ 779648 h 847530"/>
                  <a:gd name="connsiteX16" fmla="*/ 8027765 w 8635769"/>
                  <a:gd name="connsiteY16" fmla="*/ 771142 h 847530"/>
                  <a:gd name="connsiteX17" fmla="*/ 8505488 w 8635769"/>
                  <a:gd name="connsiteY17" fmla="*/ 737154 h 847530"/>
                  <a:gd name="connsiteX18" fmla="*/ 8635769 w 8635769"/>
                  <a:gd name="connsiteY18" fmla="*/ 754148 h 847530"/>
                  <a:gd name="connsiteX19" fmla="*/ 8635769 w 8635769"/>
                  <a:gd name="connsiteY19" fmla="*/ 133791 h 847530"/>
                  <a:gd name="connsiteX20" fmla="*/ 8451193 w 8635769"/>
                  <a:gd name="connsiteY20" fmla="*/ 65870 h 847530"/>
                  <a:gd name="connsiteX21" fmla="*/ 7636897 w 8635769"/>
                  <a:gd name="connsiteY21" fmla="*/ 14889 h 847530"/>
                  <a:gd name="connsiteX22" fmla="*/ 7050606 w 8635769"/>
                  <a:gd name="connsiteY22" fmla="*/ 108364 h 847530"/>
                  <a:gd name="connsiteX23" fmla="*/ 6149456 w 8635769"/>
                  <a:gd name="connsiteY23" fmla="*/ 201839 h 847530"/>
                  <a:gd name="connsiteX24" fmla="*/ 5183165 w 8635769"/>
                  <a:gd name="connsiteY24" fmla="*/ 201839 h 847530"/>
                  <a:gd name="connsiteX25" fmla="*/ 3456875 w 8635769"/>
                  <a:gd name="connsiteY25" fmla="*/ 193333 h 847530"/>
                  <a:gd name="connsiteX26" fmla="*/ 2371147 w 8635769"/>
                  <a:gd name="connsiteY26" fmla="*/ 65870 h 847530"/>
                  <a:gd name="connsiteX27" fmla="*/ 579715 w 8635769"/>
                  <a:gd name="connsiteY27" fmla="*/ 57364 h 847530"/>
                  <a:gd name="connsiteX28" fmla="*/ 39893 w 8635769"/>
                  <a:gd name="connsiteY28" fmla="*/ 66415 h 847530"/>
                  <a:gd name="connsiteX0" fmla="*/ 39893 w 8635769"/>
                  <a:gd name="connsiteY0" fmla="*/ 66415 h 847528"/>
                  <a:gd name="connsiteX1" fmla="*/ 5735 w 8635769"/>
                  <a:gd name="connsiteY1" fmla="*/ 139144 h 847528"/>
                  <a:gd name="connsiteX2" fmla="*/ 17955 w 8635769"/>
                  <a:gd name="connsiteY2" fmla="*/ 350379 h 847528"/>
                  <a:gd name="connsiteX3" fmla="*/ 32617 w 8635769"/>
                  <a:gd name="connsiteY3" fmla="*/ 609625 h 847528"/>
                  <a:gd name="connsiteX4" fmla="*/ 44834 w 8635769"/>
                  <a:gd name="connsiteY4" fmla="*/ 686441 h 847528"/>
                  <a:gd name="connsiteX5" fmla="*/ 81177 w 8635769"/>
                  <a:gd name="connsiteY5" fmla="*/ 846591 h 847528"/>
                  <a:gd name="connsiteX6" fmla="*/ 937978 w 8635769"/>
                  <a:gd name="connsiteY6" fmla="*/ 754148 h 847528"/>
                  <a:gd name="connsiteX7" fmla="*/ 1632837 w 8635769"/>
                  <a:gd name="connsiteY7" fmla="*/ 788136 h 847528"/>
                  <a:gd name="connsiteX8" fmla="*/ 2088847 w 8635769"/>
                  <a:gd name="connsiteY8" fmla="*/ 728648 h 847528"/>
                  <a:gd name="connsiteX9" fmla="*/ 2566569 w 8635769"/>
                  <a:gd name="connsiteY9" fmla="*/ 728648 h 847528"/>
                  <a:gd name="connsiteX10" fmla="*/ 3337438 w 8635769"/>
                  <a:gd name="connsiteY10" fmla="*/ 771142 h 847528"/>
                  <a:gd name="connsiteX11" fmla="*/ 4216874 w 8635769"/>
                  <a:gd name="connsiteY11" fmla="*/ 754148 h 847528"/>
                  <a:gd name="connsiteX12" fmla="*/ 4846592 w 8635769"/>
                  <a:gd name="connsiteY12" fmla="*/ 762654 h 847528"/>
                  <a:gd name="connsiteX13" fmla="*/ 5682602 w 8635769"/>
                  <a:gd name="connsiteY13" fmla="*/ 762654 h 847528"/>
                  <a:gd name="connsiteX14" fmla="*/ 6746615 w 8635769"/>
                  <a:gd name="connsiteY14" fmla="*/ 788154 h 847528"/>
                  <a:gd name="connsiteX15" fmla="*/ 7495770 w 8635769"/>
                  <a:gd name="connsiteY15" fmla="*/ 779648 h 847528"/>
                  <a:gd name="connsiteX16" fmla="*/ 8027765 w 8635769"/>
                  <a:gd name="connsiteY16" fmla="*/ 771142 h 847528"/>
                  <a:gd name="connsiteX17" fmla="*/ 8505488 w 8635769"/>
                  <a:gd name="connsiteY17" fmla="*/ 737154 h 847528"/>
                  <a:gd name="connsiteX18" fmla="*/ 8635769 w 8635769"/>
                  <a:gd name="connsiteY18" fmla="*/ 754148 h 847528"/>
                  <a:gd name="connsiteX19" fmla="*/ 8635769 w 8635769"/>
                  <a:gd name="connsiteY19" fmla="*/ 133791 h 847528"/>
                  <a:gd name="connsiteX20" fmla="*/ 8451193 w 8635769"/>
                  <a:gd name="connsiteY20" fmla="*/ 65870 h 847528"/>
                  <a:gd name="connsiteX21" fmla="*/ 7636897 w 8635769"/>
                  <a:gd name="connsiteY21" fmla="*/ 14889 h 847528"/>
                  <a:gd name="connsiteX22" fmla="*/ 7050606 w 8635769"/>
                  <a:gd name="connsiteY22" fmla="*/ 108364 h 847528"/>
                  <a:gd name="connsiteX23" fmla="*/ 6149456 w 8635769"/>
                  <a:gd name="connsiteY23" fmla="*/ 201839 h 847528"/>
                  <a:gd name="connsiteX24" fmla="*/ 5183165 w 8635769"/>
                  <a:gd name="connsiteY24" fmla="*/ 201839 h 847528"/>
                  <a:gd name="connsiteX25" fmla="*/ 3456875 w 8635769"/>
                  <a:gd name="connsiteY25" fmla="*/ 193333 h 847528"/>
                  <a:gd name="connsiteX26" fmla="*/ 2371147 w 8635769"/>
                  <a:gd name="connsiteY26" fmla="*/ 65870 h 847528"/>
                  <a:gd name="connsiteX27" fmla="*/ 579715 w 8635769"/>
                  <a:gd name="connsiteY27" fmla="*/ 57364 h 847528"/>
                  <a:gd name="connsiteX28" fmla="*/ 39893 w 8635769"/>
                  <a:gd name="connsiteY28" fmla="*/ 66415 h 847528"/>
                  <a:gd name="connsiteX0" fmla="*/ 36653 w 8632529"/>
                  <a:gd name="connsiteY0" fmla="*/ 66415 h 847530"/>
                  <a:gd name="connsiteX1" fmla="*/ 2495 w 8632529"/>
                  <a:gd name="connsiteY1" fmla="*/ 139144 h 847530"/>
                  <a:gd name="connsiteX2" fmla="*/ 14715 w 8632529"/>
                  <a:gd name="connsiteY2" fmla="*/ 350379 h 847530"/>
                  <a:gd name="connsiteX3" fmla="*/ 29377 w 8632529"/>
                  <a:gd name="connsiteY3" fmla="*/ 609625 h 847530"/>
                  <a:gd name="connsiteX4" fmla="*/ 41594 w 8632529"/>
                  <a:gd name="connsiteY4" fmla="*/ 686441 h 847530"/>
                  <a:gd name="connsiteX5" fmla="*/ 77937 w 8632529"/>
                  <a:gd name="connsiteY5" fmla="*/ 846591 h 847530"/>
                  <a:gd name="connsiteX6" fmla="*/ 934738 w 8632529"/>
                  <a:gd name="connsiteY6" fmla="*/ 754148 h 847530"/>
                  <a:gd name="connsiteX7" fmla="*/ 1629597 w 8632529"/>
                  <a:gd name="connsiteY7" fmla="*/ 788136 h 847530"/>
                  <a:gd name="connsiteX8" fmla="*/ 2085607 w 8632529"/>
                  <a:gd name="connsiteY8" fmla="*/ 728648 h 847530"/>
                  <a:gd name="connsiteX9" fmla="*/ 2563329 w 8632529"/>
                  <a:gd name="connsiteY9" fmla="*/ 728648 h 847530"/>
                  <a:gd name="connsiteX10" fmla="*/ 3334198 w 8632529"/>
                  <a:gd name="connsiteY10" fmla="*/ 771142 h 847530"/>
                  <a:gd name="connsiteX11" fmla="*/ 4213634 w 8632529"/>
                  <a:gd name="connsiteY11" fmla="*/ 754148 h 847530"/>
                  <a:gd name="connsiteX12" fmla="*/ 4843352 w 8632529"/>
                  <a:gd name="connsiteY12" fmla="*/ 762654 h 847530"/>
                  <a:gd name="connsiteX13" fmla="*/ 5679362 w 8632529"/>
                  <a:gd name="connsiteY13" fmla="*/ 762654 h 847530"/>
                  <a:gd name="connsiteX14" fmla="*/ 6743375 w 8632529"/>
                  <a:gd name="connsiteY14" fmla="*/ 788154 h 847530"/>
                  <a:gd name="connsiteX15" fmla="*/ 7492530 w 8632529"/>
                  <a:gd name="connsiteY15" fmla="*/ 779648 h 847530"/>
                  <a:gd name="connsiteX16" fmla="*/ 8024525 w 8632529"/>
                  <a:gd name="connsiteY16" fmla="*/ 771142 h 847530"/>
                  <a:gd name="connsiteX17" fmla="*/ 8502248 w 8632529"/>
                  <a:gd name="connsiteY17" fmla="*/ 737154 h 847530"/>
                  <a:gd name="connsiteX18" fmla="*/ 8632529 w 8632529"/>
                  <a:gd name="connsiteY18" fmla="*/ 754148 h 847530"/>
                  <a:gd name="connsiteX19" fmla="*/ 8632529 w 8632529"/>
                  <a:gd name="connsiteY19" fmla="*/ 133791 h 847530"/>
                  <a:gd name="connsiteX20" fmla="*/ 8447953 w 8632529"/>
                  <a:gd name="connsiteY20" fmla="*/ 65870 h 847530"/>
                  <a:gd name="connsiteX21" fmla="*/ 7633657 w 8632529"/>
                  <a:gd name="connsiteY21" fmla="*/ 14889 h 847530"/>
                  <a:gd name="connsiteX22" fmla="*/ 7047366 w 8632529"/>
                  <a:gd name="connsiteY22" fmla="*/ 108364 h 847530"/>
                  <a:gd name="connsiteX23" fmla="*/ 6146216 w 8632529"/>
                  <a:gd name="connsiteY23" fmla="*/ 201839 h 847530"/>
                  <a:gd name="connsiteX24" fmla="*/ 5179925 w 8632529"/>
                  <a:gd name="connsiteY24" fmla="*/ 201839 h 847530"/>
                  <a:gd name="connsiteX25" fmla="*/ 3453635 w 8632529"/>
                  <a:gd name="connsiteY25" fmla="*/ 193333 h 847530"/>
                  <a:gd name="connsiteX26" fmla="*/ 2367907 w 8632529"/>
                  <a:gd name="connsiteY26" fmla="*/ 65870 h 847530"/>
                  <a:gd name="connsiteX27" fmla="*/ 576475 w 8632529"/>
                  <a:gd name="connsiteY27" fmla="*/ 57364 h 847530"/>
                  <a:gd name="connsiteX28" fmla="*/ 36653 w 8632529"/>
                  <a:gd name="connsiteY28" fmla="*/ 66415 h 847530"/>
                  <a:gd name="connsiteX0" fmla="*/ 38923 w 8634799"/>
                  <a:gd name="connsiteY0" fmla="*/ 66415 h 847528"/>
                  <a:gd name="connsiteX1" fmla="*/ 4765 w 8634799"/>
                  <a:gd name="connsiteY1" fmla="*/ 139144 h 847528"/>
                  <a:gd name="connsiteX2" fmla="*/ 16985 w 8634799"/>
                  <a:gd name="connsiteY2" fmla="*/ 350379 h 847528"/>
                  <a:gd name="connsiteX3" fmla="*/ 31647 w 8634799"/>
                  <a:gd name="connsiteY3" fmla="*/ 609625 h 847528"/>
                  <a:gd name="connsiteX4" fmla="*/ 43864 w 8634799"/>
                  <a:gd name="connsiteY4" fmla="*/ 686441 h 847528"/>
                  <a:gd name="connsiteX5" fmla="*/ 80207 w 8634799"/>
                  <a:gd name="connsiteY5" fmla="*/ 846591 h 847528"/>
                  <a:gd name="connsiteX6" fmla="*/ 937008 w 8634799"/>
                  <a:gd name="connsiteY6" fmla="*/ 754148 h 847528"/>
                  <a:gd name="connsiteX7" fmla="*/ 1631867 w 8634799"/>
                  <a:gd name="connsiteY7" fmla="*/ 788136 h 847528"/>
                  <a:gd name="connsiteX8" fmla="*/ 2087877 w 8634799"/>
                  <a:gd name="connsiteY8" fmla="*/ 728648 h 847528"/>
                  <a:gd name="connsiteX9" fmla="*/ 2565599 w 8634799"/>
                  <a:gd name="connsiteY9" fmla="*/ 728648 h 847528"/>
                  <a:gd name="connsiteX10" fmla="*/ 3336468 w 8634799"/>
                  <a:gd name="connsiteY10" fmla="*/ 771142 h 847528"/>
                  <a:gd name="connsiteX11" fmla="*/ 4215904 w 8634799"/>
                  <a:gd name="connsiteY11" fmla="*/ 754148 h 847528"/>
                  <a:gd name="connsiteX12" fmla="*/ 4845622 w 8634799"/>
                  <a:gd name="connsiteY12" fmla="*/ 762654 h 847528"/>
                  <a:gd name="connsiteX13" fmla="*/ 5681632 w 8634799"/>
                  <a:gd name="connsiteY13" fmla="*/ 762654 h 847528"/>
                  <a:gd name="connsiteX14" fmla="*/ 6745645 w 8634799"/>
                  <a:gd name="connsiteY14" fmla="*/ 788154 h 847528"/>
                  <a:gd name="connsiteX15" fmla="*/ 7494800 w 8634799"/>
                  <a:gd name="connsiteY15" fmla="*/ 779648 h 847528"/>
                  <a:gd name="connsiteX16" fmla="*/ 8026795 w 8634799"/>
                  <a:gd name="connsiteY16" fmla="*/ 771142 h 847528"/>
                  <a:gd name="connsiteX17" fmla="*/ 8504518 w 8634799"/>
                  <a:gd name="connsiteY17" fmla="*/ 737154 h 847528"/>
                  <a:gd name="connsiteX18" fmla="*/ 8634799 w 8634799"/>
                  <a:gd name="connsiteY18" fmla="*/ 754148 h 847528"/>
                  <a:gd name="connsiteX19" fmla="*/ 8634799 w 8634799"/>
                  <a:gd name="connsiteY19" fmla="*/ 133791 h 847528"/>
                  <a:gd name="connsiteX20" fmla="*/ 8450223 w 8634799"/>
                  <a:gd name="connsiteY20" fmla="*/ 65870 h 847528"/>
                  <a:gd name="connsiteX21" fmla="*/ 7635927 w 8634799"/>
                  <a:gd name="connsiteY21" fmla="*/ 14889 h 847528"/>
                  <a:gd name="connsiteX22" fmla="*/ 7049636 w 8634799"/>
                  <a:gd name="connsiteY22" fmla="*/ 108364 h 847528"/>
                  <a:gd name="connsiteX23" fmla="*/ 6148486 w 8634799"/>
                  <a:gd name="connsiteY23" fmla="*/ 201839 h 847528"/>
                  <a:gd name="connsiteX24" fmla="*/ 5182195 w 8634799"/>
                  <a:gd name="connsiteY24" fmla="*/ 201839 h 847528"/>
                  <a:gd name="connsiteX25" fmla="*/ 3455905 w 8634799"/>
                  <a:gd name="connsiteY25" fmla="*/ 193333 h 847528"/>
                  <a:gd name="connsiteX26" fmla="*/ 2370177 w 8634799"/>
                  <a:gd name="connsiteY26" fmla="*/ 65870 h 847528"/>
                  <a:gd name="connsiteX27" fmla="*/ 578745 w 8634799"/>
                  <a:gd name="connsiteY27" fmla="*/ 57364 h 847528"/>
                  <a:gd name="connsiteX28" fmla="*/ 38923 w 8634799"/>
                  <a:gd name="connsiteY28" fmla="*/ 66415 h 847528"/>
                  <a:gd name="connsiteX0" fmla="*/ 38923 w 8634799"/>
                  <a:gd name="connsiteY0" fmla="*/ 66415 h 847530"/>
                  <a:gd name="connsiteX1" fmla="*/ 4765 w 8634799"/>
                  <a:gd name="connsiteY1" fmla="*/ 139144 h 847530"/>
                  <a:gd name="connsiteX2" fmla="*/ 16985 w 8634799"/>
                  <a:gd name="connsiteY2" fmla="*/ 350379 h 847530"/>
                  <a:gd name="connsiteX3" fmla="*/ 31647 w 8634799"/>
                  <a:gd name="connsiteY3" fmla="*/ 609625 h 847530"/>
                  <a:gd name="connsiteX4" fmla="*/ 43864 w 8634799"/>
                  <a:gd name="connsiteY4" fmla="*/ 686441 h 847530"/>
                  <a:gd name="connsiteX5" fmla="*/ 80207 w 8634799"/>
                  <a:gd name="connsiteY5" fmla="*/ 846591 h 847530"/>
                  <a:gd name="connsiteX6" fmla="*/ 937008 w 8634799"/>
                  <a:gd name="connsiteY6" fmla="*/ 754148 h 847530"/>
                  <a:gd name="connsiteX7" fmla="*/ 1631867 w 8634799"/>
                  <a:gd name="connsiteY7" fmla="*/ 788136 h 847530"/>
                  <a:gd name="connsiteX8" fmla="*/ 2087877 w 8634799"/>
                  <a:gd name="connsiteY8" fmla="*/ 728648 h 847530"/>
                  <a:gd name="connsiteX9" fmla="*/ 2565599 w 8634799"/>
                  <a:gd name="connsiteY9" fmla="*/ 728648 h 847530"/>
                  <a:gd name="connsiteX10" fmla="*/ 3336468 w 8634799"/>
                  <a:gd name="connsiteY10" fmla="*/ 771142 h 847530"/>
                  <a:gd name="connsiteX11" fmla="*/ 4215904 w 8634799"/>
                  <a:gd name="connsiteY11" fmla="*/ 754148 h 847530"/>
                  <a:gd name="connsiteX12" fmla="*/ 4845622 w 8634799"/>
                  <a:gd name="connsiteY12" fmla="*/ 762654 h 847530"/>
                  <a:gd name="connsiteX13" fmla="*/ 5681632 w 8634799"/>
                  <a:gd name="connsiteY13" fmla="*/ 762654 h 847530"/>
                  <a:gd name="connsiteX14" fmla="*/ 6745645 w 8634799"/>
                  <a:gd name="connsiteY14" fmla="*/ 788154 h 847530"/>
                  <a:gd name="connsiteX15" fmla="*/ 7494800 w 8634799"/>
                  <a:gd name="connsiteY15" fmla="*/ 779648 h 847530"/>
                  <a:gd name="connsiteX16" fmla="*/ 8026795 w 8634799"/>
                  <a:gd name="connsiteY16" fmla="*/ 771142 h 847530"/>
                  <a:gd name="connsiteX17" fmla="*/ 8504518 w 8634799"/>
                  <a:gd name="connsiteY17" fmla="*/ 737154 h 847530"/>
                  <a:gd name="connsiteX18" fmla="*/ 8634799 w 8634799"/>
                  <a:gd name="connsiteY18" fmla="*/ 754148 h 847530"/>
                  <a:gd name="connsiteX19" fmla="*/ 8634799 w 8634799"/>
                  <a:gd name="connsiteY19" fmla="*/ 133791 h 847530"/>
                  <a:gd name="connsiteX20" fmla="*/ 8450223 w 8634799"/>
                  <a:gd name="connsiteY20" fmla="*/ 65870 h 847530"/>
                  <a:gd name="connsiteX21" fmla="*/ 7635927 w 8634799"/>
                  <a:gd name="connsiteY21" fmla="*/ 14889 h 847530"/>
                  <a:gd name="connsiteX22" fmla="*/ 7049636 w 8634799"/>
                  <a:gd name="connsiteY22" fmla="*/ 108364 h 847530"/>
                  <a:gd name="connsiteX23" fmla="*/ 6132068 w 8634799"/>
                  <a:gd name="connsiteY23" fmla="*/ 131955 h 847530"/>
                  <a:gd name="connsiteX24" fmla="*/ 5182195 w 8634799"/>
                  <a:gd name="connsiteY24" fmla="*/ 201839 h 847530"/>
                  <a:gd name="connsiteX25" fmla="*/ 3455905 w 8634799"/>
                  <a:gd name="connsiteY25" fmla="*/ 193333 h 847530"/>
                  <a:gd name="connsiteX26" fmla="*/ 2370177 w 8634799"/>
                  <a:gd name="connsiteY26" fmla="*/ 65870 h 847530"/>
                  <a:gd name="connsiteX27" fmla="*/ 578745 w 8634799"/>
                  <a:gd name="connsiteY27" fmla="*/ 57364 h 847530"/>
                  <a:gd name="connsiteX28" fmla="*/ 38923 w 8634799"/>
                  <a:gd name="connsiteY28" fmla="*/ 66415 h 847530"/>
                  <a:gd name="connsiteX0" fmla="*/ 38923 w 8634799"/>
                  <a:gd name="connsiteY0" fmla="*/ 66415 h 847528"/>
                  <a:gd name="connsiteX1" fmla="*/ 4765 w 8634799"/>
                  <a:gd name="connsiteY1" fmla="*/ 139144 h 847528"/>
                  <a:gd name="connsiteX2" fmla="*/ 16985 w 8634799"/>
                  <a:gd name="connsiteY2" fmla="*/ 350379 h 847528"/>
                  <a:gd name="connsiteX3" fmla="*/ 31647 w 8634799"/>
                  <a:gd name="connsiteY3" fmla="*/ 609625 h 847528"/>
                  <a:gd name="connsiteX4" fmla="*/ 43864 w 8634799"/>
                  <a:gd name="connsiteY4" fmla="*/ 686441 h 847528"/>
                  <a:gd name="connsiteX5" fmla="*/ 80207 w 8634799"/>
                  <a:gd name="connsiteY5" fmla="*/ 846591 h 847528"/>
                  <a:gd name="connsiteX6" fmla="*/ 937008 w 8634799"/>
                  <a:gd name="connsiteY6" fmla="*/ 754148 h 847528"/>
                  <a:gd name="connsiteX7" fmla="*/ 1631867 w 8634799"/>
                  <a:gd name="connsiteY7" fmla="*/ 788136 h 847528"/>
                  <a:gd name="connsiteX8" fmla="*/ 2087877 w 8634799"/>
                  <a:gd name="connsiteY8" fmla="*/ 728648 h 847528"/>
                  <a:gd name="connsiteX9" fmla="*/ 2565599 w 8634799"/>
                  <a:gd name="connsiteY9" fmla="*/ 728648 h 847528"/>
                  <a:gd name="connsiteX10" fmla="*/ 3336468 w 8634799"/>
                  <a:gd name="connsiteY10" fmla="*/ 771142 h 847528"/>
                  <a:gd name="connsiteX11" fmla="*/ 4215904 w 8634799"/>
                  <a:gd name="connsiteY11" fmla="*/ 754148 h 847528"/>
                  <a:gd name="connsiteX12" fmla="*/ 4845622 w 8634799"/>
                  <a:gd name="connsiteY12" fmla="*/ 762654 h 847528"/>
                  <a:gd name="connsiteX13" fmla="*/ 5681632 w 8634799"/>
                  <a:gd name="connsiteY13" fmla="*/ 762654 h 847528"/>
                  <a:gd name="connsiteX14" fmla="*/ 6745645 w 8634799"/>
                  <a:gd name="connsiteY14" fmla="*/ 788154 h 847528"/>
                  <a:gd name="connsiteX15" fmla="*/ 7494800 w 8634799"/>
                  <a:gd name="connsiteY15" fmla="*/ 779648 h 847528"/>
                  <a:gd name="connsiteX16" fmla="*/ 8026795 w 8634799"/>
                  <a:gd name="connsiteY16" fmla="*/ 771142 h 847528"/>
                  <a:gd name="connsiteX17" fmla="*/ 8504518 w 8634799"/>
                  <a:gd name="connsiteY17" fmla="*/ 737154 h 847528"/>
                  <a:gd name="connsiteX18" fmla="*/ 8634799 w 8634799"/>
                  <a:gd name="connsiteY18" fmla="*/ 754148 h 847528"/>
                  <a:gd name="connsiteX19" fmla="*/ 8634799 w 8634799"/>
                  <a:gd name="connsiteY19" fmla="*/ 133791 h 847528"/>
                  <a:gd name="connsiteX20" fmla="*/ 8450223 w 8634799"/>
                  <a:gd name="connsiteY20" fmla="*/ 65870 h 847528"/>
                  <a:gd name="connsiteX21" fmla="*/ 7635927 w 8634799"/>
                  <a:gd name="connsiteY21" fmla="*/ 14889 h 847528"/>
                  <a:gd name="connsiteX22" fmla="*/ 7049636 w 8634799"/>
                  <a:gd name="connsiteY22" fmla="*/ 108364 h 847528"/>
                  <a:gd name="connsiteX23" fmla="*/ 6132068 w 8634799"/>
                  <a:gd name="connsiteY23" fmla="*/ 131955 h 847528"/>
                  <a:gd name="connsiteX24" fmla="*/ 5182195 w 8634799"/>
                  <a:gd name="connsiteY24" fmla="*/ 201839 h 847528"/>
                  <a:gd name="connsiteX25" fmla="*/ 3455905 w 8634799"/>
                  <a:gd name="connsiteY25" fmla="*/ 193333 h 847528"/>
                  <a:gd name="connsiteX26" fmla="*/ 2370177 w 8634799"/>
                  <a:gd name="connsiteY26" fmla="*/ 65870 h 847528"/>
                  <a:gd name="connsiteX27" fmla="*/ 578745 w 8634799"/>
                  <a:gd name="connsiteY27" fmla="*/ 57364 h 847528"/>
                  <a:gd name="connsiteX28" fmla="*/ 38923 w 8634799"/>
                  <a:gd name="connsiteY28" fmla="*/ 66415 h 847528"/>
                  <a:gd name="connsiteX0" fmla="*/ 38923 w 8634799"/>
                  <a:gd name="connsiteY0" fmla="*/ 66415 h 847530"/>
                  <a:gd name="connsiteX1" fmla="*/ 4765 w 8634799"/>
                  <a:gd name="connsiteY1" fmla="*/ 139144 h 847530"/>
                  <a:gd name="connsiteX2" fmla="*/ 16985 w 8634799"/>
                  <a:gd name="connsiteY2" fmla="*/ 350379 h 847530"/>
                  <a:gd name="connsiteX3" fmla="*/ 31647 w 8634799"/>
                  <a:gd name="connsiteY3" fmla="*/ 609625 h 847530"/>
                  <a:gd name="connsiteX4" fmla="*/ 43864 w 8634799"/>
                  <a:gd name="connsiteY4" fmla="*/ 686441 h 847530"/>
                  <a:gd name="connsiteX5" fmla="*/ 80207 w 8634799"/>
                  <a:gd name="connsiteY5" fmla="*/ 846591 h 847530"/>
                  <a:gd name="connsiteX6" fmla="*/ 937008 w 8634799"/>
                  <a:gd name="connsiteY6" fmla="*/ 754148 h 847530"/>
                  <a:gd name="connsiteX7" fmla="*/ 1631867 w 8634799"/>
                  <a:gd name="connsiteY7" fmla="*/ 788136 h 847530"/>
                  <a:gd name="connsiteX8" fmla="*/ 2087877 w 8634799"/>
                  <a:gd name="connsiteY8" fmla="*/ 728648 h 847530"/>
                  <a:gd name="connsiteX9" fmla="*/ 2565599 w 8634799"/>
                  <a:gd name="connsiteY9" fmla="*/ 728648 h 847530"/>
                  <a:gd name="connsiteX10" fmla="*/ 3336468 w 8634799"/>
                  <a:gd name="connsiteY10" fmla="*/ 771142 h 847530"/>
                  <a:gd name="connsiteX11" fmla="*/ 4215904 w 8634799"/>
                  <a:gd name="connsiteY11" fmla="*/ 754148 h 847530"/>
                  <a:gd name="connsiteX12" fmla="*/ 4845622 w 8634799"/>
                  <a:gd name="connsiteY12" fmla="*/ 762654 h 847530"/>
                  <a:gd name="connsiteX13" fmla="*/ 5681632 w 8634799"/>
                  <a:gd name="connsiteY13" fmla="*/ 762654 h 847530"/>
                  <a:gd name="connsiteX14" fmla="*/ 6745645 w 8634799"/>
                  <a:gd name="connsiteY14" fmla="*/ 788154 h 847530"/>
                  <a:gd name="connsiteX15" fmla="*/ 7494800 w 8634799"/>
                  <a:gd name="connsiteY15" fmla="*/ 779648 h 847530"/>
                  <a:gd name="connsiteX16" fmla="*/ 8026795 w 8634799"/>
                  <a:gd name="connsiteY16" fmla="*/ 771142 h 847530"/>
                  <a:gd name="connsiteX17" fmla="*/ 8504518 w 8634799"/>
                  <a:gd name="connsiteY17" fmla="*/ 737154 h 847530"/>
                  <a:gd name="connsiteX18" fmla="*/ 8634799 w 8634799"/>
                  <a:gd name="connsiteY18" fmla="*/ 754148 h 847530"/>
                  <a:gd name="connsiteX19" fmla="*/ 8634799 w 8634799"/>
                  <a:gd name="connsiteY19" fmla="*/ 133791 h 847530"/>
                  <a:gd name="connsiteX20" fmla="*/ 8450223 w 8634799"/>
                  <a:gd name="connsiteY20" fmla="*/ 65870 h 847530"/>
                  <a:gd name="connsiteX21" fmla="*/ 7635927 w 8634799"/>
                  <a:gd name="connsiteY21" fmla="*/ 14889 h 847530"/>
                  <a:gd name="connsiteX22" fmla="*/ 7049636 w 8634799"/>
                  <a:gd name="connsiteY22" fmla="*/ 108364 h 847530"/>
                  <a:gd name="connsiteX23" fmla="*/ 6132068 w 8634799"/>
                  <a:gd name="connsiteY23" fmla="*/ 131955 h 847530"/>
                  <a:gd name="connsiteX24" fmla="*/ 5182195 w 8634799"/>
                  <a:gd name="connsiteY24" fmla="*/ 201839 h 847530"/>
                  <a:gd name="connsiteX25" fmla="*/ 3455905 w 8634799"/>
                  <a:gd name="connsiteY25" fmla="*/ 193333 h 847530"/>
                  <a:gd name="connsiteX26" fmla="*/ 2370177 w 8634799"/>
                  <a:gd name="connsiteY26" fmla="*/ 65870 h 847530"/>
                  <a:gd name="connsiteX27" fmla="*/ 578745 w 8634799"/>
                  <a:gd name="connsiteY27" fmla="*/ 57364 h 847530"/>
                  <a:gd name="connsiteX28" fmla="*/ 38923 w 8634799"/>
                  <a:gd name="connsiteY28" fmla="*/ 66415 h 847530"/>
                  <a:gd name="connsiteX0" fmla="*/ 38923 w 8634799"/>
                  <a:gd name="connsiteY0" fmla="*/ 66415 h 847528"/>
                  <a:gd name="connsiteX1" fmla="*/ 4765 w 8634799"/>
                  <a:gd name="connsiteY1" fmla="*/ 139144 h 847528"/>
                  <a:gd name="connsiteX2" fmla="*/ 16985 w 8634799"/>
                  <a:gd name="connsiteY2" fmla="*/ 350379 h 847528"/>
                  <a:gd name="connsiteX3" fmla="*/ 31647 w 8634799"/>
                  <a:gd name="connsiteY3" fmla="*/ 609625 h 847528"/>
                  <a:gd name="connsiteX4" fmla="*/ 43864 w 8634799"/>
                  <a:gd name="connsiteY4" fmla="*/ 686441 h 847528"/>
                  <a:gd name="connsiteX5" fmla="*/ 80207 w 8634799"/>
                  <a:gd name="connsiteY5" fmla="*/ 846591 h 847528"/>
                  <a:gd name="connsiteX6" fmla="*/ 937008 w 8634799"/>
                  <a:gd name="connsiteY6" fmla="*/ 754148 h 847528"/>
                  <a:gd name="connsiteX7" fmla="*/ 1631867 w 8634799"/>
                  <a:gd name="connsiteY7" fmla="*/ 788136 h 847528"/>
                  <a:gd name="connsiteX8" fmla="*/ 2087877 w 8634799"/>
                  <a:gd name="connsiteY8" fmla="*/ 728648 h 847528"/>
                  <a:gd name="connsiteX9" fmla="*/ 2565599 w 8634799"/>
                  <a:gd name="connsiteY9" fmla="*/ 728648 h 847528"/>
                  <a:gd name="connsiteX10" fmla="*/ 3336468 w 8634799"/>
                  <a:gd name="connsiteY10" fmla="*/ 771142 h 847528"/>
                  <a:gd name="connsiteX11" fmla="*/ 4215904 w 8634799"/>
                  <a:gd name="connsiteY11" fmla="*/ 754148 h 847528"/>
                  <a:gd name="connsiteX12" fmla="*/ 4845622 w 8634799"/>
                  <a:gd name="connsiteY12" fmla="*/ 762654 h 847528"/>
                  <a:gd name="connsiteX13" fmla="*/ 5681632 w 8634799"/>
                  <a:gd name="connsiteY13" fmla="*/ 762654 h 847528"/>
                  <a:gd name="connsiteX14" fmla="*/ 6745645 w 8634799"/>
                  <a:gd name="connsiteY14" fmla="*/ 788154 h 847528"/>
                  <a:gd name="connsiteX15" fmla="*/ 7494800 w 8634799"/>
                  <a:gd name="connsiteY15" fmla="*/ 779648 h 847528"/>
                  <a:gd name="connsiteX16" fmla="*/ 8026795 w 8634799"/>
                  <a:gd name="connsiteY16" fmla="*/ 771142 h 847528"/>
                  <a:gd name="connsiteX17" fmla="*/ 8504518 w 8634799"/>
                  <a:gd name="connsiteY17" fmla="*/ 737154 h 847528"/>
                  <a:gd name="connsiteX18" fmla="*/ 8634799 w 8634799"/>
                  <a:gd name="connsiteY18" fmla="*/ 754148 h 847528"/>
                  <a:gd name="connsiteX19" fmla="*/ 8634799 w 8634799"/>
                  <a:gd name="connsiteY19" fmla="*/ 133791 h 847528"/>
                  <a:gd name="connsiteX20" fmla="*/ 8450223 w 8634799"/>
                  <a:gd name="connsiteY20" fmla="*/ 65870 h 847528"/>
                  <a:gd name="connsiteX21" fmla="*/ 7635927 w 8634799"/>
                  <a:gd name="connsiteY21" fmla="*/ 14889 h 847528"/>
                  <a:gd name="connsiteX22" fmla="*/ 7049636 w 8634799"/>
                  <a:gd name="connsiteY22" fmla="*/ 108364 h 847528"/>
                  <a:gd name="connsiteX23" fmla="*/ 6342549 w 8634799"/>
                  <a:gd name="connsiteY23" fmla="*/ 55805 h 847528"/>
                  <a:gd name="connsiteX24" fmla="*/ 6132068 w 8634799"/>
                  <a:gd name="connsiteY24" fmla="*/ 131955 h 847528"/>
                  <a:gd name="connsiteX25" fmla="*/ 5182195 w 8634799"/>
                  <a:gd name="connsiteY25" fmla="*/ 201839 h 847528"/>
                  <a:gd name="connsiteX26" fmla="*/ 3455905 w 8634799"/>
                  <a:gd name="connsiteY26" fmla="*/ 193333 h 847528"/>
                  <a:gd name="connsiteX27" fmla="*/ 2370177 w 8634799"/>
                  <a:gd name="connsiteY27" fmla="*/ 65870 h 847528"/>
                  <a:gd name="connsiteX28" fmla="*/ 578745 w 8634799"/>
                  <a:gd name="connsiteY28" fmla="*/ 57364 h 847528"/>
                  <a:gd name="connsiteX29" fmla="*/ 38923 w 8634799"/>
                  <a:gd name="connsiteY29" fmla="*/ 66415 h 847528"/>
                  <a:gd name="connsiteX0" fmla="*/ 38923 w 8634799"/>
                  <a:gd name="connsiteY0" fmla="*/ 66415 h 847530"/>
                  <a:gd name="connsiteX1" fmla="*/ 4765 w 8634799"/>
                  <a:gd name="connsiteY1" fmla="*/ 139144 h 847530"/>
                  <a:gd name="connsiteX2" fmla="*/ 16985 w 8634799"/>
                  <a:gd name="connsiteY2" fmla="*/ 350379 h 847530"/>
                  <a:gd name="connsiteX3" fmla="*/ 31647 w 8634799"/>
                  <a:gd name="connsiteY3" fmla="*/ 609625 h 847530"/>
                  <a:gd name="connsiteX4" fmla="*/ 43864 w 8634799"/>
                  <a:gd name="connsiteY4" fmla="*/ 686441 h 847530"/>
                  <a:gd name="connsiteX5" fmla="*/ 80207 w 8634799"/>
                  <a:gd name="connsiteY5" fmla="*/ 846591 h 847530"/>
                  <a:gd name="connsiteX6" fmla="*/ 937008 w 8634799"/>
                  <a:gd name="connsiteY6" fmla="*/ 754148 h 847530"/>
                  <a:gd name="connsiteX7" fmla="*/ 1631867 w 8634799"/>
                  <a:gd name="connsiteY7" fmla="*/ 788136 h 847530"/>
                  <a:gd name="connsiteX8" fmla="*/ 2087877 w 8634799"/>
                  <a:gd name="connsiteY8" fmla="*/ 728648 h 847530"/>
                  <a:gd name="connsiteX9" fmla="*/ 2565599 w 8634799"/>
                  <a:gd name="connsiteY9" fmla="*/ 728648 h 847530"/>
                  <a:gd name="connsiteX10" fmla="*/ 3336468 w 8634799"/>
                  <a:gd name="connsiteY10" fmla="*/ 771142 h 847530"/>
                  <a:gd name="connsiteX11" fmla="*/ 4215904 w 8634799"/>
                  <a:gd name="connsiteY11" fmla="*/ 754148 h 847530"/>
                  <a:gd name="connsiteX12" fmla="*/ 4845622 w 8634799"/>
                  <a:gd name="connsiteY12" fmla="*/ 762654 h 847530"/>
                  <a:gd name="connsiteX13" fmla="*/ 5681632 w 8634799"/>
                  <a:gd name="connsiteY13" fmla="*/ 762654 h 847530"/>
                  <a:gd name="connsiteX14" fmla="*/ 6745645 w 8634799"/>
                  <a:gd name="connsiteY14" fmla="*/ 788154 h 847530"/>
                  <a:gd name="connsiteX15" fmla="*/ 7494800 w 8634799"/>
                  <a:gd name="connsiteY15" fmla="*/ 779648 h 847530"/>
                  <a:gd name="connsiteX16" fmla="*/ 8026795 w 8634799"/>
                  <a:gd name="connsiteY16" fmla="*/ 771142 h 847530"/>
                  <a:gd name="connsiteX17" fmla="*/ 8504518 w 8634799"/>
                  <a:gd name="connsiteY17" fmla="*/ 737154 h 847530"/>
                  <a:gd name="connsiteX18" fmla="*/ 8634799 w 8634799"/>
                  <a:gd name="connsiteY18" fmla="*/ 754148 h 847530"/>
                  <a:gd name="connsiteX19" fmla="*/ 8634799 w 8634799"/>
                  <a:gd name="connsiteY19" fmla="*/ 133791 h 847530"/>
                  <a:gd name="connsiteX20" fmla="*/ 8450223 w 8634799"/>
                  <a:gd name="connsiteY20" fmla="*/ 65870 h 847530"/>
                  <a:gd name="connsiteX21" fmla="*/ 7635927 w 8634799"/>
                  <a:gd name="connsiteY21" fmla="*/ 14889 h 847530"/>
                  <a:gd name="connsiteX22" fmla="*/ 7049636 w 8634799"/>
                  <a:gd name="connsiteY22" fmla="*/ 108364 h 847530"/>
                  <a:gd name="connsiteX23" fmla="*/ 6342549 w 8634799"/>
                  <a:gd name="connsiteY23" fmla="*/ 55805 h 847530"/>
                  <a:gd name="connsiteX24" fmla="*/ 6132068 w 8634799"/>
                  <a:gd name="connsiteY24" fmla="*/ 131955 h 847530"/>
                  <a:gd name="connsiteX25" fmla="*/ 5182195 w 8634799"/>
                  <a:gd name="connsiteY25" fmla="*/ 201839 h 847530"/>
                  <a:gd name="connsiteX26" fmla="*/ 3455905 w 8634799"/>
                  <a:gd name="connsiteY26" fmla="*/ 193333 h 847530"/>
                  <a:gd name="connsiteX27" fmla="*/ 2370177 w 8634799"/>
                  <a:gd name="connsiteY27" fmla="*/ 65870 h 847530"/>
                  <a:gd name="connsiteX28" fmla="*/ 578745 w 8634799"/>
                  <a:gd name="connsiteY28" fmla="*/ 57364 h 847530"/>
                  <a:gd name="connsiteX29" fmla="*/ 38923 w 8634799"/>
                  <a:gd name="connsiteY29" fmla="*/ 66415 h 847530"/>
                  <a:gd name="connsiteX0" fmla="*/ 38923 w 8634799"/>
                  <a:gd name="connsiteY0" fmla="*/ 66415 h 847528"/>
                  <a:gd name="connsiteX1" fmla="*/ 4765 w 8634799"/>
                  <a:gd name="connsiteY1" fmla="*/ 139144 h 847528"/>
                  <a:gd name="connsiteX2" fmla="*/ 16985 w 8634799"/>
                  <a:gd name="connsiteY2" fmla="*/ 350379 h 847528"/>
                  <a:gd name="connsiteX3" fmla="*/ 31647 w 8634799"/>
                  <a:gd name="connsiteY3" fmla="*/ 609625 h 847528"/>
                  <a:gd name="connsiteX4" fmla="*/ 43864 w 8634799"/>
                  <a:gd name="connsiteY4" fmla="*/ 686441 h 847528"/>
                  <a:gd name="connsiteX5" fmla="*/ 80207 w 8634799"/>
                  <a:gd name="connsiteY5" fmla="*/ 846591 h 847528"/>
                  <a:gd name="connsiteX6" fmla="*/ 937008 w 8634799"/>
                  <a:gd name="connsiteY6" fmla="*/ 754148 h 847528"/>
                  <a:gd name="connsiteX7" fmla="*/ 1631867 w 8634799"/>
                  <a:gd name="connsiteY7" fmla="*/ 788136 h 847528"/>
                  <a:gd name="connsiteX8" fmla="*/ 2087877 w 8634799"/>
                  <a:gd name="connsiteY8" fmla="*/ 728648 h 847528"/>
                  <a:gd name="connsiteX9" fmla="*/ 2565599 w 8634799"/>
                  <a:gd name="connsiteY9" fmla="*/ 728648 h 847528"/>
                  <a:gd name="connsiteX10" fmla="*/ 3336468 w 8634799"/>
                  <a:gd name="connsiteY10" fmla="*/ 771142 h 847528"/>
                  <a:gd name="connsiteX11" fmla="*/ 4215904 w 8634799"/>
                  <a:gd name="connsiteY11" fmla="*/ 754148 h 847528"/>
                  <a:gd name="connsiteX12" fmla="*/ 4845622 w 8634799"/>
                  <a:gd name="connsiteY12" fmla="*/ 762654 h 847528"/>
                  <a:gd name="connsiteX13" fmla="*/ 5681632 w 8634799"/>
                  <a:gd name="connsiteY13" fmla="*/ 762654 h 847528"/>
                  <a:gd name="connsiteX14" fmla="*/ 6745645 w 8634799"/>
                  <a:gd name="connsiteY14" fmla="*/ 788154 h 847528"/>
                  <a:gd name="connsiteX15" fmla="*/ 7494800 w 8634799"/>
                  <a:gd name="connsiteY15" fmla="*/ 779648 h 847528"/>
                  <a:gd name="connsiteX16" fmla="*/ 8026795 w 8634799"/>
                  <a:gd name="connsiteY16" fmla="*/ 771142 h 847528"/>
                  <a:gd name="connsiteX17" fmla="*/ 8504518 w 8634799"/>
                  <a:gd name="connsiteY17" fmla="*/ 737154 h 847528"/>
                  <a:gd name="connsiteX18" fmla="*/ 8634799 w 8634799"/>
                  <a:gd name="connsiteY18" fmla="*/ 754148 h 847528"/>
                  <a:gd name="connsiteX19" fmla="*/ 8634799 w 8634799"/>
                  <a:gd name="connsiteY19" fmla="*/ 133791 h 847528"/>
                  <a:gd name="connsiteX20" fmla="*/ 8450223 w 8634799"/>
                  <a:gd name="connsiteY20" fmla="*/ 65870 h 847528"/>
                  <a:gd name="connsiteX21" fmla="*/ 7635927 w 8634799"/>
                  <a:gd name="connsiteY21" fmla="*/ 14889 h 847528"/>
                  <a:gd name="connsiteX22" fmla="*/ 7049636 w 8634799"/>
                  <a:gd name="connsiteY22" fmla="*/ 108364 h 847528"/>
                  <a:gd name="connsiteX23" fmla="*/ 6342549 w 8634799"/>
                  <a:gd name="connsiteY23" fmla="*/ 55805 h 847528"/>
                  <a:gd name="connsiteX24" fmla="*/ 5902209 w 8634799"/>
                  <a:gd name="connsiteY24" fmla="*/ 158833 h 847528"/>
                  <a:gd name="connsiteX25" fmla="*/ 5182195 w 8634799"/>
                  <a:gd name="connsiteY25" fmla="*/ 201839 h 847528"/>
                  <a:gd name="connsiteX26" fmla="*/ 3455905 w 8634799"/>
                  <a:gd name="connsiteY26" fmla="*/ 193333 h 847528"/>
                  <a:gd name="connsiteX27" fmla="*/ 2370177 w 8634799"/>
                  <a:gd name="connsiteY27" fmla="*/ 65870 h 847528"/>
                  <a:gd name="connsiteX28" fmla="*/ 578745 w 8634799"/>
                  <a:gd name="connsiteY28" fmla="*/ 57364 h 847528"/>
                  <a:gd name="connsiteX29" fmla="*/ 38923 w 8634799"/>
                  <a:gd name="connsiteY29" fmla="*/ 66415 h 847528"/>
                  <a:gd name="connsiteX0" fmla="*/ 38923 w 8634799"/>
                  <a:gd name="connsiteY0" fmla="*/ 111866 h 892981"/>
                  <a:gd name="connsiteX1" fmla="*/ 4765 w 8634799"/>
                  <a:gd name="connsiteY1" fmla="*/ 184595 h 892981"/>
                  <a:gd name="connsiteX2" fmla="*/ 16985 w 8634799"/>
                  <a:gd name="connsiteY2" fmla="*/ 395830 h 892981"/>
                  <a:gd name="connsiteX3" fmla="*/ 31647 w 8634799"/>
                  <a:gd name="connsiteY3" fmla="*/ 655076 h 892981"/>
                  <a:gd name="connsiteX4" fmla="*/ 43864 w 8634799"/>
                  <a:gd name="connsiteY4" fmla="*/ 731892 h 892981"/>
                  <a:gd name="connsiteX5" fmla="*/ 80207 w 8634799"/>
                  <a:gd name="connsiteY5" fmla="*/ 892042 h 892981"/>
                  <a:gd name="connsiteX6" fmla="*/ 937008 w 8634799"/>
                  <a:gd name="connsiteY6" fmla="*/ 799599 h 892981"/>
                  <a:gd name="connsiteX7" fmla="*/ 1631867 w 8634799"/>
                  <a:gd name="connsiteY7" fmla="*/ 833587 h 892981"/>
                  <a:gd name="connsiteX8" fmla="*/ 2087877 w 8634799"/>
                  <a:gd name="connsiteY8" fmla="*/ 774099 h 892981"/>
                  <a:gd name="connsiteX9" fmla="*/ 2565599 w 8634799"/>
                  <a:gd name="connsiteY9" fmla="*/ 774099 h 892981"/>
                  <a:gd name="connsiteX10" fmla="*/ 3336468 w 8634799"/>
                  <a:gd name="connsiteY10" fmla="*/ 816593 h 892981"/>
                  <a:gd name="connsiteX11" fmla="*/ 4215904 w 8634799"/>
                  <a:gd name="connsiteY11" fmla="*/ 799599 h 892981"/>
                  <a:gd name="connsiteX12" fmla="*/ 4845622 w 8634799"/>
                  <a:gd name="connsiteY12" fmla="*/ 808105 h 892981"/>
                  <a:gd name="connsiteX13" fmla="*/ 5681632 w 8634799"/>
                  <a:gd name="connsiteY13" fmla="*/ 808105 h 892981"/>
                  <a:gd name="connsiteX14" fmla="*/ 6745645 w 8634799"/>
                  <a:gd name="connsiteY14" fmla="*/ 833605 h 892981"/>
                  <a:gd name="connsiteX15" fmla="*/ 7494800 w 8634799"/>
                  <a:gd name="connsiteY15" fmla="*/ 825099 h 892981"/>
                  <a:gd name="connsiteX16" fmla="*/ 8026795 w 8634799"/>
                  <a:gd name="connsiteY16" fmla="*/ 816593 h 892981"/>
                  <a:gd name="connsiteX17" fmla="*/ 8504518 w 8634799"/>
                  <a:gd name="connsiteY17" fmla="*/ 782605 h 892981"/>
                  <a:gd name="connsiteX18" fmla="*/ 8634799 w 8634799"/>
                  <a:gd name="connsiteY18" fmla="*/ 799599 h 892981"/>
                  <a:gd name="connsiteX19" fmla="*/ 8634799 w 8634799"/>
                  <a:gd name="connsiteY19" fmla="*/ 179242 h 892981"/>
                  <a:gd name="connsiteX20" fmla="*/ 8450223 w 8634799"/>
                  <a:gd name="connsiteY20" fmla="*/ 111321 h 892981"/>
                  <a:gd name="connsiteX21" fmla="*/ 7635927 w 8634799"/>
                  <a:gd name="connsiteY21" fmla="*/ 60340 h 892981"/>
                  <a:gd name="connsiteX22" fmla="*/ 7049636 w 8634799"/>
                  <a:gd name="connsiteY22" fmla="*/ 153815 h 892981"/>
                  <a:gd name="connsiteX23" fmla="*/ 6342549 w 8634799"/>
                  <a:gd name="connsiteY23" fmla="*/ 101256 h 892981"/>
                  <a:gd name="connsiteX24" fmla="*/ 5902209 w 8634799"/>
                  <a:gd name="connsiteY24" fmla="*/ 204284 h 892981"/>
                  <a:gd name="connsiteX25" fmla="*/ 5182195 w 8634799"/>
                  <a:gd name="connsiteY25" fmla="*/ 247290 h 892981"/>
                  <a:gd name="connsiteX26" fmla="*/ 3469826 w 8634799"/>
                  <a:gd name="connsiteY26" fmla="*/ 5421 h 892981"/>
                  <a:gd name="connsiteX27" fmla="*/ 2370177 w 8634799"/>
                  <a:gd name="connsiteY27" fmla="*/ 111321 h 892981"/>
                  <a:gd name="connsiteX28" fmla="*/ 578745 w 8634799"/>
                  <a:gd name="connsiteY28" fmla="*/ 102815 h 892981"/>
                  <a:gd name="connsiteX29" fmla="*/ 38923 w 8634799"/>
                  <a:gd name="connsiteY29" fmla="*/ 111866 h 892981"/>
                  <a:gd name="connsiteX0" fmla="*/ 38923 w 8634799"/>
                  <a:gd name="connsiteY0" fmla="*/ 135210 h 916324"/>
                  <a:gd name="connsiteX1" fmla="*/ 4765 w 8634799"/>
                  <a:gd name="connsiteY1" fmla="*/ 207939 h 916324"/>
                  <a:gd name="connsiteX2" fmla="*/ 16985 w 8634799"/>
                  <a:gd name="connsiteY2" fmla="*/ 419174 h 916324"/>
                  <a:gd name="connsiteX3" fmla="*/ 31647 w 8634799"/>
                  <a:gd name="connsiteY3" fmla="*/ 678420 h 916324"/>
                  <a:gd name="connsiteX4" fmla="*/ 43864 w 8634799"/>
                  <a:gd name="connsiteY4" fmla="*/ 755236 h 916324"/>
                  <a:gd name="connsiteX5" fmla="*/ 80207 w 8634799"/>
                  <a:gd name="connsiteY5" fmla="*/ 915386 h 916324"/>
                  <a:gd name="connsiteX6" fmla="*/ 937008 w 8634799"/>
                  <a:gd name="connsiteY6" fmla="*/ 822943 h 916324"/>
                  <a:gd name="connsiteX7" fmla="*/ 1631867 w 8634799"/>
                  <a:gd name="connsiteY7" fmla="*/ 856931 h 916324"/>
                  <a:gd name="connsiteX8" fmla="*/ 2087877 w 8634799"/>
                  <a:gd name="connsiteY8" fmla="*/ 797443 h 916324"/>
                  <a:gd name="connsiteX9" fmla="*/ 2565599 w 8634799"/>
                  <a:gd name="connsiteY9" fmla="*/ 797443 h 916324"/>
                  <a:gd name="connsiteX10" fmla="*/ 3336468 w 8634799"/>
                  <a:gd name="connsiteY10" fmla="*/ 839937 h 916324"/>
                  <a:gd name="connsiteX11" fmla="*/ 4215904 w 8634799"/>
                  <a:gd name="connsiteY11" fmla="*/ 822943 h 916324"/>
                  <a:gd name="connsiteX12" fmla="*/ 4845622 w 8634799"/>
                  <a:gd name="connsiteY12" fmla="*/ 831449 h 916324"/>
                  <a:gd name="connsiteX13" fmla="*/ 5681632 w 8634799"/>
                  <a:gd name="connsiteY13" fmla="*/ 831449 h 916324"/>
                  <a:gd name="connsiteX14" fmla="*/ 6745645 w 8634799"/>
                  <a:gd name="connsiteY14" fmla="*/ 856949 h 916324"/>
                  <a:gd name="connsiteX15" fmla="*/ 7494800 w 8634799"/>
                  <a:gd name="connsiteY15" fmla="*/ 848443 h 916324"/>
                  <a:gd name="connsiteX16" fmla="*/ 8026795 w 8634799"/>
                  <a:gd name="connsiteY16" fmla="*/ 839937 h 916324"/>
                  <a:gd name="connsiteX17" fmla="*/ 8504518 w 8634799"/>
                  <a:gd name="connsiteY17" fmla="*/ 805949 h 916324"/>
                  <a:gd name="connsiteX18" fmla="*/ 8634799 w 8634799"/>
                  <a:gd name="connsiteY18" fmla="*/ 822943 h 916324"/>
                  <a:gd name="connsiteX19" fmla="*/ 8634799 w 8634799"/>
                  <a:gd name="connsiteY19" fmla="*/ 202586 h 916324"/>
                  <a:gd name="connsiteX20" fmla="*/ 8450223 w 8634799"/>
                  <a:gd name="connsiteY20" fmla="*/ 134665 h 916324"/>
                  <a:gd name="connsiteX21" fmla="*/ 7635927 w 8634799"/>
                  <a:gd name="connsiteY21" fmla="*/ 83684 h 916324"/>
                  <a:gd name="connsiteX22" fmla="*/ 7049636 w 8634799"/>
                  <a:gd name="connsiteY22" fmla="*/ 177159 h 916324"/>
                  <a:gd name="connsiteX23" fmla="*/ 6342549 w 8634799"/>
                  <a:gd name="connsiteY23" fmla="*/ 124600 h 916324"/>
                  <a:gd name="connsiteX24" fmla="*/ 5902209 w 8634799"/>
                  <a:gd name="connsiteY24" fmla="*/ 227628 h 916324"/>
                  <a:gd name="connsiteX25" fmla="*/ 5182195 w 8634799"/>
                  <a:gd name="connsiteY25" fmla="*/ 270634 h 916324"/>
                  <a:gd name="connsiteX26" fmla="*/ 3469826 w 8634799"/>
                  <a:gd name="connsiteY26" fmla="*/ 28765 h 916324"/>
                  <a:gd name="connsiteX27" fmla="*/ 2370177 w 8634799"/>
                  <a:gd name="connsiteY27" fmla="*/ 134665 h 916324"/>
                  <a:gd name="connsiteX28" fmla="*/ 578745 w 8634799"/>
                  <a:gd name="connsiteY28" fmla="*/ 126159 h 916324"/>
                  <a:gd name="connsiteX29" fmla="*/ 38923 w 8634799"/>
                  <a:gd name="connsiteY29" fmla="*/ 135210 h 916324"/>
                  <a:gd name="connsiteX0" fmla="*/ 38923 w 8634799"/>
                  <a:gd name="connsiteY0" fmla="*/ 128131 h 909245"/>
                  <a:gd name="connsiteX1" fmla="*/ 4765 w 8634799"/>
                  <a:gd name="connsiteY1" fmla="*/ 200860 h 909245"/>
                  <a:gd name="connsiteX2" fmla="*/ 16985 w 8634799"/>
                  <a:gd name="connsiteY2" fmla="*/ 412095 h 909245"/>
                  <a:gd name="connsiteX3" fmla="*/ 31647 w 8634799"/>
                  <a:gd name="connsiteY3" fmla="*/ 671341 h 909245"/>
                  <a:gd name="connsiteX4" fmla="*/ 43864 w 8634799"/>
                  <a:gd name="connsiteY4" fmla="*/ 748157 h 909245"/>
                  <a:gd name="connsiteX5" fmla="*/ 80207 w 8634799"/>
                  <a:gd name="connsiteY5" fmla="*/ 908307 h 909245"/>
                  <a:gd name="connsiteX6" fmla="*/ 937008 w 8634799"/>
                  <a:gd name="connsiteY6" fmla="*/ 815864 h 909245"/>
                  <a:gd name="connsiteX7" fmla="*/ 1631867 w 8634799"/>
                  <a:gd name="connsiteY7" fmla="*/ 849852 h 909245"/>
                  <a:gd name="connsiteX8" fmla="*/ 2087877 w 8634799"/>
                  <a:gd name="connsiteY8" fmla="*/ 790364 h 909245"/>
                  <a:gd name="connsiteX9" fmla="*/ 2565599 w 8634799"/>
                  <a:gd name="connsiteY9" fmla="*/ 790364 h 909245"/>
                  <a:gd name="connsiteX10" fmla="*/ 3336468 w 8634799"/>
                  <a:gd name="connsiteY10" fmla="*/ 832858 h 909245"/>
                  <a:gd name="connsiteX11" fmla="*/ 4215904 w 8634799"/>
                  <a:gd name="connsiteY11" fmla="*/ 815864 h 909245"/>
                  <a:gd name="connsiteX12" fmla="*/ 4845622 w 8634799"/>
                  <a:gd name="connsiteY12" fmla="*/ 824370 h 909245"/>
                  <a:gd name="connsiteX13" fmla="*/ 5681632 w 8634799"/>
                  <a:gd name="connsiteY13" fmla="*/ 824370 h 909245"/>
                  <a:gd name="connsiteX14" fmla="*/ 6745645 w 8634799"/>
                  <a:gd name="connsiteY14" fmla="*/ 849870 h 909245"/>
                  <a:gd name="connsiteX15" fmla="*/ 7494800 w 8634799"/>
                  <a:gd name="connsiteY15" fmla="*/ 841364 h 909245"/>
                  <a:gd name="connsiteX16" fmla="*/ 8026795 w 8634799"/>
                  <a:gd name="connsiteY16" fmla="*/ 832858 h 909245"/>
                  <a:gd name="connsiteX17" fmla="*/ 8504518 w 8634799"/>
                  <a:gd name="connsiteY17" fmla="*/ 798870 h 909245"/>
                  <a:gd name="connsiteX18" fmla="*/ 8634799 w 8634799"/>
                  <a:gd name="connsiteY18" fmla="*/ 815864 h 909245"/>
                  <a:gd name="connsiteX19" fmla="*/ 8634799 w 8634799"/>
                  <a:gd name="connsiteY19" fmla="*/ 195507 h 909245"/>
                  <a:gd name="connsiteX20" fmla="*/ 8450223 w 8634799"/>
                  <a:gd name="connsiteY20" fmla="*/ 127586 h 909245"/>
                  <a:gd name="connsiteX21" fmla="*/ 7635927 w 8634799"/>
                  <a:gd name="connsiteY21" fmla="*/ 76605 h 909245"/>
                  <a:gd name="connsiteX22" fmla="*/ 7049636 w 8634799"/>
                  <a:gd name="connsiteY22" fmla="*/ 170080 h 909245"/>
                  <a:gd name="connsiteX23" fmla="*/ 6342549 w 8634799"/>
                  <a:gd name="connsiteY23" fmla="*/ 117521 h 909245"/>
                  <a:gd name="connsiteX24" fmla="*/ 5902209 w 8634799"/>
                  <a:gd name="connsiteY24" fmla="*/ 220549 h 909245"/>
                  <a:gd name="connsiteX25" fmla="*/ 5182195 w 8634799"/>
                  <a:gd name="connsiteY25" fmla="*/ 263555 h 909245"/>
                  <a:gd name="connsiteX26" fmla="*/ 3469826 w 8634799"/>
                  <a:gd name="connsiteY26" fmla="*/ 21686 h 909245"/>
                  <a:gd name="connsiteX27" fmla="*/ 2370177 w 8634799"/>
                  <a:gd name="connsiteY27" fmla="*/ 127586 h 909245"/>
                  <a:gd name="connsiteX28" fmla="*/ 578745 w 8634799"/>
                  <a:gd name="connsiteY28" fmla="*/ 119080 h 909245"/>
                  <a:gd name="connsiteX29" fmla="*/ 38923 w 8634799"/>
                  <a:gd name="connsiteY29" fmla="*/ 128131 h 909245"/>
                  <a:gd name="connsiteX0" fmla="*/ 38923 w 8634799"/>
                  <a:gd name="connsiteY0" fmla="*/ 134331 h 915445"/>
                  <a:gd name="connsiteX1" fmla="*/ 4765 w 8634799"/>
                  <a:gd name="connsiteY1" fmla="*/ 207060 h 915445"/>
                  <a:gd name="connsiteX2" fmla="*/ 16985 w 8634799"/>
                  <a:gd name="connsiteY2" fmla="*/ 418295 h 915445"/>
                  <a:gd name="connsiteX3" fmla="*/ 31647 w 8634799"/>
                  <a:gd name="connsiteY3" fmla="*/ 677541 h 915445"/>
                  <a:gd name="connsiteX4" fmla="*/ 43864 w 8634799"/>
                  <a:gd name="connsiteY4" fmla="*/ 754357 h 915445"/>
                  <a:gd name="connsiteX5" fmla="*/ 80207 w 8634799"/>
                  <a:gd name="connsiteY5" fmla="*/ 914507 h 915445"/>
                  <a:gd name="connsiteX6" fmla="*/ 937008 w 8634799"/>
                  <a:gd name="connsiteY6" fmla="*/ 822064 h 915445"/>
                  <a:gd name="connsiteX7" fmla="*/ 1631867 w 8634799"/>
                  <a:gd name="connsiteY7" fmla="*/ 856052 h 915445"/>
                  <a:gd name="connsiteX8" fmla="*/ 2087877 w 8634799"/>
                  <a:gd name="connsiteY8" fmla="*/ 796564 h 915445"/>
                  <a:gd name="connsiteX9" fmla="*/ 2565599 w 8634799"/>
                  <a:gd name="connsiteY9" fmla="*/ 796564 h 915445"/>
                  <a:gd name="connsiteX10" fmla="*/ 3336468 w 8634799"/>
                  <a:gd name="connsiteY10" fmla="*/ 839058 h 915445"/>
                  <a:gd name="connsiteX11" fmla="*/ 4215904 w 8634799"/>
                  <a:gd name="connsiteY11" fmla="*/ 822064 h 915445"/>
                  <a:gd name="connsiteX12" fmla="*/ 4845622 w 8634799"/>
                  <a:gd name="connsiteY12" fmla="*/ 830570 h 915445"/>
                  <a:gd name="connsiteX13" fmla="*/ 5681632 w 8634799"/>
                  <a:gd name="connsiteY13" fmla="*/ 830570 h 915445"/>
                  <a:gd name="connsiteX14" fmla="*/ 6745645 w 8634799"/>
                  <a:gd name="connsiteY14" fmla="*/ 856070 h 915445"/>
                  <a:gd name="connsiteX15" fmla="*/ 7494800 w 8634799"/>
                  <a:gd name="connsiteY15" fmla="*/ 847564 h 915445"/>
                  <a:gd name="connsiteX16" fmla="*/ 8026795 w 8634799"/>
                  <a:gd name="connsiteY16" fmla="*/ 839058 h 915445"/>
                  <a:gd name="connsiteX17" fmla="*/ 8504518 w 8634799"/>
                  <a:gd name="connsiteY17" fmla="*/ 805070 h 915445"/>
                  <a:gd name="connsiteX18" fmla="*/ 8634799 w 8634799"/>
                  <a:gd name="connsiteY18" fmla="*/ 822064 h 915445"/>
                  <a:gd name="connsiteX19" fmla="*/ 8634799 w 8634799"/>
                  <a:gd name="connsiteY19" fmla="*/ 201707 h 915445"/>
                  <a:gd name="connsiteX20" fmla="*/ 8450223 w 8634799"/>
                  <a:gd name="connsiteY20" fmla="*/ 133786 h 915445"/>
                  <a:gd name="connsiteX21" fmla="*/ 7635927 w 8634799"/>
                  <a:gd name="connsiteY21" fmla="*/ 82805 h 915445"/>
                  <a:gd name="connsiteX22" fmla="*/ 7049636 w 8634799"/>
                  <a:gd name="connsiteY22" fmla="*/ 176280 h 915445"/>
                  <a:gd name="connsiteX23" fmla="*/ 6342549 w 8634799"/>
                  <a:gd name="connsiteY23" fmla="*/ 123721 h 915445"/>
                  <a:gd name="connsiteX24" fmla="*/ 5902209 w 8634799"/>
                  <a:gd name="connsiteY24" fmla="*/ 226749 h 915445"/>
                  <a:gd name="connsiteX25" fmla="*/ 5182195 w 8634799"/>
                  <a:gd name="connsiteY25" fmla="*/ 269755 h 915445"/>
                  <a:gd name="connsiteX26" fmla="*/ 3618314 w 8634799"/>
                  <a:gd name="connsiteY26" fmla="*/ 21218 h 915445"/>
                  <a:gd name="connsiteX27" fmla="*/ 2370177 w 8634799"/>
                  <a:gd name="connsiteY27" fmla="*/ 133786 h 915445"/>
                  <a:gd name="connsiteX28" fmla="*/ 578745 w 8634799"/>
                  <a:gd name="connsiteY28" fmla="*/ 125280 h 915445"/>
                  <a:gd name="connsiteX29" fmla="*/ 38923 w 8634799"/>
                  <a:gd name="connsiteY29" fmla="*/ 134331 h 915445"/>
                  <a:gd name="connsiteX0" fmla="*/ 38923 w 8634799"/>
                  <a:gd name="connsiteY0" fmla="*/ 153045 h 934159"/>
                  <a:gd name="connsiteX1" fmla="*/ 4765 w 8634799"/>
                  <a:gd name="connsiteY1" fmla="*/ 225774 h 934159"/>
                  <a:gd name="connsiteX2" fmla="*/ 16985 w 8634799"/>
                  <a:gd name="connsiteY2" fmla="*/ 437009 h 934159"/>
                  <a:gd name="connsiteX3" fmla="*/ 31647 w 8634799"/>
                  <a:gd name="connsiteY3" fmla="*/ 696255 h 934159"/>
                  <a:gd name="connsiteX4" fmla="*/ 43864 w 8634799"/>
                  <a:gd name="connsiteY4" fmla="*/ 773071 h 934159"/>
                  <a:gd name="connsiteX5" fmla="*/ 80207 w 8634799"/>
                  <a:gd name="connsiteY5" fmla="*/ 933221 h 934159"/>
                  <a:gd name="connsiteX6" fmla="*/ 937008 w 8634799"/>
                  <a:gd name="connsiteY6" fmla="*/ 840778 h 934159"/>
                  <a:gd name="connsiteX7" fmla="*/ 1631867 w 8634799"/>
                  <a:gd name="connsiteY7" fmla="*/ 874766 h 934159"/>
                  <a:gd name="connsiteX8" fmla="*/ 2087877 w 8634799"/>
                  <a:gd name="connsiteY8" fmla="*/ 815278 h 934159"/>
                  <a:gd name="connsiteX9" fmla="*/ 2565599 w 8634799"/>
                  <a:gd name="connsiteY9" fmla="*/ 815278 h 934159"/>
                  <a:gd name="connsiteX10" fmla="*/ 3336468 w 8634799"/>
                  <a:gd name="connsiteY10" fmla="*/ 857772 h 934159"/>
                  <a:gd name="connsiteX11" fmla="*/ 4215904 w 8634799"/>
                  <a:gd name="connsiteY11" fmla="*/ 840778 h 934159"/>
                  <a:gd name="connsiteX12" fmla="*/ 4845622 w 8634799"/>
                  <a:gd name="connsiteY12" fmla="*/ 849284 h 934159"/>
                  <a:gd name="connsiteX13" fmla="*/ 5681632 w 8634799"/>
                  <a:gd name="connsiteY13" fmla="*/ 849284 h 934159"/>
                  <a:gd name="connsiteX14" fmla="*/ 6745645 w 8634799"/>
                  <a:gd name="connsiteY14" fmla="*/ 874784 h 934159"/>
                  <a:gd name="connsiteX15" fmla="*/ 7494800 w 8634799"/>
                  <a:gd name="connsiteY15" fmla="*/ 866278 h 934159"/>
                  <a:gd name="connsiteX16" fmla="*/ 8026795 w 8634799"/>
                  <a:gd name="connsiteY16" fmla="*/ 857772 h 934159"/>
                  <a:gd name="connsiteX17" fmla="*/ 8504518 w 8634799"/>
                  <a:gd name="connsiteY17" fmla="*/ 823784 h 934159"/>
                  <a:gd name="connsiteX18" fmla="*/ 8634799 w 8634799"/>
                  <a:gd name="connsiteY18" fmla="*/ 840778 h 934159"/>
                  <a:gd name="connsiteX19" fmla="*/ 8634799 w 8634799"/>
                  <a:gd name="connsiteY19" fmla="*/ 220421 h 934159"/>
                  <a:gd name="connsiteX20" fmla="*/ 8450223 w 8634799"/>
                  <a:gd name="connsiteY20" fmla="*/ 152500 h 934159"/>
                  <a:gd name="connsiteX21" fmla="*/ 7635927 w 8634799"/>
                  <a:gd name="connsiteY21" fmla="*/ 101519 h 934159"/>
                  <a:gd name="connsiteX22" fmla="*/ 7049636 w 8634799"/>
                  <a:gd name="connsiteY22" fmla="*/ 194994 h 934159"/>
                  <a:gd name="connsiteX23" fmla="*/ 6342549 w 8634799"/>
                  <a:gd name="connsiteY23" fmla="*/ 142435 h 934159"/>
                  <a:gd name="connsiteX24" fmla="*/ 5902209 w 8634799"/>
                  <a:gd name="connsiteY24" fmla="*/ 245463 h 934159"/>
                  <a:gd name="connsiteX25" fmla="*/ 5182195 w 8634799"/>
                  <a:gd name="connsiteY25" fmla="*/ 288469 h 934159"/>
                  <a:gd name="connsiteX26" fmla="*/ 3655437 w 8634799"/>
                  <a:gd name="connsiteY26" fmla="*/ 19929 h 934159"/>
                  <a:gd name="connsiteX27" fmla="*/ 2370177 w 8634799"/>
                  <a:gd name="connsiteY27" fmla="*/ 152500 h 934159"/>
                  <a:gd name="connsiteX28" fmla="*/ 578745 w 8634799"/>
                  <a:gd name="connsiteY28" fmla="*/ 143994 h 934159"/>
                  <a:gd name="connsiteX29" fmla="*/ 38923 w 8634799"/>
                  <a:gd name="connsiteY29" fmla="*/ 153045 h 934159"/>
                  <a:gd name="connsiteX0" fmla="*/ 38923 w 8634799"/>
                  <a:gd name="connsiteY0" fmla="*/ 203294 h 984408"/>
                  <a:gd name="connsiteX1" fmla="*/ 4765 w 8634799"/>
                  <a:gd name="connsiteY1" fmla="*/ 276023 h 984408"/>
                  <a:gd name="connsiteX2" fmla="*/ 16985 w 8634799"/>
                  <a:gd name="connsiteY2" fmla="*/ 487258 h 984408"/>
                  <a:gd name="connsiteX3" fmla="*/ 31647 w 8634799"/>
                  <a:gd name="connsiteY3" fmla="*/ 746504 h 984408"/>
                  <a:gd name="connsiteX4" fmla="*/ 43864 w 8634799"/>
                  <a:gd name="connsiteY4" fmla="*/ 823320 h 984408"/>
                  <a:gd name="connsiteX5" fmla="*/ 80207 w 8634799"/>
                  <a:gd name="connsiteY5" fmla="*/ 983470 h 984408"/>
                  <a:gd name="connsiteX6" fmla="*/ 937008 w 8634799"/>
                  <a:gd name="connsiteY6" fmla="*/ 891027 h 984408"/>
                  <a:gd name="connsiteX7" fmla="*/ 1631867 w 8634799"/>
                  <a:gd name="connsiteY7" fmla="*/ 925015 h 984408"/>
                  <a:gd name="connsiteX8" fmla="*/ 2087877 w 8634799"/>
                  <a:gd name="connsiteY8" fmla="*/ 865527 h 984408"/>
                  <a:gd name="connsiteX9" fmla="*/ 2565599 w 8634799"/>
                  <a:gd name="connsiteY9" fmla="*/ 865527 h 984408"/>
                  <a:gd name="connsiteX10" fmla="*/ 3336468 w 8634799"/>
                  <a:gd name="connsiteY10" fmla="*/ 908021 h 984408"/>
                  <a:gd name="connsiteX11" fmla="*/ 4215904 w 8634799"/>
                  <a:gd name="connsiteY11" fmla="*/ 891027 h 984408"/>
                  <a:gd name="connsiteX12" fmla="*/ 4845622 w 8634799"/>
                  <a:gd name="connsiteY12" fmla="*/ 899533 h 984408"/>
                  <a:gd name="connsiteX13" fmla="*/ 5681632 w 8634799"/>
                  <a:gd name="connsiteY13" fmla="*/ 899533 h 984408"/>
                  <a:gd name="connsiteX14" fmla="*/ 6745645 w 8634799"/>
                  <a:gd name="connsiteY14" fmla="*/ 925033 h 984408"/>
                  <a:gd name="connsiteX15" fmla="*/ 7494800 w 8634799"/>
                  <a:gd name="connsiteY15" fmla="*/ 916527 h 984408"/>
                  <a:gd name="connsiteX16" fmla="*/ 8026795 w 8634799"/>
                  <a:gd name="connsiteY16" fmla="*/ 908021 h 984408"/>
                  <a:gd name="connsiteX17" fmla="*/ 8504518 w 8634799"/>
                  <a:gd name="connsiteY17" fmla="*/ 874033 h 984408"/>
                  <a:gd name="connsiteX18" fmla="*/ 8634799 w 8634799"/>
                  <a:gd name="connsiteY18" fmla="*/ 891027 h 984408"/>
                  <a:gd name="connsiteX19" fmla="*/ 8634799 w 8634799"/>
                  <a:gd name="connsiteY19" fmla="*/ 270670 h 984408"/>
                  <a:gd name="connsiteX20" fmla="*/ 8450223 w 8634799"/>
                  <a:gd name="connsiteY20" fmla="*/ 202749 h 984408"/>
                  <a:gd name="connsiteX21" fmla="*/ 7635927 w 8634799"/>
                  <a:gd name="connsiteY21" fmla="*/ 151768 h 984408"/>
                  <a:gd name="connsiteX22" fmla="*/ 7049636 w 8634799"/>
                  <a:gd name="connsiteY22" fmla="*/ 245243 h 984408"/>
                  <a:gd name="connsiteX23" fmla="*/ 6342549 w 8634799"/>
                  <a:gd name="connsiteY23" fmla="*/ 192684 h 984408"/>
                  <a:gd name="connsiteX24" fmla="*/ 5902209 w 8634799"/>
                  <a:gd name="connsiteY24" fmla="*/ 295712 h 984408"/>
                  <a:gd name="connsiteX25" fmla="*/ 5182195 w 8634799"/>
                  <a:gd name="connsiteY25" fmla="*/ 338718 h 984408"/>
                  <a:gd name="connsiteX26" fmla="*/ 3655437 w 8634799"/>
                  <a:gd name="connsiteY26" fmla="*/ 70178 h 984408"/>
                  <a:gd name="connsiteX27" fmla="*/ 2370177 w 8634799"/>
                  <a:gd name="connsiteY27" fmla="*/ 202749 h 984408"/>
                  <a:gd name="connsiteX28" fmla="*/ 578745 w 8634799"/>
                  <a:gd name="connsiteY28" fmla="*/ 194243 h 984408"/>
                  <a:gd name="connsiteX29" fmla="*/ 38923 w 8634799"/>
                  <a:gd name="connsiteY29" fmla="*/ 203294 h 984408"/>
                  <a:gd name="connsiteX0" fmla="*/ 38923 w 8634799"/>
                  <a:gd name="connsiteY0" fmla="*/ 146213 h 927327"/>
                  <a:gd name="connsiteX1" fmla="*/ 4765 w 8634799"/>
                  <a:gd name="connsiteY1" fmla="*/ 218942 h 927327"/>
                  <a:gd name="connsiteX2" fmla="*/ 16985 w 8634799"/>
                  <a:gd name="connsiteY2" fmla="*/ 430177 h 927327"/>
                  <a:gd name="connsiteX3" fmla="*/ 31647 w 8634799"/>
                  <a:gd name="connsiteY3" fmla="*/ 689423 h 927327"/>
                  <a:gd name="connsiteX4" fmla="*/ 43864 w 8634799"/>
                  <a:gd name="connsiteY4" fmla="*/ 766239 h 927327"/>
                  <a:gd name="connsiteX5" fmla="*/ 80207 w 8634799"/>
                  <a:gd name="connsiteY5" fmla="*/ 926389 h 927327"/>
                  <a:gd name="connsiteX6" fmla="*/ 937008 w 8634799"/>
                  <a:gd name="connsiteY6" fmla="*/ 833946 h 927327"/>
                  <a:gd name="connsiteX7" fmla="*/ 1631867 w 8634799"/>
                  <a:gd name="connsiteY7" fmla="*/ 867934 h 927327"/>
                  <a:gd name="connsiteX8" fmla="*/ 2087877 w 8634799"/>
                  <a:gd name="connsiteY8" fmla="*/ 808446 h 927327"/>
                  <a:gd name="connsiteX9" fmla="*/ 2565599 w 8634799"/>
                  <a:gd name="connsiteY9" fmla="*/ 808446 h 927327"/>
                  <a:gd name="connsiteX10" fmla="*/ 3336468 w 8634799"/>
                  <a:gd name="connsiteY10" fmla="*/ 850940 h 927327"/>
                  <a:gd name="connsiteX11" fmla="*/ 4215904 w 8634799"/>
                  <a:gd name="connsiteY11" fmla="*/ 833946 h 927327"/>
                  <a:gd name="connsiteX12" fmla="*/ 4845622 w 8634799"/>
                  <a:gd name="connsiteY12" fmla="*/ 842452 h 927327"/>
                  <a:gd name="connsiteX13" fmla="*/ 5681632 w 8634799"/>
                  <a:gd name="connsiteY13" fmla="*/ 842452 h 927327"/>
                  <a:gd name="connsiteX14" fmla="*/ 6745645 w 8634799"/>
                  <a:gd name="connsiteY14" fmla="*/ 867952 h 927327"/>
                  <a:gd name="connsiteX15" fmla="*/ 7494800 w 8634799"/>
                  <a:gd name="connsiteY15" fmla="*/ 859446 h 927327"/>
                  <a:gd name="connsiteX16" fmla="*/ 8026795 w 8634799"/>
                  <a:gd name="connsiteY16" fmla="*/ 850940 h 927327"/>
                  <a:gd name="connsiteX17" fmla="*/ 8504518 w 8634799"/>
                  <a:gd name="connsiteY17" fmla="*/ 816952 h 927327"/>
                  <a:gd name="connsiteX18" fmla="*/ 8634799 w 8634799"/>
                  <a:gd name="connsiteY18" fmla="*/ 833946 h 927327"/>
                  <a:gd name="connsiteX19" fmla="*/ 8634799 w 8634799"/>
                  <a:gd name="connsiteY19" fmla="*/ 213589 h 927327"/>
                  <a:gd name="connsiteX20" fmla="*/ 8450223 w 8634799"/>
                  <a:gd name="connsiteY20" fmla="*/ 145668 h 927327"/>
                  <a:gd name="connsiteX21" fmla="*/ 7635927 w 8634799"/>
                  <a:gd name="connsiteY21" fmla="*/ 94687 h 927327"/>
                  <a:gd name="connsiteX22" fmla="*/ 7049636 w 8634799"/>
                  <a:gd name="connsiteY22" fmla="*/ 188162 h 927327"/>
                  <a:gd name="connsiteX23" fmla="*/ 6342549 w 8634799"/>
                  <a:gd name="connsiteY23" fmla="*/ 135603 h 927327"/>
                  <a:gd name="connsiteX24" fmla="*/ 5902209 w 8634799"/>
                  <a:gd name="connsiteY24" fmla="*/ 238631 h 927327"/>
                  <a:gd name="connsiteX25" fmla="*/ 5182195 w 8634799"/>
                  <a:gd name="connsiteY25" fmla="*/ 281637 h 927327"/>
                  <a:gd name="connsiteX26" fmla="*/ 3822487 w 8634799"/>
                  <a:gd name="connsiteY26" fmla="*/ 79772 h 927327"/>
                  <a:gd name="connsiteX27" fmla="*/ 2370177 w 8634799"/>
                  <a:gd name="connsiteY27" fmla="*/ 145668 h 927327"/>
                  <a:gd name="connsiteX28" fmla="*/ 578745 w 8634799"/>
                  <a:gd name="connsiteY28" fmla="*/ 137162 h 927327"/>
                  <a:gd name="connsiteX29" fmla="*/ 38923 w 8634799"/>
                  <a:gd name="connsiteY29" fmla="*/ 146213 h 927327"/>
                  <a:gd name="connsiteX0" fmla="*/ 38923 w 8634799"/>
                  <a:gd name="connsiteY0" fmla="*/ 157240 h 938354"/>
                  <a:gd name="connsiteX1" fmla="*/ 4765 w 8634799"/>
                  <a:gd name="connsiteY1" fmla="*/ 229969 h 938354"/>
                  <a:gd name="connsiteX2" fmla="*/ 16985 w 8634799"/>
                  <a:gd name="connsiteY2" fmla="*/ 441204 h 938354"/>
                  <a:gd name="connsiteX3" fmla="*/ 31647 w 8634799"/>
                  <a:gd name="connsiteY3" fmla="*/ 700450 h 938354"/>
                  <a:gd name="connsiteX4" fmla="*/ 43864 w 8634799"/>
                  <a:gd name="connsiteY4" fmla="*/ 777266 h 938354"/>
                  <a:gd name="connsiteX5" fmla="*/ 80207 w 8634799"/>
                  <a:gd name="connsiteY5" fmla="*/ 937416 h 938354"/>
                  <a:gd name="connsiteX6" fmla="*/ 937008 w 8634799"/>
                  <a:gd name="connsiteY6" fmla="*/ 844973 h 938354"/>
                  <a:gd name="connsiteX7" fmla="*/ 1631867 w 8634799"/>
                  <a:gd name="connsiteY7" fmla="*/ 878961 h 938354"/>
                  <a:gd name="connsiteX8" fmla="*/ 2087877 w 8634799"/>
                  <a:gd name="connsiteY8" fmla="*/ 819473 h 938354"/>
                  <a:gd name="connsiteX9" fmla="*/ 2565599 w 8634799"/>
                  <a:gd name="connsiteY9" fmla="*/ 819473 h 938354"/>
                  <a:gd name="connsiteX10" fmla="*/ 3336468 w 8634799"/>
                  <a:gd name="connsiteY10" fmla="*/ 861967 h 938354"/>
                  <a:gd name="connsiteX11" fmla="*/ 4215904 w 8634799"/>
                  <a:gd name="connsiteY11" fmla="*/ 844973 h 938354"/>
                  <a:gd name="connsiteX12" fmla="*/ 4845622 w 8634799"/>
                  <a:gd name="connsiteY12" fmla="*/ 853479 h 938354"/>
                  <a:gd name="connsiteX13" fmla="*/ 5681632 w 8634799"/>
                  <a:gd name="connsiteY13" fmla="*/ 853479 h 938354"/>
                  <a:gd name="connsiteX14" fmla="*/ 6745645 w 8634799"/>
                  <a:gd name="connsiteY14" fmla="*/ 878979 h 938354"/>
                  <a:gd name="connsiteX15" fmla="*/ 7494800 w 8634799"/>
                  <a:gd name="connsiteY15" fmla="*/ 870473 h 938354"/>
                  <a:gd name="connsiteX16" fmla="*/ 8026795 w 8634799"/>
                  <a:gd name="connsiteY16" fmla="*/ 861967 h 938354"/>
                  <a:gd name="connsiteX17" fmla="*/ 8504518 w 8634799"/>
                  <a:gd name="connsiteY17" fmla="*/ 827979 h 938354"/>
                  <a:gd name="connsiteX18" fmla="*/ 8634799 w 8634799"/>
                  <a:gd name="connsiteY18" fmla="*/ 844973 h 938354"/>
                  <a:gd name="connsiteX19" fmla="*/ 8634799 w 8634799"/>
                  <a:gd name="connsiteY19" fmla="*/ 224616 h 938354"/>
                  <a:gd name="connsiteX20" fmla="*/ 8450223 w 8634799"/>
                  <a:gd name="connsiteY20" fmla="*/ 156695 h 938354"/>
                  <a:gd name="connsiteX21" fmla="*/ 7635927 w 8634799"/>
                  <a:gd name="connsiteY21" fmla="*/ 105714 h 938354"/>
                  <a:gd name="connsiteX22" fmla="*/ 7049636 w 8634799"/>
                  <a:gd name="connsiteY22" fmla="*/ 199189 h 938354"/>
                  <a:gd name="connsiteX23" fmla="*/ 6342549 w 8634799"/>
                  <a:gd name="connsiteY23" fmla="*/ 146630 h 938354"/>
                  <a:gd name="connsiteX24" fmla="*/ 5902209 w 8634799"/>
                  <a:gd name="connsiteY24" fmla="*/ 249658 h 938354"/>
                  <a:gd name="connsiteX25" fmla="*/ 5182195 w 8634799"/>
                  <a:gd name="connsiteY25" fmla="*/ 292664 h 938354"/>
                  <a:gd name="connsiteX26" fmla="*/ 3822487 w 8634799"/>
                  <a:gd name="connsiteY26" fmla="*/ 90799 h 938354"/>
                  <a:gd name="connsiteX27" fmla="*/ 2370177 w 8634799"/>
                  <a:gd name="connsiteY27" fmla="*/ 156695 h 938354"/>
                  <a:gd name="connsiteX28" fmla="*/ 578745 w 8634799"/>
                  <a:gd name="connsiteY28" fmla="*/ 148189 h 938354"/>
                  <a:gd name="connsiteX29" fmla="*/ 38923 w 8634799"/>
                  <a:gd name="connsiteY29" fmla="*/ 157240 h 938354"/>
                  <a:gd name="connsiteX0" fmla="*/ 38923 w 12045155"/>
                  <a:gd name="connsiteY0" fmla="*/ 157240 h 938354"/>
                  <a:gd name="connsiteX1" fmla="*/ 4765 w 12045155"/>
                  <a:gd name="connsiteY1" fmla="*/ 229969 h 938354"/>
                  <a:gd name="connsiteX2" fmla="*/ 16985 w 12045155"/>
                  <a:gd name="connsiteY2" fmla="*/ 441204 h 938354"/>
                  <a:gd name="connsiteX3" fmla="*/ 31647 w 12045155"/>
                  <a:gd name="connsiteY3" fmla="*/ 700450 h 938354"/>
                  <a:gd name="connsiteX4" fmla="*/ 43864 w 12045155"/>
                  <a:gd name="connsiteY4" fmla="*/ 777266 h 938354"/>
                  <a:gd name="connsiteX5" fmla="*/ 80207 w 12045155"/>
                  <a:gd name="connsiteY5" fmla="*/ 937416 h 938354"/>
                  <a:gd name="connsiteX6" fmla="*/ 937008 w 12045155"/>
                  <a:gd name="connsiteY6" fmla="*/ 844973 h 938354"/>
                  <a:gd name="connsiteX7" fmla="*/ 1631867 w 12045155"/>
                  <a:gd name="connsiteY7" fmla="*/ 878961 h 938354"/>
                  <a:gd name="connsiteX8" fmla="*/ 2087877 w 12045155"/>
                  <a:gd name="connsiteY8" fmla="*/ 819473 h 938354"/>
                  <a:gd name="connsiteX9" fmla="*/ 2565599 w 12045155"/>
                  <a:gd name="connsiteY9" fmla="*/ 819473 h 938354"/>
                  <a:gd name="connsiteX10" fmla="*/ 3336468 w 12045155"/>
                  <a:gd name="connsiteY10" fmla="*/ 861967 h 938354"/>
                  <a:gd name="connsiteX11" fmla="*/ 4215904 w 12045155"/>
                  <a:gd name="connsiteY11" fmla="*/ 844973 h 938354"/>
                  <a:gd name="connsiteX12" fmla="*/ 4845622 w 12045155"/>
                  <a:gd name="connsiteY12" fmla="*/ 853479 h 938354"/>
                  <a:gd name="connsiteX13" fmla="*/ 5681632 w 12045155"/>
                  <a:gd name="connsiteY13" fmla="*/ 853479 h 938354"/>
                  <a:gd name="connsiteX14" fmla="*/ 6745645 w 12045155"/>
                  <a:gd name="connsiteY14" fmla="*/ 878979 h 938354"/>
                  <a:gd name="connsiteX15" fmla="*/ 7494800 w 12045155"/>
                  <a:gd name="connsiteY15" fmla="*/ 870473 h 938354"/>
                  <a:gd name="connsiteX16" fmla="*/ 8026795 w 12045155"/>
                  <a:gd name="connsiteY16" fmla="*/ 861967 h 938354"/>
                  <a:gd name="connsiteX17" fmla="*/ 8504518 w 12045155"/>
                  <a:gd name="connsiteY17" fmla="*/ 827979 h 938354"/>
                  <a:gd name="connsiteX18" fmla="*/ 12045155 w 12045155"/>
                  <a:gd name="connsiteY18" fmla="*/ 699393 h 938354"/>
                  <a:gd name="connsiteX19" fmla="*/ 8634799 w 12045155"/>
                  <a:gd name="connsiteY19" fmla="*/ 224616 h 938354"/>
                  <a:gd name="connsiteX20" fmla="*/ 8450223 w 12045155"/>
                  <a:gd name="connsiteY20" fmla="*/ 156695 h 938354"/>
                  <a:gd name="connsiteX21" fmla="*/ 7635927 w 12045155"/>
                  <a:gd name="connsiteY21" fmla="*/ 105714 h 938354"/>
                  <a:gd name="connsiteX22" fmla="*/ 7049636 w 12045155"/>
                  <a:gd name="connsiteY22" fmla="*/ 199189 h 938354"/>
                  <a:gd name="connsiteX23" fmla="*/ 6342549 w 12045155"/>
                  <a:gd name="connsiteY23" fmla="*/ 146630 h 938354"/>
                  <a:gd name="connsiteX24" fmla="*/ 5902209 w 12045155"/>
                  <a:gd name="connsiteY24" fmla="*/ 249658 h 938354"/>
                  <a:gd name="connsiteX25" fmla="*/ 5182195 w 12045155"/>
                  <a:gd name="connsiteY25" fmla="*/ 292664 h 938354"/>
                  <a:gd name="connsiteX26" fmla="*/ 3822487 w 12045155"/>
                  <a:gd name="connsiteY26" fmla="*/ 90799 h 938354"/>
                  <a:gd name="connsiteX27" fmla="*/ 2370177 w 12045155"/>
                  <a:gd name="connsiteY27" fmla="*/ 156695 h 938354"/>
                  <a:gd name="connsiteX28" fmla="*/ 578745 w 12045155"/>
                  <a:gd name="connsiteY28" fmla="*/ 148189 h 938354"/>
                  <a:gd name="connsiteX29" fmla="*/ 38923 w 12045155"/>
                  <a:gd name="connsiteY29" fmla="*/ 157240 h 938354"/>
                  <a:gd name="connsiteX0" fmla="*/ 38923 w 12045155"/>
                  <a:gd name="connsiteY0" fmla="*/ 157240 h 938354"/>
                  <a:gd name="connsiteX1" fmla="*/ 4765 w 12045155"/>
                  <a:gd name="connsiteY1" fmla="*/ 229969 h 938354"/>
                  <a:gd name="connsiteX2" fmla="*/ 16985 w 12045155"/>
                  <a:gd name="connsiteY2" fmla="*/ 441204 h 938354"/>
                  <a:gd name="connsiteX3" fmla="*/ 31647 w 12045155"/>
                  <a:gd name="connsiteY3" fmla="*/ 700450 h 938354"/>
                  <a:gd name="connsiteX4" fmla="*/ 43864 w 12045155"/>
                  <a:gd name="connsiteY4" fmla="*/ 777266 h 938354"/>
                  <a:gd name="connsiteX5" fmla="*/ 80207 w 12045155"/>
                  <a:gd name="connsiteY5" fmla="*/ 937416 h 938354"/>
                  <a:gd name="connsiteX6" fmla="*/ 937008 w 12045155"/>
                  <a:gd name="connsiteY6" fmla="*/ 844973 h 938354"/>
                  <a:gd name="connsiteX7" fmla="*/ 1631867 w 12045155"/>
                  <a:gd name="connsiteY7" fmla="*/ 878961 h 938354"/>
                  <a:gd name="connsiteX8" fmla="*/ 2087877 w 12045155"/>
                  <a:gd name="connsiteY8" fmla="*/ 819473 h 938354"/>
                  <a:gd name="connsiteX9" fmla="*/ 2565599 w 12045155"/>
                  <a:gd name="connsiteY9" fmla="*/ 819473 h 938354"/>
                  <a:gd name="connsiteX10" fmla="*/ 3336468 w 12045155"/>
                  <a:gd name="connsiteY10" fmla="*/ 861967 h 938354"/>
                  <a:gd name="connsiteX11" fmla="*/ 4215904 w 12045155"/>
                  <a:gd name="connsiteY11" fmla="*/ 844973 h 938354"/>
                  <a:gd name="connsiteX12" fmla="*/ 4845622 w 12045155"/>
                  <a:gd name="connsiteY12" fmla="*/ 853479 h 938354"/>
                  <a:gd name="connsiteX13" fmla="*/ 5681632 w 12045155"/>
                  <a:gd name="connsiteY13" fmla="*/ 853479 h 938354"/>
                  <a:gd name="connsiteX14" fmla="*/ 6745645 w 12045155"/>
                  <a:gd name="connsiteY14" fmla="*/ 878979 h 938354"/>
                  <a:gd name="connsiteX15" fmla="*/ 7494800 w 12045155"/>
                  <a:gd name="connsiteY15" fmla="*/ 870473 h 938354"/>
                  <a:gd name="connsiteX16" fmla="*/ 8026795 w 12045155"/>
                  <a:gd name="connsiteY16" fmla="*/ 861967 h 938354"/>
                  <a:gd name="connsiteX17" fmla="*/ 8504518 w 12045155"/>
                  <a:gd name="connsiteY17" fmla="*/ 827979 h 938354"/>
                  <a:gd name="connsiteX18" fmla="*/ 12045155 w 12045155"/>
                  <a:gd name="connsiteY18" fmla="*/ 699393 h 938354"/>
                  <a:gd name="connsiteX19" fmla="*/ 12045155 w 12045155"/>
                  <a:gd name="connsiteY19" fmla="*/ 261011 h 938354"/>
                  <a:gd name="connsiteX20" fmla="*/ 8450223 w 12045155"/>
                  <a:gd name="connsiteY20" fmla="*/ 156695 h 938354"/>
                  <a:gd name="connsiteX21" fmla="*/ 7635927 w 12045155"/>
                  <a:gd name="connsiteY21" fmla="*/ 105714 h 938354"/>
                  <a:gd name="connsiteX22" fmla="*/ 7049636 w 12045155"/>
                  <a:gd name="connsiteY22" fmla="*/ 199189 h 938354"/>
                  <a:gd name="connsiteX23" fmla="*/ 6342549 w 12045155"/>
                  <a:gd name="connsiteY23" fmla="*/ 146630 h 938354"/>
                  <a:gd name="connsiteX24" fmla="*/ 5902209 w 12045155"/>
                  <a:gd name="connsiteY24" fmla="*/ 249658 h 938354"/>
                  <a:gd name="connsiteX25" fmla="*/ 5182195 w 12045155"/>
                  <a:gd name="connsiteY25" fmla="*/ 292664 h 938354"/>
                  <a:gd name="connsiteX26" fmla="*/ 3822487 w 12045155"/>
                  <a:gd name="connsiteY26" fmla="*/ 90799 h 938354"/>
                  <a:gd name="connsiteX27" fmla="*/ 2370177 w 12045155"/>
                  <a:gd name="connsiteY27" fmla="*/ 156695 h 938354"/>
                  <a:gd name="connsiteX28" fmla="*/ 578745 w 12045155"/>
                  <a:gd name="connsiteY28" fmla="*/ 148189 h 938354"/>
                  <a:gd name="connsiteX29" fmla="*/ 38923 w 12045155"/>
                  <a:gd name="connsiteY29" fmla="*/ 157240 h 938354"/>
                  <a:gd name="connsiteX0" fmla="*/ 38923 w 12045155"/>
                  <a:gd name="connsiteY0" fmla="*/ 157240 h 1129823"/>
                  <a:gd name="connsiteX1" fmla="*/ 4765 w 12045155"/>
                  <a:gd name="connsiteY1" fmla="*/ 229969 h 1129823"/>
                  <a:gd name="connsiteX2" fmla="*/ 16985 w 12045155"/>
                  <a:gd name="connsiteY2" fmla="*/ 441204 h 1129823"/>
                  <a:gd name="connsiteX3" fmla="*/ 31647 w 12045155"/>
                  <a:gd name="connsiteY3" fmla="*/ 700450 h 1129823"/>
                  <a:gd name="connsiteX4" fmla="*/ 43864 w 12045155"/>
                  <a:gd name="connsiteY4" fmla="*/ 777266 h 1129823"/>
                  <a:gd name="connsiteX5" fmla="*/ 80207 w 12045155"/>
                  <a:gd name="connsiteY5" fmla="*/ 937416 h 1129823"/>
                  <a:gd name="connsiteX6" fmla="*/ 937008 w 12045155"/>
                  <a:gd name="connsiteY6" fmla="*/ 844973 h 1129823"/>
                  <a:gd name="connsiteX7" fmla="*/ 1631867 w 12045155"/>
                  <a:gd name="connsiteY7" fmla="*/ 878961 h 1129823"/>
                  <a:gd name="connsiteX8" fmla="*/ 2087877 w 12045155"/>
                  <a:gd name="connsiteY8" fmla="*/ 819473 h 1129823"/>
                  <a:gd name="connsiteX9" fmla="*/ 2565599 w 12045155"/>
                  <a:gd name="connsiteY9" fmla="*/ 819473 h 1129823"/>
                  <a:gd name="connsiteX10" fmla="*/ 3336468 w 12045155"/>
                  <a:gd name="connsiteY10" fmla="*/ 861967 h 1129823"/>
                  <a:gd name="connsiteX11" fmla="*/ 4215904 w 12045155"/>
                  <a:gd name="connsiteY11" fmla="*/ 844973 h 1129823"/>
                  <a:gd name="connsiteX12" fmla="*/ 4845622 w 12045155"/>
                  <a:gd name="connsiteY12" fmla="*/ 853479 h 1129823"/>
                  <a:gd name="connsiteX13" fmla="*/ 5681632 w 12045155"/>
                  <a:gd name="connsiteY13" fmla="*/ 853479 h 1129823"/>
                  <a:gd name="connsiteX14" fmla="*/ 6745645 w 12045155"/>
                  <a:gd name="connsiteY14" fmla="*/ 878979 h 1129823"/>
                  <a:gd name="connsiteX15" fmla="*/ 7494800 w 12045155"/>
                  <a:gd name="connsiteY15" fmla="*/ 870473 h 1129823"/>
                  <a:gd name="connsiteX16" fmla="*/ 8026795 w 12045155"/>
                  <a:gd name="connsiteY16" fmla="*/ 861967 h 1129823"/>
                  <a:gd name="connsiteX17" fmla="*/ 8504518 w 12045155"/>
                  <a:gd name="connsiteY17" fmla="*/ 827979 h 1129823"/>
                  <a:gd name="connsiteX18" fmla="*/ 11481826 w 12045155"/>
                  <a:gd name="connsiteY18" fmla="*/ 1127088 h 1129823"/>
                  <a:gd name="connsiteX19" fmla="*/ 12045155 w 12045155"/>
                  <a:gd name="connsiteY19" fmla="*/ 699393 h 1129823"/>
                  <a:gd name="connsiteX20" fmla="*/ 12045155 w 12045155"/>
                  <a:gd name="connsiteY20" fmla="*/ 261011 h 1129823"/>
                  <a:gd name="connsiteX21" fmla="*/ 8450223 w 12045155"/>
                  <a:gd name="connsiteY21" fmla="*/ 156695 h 1129823"/>
                  <a:gd name="connsiteX22" fmla="*/ 7635927 w 12045155"/>
                  <a:gd name="connsiteY22" fmla="*/ 105714 h 1129823"/>
                  <a:gd name="connsiteX23" fmla="*/ 7049636 w 12045155"/>
                  <a:gd name="connsiteY23" fmla="*/ 199189 h 1129823"/>
                  <a:gd name="connsiteX24" fmla="*/ 6342549 w 12045155"/>
                  <a:gd name="connsiteY24" fmla="*/ 146630 h 1129823"/>
                  <a:gd name="connsiteX25" fmla="*/ 5902209 w 12045155"/>
                  <a:gd name="connsiteY25" fmla="*/ 249658 h 1129823"/>
                  <a:gd name="connsiteX26" fmla="*/ 5182195 w 12045155"/>
                  <a:gd name="connsiteY26" fmla="*/ 292664 h 1129823"/>
                  <a:gd name="connsiteX27" fmla="*/ 3822487 w 12045155"/>
                  <a:gd name="connsiteY27" fmla="*/ 90799 h 1129823"/>
                  <a:gd name="connsiteX28" fmla="*/ 2370177 w 12045155"/>
                  <a:gd name="connsiteY28" fmla="*/ 156695 h 1129823"/>
                  <a:gd name="connsiteX29" fmla="*/ 578745 w 12045155"/>
                  <a:gd name="connsiteY29" fmla="*/ 148189 h 1129823"/>
                  <a:gd name="connsiteX30" fmla="*/ 38923 w 12045155"/>
                  <a:gd name="connsiteY30" fmla="*/ 157240 h 1129823"/>
                  <a:gd name="connsiteX0" fmla="*/ 38923 w 12045155"/>
                  <a:gd name="connsiteY0" fmla="*/ 157240 h 1784983"/>
                  <a:gd name="connsiteX1" fmla="*/ 4765 w 12045155"/>
                  <a:gd name="connsiteY1" fmla="*/ 229969 h 1784983"/>
                  <a:gd name="connsiteX2" fmla="*/ 16985 w 12045155"/>
                  <a:gd name="connsiteY2" fmla="*/ 441204 h 1784983"/>
                  <a:gd name="connsiteX3" fmla="*/ 31647 w 12045155"/>
                  <a:gd name="connsiteY3" fmla="*/ 700450 h 1784983"/>
                  <a:gd name="connsiteX4" fmla="*/ 43864 w 12045155"/>
                  <a:gd name="connsiteY4" fmla="*/ 777266 h 1784983"/>
                  <a:gd name="connsiteX5" fmla="*/ 80207 w 12045155"/>
                  <a:gd name="connsiteY5" fmla="*/ 937416 h 1784983"/>
                  <a:gd name="connsiteX6" fmla="*/ 937008 w 12045155"/>
                  <a:gd name="connsiteY6" fmla="*/ 844973 h 1784983"/>
                  <a:gd name="connsiteX7" fmla="*/ 1631867 w 12045155"/>
                  <a:gd name="connsiteY7" fmla="*/ 878961 h 1784983"/>
                  <a:gd name="connsiteX8" fmla="*/ 2087877 w 12045155"/>
                  <a:gd name="connsiteY8" fmla="*/ 819473 h 1784983"/>
                  <a:gd name="connsiteX9" fmla="*/ 2565599 w 12045155"/>
                  <a:gd name="connsiteY9" fmla="*/ 819473 h 1784983"/>
                  <a:gd name="connsiteX10" fmla="*/ 3336468 w 12045155"/>
                  <a:gd name="connsiteY10" fmla="*/ 861967 h 1784983"/>
                  <a:gd name="connsiteX11" fmla="*/ 4215904 w 12045155"/>
                  <a:gd name="connsiteY11" fmla="*/ 844973 h 1784983"/>
                  <a:gd name="connsiteX12" fmla="*/ 4845622 w 12045155"/>
                  <a:gd name="connsiteY12" fmla="*/ 853479 h 1784983"/>
                  <a:gd name="connsiteX13" fmla="*/ 5681632 w 12045155"/>
                  <a:gd name="connsiteY13" fmla="*/ 853479 h 1784983"/>
                  <a:gd name="connsiteX14" fmla="*/ 6745645 w 12045155"/>
                  <a:gd name="connsiteY14" fmla="*/ 878979 h 1784983"/>
                  <a:gd name="connsiteX15" fmla="*/ 7494800 w 12045155"/>
                  <a:gd name="connsiteY15" fmla="*/ 870473 h 1784983"/>
                  <a:gd name="connsiteX16" fmla="*/ 8026795 w 12045155"/>
                  <a:gd name="connsiteY16" fmla="*/ 861967 h 1784983"/>
                  <a:gd name="connsiteX17" fmla="*/ 8504518 w 12045155"/>
                  <a:gd name="connsiteY17" fmla="*/ 827979 h 1784983"/>
                  <a:gd name="connsiteX18" fmla="*/ 10922986 w 12045155"/>
                  <a:gd name="connsiteY18" fmla="*/ 1782194 h 1784983"/>
                  <a:gd name="connsiteX19" fmla="*/ 11481826 w 12045155"/>
                  <a:gd name="connsiteY19" fmla="*/ 1127088 h 1784983"/>
                  <a:gd name="connsiteX20" fmla="*/ 12045155 w 12045155"/>
                  <a:gd name="connsiteY20" fmla="*/ 699393 h 1784983"/>
                  <a:gd name="connsiteX21" fmla="*/ 12045155 w 12045155"/>
                  <a:gd name="connsiteY21" fmla="*/ 261011 h 1784983"/>
                  <a:gd name="connsiteX22" fmla="*/ 8450223 w 12045155"/>
                  <a:gd name="connsiteY22" fmla="*/ 156695 h 1784983"/>
                  <a:gd name="connsiteX23" fmla="*/ 7635927 w 12045155"/>
                  <a:gd name="connsiteY23" fmla="*/ 105714 h 1784983"/>
                  <a:gd name="connsiteX24" fmla="*/ 7049636 w 12045155"/>
                  <a:gd name="connsiteY24" fmla="*/ 199189 h 1784983"/>
                  <a:gd name="connsiteX25" fmla="*/ 6342549 w 12045155"/>
                  <a:gd name="connsiteY25" fmla="*/ 146630 h 1784983"/>
                  <a:gd name="connsiteX26" fmla="*/ 5902209 w 12045155"/>
                  <a:gd name="connsiteY26" fmla="*/ 249658 h 1784983"/>
                  <a:gd name="connsiteX27" fmla="*/ 5182195 w 12045155"/>
                  <a:gd name="connsiteY27" fmla="*/ 292664 h 1784983"/>
                  <a:gd name="connsiteX28" fmla="*/ 3822487 w 12045155"/>
                  <a:gd name="connsiteY28" fmla="*/ 90799 h 1784983"/>
                  <a:gd name="connsiteX29" fmla="*/ 2370177 w 12045155"/>
                  <a:gd name="connsiteY29" fmla="*/ 156695 h 1784983"/>
                  <a:gd name="connsiteX30" fmla="*/ 578745 w 12045155"/>
                  <a:gd name="connsiteY30" fmla="*/ 148189 h 1784983"/>
                  <a:gd name="connsiteX31" fmla="*/ 38923 w 12045155"/>
                  <a:gd name="connsiteY31" fmla="*/ 157240 h 1784983"/>
                  <a:gd name="connsiteX0" fmla="*/ 38923 w 12045155"/>
                  <a:gd name="connsiteY0" fmla="*/ 157240 h 1848237"/>
                  <a:gd name="connsiteX1" fmla="*/ 4765 w 12045155"/>
                  <a:gd name="connsiteY1" fmla="*/ 229969 h 1848237"/>
                  <a:gd name="connsiteX2" fmla="*/ 16985 w 12045155"/>
                  <a:gd name="connsiteY2" fmla="*/ 441204 h 1848237"/>
                  <a:gd name="connsiteX3" fmla="*/ 31647 w 12045155"/>
                  <a:gd name="connsiteY3" fmla="*/ 700450 h 1848237"/>
                  <a:gd name="connsiteX4" fmla="*/ 43864 w 12045155"/>
                  <a:gd name="connsiteY4" fmla="*/ 777266 h 1848237"/>
                  <a:gd name="connsiteX5" fmla="*/ 80207 w 12045155"/>
                  <a:gd name="connsiteY5" fmla="*/ 937416 h 1848237"/>
                  <a:gd name="connsiteX6" fmla="*/ 937008 w 12045155"/>
                  <a:gd name="connsiteY6" fmla="*/ 844973 h 1848237"/>
                  <a:gd name="connsiteX7" fmla="*/ 1631867 w 12045155"/>
                  <a:gd name="connsiteY7" fmla="*/ 878961 h 1848237"/>
                  <a:gd name="connsiteX8" fmla="*/ 2087877 w 12045155"/>
                  <a:gd name="connsiteY8" fmla="*/ 819473 h 1848237"/>
                  <a:gd name="connsiteX9" fmla="*/ 2565599 w 12045155"/>
                  <a:gd name="connsiteY9" fmla="*/ 819473 h 1848237"/>
                  <a:gd name="connsiteX10" fmla="*/ 3336468 w 12045155"/>
                  <a:gd name="connsiteY10" fmla="*/ 861967 h 1848237"/>
                  <a:gd name="connsiteX11" fmla="*/ 4215904 w 12045155"/>
                  <a:gd name="connsiteY11" fmla="*/ 844973 h 1848237"/>
                  <a:gd name="connsiteX12" fmla="*/ 4845622 w 12045155"/>
                  <a:gd name="connsiteY12" fmla="*/ 853479 h 1848237"/>
                  <a:gd name="connsiteX13" fmla="*/ 5681632 w 12045155"/>
                  <a:gd name="connsiteY13" fmla="*/ 853479 h 1848237"/>
                  <a:gd name="connsiteX14" fmla="*/ 6745645 w 12045155"/>
                  <a:gd name="connsiteY14" fmla="*/ 878979 h 1848237"/>
                  <a:gd name="connsiteX15" fmla="*/ 7494800 w 12045155"/>
                  <a:gd name="connsiteY15" fmla="*/ 870473 h 1848237"/>
                  <a:gd name="connsiteX16" fmla="*/ 8026795 w 12045155"/>
                  <a:gd name="connsiteY16" fmla="*/ 861967 h 1848237"/>
                  <a:gd name="connsiteX17" fmla="*/ 8504518 w 12045155"/>
                  <a:gd name="connsiteY17" fmla="*/ 827979 h 1848237"/>
                  <a:gd name="connsiteX18" fmla="*/ 10922986 w 12045155"/>
                  <a:gd name="connsiteY18" fmla="*/ 1782194 h 1848237"/>
                  <a:gd name="connsiteX19" fmla="*/ 11481826 w 12045155"/>
                  <a:gd name="connsiteY19" fmla="*/ 1127088 h 1848237"/>
                  <a:gd name="connsiteX20" fmla="*/ 12045155 w 12045155"/>
                  <a:gd name="connsiteY20" fmla="*/ 699393 h 1848237"/>
                  <a:gd name="connsiteX21" fmla="*/ 12045155 w 12045155"/>
                  <a:gd name="connsiteY21" fmla="*/ 261011 h 1848237"/>
                  <a:gd name="connsiteX22" fmla="*/ 8450223 w 12045155"/>
                  <a:gd name="connsiteY22" fmla="*/ 156695 h 1848237"/>
                  <a:gd name="connsiteX23" fmla="*/ 7635927 w 12045155"/>
                  <a:gd name="connsiteY23" fmla="*/ 105714 h 1848237"/>
                  <a:gd name="connsiteX24" fmla="*/ 7049636 w 12045155"/>
                  <a:gd name="connsiteY24" fmla="*/ 199189 h 1848237"/>
                  <a:gd name="connsiteX25" fmla="*/ 6342549 w 12045155"/>
                  <a:gd name="connsiteY25" fmla="*/ 146630 h 1848237"/>
                  <a:gd name="connsiteX26" fmla="*/ 5902209 w 12045155"/>
                  <a:gd name="connsiteY26" fmla="*/ 249658 h 1848237"/>
                  <a:gd name="connsiteX27" fmla="*/ 5182195 w 12045155"/>
                  <a:gd name="connsiteY27" fmla="*/ 292664 h 1848237"/>
                  <a:gd name="connsiteX28" fmla="*/ 3822487 w 12045155"/>
                  <a:gd name="connsiteY28" fmla="*/ 90799 h 1848237"/>
                  <a:gd name="connsiteX29" fmla="*/ 2370177 w 12045155"/>
                  <a:gd name="connsiteY29" fmla="*/ 156695 h 1848237"/>
                  <a:gd name="connsiteX30" fmla="*/ 578745 w 12045155"/>
                  <a:gd name="connsiteY30" fmla="*/ 148189 h 1848237"/>
                  <a:gd name="connsiteX31" fmla="*/ 38923 w 12045155"/>
                  <a:gd name="connsiteY31" fmla="*/ 157240 h 1848237"/>
                  <a:gd name="connsiteX0" fmla="*/ 38923 w 12045155"/>
                  <a:gd name="connsiteY0" fmla="*/ 157240 h 2147863"/>
                  <a:gd name="connsiteX1" fmla="*/ 4765 w 12045155"/>
                  <a:gd name="connsiteY1" fmla="*/ 229969 h 2147863"/>
                  <a:gd name="connsiteX2" fmla="*/ 16985 w 12045155"/>
                  <a:gd name="connsiteY2" fmla="*/ 441204 h 2147863"/>
                  <a:gd name="connsiteX3" fmla="*/ 31647 w 12045155"/>
                  <a:gd name="connsiteY3" fmla="*/ 700450 h 2147863"/>
                  <a:gd name="connsiteX4" fmla="*/ 43864 w 12045155"/>
                  <a:gd name="connsiteY4" fmla="*/ 777266 h 2147863"/>
                  <a:gd name="connsiteX5" fmla="*/ 80207 w 12045155"/>
                  <a:gd name="connsiteY5" fmla="*/ 937416 h 2147863"/>
                  <a:gd name="connsiteX6" fmla="*/ 937008 w 12045155"/>
                  <a:gd name="connsiteY6" fmla="*/ 844973 h 2147863"/>
                  <a:gd name="connsiteX7" fmla="*/ 1631867 w 12045155"/>
                  <a:gd name="connsiteY7" fmla="*/ 878961 h 2147863"/>
                  <a:gd name="connsiteX8" fmla="*/ 2087877 w 12045155"/>
                  <a:gd name="connsiteY8" fmla="*/ 819473 h 2147863"/>
                  <a:gd name="connsiteX9" fmla="*/ 2565599 w 12045155"/>
                  <a:gd name="connsiteY9" fmla="*/ 819473 h 2147863"/>
                  <a:gd name="connsiteX10" fmla="*/ 3336468 w 12045155"/>
                  <a:gd name="connsiteY10" fmla="*/ 861967 h 2147863"/>
                  <a:gd name="connsiteX11" fmla="*/ 4215904 w 12045155"/>
                  <a:gd name="connsiteY11" fmla="*/ 844973 h 2147863"/>
                  <a:gd name="connsiteX12" fmla="*/ 4845622 w 12045155"/>
                  <a:gd name="connsiteY12" fmla="*/ 853479 h 2147863"/>
                  <a:gd name="connsiteX13" fmla="*/ 5681632 w 12045155"/>
                  <a:gd name="connsiteY13" fmla="*/ 853479 h 2147863"/>
                  <a:gd name="connsiteX14" fmla="*/ 6745645 w 12045155"/>
                  <a:gd name="connsiteY14" fmla="*/ 878979 h 2147863"/>
                  <a:gd name="connsiteX15" fmla="*/ 7494800 w 12045155"/>
                  <a:gd name="connsiteY15" fmla="*/ 870473 h 2147863"/>
                  <a:gd name="connsiteX16" fmla="*/ 8026795 w 12045155"/>
                  <a:gd name="connsiteY16" fmla="*/ 861967 h 2147863"/>
                  <a:gd name="connsiteX17" fmla="*/ 8504518 w 12045155"/>
                  <a:gd name="connsiteY17" fmla="*/ 827979 h 2147863"/>
                  <a:gd name="connsiteX18" fmla="*/ 10177867 w 12045155"/>
                  <a:gd name="connsiteY18" fmla="*/ 2109744 h 2147863"/>
                  <a:gd name="connsiteX19" fmla="*/ 10922986 w 12045155"/>
                  <a:gd name="connsiteY19" fmla="*/ 1782194 h 2147863"/>
                  <a:gd name="connsiteX20" fmla="*/ 11481826 w 12045155"/>
                  <a:gd name="connsiteY20" fmla="*/ 1127088 h 2147863"/>
                  <a:gd name="connsiteX21" fmla="*/ 12045155 w 12045155"/>
                  <a:gd name="connsiteY21" fmla="*/ 699393 h 2147863"/>
                  <a:gd name="connsiteX22" fmla="*/ 12045155 w 12045155"/>
                  <a:gd name="connsiteY22" fmla="*/ 261011 h 2147863"/>
                  <a:gd name="connsiteX23" fmla="*/ 8450223 w 12045155"/>
                  <a:gd name="connsiteY23" fmla="*/ 156695 h 2147863"/>
                  <a:gd name="connsiteX24" fmla="*/ 7635927 w 12045155"/>
                  <a:gd name="connsiteY24" fmla="*/ 105714 h 2147863"/>
                  <a:gd name="connsiteX25" fmla="*/ 7049636 w 12045155"/>
                  <a:gd name="connsiteY25" fmla="*/ 199189 h 2147863"/>
                  <a:gd name="connsiteX26" fmla="*/ 6342549 w 12045155"/>
                  <a:gd name="connsiteY26" fmla="*/ 146630 h 2147863"/>
                  <a:gd name="connsiteX27" fmla="*/ 5902209 w 12045155"/>
                  <a:gd name="connsiteY27" fmla="*/ 249658 h 2147863"/>
                  <a:gd name="connsiteX28" fmla="*/ 5182195 w 12045155"/>
                  <a:gd name="connsiteY28" fmla="*/ 292664 h 2147863"/>
                  <a:gd name="connsiteX29" fmla="*/ 3822487 w 12045155"/>
                  <a:gd name="connsiteY29" fmla="*/ 90799 h 2147863"/>
                  <a:gd name="connsiteX30" fmla="*/ 2370177 w 12045155"/>
                  <a:gd name="connsiteY30" fmla="*/ 156695 h 2147863"/>
                  <a:gd name="connsiteX31" fmla="*/ 578745 w 12045155"/>
                  <a:gd name="connsiteY31" fmla="*/ 148189 h 2147863"/>
                  <a:gd name="connsiteX32" fmla="*/ 38923 w 12045155"/>
                  <a:gd name="connsiteY32" fmla="*/ 157240 h 2147863"/>
                  <a:gd name="connsiteX0" fmla="*/ 38923 w 12045155"/>
                  <a:gd name="connsiteY0" fmla="*/ 157240 h 2112232"/>
                  <a:gd name="connsiteX1" fmla="*/ 4765 w 12045155"/>
                  <a:gd name="connsiteY1" fmla="*/ 229969 h 2112232"/>
                  <a:gd name="connsiteX2" fmla="*/ 16985 w 12045155"/>
                  <a:gd name="connsiteY2" fmla="*/ 441204 h 2112232"/>
                  <a:gd name="connsiteX3" fmla="*/ 31647 w 12045155"/>
                  <a:gd name="connsiteY3" fmla="*/ 700450 h 2112232"/>
                  <a:gd name="connsiteX4" fmla="*/ 43864 w 12045155"/>
                  <a:gd name="connsiteY4" fmla="*/ 777266 h 2112232"/>
                  <a:gd name="connsiteX5" fmla="*/ 80207 w 12045155"/>
                  <a:gd name="connsiteY5" fmla="*/ 937416 h 2112232"/>
                  <a:gd name="connsiteX6" fmla="*/ 937008 w 12045155"/>
                  <a:gd name="connsiteY6" fmla="*/ 844973 h 2112232"/>
                  <a:gd name="connsiteX7" fmla="*/ 1631867 w 12045155"/>
                  <a:gd name="connsiteY7" fmla="*/ 878961 h 2112232"/>
                  <a:gd name="connsiteX8" fmla="*/ 2087877 w 12045155"/>
                  <a:gd name="connsiteY8" fmla="*/ 819473 h 2112232"/>
                  <a:gd name="connsiteX9" fmla="*/ 2565599 w 12045155"/>
                  <a:gd name="connsiteY9" fmla="*/ 819473 h 2112232"/>
                  <a:gd name="connsiteX10" fmla="*/ 3336468 w 12045155"/>
                  <a:gd name="connsiteY10" fmla="*/ 861967 h 2112232"/>
                  <a:gd name="connsiteX11" fmla="*/ 4215904 w 12045155"/>
                  <a:gd name="connsiteY11" fmla="*/ 844973 h 2112232"/>
                  <a:gd name="connsiteX12" fmla="*/ 4845622 w 12045155"/>
                  <a:gd name="connsiteY12" fmla="*/ 853479 h 2112232"/>
                  <a:gd name="connsiteX13" fmla="*/ 5681632 w 12045155"/>
                  <a:gd name="connsiteY13" fmla="*/ 853479 h 2112232"/>
                  <a:gd name="connsiteX14" fmla="*/ 6745645 w 12045155"/>
                  <a:gd name="connsiteY14" fmla="*/ 878979 h 2112232"/>
                  <a:gd name="connsiteX15" fmla="*/ 7494800 w 12045155"/>
                  <a:gd name="connsiteY15" fmla="*/ 870473 h 2112232"/>
                  <a:gd name="connsiteX16" fmla="*/ 8026795 w 12045155"/>
                  <a:gd name="connsiteY16" fmla="*/ 861967 h 2112232"/>
                  <a:gd name="connsiteX17" fmla="*/ 8504518 w 12045155"/>
                  <a:gd name="connsiteY17" fmla="*/ 827979 h 2112232"/>
                  <a:gd name="connsiteX18" fmla="*/ 9490064 w 12045155"/>
                  <a:gd name="connsiteY18" fmla="*/ 1654810 h 2112232"/>
                  <a:gd name="connsiteX19" fmla="*/ 10177867 w 12045155"/>
                  <a:gd name="connsiteY19" fmla="*/ 2109744 h 2112232"/>
                  <a:gd name="connsiteX20" fmla="*/ 10922986 w 12045155"/>
                  <a:gd name="connsiteY20" fmla="*/ 1782194 h 2112232"/>
                  <a:gd name="connsiteX21" fmla="*/ 11481826 w 12045155"/>
                  <a:gd name="connsiteY21" fmla="*/ 1127088 h 2112232"/>
                  <a:gd name="connsiteX22" fmla="*/ 12045155 w 12045155"/>
                  <a:gd name="connsiteY22" fmla="*/ 699393 h 2112232"/>
                  <a:gd name="connsiteX23" fmla="*/ 12045155 w 12045155"/>
                  <a:gd name="connsiteY23" fmla="*/ 261011 h 2112232"/>
                  <a:gd name="connsiteX24" fmla="*/ 8450223 w 12045155"/>
                  <a:gd name="connsiteY24" fmla="*/ 156695 h 2112232"/>
                  <a:gd name="connsiteX25" fmla="*/ 7635927 w 12045155"/>
                  <a:gd name="connsiteY25" fmla="*/ 105714 h 2112232"/>
                  <a:gd name="connsiteX26" fmla="*/ 7049636 w 12045155"/>
                  <a:gd name="connsiteY26" fmla="*/ 199189 h 2112232"/>
                  <a:gd name="connsiteX27" fmla="*/ 6342549 w 12045155"/>
                  <a:gd name="connsiteY27" fmla="*/ 146630 h 2112232"/>
                  <a:gd name="connsiteX28" fmla="*/ 5902209 w 12045155"/>
                  <a:gd name="connsiteY28" fmla="*/ 249658 h 2112232"/>
                  <a:gd name="connsiteX29" fmla="*/ 5182195 w 12045155"/>
                  <a:gd name="connsiteY29" fmla="*/ 292664 h 2112232"/>
                  <a:gd name="connsiteX30" fmla="*/ 3822487 w 12045155"/>
                  <a:gd name="connsiteY30" fmla="*/ 90799 h 2112232"/>
                  <a:gd name="connsiteX31" fmla="*/ 2370177 w 12045155"/>
                  <a:gd name="connsiteY31" fmla="*/ 156695 h 2112232"/>
                  <a:gd name="connsiteX32" fmla="*/ 578745 w 12045155"/>
                  <a:gd name="connsiteY32" fmla="*/ 148189 h 2112232"/>
                  <a:gd name="connsiteX33" fmla="*/ 38923 w 12045155"/>
                  <a:gd name="connsiteY33" fmla="*/ 157240 h 2112232"/>
                  <a:gd name="connsiteX0" fmla="*/ 38923 w 12045155"/>
                  <a:gd name="connsiteY0" fmla="*/ 157240 h 2112232"/>
                  <a:gd name="connsiteX1" fmla="*/ 4765 w 12045155"/>
                  <a:gd name="connsiteY1" fmla="*/ 229969 h 2112232"/>
                  <a:gd name="connsiteX2" fmla="*/ 16985 w 12045155"/>
                  <a:gd name="connsiteY2" fmla="*/ 441204 h 2112232"/>
                  <a:gd name="connsiteX3" fmla="*/ 31647 w 12045155"/>
                  <a:gd name="connsiteY3" fmla="*/ 700450 h 2112232"/>
                  <a:gd name="connsiteX4" fmla="*/ 43864 w 12045155"/>
                  <a:gd name="connsiteY4" fmla="*/ 777266 h 2112232"/>
                  <a:gd name="connsiteX5" fmla="*/ 80207 w 12045155"/>
                  <a:gd name="connsiteY5" fmla="*/ 937416 h 2112232"/>
                  <a:gd name="connsiteX6" fmla="*/ 937008 w 12045155"/>
                  <a:gd name="connsiteY6" fmla="*/ 844973 h 2112232"/>
                  <a:gd name="connsiteX7" fmla="*/ 1631867 w 12045155"/>
                  <a:gd name="connsiteY7" fmla="*/ 878961 h 2112232"/>
                  <a:gd name="connsiteX8" fmla="*/ 2087877 w 12045155"/>
                  <a:gd name="connsiteY8" fmla="*/ 819473 h 2112232"/>
                  <a:gd name="connsiteX9" fmla="*/ 2565599 w 12045155"/>
                  <a:gd name="connsiteY9" fmla="*/ 819473 h 2112232"/>
                  <a:gd name="connsiteX10" fmla="*/ 3336468 w 12045155"/>
                  <a:gd name="connsiteY10" fmla="*/ 861967 h 2112232"/>
                  <a:gd name="connsiteX11" fmla="*/ 4215904 w 12045155"/>
                  <a:gd name="connsiteY11" fmla="*/ 844973 h 2112232"/>
                  <a:gd name="connsiteX12" fmla="*/ 4845622 w 12045155"/>
                  <a:gd name="connsiteY12" fmla="*/ 853479 h 2112232"/>
                  <a:gd name="connsiteX13" fmla="*/ 5681632 w 12045155"/>
                  <a:gd name="connsiteY13" fmla="*/ 853479 h 2112232"/>
                  <a:gd name="connsiteX14" fmla="*/ 6745645 w 12045155"/>
                  <a:gd name="connsiteY14" fmla="*/ 878979 h 2112232"/>
                  <a:gd name="connsiteX15" fmla="*/ 7494800 w 12045155"/>
                  <a:gd name="connsiteY15" fmla="*/ 870473 h 2112232"/>
                  <a:gd name="connsiteX16" fmla="*/ 8026795 w 12045155"/>
                  <a:gd name="connsiteY16" fmla="*/ 861967 h 2112232"/>
                  <a:gd name="connsiteX17" fmla="*/ 8504518 w 12045155"/>
                  <a:gd name="connsiteY17" fmla="*/ 827979 h 2112232"/>
                  <a:gd name="connsiteX18" fmla="*/ 9490064 w 12045155"/>
                  <a:gd name="connsiteY18" fmla="*/ 1654810 h 2112232"/>
                  <a:gd name="connsiteX19" fmla="*/ 10177867 w 12045155"/>
                  <a:gd name="connsiteY19" fmla="*/ 2109744 h 2112232"/>
                  <a:gd name="connsiteX20" fmla="*/ 10922986 w 12045155"/>
                  <a:gd name="connsiteY20" fmla="*/ 1782194 h 2112232"/>
                  <a:gd name="connsiteX21" fmla="*/ 11481826 w 12045155"/>
                  <a:gd name="connsiteY21" fmla="*/ 1127088 h 2112232"/>
                  <a:gd name="connsiteX22" fmla="*/ 12045155 w 12045155"/>
                  <a:gd name="connsiteY22" fmla="*/ 699393 h 2112232"/>
                  <a:gd name="connsiteX23" fmla="*/ 12045155 w 12045155"/>
                  <a:gd name="connsiteY23" fmla="*/ 261011 h 2112232"/>
                  <a:gd name="connsiteX24" fmla="*/ 11438839 w 12045155"/>
                  <a:gd name="connsiteY24" fmla="*/ 435586 h 2112232"/>
                  <a:gd name="connsiteX25" fmla="*/ 8450223 w 12045155"/>
                  <a:gd name="connsiteY25" fmla="*/ 156695 h 2112232"/>
                  <a:gd name="connsiteX26" fmla="*/ 7635927 w 12045155"/>
                  <a:gd name="connsiteY26" fmla="*/ 105714 h 2112232"/>
                  <a:gd name="connsiteX27" fmla="*/ 7049636 w 12045155"/>
                  <a:gd name="connsiteY27" fmla="*/ 199189 h 2112232"/>
                  <a:gd name="connsiteX28" fmla="*/ 6342549 w 12045155"/>
                  <a:gd name="connsiteY28" fmla="*/ 146630 h 2112232"/>
                  <a:gd name="connsiteX29" fmla="*/ 5902209 w 12045155"/>
                  <a:gd name="connsiteY29" fmla="*/ 249658 h 2112232"/>
                  <a:gd name="connsiteX30" fmla="*/ 5182195 w 12045155"/>
                  <a:gd name="connsiteY30" fmla="*/ 292664 h 2112232"/>
                  <a:gd name="connsiteX31" fmla="*/ 3822487 w 12045155"/>
                  <a:gd name="connsiteY31" fmla="*/ 90799 h 2112232"/>
                  <a:gd name="connsiteX32" fmla="*/ 2370177 w 12045155"/>
                  <a:gd name="connsiteY32" fmla="*/ 156695 h 2112232"/>
                  <a:gd name="connsiteX33" fmla="*/ 578745 w 12045155"/>
                  <a:gd name="connsiteY33" fmla="*/ 148189 h 2112232"/>
                  <a:gd name="connsiteX34" fmla="*/ 38923 w 12045155"/>
                  <a:gd name="connsiteY34" fmla="*/ 157240 h 2112232"/>
                  <a:gd name="connsiteX0" fmla="*/ 38923 w 12045155"/>
                  <a:gd name="connsiteY0" fmla="*/ 157240 h 2112232"/>
                  <a:gd name="connsiteX1" fmla="*/ 4765 w 12045155"/>
                  <a:gd name="connsiteY1" fmla="*/ 229969 h 2112232"/>
                  <a:gd name="connsiteX2" fmla="*/ 16985 w 12045155"/>
                  <a:gd name="connsiteY2" fmla="*/ 441204 h 2112232"/>
                  <a:gd name="connsiteX3" fmla="*/ 31647 w 12045155"/>
                  <a:gd name="connsiteY3" fmla="*/ 700450 h 2112232"/>
                  <a:gd name="connsiteX4" fmla="*/ 43864 w 12045155"/>
                  <a:gd name="connsiteY4" fmla="*/ 777266 h 2112232"/>
                  <a:gd name="connsiteX5" fmla="*/ 80207 w 12045155"/>
                  <a:gd name="connsiteY5" fmla="*/ 937416 h 2112232"/>
                  <a:gd name="connsiteX6" fmla="*/ 937008 w 12045155"/>
                  <a:gd name="connsiteY6" fmla="*/ 844973 h 2112232"/>
                  <a:gd name="connsiteX7" fmla="*/ 1631867 w 12045155"/>
                  <a:gd name="connsiteY7" fmla="*/ 878961 h 2112232"/>
                  <a:gd name="connsiteX8" fmla="*/ 2087877 w 12045155"/>
                  <a:gd name="connsiteY8" fmla="*/ 819473 h 2112232"/>
                  <a:gd name="connsiteX9" fmla="*/ 2565599 w 12045155"/>
                  <a:gd name="connsiteY9" fmla="*/ 819473 h 2112232"/>
                  <a:gd name="connsiteX10" fmla="*/ 3336468 w 12045155"/>
                  <a:gd name="connsiteY10" fmla="*/ 861967 h 2112232"/>
                  <a:gd name="connsiteX11" fmla="*/ 4215904 w 12045155"/>
                  <a:gd name="connsiteY11" fmla="*/ 844973 h 2112232"/>
                  <a:gd name="connsiteX12" fmla="*/ 4845622 w 12045155"/>
                  <a:gd name="connsiteY12" fmla="*/ 853479 h 2112232"/>
                  <a:gd name="connsiteX13" fmla="*/ 5681632 w 12045155"/>
                  <a:gd name="connsiteY13" fmla="*/ 853479 h 2112232"/>
                  <a:gd name="connsiteX14" fmla="*/ 6745645 w 12045155"/>
                  <a:gd name="connsiteY14" fmla="*/ 878979 h 2112232"/>
                  <a:gd name="connsiteX15" fmla="*/ 7494800 w 12045155"/>
                  <a:gd name="connsiteY15" fmla="*/ 870473 h 2112232"/>
                  <a:gd name="connsiteX16" fmla="*/ 8026795 w 12045155"/>
                  <a:gd name="connsiteY16" fmla="*/ 861967 h 2112232"/>
                  <a:gd name="connsiteX17" fmla="*/ 8504518 w 12045155"/>
                  <a:gd name="connsiteY17" fmla="*/ 827979 h 2112232"/>
                  <a:gd name="connsiteX18" fmla="*/ 9490064 w 12045155"/>
                  <a:gd name="connsiteY18" fmla="*/ 1654810 h 2112232"/>
                  <a:gd name="connsiteX19" fmla="*/ 10177867 w 12045155"/>
                  <a:gd name="connsiteY19" fmla="*/ 2109744 h 2112232"/>
                  <a:gd name="connsiteX20" fmla="*/ 10922986 w 12045155"/>
                  <a:gd name="connsiteY20" fmla="*/ 1782194 h 2112232"/>
                  <a:gd name="connsiteX21" fmla="*/ 11481826 w 12045155"/>
                  <a:gd name="connsiteY21" fmla="*/ 1127088 h 2112232"/>
                  <a:gd name="connsiteX22" fmla="*/ 12045155 w 12045155"/>
                  <a:gd name="connsiteY22" fmla="*/ 699393 h 2112232"/>
                  <a:gd name="connsiteX23" fmla="*/ 12045155 w 12045155"/>
                  <a:gd name="connsiteY23" fmla="*/ 261011 h 2112232"/>
                  <a:gd name="connsiteX24" fmla="*/ 11438839 w 12045155"/>
                  <a:gd name="connsiteY24" fmla="*/ 435586 h 2112232"/>
                  <a:gd name="connsiteX25" fmla="*/ 8450223 w 12045155"/>
                  <a:gd name="connsiteY25" fmla="*/ 156695 h 2112232"/>
                  <a:gd name="connsiteX26" fmla="*/ 7635927 w 12045155"/>
                  <a:gd name="connsiteY26" fmla="*/ 105714 h 2112232"/>
                  <a:gd name="connsiteX27" fmla="*/ 7049636 w 12045155"/>
                  <a:gd name="connsiteY27" fmla="*/ 199189 h 2112232"/>
                  <a:gd name="connsiteX28" fmla="*/ 6342549 w 12045155"/>
                  <a:gd name="connsiteY28" fmla="*/ 146630 h 2112232"/>
                  <a:gd name="connsiteX29" fmla="*/ 5902209 w 12045155"/>
                  <a:gd name="connsiteY29" fmla="*/ 249658 h 2112232"/>
                  <a:gd name="connsiteX30" fmla="*/ 5182195 w 12045155"/>
                  <a:gd name="connsiteY30" fmla="*/ 292664 h 2112232"/>
                  <a:gd name="connsiteX31" fmla="*/ 3822487 w 12045155"/>
                  <a:gd name="connsiteY31" fmla="*/ 90799 h 2112232"/>
                  <a:gd name="connsiteX32" fmla="*/ 2370177 w 12045155"/>
                  <a:gd name="connsiteY32" fmla="*/ 156695 h 2112232"/>
                  <a:gd name="connsiteX33" fmla="*/ 578745 w 12045155"/>
                  <a:gd name="connsiteY33" fmla="*/ 148189 h 2112232"/>
                  <a:gd name="connsiteX34" fmla="*/ 38923 w 12045155"/>
                  <a:gd name="connsiteY34" fmla="*/ 157240 h 2112232"/>
                  <a:gd name="connsiteX0" fmla="*/ 38923 w 12045155"/>
                  <a:gd name="connsiteY0" fmla="*/ 157240 h 2112232"/>
                  <a:gd name="connsiteX1" fmla="*/ 4765 w 12045155"/>
                  <a:gd name="connsiteY1" fmla="*/ 229969 h 2112232"/>
                  <a:gd name="connsiteX2" fmla="*/ 16985 w 12045155"/>
                  <a:gd name="connsiteY2" fmla="*/ 441204 h 2112232"/>
                  <a:gd name="connsiteX3" fmla="*/ 31647 w 12045155"/>
                  <a:gd name="connsiteY3" fmla="*/ 700450 h 2112232"/>
                  <a:gd name="connsiteX4" fmla="*/ 43864 w 12045155"/>
                  <a:gd name="connsiteY4" fmla="*/ 777266 h 2112232"/>
                  <a:gd name="connsiteX5" fmla="*/ 80207 w 12045155"/>
                  <a:gd name="connsiteY5" fmla="*/ 937416 h 2112232"/>
                  <a:gd name="connsiteX6" fmla="*/ 937008 w 12045155"/>
                  <a:gd name="connsiteY6" fmla="*/ 844973 h 2112232"/>
                  <a:gd name="connsiteX7" fmla="*/ 1631867 w 12045155"/>
                  <a:gd name="connsiteY7" fmla="*/ 878961 h 2112232"/>
                  <a:gd name="connsiteX8" fmla="*/ 2087877 w 12045155"/>
                  <a:gd name="connsiteY8" fmla="*/ 819473 h 2112232"/>
                  <a:gd name="connsiteX9" fmla="*/ 2565599 w 12045155"/>
                  <a:gd name="connsiteY9" fmla="*/ 819473 h 2112232"/>
                  <a:gd name="connsiteX10" fmla="*/ 3336468 w 12045155"/>
                  <a:gd name="connsiteY10" fmla="*/ 861967 h 2112232"/>
                  <a:gd name="connsiteX11" fmla="*/ 4215904 w 12045155"/>
                  <a:gd name="connsiteY11" fmla="*/ 844973 h 2112232"/>
                  <a:gd name="connsiteX12" fmla="*/ 4845622 w 12045155"/>
                  <a:gd name="connsiteY12" fmla="*/ 853479 h 2112232"/>
                  <a:gd name="connsiteX13" fmla="*/ 5681632 w 12045155"/>
                  <a:gd name="connsiteY13" fmla="*/ 853479 h 2112232"/>
                  <a:gd name="connsiteX14" fmla="*/ 6745645 w 12045155"/>
                  <a:gd name="connsiteY14" fmla="*/ 878979 h 2112232"/>
                  <a:gd name="connsiteX15" fmla="*/ 7494800 w 12045155"/>
                  <a:gd name="connsiteY15" fmla="*/ 870473 h 2112232"/>
                  <a:gd name="connsiteX16" fmla="*/ 8026795 w 12045155"/>
                  <a:gd name="connsiteY16" fmla="*/ 861967 h 2112232"/>
                  <a:gd name="connsiteX17" fmla="*/ 8504518 w 12045155"/>
                  <a:gd name="connsiteY17" fmla="*/ 827979 h 2112232"/>
                  <a:gd name="connsiteX18" fmla="*/ 9490064 w 12045155"/>
                  <a:gd name="connsiteY18" fmla="*/ 1654810 h 2112232"/>
                  <a:gd name="connsiteX19" fmla="*/ 10177867 w 12045155"/>
                  <a:gd name="connsiteY19" fmla="*/ 2109744 h 2112232"/>
                  <a:gd name="connsiteX20" fmla="*/ 10922986 w 12045155"/>
                  <a:gd name="connsiteY20" fmla="*/ 1782194 h 2112232"/>
                  <a:gd name="connsiteX21" fmla="*/ 11481826 w 12045155"/>
                  <a:gd name="connsiteY21" fmla="*/ 1127088 h 2112232"/>
                  <a:gd name="connsiteX22" fmla="*/ 12045155 w 12045155"/>
                  <a:gd name="connsiteY22" fmla="*/ 699393 h 2112232"/>
                  <a:gd name="connsiteX23" fmla="*/ 12045155 w 12045155"/>
                  <a:gd name="connsiteY23" fmla="*/ 261011 h 2112232"/>
                  <a:gd name="connsiteX24" fmla="*/ 11438839 w 12045155"/>
                  <a:gd name="connsiteY24" fmla="*/ 435586 h 2112232"/>
                  <a:gd name="connsiteX25" fmla="*/ 9053022 w 12045155"/>
                  <a:gd name="connsiteY25" fmla="*/ 581165 h 2112232"/>
                  <a:gd name="connsiteX26" fmla="*/ 8450223 w 12045155"/>
                  <a:gd name="connsiteY26" fmla="*/ 156695 h 2112232"/>
                  <a:gd name="connsiteX27" fmla="*/ 7635927 w 12045155"/>
                  <a:gd name="connsiteY27" fmla="*/ 105714 h 2112232"/>
                  <a:gd name="connsiteX28" fmla="*/ 7049636 w 12045155"/>
                  <a:gd name="connsiteY28" fmla="*/ 199189 h 2112232"/>
                  <a:gd name="connsiteX29" fmla="*/ 6342549 w 12045155"/>
                  <a:gd name="connsiteY29" fmla="*/ 146630 h 2112232"/>
                  <a:gd name="connsiteX30" fmla="*/ 5902209 w 12045155"/>
                  <a:gd name="connsiteY30" fmla="*/ 249658 h 2112232"/>
                  <a:gd name="connsiteX31" fmla="*/ 5182195 w 12045155"/>
                  <a:gd name="connsiteY31" fmla="*/ 292664 h 2112232"/>
                  <a:gd name="connsiteX32" fmla="*/ 3822487 w 12045155"/>
                  <a:gd name="connsiteY32" fmla="*/ 90799 h 2112232"/>
                  <a:gd name="connsiteX33" fmla="*/ 2370177 w 12045155"/>
                  <a:gd name="connsiteY33" fmla="*/ 156695 h 2112232"/>
                  <a:gd name="connsiteX34" fmla="*/ 578745 w 12045155"/>
                  <a:gd name="connsiteY34" fmla="*/ 148189 h 2112232"/>
                  <a:gd name="connsiteX35" fmla="*/ 38923 w 12045155"/>
                  <a:gd name="connsiteY35" fmla="*/ 157240 h 2112232"/>
                  <a:gd name="connsiteX0" fmla="*/ 38923 w 12045155"/>
                  <a:gd name="connsiteY0" fmla="*/ 157240 h 2112232"/>
                  <a:gd name="connsiteX1" fmla="*/ 4765 w 12045155"/>
                  <a:gd name="connsiteY1" fmla="*/ 229969 h 2112232"/>
                  <a:gd name="connsiteX2" fmla="*/ 16985 w 12045155"/>
                  <a:gd name="connsiteY2" fmla="*/ 441204 h 2112232"/>
                  <a:gd name="connsiteX3" fmla="*/ 31647 w 12045155"/>
                  <a:gd name="connsiteY3" fmla="*/ 700450 h 2112232"/>
                  <a:gd name="connsiteX4" fmla="*/ 43864 w 12045155"/>
                  <a:gd name="connsiteY4" fmla="*/ 777266 h 2112232"/>
                  <a:gd name="connsiteX5" fmla="*/ 80207 w 12045155"/>
                  <a:gd name="connsiteY5" fmla="*/ 937416 h 2112232"/>
                  <a:gd name="connsiteX6" fmla="*/ 937008 w 12045155"/>
                  <a:gd name="connsiteY6" fmla="*/ 844973 h 2112232"/>
                  <a:gd name="connsiteX7" fmla="*/ 1631867 w 12045155"/>
                  <a:gd name="connsiteY7" fmla="*/ 878961 h 2112232"/>
                  <a:gd name="connsiteX8" fmla="*/ 2087877 w 12045155"/>
                  <a:gd name="connsiteY8" fmla="*/ 819473 h 2112232"/>
                  <a:gd name="connsiteX9" fmla="*/ 2565599 w 12045155"/>
                  <a:gd name="connsiteY9" fmla="*/ 819473 h 2112232"/>
                  <a:gd name="connsiteX10" fmla="*/ 3336468 w 12045155"/>
                  <a:gd name="connsiteY10" fmla="*/ 861967 h 2112232"/>
                  <a:gd name="connsiteX11" fmla="*/ 4215904 w 12045155"/>
                  <a:gd name="connsiteY11" fmla="*/ 844973 h 2112232"/>
                  <a:gd name="connsiteX12" fmla="*/ 4845622 w 12045155"/>
                  <a:gd name="connsiteY12" fmla="*/ 853479 h 2112232"/>
                  <a:gd name="connsiteX13" fmla="*/ 5681632 w 12045155"/>
                  <a:gd name="connsiteY13" fmla="*/ 853479 h 2112232"/>
                  <a:gd name="connsiteX14" fmla="*/ 6745645 w 12045155"/>
                  <a:gd name="connsiteY14" fmla="*/ 878979 h 2112232"/>
                  <a:gd name="connsiteX15" fmla="*/ 7494800 w 12045155"/>
                  <a:gd name="connsiteY15" fmla="*/ 870473 h 2112232"/>
                  <a:gd name="connsiteX16" fmla="*/ 8026795 w 12045155"/>
                  <a:gd name="connsiteY16" fmla="*/ 861967 h 2112232"/>
                  <a:gd name="connsiteX17" fmla="*/ 8504518 w 12045155"/>
                  <a:gd name="connsiteY17" fmla="*/ 827979 h 2112232"/>
                  <a:gd name="connsiteX18" fmla="*/ 9490064 w 12045155"/>
                  <a:gd name="connsiteY18" fmla="*/ 1654810 h 2112232"/>
                  <a:gd name="connsiteX19" fmla="*/ 10177867 w 12045155"/>
                  <a:gd name="connsiteY19" fmla="*/ 2109744 h 2112232"/>
                  <a:gd name="connsiteX20" fmla="*/ 10922986 w 12045155"/>
                  <a:gd name="connsiteY20" fmla="*/ 1782194 h 2112232"/>
                  <a:gd name="connsiteX21" fmla="*/ 11481826 w 12045155"/>
                  <a:gd name="connsiteY21" fmla="*/ 1127088 h 2112232"/>
                  <a:gd name="connsiteX22" fmla="*/ 12045155 w 12045155"/>
                  <a:gd name="connsiteY22" fmla="*/ 699393 h 2112232"/>
                  <a:gd name="connsiteX23" fmla="*/ 12045155 w 12045155"/>
                  <a:gd name="connsiteY23" fmla="*/ 261011 h 2112232"/>
                  <a:gd name="connsiteX24" fmla="*/ 11438839 w 12045155"/>
                  <a:gd name="connsiteY24" fmla="*/ 435586 h 2112232"/>
                  <a:gd name="connsiteX25" fmla="*/ 9527677 w 12045155"/>
                  <a:gd name="connsiteY25" fmla="*/ 1058846 h 2112232"/>
                  <a:gd name="connsiteX26" fmla="*/ 9053022 w 12045155"/>
                  <a:gd name="connsiteY26" fmla="*/ 581165 h 2112232"/>
                  <a:gd name="connsiteX27" fmla="*/ 8450223 w 12045155"/>
                  <a:gd name="connsiteY27" fmla="*/ 156695 h 2112232"/>
                  <a:gd name="connsiteX28" fmla="*/ 7635927 w 12045155"/>
                  <a:gd name="connsiteY28" fmla="*/ 105714 h 2112232"/>
                  <a:gd name="connsiteX29" fmla="*/ 7049636 w 12045155"/>
                  <a:gd name="connsiteY29" fmla="*/ 199189 h 2112232"/>
                  <a:gd name="connsiteX30" fmla="*/ 6342549 w 12045155"/>
                  <a:gd name="connsiteY30" fmla="*/ 146630 h 2112232"/>
                  <a:gd name="connsiteX31" fmla="*/ 5902209 w 12045155"/>
                  <a:gd name="connsiteY31" fmla="*/ 249658 h 2112232"/>
                  <a:gd name="connsiteX32" fmla="*/ 5182195 w 12045155"/>
                  <a:gd name="connsiteY32" fmla="*/ 292664 h 2112232"/>
                  <a:gd name="connsiteX33" fmla="*/ 3822487 w 12045155"/>
                  <a:gd name="connsiteY33" fmla="*/ 90799 h 2112232"/>
                  <a:gd name="connsiteX34" fmla="*/ 2370177 w 12045155"/>
                  <a:gd name="connsiteY34" fmla="*/ 156695 h 2112232"/>
                  <a:gd name="connsiteX35" fmla="*/ 578745 w 12045155"/>
                  <a:gd name="connsiteY35" fmla="*/ 148189 h 2112232"/>
                  <a:gd name="connsiteX36" fmla="*/ 38923 w 12045155"/>
                  <a:gd name="connsiteY36" fmla="*/ 157240 h 2112232"/>
                  <a:gd name="connsiteX0" fmla="*/ 38923 w 12045155"/>
                  <a:gd name="connsiteY0" fmla="*/ 157240 h 2112232"/>
                  <a:gd name="connsiteX1" fmla="*/ 4765 w 12045155"/>
                  <a:gd name="connsiteY1" fmla="*/ 229969 h 2112232"/>
                  <a:gd name="connsiteX2" fmla="*/ 16985 w 12045155"/>
                  <a:gd name="connsiteY2" fmla="*/ 441204 h 2112232"/>
                  <a:gd name="connsiteX3" fmla="*/ 31647 w 12045155"/>
                  <a:gd name="connsiteY3" fmla="*/ 700450 h 2112232"/>
                  <a:gd name="connsiteX4" fmla="*/ 43864 w 12045155"/>
                  <a:gd name="connsiteY4" fmla="*/ 777266 h 2112232"/>
                  <a:gd name="connsiteX5" fmla="*/ 80207 w 12045155"/>
                  <a:gd name="connsiteY5" fmla="*/ 937416 h 2112232"/>
                  <a:gd name="connsiteX6" fmla="*/ 937008 w 12045155"/>
                  <a:gd name="connsiteY6" fmla="*/ 844973 h 2112232"/>
                  <a:gd name="connsiteX7" fmla="*/ 1631867 w 12045155"/>
                  <a:gd name="connsiteY7" fmla="*/ 878961 h 2112232"/>
                  <a:gd name="connsiteX8" fmla="*/ 2087877 w 12045155"/>
                  <a:gd name="connsiteY8" fmla="*/ 819473 h 2112232"/>
                  <a:gd name="connsiteX9" fmla="*/ 2565599 w 12045155"/>
                  <a:gd name="connsiteY9" fmla="*/ 819473 h 2112232"/>
                  <a:gd name="connsiteX10" fmla="*/ 3336468 w 12045155"/>
                  <a:gd name="connsiteY10" fmla="*/ 861967 h 2112232"/>
                  <a:gd name="connsiteX11" fmla="*/ 4215904 w 12045155"/>
                  <a:gd name="connsiteY11" fmla="*/ 844973 h 2112232"/>
                  <a:gd name="connsiteX12" fmla="*/ 4845622 w 12045155"/>
                  <a:gd name="connsiteY12" fmla="*/ 853479 h 2112232"/>
                  <a:gd name="connsiteX13" fmla="*/ 5681632 w 12045155"/>
                  <a:gd name="connsiteY13" fmla="*/ 853479 h 2112232"/>
                  <a:gd name="connsiteX14" fmla="*/ 6745645 w 12045155"/>
                  <a:gd name="connsiteY14" fmla="*/ 878979 h 2112232"/>
                  <a:gd name="connsiteX15" fmla="*/ 7494800 w 12045155"/>
                  <a:gd name="connsiteY15" fmla="*/ 870473 h 2112232"/>
                  <a:gd name="connsiteX16" fmla="*/ 8026795 w 12045155"/>
                  <a:gd name="connsiteY16" fmla="*/ 861967 h 2112232"/>
                  <a:gd name="connsiteX17" fmla="*/ 8504518 w 12045155"/>
                  <a:gd name="connsiteY17" fmla="*/ 827979 h 2112232"/>
                  <a:gd name="connsiteX18" fmla="*/ 9490064 w 12045155"/>
                  <a:gd name="connsiteY18" fmla="*/ 1654810 h 2112232"/>
                  <a:gd name="connsiteX19" fmla="*/ 10177867 w 12045155"/>
                  <a:gd name="connsiteY19" fmla="*/ 2109744 h 2112232"/>
                  <a:gd name="connsiteX20" fmla="*/ 10922986 w 12045155"/>
                  <a:gd name="connsiteY20" fmla="*/ 1782194 h 2112232"/>
                  <a:gd name="connsiteX21" fmla="*/ 11481826 w 12045155"/>
                  <a:gd name="connsiteY21" fmla="*/ 1127088 h 2112232"/>
                  <a:gd name="connsiteX22" fmla="*/ 12045155 w 12045155"/>
                  <a:gd name="connsiteY22" fmla="*/ 699393 h 2112232"/>
                  <a:gd name="connsiteX23" fmla="*/ 12045155 w 12045155"/>
                  <a:gd name="connsiteY23" fmla="*/ 261011 h 2112232"/>
                  <a:gd name="connsiteX24" fmla="*/ 11438839 w 12045155"/>
                  <a:gd name="connsiteY24" fmla="*/ 435586 h 2112232"/>
                  <a:gd name="connsiteX25" fmla="*/ 11059114 w 12045155"/>
                  <a:gd name="connsiteY25" fmla="*/ 1047471 h 2112232"/>
                  <a:gd name="connsiteX26" fmla="*/ 9527677 w 12045155"/>
                  <a:gd name="connsiteY26" fmla="*/ 1058846 h 2112232"/>
                  <a:gd name="connsiteX27" fmla="*/ 9053022 w 12045155"/>
                  <a:gd name="connsiteY27" fmla="*/ 581165 h 2112232"/>
                  <a:gd name="connsiteX28" fmla="*/ 8450223 w 12045155"/>
                  <a:gd name="connsiteY28" fmla="*/ 156695 h 2112232"/>
                  <a:gd name="connsiteX29" fmla="*/ 7635927 w 12045155"/>
                  <a:gd name="connsiteY29" fmla="*/ 105714 h 2112232"/>
                  <a:gd name="connsiteX30" fmla="*/ 7049636 w 12045155"/>
                  <a:gd name="connsiteY30" fmla="*/ 199189 h 2112232"/>
                  <a:gd name="connsiteX31" fmla="*/ 6342549 w 12045155"/>
                  <a:gd name="connsiteY31" fmla="*/ 146630 h 2112232"/>
                  <a:gd name="connsiteX32" fmla="*/ 5902209 w 12045155"/>
                  <a:gd name="connsiteY32" fmla="*/ 249658 h 2112232"/>
                  <a:gd name="connsiteX33" fmla="*/ 5182195 w 12045155"/>
                  <a:gd name="connsiteY33" fmla="*/ 292664 h 2112232"/>
                  <a:gd name="connsiteX34" fmla="*/ 3822487 w 12045155"/>
                  <a:gd name="connsiteY34" fmla="*/ 90799 h 2112232"/>
                  <a:gd name="connsiteX35" fmla="*/ 2370177 w 12045155"/>
                  <a:gd name="connsiteY35" fmla="*/ 156695 h 2112232"/>
                  <a:gd name="connsiteX36" fmla="*/ 578745 w 12045155"/>
                  <a:gd name="connsiteY36" fmla="*/ 148189 h 2112232"/>
                  <a:gd name="connsiteX37" fmla="*/ 38923 w 12045155"/>
                  <a:gd name="connsiteY37" fmla="*/ 157240 h 2112232"/>
                  <a:gd name="connsiteX0" fmla="*/ 38923 w 12045155"/>
                  <a:gd name="connsiteY0" fmla="*/ 157240 h 2112232"/>
                  <a:gd name="connsiteX1" fmla="*/ 4765 w 12045155"/>
                  <a:gd name="connsiteY1" fmla="*/ 229969 h 2112232"/>
                  <a:gd name="connsiteX2" fmla="*/ 16985 w 12045155"/>
                  <a:gd name="connsiteY2" fmla="*/ 441204 h 2112232"/>
                  <a:gd name="connsiteX3" fmla="*/ 31647 w 12045155"/>
                  <a:gd name="connsiteY3" fmla="*/ 700450 h 2112232"/>
                  <a:gd name="connsiteX4" fmla="*/ 43864 w 12045155"/>
                  <a:gd name="connsiteY4" fmla="*/ 777266 h 2112232"/>
                  <a:gd name="connsiteX5" fmla="*/ 80207 w 12045155"/>
                  <a:gd name="connsiteY5" fmla="*/ 937416 h 2112232"/>
                  <a:gd name="connsiteX6" fmla="*/ 937008 w 12045155"/>
                  <a:gd name="connsiteY6" fmla="*/ 844973 h 2112232"/>
                  <a:gd name="connsiteX7" fmla="*/ 1631867 w 12045155"/>
                  <a:gd name="connsiteY7" fmla="*/ 878961 h 2112232"/>
                  <a:gd name="connsiteX8" fmla="*/ 2087877 w 12045155"/>
                  <a:gd name="connsiteY8" fmla="*/ 819473 h 2112232"/>
                  <a:gd name="connsiteX9" fmla="*/ 2565599 w 12045155"/>
                  <a:gd name="connsiteY9" fmla="*/ 819473 h 2112232"/>
                  <a:gd name="connsiteX10" fmla="*/ 3336468 w 12045155"/>
                  <a:gd name="connsiteY10" fmla="*/ 861967 h 2112232"/>
                  <a:gd name="connsiteX11" fmla="*/ 4215904 w 12045155"/>
                  <a:gd name="connsiteY11" fmla="*/ 844973 h 2112232"/>
                  <a:gd name="connsiteX12" fmla="*/ 4845622 w 12045155"/>
                  <a:gd name="connsiteY12" fmla="*/ 853479 h 2112232"/>
                  <a:gd name="connsiteX13" fmla="*/ 5681632 w 12045155"/>
                  <a:gd name="connsiteY13" fmla="*/ 853479 h 2112232"/>
                  <a:gd name="connsiteX14" fmla="*/ 6745645 w 12045155"/>
                  <a:gd name="connsiteY14" fmla="*/ 878979 h 2112232"/>
                  <a:gd name="connsiteX15" fmla="*/ 7494800 w 12045155"/>
                  <a:gd name="connsiteY15" fmla="*/ 870473 h 2112232"/>
                  <a:gd name="connsiteX16" fmla="*/ 8026795 w 12045155"/>
                  <a:gd name="connsiteY16" fmla="*/ 861967 h 2112232"/>
                  <a:gd name="connsiteX17" fmla="*/ 8504518 w 12045155"/>
                  <a:gd name="connsiteY17" fmla="*/ 827979 h 2112232"/>
                  <a:gd name="connsiteX18" fmla="*/ 9490064 w 12045155"/>
                  <a:gd name="connsiteY18" fmla="*/ 1654810 h 2112232"/>
                  <a:gd name="connsiteX19" fmla="*/ 10177867 w 12045155"/>
                  <a:gd name="connsiteY19" fmla="*/ 2109744 h 2112232"/>
                  <a:gd name="connsiteX20" fmla="*/ 10922986 w 12045155"/>
                  <a:gd name="connsiteY20" fmla="*/ 1782194 h 2112232"/>
                  <a:gd name="connsiteX21" fmla="*/ 11481826 w 12045155"/>
                  <a:gd name="connsiteY21" fmla="*/ 1127088 h 2112232"/>
                  <a:gd name="connsiteX22" fmla="*/ 12045155 w 12045155"/>
                  <a:gd name="connsiteY22" fmla="*/ 699393 h 2112232"/>
                  <a:gd name="connsiteX23" fmla="*/ 12045155 w 12045155"/>
                  <a:gd name="connsiteY23" fmla="*/ 261011 h 2112232"/>
                  <a:gd name="connsiteX24" fmla="*/ 11438839 w 12045155"/>
                  <a:gd name="connsiteY24" fmla="*/ 435586 h 2112232"/>
                  <a:gd name="connsiteX25" fmla="*/ 11059114 w 12045155"/>
                  <a:gd name="connsiteY25" fmla="*/ 1047471 h 2112232"/>
                  <a:gd name="connsiteX26" fmla="*/ 10602369 w 12045155"/>
                  <a:gd name="connsiteY26" fmla="*/ 1661632 h 2112232"/>
                  <a:gd name="connsiteX27" fmla="*/ 9527677 w 12045155"/>
                  <a:gd name="connsiteY27" fmla="*/ 1058846 h 2112232"/>
                  <a:gd name="connsiteX28" fmla="*/ 9053022 w 12045155"/>
                  <a:gd name="connsiteY28" fmla="*/ 581165 h 2112232"/>
                  <a:gd name="connsiteX29" fmla="*/ 8450223 w 12045155"/>
                  <a:gd name="connsiteY29" fmla="*/ 156695 h 2112232"/>
                  <a:gd name="connsiteX30" fmla="*/ 7635927 w 12045155"/>
                  <a:gd name="connsiteY30" fmla="*/ 105714 h 2112232"/>
                  <a:gd name="connsiteX31" fmla="*/ 7049636 w 12045155"/>
                  <a:gd name="connsiteY31" fmla="*/ 199189 h 2112232"/>
                  <a:gd name="connsiteX32" fmla="*/ 6342549 w 12045155"/>
                  <a:gd name="connsiteY32" fmla="*/ 146630 h 2112232"/>
                  <a:gd name="connsiteX33" fmla="*/ 5902209 w 12045155"/>
                  <a:gd name="connsiteY33" fmla="*/ 249658 h 2112232"/>
                  <a:gd name="connsiteX34" fmla="*/ 5182195 w 12045155"/>
                  <a:gd name="connsiteY34" fmla="*/ 292664 h 2112232"/>
                  <a:gd name="connsiteX35" fmla="*/ 3822487 w 12045155"/>
                  <a:gd name="connsiteY35" fmla="*/ 90799 h 2112232"/>
                  <a:gd name="connsiteX36" fmla="*/ 2370177 w 12045155"/>
                  <a:gd name="connsiteY36" fmla="*/ 156695 h 2112232"/>
                  <a:gd name="connsiteX37" fmla="*/ 578745 w 12045155"/>
                  <a:gd name="connsiteY37" fmla="*/ 148189 h 2112232"/>
                  <a:gd name="connsiteX38" fmla="*/ 38923 w 12045155"/>
                  <a:gd name="connsiteY38" fmla="*/ 157240 h 2112232"/>
                  <a:gd name="connsiteX0" fmla="*/ 38923 w 12045155"/>
                  <a:gd name="connsiteY0" fmla="*/ 157240 h 2112232"/>
                  <a:gd name="connsiteX1" fmla="*/ 4765 w 12045155"/>
                  <a:gd name="connsiteY1" fmla="*/ 229969 h 2112232"/>
                  <a:gd name="connsiteX2" fmla="*/ 16985 w 12045155"/>
                  <a:gd name="connsiteY2" fmla="*/ 441204 h 2112232"/>
                  <a:gd name="connsiteX3" fmla="*/ 31647 w 12045155"/>
                  <a:gd name="connsiteY3" fmla="*/ 700450 h 2112232"/>
                  <a:gd name="connsiteX4" fmla="*/ 43864 w 12045155"/>
                  <a:gd name="connsiteY4" fmla="*/ 777266 h 2112232"/>
                  <a:gd name="connsiteX5" fmla="*/ 80207 w 12045155"/>
                  <a:gd name="connsiteY5" fmla="*/ 937416 h 2112232"/>
                  <a:gd name="connsiteX6" fmla="*/ 937008 w 12045155"/>
                  <a:gd name="connsiteY6" fmla="*/ 844973 h 2112232"/>
                  <a:gd name="connsiteX7" fmla="*/ 1631867 w 12045155"/>
                  <a:gd name="connsiteY7" fmla="*/ 878961 h 2112232"/>
                  <a:gd name="connsiteX8" fmla="*/ 2087877 w 12045155"/>
                  <a:gd name="connsiteY8" fmla="*/ 819473 h 2112232"/>
                  <a:gd name="connsiteX9" fmla="*/ 2565599 w 12045155"/>
                  <a:gd name="connsiteY9" fmla="*/ 819473 h 2112232"/>
                  <a:gd name="connsiteX10" fmla="*/ 3336468 w 12045155"/>
                  <a:gd name="connsiteY10" fmla="*/ 861967 h 2112232"/>
                  <a:gd name="connsiteX11" fmla="*/ 4215904 w 12045155"/>
                  <a:gd name="connsiteY11" fmla="*/ 844973 h 2112232"/>
                  <a:gd name="connsiteX12" fmla="*/ 4845622 w 12045155"/>
                  <a:gd name="connsiteY12" fmla="*/ 853479 h 2112232"/>
                  <a:gd name="connsiteX13" fmla="*/ 5681632 w 12045155"/>
                  <a:gd name="connsiteY13" fmla="*/ 853479 h 2112232"/>
                  <a:gd name="connsiteX14" fmla="*/ 6745645 w 12045155"/>
                  <a:gd name="connsiteY14" fmla="*/ 878979 h 2112232"/>
                  <a:gd name="connsiteX15" fmla="*/ 7494800 w 12045155"/>
                  <a:gd name="connsiteY15" fmla="*/ 870473 h 2112232"/>
                  <a:gd name="connsiteX16" fmla="*/ 8026795 w 12045155"/>
                  <a:gd name="connsiteY16" fmla="*/ 861967 h 2112232"/>
                  <a:gd name="connsiteX17" fmla="*/ 8504518 w 12045155"/>
                  <a:gd name="connsiteY17" fmla="*/ 827979 h 2112232"/>
                  <a:gd name="connsiteX18" fmla="*/ 9490064 w 12045155"/>
                  <a:gd name="connsiteY18" fmla="*/ 1654810 h 2112232"/>
                  <a:gd name="connsiteX19" fmla="*/ 10177867 w 12045155"/>
                  <a:gd name="connsiteY19" fmla="*/ 2109744 h 2112232"/>
                  <a:gd name="connsiteX20" fmla="*/ 10922986 w 12045155"/>
                  <a:gd name="connsiteY20" fmla="*/ 1782194 h 2112232"/>
                  <a:gd name="connsiteX21" fmla="*/ 11481826 w 12045155"/>
                  <a:gd name="connsiteY21" fmla="*/ 1127088 h 2112232"/>
                  <a:gd name="connsiteX22" fmla="*/ 12045155 w 12045155"/>
                  <a:gd name="connsiteY22" fmla="*/ 699393 h 2112232"/>
                  <a:gd name="connsiteX23" fmla="*/ 12045155 w 12045155"/>
                  <a:gd name="connsiteY23" fmla="*/ 261011 h 2112232"/>
                  <a:gd name="connsiteX24" fmla="*/ 11438839 w 12045155"/>
                  <a:gd name="connsiteY24" fmla="*/ 435586 h 2112232"/>
                  <a:gd name="connsiteX25" fmla="*/ 11059114 w 12045155"/>
                  <a:gd name="connsiteY25" fmla="*/ 1047471 h 2112232"/>
                  <a:gd name="connsiteX26" fmla="*/ 10602369 w 12045155"/>
                  <a:gd name="connsiteY26" fmla="*/ 1661632 h 2112232"/>
                  <a:gd name="connsiteX27" fmla="*/ 9948599 w 12045155"/>
                  <a:gd name="connsiteY27" fmla="*/ 1673007 h 2112232"/>
                  <a:gd name="connsiteX28" fmla="*/ 9527677 w 12045155"/>
                  <a:gd name="connsiteY28" fmla="*/ 1058846 h 2112232"/>
                  <a:gd name="connsiteX29" fmla="*/ 9053022 w 12045155"/>
                  <a:gd name="connsiteY29" fmla="*/ 581165 h 2112232"/>
                  <a:gd name="connsiteX30" fmla="*/ 8450223 w 12045155"/>
                  <a:gd name="connsiteY30" fmla="*/ 156695 h 2112232"/>
                  <a:gd name="connsiteX31" fmla="*/ 7635927 w 12045155"/>
                  <a:gd name="connsiteY31" fmla="*/ 105714 h 2112232"/>
                  <a:gd name="connsiteX32" fmla="*/ 7049636 w 12045155"/>
                  <a:gd name="connsiteY32" fmla="*/ 199189 h 2112232"/>
                  <a:gd name="connsiteX33" fmla="*/ 6342549 w 12045155"/>
                  <a:gd name="connsiteY33" fmla="*/ 146630 h 2112232"/>
                  <a:gd name="connsiteX34" fmla="*/ 5902209 w 12045155"/>
                  <a:gd name="connsiteY34" fmla="*/ 249658 h 2112232"/>
                  <a:gd name="connsiteX35" fmla="*/ 5182195 w 12045155"/>
                  <a:gd name="connsiteY35" fmla="*/ 292664 h 2112232"/>
                  <a:gd name="connsiteX36" fmla="*/ 3822487 w 12045155"/>
                  <a:gd name="connsiteY36" fmla="*/ 90799 h 2112232"/>
                  <a:gd name="connsiteX37" fmla="*/ 2370177 w 12045155"/>
                  <a:gd name="connsiteY37" fmla="*/ 156695 h 2112232"/>
                  <a:gd name="connsiteX38" fmla="*/ 578745 w 12045155"/>
                  <a:gd name="connsiteY38" fmla="*/ 148189 h 2112232"/>
                  <a:gd name="connsiteX39" fmla="*/ 38923 w 12045155"/>
                  <a:gd name="connsiteY39" fmla="*/ 157240 h 2112232"/>
                  <a:gd name="connsiteX0" fmla="*/ 38923 w 12045155"/>
                  <a:gd name="connsiteY0" fmla="*/ 157240 h 2112232"/>
                  <a:gd name="connsiteX1" fmla="*/ 4765 w 12045155"/>
                  <a:gd name="connsiteY1" fmla="*/ 229969 h 2112232"/>
                  <a:gd name="connsiteX2" fmla="*/ 16985 w 12045155"/>
                  <a:gd name="connsiteY2" fmla="*/ 441204 h 2112232"/>
                  <a:gd name="connsiteX3" fmla="*/ 31647 w 12045155"/>
                  <a:gd name="connsiteY3" fmla="*/ 700450 h 2112232"/>
                  <a:gd name="connsiteX4" fmla="*/ 43864 w 12045155"/>
                  <a:gd name="connsiteY4" fmla="*/ 777266 h 2112232"/>
                  <a:gd name="connsiteX5" fmla="*/ 80207 w 12045155"/>
                  <a:gd name="connsiteY5" fmla="*/ 937416 h 2112232"/>
                  <a:gd name="connsiteX6" fmla="*/ 937008 w 12045155"/>
                  <a:gd name="connsiteY6" fmla="*/ 844973 h 2112232"/>
                  <a:gd name="connsiteX7" fmla="*/ 1631867 w 12045155"/>
                  <a:gd name="connsiteY7" fmla="*/ 878961 h 2112232"/>
                  <a:gd name="connsiteX8" fmla="*/ 2087877 w 12045155"/>
                  <a:gd name="connsiteY8" fmla="*/ 819473 h 2112232"/>
                  <a:gd name="connsiteX9" fmla="*/ 2565599 w 12045155"/>
                  <a:gd name="connsiteY9" fmla="*/ 819473 h 2112232"/>
                  <a:gd name="connsiteX10" fmla="*/ 3336468 w 12045155"/>
                  <a:gd name="connsiteY10" fmla="*/ 861967 h 2112232"/>
                  <a:gd name="connsiteX11" fmla="*/ 4215904 w 12045155"/>
                  <a:gd name="connsiteY11" fmla="*/ 844973 h 2112232"/>
                  <a:gd name="connsiteX12" fmla="*/ 4845622 w 12045155"/>
                  <a:gd name="connsiteY12" fmla="*/ 853479 h 2112232"/>
                  <a:gd name="connsiteX13" fmla="*/ 5681632 w 12045155"/>
                  <a:gd name="connsiteY13" fmla="*/ 853479 h 2112232"/>
                  <a:gd name="connsiteX14" fmla="*/ 6745645 w 12045155"/>
                  <a:gd name="connsiteY14" fmla="*/ 878979 h 2112232"/>
                  <a:gd name="connsiteX15" fmla="*/ 7494800 w 12045155"/>
                  <a:gd name="connsiteY15" fmla="*/ 870473 h 2112232"/>
                  <a:gd name="connsiteX16" fmla="*/ 8026795 w 12045155"/>
                  <a:gd name="connsiteY16" fmla="*/ 861967 h 2112232"/>
                  <a:gd name="connsiteX17" fmla="*/ 8504518 w 12045155"/>
                  <a:gd name="connsiteY17" fmla="*/ 827979 h 2112232"/>
                  <a:gd name="connsiteX18" fmla="*/ 9490064 w 12045155"/>
                  <a:gd name="connsiteY18" fmla="*/ 1654810 h 2112232"/>
                  <a:gd name="connsiteX19" fmla="*/ 10177867 w 12045155"/>
                  <a:gd name="connsiteY19" fmla="*/ 2109744 h 2112232"/>
                  <a:gd name="connsiteX20" fmla="*/ 10922986 w 12045155"/>
                  <a:gd name="connsiteY20" fmla="*/ 1782194 h 2112232"/>
                  <a:gd name="connsiteX21" fmla="*/ 11481826 w 12045155"/>
                  <a:gd name="connsiteY21" fmla="*/ 1127088 h 2112232"/>
                  <a:gd name="connsiteX22" fmla="*/ 12045155 w 12045155"/>
                  <a:gd name="connsiteY22" fmla="*/ 699393 h 2112232"/>
                  <a:gd name="connsiteX23" fmla="*/ 12045155 w 12045155"/>
                  <a:gd name="connsiteY23" fmla="*/ 261011 h 2112232"/>
                  <a:gd name="connsiteX24" fmla="*/ 11438839 w 12045155"/>
                  <a:gd name="connsiteY24" fmla="*/ 435586 h 2112232"/>
                  <a:gd name="connsiteX25" fmla="*/ 11059114 w 12045155"/>
                  <a:gd name="connsiteY25" fmla="*/ 1047471 h 2112232"/>
                  <a:gd name="connsiteX26" fmla="*/ 10602369 w 12045155"/>
                  <a:gd name="connsiteY26" fmla="*/ 1661632 h 2112232"/>
                  <a:gd name="connsiteX27" fmla="*/ 10034574 w 12045155"/>
                  <a:gd name="connsiteY27" fmla="*/ 1618415 h 2112232"/>
                  <a:gd name="connsiteX28" fmla="*/ 9527677 w 12045155"/>
                  <a:gd name="connsiteY28" fmla="*/ 1058846 h 2112232"/>
                  <a:gd name="connsiteX29" fmla="*/ 9053022 w 12045155"/>
                  <a:gd name="connsiteY29" fmla="*/ 581165 h 2112232"/>
                  <a:gd name="connsiteX30" fmla="*/ 8450223 w 12045155"/>
                  <a:gd name="connsiteY30" fmla="*/ 156695 h 2112232"/>
                  <a:gd name="connsiteX31" fmla="*/ 7635927 w 12045155"/>
                  <a:gd name="connsiteY31" fmla="*/ 105714 h 2112232"/>
                  <a:gd name="connsiteX32" fmla="*/ 7049636 w 12045155"/>
                  <a:gd name="connsiteY32" fmla="*/ 199189 h 2112232"/>
                  <a:gd name="connsiteX33" fmla="*/ 6342549 w 12045155"/>
                  <a:gd name="connsiteY33" fmla="*/ 146630 h 2112232"/>
                  <a:gd name="connsiteX34" fmla="*/ 5902209 w 12045155"/>
                  <a:gd name="connsiteY34" fmla="*/ 249658 h 2112232"/>
                  <a:gd name="connsiteX35" fmla="*/ 5182195 w 12045155"/>
                  <a:gd name="connsiteY35" fmla="*/ 292664 h 2112232"/>
                  <a:gd name="connsiteX36" fmla="*/ 3822487 w 12045155"/>
                  <a:gd name="connsiteY36" fmla="*/ 90799 h 2112232"/>
                  <a:gd name="connsiteX37" fmla="*/ 2370177 w 12045155"/>
                  <a:gd name="connsiteY37" fmla="*/ 156695 h 2112232"/>
                  <a:gd name="connsiteX38" fmla="*/ 578745 w 12045155"/>
                  <a:gd name="connsiteY38" fmla="*/ 148189 h 2112232"/>
                  <a:gd name="connsiteX39" fmla="*/ 38923 w 12045155"/>
                  <a:gd name="connsiteY39" fmla="*/ 157240 h 2112232"/>
                  <a:gd name="connsiteX0" fmla="*/ 38923 w 12045155"/>
                  <a:gd name="connsiteY0" fmla="*/ 157240 h 2159168"/>
                  <a:gd name="connsiteX1" fmla="*/ 4765 w 12045155"/>
                  <a:gd name="connsiteY1" fmla="*/ 229969 h 2159168"/>
                  <a:gd name="connsiteX2" fmla="*/ 16985 w 12045155"/>
                  <a:gd name="connsiteY2" fmla="*/ 441204 h 2159168"/>
                  <a:gd name="connsiteX3" fmla="*/ 31647 w 12045155"/>
                  <a:gd name="connsiteY3" fmla="*/ 700450 h 2159168"/>
                  <a:gd name="connsiteX4" fmla="*/ 43864 w 12045155"/>
                  <a:gd name="connsiteY4" fmla="*/ 777266 h 2159168"/>
                  <a:gd name="connsiteX5" fmla="*/ 80207 w 12045155"/>
                  <a:gd name="connsiteY5" fmla="*/ 937416 h 2159168"/>
                  <a:gd name="connsiteX6" fmla="*/ 937008 w 12045155"/>
                  <a:gd name="connsiteY6" fmla="*/ 844973 h 2159168"/>
                  <a:gd name="connsiteX7" fmla="*/ 1631867 w 12045155"/>
                  <a:gd name="connsiteY7" fmla="*/ 878961 h 2159168"/>
                  <a:gd name="connsiteX8" fmla="*/ 2087877 w 12045155"/>
                  <a:gd name="connsiteY8" fmla="*/ 819473 h 2159168"/>
                  <a:gd name="connsiteX9" fmla="*/ 2565599 w 12045155"/>
                  <a:gd name="connsiteY9" fmla="*/ 819473 h 2159168"/>
                  <a:gd name="connsiteX10" fmla="*/ 3336468 w 12045155"/>
                  <a:gd name="connsiteY10" fmla="*/ 861967 h 2159168"/>
                  <a:gd name="connsiteX11" fmla="*/ 4215904 w 12045155"/>
                  <a:gd name="connsiteY11" fmla="*/ 844973 h 2159168"/>
                  <a:gd name="connsiteX12" fmla="*/ 4845622 w 12045155"/>
                  <a:gd name="connsiteY12" fmla="*/ 853479 h 2159168"/>
                  <a:gd name="connsiteX13" fmla="*/ 5681632 w 12045155"/>
                  <a:gd name="connsiteY13" fmla="*/ 853479 h 2159168"/>
                  <a:gd name="connsiteX14" fmla="*/ 6745645 w 12045155"/>
                  <a:gd name="connsiteY14" fmla="*/ 878979 h 2159168"/>
                  <a:gd name="connsiteX15" fmla="*/ 7494800 w 12045155"/>
                  <a:gd name="connsiteY15" fmla="*/ 870473 h 2159168"/>
                  <a:gd name="connsiteX16" fmla="*/ 8026795 w 12045155"/>
                  <a:gd name="connsiteY16" fmla="*/ 861967 h 2159168"/>
                  <a:gd name="connsiteX17" fmla="*/ 8504518 w 12045155"/>
                  <a:gd name="connsiteY17" fmla="*/ 827979 h 2159168"/>
                  <a:gd name="connsiteX18" fmla="*/ 9361101 w 12045155"/>
                  <a:gd name="connsiteY18" fmla="*/ 2018757 h 2159168"/>
                  <a:gd name="connsiteX19" fmla="*/ 10177867 w 12045155"/>
                  <a:gd name="connsiteY19" fmla="*/ 2109744 h 2159168"/>
                  <a:gd name="connsiteX20" fmla="*/ 10922986 w 12045155"/>
                  <a:gd name="connsiteY20" fmla="*/ 1782194 h 2159168"/>
                  <a:gd name="connsiteX21" fmla="*/ 11481826 w 12045155"/>
                  <a:gd name="connsiteY21" fmla="*/ 1127088 h 2159168"/>
                  <a:gd name="connsiteX22" fmla="*/ 12045155 w 12045155"/>
                  <a:gd name="connsiteY22" fmla="*/ 699393 h 2159168"/>
                  <a:gd name="connsiteX23" fmla="*/ 12045155 w 12045155"/>
                  <a:gd name="connsiteY23" fmla="*/ 261011 h 2159168"/>
                  <a:gd name="connsiteX24" fmla="*/ 11438839 w 12045155"/>
                  <a:gd name="connsiteY24" fmla="*/ 435586 h 2159168"/>
                  <a:gd name="connsiteX25" fmla="*/ 11059114 w 12045155"/>
                  <a:gd name="connsiteY25" fmla="*/ 1047471 h 2159168"/>
                  <a:gd name="connsiteX26" fmla="*/ 10602369 w 12045155"/>
                  <a:gd name="connsiteY26" fmla="*/ 1661632 h 2159168"/>
                  <a:gd name="connsiteX27" fmla="*/ 10034574 w 12045155"/>
                  <a:gd name="connsiteY27" fmla="*/ 1618415 h 2159168"/>
                  <a:gd name="connsiteX28" fmla="*/ 9527677 w 12045155"/>
                  <a:gd name="connsiteY28" fmla="*/ 1058846 h 2159168"/>
                  <a:gd name="connsiteX29" fmla="*/ 9053022 w 12045155"/>
                  <a:gd name="connsiteY29" fmla="*/ 581165 h 2159168"/>
                  <a:gd name="connsiteX30" fmla="*/ 8450223 w 12045155"/>
                  <a:gd name="connsiteY30" fmla="*/ 156695 h 2159168"/>
                  <a:gd name="connsiteX31" fmla="*/ 7635927 w 12045155"/>
                  <a:gd name="connsiteY31" fmla="*/ 105714 h 2159168"/>
                  <a:gd name="connsiteX32" fmla="*/ 7049636 w 12045155"/>
                  <a:gd name="connsiteY32" fmla="*/ 199189 h 2159168"/>
                  <a:gd name="connsiteX33" fmla="*/ 6342549 w 12045155"/>
                  <a:gd name="connsiteY33" fmla="*/ 146630 h 2159168"/>
                  <a:gd name="connsiteX34" fmla="*/ 5902209 w 12045155"/>
                  <a:gd name="connsiteY34" fmla="*/ 249658 h 2159168"/>
                  <a:gd name="connsiteX35" fmla="*/ 5182195 w 12045155"/>
                  <a:gd name="connsiteY35" fmla="*/ 292664 h 2159168"/>
                  <a:gd name="connsiteX36" fmla="*/ 3822487 w 12045155"/>
                  <a:gd name="connsiteY36" fmla="*/ 90799 h 2159168"/>
                  <a:gd name="connsiteX37" fmla="*/ 2370177 w 12045155"/>
                  <a:gd name="connsiteY37" fmla="*/ 156695 h 2159168"/>
                  <a:gd name="connsiteX38" fmla="*/ 578745 w 12045155"/>
                  <a:gd name="connsiteY38" fmla="*/ 148189 h 2159168"/>
                  <a:gd name="connsiteX39" fmla="*/ 38923 w 12045155"/>
                  <a:gd name="connsiteY39" fmla="*/ 157240 h 2159168"/>
                  <a:gd name="connsiteX0" fmla="*/ 38923 w 12045155"/>
                  <a:gd name="connsiteY0" fmla="*/ 157240 h 2371492"/>
                  <a:gd name="connsiteX1" fmla="*/ 4765 w 12045155"/>
                  <a:gd name="connsiteY1" fmla="*/ 229969 h 2371492"/>
                  <a:gd name="connsiteX2" fmla="*/ 16985 w 12045155"/>
                  <a:gd name="connsiteY2" fmla="*/ 441204 h 2371492"/>
                  <a:gd name="connsiteX3" fmla="*/ 31647 w 12045155"/>
                  <a:gd name="connsiteY3" fmla="*/ 700450 h 2371492"/>
                  <a:gd name="connsiteX4" fmla="*/ 43864 w 12045155"/>
                  <a:gd name="connsiteY4" fmla="*/ 777266 h 2371492"/>
                  <a:gd name="connsiteX5" fmla="*/ 80207 w 12045155"/>
                  <a:gd name="connsiteY5" fmla="*/ 937416 h 2371492"/>
                  <a:gd name="connsiteX6" fmla="*/ 937008 w 12045155"/>
                  <a:gd name="connsiteY6" fmla="*/ 844973 h 2371492"/>
                  <a:gd name="connsiteX7" fmla="*/ 1631867 w 12045155"/>
                  <a:gd name="connsiteY7" fmla="*/ 878961 h 2371492"/>
                  <a:gd name="connsiteX8" fmla="*/ 2087877 w 12045155"/>
                  <a:gd name="connsiteY8" fmla="*/ 819473 h 2371492"/>
                  <a:gd name="connsiteX9" fmla="*/ 2565599 w 12045155"/>
                  <a:gd name="connsiteY9" fmla="*/ 819473 h 2371492"/>
                  <a:gd name="connsiteX10" fmla="*/ 3336468 w 12045155"/>
                  <a:gd name="connsiteY10" fmla="*/ 861967 h 2371492"/>
                  <a:gd name="connsiteX11" fmla="*/ 4215904 w 12045155"/>
                  <a:gd name="connsiteY11" fmla="*/ 844973 h 2371492"/>
                  <a:gd name="connsiteX12" fmla="*/ 4845622 w 12045155"/>
                  <a:gd name="connsiteY12" fmla="*/ 853479 h 2371492"/>
                  <a:gd name="connsiteX13" fmla="*/ 5681632 w 12045155"/>
                  <a:gd name="connsiteY13" fmla="*/ 853479 h 2371492"/>
                  <a:gd name="connsiteX14" fmla="*/ 6745645 w 12045155"/>
                  <a:gd name="connsiteY14" fmla="*/ 878979 h 2371492"/>
                  <a:gd name="connsiteX15" fmla="*/ 7494800 w 12045155"/>
                  <a:gd name="connsiteY15" fmla="*/ 870473 h 2371492"/>
                  <a:gd name="connsiteX16" fmla="*/ 8026795 w 12045155"/>
                  <a:gd name="connsiteY16" fmla="*/ 861967 h 2371492"/>
                  <a:gd name="connsiteX17" fmla="*/ 8504518 w 12045155"/>
                  <a:gd name="connsiteY17" fmla="*/ 827979 h 2371492"/>
                  <a:gd name="connsiteX18" fmla="*/ 9361101 w 12045155"/>
                  <a:gd name="connsiteY18" fmla="*/ 2018757 h 2371492"/>
                  <a:gd name="connsiteX19" fmla="*/ 10249513 w 12045155"/>
                  <a:gd name="connsiteY19" fmla="*/ 2364507 h 2371492"/>
                  <a:gd name="connsiteX20" fmla="*/ 10922986 w 12045155"/>
                  <a:gd name="connsiteY20" fmla="*/ 1782194 h 2371492"/>
                  <a:gd name="connsiteX21" fmla="*/ 11481826 w 12045155"/>
                  <a:gd name="connsiteY21" fmla="*/ 1127088 h 2371492"/>
                  <a:gd name="connsiteX22" fmla="*/ 12045155 w 12045155"/>
                  <a:gd name="connsiteY22" fmla="*/ 699393 h 2371492"/>
                  <a:gd name="connsiteX23" fmla="*/ 12045155 w 12045155"/>
                  <a:gd name="connsiteY23" fmla="*/ 261011 h 2371492"/>
                  <a:gd name="connsiteX24" fmla="*/ 11438839 w 12045155"/>
                  <a:gd name="connsiteY24" fmla="*/ 435586 h 2371492"/>
                  <a:gd name="connsiteX25" fmla="*/ 11059114 w 12045155"/>
                  <a:gd name="connsiteY25" fmla="*/ 1047471 h 2371492"/>
                  <a:gd name="connsiteX26" fmla="*/ 10602369 w 12045155"/>
                  <a:gd name="connsiteY26" fmla="*/ 1661632 h 2371492"/>
                  <a:gd name="connsiteX27" fmla="*/ 10034574 w 12045155"/>
                  <a:gd name="connsiteY27" fmla="*/ 1618415 h 2371492"/>
                  <a:gd name="connsiteX28" fmla="*/ 9527677 w 12045155"/>
                  <a:gd name="connsiteY28" fmla="*/ 1058846 h 2371492"/>
                  <a:gd name="connsiteX29" fmla="*/ 9053022 w 12045155"/>
                  <a:gd name="connsiteY29" fmla="*/ 581165 h 2371492"/>
                  <a:gd name="connsiteX30" fmla="*/ 8450223 w 12045155"/>
                  <a:gd name="connsiteY30" fmla="*/ 156695 h 2371492"/>
                  <a:gd name="connsiteX31" fmla="*/ 7635927 w 12045155"/>
                  <a:gd name="connsiteY31" fmla="*/ 105714 h 2371492"/>
                  <a:gd name="connsiteX32" fmla="*/ 7049636 w 12045155"/>
                  <a:gd name="connsiteY32" fmla="*/ 199189 h 2371492"/>
                  <a:gd name="connsiteX33" fmla="*/ 6342549 w 12045155"/>
                  <a:gd name="connsiteY33" fmla="*/ 146630 h 2371492"/>
                  <a:gd name="connsiteX34" fmla="*/ 5902209 w 12045155"/>
                  <a:gd name="connsiteY34" fmla="*/ 249658 h 2371492"/>
                  <a:gd name="connsiteX35" fmla="*/ 5182195 w 12045155"/>
                  <a:gd name="connsiteY35" fmla="*/ 292664 h 2371492"/>
                  <a:gd name="connsiteX36" fmla="*/ 3822487 w 12045155"/>
                  <a:gd name="connsiteY36" fmla="*/ 90799 h 2371492"/>
                  <a:gd name="connsiteX37" fmla="*/ 2370177 w 12045155"/>
                  <a:gd name="connsiteY37" fmla="*/ 156695 h 2371492"/>
                  <a:gd name="connsiteX38" fmla="*/ 578745 w 12045155"/>
                  <a:gd name="connsiteY38" fmla="*/ 148189 h 2371492"/>
                  <a:gd name="connsiteX39" fmla="*/ 38923 w 12045155"/>
                  <a:gd name="connsiteY39" fmla="*/ 157240 h 2371492"/>
                  <a:gd name="connsiteX0" fmla="*/ 38923 w 12045155"/>
                  <a:gd name="connsiteY0" fmla="*/ 157240 h 2365078"/>
                  <a:gd name="connsiteX1" fmla="*/ 4765 w 12045155"/>
                  <a:gd name="connsiteY1" fmla="*/ 229969 h 2365078"/>
                  <a:gd name="connsiteX2" fmla="*/ 16985 w 12045155"/>
                  <a:gd name="connsiteY2" fmla="*/ 441204 h 2365078"/>
                  <a:gd name="connsiteX3" fmla="*/ 31647 w 12045155"/>
                  <a:gd name="connsiteY3" fmla="*/ 700450 h 2365078"/>
                  <a:gd name="connsiteX4" fmla="*/ 43864 w 12045155"/>
                  <a:gd name="connsiteY4" fmla="*/ 777266 h 2365078"/>
                  <a:gd name="connsiteX5" fmla="*/ 80207 w 12045155"/>
                  <a:gd name="connsiteY5" fmla="*/ 937416 h 2365078"/>
                  <a:gd name="connsiteX6" fmla="*/ 937008 w 12045155"/>
                  <a:gd name="connsiteY6" fmla="*/ 844973 h 2365078"/>
                  <a:gd name="connsiteX7" fmla="*/ 1631867 w 12045155"/>
                  <a:gd name="connsiteY7" fmla="*/ 878961 h 2365078"/>
                  <a:gd name="connsiteX8" fmla="*/ 2087877 w 12045155"/>
                  <a:gd name="connsiteY8" fmla="*/ 819473 h 2365078"/>
                  <a:gd name="connsiteX9" fmla="*/ 2565599 w 12045155"/>
                  <a:gd name="connsiteY9" fmla="*/ 819473 h 2365078"/>
                  <a:gd name="connsiteX10" fmla="*/ 3336468 w 12045155"/>
                  <a:gd name="connsiteY10" fmla="*/ 861967 h 2365078"/>
                  <a:gd name="connsiteX11" fmla="*/ 4215904 w 12045155"/>
                  <a:gd name="connsiteY11" fmla="*/ 844973 h 2365078"/>
                  <a:gd name="connsiteX12" fmla="*/ 4845622 w 12045155"/>
                  <a:gd name="connsiteY12" fmla="*/ 853479 h 2365078"/>
                  <a:gd name="connsiteX13" fmla="*/ 5681632 w 12045155"/>
                  <a:gd name="connsiteY13" fmla="*/ 853479 h 2365078"/>
                  <a:gd name="connsiteX14" fmla="*/ 6745645 w 12045155"/>
                  <a:gd name="connsiteY14" fmla="*/ 878979 h 2365078"/>
                  <a:gd name="connsiteX15" fmla="*/ 7494800 w 12045155"/>
                  <a:gd name="connsiteY15" fmla="*/ 870473 h 2365078"/>
                  <a:gd name="connsiteX16" fmla="*/ 8026795 w 12045155"/>
                  <a:gd name="connsiteY16" fmla="*/ 861967 h 2365078"/>
                  <a:gd name="connsiteX17" fmla="*/ 8504518 w 12045155"/>
                  <a:gd name="connsiteY17" fmla="*/ 827979 h 2365078"/>
                  <a:gd name="connsiteX18" fmla="*/ 9361101 w 12045155"/>
                  <a:gd name="connsiteY18" fmla="*/ 2018757 h 2365078"/>
                  <a:gd name="connsiteX19" fmla="*/ 10249513 w 12045155"/>
                  <a:gd name="connsiteY19" fmla="*/ 2364507 h 2365078"/>
                  <a:gd name="connsiteX20" fmla="*/ 11123596 w 12045155"/>
                  <a:gd name="connsiteY20" fmla="*/ 1964167 h 2365078"/>
                  <a:gd name="connsiteX21" fmla="*/ 11481826 w 12045155"/>
                  <a:gd name="connsiteY21" fmla="*/ 1127088 h 2365078"/>
                  <a:gd name="connsiteX22" fmla="*/ 12045155 w 12045155"/>
                  <a:gd name="connsiteY22" fmla="*/ 699393 h 2365078"/>
                  <a:gd name="connsiteX23" fmla="*/ 12045155 w 12045155"/>
                  <a:gd name="connsiteY23" fmla="*/ 261011 h 2365078"/>
                  <a:gd name="connsiteX24" fmla="*/ 11438839 w 12045155"/>
                  <a:gd name="connsiteY24" fmla="*/ 435586 h 2365078"/>
                  <a:gd name="connsiteX25" fmla="*/ 11059114 w 12045155"/>
                  <a:gd name="connsiteY25" fmla="*/ 1047471 h 2365078"/>
                  <a:gd name="connsiteX26" fmla="*/ 10602369 w 12045155"/>
                  <a:gd name="connsiteY26" fmla="*/ 1661632 h 2365078"/>
                  <a:gd name="connsiteX27" fmla="*/ 10034574 w 12045155"/>
                  <a:gd name="connsiteY27" fmla="*/ 1618415 h 2365078"/>
                  <a:gd name="connsiteX28" fmla="*/ 9527677 w 12045155"/>
                  <a:gd name="connsiteY28" fmla="*/ 1058846 h 2365078"/>
                  <a:gd name="connsiteX29" fmla="*/ 9053022 w 12045155"/>
                  <a:gd name="connsiteY29" fmla="*/ 581165 h 2365078"/>
                  <a:gd name="connsiteX30" fmla="*/ 8450223 w 12045155"/>
                  <a:gd name="connsiteY30" fmla="*/ 156695 h 2365078"/>
                  <a:gd name="connsiteX31" fmla="*/ 7635927 w 12045155"/>
                  <a:gd name="connsiteY31" fmla="*/ 105714 h 2365078"/>
                  <a:gd name="connsiteX32" fmla="*/ 7049636 w 12045155"/>
                  <a:gd name="connsiteY32" fmla="*/ 199189 h 2365078"/>
                  <a:gd name="connsiteX33" fmla="*/ 6342549 w 12045155"/>
                  <a:gd name="connsiteY33" fmla="*/ 146630 h 2365078"/>
                  <a:gd name="connsiteX34" fmla="*/ 5902209 w 12045155"/>
                  <a:gd name="connsiteY34" fmla="*/ 249658 h 2365078"/>
                  <a:gd name="connsiteX35" fmla="*/ 5182195 w 12045155"/>
                  <a:gd name="connsiteY35" fmla="*/ 292664 h 2365078"/>
                  <a:gd name="connsiteX36" fmla="*/ 3822487 w 12045155"/>
                  <a:gd name="connsiteY36" fmla="*/ 90799 h 2365078"/>
                  <a:gd name="connsiteX37" fmla="*/ 2370177 w 12045155"/>
                  <a:gd name="connsiteY37" fmla="*/ 156695 h 2365078"/>
                  <a:gd name="connsiteX38" fmla="*/ 578745 w 12045155"/>
                  <a:gd name="connsiteY38" fmla="*/ 148189 h 2365078"/>
                  <a:gd name="connsiteX39" fmla="*/ 38923 w 12045155"/>
                  <a:gd name="connsiteY39" fmla="*/ 157240 h 2365078"/>
                  <a:gd name="connsiteX0" fmla="*/ 38923 w 12045155"/>
                  <a:gd name="connsiteY0" fmla="*/ 157240 h 2365078"/>
                  <a:gd name="connsiteX1" fmla="*/ 4765 w 12045155"/>
                  <a:gd name="connsiteY1" fmla="*/ 229969 h 2365078"/>
                  <a:gd name="connsiteX2" fmla="*/ 16985 w 12045155"/>
                  <a:gd name="connsiteY2" fmla="*/ 441204 h 2365078"/>
                  <a:gd name="connsiteX3" fmla="*/ 31647 w 12045155"/>
                  <a:gd name="connsiteY3" fmla="*/ 700450 h 2365078"/>
                  <a:gd name="connsiteX4" fmla="*/ 43864 w 12045155"/>
                  <a:gd name="connsiteY4" fmla="*/ 777266 h 2365078"/>
                  <a:gd name="connsiteX5" fmla="*/ 80207 w 12045155"/>
                  <a:gd name="connsiteY5" fmla="*/ 937416 h 2365078"/>
                  <a:gd name="connsiteX6" fmla="*/ 937008 w 12045155"/>
                  <a:gd name="connsiteY6" fmla="*/ 844973 h 2365078"/>
                  <a:gd name="connsiteX7" fmla="*/ 1631867 w 12045155"/>
                  <a:gd name="connsiteY7" fmla="*/ 878961 h 2365078"/>
                  <a:gd name="connsiteX8" fmla="*/ 2087877 w 12045155"/>
                  <a:gd name="connsiteY8" fmla="*/ 819473 h 2365078"/>
                  <a:gd name="connsiteX9" fmla="*/ 2565599 w 12045155"/>
                  <a:gd name="connsiteY9" fmla="*/ 819473 h 2365078"/>
                  <a:gd name="connsiteX10" fmla="*/ 3336468 w 12045155"/>
                  <a:gd name="connsiteY10" fmla="*/ 861967 h 2365078"/>
                  <a:gd name="connsiteX11" fmla="*/ 4215904 w 12045155"/>
                  <a:gd name="connsiteY11" fmla="*/ 844973 h 2365078"/>
                  <a:gd name="connsiteX12" fmla="*/ 4845622 w 12045155"/>
                  <a:gd name="connsiteY12" fmla="*/ 853479 h 2365078"/>
                  <a:gd name="connsiteX13" fmla="*/ 5681632 w 12045155"/>
                  <a:gd name="connsiteY13" fmla="*/ 853479 h 2365078"/>
                  <a:gd name="connsiteX14" fmla="*/ 6745645 w 12045155"/>
                  <a:gd name="connsiteY14" fmla="*/ 878979 h 2365078"/>
                  <a:gd name="connsiteX15" fmla="*/ 7494800 w 12045155"/>
                  <a:gd name="connsiteY15" fmla="*/ 870473 h 2365078"/>
                  <a:gd name="connsiteX16" fmla="*/ 8026795 w 12045155"/>
                  <a:gd name="connsiteY16" fmla="*/ 861967 h 2365078"/>
                  <a:gd name="connsiteX17" fmla="*/ 8504518 w 12045155"/>
                  <a:gd name="connsiteY17" fmla="*/ 827979 h 2365078"/>
                  <a:gd name="connsiteX18" fmla="*/ 9361101 w 12045155"/>
                  <a:gd name="connsiteY18" fmla="*/ 2018757 h 2365078"/>
                  <a:gd name="connsiteX19" fmla="*/ 10249513 w 12045155"/>
                  <a:gd name="connsiteY19" fmla="*/ 2364507 h 2365078"/>
                  <a:gd name="connsiteX20" fmla="*/ 11123596 w 12045155"/>
                  <a:gd name="connsiteY20" fmla="*/ 1964167 h 2365078"/>
                  <a:gd name="connsiteX21" fmla="*/ 11797069 w 12045155"/>
                  <a:gd name="connsiteY21" fmla="*/ 999707 h 2365078"/>
                  <a:gd name="connsiteX22" fmla="*/ 12045155 w 12045155"/>
                  <a:gd name="connsiteY22" fmla="*/ 699393 h 2365078"/>
                  <a:gd name="connsiteX23" fmla="*/ 12045155 w 12045155"/>
                  <a:gd name="connsiteY23" fmla="*/ 261011 h 2365078"/>
                  <a:gd name="connsiteX24" fmla="*/ 11438839 w 12045155"/>
                  <a:gd name="connsiteY24" fmla="*/ 435586 h 2365078"/>
                  <a:gd name="connsiteX25" fmla="*/ 11059114 w 12045155"/>
                  <a:gd name="connsiteY25" fmla="*/ 1047471 h 2365078"/>
                  <a:gd name="connsiteX26" fmla="*/ 10602369 w 12045155"/>
                  <a:gd name="connsiteY26" fmla="*/ 1661632 h 2365078"/>
                  <a:gd name="connsiteX27" fmla="*/ 10034574 w 12045155"/>
                  <a:gd name="connsiteY27" fmla="*/ 1618415 h 2365078"/>
                  <a:gd name="connsiteX28" fmla="*/ 9527677 w 12045155"/>
                  <a:gd name="connsiteY28" fmla="*/ 1058846 h 2365078"/>
                  <a:gd name="connsiteX29" fmla="*/ 9053022 w 12045155"/>
                  <a:gd name="connsiteY29" fmla="*/ 581165 h 2365078"/>
                  <a:gd name="connsiteX30" fmla="*/ 8450223 w 12045155"/>
                  <a:gd name="connsiteY30" fmla="*/ 156695 h 2365078"/>
                  <a:gd name="connsiteX31" fmla="*/ 7635927 w 12045155"/>
                  <a:gd name="connsiteY31" fmla="*/ 105714 h 2365078"/>
                  <a:gd name="connsiteX32" fmla="*/ 7049636 w 12045155"/>
                  <a:gd name="connsiteY32" fmla="*/ 199189 h 2365078"/>
                  <a:gd name="connsiteX33" fmla="*/ 6342549 w 12045155"/>
                  <a:gd name="connsiteY33" fmla="*/ 146630 h 2365078"/>
                  <a:gd name="connsiteX34" fmla="*/ 5902209 w 12045155"/>
                  <a:gd name="connsiteY34" fmla="*/ 249658 h 2365078"/>
                  <a:gd name="connsiteX35" fmla="*/ 5182195 w 12045155"/>
                  <a:gd name="connsiteY35" fmla="*/ 292664 h 2365078"/>
                  <a:gd name="connsiteX36" fmla="*/ 3822487 w 12045155"/>
                  <a:gd name="connsiteY36" fmla="*/ 90799 h 2365078"/>
                  <a:gd name="connsiteX37" fmla="*/ 2370177 w 12045155"/>
                  <a:gd name="connsiteY37" fmla="*/ 156695 h 2365078"/>
                  <a:gd name="connsiteX38" fmla="*/ 578745 w 12045155"/>
                  <a:gd name="connsiteY38" fmla="*/ 148189 h 2365078"/>
                  <a:gd name="connsiteX39" fmla="*/ 38923 w 12045155"/>
                  <a:gd name="connsiteY39" fmla="*/ 157240 h 2365078"/>
                  <a:gd name="connsiteX0" fmla="*/ 38923 w 12045155"/>
                  <a:gd name="connsiteY0" fmla="*/ 157240 h 2365078"/>
                  <a:gd name="connsiteX1" fmla="*/ 4765 w 12045155"/>
                  <a:gd name="connsiteY1" fmla="*/ 229969 h 2365078"/>
                  <a:gd name="connsiteX2" fmla="*/ 16985 w 12045155"/>
                  <a:gd name="connsiteY2" fmla="*/ 441204 h 2365078"/>
                  <a:gd name="connsiteX3" fmla="*/ 31647 w 12045155"/>
                  <a:gd name="connsiteY3" fmla="*/ 700450 h 2365078"/>
                  <a:gd name="connsiteX4" fmla="*/ 43864 w 12045155"/>
                  <a:gd name="connsiteY4" fmla="*/ 777266 h 2365078"/>
                  <a:gd name="connsiteX5" fmla="*/ 80207 w 12045155"/>
                  <a:gd name="connsiteY5" fmla="*/ 937416 h 2365078"/>
                  <a:gd name="connsiteX6" fmla="*/ 937008 w 12045155"/>
                  <a:gd name="connsiteY6" fmla="*/ 844973 h 2365078"/>
                  <a:gd name="connsiteX7" fmla="*/ 1631867 w 12045155"/>
                  <a:gd name="connsiteY7" fmla="*/ 878961 h 2365078"/>
                  <a:gd name="connsiteX8" fmla="*/ 2087877 w 12045155"/>
                  <a:gd name="connsiteY8" fmla="*/ 819473 h 2365078"/>
                  <a:gd name="connsiteX9" fmla="*/ 2565599 w 12045155"/>
                  <a:gd name="connsiteY9" fmla="*/ 819473 h 2365078"/>
                  <a:gd name="connsiteX10" fmla="*/ 3336468 w 12045155"/>
                  <a:gd name="connsiteY10" fmla="*/ 861967 h 2365078"/>
                  <a:gd name="connsiteX11" fmla="*/ 4215904 w 12045155"/>
                  <a:gd name="connsiteY11" fmla="*/ 844973 h 2365078"/>
                  <a:gd name="connsiteX12" fmla="*/ 4845622 w 12045155"/>
                  <a:gd name="connsiteY12" fmla="*/ 853479 h 2365078"/>
                  <a:gd name="connsiteX13" fmla="*/ 5681632 w 12045155"/>
                  <a:gd name="connsiteY13" fmla="*/ 853479 h 2365078"/>
                  <a:gd name="connsiteX14" fmla="*/ 6745645 w 12045155"/>
                  <a:gd name="connsiteY14" fmla="*/ 878979 h 2365078"/>
                  <a:gd name="connsiteX15" fmla="*/ 7494800 w 12045155"/>
                  <a:gd name="connsiteY15" fmla="*/ 870473 h 2365078"/>
                  <a:gd name="connsiteX16" fmla="*/ 8026795 w 12045155"/>
                  <a:gd name="connsiteY16" fmla="*/ 861967 h 2365078"/>
                  <a:gd name="connsiteX17" fmla="*/ 8504518 w 12045155"/>
                  <a:gd name="connsiteY17" fmla="*/ 827979 h 2365078"/>
                  <a:gd name="connsiteX18" fmla="*/ 9361101 w 12045155"/>
                  <a:gd name="connsiteY18" fmla="*/ 2018757 h 2365078"/>
                  <a:gd name="connsiteX19" fmla="*/ 10249513 w 12045155"/>
                  <a:gd name="connsiteY19" fmla="*/ 2364507 h 2365078"/>
                  <a:gd name="connsiteX20" fmla="*/ 11123596 w 12045155"/>
                  <a:gd name="connsiteY20" fmla="*/ 1964167 h 2365078"/>
                  <a:gd name="connsiteX21" fmla="*/ 11266888 w 12045155"/>
                  <a:gd name="connsiteY21" fmla="*/ 1582018 h 2365078"/>
                  <a:gd name="connsiteX22" fmla="*/ 11797069 w 12045155"/>
                  <a:gd name="connsiteY22" fmla="*/ 999707 h 2365078"/>
                  <a:gd name="connsiteX23" fmla="*/ 12045155 w 12045155"/>
                  <a:gd name="connsiteY23" fmla="*/ 699393 h 2365078"/>
                  <a:gd name="connsiteX24" fmla="*/ 12045155 w 12045155"/>
                  <a:gd name="connsiteY24" fmla="*/ 261011 h 2365078"/>
                  <a:gd name="connsiteX25" fmla="*/ 11438839 w 12045155"/>
                  <a:gd name="connsiteY25" fmla="*/ 435586 h 2365078"/>
                  <a:gd name="connsiteX26" fmla="*/ 11059114 w 12045155"/>
                  <a:gd name="connsiteY26" fmla="*/ 1047471 h 2365078"/>
                  <a:gd name="connsiteX27" fmla="*/ 10602369 w 12045155"/>
                  <a:gd name="connsiteY27" fmla="*/ 1661632 h 2365078"/>
                  <a:gd name="connsiteX28" fmla="*/ 10034574 w 12045155"/>
                  <a:gd name="connsiteY28" fmla="*/ 1618415 h 2365078"/>
                  <a:gd name="connsiteX29" fmla="*/ 9527677 w 12045155"/>
                  <a:gd name="connsiteY29" fmla="*/ 1058846 h 2365078"/>
                  <a:gd name="connsiteX30" fmla="*/ 9053022 w 12045155"/>
                  <a:gd name="connsiteY30" fmla="*/ 581165 h 2365078"/>
                  <a:gd name="connsiteX31" fmla="*/ 8450223 w 12045155"/>
                  <a:gd name="connsiteY31" fmla="*/ 156695 h 2365078"/>
                  <a:gd name="connsiteX32" fmla="*/ 7635927 w 12045155"/>
                  <a:gd name="connsiteY32" fmla="*/ 105714 h 2365078"/>
                  <a:gd name="connsiteX33" fmla="*/ 7049636 w 12045155"/>
                  <a:gd name="connsiteY33" fmla="*/ 199189 h 2365078"/>
                  <a:gd name="connsiteX34" fmla="*/ 6342549 w 12045155"/>
                  <a:gd name="connsiteY34" fmla="*/ 146630 h 2365078"/>
                  <a:gd name="connsiteX35" fmla="*/ 5902209 w 12045155"/>
                  <a:gd name="connsiteY35" fmla="*/ 249658 h 2365078"/>
                  <a:gd name="connsiteX36" fmla="*/ 5182195 w 12045155"/>
                  <a:gd name="connsiteY36" fmla="*/ 292664 h 2365078"/>
                  <a:gd name="connsiteX37" fmla="*/ 3822487 w 12045155"/>
                  <a:gd name="connsiteY37" fmla="*/ 90799 h 2365078"/>
                  <a:gd name="connsiteX38" fmla="*/ 2370177 w 12045155"/>
                  <a:gd name="connsiteY38" fmla="*/ 156695 h 2365078"/>
                  <a:gd name="connsiteX39" fmla="*/ 578745 w 12045155"/>
                  <a:gd name="connsiteY39" fmla="*/ 148189 h 2365078"/>
                  <a:gd name="connsiteX40" fmla="*/ 38923 w 12045155"/>
                  <a:gd name="connsiteY40" fmla="*/ 157240 h 2365078"/>
                  <a:gd name="connsiteX0" fmla="*/ 38923 w 12045155"/>
                  <a:gd name="connsiteY0" fmla="*/ 157240 h 2365078"/>
                  <a:gd name="connsiteX1" fmla="*/ 4765 w 12045155"/>
                  <a:gd name="connsiteY1" fmla="*/ 229969 h 2365078"/>
                  <a:gd name="connsiteX2" fmla="*/ 16985 w 12045155"/>
                  <a:gd name="connsiteY2" fmla="*/ 441204 h 2365078"/>
                  <a:gd name="connsiteX3" fmla="*/ 31647 w 12045155"/>
                  <a:gd name="connsiteY3" fmla="*/ 700450 h 2365078"/>
                  <a:gd name="connsiteX4" fmla="*/ 43864 w 12045155"/>
                  <a:gd name="connsiteY4" fmla="*/ 777266 h 2365078"/>
                  <a:gd name="connsiteX5" fmla="*/ 80207 w 12045155"/>
                  <a:gd name="connsiteY5" fmla="*/ 937416 h 2365078"/>
                  <a:gd name="connsiteX6" fmla="*/ 937008 w 12045155"/>
                  <a:gd name="connsiteY6" fmla="*/ 844973 h 2365078"/>
                  <a:gd name="connsiteX7" fmla="*/ 1631867 w 12045155"/>
                  <a:gd name="connsiteY7" fmla="*/ 878961 h 2365078"/>
                  <a:gd name="connsiteX8" fmla="*/ 2087877 w 12045155"/>
                  <a:gd name="connsiteY8" fmla="*/ 819473 h 2365078"/>
                  <a:gd name="connsiteX9" fmla="*/ 2565599 w 12045155"/>
                  <a:gd name="connsiteY9" fmla="*/ 819473 h 2365078"/>
                  <a:gd name="connsiteX10" fmla="*/ 3336468 w 12045155"/>
                  <a:gd name="connsiteY10" fmla="*/ 861967 h 2365078"/>
                  <a:gd name="connsiteX11" fmla="*/ 4215904 w 12045155"/>
                  <a:gd name="connsiteY11" fmla="*/ 844973 h 2365078"/>
                  <a:gd name="connsiteX12" fmla="*/ 4845622 w 12045155"/>
                  <a:gd name="connsiteY12" fmla="*/ 853479 h 2365078"/>
                  <a:gd name="connsiteX13" fmla="*/ 5681632 w 12045155"/>
                  <a:gd name="connsiteY13" fmla="*/ 853479 h 2365078"/>
                  <a:gd name="connsiteX14" fmla="*/ 6745645 w 12045155"/>
                  <a:gd name="connsiteY14" fmla="*/ 878979 h 2365078"/>
                  <a:gd name="connsiteX15" fmla="*/ 7494800 w 12045155"/>
                  <a:gd name="connsiteY15" fmla="*/ 870473 h 2365078"/>
                  <a:gd name="connsiteX16" fmla="*/ 8026795 w 12045155"/>
                  <a:gd name="connsiteY16" fmla="*/ 861967 h 2365078"/>
                  <a:gd name="connsiteX17" fmla="*/ 8504518 w 12045155"/>
                  <a:gd name="connsiteY17" fmla="*/ 827979 h 2365078"/>
                  <a:gd name="connsiteX18" fmla="*/ 9361101 w 12045155"/>
                  <a:gd name="connsiteY18" fmla="*/ 2018757 h 2365078"/>
                  <a:gd name="connsiteX19" fmla="*/ 10249513 w 12045155"/>
                  <a:gd name="connsiteY19" fmla="*/ 2364507 h 2365078"/>
                  <a:gd name="connsiteX20" fmla="*/ 11123596 w 12045155"/>
                  <a:gd name="connsiteY20" fmla="*/ 1964167 h 2365078"/>
                  <a:gd name="connsiteX21" fmla="*/ 11309876 w 12045155"/>
                  <a:gd name="connsiteY21" fmla="*/ 1618413 h 2365078"/>
                  <a:gd name="connsiteX22" fmla="*/ 11797069 w 12045155"/>
                  <a:gd name="connsiteY22" fmla="*/ 999707 h 2365078"/>
                  <a:gd name="connsiteX23" fmla="*/ 12045155 w 12045155"/>
                  <a:gd name="connsiteY23" fmla="*/ 699393 h 2365078"/>
                  <a:gd name="connsiteX24" fmla="*/ 12045155 w 12045155"/>
                  <a:gd name="connsiteY24" fmla="*/ 261011 h 2365078"/>
                  <a:gd name="connsiteX25" fmla="*/ 11438839 w 12045155"/>
                  <a:gd name="connsiteY25" fmla="*/ 435586 h 2365078"/>
                  <a:gd name="connsiteX26" fmla="*/ 11059114 w 12045155"/>
                  <a:gd name="connsiteY26" fmla="*/ 1047471 h 2365078"/>
                  <a:gd name="connsiteX27" fmla="*/ 10602369 w 12045155"/>
                  <a:gd name="connsiteY27" fmla="*/ 1661632 h 2365078"/>
                  <a:gd name="connsiteX28" fmla="*/ 10034574 w 12045155"/>
                  <a:gd name="connsiteY28" fmla="*/ 1618415 h 2365078"/>
                  <a:gd name="connsiteX29" fmla="*/ 9527677 w 12045155"/>
                  <a:gd name="connsiteY29" fmla="*/ 1058846 h 2365078"/>
                  <a:gd name="connsiteX30" fmla="*/ 9053022 w 12045155"/>
                  <a:gd name="connsiteY30" fmla="*/ 581165 h 2365078"/>
                  <a:gd name="connsiteX31" fmla="*/ 8450223 w 12045155"/>
                  <a:gd name="connsiteY31" fmla="*/ 156695 h 2365078"/>
                  <a:gd name="connsiteX32" fmla="*/ 7635927 w 12045155"/>
                  <a:gd name="connsiteY32" fmla="*/ 105714 h 2365078"/>
                  <a:gd name="connsiteX33" fmla="*/ 7049636 w 12045155"/>
                  <a:gd name="connsiteY33" fmla="*/ 199189 h 2365078"/>
                  <a:gd name="connsiteX34" fmla="*/ 6342549 w 12045155"/>
                  <a:gd name="connsiteY34" fmla="*/ 146630 h 2365078"/>
                  <a:gd name="connsiteX35" fmla="*/ 5902209 w 12045155"/>
                  <a:gd name="connsiteY35" fmla="*/ 249658 h 2365078"/>
                  <a:gd name="connsiteX36" fmla="*/ 5182195 w 12045155"/>
                  <a:gd name="connsiteY36" fmla="*/ 292664 h 2365078"/>
                  <a:gd name="connsiteX37" fmla="*/ 3822487 w 12045155"/>
                  <a:gd name="connsiteY37" fmla="*/ 90799 h 2365078"/>
                  <a:gd name="connsiteX38" fmla="*/ 2370177 w 12045155"/>
                  <a:gd name="connsiteY38" fmla="*/ 156695 h 2365078"/>
                  <a:gd name="connsiteX39" fmla="*/ 578745 w 12045155"/>
                  <a:gd name="connsiteY39" fmla="*/ 148189 h 2365078"/>
                  <a:gd name="connsiteX40" fmla="*/ 38923 w 12045155"/>
                  <a:gd name="connsiteY40" fmla="*/ 157240 h 2365078"/>
                  <a:gd name="connsiteX0" fmla="*/ 38923 w 12045155"/>
                  <a:gd name="connsiteY0" fmla="*/ 157240 h 2365066"/>
                  <a:gd name="connsiteX1" fmla="*/ 4765 w 12045155"/>
                  <a:gd name="connsiteY1" fmla="*/ 229969 h 2365066"/>
                  <a:gd name="connsiteX2" fmla="*/ 16985 w 12045155"/>
                  <a:gd name="connsiteY2" fmla="*/ 441204 h 2365066"/>
                  <a:gd name="connsiteX3" fmla="*/ 31647 w 12045155"/>
                  <a:gd name="connsiteY3" fmla="*/ 700450 h 2365066"/>
                  <a:gd name="connsiteX4" fmla="*/ 43864 w 12045155"/>
                  <a:gd name="connsiteY4" fmla="*/ 777266 h 2365066"/>
                  <a:gd name="connsiteX5" fmla="*/ 80207 w 12045155"/>
                  <a:gd name="connsiteY5" fmla="*/ 937416 h 2365066"/>
                  <a:gd name="connsiteX6" fmla="*/ 937008 w 12045155"/>
                  <a:gd name="connsiteY6" fmla="*/ 844973 h 2365066"/>
                  <a:gd name="connsiteX7" fmla="*/ 1631867 w 12045155"/>
                  <a:gd name="connsiteY7" fmla="*/ 878961 h 2365066"/>
                  <a:gd name="connsiteX8" fmla="*/ 2087877 w 12045155"/>
                  <a:gd name="connsiteY8" fmla="*/ 819473 h 2365066"/>
                  <a:gd name="connsiteX9" fmla="*/ 2565599 w 12045155"/>
                  <a:gd name="connsiteY9" fmla="*/ 819473 h 2365066"/>
                  <a:gd name="connsiteX10" fmla="*/ 3336468 w 12045155"/>
                  <a:gd name="connsiteY10" fmla="*/ 861967 h 2365066"/>
                  <a:gd name="connsiteX11" fmla="*/ 4215904 w 12045155"/>
                  <a:gd name="connsiteY11" fmla="*/ 844973 h 2365066"/>
                  <a:gd name="connsiteX12" fmla="*/ 4845622 w 12045155"/>
                  <a:gd name="connsiteY12" fmla="*/ 853479 h 2365066"/>
                  <a:gd name="connsiteX13" fmla="*/ 5681632 w 12045155"/>
                  <a:gd name="connsiteY13" fmla="*/ 853479 h 2365066"/>
                  <a:gd name="connsiteX14" fmla="*/ 6745645 w 12045155"/>
                  <a:gd name="connsiteY14" fmla="*/ 878979 h 2365066"/>
                  <a:gd name="connsiteX15" fmla="*/ 7494800 w 12045155"/>
                  <a:gd name="connsiteY15" fmla="*/ 870473 h 2365066"/>
                  <a:gd name="connsiteX16" fmla="*/ 8026795 w 12045155"/>
                  <a:gd name="connsiteY16" fmla="*/ 861967 h 2365066"/>
                  <a:gd name="connsiteX17" fmla="*/ 8504518 w 12045155"/>
                  <a:gd name="connsiteY17" fmla="*/ 827979 h 2365066"/>
                  <a:gd name="connsiteX18" fmla="*/ 9361101 w 12045155"/>
                  <a:gd name="connsiteY18" fmla="*/ 2018757 h 2365066"/>
                  <a:gd name="connsiteX19" fmla="*/ 10249513 w 12045155"/>
                  <a:gd name="connsiteY19" fmla="*/ 2364507 h 2365066"/>
                  <a:gd name="connsiteX20" fmla="*/ 11195242 w 12045155"/>
                  <a:gd name="connsiteY20" fmla="*/ 2091549 h 2365066"/>
                  <a:gd name="connsiteX21" fmla="*/ 11309876 w 12045155"/>
                  <a:gd name="connsiteY21" fmla="*/ 1618413 h 2365066"/>
                  <a:gd name="connsiteX22" fmla="*/ 11797069 w 12045155"/>
                  <a:gd name="connsiteY22" fmla="*/ 999707 h 2365066"/>
                  <a:gd name="connsiteX23" fmla="*/ 12045155 w 12045155"/>
                  <a:gd name="connsiteY23" fmla="*/ 699393 h 2365066"/>
                  <a:gd name="connsiteX24" fmla="*/ 12045155 w 12045155"/>
                  <a:gd name="connsiteY24" fmla="*/ 261011 h 2365066"/>
                  <a:gd name="connsiteX25" fmla="*/ 11438839 w 12045155"/>
                  <a:gd name="connsiteY25" fmla="*/ 435586 h 2365066"/>
                  <a:gd name="connsiteX26" fmla="*/ 11059114 w 12045155"/>
                  <a:gd name="connsiteY26" fmla="*/ 1047471 h 2365066"/>
                  <a:gd name="connsiteX27" fmla="*/ 10602369 w 12045155"/>
                  <a:gd name="connsiteY27" fmla="*/ 1661632 h 2365066"/>
                  <a:gd name="connsiteX28" fmla="*/ 10034574 w 12045155"/>
                  <a:gd name="connsiteY28" fmla="*/ 1618415 h 2365066"/>
                  <a:gd name="connsiteX29" fmla="*/ 9527677 w 12045155"/>
                  <a:gd name="connsiteY29" fmla="*/ 1058846 h 2365066"/>
                  <a:gd name="connsiteX30" fmla="*/ 9053022 w 12045155"/>
                  <a:gd name="connsiteY30" fmla="*/ 581165 h 2365066"/>
                  <a:gd name="connsiteX31" fmla="*/ 8450223 w 12045155"/>
                  <a:gd name="connsiteY31" fmla="*/ 156695 h 2365066"/>
                  <a:gd name="connsiteX32" fmla="*/ 7635927 w 12045155"/>
                  <a:gd name="connsiteY32" fmla="*/ 105714 h 2365066"/>
                  <a:gd name="connsiteX33" fmla="*/ 7049636 w 12045155"/>
                  <a:gd name="connsiteY33" fmla="*/ 199189 h 2365066"/>
                  <a:gd name="connsiteX34" fmla="*/ 6342549 w 12045155"/>
                  <a:gd name="connsiteY34" fmla="*/ 146630 h 2365066"/>
                  <a:gd name="connsiteX35" fmla="*/ 5902209 w 12045155"/>
                  <a:gd name="connsiteY35" fmla="*/ 249658 h 2365066"/>
                  <a:gd name="connsiteX36" fmla="*/ 5182195 w 12045155"/>
                  <a:gd name="connsiteY36" fmla="*/ 292664 h 2365066"/>
                  <a:gd name="connsiteX37" fmla="*/ 3822487 w 12045155"/>
                  <a:gd name="connsiteY37" fmla="*/ 90799 h 2365066"/>
                  <a:gd name="connsiteX38" fmla="*/ 2370177 w 12045155"/>
                  <a:gd name="connsiteY38" fmla="*/ 156695 h 2365066"/>
                  <a:gd name="connsiteX39" fmla="*/ 578745 w 12045155"/>
                  <a:gd name="connsiteY39" fmla="*/ 148189 h 2365066"/>
                  <a:gd name="connsiteX40" fmla="*/ 38923 w 12045155"/>
                  <a:gd name="connsiteY40" fmla="*/ 157240 h 2365066"/>
                  <a:gd name="connsiteX0" fmla="*/ 38923 w 12045155"/>
                  <a:gd name="connsiteY0" fmla="*/ 157240 h 2510409"/>
                  <a:gd name="connsiteX1" fmla="*/ 4765 w 12045155"/>
                  <a:gd name="connsiteY1" fmla="*/ 229969 h 2510409"/>
                  <a:gd name="connsiteX2" fmla="*/ 16985 w 12045155"/>
                  <a:gd name="connsiteY2" fmla="*/ 441204 h 2510409"/>
                  <a:gd name="connsiteX3" fmla="*/ 31647 w 12045155"/>
                  <a:gd name="connsiteY3" fmla="*/ 700450 h 2510409"/>
                  <a:gd name="connsiteX4" fmla="*/ 43864 w 12045155"/>
                  <a:gd name="connsiteY4" fmla="*/ 777266 h 2510409"/>
                  <a:gd name="connsiteX5" fmla="*/ 80207 w 12045155"/>
                  <a:gd name="connsiteY5" fmla="*/ 937416 h 2510409"/>
                  <a:gd name="connsiteX6" fmla="*/ 937008 w 12045155"/>
                  <a:gd name="connsiteY6" fmla="*/ 844973 h 2510409"/>
                  <a:gd name="connsiteX7" fmla="*/ 1631867 w 12045155"/>
                  <a:gd name="connsiteY7" fmla="*/ 878961 h 2510409"/>
                  <a:gd name="connsiteX8" fmla="*/ 2087877 w 12045155"/>
                  <a:gd name="connsiteY8" fmla="*/ 819473 h 2510409"/>
                  <a:gd name="connsiteX9" fmla="*/ 2565599 w 12045155"/>
                  <a:gd name="connsiteY9" fmla="*/ 819473 h 2510409"/>
                  <a:gd name="connsiteX10" fmla="*/ 3336468 w 12045155"/>
                  <a:gd name="connsiteY10" fmla="*/ 861967 h 2510409"/>
                  <a:gd name="connsiteX11" fmla="*/ 4215904 w 12045155"/>
                  <a:gd name="connsiteY11" fmla="*/ 844973 h 2510409"/>
                  <a:gd name="connsiteX12" fmla="*/ 4845622 w 12045155"/>
                  <a:gd name="connsiteY12" fmla="*/ 853479 h 2510409"/>
                  <a:gd name="connsiteX13" fmla="*/ 5681632 w 12045155"/>
                  <a:gd name="connsiteY13" fmla="*/ 853479 h 2510409"/>
                  <a:gd name="connsiteX14" fmla="*/ 6745645 w 12045155"/>
                  <a:gd name="connsiteY14" fmla="*/ 878979 h 2510409"/>
                  <a:gd name="connsiteX15" fmla="*/ 7494800 w 12045155"/>
                  <a:gd name="connsiteY15" fmla="*/ 870473 h 2510409"/>
                  <a:gd name="connsiteX16" fmla="*/ 8026795 w 12045155"/>
                  <a:gd name="connsiteY16" fmla="*/ 861967 h 2510409"/>
                  <a:gd name="connsiteX17" fmla="*/ 8504518 w 12045155"/>
                  <a:gd name="connsiteY17" fmla="*/ 827979 h 2510409"/>
                  <a:gd name="connsiteX18" fmla="*/ 9361101 w 12045155"/>
                  <a:gd name="connsiteY18" fmla="*/ 2018757 h 2510409"/>
                  <a:gd name="connsiteX19" fmla="*/ 10149208 w 12045155"/>
                  <a:gd name="connsiteY19" fmla="*/ 2510086 h 2510409"/>
                  <a:gd name="connsiteX20" fmla="*/ 11195242 w 12045155"/>
                  <a:gd name="connsiteY20" fmla="*/ 2091549 h 2510409"/>
                  <a:gd name="connsiteX21" fmla="*/ 11309876 w 12045155"/>
                  <a:gd name="connsiteY21" fmla="*/ 1618413 h 2510409"/>
                  <a:gd name="connsiteX22" fmla="*/ 11797069 w 12045155"/>
                  <a:gd name="connsiteY22" fmla="*/ 999707 h 2510409"/>
                  <a:gd name="connsiteX23" fmla="*/ 12045155 w 12045155"/>
                  <a:gd name="connsiteY23" fmla="*/ 699393 h 2510409"/>
                  <a:gd name="connsiteX24" fmla="*/ 12045155 w 12045155"/>
                  <a:gd name="connsiteY24" fmla="*/ 261011 h 2510409"/>
                  <a:gd name="connsiteX25" fmla="*/ 11438839 w 12045155"/>
                  <a:gd name="connsiteY25" fmla="*/ 435586 h 2510409"/>
                  <a:gd name="connsiteX26" fmla="*/ 11059114 w 12045155"/>
                  <a:gd name="connsiteY26" fmla="*/ 1047471 h 2510409"/>
                  <a:gd name="connsiteX27" fmla="*/ 10602369 w 12045155"/>
                  <a:gd name="connsiteY27" fmla="*/ 1661632 h 2510409"/>
                  <a:gd name="connsiteX28" fmla="*/ 10034574 w 12045155"/>
                  <a:gd name="connsiteY28" fmla="*/ 1618415 h 2510409"/>
                  <a:gd name="connsiteX29" fmla="*/ 9527677 w 12045155"/>
                  <a:gd name="connsiteY29" fmla="*/ 1058846 h 2510409"/>
                  <a:gd name="connsiteX30" fmla="*/ 9053022 w 12045155"/>
                  <a:gd name="connsiteY30" fmla="*/ 581165 h 2510409"/>
                  <a:gd name="connsiteX31" fmla="*/ 8450223 w 12045155"/>
                  <a:gd name="connsiteY31" fmla="*/ 156695 h 2510409"/>
                  <a:gd name="connsiteX32" fmla="*/ 7635927 w 12045155"/>
                  <a:gd name="connsiteY32" fmla="*/ 105714 h 2510409"/>
                  <a:gd name="connsiteX33" fmla="*/ 7049636 w 12045155"/>
                  <a:gd name="connsiteY33" fmla="*/ 199189 h 2510409"/>
                  <a:gd name="connsiteX34" fmla="*/ 6342549 w 12045155"/>
                  <a:gd name="connsiteY34" fmla="*/ 146630 h 2510409"/>
                  <a:gd name="connsiteX35" fmla="*/ 5902209 w 12045155"/>
                  <a:gd name="connsiteY35" fmla="*/ 249658 h 2510409"/>
                  <a:gd name="connsiteX36" fmla="*/ 5182195 w 12045155"/>
                  <a:gd name="connsiteY36" fmla="*/ 292664 h 2510409"/>
                  <a:gd name="connsiteX37" fmla="*/ 3822487 w 12045155"/>
                  <a:gd name="connsiteY37" fmla="*/ 90799 h 2510409"/>
                  <a:gd name="connsiteX38" fmla="*/ 2370177 w 12045155"/>
                  <a:gd name="connsiteY38" fmla="*/ 156695 h 2510409"/>
                  <a:gd name="connsiteX39" fmla="*/ 578745 w 12045155"/>
                  <a:gd name="connsiteY39" fmla="*/ 148189 h 2510409"/>
                  <a:gd name="connsiteX40" fmla="*/ 38923 w 12045155"/>
                  <a:gd name="connsiteY40" fmla="*/ 157240 h 2510409"/>
                  <a:gd name="connsiteX0" fmla="*/ 38923 w 12045155"/>
                  <a:gd name="connsiteY0" fmla="*/ 157240 h 2510087"/>
                  <a:gd name="connsiteX1" fmla="*/ 4765 w 12045155"/>
                  <a:gd name="connsiteY1" fmla="*/ 229969 h 2510087"/>
                  <a:gd name="connsiteX2" fmla="*/ 16985 w 12045155"/>
                  <a:gd name="connsiteY2" fmla="*/ 441204 h 2510087"/>
                  <a:gd name="connsiteX3" fmla="*/ 31647 w 12045155"/>
                  <a:gd name="connsiteY3" fmla="*/ 700450 h 2510087"/>
                  <a:gd name="connsiteX4" fmla="*/ 43864 w 12045155"/>
                  <a:gd name="connsiteY4" fmla="*/ 777266 h 2510087"/>
                  <a:gd name="connsiteX5" fmla="*/ 80207 w 12045155"/>
                  <a:gd name="connsiteY5" fmla="*/ 937416 h 2510087"/>
                  <a:gd name="connsiteX6" fmla="*/ 937008 w 12045155"/>
                  <a:gd name="connsiteY6" fmla="*/ 844973 h 2510087"/>
                  <a:gd name="connsiteX7" fmla="*/ 1631867 w 12045155"/>
                  <a:gd name="connsiteY7" fmla="*/ 878961 h 2510087"/>
                  <a:gd name="connsiteX8" fmla="*/ 2087877 w 12045155"/>
                  <a:gd name="connsiteY8" fmla="*/ 819473 h 2510087"/>
                  <a:gd name="connsiteX9" fmla="*/ 2565599 w 12045155"/>
                  <a:gd name="connsiteY9" fmla="*/ 819473 h 2510087"/>
                  <a:gd name="connsiteX10" fmla="*/ 3336468 w 12045155"/>
                  <a:gd name="connsiteY10" fmla="*/ 861967 h 2510087"/>
                  <a:gd name="connsiteX11" fmla="*/ 4215904 w 12045155"/>
                  <a:gd name="connsiteY11" fmla="*/ 844973 h 2510087"/>
                  <a:gd name="connsiteX12" fmla="*/ 4845622 w 12045155"/>
                  <a:gd name="connsiteY12" fmla="*/ 853479 h 2510087"/>
                  <a:gd name="connsiteX13" fmla="*/ 5681632 w 12045155"/>
                  <a:gd name="connsiteY13" fmla="*/ 853479 h 2510087"/>
                  <a:gd name="connsiteX14" fmla="*/ 6745645 w 12045155"/>
                  <a:gd name="connsiteY14" fmla="*/ 878979 h 2510087"/>
                  <a:gd name="connsiteX15" fmla="*/ 7494800 w 12045155"/>
                  <a:gd name="connsiteY15" fmla="*/ 870473 h 2510087"/>
                  <a:gd name="connsiteX16" fmla="*/ 8026795 w 12045155"/>
                  <a:gd name="connsiteY16" fmla="*/ 861967 h 2510087"/>
                  <a:gd name="connsiteX17" fmla="*/ 8504518 w 12045155"/>
                  <a:gd name="connsiteY17" fmla="*/ 827979 h 2510087"/>
                  <a:gd name="connsiteX18" fmla="*/ 9217808 w 12045155"/>
                  <a:gd name="connsiteY18" fmla="*/ 2091547 h 2510087"/>
                  <a:gd name="connsiteX19" fmla="*/ 10149208 w 12045155"/>
                  <a:gd name="connsiteY19" fmla="*/ 2510086 h 2510087"/>
                  <a:gd name="connsiteX20" fmla="*/ 11195242 w 12045155"/>
                  <a:gd name="connsiteY20" fmla="*/ 2091549 h 2510087"/>
                  <a:gd name="connsiteX21" fmla="*/ 11309876 w 12045155"/>
                  <a:gd name="connsiteY21" fmla="*/ 1618413 h 2510087"/>
                  <a:gd name="connsiteX22" fmla="*/ 11797069 w 12045155"/>
                  <a:gd name="connsiteY22" fmla="*/ 999707 h 2510087"/>
                  <a:gd name="connsiteX23" fmla="*/ 12045155 w 12045155"/>
                  <a:gd name="connsiteY23" fmla="*/ 699393 h 2510087"/>
                  <a:gd name="connsiteX24" fmla="*/ 12045155 w 12045155"/>
                  <a:gd name="connsiteY24" fmla="*/ 261011 h 2510087"/>
                  <a:gd name="connsiteX25" fmla="*/ 11438839 w 12045155"/>
                  <a:gd name="connsiteY25" fmla="*/ 435586 h 2510087"/>
                  <a:gd name="connsiteX26" fmla="*/ 11059114 w 12045155"/>
                  <a:gd name="connsiteY26" fmla="*/ 1047471 h 2510087"/>
                  <a:gd name="connsiteX27" fmla="*/ 10602369 w 12045155"/>
                  <a:gd name="connsiteY27" fmla="*/ 1661632 h 2510087"/>
                  <a:gd name="connsiteX28" fmla="*/ 10034574 w 12045155"/>
                  <a:gd name="connsiteY28" fmla="*/ 1618415 h 2510087"/>
                  <a:gd name="connsiteX29" fmla="*/ 9527677 w 12045155"/>
                  <a:gd name="connsiteY29" fmla="*/ 1058846 h 2510087"/>
                  <a:gd name="connsiteX30" fmla="*/ 9053022 w 12045155"/>
                  <a:gd name="connsiteY30" fmla="*/ 581165 h 2510087"/>
                  <a:gd name="connsiteX31" fmla="*/ 8450223 w 12045155"/>
                  <a:gd name="connsiteY31" fmla="*/ 156695 h 2510087"/>
                  <a:gd name="connsiteX32" fmla="*/ 7635927 w 12045155"/>
                  <a:gd name="connsiteY32" fmla="*/ 105714 h 2510087"/>
                  <a:gd name="connsiteX33" fmla="*/ 7049636 w 12045155"/>
                  <a:gd name="connsiteY33" fmla="*/ 199189 h 2510087"/>
                  <a:gd name="connsiteX34" fmla="*/ 6342549 w 12045155"/>
                  <a:gd name="connsiteY34" fmla="*/ 146630 h 2510087"/>
                  <a:gd name="connsiteX35" fmla="*/ 5902209 w 12045155"/>
                  <a:gd name="connsiteY35" fmla="*/ 249658 h 2510087"/>
                  <a:gd name="connsiteX36" fmla="*/ 5182195 w 12045155"/>
                  <a:gd name="connsiteY36" fmla="*/ 292664 h 2510087"/>
                  <a:gd name="connsiteX37" fmla="*/ 3822487 w 12045155"/>
                  <a:gd name="connsiteY37" fmla="*/ 90799 h 2510087"/>
                  <a:gd name="connsiteX38" fmla="*/ 2370177 w 12045155"/>
                  <a:gd name="connsiteY38" fmla="*/ 156695 h 2510087"/>
                  <a:gd name="connsiteX39" fmla="*/ 578745 w 12045155"/>
                  <a:gd name="connsiteY39" fmla="*/ 148189 h 2510087"/>
                  <a:gd name="connsiteX40" fmla="*/ 38923 w 12045155"/>
                  <a:gd name="connsiteY40" fmla="*/ 157240 h 2510087"/>
                  <a:gd name="connsiteX0" fmla="*/ 38923 w 12045155"/>
                  <a:gd name="connsiteY0" fmla="*/ 157240 h 2510087"/>
                  <a:gd name="connsiteX1" fmla="*/ 4765 w 12045155"/>
                  <a:gd name="connsiteY1" fmla="*/ 229969 h 2510087"/>
                  <a:gd name="connsiteX2" fmla="*/ 16985 w 12045155"/>
                  <a:gd name="connsiteY2" fmla="*/ 441204 h 2510087"/>
                  <a:gd name="connsiteX3" fmla="*/ 31647 w 12045155"/>
                  <a:gd name="connsiteY3" fmla="*/ 700450 h 2510087"/>
                  <a:gd name="connsiteX4" fmla="*/ 43864 w 12045155"/>
                  <a:gd name="connsiteY4" fmla="*/ 777266 h 2510087"/>
                  <a:gd name="connsiteX5" fmla="*/ 80207 w 12045155"/>
                  <a:gd name="connsiteY5" fmla="*/ 937416 h 2510087"/>
                  <a:gd name="connsiteX6" fmla="*/ 937008 w 12045155"/>
                  <a:gd name="connsiteY6" fmla="*/ 844973 h 2510087"/>
                  <a:gd name="connsiteX7" fmla="*/ 1631867 w 12045155"/>
                  <a:gd name="connsiteY7" fmla="*/ 878961 h 2510087"/>
                  <a:gd name="connsiteX8" fmla="*/ 2087877 w 12045155"/>
                  <a:gd name="connsiteY8" fmla="*/ 819473 h 2510087"/>
                  <a:gd name="connsiteX9" fmla="*/ 2565599 w 12045155"/>
                  <a:gd name="connsiteY9" fmla="*/ 819473 h 2510087"/>
                  <a:gd name="connsiteX10" fmla="*/ 3336468 w 12045155"/>
                  <a:gd name="connsiteY10" fmla="*/ 861967 h 2510087"/>
                  <a:gd name="connsiteX11" fmla="*/ 4215904 w 12045155"/>
                  <a:gd name="connsiteY11" fmla="*/ 844973 h 2510087"/>
                  <a:gd name="connsiteX12" fmla="*/ 4845622 w 12045155"/>
                  <a:gd name="connsiteY12" fmla="*/ 853479 h 2510087"/>
                  <a:gd name="connsiteX13" fmla="*/ 5681632 w 12045155"/>
                  <a:gd name="connsiteY13" fmla="*/ 853479 h 2510087"/>
                  <a:gd name="connsiteX14" fmla="*/ 6745645 w 12045155"/>
                  <a:gd name="connsiteY14" fmla="*/ 878979 h 2510087"/>
                  <a:gd name="connsiteX15" fmla="*/ 7494800 w 12045155"/>
                  <a:gd name="connsiteY15" fmla="*/ 870473 h 2510087"/>
                  <a:gd name="connsiteX16" fmla="*/ 8026795 w 12045155"/>
                  <a:gd name="connsiteY16" fmla="*/ 861967 h 2510087"/>
                  <a:gd name="connsiteX17" fmla="*/ 8504518 w 12045155"/>
                  <a:gd name="connsiteY17" fmla="*/ 827979 h 2510087"/>
                  <a:gd name="connsiteX18" fmla="*/ 9217808 w 12045155"/>
                  <a:gd name="connsiteY18" fmla="*/ 2091547 h 2510087"/>
                  <a:gd name="connsiteX19" fmla="*/ 10149208 w 12045155"/>
                  <a:gd name="connsiteY19" fmla="*/ 2510086 h 2510087"/>
                  <a:gd name="connsiteX20" fmla="*/ 11195242 w 12045155"/>
                  <a:gd name="connsiteY20" fmla="*/ 2091549 h 2510087"/>
                  <a:gd name="connsiteX21" fmla="*/ 11625119 w 12045155"/>
                  <a:gd name="connsiteY21" fmla="*/ 1600216 h 2510087"/>
                  <a:gd name="connsiteX22" fmla="*/ 11797069 w 12045155"/>
                  <a:gd name="connsiteY22" fmla="*/ 999707 h 2510087"/>
                  <a:gd name="connsiteX23" fmla="*/ 12045155 w 12045155"/>
                  <a:gd name="connsiteY23" fmla="*/ 699393 h 2510087"/>
                  <a:gd name="connsiteX24" fmla="*/ 12045155 w 12045155"/>
                  <a:gd name="connsiteY24" fmla="*/ 261011 h 2510087"/>
                  <a:gd name="connsiteX25" fmla="*/ 11438839 w 12045155"/>
                  <a:gd name="connsiteY25" fmla="*/ 435586 h 2510087"/>
                  <a:gd name="connsiteX26" fmla="*/ 11059114 w 12045155"/>
                  <a:gd name="connsiteY26" fmla="*/ 1047471 h 2510087"/>
                  <a:gd name="connsiteX27" fmla="*/ 10602369 w 12045155"/>
                  <a:gd name="connsiteY27" fmla="*/ 1661632 h 2510087"/>
                  <a:gd name="connsiteX28" fmla="*/ 10034574 w 12045155"/>
                  <a:gd name="connsiteY28" fmla="*/ 1618415 h 2510087"/>
                  <a:gd name="connsiteX29" fmla="*/ 9527677 w 12045155"/>
                  <a:gd name="connsiteY29" fmla="*/ 1058846 h 2510087"/>
                  <a:gd name="connsiteX30" fmla="*/ 9053022 w 12045155"/>
                  <a:gd name="connsiteY30" fmla="*/ 581165 h 2510087"/>
                  <a:gd name="connsiteX31" fmla="*/ 8450223 w 12045155"/>
                  <a:gd name="connsiteY31" fmla="*/ 156695 h 2510087"/>
                  <a:gd name="connsiteX32" fmla="*/ 7635927 w 12045155"/>
                  <a:gd name="connsiteY32" fmla="*/ 105714 h 2510087"/>
                  <a:gd name="connsiteX33" fmla="*/ 7049636 w 12045155"/>
                  <a:gd name="connsiteY33" fmla="*/ 199189 h 2510087"/>
                  <a:gd name="connsiteX34" fmla="*/ 6342549 w 12045155"/>
                  <a:gd name="connsiteY34" fmla="*/ 146630 h 2510087"/>
                  <a:gd name="connsiteX35" fmla="*/ 5902209 w 12045155"/>
                  <a:gd name="connsiteY35" fmla="*/ 249658 h 2510087"/>
                  <a:gd name="connsiteX36" fmla="*/ 5182195 w 12045155"/>
                  <a:gd name="connsiteY36" fmla="*/ 292664 h 2510087"/>
                  <a:gd name="connsiteX37" fmla="*/ 3822487 w 12045155"/>
                  <a:gd name="connsiteY37" fmla="*/ 90799 h 2510087"/>
                  <a:gd name="connsiteX38" fmla="*/ 2370177 w 12045155"/>
                  <a:gd name="connsiteY38" fmla="*/ 156695 h 2510087"/>
                  <a:gd name="connsiteX39" fmla="*/ 578745 w 12045155"/>
                  <a:gd name="connsiteY39" fmla="*/ 148189 h 2510087"/>
                  <a:gd name="connsiteX40" fmla="*/ 38923 w 12045155"/>
                  <a:gd name="connsiteY40" fmla="*/ 157240 h 2510087"/>
                  <a:gd name="connsiteX0" fmla="*/ 38923 w 12045155"/>
                  <a:gd name="connsiteY0" fmla="*/ 157240 h 2510087"/>
                  <a:gd name="connsiteX1" fmla="*/ 4765 w 12045155"/>
                  <a:gd name="connsiteY1" fmla="*/ 229969 h 2510087"/>
                  <a:gd name="connsiteX2" fmla="*/ 16985 w 12045155"/>
                  <a:gd name="connsiteY2" fmla="*/ 441204 h 2510087"/>
                  <a:gd name="connsiteX3" fmla="*/ 31647 w 12045155"/>
                  <a:gd name="connsiteY3" fmla="*/ 700450 h 2510087"/>
                  <a:gd name="connsiteX4" fmla="*/ 43864 w 12045155"/>
                  <a:gd name="connsiteY4" fmla="*/ 777266 h 2510087"/>
                  <a:gd name="connsiteX5" fmla="*/ 80207 w 12045155"/>
                  <a:gd name="connsiteY5" fmla="*/ 937416 h 2510087"/>
                  <a:gd name="connsiteX6" fmla="*/ 937008 w 12045155"/>
                  <a:gd name="connsiteY6" fmla="*/ 844973 h 2510087"/>
                  <a:gd name="connsiteX7" fmla="*/ 1631867 w 12045155"/>
                  <a:gd name="connsiteY7" fmla="*/ 878961 h 2510087"/>
                  <a:gd name="connsiteX8" fmla="*/ 2087877 w 12045155"/>
                  <a:gd name="connsiteY8" fmla="*/ 819473 h 2510087"/>
                  <a:gd name="connsiteX9" fmla="*/ 2565599 w 12045155"/>
                  <a:gd name="connsiteY9" fmla="*/ 819473 h 2510087"/>
                  <a:gd name="connsiteX10" fmla="*/ 3336468 w 12045155"/>
                  <a:gd name="connsiteY10" fmla="*/ 861967 h 2510087"/>
                  <a:gd name="connsiteX11" fmla="*/ 4215904 w 12045155"/>
                  <a:gd name="connsiteY11" fmla="*/ 844973 h 2510087"/>
                  <a:gd name="connsiteX12" fmla="*/ 4845622 w 12045155"/>
                  <a:gd name="connsiteY12" fmla="*/ 853479 h 2510087"/>
                  <a:gd name="connsiteX13" fmla="*/ 5681632 w 12045155"/>
                  <a:gd name="connsiteY13" fmla="*/ 853479 h 2510087"/>
                  <a:gd name="connsiteX14" fmla="*/ 6745645 w 12045155"/>
                  <a:gd name="connsiteY14" fmla="*/ 878979 h 2510087"/>
                  <a:gd name="connsiteX15" fmla="*/ 7494800 w 12045155"/>
                  <a:gd name="connsiteY15" fmla="*/ 870473 h 2510087"/>
                  <a:gd name="connsiteX16" fmla="*/ 8026795 w 12045155"/>
                  <a:gd name="connsiteY16" fmla="*/ 861967 h 2510087"/>
                  <a:gd name="connsiteX17" fmla="*/ 8647812 w 12045155"/>
                  <a:gd name="connsiteY17" fmla="*/ 1264715 h 2510087"/>
                  <a:gd name="connsiteX18" fmla="*/ 9217808 w 12045155"/>
                  <a:gd name="connsiteY18" fmla="*/ 2091547 h 2510087"/>
                  <a:gd name="connsiteX19" fmla="*/ 10149208 w 12045155"/>
                  <a:gd name="connsiteY19" fmla="*/ 2510086 h 2510087"/>
                  <a:gd name="connsiteX20" fmla="*/ 11195242 w 12045155"/>
                  <a:gd name="connsiteY20" fmla="*/ 2091549 h 2510087"/>
                  <a:gd name="connsiteX21" fmla="*/ 11625119 w 12045155"/>
                  <a:gd name="connsiteY21" fmla="*/ 1600216 h 2510087"/>
                  <a:gd name="connsiteX22" fmla="*/ 11797069 w 12045155"/>
                  <a:gd name="connsiteY22" fmla="*/ 999707 h 2510087"/>
                  <a:gd name="connsiteX23" fmla="*/ 12045155 w 12045155"/>
                  <a:gd name="connsiteY23" fmla="*/ 699393 h 2510087"/>
                  <a:gd name="connsiteX24" fmla="*/ 12045155 w 12045155"/>
                  <a:gd name="connsiteY24" fmla="*/ 261011 h 2510087"/>
                  <a:gd name="connsiteX25" fmla="*/ 11438839 w 12045155"/>
                  <a:gd name="connsiteY25" fmla="*/ 435586 h 2510087"/>
                  <a:gd name="connsiteX26" fmla="*/ 11059114 w 12045155"/>
                  <a:gd name="connsiteY26" fmla="*/ 1047471 h 2510087"/>
                  <a:gd name="connsiteX27" fmla="*/ 10602369 w 12045155"/>
                  <a:gd name="connsiteY27" fmla="*/ 1661632 h 2510087"/>
                  <a:gd name="connsiteX28" fmla="*/ 10034574 w 12045155"/>
                  <a:gd name="connsiteY28" fmla="*/ 1618415 h 2510087"/>
                  <a:gd name="connsiteX29" fmla="*/ 9527677 w 12045155"/>
                  <a:gd name="connsiteY29" fmla="*/ 1058846 h 2510087"/>
                  <a:gd name="connsiteX30" fmla="*/ 9053022 w 12045155"/>
                  <a:gd name="connsiteY30" fmla="*/ 581165 h 2510087"/>
                  <a:gd name="connsiteX31" fmla="*/ 8450223 w 12045155"/>
                  <a:gd name="connsiteY31" fmla="*/ 156695 h 2510087"/>
                  <a:gd name="connsiteX32" fmla="*/ 7635927 w 12045155"/>
                  <a:gd name="connsiteY32" fmla="*/ 105714 h 2510087"/>
                  <a:gd name="connsiteX33" fmla="*/ 7049636 w 12045155"/>
                  <a:gd name="connsiteY33" fmla="*/ 199189 h 2510087"/>
                  <a:gd name="connsiteX34" fmla="*/ 6342549 w 12045155"/>
                  <a:gd name="connsiteY34" fmla="*/ 146630 h 2510087"/>
                  <a:gd name="connsiteX35" fmla="*/ 5902209 w 12045155"/>
                  <a:gd name="connsiteY35" fmla="*/ 249658 h 2510087"/>
                  <a:gd name="connsiteX36" fmla="*/ 5182195 w 12045155"/>
                  <a:gd name="connsiteY36" fmla="*/ 292664 h 2510087"/>
                  <a:gd name="connsiteX37" fmla="*/ 3822487 w 12045155"/>
                  <a:gd name="connsiteY37" fmla="*/ 90799 h 2510087"/>
                  <a:gd name="connsiteX38" fmla="*/ 2370177 w 12045155"/>
                  <a:gd name="connsiteY38" fmla="*/ 156695 h 2510087"/>
                  <a:gd name="connsiteX39" fmla="*/ 578745 w 12045155"/>
                  <a:gd name="connsiteY39" fmla="*/ 148189 h 2510087"/>
                  <a:gd name="connsiteX40" fmla="*/ 38923 w 12045155"/>
                  <a:gd name="connsiteY40" fmla="*/ 157240 h 2510087"/>
                  <a:gd name="connsiteX0" fmla="*/ 38923 w 12045155"/>
                  <a:gd name="connsiteY0" fmla="*/ 157240 h 2510087"/>
                  <a:gd name="connsiteX1" fmla="*/ 4765 w 12045155"/>
                  <a:gd name="connsiteY1" fmla="*/ 229969 h 2510087"/>
                  <a:gd name="connsiteX2" fmla="*/ 16985 w 12045155"/>
                  <a:gd name="connsiteY2" fmla="*/ 441204 h 2510087"/>
                  <a:gd name="connsiteX3" fmla="*/ 31647 w 12045155"/>
                  <a:gd name="connsiteY3" fmla="*/ 700450 h 2510087"/>
                  <a:gd name="connsiteX4" fmla="*/ 43864 w 12045155"/>
                  <a:gd name="connsiteY4" fmla="*/ 777266 h 2510087"/>
                  <a:gd name="connsiteX5" fmla="*/ 80207 w 12045155"/>
                  <a:gd name="connsiteY5" fmla="*/ 937416 h 2510087"/>
                  <a:gd name="connsiteX6" fmla="*/ 937008 w 12045155"/>
                  <a:gd name="connsiteY6" fmla="*/ 844973 h 2510087"/>
                  <a:gd name="connsiteX7" fmla="*/ 1631867 w 12045155"/>
                  <a:gd name="connsiteY7" fmla="*/ 878961 h 2510087"/>
                  <a:gd name="connsiteX8" fmla="*/ 2087877 w 12045155"/>
                  <a:gd name="connsiteY8" fmla="*/ 819473 h 2510087"/>
                  <a:gd name="connsiteX9" fmla="*/ 2565599 w 12045155"/>
                  <a:gd name="connsiteY9" fmla="*/ 819473 h 2510087"/>
                  <a:gd name="connsiteX10" fmla="*/ 3336468 w 12045155"/>
                  <a:gd name="connsiteY10" fmla="*/ 861967 h 2510087"/>
                  <a:gd name="connsiteX11" fmla="*/ 4215904 w 12045155"/>
                  <a:gd name="connsiteY11" fmla="*/ 844973 h 2510087"/>
                  <a:gd name="connsiteX12" fmla="*/ 4845622 w 12045155"/>
                  <a:gd name="connsiteY12" fmla="*/ 853479 h 2510087"/>
                  <a:gd name="connsiteX13" fmla="*/ 5681632 w 12045155"/>
                  <a:gd name="connsiteY13" fmla="*/ 853479 h 2510087"/>
                  <a:gd name="connsiteX14" fmla="*/ 6745645 w 12045155"/>
                  <a:gd name="connsiteY14" fmla="*/ 878979 h 2510087"/>
                  <a:gd name="connsiteX15" fmla="*/ 7494800 w 12045155"/>
                  <a:gd name="connsiteY15" fmla="*/ 870473 h 2510087"/>
                  <a:gd name="connsiteX16" fmla="*/ 8026795 w 12045155"/>
                  <a:gd name="connsiteY16" fmla="*/ 861967 h 2510087"/>
                  <a:gd name="connsiteX17" fmla="*/ 8647812 w 12045155"/>
                  <a:gd name="connsiteY17" fmla="*/ 1264715 h 2510087"/>
                  <a:gd name="connsiteX18" fmla="*/ 9217808 w 12045155"/>
                  <a:gd name="connsiteY18" fmla="*/ 2091547 h 2510087"/>
                  <a:gd name="connsiteX19" fmla="*/ 10149208 w 12045155"/>
                  <a:gd name="connsiteY19" fmla="*/ 2510086 h 2510087"/>
                  <a:gd name="connsiteX20" fmla="*/ 11195242 w 12045155"/>
                  <a:gd name="connsiteY20" fmla="*/ 2091549 h 2510087"/>
                  <a:gd name="connsiteX21" fmla="*/ 11486173 w 12045155"/>
                  <a:gd name="connsiteY21" fmla="*/ 1445814 h 2510087"/>
                  <a:gd name="connsiteX22" fmla="*/ 11797069 w 12045155"/>
                  <a:gd name="connsiteY22" fmla="*/ 999707 h 2510087"/>
                  <a:gd name="connsiteX23" fmla="*/ 12045155 w 12045155"/>
                  <a:gd name="connsiteY23" fmla="*/ 699393 h 2510087"/>
                  <a:gd name="connsiteX24" fmla="*/ 12045155 w 12045155"/>
                  <a:gd name="connsiteY24" fmla="*/ 261011 h 2510087"/>
                  <a:gd name="connsiteX25" fmla="*/ 11438839 w 12045155"/>
                  <a:gd name="connsiteY25" fmla="*/ 435586 h 2510087"/>
                  <a:gd name="connsiteX26" fmla="*/ 11059114 w 12045155"/>
                  <a:gd name="connsiteY26" fmla="*/ 1047471 h 2510087"/>
                  <a:gd name="connsiteX27" fmla="*/ 10602369 w 12045155"/>
                  <a:gd name="connsiteY27" fmla="*/ 1661632 h 2510087"/>
                  <a:gd name="connsiteX28" fmla="*/ 10034574 w 12045155"/>
                  <a:gd name="connsiteY28" fmla="*/ 1618415 h 2510087"/>
                  <a:gd name="connsiteX29" fmla="*/ 9527677 w 12045155"/>
                  <a:gd name="connsiteY29" fmla="*/ 1058846 h 2510087"/>
                  <a:gd name="connsiteX30" fmla="*/ 9053022 w 12045155"/>
                  <a:gd name="connsiteY30" fmla="*/ 581165 h 2510087"/>
                  <a:gd name="connsiteX31" fmla="*/ 8450223 w 12045155"/>
                  <a:gd name="connsiteY31" fmla="*/ 156695 h 2510087"/>
                  <a:gd name="connsiteX32" fmla="*/ 7635927 w 12045155"/>
                  <a:gd name="connsiteY32" fmla="*/ 105714 h 2510087"/>
                  <a:gd name="connsiteX33" fmla="*/ 7049636 w 12045155"/>
                  <a:gd name="connsiteY33" fmla="*/ 199189 h 2510087"/>
                  <a:gd name="connsiteX34" fmla="*/ 6342549 w 12045155"/>
                  <a:gd name="connsiteY34" fmla="*/ 146630 h 2510087"/>
                  <a:gd name="connsiteX35" fmla="*/ 5902209 w 12045155"/>
                  <a:gd name="connsiteY35" fmla="*/ 249658 h 2510087"/>
                  <a:gd name="connsiteX36" fmla="*/ 5182195 w 12045155"/>
                  <a:gd name="connsiteY36" fmla="*/ 292664 h 2510087"/>
                  <a:gd name="connsiteX37" fmla="*/ 3822487 w 12045155"/>
                  <a:gd name="connsiteY37" fmla="*/ 90799 h 2510087"/>
                  <a:gd name="connsiteX38" fmla="*/ 2370177 w 12045155"/>
                  <a:gd name="connsiteY38" fmla="*/ 156695 h 2510087"/>
                  <a:gd name="connsiteX39" fmla="*/ 578745 w 12045155"/>
                  <a:gd name="connsiteY39" fmla="*/ 148189 h 2510087"/>
                  <a:gd name="connsiteX40" fmla="*/ 38923 w 12045155"/>
                  <a:gd name="connsiteY40" fmla="*/ 157240 h 2510087"/>
                  <a:gd name="connsiteX0" fmla="*/ 38923 w 12045155"/>
                  <a:gd name="connsiteY0" fmla="*/ 157240 h 2510087"/>
                  <a:gd name="connsiteX1" fmla="*/ 4765 w 12045155"/>
                  <a:gd name="connsiteY1" fmla="*/ 229969 h 2510087"/>
                  <a:gd name="connsiteX2" fmla="*/ 8249783 w 12045155"/>
                  <a:gd name="connsiteY2" fmla="*/ 507371 h 2510087"/>
                  <a:gd name="connsiteX3" fmla="*/ 31647 w 12045155"/>
                  <a:gd name="connsiteY3" fmla="*/ 700450 h 2510087"/>
                  <a:gd name="connsiteX4" fmla="*/ 43864 w 12045155"/>
                  <a:gd name="connsiteY4" fmla="*/ 777266 h 2510087"/>
                  <a:gd name="connsiteX5" fmla="*/ 80207 w 12045155"/>
                  <a:gd name="connsiteY5" fmla="*/ 937416 h 2510087"/>
                  <a:gd name="connsiteX6" fmla="*/ 937008 w 12045155"/>
                  <a:gd name="connsiteY6" fmla="*/ 844973 h 2510087"/>
                  <a:gd name="connsiteX7" fmla="*/ 1631867 w 12045155"/>
                  <a:gd name="connsiteY7" fmla="*/ 878961 h 2510087"/>
                  <a:gd name="connsiteX8" fmla="*/ 2087877 w 12045155"/>
                  <a:gd name="connsiteY8" fmla="*/ 819473 h 2510087"/>
                  <a:gd name="connsiteX9" fmla="*/ 2565599 w 12045155"/>
                  <a:gd name="connsiteY9" fmla="*/ 819473 h 2510087"/>
                  <a:gd name="connsiteX10" fmla="*/ 3336468 w 12045155"/>
                  <a:gd name="connsiteY10" fmla="*/ 861967 h 2510087"/>
                  <a:gd name="connsiteX11" fmla="*/ 4215904 w 12045155"/>
                  <a:gd name="connsiteY11" fmla="*/ 844973 h 2510087"/>
                  <a:gd name="connsiteX12" fmla="*/ 4845622 w 12045155"/>
                  <a:gd name="connsiteY12" fmla="*/ 853479 h 2510087"/>
                  <a:gd name="connsiteX13" fmla="*/ 5681632 w 12045155"/>
                  <a:gd name="connsiteY13" fmla="*/ 853479 h 2510087"/>
                  <a:gd name="connsiteX14" fmla="*/ 6745645 w 12045155"/>
                  <a:gd name="connsiteY14" fmla="*/ 878979 h 2510087"/>
                  <a:gd name="connsiteX15" fmla="*/ 7494800 w 12045155"/>
                  <a:gd name="connsiteY15" fmla="*/ 870473 h 2510087"/>
                  <a:gd name="connsiteX16" fmla="*/ 8026795 w 12045155"/>
                  <a:gd name="connsiteY16" fmla="*/ 861967 h 2510087"/>
                  <a:gd name="connsiteX17" fmla="*/ 8647812 w 12045155"/>
                  <a:gd name="connsiteY17" fmla="*/ 1264715 h 2510087"/>
                  <a:gd name="connsiteX18" fmla="*/ 9217808 w 12045155"/>
                  <a:gd name="connsiteY18" fmla="*/ 2091547 h 2510087"/>
                  <a:gd name="connsiteX19" fmla="*/ 10149208 w 12045155"/>
                  <a:gd name="connsiteY19" fmla="*/ 2510086 h 2510087"/>
                  <a:gd name="connsiteX20" fmla="*/ 11195242 w 12045155"/>
                  <a:gd name="connsiteY20" fmla="*/ 2091549 h 2510087"/>
                  <a:gd name="connsiteX21" fmla="*/ 11486173 w 12045155"/>
                  <a:gd name="connsiteY21" fmla="*/ 1445814 h 2510087"/>
                  <a:gd name="connsiteX22" fmla="*/ 11797069 w 12045155"/>
                  <a:gd name="connsiteY22" fmla="*/ 999707 h 2510087"/>
                  <a:gd name="connsiteX23" fmla="*/ 12045155 w 12045155"/>
                  <a:gd name="connsiteY23" fmla="*/ 699393 h 2510087"/>
                  <a:gd name="connsiteX24" fmla="*/ 12045155 w 12045155"/>
                  <a:gd name="connsiteY24" fmla="*/ 261011 h 2510087"/>
                  <a:gd name="connsiteX25" fmla="*/ 11438839 w 12045155"/>
                  <a:gd name="connsiteY25" fmla="*/ 435586 h 2510087"/>
                  <a:gd name="connsiteX26" fmla="*/ 11059114 w 12045155"/>
                  <a:gd name="connsiteY26" fmla="*/ 1047471 h 2510087"/>
                  <a:gd name="connsiteX27" fmla="*/ 10602369 w 12045155"/>
                  <a:gd name="connsiteY27" fmla="*/ 1661632 h 2510087"/>
                  <a:gd name="connsiteX28" fmla="*/ 10034574 w 12045155"/>
                  <a:gd name="connsiteY28" fmla="*/ 1618415 h 2510087"/>
                  <a:gd name="connsiteX29" fmla="*/ 9527677 w 12045155"/>
                  <a:gd name="connsiteY29" fmla="*/ 1058846 h 2510087"/>
                  <a:gd name="connsiteX30" fmla="*/ 9053022 w 12045155"/>
                  <a:gd name="connsiteY30" fmla="*/ 581165 h 2510087"/>
                  <a:gd name="connsiteX31" fmla="*/ 8450223 w 12045155"/>
                  <a:gd name="connsiteY31" fmla="*/ 156695 h 2510087"/>
                  <a:gd name="connsiteX32" fmla="*/ 7635927 w 12045155"/>
                  <a:gd name="connsiteY32" fmla="*/ 105714 h 2510087"/>
                  <a:gd name="connsiteX33" fmla="*/ 7049636 w 12045155"/>
                  <a:gd name="connsiteY33" fmla="*/ 199189 h 2510087"/>
                  <a:gd name="connsiteX34" fmla="*/ 6342549 w 12045155"/>
                  <a:gd name="connsiteY34" fmla="*/ 146630 h 2510087"/>
                  <a:gd name="connsiteX35" fmla="*/ 5902209 w 12045155"/>
                  <a:gd name="connsiteY35" fmla="*/ 249658 h 2510087"/>
                  <a:gd name="connsiteX36" fmla="*/ 5182195 w 12045155"/>
                  <a:gd name="connsiteY36" fmla="*/ 292664 h 2510087"/>
                  <a:gd name="connsiteX37" fmla="*/ 3822487 w 12045155"/>
                  <a:gd name="connsiteY37" fmla="*/ 90799 h 2510087"/>
                  <a:gd name="connsiteX38" fmla="*/ 2370177 w 12045155"/>
                  <a:gd name="connsiteY38" fmla="*/ 156695 h 2510087"/>
                  <a:gd name="connsiteX39" fmla="*/ 578745 w 12045155"/>
                  <a:gd name="connsiteY39" fmla="*/ 148189 h 2510087"/>
                  <a:gd name="connsiteX40" fmla="*/ 38923 w 12045155"/>
                  <a:gd name="connsiteY40" fmla="*/ 157240 h 2510087"/>
                  <a:gd name="connsiteX0" fmla="*/ 38923 w 12045155"/>
                  <a:gd name="connsiteY0" fmla="*/ 157240 h 2510087"/>
                  <a:gd name="connsiteX1" fmla="*/ 4765 w 12045155"/>
                  <a:gd name="connsiteY1" fmla="*/ 229969 h 2510087"/>
                  <a:gd name="connsiteX2" fmla="*/ 8249783 w 12045155"/>
                  <a:gd name="connsiteY2" fmla="*/ 507371 h 2510087"/>
                  <a:gd name="connsiteX3" fmla="*/ 31647 w 12045155"/>
                  <a:gd name="connsiteY3" fmla="*/ 700450 h 2510087"/>
                  <a:gd name="connsiteX4" fmla="*/ 43864 w 12045155"/>
                  <a:gd name="connsiteY4" fmla="*/ 777266 h 2510087"/>
                  <a:gd name="connsiteX5" fmla="*/ 80207 w 12045155"/>
                  <a:gd name="connsiteY5" fmla="*/ 937416 h 2510087"/>
                  <a:gd name="connsiteX6" fmla="*/ 937008 w 12045155"/>
                  <a:gd name="connsiteY6" fmla="*/ 844973 h 2510087"/>
                  <a:gd name="connsiteX7" fmla="*/ 1631867 w 12045155"/>
                  <a:gd name="connsiteY7" fmla="*/ 878961 h 2510087"/>
                  <a:gd name="connsiteX8" fmla="*/ 2087877 w 12045155"/>
                  <a:gd name="connsiteY8" fmla="*/ 819473 h 2510087"/>
                  <a:gd name="connsiteX9" fmla="*/ 2565599 w 12045155"/>
                  <a:gd name="connsiteY9" fmla="*/ 819473 h 2510087"/>
                  <a:gd name="connsiteX10" fmla="*/ 3336468 w 12045155"/>
                  <a:gd name="connsiteY10" fmla="*/ 861967 h 2510087"/>
                  <a:gd name="connsiteX11" fmla="*/ 4215904 w 12045155"/>
                  <a:gd name="connsiteY11" fmla="*/ 844973 h 2510087"/>
                  <a:gd name="connsiteX12" fmla="*/ 4845622 w 12045155"/>
                  <a:gd name="connsiteY12" fmla="*/ 853479 h 2510087"/>
                  <a:gd name="connsiteX13" fmla="*/ 5681632 w 12045155"/>
                  <a:gd name="connsiteY13" fmla="*/ 853479 h 2510087"/>
                  <a:gd name="connsiteX14" fmla="*/ 6745645 w 12045155"/>
                  <a:gd name="connsiteY14" fmla="*/ 878979 h 2510087"/>
                  <a:gd name="connsiteX15" fmla="*/ 7494800 w 12045155"/>
                  <a:gd name="connsiteY15" fmla="*/ 870473 h 2510087"/>
                  <a:gd name="connsiteX16" fmla="*/ 8026795 w 12045155"/>
                  <a:gd name="connsiteY16" fmla="*/ 861967 h 2510087"/>
                  <a:gd name="connsiteX17" fmla="*/ 8647812 w 12045155"/>
                  <a:gd name="connsiteY17" fmla="*/ 1264715 h 2510087"/>
                  <a:gd name="connsiteX18" fmla="*/ 9217808 w 12045155"/>
                  <a:gd name="connsiteY18" fmla="*/ 2091547 h 2510087"/>
                  <a:gd name="connsiteX19" fmla="*/ 10149208 w 12045155"/>
                  <a:gd name="connsiteY19" fmla="*/ 2510086 h 2510087"/>
                  <a:gd name="connsiteX20" fmla="*/ 11195242 w 12045155"/>
                  <a:gd name="connsiteY20" fmla="*/ 2091549 h 2510087"/>
                  <a:gd name="connsiteX21" fmla="*/ 11486173 w 12045155"/>
                  <a:gd name="connsiteY21" fmla="*/ 1445814 h 2510087"/>
                  <a:gd name="connsiteX22" fmla="*/ 11797069 w 12045155"/>
                  <a:gd name="connsiteY22" fmla="*/ 999707 h 2510087"/>
                  <a:gd name="connsiteX23" fmla="*/ 12045155 w 12045155"/>
                  <a:gd name="connsiteY23" fmla="*/ 699393 h 2510087"/>
                  <a:gd name="connsiteX24" fmla="*/ 12045155 w 12045155"/>
                  <a:gd name="connsiteY24" fmla="*/ 261011 h 2510087"/>
                  <a:gd name="connsiteX25" fmla="*/ 11438839 w 12045155"/>
                  <a:gd name="connsiteY25" fmla="*/ 435586 h 2510087"/>
                  <a:gd name="connsiteX26" fmla="*/ 11059114 w 12045155"/>
                  <a:gd name="connsiteY26" fmla="*/ 1047471 h 2510087"/>
                  <a:gd name="connsiteX27" fmla="*/ 10602369 w 12045155"/>
                  <a:gd name="connsiteY27" fmla="*/ 1661632 h 2510087"/>
                  <a:gd name="connsiteX28" fmla="*/ 10034574 w 12045155"/>
                  <a:gd name="connsiteY28" fmla="*/ 1618415 h 2510087"/>
                  <a:gd name="connsiteX29" fmla="*/ 9527677 w 12045155"/>
                  <a:gd name="connsiteY29" fmla="*/ 1058846 h 2510087"/>
                  <a:gd name="connsiteX30" fmla="*/ 9053022 w 12045155"/>
                  <a:gd name="connsiteY30" fmla="*/ 581165 h 2510087"/>
                  <a:gd name="connsiteX31" fmla="*/ 8450223 w 12045155"/>
                  <a:gd name="connsiteY31" fmla="*/ 156695 h 2510087"/>
                  <a:gd name="connsiteX32" fmla="*/ 7635927 w 12045155"/>
                  <a:gd name="connsiteY32" fmla="*/ 105714 h 2510087"/>
                  <a:gd name="connsiteX33" fmla="*/ 7049636 w 12045155"/>
                  <a:gd name="connsiteY33" fmla="*/ 199189 h 2510087"/>
                  <a:gd name="connsiteX34" fmla="*/ 6342549 w 12045155"/>
                  <a:gd name="connsiteY34" fmla="*/ 146630 h 2510087"/>
                  <a:gd name="connsiteX35" fmla="*/ 5902209 w 12045155"/>
                  <a:gd name="connsiteY35" fmla="*/ 249658 h 2510087"/>
                  <a:gd name="connsiteX36" fmla="*/ 5182195 w 12045155"/>
                  <a:gd name="connsiteY36" fmla="*/ 292664 h 2510087"/>
                  <a:gd name="connsiteX37" fmla="*/ 3822487 w 12045155"/>
                  <a:gd name="connsiteY37" fmla="*/ 90799 h 2510087"/>
                  <a:gd name="connsiteX38" fmla="*/ 2370177 w 12045155"/>
                  <a:gd name="connsiteY38" fmla="*/ 156695 h 2510087"/>
                  <a:gd name="connsiteX39" fmla="*/ 578745 w 12045155"/>
                  <a:gd name="connsiteY39" fmla="*/ 148189 h 2510087"/>
                  <a:gd name="connsiteX40" fmla="*/ 38923 w 12045155"/>
                  <a:gd name="connsiteY40" fmla="*/ 157240 h 2510087"/>
                  <a:gd name="connsiteX0" fmla="*/ 379789 w 12386021"/>
                  <a:gd name="connsiteY0" fmla="*/ 157240 h 2510087"/>
                  <a:gd name="connsiteX1" fmla="*/ 345631 w 12386021"/>
                  <a:gd name="connsiteY1" fmla="*/ 229969 h 2510087"/>
                  <a:gd name="connsiteX2" fmla="*/ 8590649 w 12386021"/>
                  <a:gd name="connsiteY2" fmla="*/ 507371 h 2510087"/>
                  <a:gd name="connsiteX3" fmla="*/ 372513 w 12386021"/>
                  <a:gd name="connsiteY3" fmla="*/ 700450 h 2510087"/>
                  <a:gd name="connsiteX4" fmla="*/ 8652699 w 12386021"/>
                  <a:gd name="connsiteY4" fmla="*/ 777261 h 2510087"/>
                  <a:gd name="connsiteX5" fmla="*/ 421073 w 12386021"/>
                  <a:gd name="connsiteY5" fmla="*/ 937416 h 2510087"/>
                  <a:gd name="connsiteX6" fmla="*/ 1277874 w 12386021"/>
                  <a:gd name="connsiteY6" fmla="*/ 844973 h 2510087"/>
                  <a:gd name="connsiteX7" fmla="*/ 1972733 w 12386021"/>
                  <a:gd name="connsiteY7" fmla="*/ 878961 h 2510087"/>
                  <a:gd name="connsiteX8" fmla="*/ 2428743 w 12386021"/>
                  <a:gd name="connsiteY8" fmla="*/ 819473 h 2510087"/>
                  <a:gd name="connsiteX9" fmla="*/ 2906465 w 12386021"/>
                  <a:gd name="connsiteY9" fmla="*/ 819473 h 2510087"/>
                  <a:gd name="connsiteX10" fmla="*/ 3677334 w 12386021"/>
                  <a:gd name="connsiteY10" fmla="*/ 861967 h 2510087"/>
                  <a:gd name="connsiteX11" fmla="*/ 4556770 w 12386021"/>
                  <a:gd name="connsiteY11" fmla="*/ 844973 h 2510087"/>
                  <a:gd name="connsiteX12" fmla="*/ 5186488 w 12386021"/>
                  <a:gd name="connsiteY12" fmla="*/ 853479 h 2510087"/>
                  <a:gd name="connsiteX13" fmla="*/ 6022498 w 12386021"/>
                  <a:gd name="connsiteY13" fmla="*/ 853479 h 2510087"/>
                  <a:gd name="connsiteX14" fmla="*/ 7086511 w 12386021"/>
                  <a:gd name="connsiteY14" fmla="*/ 878979 h 2510087"/>
                  <a:gd name="connsiteX15" fmla="*/ 7835666 w 12386021"/>
                  <a:gd name="connsiteY15" fmla="*/ 870473 h 2510087"/>
                  <a:gd name="connsiteX16" fmla="*/ 8367661 w 12386021"/>
                  <a:gd name="connsiteY16" fmla="*/ 861967 h 2510087"/>
                  <a:gd name="connsiteX17" fmla="*/ 8988678 w 12386021"/>
                  <a:gd name="connsiteY17" fmla="*/ 1264715 h 2510087"/>
                  <a:gd name="connsiteX18" fmla="*/ 9558674 w 12386021"/>
                  <a:gd name="connsiteY18" fmla="*/ 2091547 h 2510087"/>
                  <a:gd name="connsiteX19" fmla="*/ 10490074 w 12386021"/>
                  <a:gd name="connsiteY19" fmla="*/ 2510086 h 2510087"/>
                  <a:gd name="connsiteX20" fmla="*/ 11536108 w 12386021"/>
                  <a:gd name="connsiteY20" fmla="*/ 2091549 h 2510087"/>
                  <a:gd name="connsiteX21" fmla="*/ 11827039 w 12386021"/>
                  <a:gd name="connsiteY21" fmla="*/ 1445814 h 2510087"/>
                  <a:gd name="connsiteX22" fmla="*/ 12137935 w 12386021"/>
                  <a:gd name="connsiteY22" fmla="*/ 999707 h 2510087"/>
                  <a:gd name="connsiteX23" fmla="*/ 12386021 w 12386021"/>
                  <a:gd name="connsiteY23" fmla="*/ 699393 h 2510087"/>
                  <a:gd name="connsiteX24" fmla="*/ 12386021 w 12386021"/>
                  <a:gd name="connsiteY24" fmla="*/ 261011 h 2510087"/>
                  <a:gd name="connsiteX25" fmla="*/ 11779705 w 12386021"/>
                  <a:gd name="connsiteY25" fmla="*/ 435586 h 2510087"/>
                  <a:gd name="connsiteX26" fmla="*/ 11399980 w 12386021"/>
                  <a:gd name="connsiteY26" fmla="*/ 1047471 h 2510087"/>
                  <a:gd name="connsiteX27" fmla="*/ 10943235 w 12386021"/>
                  <a:gd name="connsiteY27" fmla="*/ 1661632 h 2510087"/>
                  <a:gd name="connsiteX28" fmla="*/ 10375440 w 12386021"/>
                  <a:gd name="connsiteY28" fmla="*/ 1618415 h 2510087"/>
                  <a:gd name="connsiteX29" fmla="*/ 9868543 w 12386021"/>
                  <a:gd name="connsiteY29" fmla="*/ 1058846 h 2510087"/>
                  <a:gd name="connsiteX30" fmla="*/ 9393888 w 12386021"/>
                  <a:gd name="connsiteY30" fmla="*/ 581165 h 2510087"/>
                  <a:gd name="connsiteX31" fmla="*/ 8791089 w 12386021"/>
                  <a:gd name="connsiteY31" fmla="*/ 156695 h 2510087"/>
                  <a:gd name="connsiteX32" fmla="*/ 7976793 w 12386021"/>
                  <a:gd name="connsiteY32" fmla="*/ 105714 h 2510087"/>
                  <a:gd name="connsiteX33" fmla="*/ 7390502 w 12386021"/>
                  <a:gd name="connsiteY33" fmla="*/ 199189 h 2510087"/>
                  <a:gd name="connsiteX34" fmla="*/ 6683415 w 12386021"/>
                  <a:gd name="connsiteY34" fmla="*/ 146630 h 2510087"/>
                  <a:gd name="connsiteX35" fmla="*/ 6243075 w 12386021"/>
                  <a:gd name="connsiteY35" fmla="*/ 249658 h 2510087"/>
                  <a:gd name="connsiteX36" fmla="*/ 5523061 w 12386021"/>
                  <a:gd name="connsiteY36" fmla="*/ 292664 h 2510087"/>
                  <a:gd name="connsiteX37" fmla="*/ 4163353 w 12386021"/>
                  <a:gd name="connsiteY37" fmla="*/ 90799 h 2510087"/>
                  <a:gd name="connsiteX38" fmla="*/ 2711043 w 12386021"/>
                  <a:gd name="connsiteY38" fmla="*/ 156695 h 2510087"/>
                  <a:gd name="connsiteX39" fmla="*/ 919611 w 12386021"/>
                  <a:gd name="connsiteY39" fmla="*/ 148189 h 2510087"/>
                  <a:gd name="connsiteX40" fmla="*/ 379789 w 12386021"/>
                  <a:gd name="connsiteY40" fmla="*/ 157240 h 2510087"/>
                  <a:gd name="connsiteX0" fmla="*/ 379791 w 12386023"/>
                  <a:gd name="connsiteY0" fmla="*/ 157240 h 2510087"/>
                  <a:gd name="connsiteX1" fmla="*/ 345633 w 12386023"/>
                  <a:gd name="connsiteY1" fmla="*/ 229969 h 2510087"/>
                  <a:gd name="connsiteX2" fmla="*/ 8590651 w 12386023"/>
                  <a:gd name="connsiteY2" fmla="*/ 507371 h 2510087"/>
                  <a:gd name="connsiteX3" fmla="*/ 8697801 w 12386023"/>
                  <a:gd name="connsiteY3" fmla="*/ 591261 h 2510087"/>
                  <a:gd name="connsiteX4" fmla="*/ 8652701 w 12386023"/>
                  <a:gd name="connsiteY4" fmla="*/ 777261 h 2510087"/>
                  <a:gd name="connsiteX5" fmla="*/ 421075 w 12386023"/>
                  <a:gd name="connsiteY5" fmla="*/ 937416 h 2510087"/>
                  <a:gd name="connsiteX6" fmla="*/ 1277876 w 12386023"/>
                  <a:gd name="connsiteY6" fmla="*/ 844973 h 2510087"/>
                  <a:gd name="connsiteX7" fmla="*/ 1972735 w 12386023"/>
                  <a:gd name="connsiteY7" fmla="*/ 878961 h 2510087"/>
                  <a:gd name="connsiteX8" fmla="*/ 2428745 w 12386023"/>
                  <a:gd name="connsiteY8" fmla="*/ 819473 h 2510087"/>
                  <a:gd name="connsiteX9" fmla="*/ 2906467 w 12386023"/>
                  <a:gd name="connsiteY9" fmla="*/ 819473 h 2510087"/>
                  <a:gd name="connsiteX10" fmla="*/ 3677336 w 12386023"/>
                  <a:gd name="connsiteY10" fmla="*/ 861967 h 2510087"/>
                  <a:gd name="connsiteX11" fmla="*/ 4556772 w 12386023"/>
                  <a:gd name="connsiteY11" fmla="*/ 844973 h 2510087"/>
                  <a:gd name="connsiteX12" fmla="*/ 5186490 w 12386023"/>
                  <a:gd name="connsiteY12" fmla="*/ 853479 h 2510087"/>
                  <a:gd name="connsiteX13" fmla="*/ 6022500 w 12386023"/>
                  <a:gd name="connsiteY13" fmla="*/ 853479 h 2510087"/>
                  <a:gd name="connsiteX14" fmla="*/ 7086513 w 12386023"/>
                  <a:gd name="connsiteY14" fmla="*/ 878979 h 2510087"/>
                  <a:gd name="connsiteX15" fmla="*/ 7835668 w 12386023"/>
                  <a:gd name="connsiteY15" fmla="*/ 870473 h 2510087"/>
                  <a:gd name="connsiteX16" fmla="*/ 8367663 w 12386023"/>
                  <a:gd name="connsiteY16" fmla="*/ 861967 h 2510087"/>
                  <a:gd name="connsiteX17" fmla="*/ 8988680 w 12386023"/>
                  <a:gd name="connsiteY17" fmla="*/ 1264715 h 2510087"/>
                  <a:gd name="connsiteX18" fmla="*/ 9558676 w 12386023"/>
                  <a:gd name="connsiteY18" fmla="*/ 2091547 h 2510087"/>
                  <a:gd name="connsiteX19" fmla="*/ 10490076 w 12386023"/>
                  <a:gd name="connsiteY19" fmla="*/ 2510086 h 2510087"/>
                  <a:gd name="connsiteX20" fmla="*/ 11536110 w 12386023"/>
                  <a:gd name="connsiteY20" fmla="*/ 2091549 h 2510087"/>
                  <a:gd name="connsiteX21" fmla="*/ 11827041 w 12386023"/>
                  <a:gd name="connsiteY21" fmla="*/ 1445814 h 2510087"/>
                  <a:gd name="connsiteX22" fmla="*/ 12137937 w 12386023"/>
                  <a:gd name="connsiteY22" fmla="*/ 999707 h 2510087"/>
                  <a:gd name="connsiteX23" fmla="*/ 12386023 w 12386023"/>
                  <a:gd name="connsiteY23" fmla="*/ 699393 h 2510087"/>
                  <a:gd name="connsiteX24" fmla="*/ 12386023 w 12386023"/>
                  <a:gd name="connsiteY24" fmla="*/ 261011 h 2510087"/>
                  <a:gd name="connsiteX25" fmla="*/ 11779707 w 12386023"/>
                  <a:gd name="connsiteY25" fmla="*/ 435586 h 2510087"/>
                  <a:gd name="connsiteX26" fmla="*/ 11399982 w 12386023"/>
                  <a:gd name="connsiteY26" fmla="*/ 1047471 h 2510087"/>
                  <a:gd name="connsiteX27" fmla="*/ 10943237 w 12386023"/>
                  <a:gd name="connsiteY27" fmla="*/ 1661632 h 2510087"/>
                  <a:gd name="connsiteX28" fmla="*/ 10375442 w 12386023"/>
                  <a:gd name="connsiteY28" fmla="*/ 1618415 h 2510087"/>
                  <a:gd name="connsiteX29" fmla="*/ 9868545 w 12386023"/>
                  <a:gd name="connsiteY29" fmla="*/ 1058846 h 2510087"/>
                  <a:gd name="connsiteX30" fmla="*/ 9393890 w 12386023"/>
                  <a:gd name="connsiteY30" fmla="*/ 581165 h 2510087"/>
                  <a:gd name="connsiteX31" fmla="*/ 8791091 w 12386023"/>
                  <a:gd name="connsiteY31" fmla="*/ 156695 h 2510087"/>
                  <a:gd name="connsiteX32" fmla="*/ 7976795 w 12386023"/>
                  <a:gd name="connsiteY32" fmla="*/ 105714 h 2510087"/>
                  <a:gd name="connsiteX33" fmla="*/ 7390504 w 12386023"/>
                  <a:gd name="connsiteY33" fmla="*/ 199189 h 2510087"/>
                  <a:gd name="connsiteX34" fmla="*/ 6683417 w 12386023"/>
                  <a:gd name="connsiteY34" fmla="*/ 146630 h 2510087"/>
                  <a:gd name="connsiteX35" fmla="*/ 6243077 w 12386023"/>
                  <a:gd name="connsiteY35" fmla="*/ 249658 h 2510087"/>
                  <a:gd name="connsiteX36" fmla="*/ 5523063 w 12386023"/>
                  <a:gd name="connsiteY36" fmla="*/ 292664 h 2510087"/>
                  <a:gd name="connsiteX37" fmla="*/ 4163355 w 12386023"/>
                  <a:gd name="connsiteY37" fmla="*/ 90799 h 2510087"/>
                  <a:gd name="connsiteX38" fmla="*/ 2711045 w 12386023"/>
                  <a:gd name="connsiteY38" fmla="*/ 156695 h 2510087"/>
                  <a:gd name="connsiteX39" fmla="*/ 919613 w 12386023"/>
                  <a:gd name="connsiteY39" fmla="*/ 148189 h 2510087"/>
                  <a:gd name="connsiteX40" fmla="*/ 379791 w 12386023"/>
                  <a:gd name="connsiteY40" fmla="*/ 157240 h 2510087"/>
                  <a:gd name="connsiteX0" fmla="*/ 379791 w 12386023"/>
                  <a:gd name="connsiteY0" fmla="*/ 157240 h 2510087"/>
                  <a:gd name="connsiteX1" fmla="*/ 345633 w 12386023"/>
                  <a:gd name="connsiteY1" fmla="*/ 229969 h 2510087"/>
                  <a:gd name="connsiteX2" fmla="*/ 8676628 w 12386023"/>
                  <a:gd name="connsiteY2" fmla="*/ 434581 h 2510087"/>
                  <a:gd name="connsiteX3" fmla="*/ 8697801 w 12386023"/>
                  <a:gd name="connsiteY3" fmla="*/ 591261 h 2510087"/>
                  <a:gd name="connsiteX4" fmla="*/ 8652701 w 12386023"/>
                  <a:gd name="connsiteY4" fmla="*/ 777261 h 2510087"/>
                  <a:gd name="connsiteX5" fmla="*/ 421075 w 12386023"/>
                  <a:gd name="connsiteY5" fmla="*/ 937416 h 2510087"/>
                  <a:gd name="connsiteX6" fmla="*/ 1277876 w 12386023"/>
                  <a:gd name="connsiteY6" fmla="*/ 844973 h 2510087"/>
                  <a:gd name="connsiteX7" fmla="*/ 1972735 w 12386023"/>
                  <a:gd name="connsiteY7" fmla="*/ 878961 h 2510087"/>
                  <a:gd name="connsiteX8" fmla="*/ 2428745 w 12386023"/>
                  <a:gd name="connsiteY8" fmla="*/ 819473 h 2510087"/>
                  <a:gd name="connsiteX9" fmla="*/ 2906467 w 12386023"/>
                  <a:gd name="connsiteY9" fmla="*/ 819473 h 2510087"/>
                  <a:gd name="connsiteX10" fmla="*/ 3677336 w 12386023"/>
                  <a:gd name="connsiteY10" fmla="*/ 861967 h 2510087"/>
                  <a:gd name="connsiteX11" fmla="*/ 4556772 w 12386023"/>
                  <a:gd name="connsiteY11" fmla="*/ 844973 h 2510087"/>
                  <a:gd name="connsiteX12" fmla="*/ 5186490 w 12386023"/>
                  <a:gd name="connsiteY12" fmla="*/ 853479 h 2510087"/>
                  <a:gd name="connsiteX13" fmla="*/ 6022500 w 12386023"/>
                  <a:gd name="connsiteY13" fmla="*/ 853479 h 2510087"/>
                  <a:gd name="connsiteX14" fmla="*/ 7086513 w 12386023"/>
                  <a:gd name="connsiteY14" fmla="*/ 878979 h 2510087"/>
                  <a:gd name="connsiteX15" fmla="*/ 7835668 w 12386023"/>
                  <a:gd name="connsiteY15" fmla="*/ 870473 h 2510087"/>
                  <a:gd name="connsiteX16" fmla="*/ 8367663 w 12386023"/>
                  <a:gd name="connsiteY16" fmla="*/ 861967 h 2510087"/>
                  <a:gd name="connsiteX17" fmla="*/ 8988680 w 12386023"/>
                  <a:gd name="connsiteY17" fmla="*/ 1264715 h 2510087"/>
                  <a:gd name="connsiteX18" fmla="*/ 9558676 w 12386023"/>
                  <a:gd name="connsiteY18" fmla="*/ 2091547 h 2510087"/>
                  <a:gd name="connsiteX19" fmla="*/ 10490076 w 12386023"/>
                  <a:gd name="connsiteY19" fmla="*/ 2510086 h 2510087"/>
                  <a:gd name="connsiteX20" fmla="*/ 11536110 w 12386023"/>
                  <a:gd name="connsiteY20" fmla="*/ 2091549 h 2510087"/>
                  <a:gd name="connsiteX21" fmla="*/ 11827041 w 12386023"/>
                  <a:gd name="connsiteY21" fmla="*/ 1445814 h 2510087"/>
                  <a:gd name="connsiteX22" fmla="*/ 12137937 w 12386023"/>
                  <a:gd name="connsiteY22" fmla="*/ 999707 h 2510087"/>
                  <a:gd name="connsiteX23" fmla="*/ 12386023 w 12386023"/>
                  <a:gd name="connsiteY23" fmla="*/ 699393 h 2510087"/>
                  <a:gd name="connsiteX24" fmla="*/ 12386023 w 12386023"/>
                  <a:gd name="connsiteY24" fmla="*/ 261011 h 2510087"/>
                  <a:gd name="connsiteX25" fmla="*/ 11779707 w 12386023"/>
                  <a:gd name="connsiteY25" fmla="*/ 435586 h 2510087"/>
                  <a:gd name="connsiteX26" fmla="*/ 11399982 w 12386023"/>
                  <a:gd name="connsiteY26" fmla="*/ 1047471 h 2510087"/>
                  <a:gd name="connsiteX27" fmla="*/ 10943237 w 12386023"/>
                  <a:gd name="connsiteY27" fmla="*/ 1661632 h 2510087"/>
                  <a:gd name="connsiteX28" fmla="*/ 10375442 w 12386023"/>
                  <a:gd name="connsiteY28" fmla="*/ 1618415 h 2510087"/>
                  <a:gd name="connsiteX29" fmla="*/ 9868545 w 12386023"/>
                  <a:gd name="connsiteY29" fmla="*/ 1058846 h 2510087"/>
                  <a:gd name="connsiteX30" fmla="*/ 9393890 w 12386023"/>
                  <a:gd name="connsiteY30" fmla="*/ 581165 h 2510087"/>
                  <a:gd name="connsiteX31" fmla="*/ 8791091 w 12386023"/>
                  <a:gd name="connsiteY31" fmla="*/ 156695 h 2510087"/>
                  <a:gd name="connsiteX32" fmla="*/ 7976795 w 12386023"/>
                  <a:gd name="connsiteY32" fmla="*/ 105714 h 2510087"/>
                  <a:gd name="connsiteX33" fmla="*/ 7390504 w 12386023"/>
                  <a:gd name="connsiteY33" fmla="*/ 199189 h 2510087"/>
                  <a:gd name="connsiteX34" fmla="*/ 6683417 w 12386023"/>
                  <a:gd name="connsiteY34" fmla="*/ 146630 h 2510087"/>
                  <a:gd name="connsiteX35" fmla="*/ 6243077 w 12386023"/>
                  <a:gd name="connsiteY35" fmla="*/ 249658 h 2510087"/>
                  <a:gd name="connsiteX36" fmla="*/ 5523063 w 12386023"/>
                  <a:gd name="connsiteY36" fmla="*/ 292664 h 2510087"/>
                  <a:gd name="connsiteX37" fmla="*/ 4163355 w 12386023"/>
                  <a:gd name="connsiteY37" fmla="*/ 90799 h 2510087"/>
                  <a:gd name="connsiteX38" fmla="*/ 2711045 w 12386023"/>
                  <a:gd name="connsiteY38" fmla="*/ 156695 h 2510087"/>
                  <a:gd name="connsiteX39" fmla="*/ 919613 w 12386023"/>
                  <a:gd name="connsiteY39" fmla="*/ 148189 h 2510087"/>
                  <a:gd name="connsiteX40" fmla="*/ 379791 w 12386023"/>
                  <a:gd name="connsiteY40" fmla="*/ 157240 h 2510087"/>
                  <a:gd name="connsiteX0" fmla="*/ 8705072 w 12386023"/>
                  <a:gd name="connsiteY0" fmla="*/ 284622 h 2510087"/>
                  <a:gd name="connsiteX1" fmla="*/ 345633 w 12386023"/>
                  <a:gd name="connsiteY1" fmla="*/ 229969 h 2510087"/>
                  <a:gd name="connsiteX2" fmla="*/ 8676628 w 12386023"/>
                  <a:gd name="connsiteY2" fmla="*/ 434581 h 2510087"/>
                  <a:gd name="connsiteX3" fmla="*/ 8697801 w 12386023"/>
                  <a:gd name="connsiteY3" fmla="*/ 591261 h 2510087"/>
                  <a:gd name="connsiteX4" fmla="*/ 8652701 w 12386023"/>
                  <a:gd name="connsiteY4" fmla="*/ 777261 h 2510087"/>
                  <a:gd name="connsiteX5" fmla="*/ 421075 w 12386023"/>
                  <a:gd name="connsiteY5" fmla="*/ 937416 h 2510087"/>
                  <a:gd name="connsiteX6" fmla="*/ 1277876 w 12386023"/>
                  <a:gd name="connsiteY6" fmla="*/ 844973 h 2510087"/>
                  <a:gd name="connsiteX7" fmla="*/ 1972735 w 12386023"/>
                  <a:gd name="connsiteY7" fmla="*/ 878961 h 2510087"/>
                  <a:gd name="connsiteX8" fmla="*/ 2428745 w 12386023"/>
                  <a:gd name="connsiteY8" fmla="*/ 819473 h 2510087"/>
                  <a:gd name="connsiteX9" fmla="*/ 2906467 w 12386023"/>
                  <a:gd name="connsiteY9" fmla="*/ 819473 h 2510087"/>
                  <a:gd name="connsiteX10" fmla="*/ 3677336 w 12386023"/>
                  <a:gd name="connsiteY10" fmla="*/ 861967 h 2510087"/>
                  <a:gd name="connsiteX11" fmla="*/ 4556772 w 12386023"/>
                  <a:gd name="connsiteY11" fmla="*/ 844973 h 2510087"/>
                  <a:gd name="connsiteX12" fmla="*/ 5186490 w 12386023"/>
                  <a:gd name="connsiteY12" fmla="*/ 853479 h 2510087"/>
                  <a:gd name="connsiteX13" fmla="*/ 6022500 w 12386023"/>
                  <a:gd name="connsiteY13" fmla="*/ 853479 h 2510087"/>
                  <a:gd name="connsiteX14" fmla="*/ 7086513 w 12386023"/>
                  <a:gd name="connsiteY14" fmla="*/ 878979 h 2510087"/>
                  <a:gd name="connsiteX15" fmla="*/ 7835668 w 12386023"/>
                  <a:gd name="connsiteY15" fmla="*/ 870473 h 2510087"/>
                  <a:gd name="connsiteX16" fmla="*/ 8367663 w 12386023"/>
                  <a:gd name="connsiteY16" fmla="*/ 861967 h 2510087"/>
                  <a:gd name="connsiteX17" fmla="*/ 8988680 w 12386023"/>
                  <a:gd name="connsiteY17" fmla="*/ 1264715 h 2510087"/>
                  <a:gd name="connsiteX18" fmla="*/ 9558676 w 12386023"/>
                  <a:gd name="connsiteY18" fmla="*/ 2091547 h 2510087"/>
                  <a:gd name="connsiteX19" fmla="*/ 10490076 w 12386023"/>
                  <a:gd name="connsiteY19" fmla="*/ 2510086 h 2510087"/>
                  <a:gd name="connsiteX20" fmla="*/ 11536110 w 12386023"/>
                  <a:gd name="connsiteY20" fmla="*/ 2091549 h 2510087"/>
                  <a:gd name="connsiteX21" fmla="*/ 11827041 w 12386023"/>
                  <a:gd name="connsiteY21" fmla="*/ 1445814 h 2510087"/>
                  <a:gd name="connsiteX22" fmla="*/ 12137937 w 12386023"/>
                  <a:gd name="connsiteY22" fmla="*/ 999707 h 2510087"/>
                  <a:gd name="connsiteX23" fmla="*/ 12386023 w 12386023"/>
                  <a:gd name="connsiteY23" fmla="*/ 699393 h 2510087"/>
                  <a:gd name="connsiteX24" fmla="*/ 12386023 w 12386023"/>
                  <a:gd name="connsiteY24" fmla="*/ 261011 h 2510087"/>
                  <a:gd name="connsiteX25" fmla="*/ 11779707 w 12386023"/>
                  <a:gd name="connsiteY25" fmla="*/ 435586 h 2510087"/>
                  <a:gd name="connsiteX26" fmla="*/ 11399982 w 12386023"/>
                  <a:gd name="connsiteY26" fmla="*/ 1047471 h 2510087"/>
                  <a:gd name="connsiteX27" fmla="*/ 10943237 w 12386023"/>
                  <a:gd name="connsiteY27" fmla="*/ 1661632 h 2510087"/>
                  <a:gd name="connsiteX28" fmla="*/ 10375442 w 12386023"/>
                  <a:gd name="connsiteY28" fmla="*/ 1618415 h 2510087"/>
                  <a:gd name="connsiteX29" fmla="*/ 9868545 w 12386023"/>
                  <a:gd name="connsiteY29" fmla="*/ 1058846 h 2510087"/>
                  <a:gd name="connsiteX30" fmla="*/ 9393890 w 12386023"/>
                  <a:gd name="connsiteY30" fmla="*/ 581165 h 2510087"/>
                  <a:gd name="connsiteX31" fmla="*/ 8791091 w 12386023"/>
                  <a:gd name="connsiteY31" fmla="*/ 156695 h 2510087"/>
                  <a:gd name="connsiteX32" fmla="*/ 7976795 w 12386023"/>
                  <a:gd name="connsiteY32" fmla="*/ 105714 h 2510087"/>
                  <a:gd name="connsiteX33" fmla="*/ 7390504 w 12386023"/>
                  <a:gd name="connsiteY33" fmla="*/ 199189 h 2510087"/>
                  <a:gd name="connsiteX34" fmla="*/ 6683417 w 12386023"/>
                  <a:gd name="connsiteY34" fmla="*/ 146630 h 2510087"/>
                  <a:gd name="connsiteX35" fmla="*/ 6243077 w 12386023"/>
                  <a:gd name="connsiteY35" fmla="*/ 249658 h 2510087"/>
                  <a:gd name="connsiteX36" fmla="*/ 5523063 w 12386023"/>
                  <a:gd name="connsiteY36" fmla="*/ 292664 h 2510087"/>
                  <a:gd name="connsiteX37" fmla="*/ 4163355 w 12386023"/>
                  <a:gd name="connsiteY37" fmla="*/ 90799 h 2510087"/>
                  <a:gd name="connsiteX38" fmla="*/ 2711045 w 12386023"/>
                  <a:gd name="connsiteY38" fmla="*/ 156695 h 2510087"/>
                  <a:gd name="connsiteX39" fmla="*/ 919613 w 12386023"/>
                  <a:gd name="connsiteY39" fmla="*/ 148189 h 2510087"/>
                  <a:gd name="connsiteX40" fmla="*/ 8705072 w 12386023"/>
                  <a:gd name="connsiteY40" fmla="*/ 284622 h 2510087"/>
                  <a:gd name="connsiteX0" fmla="*/ 8705072 w 12386023"/>
                  <a:gd name="connsiteY0" fmla="*/ 284622 h 2510087"/>
                  <a:gd name="connsiteX1" fmla="*/ 8742561 w 12386023"/>
                  <a:gd name="connsiteY1" fmla="*/ 521128 h 2510087"/>
                  <a:gd name="connsiteX2" fmla="*/ 8676628 w 12386023"/>
                  <a:gd name="connsiteY2" fmla="*/ 434581 h 2510087"/>
                  <a:gd name="connsiteX3" fmla="*/ 8697801 w 12386023"/>
                  <a:gd name="connsiteY3" fmla="*/ 591261 h 2510087"/>
                  <a:gd name="connsiteX4" fmla="*/ 8652701 w 12386023"/>
                  <a:gd name="connsiteY4" fmla="*/ 777261 h 2510087"/>
                  <a:gd name="connsiteX5" fmla="*/ 421075 w 12386023"/>
                  <a:gd name="connsiteY5" fmla="*/ 937416 h 2510087"/>
                  <a:gd name="connsiteX6" fmla="*/ 1277876 w 12386023"/>
                  <a:gd name="connsiteY6" fmla="*/ 844973 h 2510087"/>
                  <a:gd name="connsiteX7" fmla="*/ 1972735 w 12386023"/>
                  <a:gd name="connsiteY7" fmla="*/ 878961 h 2510087"/>
                  <a:gd name="connsiteX8" fmla="*/ 2428745 w 12386023"/>
                  <a:gd name="connsiteY8" fmla="*/ 819473 h 2510087"/>
                  <a:gd name="connsiteX9" fmla="*/ 2906467 w 12386023"/>
                  <a:gd name="connsiteY9" fmla="*/ 819473 h 2510087"/>
                  <a:gd name="connsiteX10" fmla="*/ 3677336 w 12386023"/>
                  <a:gd name="connsiteY10" fmla="*/ 861967 h 2510087"/>
                  <a:gd name="connsiteX11" fmla="*/ 4556772 w 12386023"/>
                  <a:gd name="connsiteY11" fmla="*/ 844973 h 2510087"/>
                  <a:gd name="connsiteX12" fmla="*/ 5186490 w 12386023"/>
                  <a:gd name="connsiteY12" fmla="*/ 853479 h 2510087"/>
                  <a:gd name="connsiteX13" fmla="*/ 6022500 w 12386023"/>
                  <a:gd name="connsiteY13" fmla="*/ 853479 h 2510087"/>
                  <a:gd name="connsiteX14" fmla="*/ 7086513 w 12386023"/>
                  <a:gd name="connsiteY14" fmla="*/ 878979 h 2510087"/>
                  <a:gd name="connsiteX15" fmla="*/ 7835668 w 12386023"/>
                  <a:gd name="connsiteY15" fmla="*/ 870473 h 2510087"/>
                  <a:gd name="connsiteX16" fmla="*/ 8367663 w 12386023"/>
                  <a:gd name="connsiteY16" fmla="*/ 861967 h 2510087"/>
                  <a:gd name="connsiteX17" fmla="*/ 8988680 w 12386023"/>
                  <a:gd name="connsiteY17" fmla="*/ 1264715 h 2510087"/>
                  <a:gd name="connsiteX18" fmla="*/ 9558676 w 12386023"/>
                  <a:gd name="connsiteY18" fmla="*/ 2091547 h 2510087"/>
                  <a:gd name="connsiteX19" fmla="*/ 10490076 w 12386023"/>
                  <a:gd name="connsiteY19" fmla="*/ 2510086 h 2510087"/>
                  <a:gd name="connsiteX20" fmla="*/ 11536110 w 12386023"/>
                  <a:gd name="connsiteY20" fmla="*/ 2091549 h 2510087"/>
                  <a:gd name="connsiteX21" fmla="*/ 11827041 w 12386023"/>
                  <a:gd name="connsiteY21" fmla="*/ 1445814 h 2510087"/>
                  <a:gd name="connsiteX22" fmla="*/ 12137937 w 12386023"/>
                  <a:gd name="connsiteY22" fmla="*/ 999707 h 2510087"/>
                  <a:gd name="connsiteX23" fmla="*/ 12386023 w 12386023"/>
                  <a:gd name="connsiteY23" fmla="*/ 699393 h 2510087"/>
                  <a:gd name="connsiteX24" fmla="*/ 12386023 w 12386023"/>
                  <a:gd name="connsiteY24" fmla="*/ 261011 h 2510087"/>
                  <a:gd name="connsiteX25" fmla="*/ 11779707 w 12386023"/>
                  <a:gd name="connsiteY25" fmla="*/ 435586 h 2510087"/>
                  <a:gd name="connsiteX26" fmla="*/ 11399982 w 12386023"/>
                  <a:gd name="connsiteY26" fmla="*/ 1047471 h 2510087"/>
                  <a:gd name="connsiteX27" fmla="*/ 10943237 w 12386023"/>
                  <a:gd name="connsiteY27" fmla="*/ 1661632 h 2510087"/>
                  <a:gd name="connsiteX28" fmla="*/ 10375442 w 12386023"/>
                  <a:gd name="connsiteY28" fmla="*/ 1618415 h 2510087"/>
                  <a:gd name="connsiteX29" fmla="*/ 9868545 w 12386023"/>
                  <a:gd name="connsiteY29" fmla="*/ 1058846 h 2510087"/>
                  <a:gd name="connsiteX30" fmla="*/ 9393890 w 12386023"/>
                  <a:gd name="connsiteY30" fmla="*/ 581165 h 2510087"/>
                  <a:gd name="connsiteX31" fmla="*/ 8791091 w 12386023"/>
                  <a:gd name="connsiteY31" fmla="*/ 156695 h 2510087"/>
                  <a:gd name="connsiteX32" fmla="*/ 7976795 w 12386023"/>
                  <a:gd name="connsiteY32" fmla="*/ 105714 h 2510087"/>
                  <a:gd name="connsiteX33" fmla="*/ 7390504 w 12386023"/>
                  <a:gd name="connsiteY33" fmla="*/ 199189 h 2510087"/>
                  <a:gd name="connsiteX34" fmla="*/ 6683417 w 12386023"/>
                  <a:gd name="connsiteY34" fmla="*/ 146630 h 2510087"/>
                  <a:gd name="connsiteX35" fmla="*/ 6243077 w 12386023"/>
                  <a:gd name="connsiteY35" fmla="*/ 249658 h 2510087"/>
                  <a:gd name="connsiteX36" fmla="*/ 5523063 w 12386023"/>
                  <a:gd name="connsiteY36" fmla="*/ 292664 h 2510087"/>
                  <a:gd name="connsiteX37" fmla="*/ 4163355 w 12386023"/>
                  <a:gd name="connsiteY37" fmla="*/ 90799 h 2510087"/>
                  <a:gd name="connsiteX38" fmla="*/ 2711045 w 12386023"/>
                  <a:gd name="connsiteY38" fmla="*/ 156695 h 2510087"/>
                  <a:gd name="connsiteX39" fmla="*/ 919613 w 12386023"/>
                  <a:gd name="connsiteY39" fmla="*/ 148189 h 2510087"/>
                  <a:gd name="connsiteX40" fmla="*/ 8705072 w 12386023"/>
                  <a:gd name="connsiteY40" fmla="*/ 284622 h 2510087"/>
                  <a:gd name="connsiteX0" fmla="*/ 8705072 w 12386023"/>
                  <a:gd name="connsiteY0" fmla="*/ 284622 h 2510087"/>
                  <a:gd name="connsiteX1" fmla="*/ 8742561 w 12386023"/>
                  <a:gd name="connsiteY1" fmla="*/ 521128 h 2510087"/>
                  <a:gd name="connsiteX2" fmla="*/ 8676628 w 12386023"/>
                  <a:gd name="connsiteY2" fmla="*/ 434581 h 2510087"/>
                  <a:gd name="connsiteX3" fmla="*/ 8697801 w 12386023"/>
                  <a:gd name="connsiteY3" fmla="*/ 591261 h 2510087"/>
                  <a:gd name="connsiteX4" fmla="*/ 8652701 w 12386023"/>
                  <a:gd name="connsiteY4" fmla="*/ 777261 h 2510087"/>
                  <a:gd name="connsiteX5" fmla="*/ 421075 w 12386023"/>
                  <a:gd name="connsiteY5" fmla="*/ 937416 h 2510087"/>
                  <a:gd name="connsiteX6" fmla="*/ 1277876 w 12386023"/>
                  <a:gd name="connsiteY6" fmla="*/ 844973 h 2510087"/>
                  <a:gd name="connsiteX7" fmla="*/ 1972735 w 12386023"/>
                  <a:gd name="connsiteY7" fmla="*/ 878961 h 2510087"/>
                  <a:gd name="connsiteX8" fmla="*/ 2428745 w 12386023"/>
                  <a:gd name="connsiteY8" fmla="*/ 819473 h 2510087"/>
                  <a:gd name="connsiteX9" fmla="*/ 2906467 w 12386023"/>
                  <a:gd name="connsiteY9" fmla="*/ 819473 h 2510087"/>
                  <a:gd name="connsiteX10" fmla="*/ 3677336 w 12386023"/>
                  <a:gd name="connsiteY10" fmla="*/ 861967 h 2510087"/>
                  <a:gd name="connsiteX11" fmla="*/ 4556772 w 12386023"/>
                  <a:gd name="connsiteY11" fmla="*/ 844973 h 2510087"/>
                  <a:gd name="connsiteX12" fmla="*/ 5186490 w 12386023"/>
                  <a:gd name="connsiteY12" fmla="*/ 853479 h 2510087"/>
                  <a:gd name="connsiteX13" fmla="*/ 6022500 w 12386023"/>
                  <a:gd name="connsiteY13" fmla="*/ 853479 h 2510087"/>
                  <a:gd name="connsiteX14" fmla="*/ 7086513 w 12386023"/>
                  <a:gd name="connsiteY14" fmla="*/ 878979 h 2510087"/>
                  <a:gd name="connsiteX15" fmla="*/ 7835668 w 12386023"/>
                  <a:gd name="connsiteY15" fmla="*/ 870473 h 2510087"/>
                  <a:gd name="connsiteX16" fmla="*/ 8367663 w 12386023"/>
                  <a:gd name="connsiteY16" fmla="*/ 861967 h 2510087"/>
                  <a:gd name="connsiteX17" fmla="*/ 8988680 w 12386023"/>
                  <a:gd name="connsiteY17" fmla="*/ 1264715 h 2510087"/>
                  <a:gd name="connsiteX18" fmla="*/ 9558676 w 12386023"/>
                  <a:gd name="connsiteY18" fmla="*/ 2091547 h 2510087"/>
                  <a:gd name="connsiteX19" fmla="*/ 10490076 w 12386023"/>
                  <a:gd name="connsiteY19" fmla="*/ 2510086 h 2510087"/>
                  <a:gd name="connsiteX20" fmla="*/ 11536110 w 12386023"/>
                  <a:gd name="connsiteY20" fmla="*/ 2091549 h 2510087"/>
                  <a:gd name="connsiteX21" fmla="*/ 11827041 w 12386023"/>
                  <a:gd name="connsiteY21" fmla="*/ 1445814 h 2510087"/>
                  <a:gd name="connsiteX22" fmla="*/ 12137937 w 12386023"/>
                  <a:gd name="connsiteY22" fmla="*/ 999707 h 2510087"/>
                  <a:gd name="connsiteX23" fmla="*/ 12386023 w 12386023"/>
                  <a:gd name="connsiteY23" fmla="*/ 699393 h 2510087"/>
                  <a:gd name="connsiteX24" fmla="*/ 12386023 w 12386023"/>
                  <a:gd name="connsiteY24" fmla="*/ 261011 h 2510087"/>
                  <a:gd name="connsiteX25" fmla="*/ 11779707 w 12386023"/>
                  <a:gd name="connsiteY25" fmla="*/ 435586 h 2510087"/>
                  <a:gd name="connsiteX26" fmla="*/ 11399982 w 12386023"/>
                  <a:gd name="connsiteY26" fmla="*/ 1047471 h 2510087"/>
                  <a:gd name="connsiteX27" fmla="*/ 10943237 w 12386023"/>
                  <a:gd name="connsiteY27" fmla="*/ 1661632 h 2510087"/>
                  <a:gd name="connsiteX28" fmla="*/ 10375442 w 12386023"/>
                  <a:gd name="connsiteY28" fmla="*/ 1618415 h 2510087"/>
                  <a:gd name="connsiteX29" fmla="*/ 9868545 w 12386023"/>
                  <a:gd name="connsiteY29" fmla="*/ 1058846 h 2510087"/>
                  <a:gd name="connsiteX30" fmla="*/ 9393890 w 12386023"/>
                  <a:gd name="connsiteY30" fmla="*/ 581165 h 2510087"/>
                  <a:gd name="connsiteX31" fmla="*/ 8791091 w 12386023"/>
                  <a:gd name="connsiteY31" fmla="*/ 156695 h 2510087"/>
                  <a:gd name="connsiteX32" fmla="*/ 7976795 w 12386023"/>
                  <a:gd name="connsiteY32" fmla="*/ 105714 h 2510087"/>
                  <a:gd name="connsiteX33" fmla="*/ 7390504 w 12386023"/>
                  <a:gd name="connsiteY33" fmla="*/ 199189 h 2510087"/>
                  <a:gd name="connsiteX34" fmla="*/ 6683417 w 12386023"/>
                  <a:gd name="connsiteY34" fmla="*/ 146630 h 2510087"/>
                  <a:gd name="connsiteX35" fmla="*/ 6243077 w 12386023"/>
                  <a:gd name="connsiteY35" fmla="*/ 249658 h 2510087"/>
                  <a:gd name="connsiteX36" fmla="*/ 5523063 w 12386023"/>
                  <a:gd name="connsiteY36" fmla="*/ 292664 h 2510087"/>
                  <a:gd name="connsiteX37" fmla="*/ 4163355 w 12386023"/>
                  <a:gd name="connsiteY37" fmla="*/ 90799 h 2510087"/>
                  <a:gd name="connsiteX38" fmla="*/ 2711045 w 12386023"/>
                  <a:gd name="connsiteY38" fmla="*/ 156695 h 2510087"/>
                  <a:gd name="connsiteX39" fmla="*/ 8714713 w 12386023"/>
                  <a:gd name="connsiteY39" fmla="*/ 457545 h 2510087"/>
                  <a:gd name="connsiteX40" fmla="*/ 8705072 w 12386023"/>
                  <a:gd name="connsiteY40" fmla="*/ 284622 h 2510087"/>
                  <a:gd name="connsiteX0" fmla="*/ 8705072 w 12386023"/>
                  <a:gd name="connsiteY0" fmla="*/ 215157 h 2440622"/>
                  <a:gd name="connsiteX1" fmla="*/ 8742561 w 12386023"/>
                  <a:gd name="connsiteY1" fmla="*/ 451663 h 2440622"/>
                  <a:gd name="connsiteX2" fmla="*/ 8676628 w 12386023"/>
                  <a:gd name="connsiteY2" fmla="*/ 365116 h 2440622"/>
                  <a:gd name="connsiteX3" fmla="*/ 8697801 w 12386023"/>
                  <a:gd name="connsiteY3" fmla="*/ 521796 h 2440622"/>
                  <a:gd name="connsiteX4" fmla="*/ 8652701 w 12386023"/>
                  <a:gd name="connsiteY4" fmla="*/ 707796 h 2440622"/>
                  <a:gd name="connsiteX5" fmla="*/ 421075 w 12386023"/>
                  <a:gd name="connsiteY5" fmla="*/ 867951 h 2440622"/>
                  <a:gd name="connsiteX6" fmla="*/ 1277876 w 12386023"/>
                  <a:gd name="connsiteY6" fmla="*/ 775508 h 2440622"/>
                  <a:gd name="connsiteX7" fmla="*/ 1972735 w 12386023"/>
                  <a:gd name="connsiteY7" fmla="*/ 809496 h 2440622"/>
                  <a:gd name="connsiteX8" fmla="*/ 2428745 w 12386023"/>
                  <a:gd name="connsiteY8" fmla="*/ 750008 h 2440622"/>
                  <a:gd name="connsiteX9" fmla="*/ 2906467 w 12386023"/>
                  <a:gd name="connsiteY9" fmla="*/ 750008 h 2440622"/>
                  <a:gd name="connsiteX10" fmla="*/ 3677336 w 12386023"/>
                  <a:gd name="connsiteY10" fmla="*/ 792502 h 2440622"/>
                  <a:gd name="connsiteX11" fmla="*/ 4556772 w 12386023"/>
                  <a:gd name="connsiteY11" fmla="*/ 775508 h 2440622"/>
                  <a:gd name="connsiteX12" fmla="*/ 5186490 w 12386023"/>
                  <a:gd name="connsiteY12" fmla="*/ 784014 h 2440622"/>
                  <a:gd name="connsiteX13" fmla="*/ 6022500 w 12386023"/>
                  <a:gd name="connsiteY13" fmla="*/ 784014 h 2440622"/>
                  <a:gd name="connsiteX14" fmla="*/ 7086513 w 12386023"/>
                  <a:gd name="connsiteY14" fmla="*/ 809514 h 2440622"/>
                  <a:gd name="connsiteX15" fmla="*/ 7835668 w 12386023"/>
                  <a:gd name="connsiteY15" fmla="*/ 801008 h 2440622"/>
                  <a:gd name="connsiteX16" fmla="*/ 8367663 w 12386023"/>
                  <a:gd name="connsiteY16" fmla="*/ 792502 h 2440622"/>
                  <a:gd name="connsiteX17" fmla="*/ 8988680 w 12386023"/>
                  <a:gd name="connsiteY17" fmla="*/ 1195250 h 2440622"/>
                  <a:gd name="connsiteX18" fmla="*/ 9558676 w 12386023"/>
                  <a:gd name="connsiteY18" fmla="*/ 2022082 h 2440622"/>
                  <a:gd name="connsiteX19" fmla="*/ 10490076 w 12386023"/>
                  <a:gd name="connsiteY19" fmla="*/ 2440621 h 2440622"/>
                  <a:gd name="connsiteX20" fmla="*/ 11536110 w 12386023"/>
                  <a:gd name="connsiteY20" fmla="*/ 2022084 h 2440622"/>
                  <a:gd name="connsiteX21" fmla="*/ 11827041 w 12386023"/>
                  <a:gd name="connsiteY21" fmla="*/ 1376349 h 2440622"/>
                  <a:gd name="connsiteX22" fmla="*/ 12137937 w 12386023"/>
                  <a:gd name="connsiteY22" fmla="*/ 930242 h 2440622"/>
                  <a:gd name="connsiteX23" fmla="*/ 12386023 w 12386023"/>
                  <a:gd name="connsiteY23" fmla="*/ 629928 h 2440622"/>
                  <a:gd name="connsiteX24" fmla="*/ 12386023 w 12386023"/>
                  <a:gd name="connsiteY24" fmla="*/ 191546 h 2440622"/>
                  <a:gd name="connsiteX25" fmla="*/ 11779707 w 12386023"/>
                  <a:gd name="connsiteY25" fmla="*/ 366121 h 2440622"/>
                  <a:gd name="connsiteX26" fmla="*/ 11399982 w 12386023"/>
                  <a:gd name="connsiteY26" fmla="*/ 978006 h 2440622"/>
                  <a:gd name="connsiteX27" fmla="*/ 10943237 w 12386023"/>
                  <a:gd name="connsiteY27" fmla="*/ 1592167 h 2440622"/>
                  <a:gd name="connsiteX28" fmla="*/ 10375442 w 12386023"/>
                  <a:gd name="connsiteY28" fmla="*/ 1548950 h 2440622"/>
                  <a:gd name="connsiteX29" fmla="*/ 9868545 w 12386023"/>
                  <a:gd name="connsiteY29" fmla="*/ 989381 h 2440622"/>
                  <a:gd name="connsiteX30" fmla="*/ 9393890 w 12386023"/>
                  <a:gd name="connsiteY30" fmla="*/ 511700 h 2440622"/>
                  <a:gd name="connsiteX31" fmla="*/ 8791091 w 12386023"/>
                  <a:gd name="connsiteY31" fmla="*/ 87230 h 2440622"/>
                  <a:gd name="connsiteX32" fmla="*/ 7976795 w 12386023"/>
                  <a:gd name="connsiteY32" fmla="*/ 36249 h 2440622"/>
                  <a:gd name="connsiteX33" fmla="*/ 7390504 w 12386023"/>
                  <a:gd name="connsiteY33" fmla="*/ 129724 h 2440622"/>
                  <a:gd name="connsiteX34" fmla="*/ 6683417 w 12386023"/>
                  <a:gd name="connsiteY34" fmla="*/ 77165 h 2440622"/>
                  <a:gd name="connsiteX35" fmla="*/ 6243077 w 12386023"/>
                  <a:gd name="connsiteY35" fmla="*/ 180193 h 2440622"/>
                  <a:gd name="connsiteX36" fmla="*/ 5523063 w 12386023"/>
                  <a:gd name="connsiteY36" fmla="*/ 223199 h 2440622"/>
                  <a:gd name="connsiteX37" fmla="*/ 4163355 w 12386023"/>
                  <a:gd name="connsiteY37" fmla="*/ 21334 h 2440622"/>
                  <a:gd name="connsiteX38" fmla="*/ 9073222 w 12386023"/>
                  <a:gd name="connsiteY38" fmla="*/ 815126 h 2440622"/>
                  <a:gd name="connsiteX39" fmla="*/ 8714713 w 12386023"/>
                  <a:gd name="connsiteY39" fmla="*/ 388080 h 2440622"/>
                  <a:gd name="connsiteX40" fmla="*/ 8705072 w 12386023"/>
                  <a:gd name="connsiteY40" fmla="*/ 215157 h 2440622"/>
                  <a:gd name="connsiteX0" fmla="*/ 8705072 w 12386023"/>
                  <a:gd name="connsiteY0" fmla="*/ 200377 h 2425842"/>
                  <a:gd name="connsiteX1" fmla="*/ 8742561 w 12386023"/>
                  <a:gd name="connsiteY1" fmla="*/ 436883 h 2425842"/>
                  <a:gd name="connsiteX2" fmla="*/ 8676628 w 12386023"/>
                  <a:gd name="connsiteY2" fmla="*/ 350336 h 2425842"/>
                  <a:gd name="connsiteX3" fmla="*/ 8697801 w 12386023"/>
                  <a:gd name="connsiteY3" fmla="*/ 507016 h 2425842"/>
                  <a:gd name="connsiteX4" fmla="*/ 8652701 w 12386023"/>
                  <a:gd name="connsiteY4" fmla="*/ 693016 h 2425842"/>
                  <a:gd name="connsiteX5" fmla="*/ 421075 w 12386023"/>
                  <a:gd name="connsiteY5" fmla="*/ 853171 h 2425842"/>
                  <a:gd name="connsiteX6" fmla="*/ 1277876 w 12386023"/>
                  <a:gd name="connsiteY6" fmla="*/ 760728 h 2425842"/>
                  <a:gd name="connsiteX7" fmla="*/ 1972735 w 12386023"/>
                  <a:gd name="connsiteY7" fmla="*/ 794716 h 2425842"/>
                  <a:gd name="connsiteX8" fmla="*/ 2428745 w 12386023"/>
                  <a:gd name="connsiteY8" fmla="*/ 735228 h 2425842"/>
                  <a:gd name="connsiteX9" fmla="*/ 2906467 w 12386023"/>
                  <a:gd name="connsiteY9" fmla="*/ 735228 h 2425842"/>
                  <a:gd name="connsiteX10" fmla="*/ 3677336 w 12386023"/>
                  <a:gd name="connsiteY10" fmla="*/ 777722 h 2425842"/>
                  <a:gd name="connsiteX11" fmla="*/ 4556772 w 12386023"/>
                  <a:gd name="connsiteY11" fmla="*/ 760728 h 2425842"/>
                  <a:gd name="connsiteX12" fmla="*/ 5186490 w 12386023"/>
                  <a:gd name="connsiteY12" fmla="*/ 769234 h 2425842"/>
                  <a:gd name="connsiteX13" fmla="*/ 6022500 w 12386023"/>
                  <a:gd name="connsiteY13" fmla="*/ 769234 h 2425842"/>
                  <a:gd name="connsiteX14" fmla="*/ 7086513 w 12386023"/>
                  <a:gd name="connsiteY14" fmla="*/ 794734 h 2425842"/>
                  <a:gd name="connsiteX15" fmla="*/ 7835668 w 12386023"/>
                  <a:gd name="connsiteY15" fmla="*/ 786228 h 2425842"/>
                  <a:gd name="connsiteX16" fmla="*/ 8367663 w 12386023"/>
                  <a:gd name="connsiteY16" fmla="*/ 777722 h 2425842"/>
                  <a:gd name="connsiteX17" fmla="*/ 8988680 w 12386023"/>
                  <a:gd name="connsiteY17" fmla="*/ 1180470 h 2425842"/>
                  <a:gd name="connsiteX18" fmla="*/ 9558676 w 12386023"/>
                  <a:gd name="connsiteY18" fmla="*/ 2007302 h 2425842"/>
                  <a:gd name="connsiteX19" fmla="*/ 10490076 w 12386023"/>
                  <a:gd name="connsiteY19" fmla="*/ 2425841 h 2425842"/>
                  <a:gd name="connsiteX20" fmla="*/ 11536110 w 12386023"/>
                  <a:gd name="connsiteY20" fmla="*/ 2007304 h 2425842"/>
                  <a:gd name="connsiteX21" fmla="*/ 11827041 w 12386023"/>
                  <a:gd name="connsiteY21" fmla="*/ 1361569 h 2425842"/>
                  <a:gd name="connsiteX22" fmla="*/ 12137937 w 12386023"/>
                  <a:gd name="connsiteY22" fmla="*/ 915462 h 2425842"/>
                  <a:gd name="connsiteX23" fmla="*/ 12386023 w 12386023"/>
                  <a:gd name="connsiteY23" fmla="*/ 615148 h 2425842"/>
                  <a:gd name="connsiteX24" fmla="*/ 12386023 w 12386023"/>
                  <a:gd name="connsiteY24" fmla="*/ 176766 h 2425842"/>
                  <a:gd name="connsiteX25" fmla="*/ 11779707 w 12386023"/>
                  <a:gd name="connsiteY25" fmla="*/ 351341 h 2425842"/>
                  <a:gd name="connsiteX26" fmla="*/ 11399982 w 12386023"/>
                  <a:gd name="connsiteY26" fmla="*/ 963226 h 2425842"/>
                  <a:gd name="connsiteX27" fmla="*/ 10943237 w 12386023"/>
                  <a:gd name="connsiteY27" fmla="*/ 1577387 h 2425842"/>
                  <a:gd name="connsiteX28" fmla="*/ 10375442 w 12386023"/>
                  <a:gd name="connsiteY28" fmla="*/ 1534170 h 2425842"/>
                  <a:gd name="connsiteX29" fmla="*/ 9868545 w 12386023"/>
                  <a:gd name="connsiteY29" fmla="*/ 974601 h 2425842"/>
                  <a:gd name="connsiteX30" fmla="*/ 9393890 w 12386023"/>
                  <a:gd name="connsiteY30" fmla="*/ 496920 h 2425842"/>
                  <a:gd name="connsiteX31" fmla="*/ 8791091 w 12386023"/>
                  <a:gd name="connsiteY31" fmla="*/ 72450 h 2425842"/>
                  <a:gd name="connsiteX32" fmla="*/ 7976795 w 12386023"/>
                  <a:gd name="connsiteY32" fmla="*/ 21469 h 2425842"/>
                  <a:gd name="connsiteX33" fmla="*/ 7390504 w 12386023"/>
                  <a:gd name="connsiteY33" fmla="*/ 114944 h 2425842"/>
                  <a:gd name="connsiteX34" fmla="*/ 6683417 w 12386023"/>
                  <a:gd name="connsiteY34" fmla="*/ 62385 h 2425842"/>
                  <a:gd name="connsiteX35" fmla="*/ 6243077 w 12386023"/>
                  <a:gd name="connsiteY35" fmla="*/ 165413 h 2425842"/>
                  <a:gd name="connsiteX36" fmla="*/ 5523063 w 12386023"/>
                  <a:gd name="connsiteY36" fmla="*/ 208419 h 2425842"/>
                  <a:gd name="connsiteX37" fmla="*/ 8892001 w 12386023"/>
                  <a:gd name="connsiteY37" fmla="*/ 497882 h 2425842"/>
                  <a:gd name="connsiteX38" fmla="*/ 9073222 w 12386023"/>
                  <a:gd name="connsiteY38" fmla="*/ 800346 h 2425842"/>
                  <a:gd name="connsiteX39" fmla="*/ 8714713 w 12386023"/>
                  <a:gd name="connsiteY39" fmla="*/ 373300 h 2425842"/>
                  <a:gd name="connsiteX40" fmla="*/ 8705072 w 12386023"/>
                  <a:gd name="connsiteY40" fmla="*/ 200377 h 2425842"/>
                  <a:gd name="connsiteX0" fmla="*/ 8705072 w 12386023"/>
                  <a:gd name="connsiteY0" fmla="*/ 200377 h 2425842"/>
                  <a:gd name="connsiteX1" fmla="*/ 8742561 w 12386023"/>
                  <a:gd name="connsiteY1" fmla="*/ 436883 h 2425842"/>
                  <a:gd name="connsiteX2" fmla="*/ 8676628 w 12386023"/>
                  <a:gd name="connsiteY2" fmla="*/ 350336 h 2425842"/>
                  <a:gd name="connsiteX3" fmla="*/ 8697801 w 12386023"/>
                  <a:gd name="connsiteY3" fmla="*/ 507016 h 2425842"/>
                  <a:gd name="connsiteX4" fmla="*/ 8652701 w 12386023"/>
                  <a:gd name="connsiteY4" fmla="*/ 693016 h 2425842"/>
                  <a:gd name="connsiteX5" fmla="*/ 421075 w 12386023"/>
                  <a:gd name="connsiteY5" fmla="*/ 853171 h 2425842"/>
                  <a:gd name="connsiteX6" fmla="*/ 1277876 w 12386023"/>
                  <a:gd name="connsiteY6" fmla="*/ 760728 h 2425842"/>
                  <a:gd name="connsiteX7" fmla="*/ 1972735 w 12386023"/>
                  <a:gd name="connsiteY7" fmla="*/ 794716 h 2425842"/>
                  <a:gd name="connsiteX8" fmla="*/ 2428745 w 12386023"/>
                  <a:gd name="connsiteY8" fmla="*/ 735228 h 2425842"/>
                  <a:gd name="connsiteX9" fmla="*/ 2906467 w 12386023"/>
                  <a:gd name="connsiteY9" fmla="*/ 735228 h 2425842"/>
                  <a:gd name="connsiteX10" fmla="*/ 3677336 w 12386023"/>
                  <a:gd name="connsiteY10" fmla="*/ 777722 h 2425842"/>
                  <a:gd name="connsiteX11" fmla="*/ 4556772 w 12386023"/>
                  <a:gd name="connsiteY11" fmla="*/ 760728 h 2425842"/>
                  <a:gd name="connsiteX12" fmla="*/ 5186490 w 12386023"/>
                  <a:gd name="connsiteY12" fmla="*/ 769234 h 2425842"/>
                  <a:gd name="connsiteX13" fmla="*/ 6022500 w 12386023"/>
                  <a:gd name="connsiteY13" fmla="*/ 769234 h 2425842"/>
                  <a:gd name="connsiteX14" fmla="*/ 7086513 w 12386023"/>
                  <a:gd name="connsiteY14" fmla="*/ 794734 h 2425842"/>
                  <a:gd name="connsiteX15" fmla="*/ 7835668 w 12386023"/>
                  <a:gd name="connsiteY15" fmla="*/ 786228 h 2425842"/>
                  <a:gd name="connsiteX16" fmla="*/ 8367663 w 12386023"/>
                  <a:gd name="connsiteY16" fmla="*/ 777722 h 2425842"/>
                  <a:gd name="connsiteX17" fmla="*/ 8988680 w 12386023"/>
                  <a:gd name="connsiteY17" fmla="*/ 1180470 h 2425842"/>
                  <a:gd name="connsiteX18" fmla="*/ 9558676 w 12386023"/>
                  <a:gd name="connsiteY18" fmla="*/ 2007302 h 2425842"/>
                  <a:gd name="connsiteX19" fmla="*/ 10490076 w 12386023"/>
                  <a:gd name="connsiteY19" fmla="*/ 2425841 h 2425842"/>
                  <a:gd name="connsiteX20" fmla="*/ 11536110 w 12386023"/>
                  <a:gd name="connsiteY20" fmla="*/ 2007304 h 2425842"/>
                  <a:gd name="connsiteX21" fmla="*/ 11827041 w 12386023"/>
                  <a:gd name="connsiteY21" fmla="*/ 1361569 h 2425842"/>
                  <a:gd name="connsiteX22" fmla="*/ 12137937 w 12386023"/>
                  <a:gd name="connsiteY22" fmla="*/ 915462 h 2425842"/>
                  <a:gd name="connsiteX23" fmla="*/ 12386023 w 12386023"/>
                  <a:gd name="connsiteY23" fmla="*/ 615148 h 2425842"/>
                  <a:gd name="connsiteX24" fmla="*/ 12386023 w 12386023"/>
                  <a:gd name="connsiteY24" fmla="*/ 176766 h 2425842"/>
                  <a:gd name="connsiteX25" fmla="*/ 11779707 w 12386023"/>
                  <a:gd name="connsiteY25" fmla="*/ 351341 h 2425842"/>
                  <a:gd name="connsiteX26" fmla="*/ 11399982 w 12386023"/>
                  <a:gd name="connsiteY26" fmla="*/ 963226 h 2425842"/>
                  <a:gd name="connsiteX27" fmla="*/ 10943237 w 12386023"/>
                  <a:gd name="connsiteY27" fmla="*/ 1577387 h 2425842"/>
                  <a:gd name="connsiteX28" fmla="*/ 10375442 w 12386023"/>
                  <a:gd name="connsiteY28" fmla="*/ 1534170 h 2425842"/>
                  <a:gd name="connsiteX29" fmla="*/ 9868545 w 12386023"/>
                  <a:gd name="connsiteY29" fmla="*/ 974601 h 2425842"/>
                  <a:gd name="connsiteX30" fmla="*/ 9393890 w 12386023"/>
                  <a:gd name="connsiteY30" fmla="*/ 496920 h 2425842"/>
                  <a:gd name="connsiteX31" fmla="*/ 8791091 w 12386023"/>
                  <a:gd name="connsiteY31" fmla="*/ 72450 h 2425842"/>
                  <a:gd name="connsiteX32" fmla="*/ 7976795 w 12386023"/>
                  <a:gd name="connsiteY32" fmla="*/ 21469 h 2425842"/>
                  <a:gd name="connsiteX33" fmla="*/ 7390504 w 12386023"/>
                  <a:gd name="connsiteY33" fmla="*/ 114944 h 2425842"/>
                  <a:gd name="connsiteX34" fmla="*/ 6683417 w 12386023"/>
                  <a:gd name="connsiteY34" fmla="*/ 62385 h 2425842"/>
                  <a:gd name="connsiteX35" fmla="*/ 6243077 w 12386023"/>
                  <a:gd name="connsiteY35" fmla="*/ 165413 h 2425842"/>
                  <a:gd name="connsiteX36" fmla="*/ 9248668 w 12386023"/>
                  <a:gd name="connsiteY36" fmla="*/ 535967 h 2425842"/>
                  <a:gd name="connsiteX37" fmla="*/ 8892001 w 12386023"/>
                  <a:gd name="connsiteY37" fmla="*/ 497882 h 2425842"/>
                  <a:gd name="connsiteX38" fmla="*/ 9073222 w 12386023"/>
                  <a:gd name="connsiteY38" fmla="*/ 800346 h 2425842"/>
                  <a:gd name="connsiteX39" fmla="*/ 8714713 w 12386023"/>
                  <a:gd name="connsiteY39" fmla="*/ 373300 h 2425842"/>
                  <a:gd name="connsiteX40" fmla="*/ 8705072 w 12386023"/>
                  <a:gd name="connsiteY40" fmla="*/ 200377 h 2425842"/>
                  <a:gd name="connsiteX0" fmla="*/ 8705072 w 12386023"/>
                  <a:gd name="connsiteY0" fmla="*/ 148058 h 2373523"/>
                  <a:gd name="connsiteX1" fmla="*/ 8742561 w 12386023"/>
                  <a:gd name="connsiteY1" fmla="*/ 384564 h 2373523"/>
                  <a:gd name="connsiteX2" fmla="*/ 8676628 w 12386023"/>
                  <a:gd name="connsiteY2" fmla="*/ 298017 h 2373523"/>
                  <a:gd name="connsiteX3" fmla="*/ 8697801 w 12386023"/>
                  <a:gd name="connsiteY3" fmla="*/ 454697 h 2373523"/>
                  <a:gd name="connsiteX4" fmla="*/ 8652701 w 12386023"/>
                  <a:gd name="connsiteY4" fmla="*/ 640697 h 2373523"/>
                  <a:gd name="connsiteX5" fmla="*/ 421075 w 12386023"/>
                  <a:gd name="connsiteY5" fmla="*/ 800852 h 2373523"/>
                  <a:gd name="connsiteX6" fmla="*/ 1277876 w 12386023"/>
                  <a:gd name="connsiteY6" fmla="*/ 708409 h 2373523"/>
                  <a:gd name="connsiteX7" fmla="*/ 1972735 w 12386023"/>
                  <a:gd name="connsiteY7" fmla="*/ 742397 h 2373523"/>
                  <a:gd name="connsiteX8" fmla="*/ 2428745 w 12386023"/>
                  <a:gd name="connsiteY8" fmla="*/ 682909 h 2373523"/>
                  <a:gd name="connsiteX9" fmla="*/ 2906467 w 12386023"/>
                  <a:gd name="connsiteY9" fmla="*/ 682909 h 2373523"/>
                  <a:gd name="connsiteX10" fmla="*/ 3677336 w 12386023"/>
                  <a:gd name="connsiteY10" fmla="*/ 725403 h 2373523"/>
                  <a:gd name="connsiteX11" fmla="*/ 4556772 w 12386023"/>
                  <a:gd name="connsiteY11" fmla="*/ 708409 h 2373523"/>
                  <a:gd name="connsiteX12" fmla="*/ 5186490 w 12386023"/>
                  <a:gd name="connsiteY12" fmla="*/ 716915 h 2373523"/>
                  <a:gd name="connsiteX13" fmla="*/ 6022500 w 12386023"/>
                  <a:gd name="connsiteY13" fmla="*/ 716915 h 2373523"/>
                  <a:gd name="connsiteX14" fmla="*/ 7086513 w 12386023"/>
                  <a:gd name="connsiteY14" fmla="*/ 742415 h 2373523"/>
                  <a:gd name="connsiteX15" fmla="*/ 7835668 w 12386023"/>
                  <a:gd name="connsiteY15" fmla="*/ 733909 h 2373523"/>
                  <a:gd name="connsiteX16" fmla="*/ 8367663 w 12386023"/>
                  <a:gd name="connsiteY16" fmla="*/ 725403 h 2373523"/>
                  <a:gd name="connsiteX17" fmla="*/ 8988680 w 12386023"/>
                  <a:gd name="connsiteY17" fmla="*/ 1128151 h 2373523"/>
                  <a:gd name="connsiteX18" fmla="*/ 9558676 w 12386023"/>
                  <a:gd name="connsiteY18" fmla="*/ 1954983 h 2373523"/>
                  <a:gd name="connsiteX19" fmla="*/ 10490076 w 12386023"/>
                  <a:gd name="connsiteY19" fmla="*/ 2373522 h 2373523"/>
                  <a:gd name="connsiteX20" fmla="*/ 11536110 w 12386023"/>
                  <a:gd name="connsiteY20" fmla="*/ 1954985 h 2373523"/>
                  <a:gd name="connsiteX21" fmla="*/ 11827041 w 12386023"/>
                  <a:gd name="connsiteY21" fmla="*/ 1309250 h 2373523"/>
                  <a:gd name="connsiteX22" fmla="*/ 12137937 w 12386023"/>
                  <a:gd name="connsiteY22" fmla="*/ 863143 h 2373523"/>
                  <a:gd name="connsiteX23" fmla="*/ 12386023 w 12386023"/>
                  <a:gd name="connsiteY23" fmla="*/ 562829 h 2373523"/>
                  <a:gd name="connsiteX24" fmla="*/ 12386023 w 12386023"/>
                  <a:gd name="connsiteY24" fmla="*/ 124447 h 2373523"/>
                  <a:gd name="connsiteX25" fmla="*/ 11779707 w 12386023"/>
                  <a:gd name="connsiteY25" fmla="*/ 299022 h 2373523"/>
                  <a:gd name="connsiteX26" fmla="*/ 11399982 w 12386023"/>
                  <a:gd name="connsiteY26" fmla="*/ 910907 h 2373523"/>
                  <a:gd name="connsiteX27" fmla="*/ 10943237 w 12386023"/>
                  <a:gd name="connsiteY27" fmla="*/ 1525068 h 2373523"/>
                  <a:gd name="connsiteX28" fmla="*/ 10375442 w 12386023"/>
                  <a:gd name="connsiteY28" fmla="*/ 1481851 h 2373523"/>
                  <a:gd name="connsiteX29" fmla="*/ 9868545 w 12386023"/>
                  <a:gd name="connsiteY29" fmla="*/ 922282 h 2373523"/>
                  <a:gd name="connsiteX30" fmla="*/ 9393890 w 12386023"/>
                  <a:gd name="connsiteY30" fmla="*/ 444601 h 2373523"/>
                  <a:gd name="connsiteX31" fmla="*/ 8791091 w 12386023"/>
                  <a:gd name="connsiteY31" fmla="*/ 20131 h 2373523"/>
                  <a:gd name="connsiteX32" fmla="*/ 7390504 w 12386023"/>
                  <a:gd name="connsiteY32" fmla="*/ 62625 h 2373523"/>
                  <a:gd name="connsiteX33" fmla="*/ 6683417 w 12386023"/>
                  <a:gd name="connsiteY33" fmla="*/ 10066 h 2373523"/>
                  <a:gd name="connsiteX34" fmla="*/ 6243077 w 12386023"/>
                  <a:gd name="connsiteY34" fmla="*/ 113094 h 2373523"/>
                  <a:gd name="connsiteX35" fmla="*/ 9248668 w 12386023"/>
                  <a:gd name="connsiteY35" fmla="*/ 483648 h 2373523"/>
                  <a:gd name="connsiteX36" fmla="*/ 8892001 w 12386023"/>
                  <a:gd name="connsiteY36" fmla="*/ 445563 h 2373523"/>
                  <a:gd name="connsiteX37" fmla="*/ 9073222 w 12386023"/>
                  <a:gd name="connsiteY37" fmla="*/ 748027 h 2373523"/>
                  <a:gd name="connsiteX38" fmla="*/ 8714713 w 12386023"/>
                  <a:gd name="connsiteY38" fmla="*/ 320981 h 2373523"/>
                  <a:gd name="connsiteX39" fmla="*/ 8705072 w 12386023"/>
                  <a:gd name="connsiteY39" fmla="*/ 148058 h 2373523"/>
                  <a:gd name="connsiteX0" fmla="*/ 8705072 w 12386023"/>
                  <a:gd name="connsiteY0" fmla="*/ 148058 h 2373523"/>
                  <a:gd name="connsiteX1" fmla="*/ 8742561 w 12386023"/>
                  <a:gd name="connsiteY1" fmla="*/ 384564 h 2373523"/>
                  <a:gd name="connsiteX2" fmla="*/ 8676628 w 12386023"/>
                  <a:gd name="connsiteY2" fmla="*/ 298017 h 2373523"/>
                  <a:gd name="connsiteX3" fmla="*/ 8697801 w 12386023"/>
                  <a:gd name="connsiteY3" fmla="*/ 454697 h 2373523"/>
                  <a:gd name="connsiteX4" fmla="*/ 8652701 w 12386023"/>
                  <a:gd name="connsiteY4" fmla="*/ 640697 h 2373523"/>
                  <a:gd name="connsiteX5" fmla="*/ 421075 w 12386023"/>
                  <a:gd name="connsiteY5" fmla="*/ 800852 h 2373523"/>
                  <a:gd name="connsiteX6" fmla="*/ 1277876 w 12386023"/>
                  <a:gd name="connsiteY6" fmla="*/ 708409 h 2373523"/>
                  <a:gd name="connsiteX7" fmla="*/ 1972735 w 12386023"/>
                  <a:gd name="connsiteY7" fmla="*/ 742397 h 2373523"/>
                  <a:gd name="connsiteX8" fmla="*/ 2428745 w 12386023"/>
                  <a:gd name="connsiteY8" fmla="*/ 682909 h 2373523"/>
                  <a:gd name="connsiteX9" fmla="*/ 2906467 w 12386023"/>
                  <a:gd name="connsiteY9" fmla="*/ 682909 h 2373523"/>
                  <a:gd name="connsiteX10" fmla="*/ 3677336 w 12386023"/>
                  <a:gd name="connsiteY10" fmla="*/ 725403 h 2373523"/>
                  <a:gd name="connsiteX11" fmla="*/ 4556772 w 12386023"/>
                  <a:gd name="connsiteY11" fmla="*/ 708409 h 2373523"/>
                  <a:gd name="connsiteX12" fmla="*/ 5186490 w 12386023"/>
                  <a:gd name="connsiteY12" fmla="*/ 716915 h 2373523"/>
                  <a:gd name="connsiteX13" fmla="*/ 6022500 w 12386023"/>
                  <a:gd name="connsiteY13" fmla="*/ 716915 h 2373523"/>
                  <a:gd name="connsiteX14" fmla="*/ 7086513 w 12386023"/>
                  <a:gd name="connsiteY14" fmla="*/ 742415 h 2373523"/>
                  <a:gd name="connsiteX15" fmla="*/ 7835668 w 12386023"/>
                  <a:gd name="connsiteY15" fmla="*/ 733909 h 2373523"/>
                  <a:gd name="connsiteX16" fmla="*/ 8367663 w 12386023"/>
                  <a:gd name="connsiteY16" fmla="*/ 725403 h 2373523"/>
                  <a:gd name="connsiteX17" fmla="*/ 8988680 w 12386023"/>
                  <a:gd name="connsiteY17" fmla="*/ 1128151 h 2373523"/>
                  <a:gd name="connsiteX18" fmla="*/ 9558676 w 12386023"/>
                  <a:gd name="connsiteY18" fmla="*/ 1954983 h 2373523"/>
                  <a:gd name="connsiteX19" fmla="*/ 10490076 w 12386023"/>
                  <a:gd name="connsiteY19" fmla="*/ 2373522 h 2373523"/>
                  <a:gd name="connsiteX20" fmla="*/ 11536110 w 12386023"/>
                  <a:gd name="connsiteY20" fmla="*/ 1954985 h 2373523"/>
                  <a:gd name="connsiteX21" fmla="*/ 11827041 w 12386023"/>
                  <a:gd name="connsiteY21" fmla="*/ 1309250 h 2373523"/>
                  <a:gd name="connsiteX22" fmla="*/ 12137937 w 12386023"/>
                  <a:gd name="connsiteY22" fmla="*/ 863143 h 2373523"/>
                  <a:gd name="connsiteX23" fmla="*/ 12386023 w 12386023"/>
                  <a:gd name="connsiteY23" fmla="*/ 562829 h 2373523"/>
                  <a:gd name="connsiteX24" fmla="*/ 12386023 w 12386023"/>
                  <a:gd name="connsiteY24" fmla="*/ 124447 h 2373523"/>
                  <a:gd name="connsiteX25" fmla="*/ 11779707 w 12386023"/>
                  <a:gd name="connsiteY25" fmla="*/ 299022 h 2373523"/>
                  <a:gd name="connsiteX26" fmla="*/ 11399982 w 12386023"/>
                  <a:gd name="connsiteY26" fmla="*/ 910907 h 2373523"/>
                  <a:gd name="connsiteX27" fmla="*/ 10943237 w 12386023"/>
                  <a:gd name="connsiteY27" fmla="*/ 1525068 h 2373523"/>
                  <a:gd name="connsiteX28" fmla="*/ 10375442 w 12386023"/>
                  <a:gd name="connsiteY28" fmla="*/ 1481851 h 2373523"/>
                  <a:gd name="connsiteX29" fmla="*/ 9868545 w 12386023"/>
                  <a:gd name="connsiteY29" fmla="*/ 922282 h 2373523"/>
                  <a:gd name="connsiteX30" fmla="*/ 9393890 w 12386023"/>
                  <a:gd name="connsiteY30" fmla="*/ 444601 h 2373523"/>
                  <a:gd name="connsiteX31" fmla="*/ 8791091 w 12386023"/>
                  <a:gd name="connsiteY31" fmla="*/ 20131 h 2373523"/>
                  <a:gd name="connsiteX32" fmla="*/ 7390504 w 12386023"/>
                  <a:gd name="connsiteY32" fmla="*/ 62625 h 2373523"/>
                  <a:gd name="connsiteX33" fmla="*/ 6243077 w 12386023"/>
                  <a:gd name="connsiteY33" fmla="*/ 113094 h 2373523"/>
                  <a:gd name="connsiteX34" fmla="*/ 9248668 w 12386023"/>
                  <a:gd name="connsiteY34" fmla="*/ 483648 h 2373523"/>
                  <a:gd name="connsiteX35" fmla="*/ 8892001 w 12386023"/>
                  <a:gd name="connsiteY35" fmla="*/ 445563 h 2373523"/>
                  <a:gd name="connsiteX36" fmla="*/ 9073222 w 12386023"/>
                  <a:gd name="connsiteY36" fmla="*/ 748027 h 2373523"/>
                  <a:gd name="connsiteX37" fmla="*/ 8714713 w 12386023"/>
                  <a:gd name="connsiteY37" fmla="*/ 320981 h 2373523"/>
                  <a:gd name="connsiteX38" fmla="*/ 8705072 w 12386023"/>
                  <a:gd name="connsiteY38" fmla="*/ 148058 h 2373523"/>
                  <a:gd name="connsiteX0" fmla="*/ 8705072 w 12386023"/>
                  <a:gd name="connsiteY0" fmla="*/ 148058 h 2373523"/>
                  <a:gd name="connsiteX1" fmla="*/ 8742561 w 12386023"/>
                  <a:gd name="connsiteY1" fmla="*/ 384564 h 2373523"/>
                  <a:gd name="connsiteX2" fmla="*/ 8676628 w 12386023"/>
                  <a:gd name="connsiteY2" fmla="*/ 298017 h 2373523"/>
                  <a:gd name="connsiteX3" fmla="*/ 8697801 w 12386023"/>
                  <a:gd name="connsiteY3" fmla="*/ 454697 h 2373523"/>
                  <a:gd name="connsiteX4" fmla="*/ 8652701 w 12386023"/>
                  <a:gd name="connsiteY4" fmla="*/ 640697 h 2373523"/>
                  <a:gd name="connsiteX5" fmla="*/ 421075 w 12386023"/>
                  <a:gd name="connsiteY5" fmla="*/ 800852 h 2373523"/>
                  <a:gd name="connsiteX6" fmla="*/ 1277876 w 12386023"/>
                  <a:gd name="connsiteY6" fmla="*/ 708409 h 2373523"/>
                  <a:gd name="connsiteX7" fmla="*/ 1972735 w 12386023"/>
                  <a:gd name="connsiteY7" fmla="*/ 742397 h 2373523"/>
                  <a:gd name="connsiteX8" fmla="*/ 2428745 w 12386023"/>
                  <a:gd name="connsiteY8" fmla="*/ 682909 h 2373523"/>
                  <a:gd name="connsiteX9" fmla="*/ 2906467 w 12386023"/>
                  <a:gd name="connsiteY9" fmla="*/ 682909 h 2373523"/>
                  <a:gd name="connsiteX10" fmla="*/ 3677336 w 12386023"/>
                  <a:gd name="connsiteY10" fmla="*/ 725403 h 2373523"/>
                  <a:gd name="connsiteX11" fmla="*/ 4556772 w 12386023"/>
                  <a:gd name="connsiteY11" fmla="*/ 708409 h 2373523"/>
                  <a:gd name="connsiteX12" fmla="*/ 5186490 w 12386023"/>
                  <a:gd name="connsiteY12" fmla="*/ 716915 h 2373523"/>
                  <a:gd name="connsiteX13" fmla="*/ 6022500 w 12386023"/>
                  <a:gd name="connsiteY13" fmla="*/ 716915 h 2373523"/>
                  <a:gd name="connsiteX14" fmla="*/ 7086513 w 12386023"/>
                  <a:gd name="connsiteY14" fmla="*/ 742415 h 2373523"/>
                  <a:gd name="connsiteX15" fmla="*/ 7835668 w 12386023"/>
                  <a:gd name="connsiteY15" fmla="*/ 733909 h 2373523"/>
                  <a:gd name="connsiteX16" fmla="*/ 8367663 w 12386023"/>
                  <a:gd name="connsiteY16" fmla="*/ 725403 h 2373523"/>
                  <a:gd name="connsiteX17" fmla="*/ 8988680 w 12386023"/>
                  <a:gd name="connsiteY17" fmla="*/ 1128151 h 2373523"/>
                  <a:gd name="connsiteX18" fmla="*/ 9558676 w 12386023"/>
                  <a:gd name="connsiteY18" fmla="*/ 1954983 h 2373523"/>
                  <a:gd name="connsiteX19" fmla="*/ 10490076 w 12386023"/>
                  <a:gd name="connsiteY19" fmla="*/ 2373522 h 2373523"/>
                  <a:gd name="connsiteX20" fmla="*/ 11536110 w 12386023"/>
                  <a:gd name="connsiteY20" fmla="*/ 1954985 h 2373523"/>
                  <a:gd name="connsiteX21" fmla="*/ 11827041 w 12386023"/>
                  <a:gd name="connsiteY21" fmla="*/ 1309250 h 2373523"/>
                  <a:gd name="connsiteX22" fmla="*/ 12137937 w 12386023"/>
                  <a:gd name="connsiteY22" fmla="*/ 863143 h 2373523"/>
                  <a:gd name="connsiteX23" fmla="*/ 12386023 w 12386023"/>
                  <a:gd name="connsiteY23" fmla="*/ 562829 h 2373523"/>
                  <a:gd name="connsiteX24" fmla="*/ 12386023 w 12386023"/>
                  <a:gd name="connsiteY24" fmla="*/ 124447 h 2373523"/>
                  <a:gd name="connsiteX25" fmla="*/ 11779707 w 12386023"/>
                  <a:gd name="connsiteY25" fmla="*/ 299022 h 2373523"/>
                  <a:gd name="connsiteX26" fmla="*/ 11399982 w 12386023"/>
                  <a:gd name="connsiteY26" fmla="*/ 910907 h 2373523"/>
                  <a:gd name="connsiteX27" fmla="*/ 10943237 w 12386023"/>
                  <a:gd name="connsiteY27" fmla="*/ 1525068 h 2373523"/>
                  <a:gd name="connsiteX28" fmla="*/ 10375442 w 12386023"/>
                  <a:gd name="connsiteY28" fmla="*/ 1481851 h 2373523"/>
                  <a:gd name="connsiteX29" fmla="*/ 9868545 w 12386023"/>
                  <a:gd name="connsiteY29" fmla="*/ 922282 h 2373523"/>
                  <a:gd name="connsiteX30" fmla="*/ 9393890 w 12386023"/>
                  <a:gd name="connsiteY30" fmla="*/ 444601 h 2373523"/>
                  <a:gd name="connsiteX31" fmla="*/ 8791091 w 12386023"/>
                  <a:gd name="connsiteY31" fmla="*/ 20131 h 2373523"/>
                  <a:gd name="connsiteX32" fmla="*/ 7390504 w 12386023"/>
                  <a:gd name="connsiteY32" fmla="*/ 62625 h 2373523"/>
                  <a:gd name="connsiteX33" fmla="*/ 9248668 w 12386023"/>
                  <a:gd name="connsiteY33" fmla="*/ 483648 h 2373523"/>
                  <a:gd name="connsiteX34" fmla="*/ 8892001 w 12386023"/>
                  <a:gd name="connsiteY34" fmla="*/ 445563 h 2373523"/>
                  <a:gd name="connsiteX35" fmla="*/ 9073222 w 12386023"/>
                  <a:gd name="connsiteY35" fmla="*/ 748027 h 2373523"/>
                  <a:gd name="connsiteX36" fmla="*/ 8714713 w 12386023"/>
                  <a:gd name="connsiteY36" fmla="*/ 320981 h 2373523"/>
                  <a:gd name="connsiteX37" fmla="*/ 8705072 w 12386023"/>
                  <a:gd name="connsiteY37" fmla="*/ 148058 h 2373523"/>
                  <a:gd name="connsiteX0" fmla="*/ 8705072 w 12386023"/>
                  <a:gd name="connsiteY0" fmla="*/ 148058 h 2373523"/>
                  <a:gd name="connsiteX1" fmla="*/ 8742561 w 12386023"/>
                  <a:gd name="connsiteY1" fmla="*/ 384564 h 2373523"/>
                  <a:gd name="connsiteX2" fmla="*/ 8676628 w 12386023"/>
                  <a:gd name="connsiteY2" fmla="*/ 298017 h 2373523"/>
                  <a:gd name="connsiteX3" fmla="*/ 8697801 w 12386023"/>
                  <a:gd name="connsiteY3" fmla="*/ 454697 h 2373523"/>
                  <a:gd name="connsiteX4" fmla="*/ 8652701 w 12386023"/>
                  <a:gd name="connsiteY4" fmla="*/ 640697 h 2373523"/>
                  <a:gd name="connsiteX5" fmla="*/ 421075 w 12386023"/>
                  <a:gd name="connsiteY5" fmla="*/ 800852 h 2373523"/>
                  <a:gd name="connsiteX6" fmla="*/ 1277876 w 12386023"/>
                  <a:gd name="connsiteY6" fmla="*/ 708409 h 2373523"/>
                  <a:gd name="connsiteX7" fmla="*/ 1972735 w 12386023"/>
                  <a:gd name="connsiteY7" fmla="*/ 742397 h 2373523"/>
                  <a:gd name="connsiteX8" fmla="*/ 2428745 w 12386023"/>
                  <a:gd name="connsiteY8" fmla="*/ 682909 h 2373523"/>
                  <a:gd name="connsiteX9" fmla="*/ 2906467 w 12386023"/>
                  <a:gd name="connsiteY9" fmla="*/ 682909 h 2373523"/>
                  <a:gd name="connsiteX10" fmla="*/ 3677336 w 12386023"/>
                  <a:gd name="connsiteY10" fmla="*/ 725403 h 2373523"/>
                  <a:gd name="connsiteX11" fmla="*/ 4556772 w 12386023"/>
                  <a:gd name="connsiteY11" fmla="*/ 708409 h 2373523"/>
                  <a:gd name="connsiteX12" fmla="*/ 5186490 w 12386023"/>
                  <a:gd name="connsiteY12" fmla="*/ 716915 h 2373523"/>
                  <a:gd name="connsiteX13" fmla="*/ 6022500 w 12386023"/>
                  <a:gd name="connsiteY13" fmla="*/ 716915 h 2373523"/>
                  <a:gd name="connsiteX14" fmla="*/ 7086513 w 12386023"/>
                  <a:gd name="connsiteY14" fmla="*/ 742415 h 2373523"/>
                  <a:gd name="connsiteX15" fmla="*/ 7835668 w 12386023"/>
                  <a:gd name="connsiteY15" fmla="*/ 733909 h 2373523"/>
                  <a:gd name="connsiteX16" fmla="*/ 8367663 w 12386023"/>
                  <a:gd name="connsiteY16" fmla="*/ 725403 h 2373523"/>
                  <a:gd name="connsiteX17" fmla="*/ 8988680 w 12386023"/>
                  <a:gd name="connsiteY17" fmla="*/ 1128151 h 2373523"/>
                  <a:gd name="connsiteX18" fmla="*/ 9558676 w 12386023"/>
                  <a:gd name="connsiteY18" fmla="*/ 1954983 h 2373523"/>
                  <a:gd name="connsiteX19" fmla="*/ 10490076 w 12386023"/>
                  <a:gd name="connsiteY19" fmla="*/ 2373522 h 2373523"/>
                  <a:gd name="connsiteX20" fmla="*/ 11536110 w 12386023"/>
                  <a:gd name="connsiteY20" fmla="*/ 1954985 h 2373523"/>
                  <a:gd name="connsiteX21" fmla="*/ 11827041 w 12386023"/>
                  <a:gd name="connsiteY21" fmla="*/ 1309250 h 2373523"/>
                  <a:gd name="connsiteX22" fmla="*/ 12137937 w 12386023"/>
                  <a:gd name="connsiteY22" fmla="*/ 863143 h 2373523"/>
                  <a:gd name="connsiteX23" fmla="*/ 12386023 w 12386023"/>
                  <a:gd name="connsiteY23" fmla="*/ 562829 h 2373523"/>
                  <a:gd name="connsiteX24" fmla="*/ 12386023 w 12386023"/>
                  <a:gd name="connsiteY24" fmla="*/ 124447 h 2373523"/>
                  <a:gd name="connsiteX25" fmla="*/ 11779707 w 12386023"/>
                  <a:gd name="connsiteY25" fmla="*/ 299022 h 2373523"/>
                  <a:gd name="connsiteX26" fmla="*/ 11399982 w 12386023"/>
                  <a:gd name="connsiteY26" fmla="*/ 910907 h 2373523"/>
                  <a:gd name="connsiteX27" fmla="*/ 10943237 w 12386023"/>
                  <a:gd name="connsiteY27" fmla="*/ 1525068 h 2373523"/>
                  <a:gd name="connsiteX28" fmla="*/ 10375442 w 12386023"/>
                  <a:gd name="connsiteY28" fmla="*/ 1481851 h 2373523"/>
                  <a:gd name="connsiteX29" fmla="*/ 9868545 w 12386023"/>
                  <a:gd name="connsiteY29" fmla="*/ 922282 h 2373523"/>
                  <a:gd name="connsiteX30" fmla="*/ 9393890 w 12386023"/>
                  <a:gd name="connsiteY30" fmla="*/ 444601 h 2373523"/>
                  <a:gd name="connsiteX31" fmla="*/ 8791091 w 12386023"/>
                  <a:gd name="connsiteY31" fmla="*/ 20131 h 2373523"/>
                  <a:gd name="connsiteX32" fmla="*/ 7390504 w 12386023"/>
                  <a:gd name="connsiteY32" fmla="*/ 62625 h 2373523"/>
                  <a:gd name="connsiteX33" fmla="*/ 9248668 w 12386023"/>
                  <a:gd name="connsiteY33" fmla="*/ 483648 h 2373523"/>
                  <a:gd name="connsiteX34" fmla="*/ 8892001 w 12386023"/>
                  <a:gd name="connsiteY34" fmla="*/ 445563 h 2373523"/>
                  <a:gd name="connsiteX35" fmla="*/ 9073222 w 12386023"/>
                  <a:gd name="connsiteY35" fmla="*/ 748027 h 2373523"/>
                  <a:gd name="connsiteX36" fmla="*/ 8705072 w 12386023"/>
                  <a:gd name="connsiteY36" fmla="*/ 148058 h 2373523"/>
                  <a:gd name="connsiteX0" fmla="*/ 8705072 w 12386023"/>
                  <a:gd name="connsiteY0" fmla="*/ 148058 h 2373523"/>
                  <a:gd name="connsiteX1" fmla="*/ 8742561 w 12386023"/>
                  <a:gd name="connsiteY1" fmla="*/ 384564 h 2373523"/>
                  <a:gd name="connsiteX2" fmla="*/ 8697801 w 12386023"/>
                  <a:gd name="connsiteY2" fmla="*/ 454697 h 2373523"/>
                  <a:gd name="connsiteX3" fmla="*/ 8652701 w 12386023"/>
                  <a:gd name="connsiteY3" fmla="*/ 640697 h 2373523"/>
                  <a:gd name="connsiteX4" fmla="*/ 421075 w 12386023"/>
                  <a:gd name="connsiteY4" fmla="*/ 800852 h 2373523"/>
                  <a:gd name="connsiteX5" fmla="*/ 1277876 w 12386023"/>
                  <a:gd name="connsiteY5" fmla="*/ 708409 h 2373523"/>
                  <a:gd name="connsiteX6" fmla="*/ 1972735 w 12386023"/>
                  <a:gd name="connsiteY6" fmla="*/ 742397 h 2373523"/>
                  <a:gd name="connsiteX7" fmla="*/ 2428745 w 12386023"/>
                  <a:gd name="connsiteY7" fmla="*/ 682909 h 2373523"/>
                  <a:gd name="connsiteX8" fmla="*/ 2906467 w 12386023"/>
                  <a:gd name="connsiteY8" fmla="*/ 682909 h 2373523"/>
                  <a:gd name="connsiteX9" fmla="*/ 3677336 w 12386023"/>
                  <a:gd name="connsiteY9" fmla="*/ 725403 h 2373523"/>
                  <a:gd name="connsiteX10" fmla="*/ 4556772 w 12386023"/>
                  <a:gd name="connsiteY10" fmla="*/ 708409 h 2373523"/>
                  <a:gd name="connsiteX11" fmla="*/ 5186490 w 12386023"/>
                  <a:gd name="connsiteY11" fmla="*/ 716915 h 2373523"/>
                  <a:gd name="connsiteX12" fmla="*/ 6022500 w 12386023"/>
                  <a:gd name="connsiteY12" fmla="*/ 716915 h 2373523"/>
                  <a:gd name="connsiteX13" fmla="*/ 7086513 w 12386023"/>
                  <a:gd name="connsiteY13" fmla="*/ 742415 h 2373523"/>
                  <a:gd name="connsiteX14" fmla="*/ 7835668 w 12386023"/>
                  <a:gd name="connsiteY14" fmla="*/ 733909 h 2373523"/>
                  <a:gd name="connsiteX15" fmla="*/ 8367663 w 12386023"/>
                  <a:gd name="connsiteY15" fmla="*/ 725403 h 2373523"/>
                  <a:gd name="connsiteX16" fmla="*/ 8988680 w 12386023"/>
                  <a:gd name="connsiteY16" fmla="*/ 1128151 h 2373523"/>
                  <a:gd name="connsiteX17" fmla="*/ 9558676 w 12386023"/>
                  <a:gd name="connsiteY17" fmla="*/ 1954983 h 2373523"/>
                  <a:gd name="connsiteX18" fmla="*/ 10490076 w 12386023"/>
                  <a:gd name="connsiteY18" fmla="*/ 2373522 h 2373523"/>
                  <a:gd name="connsiteX19" fmla="*/ 11536110 w 12386023"/>
                  <a:gd name="connsiteY19" fmla="*/ 1954985 h 2373523"/>
                  <a:gd name="connsiteX20" fmla="*/ 11827041 w 12386023"/>
                  <a:gd name="connsiteY20" fmla="*/ 1309250 h 2373523"/>
                  <a:gd name="connsiteX21" fmla="*/ 12137937 w 12386023"/>
                  <a:gd name="connsiteY21" fmla="*/ 863143 h 2373523"/>
                  <a:gd name="connsiteX22" fmla="*/ 12386023 w 12386023"/>
                  <a:gd name="connsiteY22" fmla="*/ 562829 h 2373523"/>
                  <a:gd name="connsiteX23" fmla="*/ 12386023 w 12386023"/>
                  <a:gd name="connsiteY23" fmla="*/ 124447 h 2373523"/>
                  <a:gd name="connsiteX24" fmla="*/ 11779707 w 12386023"/>
                  <a:gd name="connsiteY24" fmla="*/ 299022 h 2373523"/>
                  <a:gd name="connsiteX25" fmla="*/ 11399982 w 12386023"/>
                  <a:gd name="connsiteY25" fmla="*/ 910907 h 2373523"/>
                  <a:gd name="connsiteX26" fmla="*/ 10943237 w 12386023"/>
                  <a:gd name="connsiteY26" fmla="*/ 1525068 h 2373523"/>
                  <a:gd name="connsiteX27" fmla="*/ 10375442 w 12386023"/>
                  <a:gd name="connsiteY27" fmla="*/ 1481851 h 2373523"/>
                  <a:gd name="connsiteX28" fmla="*/ 9868545 w 12386023"/>
                  <a:gd name="connsiteY28" fmla="*/ 922282 h 2373523"/>
                  <a:gd name="connsiteX29" fmla="*/ 9393890 w 12386023"/>
                  <a:gd name="connsiteY29" fmla="*/ 444601 h 2373523"/>
                  <a:gd name="connsiteX30" fmla="*/ 8791091 w 12386023"/>
                  <a:gd name="connsiteY30" fmla="*/ 20131 h 2373523"/>
                  <a:gd name="connsiteX31" fmla="*/ 7390504 w 12386023"/>
                  <a:gd name="connsiteY31" fmla="*/ 62625 h 2373523"/>
                  <a:gd name="connsiteX32" fmla="*/ 9248668 w 12386023"/>
                  <a:gd name="connsiteY32" fmla="*/ 483648 h 2373523"/>
                  <a:gd name="connsiteX33" fmla="*/ 8892001 w 12386023"/>
                  <a:gd name="connsiteY33" fmla="*/ 445563 h 2373523"/>
                  <a:gd name="connsiteX34" fmla="*/ 9073222 w 12386023"/>
                  <a:gd name="connsiteY34" fmla="*/ 748027 h 2373523"/>
                  <a:gd name="connsiteX35" fmla="*/ 8705072 w 12386023"/>
                  <a:gd name="connsiteY35" fmla="*/ 148058 h 2373523"/>
                  <a:gd name="connsiteX0" fmla="*/ 8705072 w 12386023"/>
                  <a:gd name="connsiteY0" fmla="*/ 148058 h 2373523"/>
                  <a:gd name="connsiteX1" fmla="*/ 8697801 w 12386023"/>
                  <a:gd name="connsiteY1" fmla="*/ 454697 h 2373523"/>
                  <a:gd name="connsiteX2" fmla="*/ 8652701 w 12386023"/>
                  <a:gd name="connsiteY2" fmla="*/ 640697 h 2373523"/>
                  <a:gd name="connsiteX3" fmla="*/ 421075 w 12386023"/>
                  <a:gd name="connsiteY3" fmla="*/ 800852 h 2373523"/>
                  <a:gd name="connsiteX4" fmla="*/ 1277876 w 12386023"/>
                  <a:gd name="connsiteY4" fmla="*/ 708409 h 2373523"/>
                  <a:gd name="connsiteX5" fmla="*/ 1972735 w 12386023"/>
                  <a:gd name="connsiteY5" fmla="*/ 742397 h 2373523"/>
                  <a:gd name="connsiteX6" fmla="*/ 2428745 w 12386023"/>
                  <a:gd name="connsiteY6" fmla="*/ 682909 h 2373523"/>
                  <a:gd name="connsiteX7" fmla="*/ 2906467 w 12386023"/>
                  <a:gd name="connsiteY7" fmla="*/ 682909 h 2373523"/>
                  <a:gd name="connsiteX8" fmla="*/ 3677336 w 12386023"/>
                  <a:gd name="connsiteY8" fmla="*/ 725403 h 2373523"/>
                  <a:gd name="connsiteX9" fmla="*/ 4556772 w 12386023"/>
                  <a:gd name="connsiteY9" fmla="*/ 708409 h 2373523"/>
                  <a:gd name="connsiteX10" fmla="*/ 5186490 w 12386023"/>
                  <a:gd name="connsiteY10" fmla="*/ 716915 h 2373523"/>
                  <a:gd name="connsiteX11" fmla="*/ 6022500 w 12386023"/>
                  <a:gd name="connsiteY11" fmla="*/ 716915 h 2373523"/>
                  <a:gd name="connsiteX12" fmla="*/ 7086513 w 12386023"/>
                  <a:gd name="connsiteY12" fmla="*/ 742415 h 2373523"/>
                  <a:gd name="connsiteX13" fmla="*/ 7835668 w 12386023"/>
                  <a:gd name="connsiteY13" fmla="*/ 733909 h 2373523"/>
                  <a:gd name="connsiteX14" fmla="*/ 8367663 w 12386023"/>
                  <a:gd name="connsiteY14" fmla="*/ 725403 h 2373523"/>
                  <a:gd name="connsiteX15" fmla="*/ 8988680 w 12386023"/>
                  <a:gd name="connsiteY15" fmla="*/ 1128151 h 2373523"/>
                  <a:gd name="connsiteX16" fmla="*/ 9558676 w 12386023"/>
                  <a:gd name="connsiteY16" fmla="*/ 1954983 h 2373523"/>
                  <a:gd name="connsiteX17" fmla="*/ 10490076 w 12386023"/>
                  <a:gd name="connsiteY17" fmla="*/ 2373522 h 2373523"/>
                  <a:gd name="connsiteX18" fmla="*/ 11536110 w 12386023"/>
                  <a:gd name="connsiteY18" fmla="*/ 1954985 h 2373523"/>
                  <a:gd name="connsiteX19" fmla="*/ 11827041 w 12386023"/>
                  <a:gd name="connsiteY19" fmla="*/ 1309250 h 2373523"/>
                  <a:gd name="connsiteX20" fmla="*/ 12137937 w 12386023"/>
                  <a:gd name="connsiteY20" fmla="*/ 863143 h 2373523"/>
                  <a:gd name="connsiteX21" fmla="*/ 12386023 w 12386023"/>
                  <a:gd name="connsiteY21" fmla="*/ 562829 h 2373523"/>
                  <a:gd name="connsiteX22" fmla="*/ 12386023 w 12386023"/>
                  <a:gd name="connsiteY22" fmla="*/ 124447 h 2373523"/>
                  <a:gd name="connsiteX23" fmla="*/ 11779707 w 12386023"/>
                  <a:gd name="connsiteY23" fmla="*/ 299022 h 2373523"/>
                  <a:gd name="connsiteX24" fmla="*/ 11399982 w 12386023"/>
                  <a:gd name="connsiteY24" fmla="*/ 910907 h 2373523"/>
                  <a:gd name="connsiteX25" fmla="*/ 10943237 w 12386023"/>
                  <a:gd name="connsiteY25" fmla="*/ 1525068 h 2373523"/>
                  <a:gd name="connsiteX26" fmla="*/ 10375442 w 12386023"/>
                  <a:gd name="connsiteY26" fmla="*/ 1481851 h 2373523"/>
                  <a:gd name="connsiteX27" fmla="*/ 9868545 w 12386023"/>
                  <a:gd name="connsiteY27" fmla="*/ 922282 h 2373523"/>
                  <a:gd name="connsiteX28" fmla="*/ 9393890 w 12386023"/>
                  <a:gd name="connsiteY28" fmla="*/ 444601 h 2373523"/>
                  <a:gd name="connsiteX29" fmla="*/ 8791091 w 12386023"/>
                  <a:gd name="connsiteY29" fmla="*/ 20131 h 2373523"/>
                  <a:gd name="connsiteX30" fmla="*/ 7390504 w 12386023"/>
                  <a:gd name="connsiteY30" fmla="*/ 62625 h 2373523"/>
                  <a:gd name="connsiteX31" fmla="*/ 9248668 w 12386023"/>
                  <a:gd name="connsiteY31" fmla="*/ 483648 h 2373523"/>
                  <a:gd name="connsiteX32" fmla="*/ 8892001 w 12386023"/>
                  <a:gd name="connsiteY32" fmla="*/ 445563 h 2373523"/>
                  <a:gd name="connsiteX33" fmla="*/ 9073222 w 12386023"/>
                  <a:gd name="connsiteY33" fmla="*/ 748027 h 2373523"/>
                  <a:gd name="connsiteX34" fmla="*/ 8705072 w 12386023"/>
                  <a:gd name="connsiteY34" fmla="*/ 148058 h 2373523"/>
                  <a:gd name="connsiteX0" fmla="*/ 9073222 w 12386023"/>
                  <a:gd name="connsiteY0" fmla="*/ 748027 h 2373523"/>
                  <a:gd name="connsiteX1" fmla="*/ 8697801 w 12386023"/>
                  <a:gd name="connsiteY1" fmla="*/ 454697 h 2373523"/>
                  <a:gd name="connsiteX2" fmla="*/ 8652701 w 12386023"/>
                  <a:gd name="connsiteY2" fmla="*/ 640697 h 2373523"/>
                  <a:gd name="connsiteX3" fmla="*/ 421075 w 12386023"/>
                  <a:gd name="connsiteY3" fmla="*/ 800852 h 2373523"/>
                  <a:gd name="connsiteX4" fmla="*/ 1277876 w 12386023"/>
                  <a:gd name="connsiteY4" fmla="*/ 708409 h 2373523"/>
                  <a:gd name="connsiteX5" fmla="*/ 1972735 w 12386023"/>
                  <a:gd name="connsiteY5" fmla="*/ 742397 h 2373523"/>
                  <a:gd name="connsiteX6" fmla="*/ 2428745 w 12386023"/>
                  <a:gd name="connsiteY6" fmla="*/ 682909 h 2373523"/>
                  <a:gd name="connsiteX7" fmla="*/ 2906467 w 12386023"/>
                  <a:gd name="connsiteY7" fmla="*/ 682909 h 2373523"/>
                  <a:gd name="connsiteX8" fmla="*/ 3677336 w 12386023"/>
                  <a:gd name="connsiteY8" fmla="*/ 725403 h 2373523"/>
                  <a:gd name="connsiteX9" fmla="*/ 4556772 w 12386023"/>
                  <a:gd name="connsiteY9" fmla="*/ 708409 h 2373523"/>
                  <a:gd name="connsiteX10" fmla="*/ 5186490 w 12386023"/>
                  <a:gd name="connsiteY10" fmla="*/ 716915 h 2373523"/>
                  <a:gd name="connsiteX11" fmla="*/ 6022500 w 12386023"/>
                  <a:gd name="connsiteY11" fmla="*/ 716915 h 2373523"/>
                  <a:gd name="connsiteX12" fmla="*/ 7086513 w 12386023"/>
                  <a:gd name="connsiteY12" fmla="*/ 742415 h 2373523"/>
                  <a:gd name="connsiteX13" fmla="*/ 7835668 w 12386023"/>
                  <a:gd name="connsiteY13" fmla="*/ 733909 h 2373523"/>
                  <a:gd name="connsiteX14" fmla="*/ 8367663 w 12386023"/>
                  <a:gd name="connsiteY14" fmla="*/ 725403 h 2373523"/>
                  <a:gd name="connsiteX15" fmla="*/ 8988680 w 12386023"/>
                  <a:gd name="connsiteY15" fmla="*/ 1128151 h 2373523"/>
                  <a:gd name="connsiteX16" fmla="*/ 9558676 w 12386023"/>
                  <a:gd name="connsiteY16" fmla="*/ 1954983 h 2373523"/>
                  <a:gd name="connsiteX17" fmla="*/ 10490076 w 12386023"/>
                  <a:gd name="connsiteY17" fmla="*/ 2373522 h 2373523"/>
                  <a:gd name="connsiteX18" fmla="*/ 11536110 w 12386023"/>
                  <a:gd name="connsiteY18" fmla="*/ 1954985 h 2373523"/>
                  <a:gd name="connsiteX19" fmla="*/ 11827041 w 12386023"/>
                  <a:gd name="connsiteY19" fmla="*/ 1309250 h 2373523"/>
                  <a:gd name="connsiteX20" fmla="*/ 12137937 w 12386023"/>
                  <a:gd name="connsiteY20" fmla="*/ 863143 h 2373523"/>
                  <a:gd name="connsiteX21" fmla="*/ 12386023 w 12386023"/>
                  <a:gd name="connsiteY21" fmla="*/ 562829 h 2373523"/>
                  <a:gd name="connsiteX22" fmla="*/ 12386023 w 12386023"/>
                  <a:gd name="connsiteY22" fmla="*/ 124447 h 2373523"/>
                  <a:gd name="connsiteX23" fmla="*/ 11779707 w 12386023"/>
                  <a:gd name="connsiteY23" fmla="*/ 299022 h 2373523"/>
                  <a:gd name="connsiteX24" fmla="*/ 11399982 w 12386023"/>
                  <a:gd name="connsiteY24" fmla="*/ 910907 h 2373523"/>
                  <a:gd name="connsiteX25" fmla="*/ 10943237 w 12386023"/>
                  <a:gd name="connsiteY25" fmla="*/ 1525068 h 2373523"/>
                  <a:gd name="connsiteX26" fmla="*/ 10375442 w 12386023"/>
                  <a:gd name="connsiteY26" fmla="*/ 1481851 h 2373523"/>
                  <a:gd name="connsiteX27" fmla="*/ 9868545 w 12386023"/>
                  <a:gd name="connsiteY27" fmla="*/ 922282 h 2373523"/>
                  <a:gd name="connsiteX28" fmla="*/ 9393890 w 12386023"/>
                  <a:gd name="connsiteY28" fmla="*/ 444601 h 2373523"/>
                  <a:gd name="connsiteX29" fmla="*/ 8791091 w 12386023"/>
                  <a:gd name="connsiteY29" fmla="*/ 20131 h 2373523"/>
                  <a:gd name="connsiteX30" fmla="*/ 7390504 w 12386023"/>
                  <a:gd name="connsiteY30" fmla="*/ 62625 h 2373523"/>
                  <a:gd name="connsiteX31" fmla="*/ 9248668 w 12386023"/>
                  <a:gd name="connsiteY31" fmla="*/ 483648 h 2373523"/>
                  <a:gd name="connsiteX32" fmla="*/ 8892001 w 12386023"/>
                  <a:gd name="connsiteY32" fmla="*/ 445563 h 2373523"/>
                  <a:gd name="connsiteX33" fmla="*/ 9073222 w 12386023"/>
                  <a:gd name="connsiteY33" fmla="*/ 748027 h 2373523"/>
                  <a:gd name="connsiteX0" fmla="*/ 9073222 w 12386023"/>
                  <a:gd name="connsiteY0" fmla="*/ 748027 h 2373523"/>
                  <a:gd name="connsiteX1" fmla="*/ 8652701 w 12386023"/>
                  <a:gd name="connsiteY1" fmla="*/ 640697 h 2373523"/>
                  <a:gd name="connsiteX2" fmla="*/ 421075 w 12386023"/>
                  <a:gd name="connsiteY2" fmla="*/ 800852 h 2373523"/>
                  <a:gd name="connsiteX3" fmla="*/ 1277876 w 12386023"/>
                  <a:gd name="connsiteY3" fmla="*/ 708409 h 2373523"/>
                  <a:gd name="connsiteX4" fmla="*/ 1972735 w 12386023"/>
                  <a:gd name="connsiteY4" fmla="*/ 742397 h 2373523"/>
                  <a:gd name="connsiteX5" fmla="*/ 2428745 w 12386023"/>
                  <a:gd name="connsiteY5" fmla="*/ 682909 h 2373523"/>
                  <a:gd name="connsiteX6" fmla="*/ 2906467 w 12386023"/>
                  <a:gd name="connsiteY6" fmla="*/ 682909 h 2373523"/>
                  <a:gd name="connsiteX7" fmla="*/ 3677336 w 12386023"/>
                  <a:gd name="connsiteY7" fmla="*/ 725403 h 2373523"/>
                  <a:gd name="connsiteX8" fmla="*/ 4556772 w 12386023"/>
                  <a:gd name="connsiteY8" fmla="*/ 708409 h 2373523"/>
                  <a:gd name="connsiteX9" fmla="*/ 5186490 w 12386023"/>
                  <a:gd name="connsiteY9" fmla="*/ 716915 h 2373523"/>
                  <a:gd name="connsiteX10" fmla="*/ 6022500 w 12386023"/>
                  <a:gd name="connsiteY10" fmla="*/ 716915 h 2373523"/>
                  <a:gd name="connsiteX11" fmla="*/ 7086513 w 12386023"/>
                  <a:gd name="connsiteY11" fmla="*/ 742415 h 2373523"/>
                  <a:gd name="connsiteX12" fmla="*/ 7835668 w 12386023"/>
                  <a:gd name="connsiteY12" fmla="*/ 733909 h 2373523"/>
                  <a:gd name="connsiteX13" fmla="*/ 8367663 w 12386023"/>
                  <a:gd name="connsiteY13" fmla="*/ 725403 h 2373523"/>
                  <a:gd name="connsiteX14" fmla="*/ 8988680 w 12386023"/>
                  <a:gd name="connsiteY14" fmla="*/ 1128151 h 2373523"/>
                  <a:gd name="connsiteX15" fmla="*/ 9558676 w 12386023"/>
                  <a:gd name="connsiteY15" fmla="*/ 1954983 h 2373523"/>
                  <a:gd name="connsiteX16" fmla="*/ 10490076 w 12386023"/>
                  <a:gd name="connsiteY16" fmla="*/ 2373522 h 2373523"/>
                  <a:gd name="connsiteX17" fmla="*/ 11536110 w 12386023"/>
                  <a:gd name="connsiteY17" fmla="*/ 1954985 h 2373523"/>
                  <a:gd name="connsiteX18" fmla="*/ 11827041 w 12386023"/>
                  <a:gd name="connsiteY18" fmla="*/ 1309250 h 2373523"/>
                  <a:gd name="connsiteX19" fmla="*/ 12137937 w 12386023"/>
                  <a:gd name="connsiteY19" fmla="*/ 863143 h 2373523"/>
                  <a:gd name="connsiteX20" fmla="*/ 12386023 w 12386023"/>
                  <a:gd name="connsiteY20" fmla="*/ 562829 h 2373523"/>
                  <a:gd name="connsiteX21" fmla="*/ 12386023 w 12386023"/>
                  <a:gd name="connsiteY21" fmla="*/ 124447 h 2373523"/>
                  <a:gd name="connsiteX22" fmla="*/ 11779707 w 12386023"/>
                  <a:gd name="connsiteY22" fmla="*/ 299022 h 2373523"/>
                  <a:gd name="connsiteX23" fmla="*/ 11399982 w 12386023"/>
                  <a:gd name="connsiteY23" fmla="*/ 910907 h 2373523"/>
                  <a:gd name="connsiteX24" fmla="*/ 10943237 w 12386023"/>
                  <a:gd name="connsiteY24" fmla="*/ 1525068 h 2373523"/>
                  <a:gd name="connsiteX25" fmla="*/ 10375442 w 12386023"/>
                  <a:gd name="connsiteY25" fmla="*/ 1481851 h 2373523"/>
                  <a:gd name="connsiteX26" fmla="*/ 9868545 w 12386023"/>
                  <a:gd name="connsiteY26" fmla="*/ 922282 h 2373523"/>
                  <a:gd name="connsiteX27" fmla="*/ 9393890 w 12386023"/>
                  <a:gd name="connsiteY27" fmla="*/ 444601 h 2373523"/>
                  <a:gd name="connsiteX28" fmla="*/ 8791091 w 12386023"/>
                  <a:gd name="connsiteY28" fmla="*/ 20131 h 2373523"/>
                  <a:gd name="connsiteX29" fmla="*/ 7390504 w 12386023"/>
                  <a:gd name="connsiteY29" fmla="*/ 62625 h 2373523"/>
                  <a:gd name="connsiteX30" fmla="*/ 9248668 w 12386023"/>
                  <a:gd name="connsiteY30" fmla="*/ 483648 h 2373523"/>
                  <a:gd name="connsiteX31" fmla="*/ 8892001 w 12386023"/>
                  <a:gd name="connsiteY31" fmla="*/ 445563 h 2373523"/>
                  <a:gd name="connsiteX32" fmla="*/ 9073222 w 12386023"/>
                  <a:gd name="connsiteY32" fmla="*/ 748027 h 2373523"/>
                  <a:gd name="connsiteX0" fmla="*/ 9102751 w 12415552"/>
                  <a:gd name="connsiteY0" fmla="*/ 748027 h 2373523"/>
                  <a:gd name="connsiteX1" fmla="*/ 450604 w 12415552"/>
                  <a:gd name="connsiteY1" fmla="*/ 800852 h 2373523"/>
                  <a:gd name="connsiteX2" fmla="*/ 1307405 w 12415552"/>
                  <a:gd name="connsiteY2" fmla="*/ 708409 h 2373523"/>
                  <a:gd name="connsiteX3" fmla="*/ 2002264 w 12415552"/>
                  <a:gd name="connsiteY3" fmla="*/ 742397 h 2373523"/>
                  <a:gd name="connsiteX4" fmla="*/ 2458274 w 12415552"/>
                  <a:gd name="connsiteY4" fmla="*/ 682909 h 2373523"/>
                  <a:gd name="connsiteX5" fmla="*/ 2935996 w 12415552"/>
                  <a:gd name="connsiteY5" fmla="*/ 682909 h 2373523"/>
                  <a:gd name="connsiteX6" fmla="*/ 3706865 w 12415552"/>
                  <a:gd name="connsiteY6" fmla="*/ 725403 h 2373523"/>
                  <a:gd name="connsiteX7" fmla="*/ 4586301 w 12415552"/>
                  <a:gd name="connsiteY7" fmla="*/ 708409 h 2373523"/>
                  <a:gd name="connsiteX8" fmla="*/ 5216019 w 12415552"/>
                  <a:gd name="connsiteY8" fmla="*/ 716915 h 2373523"/>
                  <a:gd name="connsiteX9" fmla="*/ 6052029 w 12415552"/>
                  <a:gd name="connsiteY9" fmla="*/ 716915 h 2373523"/>
                  <a:gd name="connsiteX10" fmla="*/ 7116042 w 12415552"/>
                  <a:gd name="connsiteY10" fmla="*/ 742415 h 2373523"/>
                  <a:gd name="connsiteX11" fmla="*/ 7865197 w 12415552"/>
                  <a:gd name="connsiteY11" fmla="*/ 733909 h 2373523"/>
                  <a:gd name="connsiteX12" fmla="*/ 8397192 w 12415552"/>
                  <a:gd name="connsiteY12" fmla="*/ 725403 h 2373523"/>
                  <a:gd name="connsiteX13" fmla="*/ 9018209 w 12415552"/>
                  <a:gd name="connsiteY13" fmla="*/ 1128151 h 2373523"/>
                  <a:gd name="connsiteX14" fmla="*/ 9588205 w 12415552"/>
                  <a:gd name="connsiteY14" fmla="*/ 1954983 h 2373523"/>
                  <a:gd name="connsiteX15" fmla="*/ 10519605 w 12415552"/>
                  <a:gd name="connsiteY15" fmla="*/ 2373522 h 2373523"/>
                  <a:gd name="connsiteX16" fmla="*/ 11565639 w 12415552"/>
                  <a:gd name="connsiteY16" fmla="*/ 1954985 h 2373523"/>
                  <a:gd name="connsiteX17" fmla="*/ 11856570 w 12415552"/>
                  <a:gd name="connsiteY17" fmla="*/ 1309250 h 2373523"/>
                  <a:gd name="connsiteX18" fmla="*/ 12167466 w 12415552"/>
                  <a:gd name="connsiteY18" fmla="*/ 863143 h 2373523"/>
                  <a:gd name="connsiteX19" fmla="*/ 12415552 w 12415552"/>
                  <a:gd name="connsiteY19" fmla="*/ 562829 h 2373523"/>
                  <a:gd name="connsiteX20" fmla="*/ 12415552 w 12415552"/>
                  <a:gd name="connsiteY20" fmla="*/ 124447 h 2373523"/>
                  <a:gd name="connsiteX21" fmla="*/ 11809236 w 12415552"/>
                  <a:gd name="connsiteY21" fmla="*/ 299022 h 2373523"/>
                  <a:gd name="connsiteX22" fmla="*/ 11429511 w 12415552"/>
                  <a:gd name="connsiteY22" fmla="*/ 910907 h 2373523"/>
                  <a:gd name="connsiteX23" fmla="*/ 10972766 w 12415552"/>
                  <a:gd name="connsiteY23" fmla="*/ 1525068 h 2373523"/>
                  <a:gd name="connsiteX24" fmla="*/ 10404971 w 12415552"/>
                  <a:gd name="connsiteY24" fmla="*/ 1481851 h 2373523"/>
                  <a:gd name="connsiteX25" fmla="*/ 9898074 w 12415552"/>
                  <a:gd name="connsiteY25" fmla="*/ 922282 h 2373523"/>
                  <a:gd name="connsiteX26" fmla="*/ 9423419 w 12415552"/>
                  <a:gd name="connsiteY26" fmla="*/ 444601 h 2373523"/>
                  <a:gd name="connsiteX27" fmla="*/ 8820620 w 12415552"/>
                  <a:gd name="connsiteY27" fmla="*/ 20131 h 2373523"/>
                  <a:gd name="connsiteX28" fmla="*/ 7420033 w 12415552"/>
                  <a:gd name="connsiteY28" fmla="*/ 62625 h 2373523"/>
                  <a:gd name="connsiteX29" fmla="*/ 9278197 w 12415552"/>
                  <a:gd name="connsiteY29" fmla="*/ 483648 h 2373523"/>
                  <a:gd name="connsiteX30" fmla="*/ 8921530 w 12415552"/>
                  <a:gd name="connsiteY30" fmla="*/ 445563 h 2373523"/>
                  <a:gd name="connsiteX31" fmla="*/ 9102751 w 12415552"/>
                  <a:gd name="connsiteY31" fmla="*/ 748027 h 2373523"/>
                  <a:gd name="connsiteX0" fmla="*/ 9102753 w 12415554"/>
                  <a:gd name="connsiteY0" fmla="*/ 748027 h 2373523"/>
                  <a:gd name="connsiteX1" fmla="*/ 450606 w 12415554"/>
                  <a:gd name="connsiteY1" fmla="*/ 800852 h 2373523"/>
                  <a:gd name="connsiteX2" fmla="*/ 1307407 w 12415554"/>
                  <a:gd name="connsiteY2" fmla="*/ 708409 h 2373523"/>
                  <a:gd name="connsiteX3" fmla="*/ 2002266 w 12415554"/>
                  <a:gd name="connsiteY3" fmla="*/ 742397 h 2373523"/>
                  <a:gd name="connsiteX4" fmla="*/ 2458276 w 12415554"/>
                  <a:gd name="connsiteY4" fmla="*/ 682909 h 2373523"/>
                  <a:gd name="connsiteX5" fmla="*/ 2935998 w 12415554"/>
                  <a:gd name="connsiteY5" fmla="*/ 682909 h 2373523"/>
                  <a:gd name="connsiteX6" fmla="*/ 3706867 w 12415554"/>
                  <a:gd name="connsiteY6" fmla="*/ 725403 h 2373523"/>
                  <a:gd name="connsiteX7" fmla="*/ 4586303 w 12415554"/>
                  <a:gd name="connsiteY7" fmla="*/ 708409 h 2373523"/>
                  <a:gd name="connsiteX8" fmla="*/ 5216021 w 12415554"/>
                  <a:gd name="connsiteY8" fmla="*/ 716915 h 2373523"/>
                  <a:gd name="connsiteX9" fmla="*/ 6052031 w 12415554"/>
                  <a:gd name="connsiteY9" fmla="*/ 716915 h 2373523"/>
                  <a:gd name="connsiteX10" fmla="*/ 7116044 w 12415554"/>
                  <a:gd name="connsiteY10" fmla="*/ 742415 h 2373523"/>
                  <a:gd name="connsiteX11" fmla="*/ 7865199 w 12415554"/>
                  <a:gd name="connsiteY11" fmla="*/ 733909 h 2373523"/>
                  <a:gd name="connsiteX12" fmla="*/ 8397194 w 12415554"/>
                  <a:gd name="connsiteY12" fmla="*/ 725403 h 2373523"/>
                  <a:gd name="connsiteX13" fmla="*/ 9018211 w 12415554"/>
                  <a:gd name="connsiteY13" fmla="*/ 1128151 h 2373523"/>
                  <a:gd name="connsiteX14" fmla="*/ 9588207 w 12415554"/>
                  <a:gd name="connsiteY14" fmla="*/ 1954983 h 2373523"/>
                  <a:gd name="connsiteX15" fmla="*/ 10519607 w 12415554"/>
                  <a:gd name="connsiteY15" fmla="*/ 2373522 h 2373523"/>
                  <a:gd name="connsiteX16" fmla="*/ 11565641 w 12415554"/>
                  <a:gd name="connsiteY16" fmla="*/ 1954985 h 2373523"/>
                  <a:gd name="connsiteX17" fmla="*/ 11856572 w 12415554"/>
                  <a:gd name="connsiteY17" fmla="*/ 1309250 h 2373523"/>
                  <a:gd name="connsiteX18" fmla="*/ 12167468 w 12415554"/>
                  <a:gd name="connsiteY18" fmla="*/ 863143 h 2373523"/>
                  <a:gd name="connsiteX19" fmla="*/ 12415554 w 12415554"/>
                  <a:gd name="connsiteY19" fmla="*/ 562829 h 2373523"/>
                  <a:gd name="connsiteX20" fmla="*/ 12415554 w 12415554"/>
                  <a:gd name="connsiteY20" fmla="*/ 124447 h 2373523"/>
                  <a:gd name="connsiteX21" fmla="*/ 11809238 w 12415554"/>
                  <a:gd name="connsiteY21" fmla="*/ 299022 h 2373523"/>
                  <a:gd name="connsiteX22" fmla="*/ 11429513 w 12415554"/>
                  <a:gd name="connsiteY22" fmla="*/ 910907 h 2373523"/>
                  <a:gd name="connsiteX23" fmla="*/ 10972768 w 12415554"/>
                  <a:gd name="connsiteY23" fmla="*/ 1525068 h 2373523"/>
                  <a:gd name="connsiteX24" fmla="*/ 10404973 w 12415554"/>
                  <a:gd name="connsiteY24" fmla="*/ 1481851 h 2373523"/>
                  <a:gd name="connsiteX25" fmla="*/ 9898076 w 12415554"/>
                  <a:gd name="connsiteY25" fmla="*/ 922282 h 2373523"/>
                  <a:gd name="connsiteX26" fmla="*/ 9423421 w 12415554"/>
                  <a:gd name="connsiteY26" fmla="*/ 444601 h 2373523"/>
                  <a:gd name="connsiteX27" fmla="*/ 8820622 w 12415554"/>
                  <a:gd name="connsiteY27" fmla="*/ 20131 h 2373523"/>
                  <a:gd name="connsiteX28" fmla="*/ 7420035 w 12415554"/>
                  <a:gd name="connsiteY28" fmla="*/ 62625 h 2373523"/>
                  <a:gd name="connsiteX29" fmla="*/ 9278199 w 12415554"/>
                  <a:gd name="connsiteY29" fmla="*/ 483648 h 2373523"/>
                  <a:gd name="connsiteX30" fmla="*/ 9102753 w 12415554"/>
                  <a:gd name="connsiteY30" fmla="*/ 748027 h 2373523"/>
                  <a:gd name="connsiteX0" fmla="*/ 9102753 w 12415554"/>
                  <a:gd name="connsiteY0" fmla="*/ 748027 h 2373523"/>
                  <a:gd name="connsiteX1" fmla="*/ 450606 w 12415554"/>
                  <a:gd name="connsiteY1" fmla="*/ 800852 h 2373523"/>
                  <a:gd name="connsiteX2" fmla="*/ 1307407 w 12415554"/>
                  <a:gd name="connsiteY2" fmla="*/ 708409 h 2373523"/>
                  <a:gd name="connsiteX3" fmla="*/ 2002266 w 12415554"/>
                  <a:gd name="connsiteY3" fmla="*/ 742397 h 2373523"/>
                  <a:gd name="connsiteX4" fmla="*/ 2458276 w 12415554"/>
                  <a:gd name="connsiteY4" fmla="*/ 682909 h 2373523"/>
                  <a:gd name="connsiteX5" fmla="*/ 2935998 w 12415554"/>
                  <a:gd name="connsiteY5" fmla="*/ 682909 h 2373523"/>
                  <a:gd name="connsiteX6" fmla="*/ 3706867 w 12415554"/>
                  <a:gd name="connsiteY6" fmla="*/ 725403 h 2373523"/>
                  <a:gd name="connsiteX7" fmla="*/ 4586303 w 12415554"/>
                  <a:gd name="connsiteY7" fmla="*/ 708409 h 2373523"/>
                  <a:gd name="connsiteX8" fmla="*/ 5216021 w 12415554"/>
                  <a:gd name="connsiteY8" fmla="*/ 716915 h 2373523"/>
                  <a:gd name="connsiteX9" fmla="*/ 6052031 w 12415554"/>
                  <a:gd name="connsiteY9" fmla="*/ 716915 h 2373523"/>
                  <a:gd name="connsiteX10" fmla="*/ 7116044 w 12415554"/>
                  <a:gd name="connsiteY10" fmla="*/ 742415 h 2373523"/>
                  <a:gd name="connsiteX11" fmla="*/ 7865199 w 12415554"/>
                  <a:gd name="connsiteY11" fmla="*/ 733909 h 2373523"/>
                  <a:gd name="connsiteX12" fmla="*/ 8397194 w 12415554"/>
                  <a:gd name="connsiteY12" fmla="*/ 725403 h 2373523"/>
                  <a:gd name="connsiteX13" fmla="*/ 9018211 w 12415554"/>
                  <a:gd name="connsiteY13" fmla="*/ 1128151 h 2373523"/>
                  <a:gd name="connsiteX14" fmla="*/ 9588207 w 12415554"/>
                  <a:gd name="connsiteY14" fmla="*/ 1954983 h 2373523"/>
                  <a:gd name="connsiteX15" fmla="*/ 10519607 w 12415554"/>
                  <a:gd name="connsiteY15" fmla="*/ 2373522 h 2373523"/>
                  <a:gd name="connsiteX16" fmla="*/ 11565641 w 12415554"/>
                  <a:gd name="connsiteY16" fmla="*/ 1954985 h 2373523"/>
                  <a:gd name="connsiteX17" fmla="*/ 11856572 w 12415554"/>
                  <a:gd name="connsiteY17" fmla="*/ 1309250 h 2373523"/>
                  <a:gd name="connsiteX18" fmla="*/ 12167468 w 12415554"/>
                  <a:gd name="connsiteY18" fmla="*/ 863143 h 2373523"/>
                  <a:gd name="connsiteX19" fmla="*/ 12415554 w 12415554"/>
                  <a:gd name="connsiteY19" fmla="*/ 562829 h 2373523"/>
                  <a:gd name="connsiteX20" fmla="*/ 12415554 w 12415554"/>
                  <a:gd name="connsiteY20" fmla="*/ 124447 h 2373523"/>
                  <a:gd name="connsiteX21" fmla="*/ 11809238 w 12415554"/>
                  <a:gd name="connsiteY21" fmla="*/ 299022 h 2373523"/>
                  <a:gd name="connsiteX22" fmla="*/ 11429513 w 12415554"/>
                  <a:gd name="connsiteY22" fmla="*/ 910907 h 2373523"/>
                  <a:gd name="connsiteX23" fmla="*/ 10972768 w 12415554"/>
                  <a:gd name="connsiteY23" fmla="*/ 1525068 h 2373523"/>
                  <a:gd name="connsiteX24" fmla="*/ 10404973 w 12415554"/>
                  <a:gd name="connsiteY24" fmla="*/ 1481851 h 2373523"/>
                  <a:gd name="connsiteX25" fmla="*/ 9898076 w 12415554"/>
                  <a:gd name="connsiteY25" fmla="*/ 922282 h 2373523"/>
                  <a:gd name="connsiteX26" fmla="*/ 9423421 w 12415554"/>
                  <a:gd name="connsiteY26" fmla="*/ 444601 h 2373523"/>
                  <a:gd name="connsiteX27" fmla="*/ 8820622 w 12415554"/>
                  <a:gd name="connsiteY27" fmla="*/ 20131 h 2373523"/>
                  <a:gd name="connsiteX28" fmla="*/ 7420035 w 12415554"/>
                  <a:gd name="connsiteY28" fmla="*/ 62625 h 2373523"/>
                  <a:gd name="connsiteX29" fmla="*/ 9102753 w 12415554"/>
                  <a:gd name="connsiteY29" fmla="*/ 748027 h 2373523"/>
                  <a:gd name="connsiteX0" fmla="*/ 7302823 w 12298342"/>
                  <a:gd name="connsiteY0" fmla="*/ 62625 h 2373523"/>
                  <a:gd name="connsiteX1" fmla="*/ 333394 w 12298342"/>
                  <a:gd name="connsiteY1" fmla="*/ 800852 h 2373523"/>
                  <a:gd name="connsiteX2" fmla="*/ 1190195 w 12298342"/>
                  <a:gd name="connsiteY2" fmla="*/ 708409 h 2373523"/>
                  <a:gd name="connsiteX3" fmla="*/ 1885054 w 12298342"/>
                  <a:gd name="connsiteY3" fmla="*/ 742397 h 2373523"/>
                  <a:gd name="connsiteX4" fmla="*/ 2341064 w 12298342"/>
                  <a:gd name="connsiteY4" fmla="*/ 682909 h 2373523"/>
                  <a:gd name="connsiteX5" fmla="*/ 2818786 w 12298342"/>
                  <a:gd name="connsiteY5" fmla="*/ 682909 h 2373523"/>
                  <a:gd name="connsiteX6" fmla="*/ 3589655 w 12298342"/>
                  <a:gd name="connsiteY6" fmla="*/ 725403 h 2373523"/>
                  <a:gd name="connsiteX7" fmla="*/ 4469091 w 12298342"/>
                  <a:gd name="connsiteY7" fmla="*/ 708409 h 2373523"/>
                  <a:gd name="connsiteX8" fmla="*/ 5098809 w 12298342"/>
                  <a:gd name="connsiteY8" fmla="*/ 716915 h 2373523"/>
                  <a:gd name="connsiteX9" fmla="*/ 5934819 w 12298342"/>
                  <a:gd name="connsiteY9" fmla="*/ 716915 h 2373523"/>
                  <a:gd name="connsiteX10" fmla="*/ 6998832 w 12298342"/>
                  <a:gd name="connsiteY10" fmla="*/ 742415 h 2373523"/>
                  <a:gd name="connsiteX11" fmla="*/ 7747987 w 12298342"/>
                  <a:gd name="connsiteY11" fmla="*/ 733909 h 2373523"/>
                  <a:gd name="connsiteX12" fmla="*/ 8279982 w 12298342"/>
                  <a:gd name="connsiteY12" fmla="*/ 725403 h 2373523"/>
                  <a:gd name="connsiteX13" fmla="*/ 8900999 w 12298342"/>
                  <a:gd name="connsiteY13" fmla="*/ 1128151 h 2373523"/>
                  <a:gd name="connsiteX14" fmla="*/ 9470995 w 12298342"/>
                  <a:gd name="connsiteY14" fmla="*/ 1954983 h 2373523"/>
                  <a:gd name="connsiteX15" fmla="*/ 10402395 w 12298342"/>
                  <a:gd name="connsiteY15" fmla="*/ 2373522 h 2373523"/>
                  <a:gd name="connsiteX16" fmla="*/ 11448429 w 12298342"/>
                  <a:gd name="connsiteY16" fmla="*/ 1954985 h 2373523"/>
                  <a:gd name="connsiteX17" fmla="*/ 11739360 w 12298342"/>
                  <a:gd name="connsiteY17" fmla="*/ 1309250 h 2373523"/>
                  <a:gd name="connsiteX18" fmla="*/ 12050256 w 12298342"/>
                  <a:gd name="connsiteY18" fmla="*/ 863143 h 2373523"/>
                  <a:gd name="connsiteX19" fmla="*/ 12298342 w 12298342"/>
                  <a:gd name="connsiteY19" fmla="*/ 562829 h 2373523"/>
                  <a:gd name="connsiteX20" fmla="*/ 12298342 w 12298342"/>
                  <a:gd name="connsiteY20" fmla="*/ 124447 h 2373523"/>
                  <a:gd name="connsiteX21" fmla="*/ 11692026 w 12298342"/>
                  <a:gd name="connsiteY21" fmla="*/ 299022 h 2373523"/>
                  <a:gd name="connsiteX22" fmla="*/ 11312301 w 12298342"/>
                  <a:gd name="connsiteY22" fmla="*/ 910907 h 2373523"/>
                  <a:gd name="connsiteX23" fmla="*/ 10855556 w 12298342"/>
                  <a:gd name="connsiteY23" fmla="*/ 1525068 h 2373523"/>
                  <a:gd name="connsiteX24" fmla="*/ 10287761 w 12298342"/>
                  <a:gd name="connsiteY24" fmla="*/ 1481851 h 2373523"/>
                  <a:gd name="connsiteX25" fmla="*/ 9780864 w 12298342"/>
                  <a:gd name="connsiteY25" fmla="*/ 922282 h 2373523"/>
                  <a:gd name="connsiteX26" fmla="*/ 9306209 w 12298342"/>
                  <a:gd name="connsiteY26" fmla="*/ 444601 h 2373523"/>
                  <a:gd name="connsiteX27" fmla="*/ 8703410 w 12298342"/>
                  <a:gd name="connsiteY27" fmla="*/ 20131 h 2373523"/>
                  <a:gd name="connsiteX28" fmla="*/ 7302823 w 12298342"/>
                  <a:gd name="connsiteY28" fmla="*/ 62625 h 2373523"/>
                  <a:gd name="connsiteX0" fmla="*/ 8557475 w 12379789"/>
                  <a:gd name="connsiteY0" fmla="*/ 304971 h 2354282"/>
                  <a:gd name="connsiteX1" fmla="*/ 414841 w 12379789"/>
                  <a:gd name="connsiteY1" fmla="*/ 781611 h 2354282"/>
                  <a:gd name="connsiteX2" fmla="*/ 1271642 w 12379789"/>
                  <a:gd name="connsiteY2" fmla="*/ 689168 h 2354282"/>
                  <a:gd name="connsiteX3" fmla="*/ 1966501 w 12379789"/>
                  <a:gd name="connsiteY3" fmla="*/ 723156 h 2354282"/>
                  <a:gd name="connsiteX4" fmla="*/ 2422511 w 12379789"/>
                  <a:gd name="connsiteY4" fmla="*/ 663668 h 2354282"/>
                  <a:gd name="connsiteX5" fmla="*/ 2900233 w 12379789"/>
                  <a:gd name="connsiteY5" fmla="*/ 663668 h 2354282"/>
                  <a:gd name="connsiteX6" fmla="*/ 3671102 w 12379789"/>
                  <a:gd name="connsiteY6" fmla="*/ 706162 h 2354282"/>
                  <a:gd name="connsiteX7" fmla="*/ 4550538 w 12379789"/>
                  <a:gd name="connsiteY7" fmla="*/ 689168 h 2354282"/>
                  <a:gd name="connsiteX8" fmla="*/ 5180256 w 12379789"/>
                  <a:gd name="connsiteY8" fmla="*/ 697674 h 2354282"/>
                  <a:gd name="connsiteX9" fmla="*/ 6016266 w 12379789"/>
                  <a:gd name="connsiteY9" fmla="*/ 697674 h 2354282"/>
                  <a:gd name="connsiteX10" fmla="*/ 7080279 w 12379789"/>
                  <a:gd name="connsiteY10" fmla="*/ 723174 h 2354282"/>
                  <a:gd name="connsiteX11" fmla="*/ 7829434 w 12379789"/>
                  <a:gd name="connsiteY11" fmla="*/ 714668 h 2354282"/>
                  <a:gd name="connsiteX12" fmla="*/ 8361429 w 12379789"/>
                  <a:gd name="connsiteY12" fmla="*/ 706162 h 2354282"/>
                  <a:gd name="connsiteX13" fmla="*/ 8982446 w 12379789"/>
                  <a:gd name="connsiteY13" fmla="*/ 1108910 h 2354282"/>
                  <a:gd name="connsiteX14" fmla="*/ 9552442 w 12379789"/>
                  <a:gd name="connsiteY14" fmla="*/ 1935742 h 2354282"/>
                  <a:gd name="connsiteX15" fmla="*/ 10483842 w 12379789"/>
                  <a:gd name="connsiteY15" fmla="*/ 2354281 h 2354282"/>
                  <a:gd name="connsiteX16" fmla="*/ 11529876 w 12379789"/>
                  <a:gd name="connsiteY16" fmla="*/ 1935744 h 2354282"/>
                  <a:gd name="connsiteX17" fmla="*/ 11820807 w 12379789"/>
                  <a:gd name="connsiteY17" fmla="*/ 1290009 h 2354282"/>
                  <a:gd name="connsiteX18" fmla="*/ 12131703 w 12379789"/>
                  <a:gd name="connsiteY18" fmla="*/ 843902 h 2354282"/>
                  <a:gd name="connsiteX19" fmla="*/ 12379789 w 12379789"/>
                  <a:gd name="connsiteY19" fmla="*/ 543588 h 2354282"/>
                  <a:gd name="connsiteX20" fmla="*/ 12379789 w 12379789"/>
                  <a:gd name="connsiteY20" fmla="*/ 105206 h 2354282"/>
                  <a:gd name="connsiteX21" fmla="*/ 11773473 w 12379789"/>
                  <a:gd name="connsiteY21" fmla="*/ 279781 h 2354282"/>
                  <a:gd name="connsiteX22" fmla="*/ 11393748 w 12379789"/>
                  <a:gd name="connsiteY22" fmla="*/ 891666 h 2354282"/>
                  <a:gd name="connsiteX23" fmla="*/ 10937003 w 12379789"/>
                  <a:gd name="connsiteY23" fmla="*/ 1505827 h 2354282"/>
                  <a:gd name="connsiteX24" fmla="*/ 10369208 w 12379789"/>
                  <a:gd name="connsiteY24" fmla="*/ 1462610 h 2354282"/>
                  <a:gd name="connsiteX25" fmla="*/ 9862311 w 12379789"/>
                  <a:gd name="connsiteY25" fmla="*/ 903041 h 2354282"/>
                  <a:gd name="connsiteX26" fmla="*/ 9387656 w 12379789"/>
                  <a:gd name="connsiteY26" fmla="*/ 425360 h 2354282"/>
                  <a:gd name="connsiteX27" fmla="*/ 8784857 w 12379789"/>
                  <a:gd name="connsiteY27" fmla="*/ 890 h 2354282"/>
                  <a:gd name="connsiteX28" fmla="*/ 8557475 w 12379789"/>
                  <a:gd name="connsiteY28" fmla="*/ 304971 h 2354282"/>
                  <a:gd name="connsiteX0" fmla="*/ 8557477 w 12379791"/>
                  <a:gd name="connsiteY0" fmla="*/ 212886 h 2262197"/>
                  <a:gd name="connsiteX1" fmla="*/ 414843 w 12379791"/>
                  <a:gd name="connsiteY1" fmla="*/ 689526 h 2262197"/>
                  <a:gd name="connsiteX2" fmla="*/ 1271644 w 12379791"/>
                  <a:gd name="connsiteY2" fmla="*/ 597083 h 2262197"/>
                  <a:gd name="connsiteX3" fmla="*/ 1966503 w 12379791"/>
                  <a:gd name="connsiteY3" fmla="*/ 631071 h 2262197"/>
                  <a:gd name="connsiteX4" fmla="*/ 2422513 w 12379791"/>
                  <a:gd name="connsiteY4" fmla="*/ 571583 h 2262197"/>
                  <a:gd name="connsiteX5" fmla="*/ 2900235 w 12379791"/>
                  <a:gd name="connsiteY5" fmla="*/ 571583 h 2262197"/>
                  <a:gd name="connsiteX6" fmla="*/ 3671104 w 12379791"/>
                  <a:gd name="connsiteY6" fmla="*/ 614077 h 2262197"/>
                  <a:gd name="connsiteX7" fmla="*/ 4550540 w 12379791"/>
                  <a:gd name="connsiteY7" fmla="*/ 597083 h 2262197"/>
                  <a:gd name="connsiteX8" fmla="*/ 5180258 w 12379791"/>
                  <a:gd name="connsiteY8" fmla="*/ 605589 h 2262197"/>
                  <a:gd name="connsiteX9" fmla="*/ 6016268 w 12379791"/>
                  <a:gd name="connsiteY9" fmla="*/ 605589 h 2262197"/>
                  <a:gd name="connsiteX10" fmla="*/ 7080281 w 12379791"/>
                  <a:gd name="connsiteY10" fmla="*/ 631089 h 2262197"/>
                  <a:gd name="connsiteX11" fmla="*/ 7829436 w 12379791"/>
                  <a:gd name="connsiteY11" fmla="*/ 622583 h 2262197"/>
                  <a:gd name="connsiteX12" fmla="*/ 8361431 w 12379791"/>
                  <a:gd name="connsiteY12" fmla="*/ 614077 h 2262197"/>
                  <a:gd name="connsiteX13" fmla="*/ 8982448 w 12379791"/>
                  <a:gd name="connsiteY13" fmla="*/ 1016825 h 2262197"/>
                  <a:gd name="connsiteX14" fmla="*/ 9552444 w 12379791"/>
                  <a:gd name="connsiteY14" fmla="*/ 1843657 h 2262197"/>
                  <a:gd name="connsiteX15" fmla="*/ 10483844 w 12379791"/>
                  <a:gd name="connsiteY15" fmla="*/ 2262196 h 2262197"/>
                  <a:gd name="connsiteX16" fmla="*/ 11529878 w 12379791"/>
                  <a:gd name="connsiteY16" fmla="*/ 1843659 h 2262197"/>
                  <a:gd name="connsiteX17" fmla="*/ 11820809 w 12379791"/>
                  <a:gd name="connsiteY17" fmla="*/ 1197924 h 2262197"/>
                  <a:gd name="connsiteX18" fmla="*/ 12131705 w 12379791"/>
                  <a:gd name="connsiteY18" fmla="*/ 751817 h 2262197"/>
                  <a:gd name="connsiteX19" fmla="*/ 12379791 w 12379791"/>
                  <a:gd name="connsiteY19" fmla="*/ 451503 h 2262197"/>
                  <a:gd name="connsiteX20" fmla="*/ 12379791 w 12379791"/>
                  <a:gd name="connsiteY20" fmla="*/ 13121 h 2262197"/>
                  <a:gd name="connsiteX21" fmla="*/ 11773475 w 12379791"/>
                  <a:gd name="connsiteY21" fmla="*/ 187696 h 2262197"/>
                  <a:gd name="connsiteX22" fmla="*/ 11393750 w 12379791"/>
                  <a:gd name="connsiteY22" fmla="*/ 799581 h 2262197"/>
                  <a:gd name="connsiteX23" fmla="*/ 10937005 w 12379791"/>
                  <a:gd name="connsiteY23" fmla="*/ 1413742 h 2262197"/>
                  <a:gd name="connsiteX24" fmla="*/ 10369210 w 12379791"/>
                  <a:gd name="connsiteY24" fmla="*/ 1370525 h 2262197"/>
                  <a:gd name="connsiteX25" fmla="*/ 9862313 w 12379791"/>
                  <a:gd name="connsiteY25" fmla="*/ 810956 h 2262197"/>
                  <a:gd name="connsiteX26" fmla="*/ 9387658 w 12379791"/>
                  <a:gd name="connsiteY26" fmla="*/ 333275 h 2262197"/>
                  <a:gd name="connsiteX27" fmla="*/ 8614705 w 12379791"/>
                  <a:gd name="connsiteY27" fmla="*/ 45280 h 2262197"/>
                  <a:gd name="connsiteX28" fmla="*/ 8557477 w 12379791"/>
                  <a:gd name="connsiteY28" fmla="*/ 212886 h 2262197"/>
                  <a:gd name="connsiteX0" fmla="*/ 8557477 w 12379791"/>
                  <a:gd name="connsiteY0" fmla="*/ 220165 h 2269476"/>
                  <a:gd name="connsiteX1" fmla="*/ 414843 w 12379791"/>
                  <a:gd name="connsiteY1" fmla="*/ 696805 h 2269476"/>
                  <a:gd name="connsiteX2" fmla="*/ 1271644 w 12379791"/>
                  <a:gd name="connsiteY2" fmla="*/ 604362 h 2269476"/>
                  <a:gd name="connsiteX3" fmla="*/ 1966503 w 12379791"/>
                  <a:gd name="connsiteY3" fmla="*/ 638350 h 2269476"/>
                  <a:gd name="connsiteX4" fmla="*/ 2422513 w 12379791"/>
                  <a:gd name="connsiteY4" fmla="*/ 578862 h 2269476"/>
                  <a:gd name="connsiteX5" fmla="*/ 2900235 w 12379791"/>
                  <a:gd name="connsiteY5" fmla="*/ 578862 h 2269476"/>
                  <a:gd name="connsiteX6" fmla="*/ 3671104 w 12379791"/>
                  <a:gd name="connsiteY6" fmla="*/ 621356 h 2269476"/>
                  <a:gd name="connsiteX7" fmla="*/ 4550540 w 12379791"/>
                  <a:gd name="connsiteY7" fmla="*/ 604362 h 2269476"/>
                  <a:gd name="connsiteX8" fmla="*/ 5180258 w 12379791"/>
                  <a:gd name="connsiteY8" fmla="*/ 612868 h 2269476"/>
                  <a:gd name="connsiteX9" fmla="*/ 6016268 w 12379791"/>
                  <a:gd name="connsiteY9" fmla="*/ 612868 h 2269476"/>
                  <a:gd name="connsiteX10" fmla="*/ 7080281 w 12379791"/>
                  <a:gd name="connsiteY10" fmla="*/ 638368 h 2269476"/>
                  <a:gd name="connsiteX11" fmla="*/ 7829436 w 12379791"/>
                  <a:gd name="connsiteY11" fmla="*/ 629862 h 2269476"/>
                  <a:gd name="connsiteX12" fmla="*/ 8361431 w 12379791"/>
                  <a:gd name="connsiteY12" fmla="*/ 621356 h 2269476"/>
                  <a:gd name="connsiteX13" fmla="*/ 8982448 w 12379791"/>
                  <a:gd name="connsiteY13" fmla="*/ 1024104 h 2269476"/>
                  <a:gd name="connsiteX14" fmla="*/ 9552444 w 12379791"/>
                  <a:gd name="connsiteY14" fmla="*/ 1850936 h 2269476"/>
                  <a:gd name="connsiteX15" fmla="*/ 10483844 w 12379791"/>
                  <a:gd name="connsiteY15" fmla="*/ 2269475 h 2269476"/>
                  <a:gd name="connsiteX16" fmla="*/ 11529878 w 12379791"/>
                  <a:gd name="connsiteY16" fmla="*/ 1850938 h 2269476"/>
                  <a:gd name="connsiteX17" fmla="*/ 11820809 w 12379791"/>
                  <a:gd name="connsiteY17" fmla="*/ 1205203 h 2269476"/>
                  <a:gd name="connsiteX18" fmla="*/ 12131705 w 12379791"/>
                  <a:gd name="connsiteY18" fmla="*/ 759096 h 2269476"/>
                  <a:gd name="connsiteX19" fmla="*/ 12379791 w 12379791"/>
                  <a:gd name="connsiteY19" fmla="*/ 458782 h 2269476"/>
                  <a:gd name="connsiteX20" fmla="*/ 12379791 w 12379791"/>
                  <a:gd name="connsiteY20" fmla="*/ 20400 h 2269476"/>
                  <a:gd name="connsiteX21" fmla="*/ 11773475 w 12379791"/>
                  <a:gd name="connsiteY21" fmla="*/ 194975 h 2269476"/>
                  <a:gd name="connsiteX22" fmla="*/ 11393750 w 12379791"/>
                  <a:gd name="connsiteY22" fmla="*/ 806860 h 2269476"/>
                  <a:gd name="connsiteX23" fmla="*/ 10937005 w 12379791"/>
                  <a:gd name="connsiteY23" fmla="*/ 1421021 h 2269476"/>
                  <a:gd name="connsiteX24" fmla="*/ 10369210 w 12379791"/>
                  <a:gd name="connsiteY24" fmla="*/ 1377804 h 2269476"/>
                  <a:gd name="connsiteX25" fmla="*/ 9862313 w 12379791"/>
                  <a:gd name="connsiteY25" fmla="*/ 818235 h 2269476"/>
                  <a:gd name="connsiteX26" fmla="*/ 9387658 w 12379791"/>
                  <a:gd name="connsiteY26" fmla="*/ 340554 h 2269476"/>
                  <a:gd name="connsiteX27" fmla="*/ 8614705 w 12379791"/>
                  <a:gd name="connsiteY27" fmla="*/ 52559 h 2269476"/>
                  <a:gd name="connsiteX28" fmla="*/ 8557477 w 12379791"/>
                  <a:gd name="connsiteY28" fmla="*/ 220165 h 2269476"/>
                  <a:gd name="connsiteX0" fmla="*/ 8557477 w 12379791"/>
                  <a:gd name="connsiteY0" fmla="*/ 220165 h 2269476"/>
                  <a:gd name="connsiteX1" fmla="*/ 414843 w 12379791"/>
                  <a:gd name="connsiteY1" fmla="*/ 696805 h 2269476"/>
                  <a:gd name="connsiteX2" fmla="*/ 1271644 w 12379791"/>
                  <a:gd name="connsiteY2" fmla="*/ 604362 h 2269476"/>
                  <a:gd name="connsiteX3" fmla="*/ 1966503 w 12379791"/>
                  <a:gd name="connsiteY3" fmla="*/ 638350 h 2269476"/>
                  <a:gd name="connsiteX4" fmla="*/ 2422513 w 12379791"/>
                  <a:gd name="connsiteY4" fmla="*/ 578862 h 2269476"/>
                  <a:gd name="connsiteX5" fmla="*/ 2900235 w 12379791"/>
                  <a:gd name="connsiteY5" fmla="*/ 578862 h 2269476"/>
                  <a:gd name="connsiteX6" fmla="*/ 3671104 w 12379791"/>
                  <a:gd name="connsiteY6" fmla="*/ 621356 h 2269476"/>
                  <a:gd name="connsiteX7" fmla="*/ 4550540 w 12379791"/>
                  <a:gd name="connsiteY7" fmla="*/ 604362 h 2269476"/>
                  <a:gd name="connsiteX8" fmla="*/ 5180258 w 12379791"/>
                  <a:gd name="connsiteY8" fmla="*/ 612868 h 2269476"/>
                  <a:gd name="connsiteX9" fmla="*/ 6016268 w 12379791"/>
                  <a:gd name="connsiteY9" fmla="*/ 612868 h 2269476"/>
                  <a:gd name="connsiteX10" fmla="*/ 7080281 w 12379791"/>
                  <a:gd name="connsiteY10" fmla="*/ 638368 h 2269476"/>
                  <a:gd name="connsiteX11" fmla="*/ 7829436 w 12379791"/>
                  <a:gd name="connsiteY11" fmla="*/ 629862 h 2269476"/>
                  <a:gd name="connsiteX12" fmla="*/ 8361431 w 12379791"/>
                  <a:gd name="connsiteY12" fmla="*/ 621356 h 2269476"/>
                  <a:gd name="connsiteX13" fmla="*/ 8982448 w 12379791"/>
                  <a:gd name="connsiteY13" fmla="*/ 1024104 h 2269476"/>
                  <a:gd name="connsiteX14" fmla="*/ 9552444 w 12379791"/>
                  <a:gd name="connsiteY14" fmla="*/ 1850936 h 2269476"/>
                  <a:gd name="connsiteX15" fmla="*/ 10483844 w 12379791"/>
                  <a:gd name="connsiteY15" fmla="*/ 2269475 h 2269476"/>
                  <a:gd name="connsiteX16" fmla="*/ 11529878 w 12379791"/>
                  <a:gd name="connsiteY16" fmla="*/ 1850938 h 2269476"/>
                  <a:gd name="connsiteX17" fmla="*/ 11820809 w 12379791"/>
                  <a:gd name="connsiteY17" fmla="*/ 1205203 h 2269476"/>
                  <a:gd name="connsiteX18" fmla="*/ 12131705 w 12379791"/>
                  <a:gd name="connsiteY18" fmla="*/ 759096 h 2269476"/>
                  <a:gd name="connsiteX19" fmla="*/ 12379791 w 12379791"/>
                  <a:gd name="connsiteY19" fmla="*/ 458782 h 2269476"/>
                  <a:gd name="connsiteX20" fmla="*/ 12379791 w 12379791"/>
                  <a:gd name="connsiteY20" fmla="*/ 20400 h 2269476"/>
                  <a:gd name="connsiteX21" fmla="*/ 11773475 w 12379791"/>
                  <a:gd name="connsiteY21" fmla="*/ 194975 h 2269476"/>
                  <a:gd name="connsiteX22" fmla="*/ 11393750 w 12379791"/>
                  <a:gd name="connsiteY22" fmla="*/ 806860 h 2269476"/>
                  <a:gd name="connsiteX23" fmla="*/ 10937005 w 12379791"/>
                  <a:gd name="connsiteY23" fmla="*/ 1421021 h 2269476"/>
                  <a:gd name="connsiteX24" fmla="*/ 10369210 w 12379791"/>
                  <a:gd name="connsiteY24" fmla="*/ 1377804 h 2269476"/>
                  <a:gd name="connsiteX25" fmla="*/ 9862313 w 12379791"/>
                  <a:gd name="connsiteY25" fmla="*/ 818235 h 2269476"/>
                  <a:gd name="connsiteX26" fmla="*/ 9387658 w 12379791"/>
                  <a:gd name="connsiteY26" fmla="*/ 340554 h 2269476"/>
                  <a:gd name="connsiteX27" fmla="*/ 8614705 w 12379791"/>
                  <a:gd name="connsiteY27" fmla="*/ 52559 h 2269476"/>
                  <a:gd name="connsiteX28" fmla="*/ 8557477 w 12379791"/>
                  <a:gd name="connsiteY28" fmla="*/ 220165 h 2269476"/>
                  <a:gd name="connsiteX0" fmla="*/ 8557477 w 12379791"/>
                  <a:gd name="connsiteY0" fmla="*/ 212886 h 2262197"/>
                  <a:gd name="connsiteX1" fmla="*/ 414843 w 12379791"/>
                  <a:gd name="connsiteY1" fmla="*/ 689526 h 2262197"/>
                  <a:gd name="connsiteX2" fmla="*/ 1271644 w 12379791"/>
                  <a:gd name="connsiteY2" fmla="*/ 597083 h 2262197"/>
                  <a:gd name="connsiteX3" fmla="*/ 1966503 w 12379791"/>
                  <a:gd name="connsiteY3" fmla="*/ 631071 h 2262197"/>
                  <a:gd name="connsiteX4" fmla="*/ 2422513 w 12379791"/>
                  <a:gd name="connsiteY4" fmla="*/ 571583 h 2262197"/>
                  <a:gd name="connsiteX5" fmla="*/ 2900235 w 12379791"/>
                  <a:gd name="connsiteY5" fmla="*/ 571583 h 2262197"/>
                  <a:gd name="connsiteX6" fmla="*/ 3671104 w 12379791"/>
                  <a:gd name="connsiteY6" fmla="*/ 614077 h 2262197"/>
                  <a:gd name="connsiteX7" fmla="*/ 4550540 w 12379791"/>
                  <a:gd name="connsiteY7" fmla="*/ 597083 h 2262197"/>
                  <a:gd name="connsiteX8" fmla="*/ 5180258 w 12379791"/>
                  <a:gd name="connsiteY8" fmla="*/ 605589 h 2262197"/>
                  <a:gd name="connsiteX9" fmla="*/ 6016268 w 12379791"/>
                  <a:gd name="connsiteY9" fmla="*/ 605589 h 2262197"/>
                  <a:gd name="connsiteX10" fmla="*/ 7080281 w 12379791"/>
                  <a:gd name="connsiteY10" fmla="*/ 631089 h 2262197"/>
                  <a:gd name="connsiteX11" fmla="*/ 7829436 w 12379791"/>
                  <a:gd name="connsiteY11" fmla="*/ 622583 h 2262197"/>
                  <a:gd name="connsiteX12" fmla="*/ 8361431 w 12379791"/>
                  <a:gd name="connsiteY12" fmla="*/ 614077 h 2262197"/>
                  <a:gd name="connsiteX13" fmla="*/ 8982448 w 12379791"/>
                  <a:gd name="connsiteY13" fmla="*/ 1016825 h 2262197"/>
                  <a:gd name="connsiteX14" fmla="*/ 9552444 w 12379791"/>
                  <a:gd name="connsiteY14" fmla="*/ 1843657 h 2262197"/>
                  <a:gd name="connsiteX15" fmla="*/ 10483844 w 12379791"/>
                  <a:gd name="connsiteY15" fmla="*/ 2262196 h 2262197"/>
                  <a:gd name="connsiteX16" fmla="*/ 11529878 w 12379791"/>
                  <a:gd name="connsiteY16" fmla="*/ 1843659 h 2262197"/>
                  <a:gd name="connsiteX17" fmla="*/ 11820809 w 12379791"/>
                  <a:gd name="connsiteY17" fmla="*/ 1197924 h 2262197"/>
                  <a:gd name="connsiteX18" fmla="*/ 12131705 w 12379791"/>
                  <a:gd name="connsiteY18" fmla="*/ 751817 h 2262197"/>
                  <a:gd name="connsiteX19" fmla="*/ 12379791 w 12379791"/>
                  <a:gd name="connsiteY19" fmla="*/ 451503 h 2262197"/>
                  <a:gd name="connsiteX20" fmla="*/ 12379791 w 12379791"/>
                  <a:gd name="connsiteY20" fmla="*/ 13121 h 2262197"/>
                  <a:gd name="connsiteX21" fmla="*/ 11773475 w 12379791"/>
                  <a:gd name="connsiteY21" fmla="*/ 187696 h 2262197"/>
                  <a:gd name="connsiteX22" fmla="*/ 11393750 w 12379791"/>
                  <a:gd name="connsiteY22" fmla="*/ 799581 h 2262197"/>
                  <a:gd name="connsiteX23" fmla="*/ 10937005 w 12379791"/>
                  <a:gd name="connsiteY23" fmla="*/ 1413742 h 2262197"/>
                  <a:gd name="connsiteX24" fmla="*/ 10369210 w 12379791"/>
                  <a:gd name="connsiteY24" fmla="*/ 1370525 h 2262197"/>
                  <a:gd name="connsiteX25" fmla="*/ 9862313 w 12379791"/>
                  <a:gd name="connsiteY25" fmla="*/ 810956 h 2262197"/>
                  <a:gd name="connsiteX26" fmla="*/ 9387658 w 12379791"/>
                  <a:gd name="connsiteY26" fmla="*/ 333275 h 2262197"/>
                  <a:gd name="connsiteX27" fmla="*/ 8557477 w 12379791"/>
                  <a:gd name="connsiteY27" fmla="*/ 212886 h 2262197"/>
                  <a:gd name="connsiteX0" fmla="*/ 8557477 w 12379791"/>
                  <a:gd name="connsiteY0" fmla="*/ 212886 h 2262197"/>
                  <a:gd name="connsiteX1" fmla="*/ 414843 w 12379791"/>
                  <a:gd name="connsiteY1" fmla="*/ 689526 h 2262197"/>
                  <a:gd name="connsiteX2" fmla="*/ 1271644 w 12379791"/>
                  <a:gd name="connsiteY2" fmla="*/ 597083 h 2262197"/>
                  <a:gd name="connsiteX3" fmla="*/ 1966503 w 12379791"/>
                  <a:gd name="connsiteY3" fmla="*/ 631071 h 2262197"/>
                  <a:gd name="connsiteX4" fmla="*/ 2422513 w 12379791"/>
                  <a:gd name="connsiteY4" fmla="*/ 571583 h 2262197"/>
                  <a:gd name="connsiteX5" fmla="*/ 2900235 w 12379791"/>
                  <a:gd name="connsiteY5" fmla="*/ 571583 h 2262197"/>
                  <a:gd name="connsiteX6" fmla="*/ 3671104 w 12379791"/>
                  <a:gd name="connsiteY6" fmla="*/ 614077 h 2262197"/>
                  <a:gd name="connsiteX7" fmla="*/ 4550540 w 12379791"/>
                  <a:gd name="connsiteY7" fmla="*/ 597083 h 2262197"/>
                  <a:gd name="connsiteX8" fmla="*/ 5180258 w 12379791"/>
                  <a:gd name="connsiteY8" fmla="*/ 605589 h 2262197"/>
                  <a:gd name="connsiteX9" fmla="*/ 6016268 w 12379791"/>
                  <a:gd name="connsiteY9" fmla="*/ 605589 h 2262197"/>
                  <a:gd name="connsiteX10" fmla="*/ 7080281 w 12379791"/>
                  <a:gd name="connsiteY10" fmla="*/ 631089 h 2262197"/>
                  <a:gd name="connsiteX11" fmla="*/ 7829436 w 12379791"/>
                  <a:gd name="connsiteY11" fmla="*/ 622583 h 2262197"/>
                  <a:gd name="connsiteX12" fmla="*/ 8361431 w 12379791"/>
                  <a:gd name="connsiteY12" fmla="*/ 614077 h 2262197"/>
                  <a:gd name="connsiteX13" fmla="*/ 8982448 w 12379791"/>
                  <a:gd name="connsiteY13" fmla="*/ 1016825 h 2262197"/>
                  <a:gd name="connsiteX14" fmla="*/ 9552444 w 12379791"/>
                  <a:gd name="connsiteY14" fmla="*/ 1843657 h 2262197"/>
                  <a:gd name="connsiteX15" fmla="*/ 10483844 w 12379791"/>
                  <a:gd name="connsiteY15" fmla="*/ 2262196 h 2262197"/>
                  <a:gd name="connsiteX16" fmla="*/ 11529878 w 12379791"/>
                  <a:gd name="connsiteY16" fmla="*/ 1843659 h 2262197"/>
                  <a:gd name="connsiteX17" fmla="*/ 11820809 w 12379791"/>
                  <a:gd name="connsiteY17" fmla="*/ 1197924 h 2262197"/>
                  <a:gd name="connsiteX18" fmla="*/ 12131705 w 12379791"/>
                  <a:gd name="connsiteY18" fmla="*/ 751817 h 2262197"/>
                  <a:gd name="connsiteX19" fmla="*/ 12379791 w 12379791"/>
                  <a:gd name="connsiteY19" fmla="*/ 451503 h 2262197"/>
                  <a:gd name="connsiteX20" fmla="*/ 12379791 w 12379791"/>
                  <a:gd name="connsiteY20" fmla="*/ 13121 h 2262197"/>
                  <a:gd name="connsiteX21" fmla="*/ 11773475 w 12379791"/>
                  <a:gd name="connsiteY21" fmla="*/ 187696 h 2262197"/>
                  <a:gd name="connsiteX22" fmla="*/ 11393750 w 12379791"/>
                  <a:gd name="connsiteY22" fmla="*/ 799581 h 2262197"/>
                  <a:gd name="connsiteX23" fmla="*/ 10937005 w 12379791"/>
                  <a:gd name="connsiteY23" fmla="*/ 1413742 h 2262197"/>
                  <a:gd name="connsiteX24" fmla="*/ 10369210 w 12379791"/>
                  <a:gd name="connsiteY24" fmla="*/ 1370525 h 2262197"/>
                  <a:gd name="connsiteX25" fmla="*/ 9862313 w 12379791"/>
                  <a:gd name="connsiteY25" fmla="*/ 810956 h 2262197"/>
                  <a:gd name="connsiteX26" fmla="*/ 9450348 w 12379791"/>
                  <a:gd name="connsiteY26" fmla="*/ 299156 h 2262197"/>
                  <a:gd name="connsiteX27" fmla="*/ 8557477 w 12379791"/>
                  <a:gd name="connsiteY27" fmla="*/ 212886 h 2262197"/>
                  <a:gd name="connsiteX0" fmla="*/ 8557477 w 12379791"/>
                  <a:gd name="connsiteY0" fmla="*/ 212886 h 2262197"/>
                  <a:gd name="connsiteX1" fmla="*/ 414843 w 12379791"/>
                  <a:gd name="connsiteY1" fmla="*/ 689526 h 2262197"/>
                  <a:gd name="connsiteX2" fmla="*/ 1271644 w 12379791"/>
                  <a:gd name="connsiteY2" fmla="*/ 597083 h 2262197"/>
                  <a:gd name="connsiteX3" fmla="*/ 1966503 w 12379791"/>
                  <a:gd name="connsiteY3" fmla="*/ 631071 h 2262197"/>
                  <a:gd name="connsiteX4" fmla="*/ 2422513 w 12379791"/>
                  <a:gd name="connsiteY4" fmla="*/ 571583 h 2262197"/>
                  <a:gd name="connsiteX5" fmla="*/ 2900235 w 12379791"/>
                  <a:gd name="connsiteY5" fmla="*/ 571583 h 2262197"/>
                  <a:gd name="connsiteX6" fmla="*/ 3671104 w 12379791"/>
                  <a:gd name="connsiteY6" fmla="*/ 614077 h 2262197"/>
                  <a:gd name="connsiteX7" fmla="*/ 4550540 w 12379791"/>
                  <a:gd name="connsiteY7" fmla="*/ 597083 h 2262197"/>
                  <a:gd name="connsiteX8" fmla="*/ 5180258 w 12379791"/>
                  <a:gd name="connsiteY8" fmla="*/ 605589 h 2262197"/>
                  <a:gd name="connsiteX9" fmla="*/ 6016268 w 12379791"/>
                  <a:gd name="connsiteY9" fmla="*/ 605589 h 2262197"/>
                  <a:gd name="connsiteX10" fmla="*/ 7080281 w 12379791"/>
                  <a:gd name="connsiteY10" fmla="*/ 631089 h 2262197"/>
                  <a:gd name="connsiteX11" fmla="*/ 7829436 w 12379791"/>
                  <a:gd name="connsiteY11" fmla="*/ 622583 h 2262197"/>
                  <a:gd name="connsiteX12" fmla="*/ 8361431 w 12379791"/>
                  <a:gd name="connsiteY12" fmla="*/ 614077 h 2262197"/>
                  <a:gd name="connsiteX13" fmla="*/ 8982448 w 12379791"/>
                  <a:gd name="connsiteY13" fmla="*/ 1016825 h 2262197"/>
                  <a:gd name="connsiteX14" fmla="*/ 9552444 w 12379791"/>
                  <a:gd name="connsiteY14" fmla="*/ 1843657 h 2262197"/>
                  <a:gd name="connsiteX15" fmla="*/ 10483844 w 12379791"/>
                  <a:gd name="connsiteY15" fmla="*/ 2262196 h 2262197"/>
                  <a:gd name="connsiteX16" fmla="*/ 11529878 w 12379791"/>
                  <a:gd name="connsiteY16" fmla="*/ 1843659 h 2262197"/>
                  <a:gd name="connsiteX17" fmla="*/ 11820809 w 12379791"/>
                  <a:gd name="connsiteY17" fmla="*/ 1197924 h 2262197"/>
                  <a:gd name="connsiteX18" fmla="*/ 12131705 w 12379791"/>
                  <a:gd name="connsiteY18" fmla="*/ 751817 h 2262197"/>
                  <a:gd name="connsiteX19" fmla="*/ 12379791 w 12379791"/>
                  <a:gd name="connsiteY19" fmla="*/ 451503 h 2262197"/>
                  <a:gd name="connsiteX20" fmla="*/ 12379791 w 12379791"/>
                  <a:gd name="connsiteY20" fmla="*/ 13121 h 2262197"/>
                  <a:gd name="connsiteX21" fmla="*/ 11773475 w 12379791"/>
                  <a:gd name="connsiteY21" fmla="*/ 187696 h 2262197"/>
                  <a:gd name="connsiteX22" fmla="*/ 11393750 w 12379791"/>
                  <a:gd name="connsiteY22" fmla="*/ 799581 h 2262197"/>
                  <a:gd name="connsiteX23" fmla="*/ 10937005 w 12379791"/>
                  <a:gd name="connsiteY23" fmla="*/ 1413742 h 2262197"/>
                  <a:gd name="connsiteX24" fmla="*/ 10369210 w 12379791"/>
                  <a:gd name="connsiteY24" fmla="*/ 1370525 h 2262197"/>
                  <a:gd name="connsiteX25" fmla="*/ 9862313 w 12379791"/>
                  <a:gd name="connsiteY25" fmla="*/ 810956 h 2262197"/>
                  <a:gd name="connsiteX26" fmla="*/ 9450348 w 12379791"/>
                  <a:gd name="connsiteY26" fmla="*/ 299156 h 2262197"/>
                  <a:gd name="connsiteX27" fmla="*/ 8557477 w 12379791"/>
                  <a:gd name="connsiteY27" fmla="*/ 212886 h 2262197"/>
                  <a:gd name="connsiteX0" fmla="*/ 8557477 w 12379791"/>
                  <a:gd name="connsiteY0" fmla="*/ 212886 h 2262197"/>
                  <a:gd name="connsiteX1" fmla="*/ 414843 w 12379791"/>
                  <a:gd name="connsiteY1" fmla="*/ 689526 h 2262197"/>
                  <a:gd name="connsiteX2" fmla="*/ 1271644 w 12379791"/>
                  <a:gd name="connsiteY2" fmla="*/ 597083 h 2262197"/>
                  <a:gd name="connsiteX3" fmla="*/ 1966503 w 12379791"/>
                  <a:gd name="connsiteY3" fmla="*/ 631071 h 2262197"/>
                  <a:gd name="connsiteX4" fmla="*/ 2422513 w 12379791"/>
                  <a:gd name="connsiteY4" fmla="*/ 571583 h 2262197"/>
                  <a:gd name="connsiteX5" fmla="*/ 2900235 w 12379791"/>
                  <a:gd name="connsiteY5" fmla="*/ 571583 h 2262197"/>
                  <a:gd name="connsiteX6" fmla="*/ 4550540 w 12379791"/>
                  <a:gd name="connsiteY6" fmla="*/ 597083 h 2262197"/>
                  <a:gd name="connsiteX7" fmla="*/ 5180258 w 12379791"/>
                  <a:gd name="connsiteY7" fmla="*/ 605589 h 2262197"/>
                  <a:gd name="connsiteX8" fmla="*/ 6016268 w 12379791"/>
                  <a:gd name="connsiteY8" fmla="*/ 605589 h 2262197"/>
                  <a:gd name="connsiteX9" fmla="*/ 7080281 w 12379791"/>
                  <a:gd name="connsiteY9" fmla="*/ 631089 h 2262197"/>
                  <a:gd name="connsiteX10" fmla="*/ 7829436 w 12379791"/>
                  <a:gd name="connsiteY10" fmla="*/ 622583 h 2262197"/>
                  <a:gd name="connsiteX11" fmla="*/ 8361431 w 12379791"/>
                  <a:gd name="connsiteY11" fmla="*/ 614077 h 2262197"/>
                  <a:gd name="connsiteX12" fmla="*/ 8982448 w 12379791"/>
                  <a:gd name="connsiteY12" fmla="*/ 1016825 h 2262197"/>
                  <a:gd name="connsiteX13" fmla="*/ 9552444 w 12379791"/>
                  <a:gd name="connsiteY13" fmla="*/ 1843657 h 2262197"/>
                  <a:gd name="connsiteX14" fmla="*/ 10483844 w 12379791"/>
                  <a:gd name="connsiteY14" fmla="*/ 2262196 h 2262197"/>
                  <a:gd name="connsiteX15" fmla="*/ 11529878 w 12379791"/>
                  <a:gd name="connsiteY15" fmla="*/ 1843659 h 2262197"/>
                  <a:gd name="connsiteX16" fmla="*/ 11820809 w 12379791"/>
                  <a:gd name="connsiteY16" fmla="*/ 1197924 h 2262197"/>
                  <a:gd name="connsiteX17" fmla="*/ 12131705 w 12379791"/>
                  <a:gd name="connsiteY17" fmla="*/ 751817 h 2262197"/>
                  <a:gd name="connsiteX18" fmla="*/ 12379791 w 12379791"/>
                  <a:gd name="connsiteY18" fmla="*/ 451503 h 2262197"/>
                  <a:gd name="connsiteX19" fmla="*/ 12379791 w 12379791"/>
                  <a:gd name="connsiteY19" fmla="*/ 13121 h 2262197"/>
                  <a:gd name="connsiteX20" fmla="*/ 11773475 w 12379791"/>
                  <a:gd name="connsiteY20" fmla="*/ 187696 h 2262197"/>
                  <a:gd name="connsiteX21" fmla="*/ 11393750 w 12379791"/>
                  <a:gd name="connsiteY21" fmla="*/ 799581 h 2262197"/>
                  <a:gd name="connsiteX22" fmla="*/ 10937005 w 12379791"/>
                  <a:gd name="connsiteY22" fmla="*/ 1413742 h 2262197"/>
                  <a:gd name="connsiteX23" fmla="*/ 10369210 w 12379791"/>
                  <a:gd name="connsiteY23" fmla="*/ 1370525 h 2262197"/>
                  <a:gd name="connsiteX24" fmla="*/ 9862313 w 12379791"/>
                  <a:gd name="connsiteY24" fmla="*/ 810956 h 2262197"/>
                  <a:gd name="connsiteX25" fmla="*/ 9450348 w 12379791"/>
                  <a:gd name="connsiteY25" fmla="*/ 299156 h 2262197"/>
                  <a:gd name="connsiteX26" fmla="*/ 8557477 w 12379791"/>
                  <a:gd name="connsiteY26" fmla="*/ 212886 h 2262197"/>
                  <a:gd name="connsiteX0" fmla="*/ 8557477 w 12379791"/>
                  <a:gd name="connsiteY0" fmla="*/ 212886 h 2262197"/>
                  <a:gd name="connsiteX1" fmla="*/ 414843 w 12379791"/>
                  <a:gd name="connsiteY1" fmla="*/ 689526 h 2262197"/>
                  <a:gd name="connsiteX2" fmla="*/ 1271644 w 12379791"/>
                  <a:gd name="connsiteY2" fmla="*/ 597083 h 2262197"/>
                  <a:gd name="connsiteX3" fmla="*/ 1966503 w 12379791"/>
                  <a:gd name="connsiteY3" fmla="*/ 631071 h 2262197"/>
                  <a:gd name="connsiteX4" fmla="*/ 2422513 w 12379791"/>
                  <a:gd name="connsiteY4" fmla="*/ 571583 h 2262197"/>
                  <a:gd name="connsiteX5" fmla="*/ 2900235 w 12379791"/>
                  <a:gd name="connsiteY5" fmla="*/ 571583 h 2262197"/>
                  <a:gd name="connsiteX6" fmla="*/ 5180258 w 12379791"/>
                  <a:gd name="connsiteY6" fmla="*/ 605589 h 2262197"/>
                  <a:gd name="connsiteX7" fmla="*/ 6016268 w 12379791"/>
                  <a:gd name="connsiteY7" fmla="*/ 605589 h 2262197"/>
                  <a:gd name="connsiteX8" fmla="*/ 7080281 w 12379791"/>
                  <a:gd name="connsiteY8" fmla="*/ 631089 h 2262197"/>
                  <a:gd name="connsiteX9" fmla="*/ 7829436 w 12379791"/>
                  <a:gd name="connsiteY9" fmla="*/ 622583 h 2262197"/>
                  <a:gd name="connsiteX10" fmla="*/ 8361431 w 12379791"/>
                  <a:gd name="connsiteY10" fmla="*/ 614077 h 2262197"/>
                  <a:gd name="connsiteX11" fmla="*/ 8982448 w 12379791"/>
                  <a:gd name="connsiteY11" fmla="*/ 1016825 h 2262197"/>
                  <a:gd name="connsiteX12" fmla="*/ 9552444 w 12379791"/>
                  <a:gd name="connsiteY12" fmla="*/ 1843657 h 2262197"/>
                  <a:gd name="connsiteX13" fmla="*/ 10483844 w 12379791"/>
                  <a:gd name="connsiteY13" fmla="*/ 2262196 h 2262197"/>
                  <a:gd name="connsiteX14" fmla="*/ 11529878 w 12379791"/>
                  <a:gd name="connsiteY14" fmla="*/ 1843659 h 2262197"/>
                  <a:gd name="connsiteX15" fmla="*/ 11820809 w 12379791"/>
                  <a:gd name="connsiteY15" fmla="*/ 1197924 h 2262197"/>
                  <a:gd name="connsiteX16" fmla="*/ 12131705 w 12379791"/>
                  <a:gd name="connsiteY16" fmla="*/ 751817 h 2262197"/>
                  <a:gd name="connsiteX17" fmla="*/ 12379791 w 12379791"/>
                  <a:gd name="connsiteY17" fmla="*/ 451503 h 2262197"/>
                  <a:gd name="connsiteX18" fmla="*/ 12379791 w 12379791"/>
                  <a:gd name="connsiteY18" fmla="*/ 13121 h 2262197"/>
                  <a:gd name="connsiteX19" fmla="*/ 11773475 w 12379791"/>
                  <a:gd name="connsiteY19" fmla="*/ 187696 h 2262197"/>
                  <a:gd name="connsiteX20" fmla="*/ 11393750 w 12379791"/>
                  <a:gd name="connsiteY20" fmla="*/ 799581 h 2262197"/>
                  <a:gd name="connsiteX21" fmla="*/ 10937005 w 12379791"/>
                  <a:gd name="connsiteY21" fmla="*/ 1413742 h 2262197"/>
                  <a:gd name="connsiteX22" fmla="*/ 10369210 w 12379791"/>
                  <a:gd name="connsiteY22" fmla="*/ 1370525 h 2262197"/>
                  <a:gd name="connsiteX23" fmla="*/ 9862313 w 12379791"/>
                  <a:gd name="connsiteY23" fmla="*/ 810956 h 2262197"/>
                  <a:gd name="connsiteX24" fmla="*/ 9450348 w 12379791"/>
                  <a:gd name="connsiteY24" fmla="*/ 299156 h 2262197"/>
                  <a:gd name="connsiteX25" fmla="*/ 8557477 w 12379791"/>
                  <a:gd name="connsiteY25" fmla="*/ 212886 h 2262197"/>
                  <a:gd name="connsiteX0" fmla="*/ 8557477 w 12379791"/>
                  <a:gd name="connsiteY0" fmla="*/ 212886 h 2262197"/>
                  <a:gd name="connsiteX1" fmla="*/ 414843 w 12379791"/>
                  <a:gd name="connsiteY1" fmla="*/ 689526 h 2262197"/>
                  <a:gd name="connsiteX2" fmla="*/ 1271644 w 12379791"/>
                  <a:gd name="connsiteY2" fmla="*/ 597083 h 2262197"/>
                  <a:gd name="connsiteX3" fmla="*/ 1966503 w 12379791"/>
                  <a:gd name="connsiteY3" fmla="*/ 631071 h 2262197"/>
                  <a:gd name="connsiteX4" fmla="*/ 2422513 w 12379791"/>
                  <a:gd name="connsiteY4" fmla="*/ 571583 h 2262197"/>
                  <a:gd name="connsiteX5" fmla="*/ 2900235 w 12379791"/>
                  <a:gd name="connsiteY5" fmla="*/ 571583 h 2262197"/>
                  <a:gd name="connsiteX6" fmla="*/ 6016268 w 12379791"/>
                  <a:gd name="connsiteY6" fmla="*/ 605589 h 2262197"/>
                  <a:gd name="connsiteX7" fmla="*/ 7080281 w 12379791"/>
                  <a:gd name="connsiteY7" fmla="*/ 631089 h 2262197"/>
                  <a:gd name="connsiteX8" fmla="*/ 7829436 w 12379791"/>
                  <a:gd name="connsiteY8" fmla="*/ 622583 h 2262197"/>
                  <a:gd name="connsiteX9" fmla="*/ 8361431 w 12379791"/>
                  <a:gd name="connsiteY9" fmla="*/ 614077 h 2262197"/>
                  <a:gd name="connsiteX10" fmla="*/ 8982448 w 12379791"/>
                  <a:gd name="connsiteY10" fmla="*/ 1016825 h 2262197"/>
                  <a:gd name="connsiteX11" fmla="*/ 9552444 w 12379791"/>
                  <a:gd name="connsiteY11" fmla="*/ 1843657 h 2262197"/>
                  <a:gd name="connsiteX12" fmla="*/ 10483844 w 12379791"/>
                  <a:gd name="connsiteY12" fmla="*/ 2262196 h 2262197"/>
                  <a:gd name="connsiteX13" fmla="*/ 11529878 w 12379791"/>
                  <a:gd name="connsiteY13" fmla="*/ 1843659 h 2262197"/>
                  <a:gd name="connsiteX14" fmla="*/ 11820809 w 12379791"/>
                  <a:gd name="connsiteY14" fmla="*/ 1197924 h 2262197"/>
                  <a:gd name="connsiteX15" fmla="*/ 12131705 w 12379791"/>
                  <a:gd name="connsiteY15" fmla="*/ 751817 h 2262197"/>
                  <a:gd name="connsiteX16" fmla="*/ 12379791 w 12379791"/>
                  <a:gd name="connsiteY16" fmla="*/ 451503 h 2262197"/>
                  <a:gd name="connsiteX17" fmla="*/ 12379791 w 12379791"/>
                  <a:gd name="connsiteY17" fmla="*/ 13121 h 2262197"/>
                  <a:gd name="connsiteX18" fmla="*/ 11773475 w 12379791"/>
                  <a:gd name="connsiteY18" fmla="*/ 187696 h 2262197"/>
                  <a:gd name="connsiteX19" fmla="*/ 11393750 w 12379791"/>
                  <a:gd name="connsiteY19" fmla="*/ 799581 h 2262197"/>
                  <a:gd name="connsiteX20" fmla="*/ 10937005 w 12379791"/>
                  <a:gd name="connsiteY20" fmla="*/ 1413742 h 2262197"/>
                  <a:gd name="connsiteX21" fmla="*/ 10369210 w 12379791"/>
                  <a:gd name="connsiteY21" fmla="*/ 1370525 h 2262197"/>
                  <a:gd name="connsiteX22" fmla="*/ 9862313 w 12379791"/>
                  <a:gd name="connsiteY22" fmla="*/ 810956 h 2262197"/>
                  <a:gd name="connsiteX23" fmla="*/ 9450348 w 12379791"/>
                  <a:gd name="connsiteY23" fmla="*/ 299156 h 2262197"/>
                  <a:gd name="connsiteX24" fmla="*/ 8557477 w 12379791"/>
                  <a:gd name="connsiteY24" fmla="*/ 212886 h 2262197"/>
                  <a:gd name="connsiteX0" fmla="*/ 8557477 w 12379791"/>
                  <a:gd name="connsiteY0" fmla="*/ 212886 h 2262197"/>
                  <a:gd name="connsiteX1" fmla="*/ 414843 w 12379791"/>
                  <a:gd name="connsiteY1" fmla="*/ 689526 h 2262197"/>
                  <a:gd name="connsiteX2" fmla="*/ 1271644 w 12379791"/>
                  <a:gd name="connsiteY2" fmla="*/ 597083 h 2262197"/>
                  <a:gd name="connsiteX3" fmla="*/ 1966503 w 12379791"/>
                  <a:gd name="connsiteY3" fmla="*/ 631071 h 2262197"/>
                  <a:gd name="connsiteX4" fmla="*/ 2422513 w 12379791"/>
                  <a:gd name="connsiteY4" fmla="*/ 571583 h 2262197"/>
                  <a:gd name="connsiteX5" fmla="*/ 2900235 w 12379791"/>
                  <a:gd name="connsiteY5" fmla="*/ 571583 h 2262197"/>
                  <a:gd name="connsiteX6" fmla="*/ 7080281 w 12379791"/>
                  <a:gd name="connsiteY6" fmla="*/ 631089 h 2262197"/>
                  <a:gd name="connsiteX7" fmla="*/ 7829436 w 12379791"/>
                  <a:gd name="connsiteY7" fmla="*/ 622583 h 2262197"/>
                  <a:gd name="connsiteX8" fmla="*/ 8361431 w 12379791"/>
                  <a:gd name="connsiteY8" fmla="*/ 614077 h 2262197"/>
                  <a:gd name="connsiteX9" fmla="*/ 8982448 w 12379791"/>
                  <a:gd name="connsiteY9" fmla="*/ 1016825 h 2262197"/>
                  <a:gd name="connsiteX10" fmla="*/ 9552444 w 12379791"/>
                  <a:gd name="connsiteY10" fmla="*/ 1843657 h 2262197"/>
                  <a:gd name="connsiteX11" fmla="*/ 10483844 w 12379791"/>
                  <a:gd name="connsiteY11" fmla="*/ 2262196 h 2262197"/>
                  <a:gd name="connsiteX12" fmla="*/ 11529878 w 12379791"/>
                  <a:gd name="connsiteY12" fmla="*/ 1843659 h 2262197"/>
                  <a:gd name="connsiteX13" fmla="*/ 11820809 w 12379791"/>
                  <a:gd name="connsiteY13" fmla="*/ 1197924 h 2262197"/>
                  <a:gd name="connsiteX14" fmla="*/ 12131705 w 12379791"/>
                  <a:gd name="connsiteY14" fmla="*/ 751817 h 2262197"/>
                  <a:gd name="connsiteX15" fmla="*/ 12379791 w 12379791"/>
                  <a:gd name="connsiteY15" fmla="*/ 451503 h 2262197"/>
                  <a:gd name="connsiteX16" fmla="*/ 12379791 w 12379791"/>
                  <a:gd name="connsiteY16" fmla="*/ 13121 h 2262197"/>
                  <a:gd name="connsiteX17" fmla="*/ 11773475 w 12379791"/>
                  <a:gd name="connsiteY17" fmla="*/ 187696 h 2262197"/>
                  <a:gd name="connsiteX18" fmla="*/ 11393750 w 12379791"/>
                  <a:gd name="connsiteY18" fmla="*/ 799581 h 2262197"/>
                  <a:gd name="connsiteX19" fmla="*/ 10937005 w 12379791"/>
                  <a:gd name="connsiteY19" fmla="*/ 1413742 h 2262197"/>
                  <a:gd name="connsiteX20" fmla="*/ 10369210 w 12379791"/>
                  <a:gd name="connsiteY20" fmla="*/ 1370525 h 2262197"/>
                  <a:gd name="connsiteX21" fmla="*/ 9862313 w 12379791"/>
                  <a:gd name="connsiteY21" fmla="*/ 810956 h 2262197"/>
                  <a:gd name="connsiteX22" fmla="*/ 9450348 w 12379791"/>
                  <a:gd name="connsiteY22" fmla="*/ 299156 h 2262197"/>
                  <a:gd name="connsiteX23" fmla="*/ 8557477 w 12379791"/>
                  <a:gd name="connsiteY23" fmla="*/ 212886 h 2262197"/>
                  <a:gd name="connsiteX0" fmla="*/ 8557477 w 12379791"/>
                  <a:gd name="connsiteY0" fmla="*/ 212886 h 2262197"/>
                  <a:gd name="connsiteX1" fmla="*/ 414843 w 12379791"/>
                  <a:gd name="connsiteY1" fmla="*/ 689526 h 2262197"/>
                  <a:gd name="connsiteX2" fmla="*/ 1271644 w 12379791"/>
                  <a:gd name="connsiteY2" fmla="*/ 597083 h 2262197"/>
                  <a:gd name="connsiteX3" fmla="*/ 1966503 w 12379791"/>
                  <a:gd name="connsiteY3" fmla="*/ 631071 h 2262197"/>
                  <a:gd name="connsiteX4" fmla="*/ 2422513 w 12379791"/>
                  <a:gd name="connsiteY4" fmla="*/ 571583 h 2262197"/>
                  <a:gd name="connsiteX5" fmla="*/ 2900235 w 12379791"/>
                  <a:gd name="connsiteY5" fmla="*/ 571583 h 2262197"/>
                  <a:gd name="connsiteX6" fmla="*/ 7829436 w 12379791"/>
                  <a:gd name="connsiteY6" fmla="*/ 622583 h 2262197"/>
                  <a:gd name="connsiteX7" fmla="*/ 8361431 w 12379791"/>
                  <a:gd name="connsiteY7" fmla="*/ 614077 h 2262197"/>
                  <a:gd name="connsiteX8" fmla="*/ 8982448 w 12379791"/>
                  <a:gd name="connsiteY8" fmla="*/ 1016825 h 2262197"/>
                  <a:gd name="connsiteX9" fmla="*/ 9552444 w 12379791"/>
                  <a:gd name="connsiteY9" fmla="*/ 1843657 h 2262197"/>
                  <a:gd name="connsiteX10" fmla="*/ 10483844 w 12379791"/>
                  <a:gd name="connsiteY10" fmla="*/ 2262196 h 2262197"/>
                  <a:gd name="connsiteX11" fmla="*/ 11529878 w 12379791"/>
                  <a:gd name="connsiteY11" fmla="*/ 1843659 h 2262197"/>
                  <a:gd name="connsiteX12" fmla="*/ 11820809 w 12379791"/>
                  <a:gd name="connsiteY12" fmla="*/ 1197924 h 2262197"/>
                  <a:gd name="connsiteX13" fmla="*/ 12131705 w 12379791"/>
                  <a:gd name="connsiteY13" fmla="*/ 751817 h 2262197"/>
                  <a:gd name="connsiteX14" fmla="*/ 12379791 w 12379791"/>
                  <a:gd name="connsiteY14" fmla="*/ 451503 h 2262197"/>
                  <a:gd name="connsiteX15" fmla="*/ 12379791 w 12379791"/>
                  <a:gd name="connsiteY15" fmla="*/ 13121 h 2262197"/>
                  <a:gd name="connsiteX16" fmla="*/ 11773475 w 12379791"/>
                  <a:gd name="connsiteY16" fmla="*/ 187696 h 2262197"/>
                  <a:gd name="connsiteX17" fmla="*/ 11393750 w 12379791"/>
                  <a:gd name="connsiteY17" fmla="*/ 799581 h 2262197"/>
                  <a:gd name="connsiteX18" fmla="*/ 10937005 w 12379791"/>
                  <a:gd name="connsiteY18" fmla="*/ 1413742 h 2262197"/>
                  <a:gd name="connsiteX19" fmla="*/ 10369210 w 12379791"/>
                  <a:gd name="connsiteY19" fmla="*/ 1370525 h 2262197"/>
                  <a:gd name="connsiteX20" fmla="*/ 9862313 w 12379791"/>
                  <a:gd name="connsiteY20" fmla="*/ 810956 h 2262197"/>
                  <a:gd name="connsiteX21" fmla="*/ 9450348 w 12379791"/>
                  <a:gd name="connsiteY21" fmla="*/ 299156 h 2262197"/>
                  <a:gd name="connsiteX22" fmla="*/ 8557477 w 12379791"/>
                  <a:gd name="connsiteY22" fmla="*/ 212886 h 2262197"/>
                  <a:gd name="connsiteX0" fmla="*/ 8557477 w 12379791"/>
                  <a:gd name="connsiteY0" fmla="*/ 212886 h 2262197"/>
                  <a:gd name="connsiteX1" fmla="*/ 414843 w 12379791"/>
                  <a:gd name="connsiteY1" fmla="*/ 689526 h 2262197"/>
                  <a:gd name="connsiteX2" fmla="*/ 1271644 w 12379791"/>
                  <a:gd name="connsiteY2" fmla="*/ 597083 h 2262197"/>
                  <a:gd name="connsiteX3" fmla="*/ 1966503 w 12379791"/>
                  <a:gd name="connsiteY3" fmla="*/ 631071 h 2262197"/>
                  <a:gd name="connsiteX4" fmla="*/ 2422513 w 12379791"/>
                  <a:gd name="connsiteY4" fmla="*/ 571583 h 2262197"/>
                  <a:gd name="connsiteX5" fmla="*/ 2900235 w 12379791"/>
                  <a:gd name="connsiteY5" fmla="*/ 571583 h 2262197"/>
                  <a:gd name="connsiteX6" fmla="*/ 8361431 w 12379791"/>
                  <a:gd name="connsiteY6" fmla="*/ 614077 h 2262197"/>
                  <a:gd name="connsiteX7" fmla="*/ 8982448 w 12379791"/>
                  <a:gd name="connsiteY7" fmla="*/ 1016825 h 2262197"/>
                  <a:gd name="connsiteX8" fmla="*/ 9552444 w 12379791"/>
                  <a:gd name="connsiteY8" fmla="*/ 1843657 h 2262197"/>
                  <a:gd name="connsiteX9" fmla="*/ 10483844 w 12379791"/>
                  <a:gd name="connsiteY9" fmla="*/ 2262196 h 2262197"/>
                  <a:gd name="connsiteX10" fmla="*/ 11529878 w 12379791"/>
                  <a:gd name="connsiteY10" fmla="*/ 1843659 h 2262197"/>
                  <a:gd name="connsiteX11" fmla="*/ 11820809 w 12379791"/>
                  <a:gd name="connsiteY11" fmla="*/ 1197924 h 2262197"/>
                  <a:gd name="connsiteX12" fmla="*/ 12131705 w 12379791"/>
                  <a:gd name="connsiteY12" fmla="*/ 751817 h 2262197"/>
                  <a:gd name="connsiteX13" fmla="*/ 12379791 w 12379791"/>
                  <a:gd name="connsiteY13" fmla="*/ 451503 h 2262197"/>
                  <a:gd name="connsiteX14" fmla="*/ 12379791 w 12379791"/>
                  <a:gd name="connsiteY14" fmla="*/ 13121 h 2262197"/>
                  <a:gd name="connsiteX15" fmla="*/ 11773475 w 12379791"/>
                  <a:gd name="connsiteY15" fmla="*/ 187696 h 2262197"/>
                  <a:gd name="connsiteX16" fmla="*/ 11393750 w 12379791"/>
                  <a:gd name="connsiteY16" fmla="*/ 799581 h 2262197"/>
                  <a:gd name="connsiteX17" fmla="*/ 10937005 w 12379791"/>
                  <a:gd name="connsiteY17" fmla="*/ 1413742 h 2262197"/>
                  <a:gd name="connsiteX18" fmla="*/ 10369210 w 12379791"/>
                  <a:gd name="connsiteY18" fmla="*/ 1370525 h 2262197"/>
                  <a:gd name="connsiteX19" fmla="*/ 9862313 w 12379791"/>
                  <a:gd name="connsiteY19" fmla="*/ 810956 h 2262197"/>
                  <a:gd name="connsiteX20" fmla="*/ 9450348 w 12379791"/>
                  <a:gd name="connsiteY20" fmla="*/ 299156 h 2262197"/>
                  <a:gd name="connsiteX21" fmla="*/ 8557477 w 12379791"/>
                  <a:gd name="connsiteY21" fmla="*/ 212886 h 2262197"/>
                  <a:gd name="connsiteX0" fmla="*/ 8557477 w 12379791"/>
                  <a:gd name="connsiteY0" fmla="*/ 212886 h 2262197"/>
                  <a:gd name="connsiteX1" fmla="*/ 414843 w 12379791"/>
                  <a:gd name="connsiteY1" fmla="*/ 689526 h 2262197"/>
                  <a:gd name="connsiteX2" fmla="*/ 1271644 w 12379791"/>
                  <a:gd name="connsiteY2" fmla="*/ 597083 h 2262197"/>
                  <a:gd name="connsiteX3" fmla="*/ 1966503 w 12379791"/>
                  <a:gd name="connsiteY3" fmla="*/ 631071 h 2262197"/>
                  <a:gd name="connsiteX4" fmla="*/ 2422513 w 12379791"/>
                  <a:gd name="connsiteY4" fmla="*/ 571583 h 2262197"/>
                  <a:gd name="connsiteX5" fmla="*/ 2900235 w 12379791"/>
                  <a:gd name="connsiteY5" fmla="*/ 571583 h 2262197"/>
                  <a:gd name="connsiteX6" fmla="*/ 8370387 w 12379791"/>
                  <a:gd name="connsiteY6" fmla="*/ 545838 h 2262197"/>
                  <a:gd name="connsiteX7" fmla="*/ 8982448 w 12379791"/>
                  <a:gd name="connsiteY7" fmla="*/ 1016825 h 2262197"/>
                  <a:gd name="connsiteX8" fmla="*/ 9552444 w 12379791"/>
                  <a:gd name="connsiteY8" fmla="*/ 1843657 h 2262197"/>
                  <a:gd name="connsiteX9" fmla="*/ 10483844 w 12379791"/>
                  <a:gd name="connsiteY9" fmla="*/ 2262196 h 2262197"/>
                  <a:gd name="connsiteX10" fmla="*/ 11529878 w 12379791"/>
                  <a:gd name="connsiteY10" fmla="*/ 1843659 h 2262197"/>
                  <a:gd name="connsiteX11" fmla="*/ 11820809 w 12379791"/>
                  <a:gd name="connsiteY11" fmla="*/ 1197924 h 2262197"/>
                  <a:gd name="connsiteX12" fmla="*/ 12131705 w 12379791"/>
                  <a:gd name="connsiteY12" fmla="*/ 751817 h 2262197"/>
                  <a:gd name="connsiteX13" fmla="*/ 12379791 w 12379791"/>
                  <a:gd name="connsiteY13" fmla="*/ 451503 h 2262197"/>
                  <a:gd name="connsiteX14" fmla="*/ 12379791 w 12379791"/>
                  <a:gd name="connsiteY14" fmla="*/ 13121 h 2262197"/>
                  <a:gd name="connsiteX15" fmla="*/ 11773475 w 12379791"/>
                  <a:gd name="connsiteY15" fmla="*/ 187696 h 2262197"/>
                  <a:gd name="connsiteX16" fmla="*/ 11393750 w 12379791"/>
                  <a:gd name="connsiteY16" fmla="*/ 799581 h 2262197"/>
                  <a:gd name="connsiteX17" fmla="*/ 10937005 w 12379791"/>
                  <a:gd name="connsiteY17" fmla="*/ 1413742 h 2262197"/>
                  <a:gd name="connsiteX18" fmla="*/ 10369210 w 12379791"/>
                  <a:gd name="connsiteY18" fmla="*/ 1370525 h 2262197"/>
                  <a:gd name="connsiteX19" fmla="*/ 9862313 w 12379791"/>
                  <a:gd name="connsiteY19" fmla="*/ 810956 h 2262197"/>
                  <a:gd name="connsiteX20" fmla="*/ 9450348 w 12379791"/>
                  <a:gd name="connsiteY20" fmla="*/ 299156 h 2262197"/>
                  <a:gd name="connsiteX21" fmla="*/ 8557477 w 12379791"/>
                  <a:gd name="connsiteY21" fmla="*/ 212886 h 2262197"/>
                  <a:gd name="connsiteX0" fmla="*/ 8557477 w 12379791"/>
                  <a:gd name="connsiteY0" fmla="*/ 212886 h 2262197"/>
                  <a:gd name="connsiteX1" fmla="*/ 414843 w 12379791"/>
                  <a:gd name="connsiteY1" fmla="*/ 689526 h 2262197"/>
                  <a:gd name="connsiteX2" fmla="*/ 1271644 w 12379791"/>
                  <a:gd name="connsiteY2" fmla="*/ 597083 h 2262197"/>
                  <a:gd name="connsiteX3" fmla="*/ 1966503 w 12379791"/>
                  <a:gd name="connsiteY3" fmla="*/ 631071 h 2262197"/>
                  <a:gd name="connsiteX4" fmla="*/ 2422513 w 12379791"/>
                  <a:gd name="connsiteY4" fmla="*/ 571583 h 2262197"/>
                  <a:gd name="connsiteX5" fmla="*/ 2900235 w 12379791"/>
                  <a:gd name="connsiteY5" fmla="*/ 571583 h 2262197"/>
                  <a:gd name="connsiteX6" fmla="*/ 8982448 w 12379791"/>
                  <a:gd name="connsiteY6" fmla="*/ 1016825 h 2262197"/>
                  <a:gd name="connsiteX7" fmla="*/ 9552444 w 12379791"/>
                  <a:gd name="connsiteY7" fmla="*/ 1843657 h 2262197"/>
                  <a:gd name="connsiteX8" fmla="*/ 10483844 w 12379791"/>
                  <a:gd name="connsiteY8" fmla="*/ 2262196 h 2262197"/>
                  <a:gd name="connsiteX9" fmla="*/ 11529878 w 12379791"/>
                  <a:gd name="connsiteY9" fmla="*/ 1843659 h 2262197"/>
                  <a:gd name="connsiteX10" fmla="*/ 11820809 w 12379791"/>
                  <a:gd name="connsiteY10" fmla="*/ 1197924 h 2262197"/>
                  <a:gd name="connsiteX11" fmla="*/ 12131705 w 12379791"/>
                  <a:gd name="connsiteY11" fmla="*/ 751817 h 2262197"/>
                  <a:gd name="connsiteX12" fmla="*/ 12379791 w 12379791"/>
                  <a:gd name="connsiteY12" fmla="*/ 451503 h 2262197"/>
                  <a:gd name="connsiteX13" fmla="*/ 12379791 w 12379791"/>
                  <a:gd name="connsiteY13" fmla="*/ 13121 h 2262197"/>
                  <a:gd name="connsiteX14" fmla="*/ 11773475 w 12379791"/>
                  <a:gd name="connsiteY14" fmla="*/ 187696 h 2262197"/>
                  <a:gd name="connsiteX15" fmla="*/ 11393750 w 12379791"/>
                  <a:gd name="connsiteY15" fmla="*/ 799581 h 2262197"/>
                  <a:gd name="connsiteX16" fmla="*/ 10937005 w 12379791"/>
                  <a:gd name="connsiteY16" fmla="*/ 1413742 h 2262197"/>
                  <a:gd name="connsiteX17" fmla="*/ 10369210 w 12379791"/>
                  <a:gd name="connsiteY17" fmla="*/ 1370525 h 2262197"/>
                  <a:gd name="connsiteX18" fmla="*/ 9862313 w 12379791"/>
                  <a:gd name="connsiteY18" fmla="*/ 810956 h 2262197"/>
                  <a:gd name="connsiteX19" fmla="*/ 9450348 w 12379791"/>
                  <a:gd name="connsiteY19" fmla="*/ 299156 h 2262197"/>
                  <a:gd name="connsiteX20" fmla="*/ 8557477 w 12379791"/>
                  <a:gd name="connsiteY20" fmla="*/ 212886 h 2262197"/>
                  <a:gd name="connsiteX0" fmla="*/ 8557477 w 12379791"/>
                  <a:gd name="connsiteY0" fmla="*/ 212886 h 2262197"/>
                  <a:gd name="connsiteX1" fmla="*/ 414843 w 12379791"/>
                  <a:gd name="connsiteY1" fmla="*/ 689526 h 2262197"/>
                  <a:gd name="connsiteX2" fmla="*/ 1271644 w 12379791"/>
                  <a:gd name="connsiteY2" fmla="*/ 597083 h 2262197"/>
                  <a:gd name="connsiteX3" fmla="*/ 1966503 w 12379791"/>
                  <a:gd name="connsiteY3" fmla="*/ 631071 h 2262197"/>
                  <a:gd name="connsiteX4" fmla="*/ 2422513 w 12379791"/>
                  <a:gd name="connsiteY4" fmla="*/ 571583 h 2262197"/>
                  <a:gd name="connsiteX5" fmla="*/ 8622972 w 12379791"/>
                  <a:gd name="connsiteY5" fmla="*/ 537465 h 2262197"/>
                  <a:gd name="connsiteX6" fmla="*/ 8982448 w 12379791"/>
                  <a:gd name="connsiteY6" fmla="*/ 1016825 h 2262197"/>
                  <a:gd name="connsiteX7" fmla="*/ 9552444 w 12379791"/>
                  <a:gd name="connsiteY7" fmla="*/ 1843657 h 2262197"/>
                  <a:gd name="connsiteX8" fmla="*/ 10483844 w 12379791"/>
                  <a:gd name="connsiteY8" fmla="*/ 2262196 h 2262197"/>
                  <a:gd name="connsiteX9" fmla="*/ 11529878 w 12379791"/>
                  <a:gd name="connsiteY9" fmla="*/ 1843659 h 2262197"/>
                  <a:gd name="connsiteX10" fmla="*/ 11820809 w 12379791"/>
                  <a:gd name="connsiteY10" fmla="*/ 1197924 h 2262197"/>
                  <a:gd name="connsiteX11" fmla="*/ 12131705 w 12379791"/>
                  <a:gd name="connsiteY11" fmla="*/ 751817 h 2262197"/>
                  <a:gd name="connsiteX12" fmla="*/ 12379791 w 12379791"/>
                  <a:gd name="connsiteY12" fmla="*/ 451503 h 2262197"/>
                  <a:gd name="connsiteX13" fmla="*/ 12379791 w 12379791"/>
                  <a:gd name="connsiteY13" fmla="*/ 13121 h 2262197"/>
                  <a:gd name="connsiteX14" fmla="*/ 11773475 w 12379791"/>
                  <a:gd name="connsiteY14" fmla="*/ 187696 h 2262197"/>
                  <a:gd name="connsiteX15" fmla="*/ 11393750 w 12379791"/>
                  <a:gd name="connsiteY15" fmla="*/ 799581 h 2262197"/>
                  <a:gd name="connsiteX16" fmla="*/ 10937005 w 12379791"/>
                  <a:gd name="connsiteY16" fmla="*/ 1413742 h 2262197"/>
                  <a:gd name="connsiteX17" fmla="*/ 10369210 w 12379791"/>
                  <a:gd name="connsiteY17" fmla="*/ 1370525 h 2262197"/>
                  <a:gd name="connsiteX18" fmla="*/ 9862313 w 12379791"/>
                  <a:gd name="connsiteY18" fmla="*/ 810956 h 2262197"/>
                  <a:gd name="connsiteX19" fmla="*/ 9450348 w 12379791"/>
                  <a:gd name="connsiteY19" fmla="*/ 299156 h 2262197"/>
                  <a:gd name="connsiteX20" fmla="*/ 8557477 w 12379791"/>
                  <a:gd name="connsiteY20" fmla="*/ 212886 h 2262197"/>
                  <a:gd name="connsiteX0" fmla="*/ 8568147 w 12390461"/>
                  <a:gd name="connsiteY0" fmla="*/ 212886 h 2262197"/>
                  <a:gd name="connsiteX1" fmla="*/ 425513 w 12390461"/>
                  <a:gd name="connsiteY1" fmla="*/ 689526 h 2262197"/>
                  <a:gd name="connsiteX2" fmla="*/ 1282314 w 12390461"/>
                  <a:gd name="connsiteY2" fmla="*/ 597083 h 2262197"/>
                  <a:gd name="connsiteX3" fmla="*/ 2433183 w 12390461"/>
                  <a:gd name="connsiteY3" fmla="*/ 571583 h 2262197"/>
                  <a:gd name="connsiteX4" fmla="*/ 8633642 w 12390461"/>
                  <a:gd name="connsiteY4" fmla="*/ 537465 h 2262197"/>
                  <a:gd name="connsiteX5" fmla="*/ 8993118 w 12390461"/>
                  <a:gd name="connsiteY5" fmla="*/ 1016825 h 2262197"/>
                  <a:gd name="connsiteX6" fmla="*/ 9563114 w 12390461"/>
                  <a:gd name="connsiteY6" fmla="*/ 1843657 h 2262197"/>
                  <a:gd name="connsiteX7" fmla="*/ 10494514 w 12390461"/>
                  <a:gd name="connsiteY7" fmla="*/ 2262196 h 2262197"/>
                  <a:gd name="connsiteX8" fmla="*/ 11540548 w 12390461"/>
                  <a:gd name="connsiteY8" fmla="*/ 1843659 h 2262197"/>
                  <a:gd name="connsiteX9" fmla="*/ 11831479 w 12390461"/>
                  <a:gd name="connsiteY9" fmla="*/ 1197924 h 2262197"/>
                  <a:gd name="connsiteX10" fmla="*/ 12142375 w 12390461"/>
                  <a:gd name="connsiteY10" fmla="*/ 751817 h 2262197"/>
                  <a:gd name="connsiteX11" fmla="*/ 12390461 w 12390461"/>
                  <a:gd name="connsiteY11" fmla="*/ 451503 h 2262197"/>
                  <a:gd name="connsiteX12" fmla="*/ 12390461 w 12390461"/>
                  <a:gd name="connsiteY12" fmla="*/ 13121 h 2262197"/>
                  <a:gd name="connsiteX13" fmla="*/ 11784145 w 12390461"/>
                  <a:gd name="connsiteY13" fmla="*/ 187696 h 2262197"/>
                  <a:gd name="connsiteX14" fmla="*/ 11404420 w 12390461"/>
                  <a:gd name="connsiteY14" fmla="*/ 799581 h 2262197"/>
                  <a:gd name="connsiteX15" fmla="*/ 10947675 w 12390461"/>
                  <a:gd name="connsiteY15" fmla="*/ 1413742 h 2262197"/>
                  <a:gd name="connsiteX16" fmla="*/ 10379880 w 12390461"/>
                  <a:gd name="connsiteY16" fmla="*/ 1370525 h 2262197"/>
                  <a:gd name="connsiteX17" fmla="*/ 9872983 w 12390461"/>
                  <a:gd name="connsiteY17" fmla="*/ 810956 h 2262197"/>
                  <a:gd name="connsiteX18" fmla="*/ 9461018 w 12390461"/>
                  <a:gd name="connsiteY18" fmla="*/ 299156 h 2262197"/>
                  <a:gd name="connsiteX19" fmla="*/ 8568147 w 12390461"/>
                  <a:gd name="connsiteY19" fmla="*/ 212886 h 2262197"/>
                  <a:gd name="connsiteX0" fmla="*/ 8767043 w 12589357"/>
                  <a:gd name="connsiteY0" fmla="*/ 212886 h 2262197"/>
                  <a:gd name="connsiteX1" fmla="*/ 624409 w 12589357"/>
                  <a:gd name="connsiteY1" fmla="*/ 689526 h 2262197"/>
                  <a:gd name="connsiteX2" fmla="*/ 1481210 w 12589357"/>
                  <a:gd name="connsiteY2" fmla="*/ 597083 h 2262197"/>
                  <a:gd name="connsiteX3" fmla="*/ 8832538 w 12589357"/>
                  <a:gd name="connsiteY3" fmla="*/ 537465 h 2262197"/>
                  <a:gd name="connsiteX4" fmla="*/ 9192014 w 12589357"/>
                  <a:gd name="connsiteY4" fmla="*/ 1016825 h 2262197"/>
                  <a:gd name="connsiteX5" fmla="*/ 9762010 w 12589357"/>
                  <a:gd name="connsiteY5" fmla="*/ 1843657 h 2262197"/>
                  <a:gd name="connsiteX6" fmla="*/ 10693410 w 12589357"/>
                  <a:gd name="connsiteY6" fmla="*/ 2262196 h 2262197"/>
                  <a:gd name="connsiteX7" fmla="*/ 11739444 w 12589357"/>
                  <a:gd name="connsiteY7" fmla="*/ 1843659 h 2262197"/>
                  <a:gd name="connsiteX8" fmla="*/ 12030375 w 12589357"/>
                  <a:gd name="connsiteY8" fmla="*/ 1197924 h 2262197"/>
                  <a:gd name="connsiteX9" fmla="*/ 12341271 w 12589357"/>
                  <a:gd name="connsiteY9" fmla="*/ 751817 h 2262197"/>
                  <a:gd name="connsiteX10" fmla="*/ 12589357 w 12589357"/>
                  <a:gd name="connsiteY10" fmla="*/ 451503 h 2262197"/>
                  <a:gd name="connsiteX11" fmla="*/ 12589357 w 12589357"/>
                  <a:gd name="connsiteY11" fmla="*/ 13121 h 2262197"/>
                  <a:gd name="connsiteX12" fmla="*/ 11983041 w 12589357"/>
                  <a:gd name="connsiteY12" fmla="*/ 187696 h 2262197"/>
                  <a:gd name="connsiteX13" fmla="*/ 11603316 w 12589357"/>
                  <a:gd name="connsiteY13" fmla="*/ 799581 h 2262197"/>
                  <a:gd name="connsiteX14" fmla="*/ 11146571 w 12589357"/>
                  <a:gd name="connsiteY14" fmla="*/ 1413742 h 2262197"/>
                  <a:gd name="connsiteX15" fmla="*/ 10578776 w 12589357"/>
                  <a:gd name="connsiteY15" fmla="*/ 1370525 h 2262197"/>
                  <a:gd name="connsiteX16" fmla="*/ 10071879 w 12589357"/>
                  <a:gd name="connsiteY16" fmla="*/ 810956 h 2262197"/>
                  <a:gd name="connsiteX17" fmla="*/ 9659914 w 12589357"/>
                  <a:gd name="connsiteY17" fmla="*/ 299156 h 2262197"/>
                  <a:gd name="connsiteX18" fmla="*/ 8767043 w 12589357"/>
                  <a:gd name="connsiteY18" fmla="*/ 212886 h 2262197"/>
                  <a:gd name="connsiteX0" fmla="*/ 8142648 w 11964962"/>
                  <a:gd name="connsiteY0" fmla="*/ 212886 h 2262197"/>
                  <a:gd name="connsiteX1" fmla="*/ 14 w 11964962"/>
                  <a:gd name="connsiteY1" fmla="*/ 689526 h 2262197"/>
                  <a:gd name="connsiteX2" fmla="*/ 8208143 w 11964962"/>
                  <a:gd name="connsiteY2" fmla="*/ 537465 h 2262197"/>
                  <a:gd name="connsiteX3" fmla="*/ 8567619 w 11964962"/>
                  <a:gd name="connsiteY3" fmla="*/ 1016825 h 2262197"/>
                  <a:gd name="connsiteX4" fmla="*/ 9137615 w 11964962"/>
                  <a:gd name="connsiteY4" fmla="*/ 1843657 h 2262197"/>
                  <a:gd name="connsiteX5" fmla="*/ 10069015 w 11964962"/>
                  <a:gd name="connsiteY5" fmla="*/ 2262196 h 2262197"/>
                  <a:gd name="connsiteX6" fmla="*/ 11115049 w 11964962"/>
                  <a:gd name="connsiteY6" fmla="*/ 1843659 h 2262197"/>
                  <a:gd name="connsiteX7" fmla="*/ 11405980 w 11964962"/>
                  <a:gd name="connsiteY7" fmla="*/ 1197924 h 2262197"/>
                  <a:gd name="connsiteX8" fmla="*/ 11716876 w 11964962"/>
                  <a:gd name="connsiteY8" fmla="*/ 751817 h 2262197"/>
                  <a:gd name="connsiteX9" fmla="*/ 11964962 w 11964962"/>
                  <a:gd name="connsiteY9" fmla="*/ 451503 h 2262197"/>
                  <a:gd name="connsiteX10" fmla="*/ 11964962 w 11964962"/>
                  <a:gd name="connsiteY10" fmla="*/ 13121 h 2262197"/>
                  <a:gd name="connsiteX11" fmla="*/ 11358646 w 11964962"/>
                  <a:gd name="connsiteY11" fmla="*/ 187696 h 2262197"/>
                  <a:gd name="connsiteX12" fmla="*/ 10978921 w 11964962"/>
                  <a:gd name="connsiteY12" fmla="*/ 799581 h 2262197"/>
                  <a:gd name="connsiteX13" fmla="*/ 10522176 w 11964962"/>
                  <a:gd name="connsiteY13" fmla="*/ 1413742 h 2262197"/>
                  <a:gd name="connsiteX14" fmla="*/ 9954381 w 11964962"/>
                  <a:gd name="connsiteY14" fmla="*/ 1370525 h 2262197"/>
                  <a:gd name="connsiteX15" fmla="*/ 9447484 w 11964962"/>
                  <a:gd name="connsiteY15" fmla="*/ 810956 h 2262197"/>
                  <a:gd name="connsiteX16" fmla="*/ 9035519 w 11964962"/>
                  <a:gd name="connsiteY16" fmla="*/ 299156 h 2262197"/>
                  <a:gd name="connsiteX17" fmla="*/ 8142648 w 11964962"/>
                  <a:gd name="connsiteY17" fmla="*/ 212886 h 2262197"/>
                  <a:gd name="connsiteX0" fmla="*/ 60187 w 3882501"/>
                  <a:gd name="connsiteY0" fmla="*/ 212886 h 2262197"/>
                  <a:gd name="connsiteX1" fmla="*/ 125682 w 3882501"/>
                  <a:gd name="connsiteY1" fmla="*/ 537465 h 2262197"/>
                  <a:gd name="connsiteX2" fmla="*/ 485158 w 3882501"/>
                  <a:gd name="connsiteY2" fmla="*/ 1016825 h 2262197"/>
                  <a:gd name="connsiteX3" fmla="*/ 1055154 w 3882501"/>
                  <a:gd name="connsiteY3" fmla="*/ 1843657 h 2262197"/>
                  <a:gd name="connsiteX4" fmla="*/ 1986554 w 3882501"/>
                  <a:gd name="connsiteY4" fmla="*/ 2262196 h 2262197"/>
                  <a:gd name="connsiteX5" fmla="*/ 3032588 w 3882501"/>
                  <a:gd name="connsiteY5" fmla="*/ 1843659 h 2262197"/>
                  <a:gd name="connsiteX6" fmla="*/ 3323519 w 3882501"/>
                  <a:gd name="connsiteY6" fmla="*/ 1197924 h 2262197"/>
                  <a:gd name="connsiteX7" fmla="*/ 3634415 w 3882501"/>
                  <a:gd name="connsiteY7" fmla="*/ 751817 h 2262197"/>
                  <a:gd name="connsiteX8" fmla="*/ 3882501 w 3882501"/>
                  <a:gd name="connsiteY8" fmla="*/ 451503 h 2262197"/>
                  <a:gd name="connsiteX9" fmla="*/ 3882501 w 3882501"/>
                  <a:gd name="connsiteY9" fmla="*/ 13121 h 2262197"/>
                  <a:gd name="connsiteX10" fmla="*/ 3276185 w 3882501"/>
                  <a:gd name="connsiteY10" fmla="*/ 187696 h 2262197"/>
                  <a:gd name="connsiteX11" fmla="*/ 2896460 w 3882501"/>
                  <a:gd name="connsiteY11" fmla="*/ 799581 h 2262197"/>
                  <a:gd name="connsiteX12" fmla="*/ 2439715 w 3882501"/>
                  <a:gd name="connsiteY12" fmla="*/ 1413742 h 2262197"/>
                  <a:gd name="connsiteX13" fmla="*/ 1871920 w 3882501"/>
                  <a:gd name="connsiteY13" fmla="*/ 1370525 h 2262197"/>
                  <a:gd name="connsiteX14" fmla="*/ 1365023 w 3882501"/>
                  <a:gd name="connsiteY14" fmla="*/ 810956 h 2262197"/>
                  <a:gd name="connsiteX15" fmla="*/ 953058 w 3882501"/>
                  <a:gd name="connsiteY15" fmla="*/ 299156 h 2262197"/>
                  <a:gd name="connsiteX16" fmla="*/ 60187 w 3882501"/>
                  <a:gd name="connsiteY16" fmla="*/ 212886 h 2262197"/>
                  <a:gd name="connsiteX0" fmla="*/ 60187 w 3882501"/>
                  <a:gd name="connsiteY0" fmla="*/ 212886 h 2262197"/>
                  <a:gd name="connsiteX1" fmla="*/ 125682 w 3882501"/>
                  <a:gd name="connsiteY1" fmla="*/ 537465 h 2262197"/>
                  <a:gd name="connsiteX2" fmla="*/ 485158 w 3882501"/>
                  <a:gd name="connsiteY2" fmla="*/ 1016825 h 2262197"/>
                  <a:gd name="connsiteX3" fmla="*/ 1055154 w 3882501"/>
                  <a:gd name="connsiteY3" fmla="*/ 1843657 h 2262197"/>
                  <a:gd name="connsiteX4" fmla="*/ 1986554 w 3882501"/>
                  <a:gd name="connsiteY4" fmla="*/ 2262196 h 2262197"/>
                  <a:gd name="connsiteX5" fmla="*/ 3032588 w 3882501"/>
                  <a:gd name="connsiteY5" fmla="*/ 1843659 h 2262197"/>
                  <a:gd name="connsiteX6" fmla="*/ 3323519 w 3882501"/>
                  <a:gd name="connsiteY6" fmla="*/ 1197924 h 2262197"/>
                  <a:gd name="connsiteX7" fmla="*/ 3634415 w 3882501"/>
                  <a:gd name="connsiteY7" fmla="*/ 751817 h 2262197"/>
                  <a:gd name="connsiteX8" fmla="*/ 3882501 w 3882501"/>
                  <a:gd name="connsiteY8" fmla="*/ 451503 h 2262197"/>
                  <a:gd name="connsiteX9" fmla="*/ 3882501 w 3882501"/>
                  <a:gd name="connsiteY9" fmla="*/ 13121 h 2262197"/>
                  <a:gd name="connsiteX10" fmla="*/ 3276185 w 3882501"/>
                  <a:gd name="connsiteY10" fmla="*/ 187696 h 2262197"/>
                  <a:gd name="connsiteX11" fmla="*/ 2896460 w 3882501"/>
                  <a:gd name="connsiteY11" fmla="*/ 799581 h 2262197"/>
                  <a:gd name="connsiteX12" fmla="*/ 2439715 w 3882501"/>
                  <a:gd name="connsiteY12" fmla="*/ 1413742 h 2262197"/>
                  <a:gd name="connsiteX13" fmla="*/ 1871920 w 3882501"/>
                  <a:gd name="connsiteY13" fmla="*/ 1370525 h 2262197"/>
                  <a:gd name="connsiteX14" fmla="*/ 1579966 w 3882501"/>
                  <a:gd name="connsiteY14" fmla="*/ 185419 h 2262197"/>
                  <a:gd name="connsiteX15" fmla="*/ 953058 w 3882501"/>
                  <a:gd name="connsiteY15" fmla="*/ 299156 h 2262197"/>
                  <a:gd name="connsiteX16" fmla="*/ 60187 w 3882501"/>
                  <a:gd name="connsiteY16" fmla="*/ 212886 h 2262197"/>
                  <a:gd name="connsiteX0" fmla="*/ 62173 w 3884487"/>
                  <a:gd name="connsiteY0" fmla="*/ 212886 h 2262197"/>
                  <a:gd name="connsiteX1" fmla="*/ 127668 w 3884487"/>
                  <a:gd name="connsiteY1" fmla="*/ 537465 h 2262197"/>
                  <a:gd name="connsiteX2" fmla="*/ 487144 w 3884487"/>
                  <a:gd name="connsiteY2" fmla="*/ 1016825 h 2262197"/>
                  <a:gd name="connsiteX3" fmla="*/ 1057140 w 3884487"/>
                  <a:gd name="connsiteY3" fmla="*/ 1843657 h 2262197"/>
                  <a:gd name="connsiteX4" fmla="*/ 1988540 w 3884487"/>
                  <a:gd name="connsiteY4" fmla="*/ 2262196 h 2262197"/>
                  <a:gd name="connsiteX5" fmla="*/ 3034574 w 3884487"/>
                  <a:gd name="connsiteY5" fmla="*/ 1843659 h 2262197"/>
                  <a:gd name="connsiteX6" fmla="*/ 3325505 w 3884487"/>
                  <a:gd name="connsiteY6" fmla="*/ 1197924 h 2262197"/>
                  <a:gd name="connsiteX7" fmla="*/ 3636401 w 3884487"/>
                  <a:gd name="connsiteY7" fmla="*/ 751817 h 2262197"/>
                  <a:gd name="connsiteX8" fmla="*/ 3884487 w 3884487"/>
                  <a:gd name="connsiteY8" fmla="*/ 451503 h 2262197"/>
                  <a:gd name="connsiteX9" fmla="*/ 3884487 w 3884487"/>
                  <a:gd name="connsiteY9" fmla="*/ 13121 h 2262197"/>
                  <a:gd name="connsiteX10" fmla="*/ 3278171 w 3884487"/>
                  <a:gd name="connsiteY10" fmla="*/ 187696 h 2262197"/>
                  <a:gd name="connsiteX11" fmla="*/ 2898446 w 3884487"/>
                  <a:gd name="connsiteY11" fmla="*/ 799581 h 2262197"/>
                  <a:gd name="connsiteX12" fmla="*/ 2441701 w 3884487"/>
                  <a:gd name="connsiteY12" fmla="*/ 1413742 h 2262197"/>
                  <a:gd name="connsiteX13" fmla="*/ 1873906 w 3884487"/>
                  <a:gd name="connsiteY13" fmla="*/ 1370525 h 2262197"/>
                  <a:gd name="connsiteX14" fmla="*/ 1581952 w 3884487"/>
                  <a:gd name="connsiteY14" fmla="*/ 185419 h 2262197"/>
                  <a:gd name="connsiteX15" fmla="*/ 981914 w 3884487"/>
                  <a:gd name="connsiteY15" fmla="*/ 94434 h 2262197"/>
                  <a:gd name="connsiteX16" fmla="*/ 62173 w 3884487"/>
                  <a:gd name="connsiteY16" fmla="*/ 212886 h 2262197"/>
                  <a:gd name="connsiteX0" fmla="*/ 62175 w 3884485"/>
                  <a:gd name="connsiteY0" fmla="*/ 30910 h 2262197"/>
                  <a:gd name="connsiteX1" fmla="*/ 127666 w 3884485"/>
                  <a:gd name="connsiteY1" fmla="*/ 537465 h 2262197"/>
                  <a:gd name="connsiteX2" fmla="*/ 487142 w 3884485"/>
                  <a:gd name="connsiteY2" fmla="*/ 1016825 h 2262197"/>
                  <a:gd name="connsiteX3" fmla="*/ 1057138 w 3884485"/>
                  <a:gd name="connsiteY3" fmla="*/ 1843657 h 2262197"/>
                  <a:gd name="connsiteX4" fmla="*/ 1988538 w 3884485"/>
                  <a:gd name="connsiteY4" fmla="*/ 2262196 h 2262197"/>
                  <a:gd name="connsiteX5" fmla="*/ 3034572 w 3884485"/>
                  <a:gd name="connsiteY5" fmla="*/ 1843659 h 2262197"/>
                  <a:gd name="connsiteX6" fmla="*/ 3325503 w 3884485"/>
                  <a:gd name="connsiteY6" fmla="*/ 1197924 h 2262197"/>
                  <a:gd name="connsiteX7" fmla="*/ 3636399 w 3884485"/>
                  <a:gd name="connsiteY7" fmla="*/ 751817 h 2262197"/>
                  <a:gd name="connsiteX8" fmla="*/ 3884485 w 3884485"/>
                  <a:gd name="connsiteY8" fmla="*/ 451503 h 2262197"/>
                  <a:gd name="connsiteX9" fmla="*/ 3884485 w 3884485"/>
                  <a:gd name="connsiteY9" fmla="*/ 13121 h 2262197"/>
                  <a:gd name="connsiteX10" fmla="*/ 3278169 w 3884485"/>
                  <a:gd name="connsiteY10" fmla="*/ 187696 h 2262197"/>
                  <a:gd name="connsiteX11" fmla="*/ 2898444 w 3884485"/>
                  <a:gd name="connsiteY11" fmla="*/ 799581 h 2262197"/>
                  <a:gd name="connsiteX12" fmla="*/ 2441699 w 3884485"/>
                  <a:gd name="connsiteY12" fmla="*/ 1413742 h 2262197"/>
                  <a:gd name="connsiteX13" fmla="*/ 1873904 w 3884485"/>
                  <a:gd name="connsiteY13" fmla="*/ 1370525 h 2262197"/>
                  <a:gd name="connsiteX14" fmla="*/ 1581950 w 3884485"/>
                  <a:gd name="connsiteY14" fmla="*/ 185419 h 2262197"/>
                  <a:gd name="connsiteX15" fmla="*/ 981912 w 3884485"/>
                  <a:gd name="connsiteY15" fmla="*/ 94434 h 2262197"/>
                  <a:gd name="connsiteX16" fmla="*/ 62175 w 3884485"/>
                  <a:gd name="connsiteY16" fmla="*/ 30910 h 2262197"/>
                  <a:gd name="connsiteX0" fmla="*/ 61263 w 3883573"/>
                  <a:gd name="connsiteY0" fmla="*/ 30910 h 2262197"/>
                  <a:gd name="connsiteX1" fmla="*/ 126754 w 3883573"/>
                  <a:gd name="connsiteY1" fmla="*/ 537465 h 2262197"/>
                  <a:gd name="connsiteX2" fmla="*/ 459363 w 3883573"/>
                  <a:gd name="connsiteY2" fmla="*/ 1062319 h 2262197"/>
                  <a:gd name="connsiteX3" fmla="*/ 1056226 w 3883573"/>
                  <a:gd name="connsiteY3" fmla="*/ 1843657 h 2262197"/>
                  <a:gd name="connsiteX4" fmla="*/ 1987626 w 3883573"/>
                  <a:gd name="connsiteY4" fmla="*/ 2262196 h 2262197"/>
                  <a:gd name="connsiteX5" fmla="*/ 3033660 w 3883573"/>
                  <a:gd name="connsiteY5" fmla="*/ 1843659 h 2262197"/>
                  <a:gd name="connsiteX6" fmla="*/ 3324591 w 3883573"/>
                  <a:gd name="connsiteY6" fmla="*/ 1197924 h 2262197"/>
                  <a:gd name="connsiteX7" fmla="*/ 3635487 w 3883573"/>
                  <a:gd name="connsiteY7" fmla="*/ 751817 h 2262197"/>
                  <a:gd name="connsiteX8" fmla="*/ 3883573 w 3883573"/>
                  <a:gd name="connsiteY8" fmla="*/ 451503 h 2262197"/>
                  <a:gd name="connsiteX9" fmla="*/ 3883573 w 3883573"/>
                  <a:gd name="connsiteY9" fmla="*/ 13121 h 2262197"/>
                  <a:gd name="connsiteX10" fmla="*/ 3277257 w 3883573"/>
                  <a:gd name="connsiteY10" fmla="*/ 187696 h 2262197"/>
                  <a:gd name="connsiteX11" fmla="*/ 2897532 w 3883573"/>
                  <a:gd name="connsiteY11" fmla="*/ 799581 h 2262197"/>
                  <a:gd name="connsiteX12" fmla="*/ 2440787 w 3883573"/>
                  <a:gd name="connsiteY12" fmla="*/ 1413742 h 2262197"/>
                  <a:gd name="connsiteX13" fmla="*/ 1872992 w 3883573"/>
                  <a:gd name="connsiteY13" fmla="*/ 1370525 h 2262197"/>
                  <a:gd name="connsiteX14" fmla="*/ 1581038 w 3883573"/>
                  <a:gd name="connsiteY14" fmla="*/ 185419 h 2262197"/>
                  <a:gd name="connsiteX15" fmla="*/ 981000 w 3883573"/>
                  <a:gd name="connsiteY15" fmla="*/ 94434 h 2262197"/>
                  <a:gd name="connsiteX16" fmla="*/ 61263 w 3883573"/>
                  <a:gd name="connsiteY16" fmla="*/ 30910 h 2262197"/>
                  <a:gd name="connsiteX0" fmla="*/ 61263 w 3883573"/>
                  <a:gd name="connsiteY0" fmla="*/ 30910 h 2277068"/>
                  <a:gd name="connsiteX1" fmla="*/ 126754 w 3883573"/>
                  <a:gd name="connsiteY1" fmla="*/ 537465 h 2277068"/>
                  <a:gd name="connsiteX2" fmla="*/ 459363 w 3883573"/>
                  <a:gd name="connsiteY2" fmla="*/ 1062319 h 2277068"/>
                  <a:gd name="connsiteX3" fmla="*/ 1235346 w 3883573"/>
                  <a:gd name="connsiteY3" fmla="*/ 1252241 h 2277068"/>
                  <a:gd name="connsiteX4" fmla="*/ 1987626 w 3883573"/>
                  <a:gd name="connsiteY4" fmla="*/ 2262196 h 2277068"/>
                  <a:gd name="connsiteX5" fmla="*/ 3033660 w 3883573"/>
                  <a:gd name="connsiteY5" fmla="*/ 1843659 h 2277068"/>
                  <a:gd name="connsiteX6" fmla="*/ 3324591 w 3883573"/>
                  <a:gd name="connsiteY6" fmla="*/ 1197924 h 2277068"/>
                  <a:gd name="connsiteX7" fmla="*/ 3635487 w 3883573"/>
                  <a:gd name="connsiteY7" fmla="*/ 751817 h 2277068"/>
                  <a:gd name="connsiteX8" fmla="*/ 3883573 w 3883573"/>
                  <a:gd name="connsiteY8" fmla="*/ 451503 h 2277068"/>
                  <a:gd name="connsiteX9" fmla="*/ 3883573 w 3883573"/>
                  <a:gd name="connsiteY9" fmla="*/ 13121 h 2277068"/>
                  <a:gd name="connsiteX10" fmla="*/ 3277257 w 3883573"/>
                  <a:gd name="connsiteY10" fmla="*/ 187696 h 2277068"/>
                  <a:gd name="connsiteX11" fmla="*/ 2897532 w 3883573"/>
                  <a:gd name="connsiteY11" fmla="*/ 799581 h 2277068"/>
                  <a:gd name="connsiteX12" fmla="*/ 2440787 w 3883573"/>
                  <a:gd name="connsiteY12" fmla="*/ 1413742 h 2277068"/>
                  <a:gd name="connsiteX13" fmla="*/ 1872992 w 3883573"/>
                  <a:gd name="connsiteY13" fmla="*/ 1370525 h 2277068"/>
                  <a:gd name="connsiteX14" fmla="*/ 1581038 w 3883573"/>
                  <a:gd name="connsiteY14" fmla="*/ 185419 h 2277068"/>
                  <a:gd name="connsiteX15" fmla="*/ 981000 w 3883573"/>
                  <a:gd name="connsiteY15" fmla="*/ 94434 h 2277068"/>
                  <a:gd name="connsiteX16" fmla="*/ 61263 w 3883573"/>
                  <a:gd name="connsiteY16" fmla="*/ 30910 h 2277068"/>
                  <a:gd name="connsiteX0" fmla="*/ 61263 w 3883573"/>
                  <a:gd name="connsiteY0" fmla="*/ 30910 h 2277068"/>
                  <a:gd name="connsiteX1" fmla="*/ 126754 w 3883573"/>
                  <a:gd name="connsiteY1" fmla="*/ 537465 h 2277068"/>
                  <a:gd name="connsiteX2" fmla="*/ 459363 w 3883573"/>
                  <a:gd name="connsiteY2" fmla="*/ 1062319 h 2277068"/>
                  <a:gd name="connsiteX3" fmla="*/ 1235346 w 3883573"/>
                  <a:gd name="connsiteY3" fmla="*/ 1252241 h 2277068"/>
                  <a:gd name="connsiteX4" fmla="*/ 1987626 w 3883573"/>
                  <a:gd name="connsiteY4" fmla="*/ 2262196 h 2277068"/>
                  <a:gd name="connsiteX5" fmla="*/ 3033660 w 3883573"/>
                  <a:gd name="connsiteY5" fmla="*/ 1843659 h 2277068"/>
                  <a:gd name="connsiteX6" fmla="*/ 3324591 w 3883573"/>
                  <a:gd name="connsiteY6" fmla="*/ 1197924 h 2277068"/>
                  <a:gd name="connsiteX7" fmla="*/ 3635487 w 3883573"/>
                  <a:gd name="connsiteY7" fmla="*/ 751817 h 2277068"/>
                  <a:gd name="connsiteX8" fmla="*/ 3883573 w 3883573"/>
                  <a:gd name="connsiteY8" fmla="*/ 451503 h 2277068"/>
                  <a:gd name="connsiteX9" fmla="*/ 3883573 w 3883573"/>
                  <a:gd name="connsiteY9" fmla="*/ 13121 h 2277068"/>
                  <a:gd name="connsiteX10" fmla="*/ 3277257 w 3883573"/>
                  <a:gd name="connsiteY10" fmla="*/ 187696 h 2277068"/>
                  <a:gd name="connsiteX11" fmla="*/ 2897532 w 3883573"/>
                  <a:gd name="connsiteY11" fmla="*/ 799581 h 2277068"/>
                  <a:gd name="connsiteX12" fmla="*/ 2440787 w 3883573"/>
                  <a:gd name="connsiteY12" fmla="*/ 1413742 h 2277068"/>
                  <a:gd name="connsiteX13" fmla="*/ 2320781 w 3883573"/>
                  <a:gd name="connsiteY13" fmla="*/ 210442 h 2277068"/>
                  <a:gd name="connsiteX14" fmla="*/ 1581038 w 3883573"/>
                  <a:gd name="connsiteY14" fmla="*/ 185419 h 2277068"/>
                  <a:gd name="connsiteX15" fmla="*/ 981000 w 3883573"/>
                  <a:gd name="connsiteY15" fmla="*/ 94434 h 2277068"/>
                  <a:gd name="connsiteX16" fmla="*/ 61263 w 3883573"/>
                  <a:gd name="connsiteY16" fmla="*/ 30910 h 2277068"/>
                  <a:gd name="connsiteX0" fmla="*/ 61263 w 3883573"/>
                  <a:gd name="connsiteY0" fmla="*/ 30910 h 2277068"/>
                  <a:gd name="connsiteX1" fmla="*/ 126754 w 3883573"/>
                  <a:gd name="connsiteY1" fmla="*/ 537465 h 2277068"/>
                  <a:gd name="connsiteX2" fmla="*/ 459363 w 3883573"/>
                  <a:gd name="connsiteY2" fmla="*/ 1062319 h 2277068"/>
                  <a:gd name="connsiteX3" fmla="*/ 1235346 w 3883573"/>
                  <a:gd name="connsiteY3" fmla="*/ 1252241 h 2277068"/>
                  <a:gd name="connsiteX4" fmla="*/ 1987626 w 3883573"/>
                  <a:gd name="connsiteY4" fmla="*/ 2262196 h 2277068"/>
                  <a:gd name="connsiteX5" fmla="*/ 3033660 w 3883573"/>
                  <a:gd name="connsiteY5" fmla="*/ 1843659 h 2277068"/>
                  <a:gd name="connsiteX6" fmla="*/ 3324591 w 3883573"/>
                  <a:gd name="connsiteY6" fmla="*/ 1197924 h 2277068"/>
                  <a:gd name="connsiteX7" fmla="*/ 3635487 w 3883573"/>
                  <a:gd name="connsiteY7" fmla="*/ 751817 h 2277068"/>
                  <a:gd name="connsiteX8" fmla="*/ 3883573 w 3883573"/>
                  <a:gd name="connsiteY8" fmla="*/ 451503 h 2277068"/>
                  <a:gd name="connsiteX9" fmla="*/ 3883573 w 3883573"/>
                  <a:gd name="connsiteY9" fmla="*/ 13121 h 2277068"/>
                  <a:gd name="connsiteX10" fmla="*/ 3277257 w 3883573"/>
                  <a:gd name="connsiteY10" fmla="*/ 187696 h 2277068"/>
                  <a:gd name="connsiteX11" fmla="*/ 2897532 w 3883573"/>
                  <a:gd name="connsiteY11" fmla="*/ 799581 h 2277068"/>
                  <a:gd name="connsiteX12" fmla="*/ 2320781 w 3883573"/>
                  <a:gd name="connsiteY12" fmla="*/ 210442 h 2277068"/>
                  <a:gd name="connsiteX13" fmla="*/ 1581038 w 3883573"/>
                  <a:gd name="connsiteY13" fmla="*/ 185419 h 2277068"/>
                  <a:gd name="connsiteX14" fmla="*/ 981000 w 3883573"/>
                  <a:gd name="connsiteY14" fmla="*/ 94434 h 2277068"/>
                  <a:gd name="connsiteX15" fmla="*/ 61263 w 3883573"/>
                  <a:gd name="connsiteY15" fmla="*/ 30910 h 2277068"/>
                  <a:gd name="connsiteX0" fmla="*/ 61263 w 3883573"/>
                  <a:gd name="connsiteY0" fmla="*/ 30910 h 2277068"/>
                  <a:gd name="connsiteX1" fmla="*/ 126754 w 3883573"/>
                  <a:gd name="connsiteY1" fmla="*/ 537465 h 2277068"/>
                  <a:gd name="connsiteX2" fmla="*/ 459363 w 3883573"/>
                  <a:gd name="connsiteY2" fmla="*/ 1062319 h 2277068"/>
                  <a:gd name="connsiteX3" fmla="*/ 1235346 w 3883573"/>
                  <a:gd name="connsiteY3" fmla="*/ 1252241 h 2277068"/>
                  <a:gd name="connsiteX4" fmla="*/ 1987626 w 3883573"/>
                  <a:gd name="connsiteY4" fmla="*/ 2262196 h 2277068"/>
                  <a:gd name="connsiteX5" fmla="*/ 3033660 w 3883573"/>
                  <a:gd name="connsiteY5" fmla="*/ 1843659 h 2277068"/>
                  <a:gd name="connsiteX6" fmla="*/ 3324591 w 3883573"/>
                  <a:gd name="connsiteY6" fmla="*/ 1197924 h 2277068"/>
                  <a:gd name="connsiteX7" fmla="*/ 3635487 w 3883573"/>
                  <a:gd name="connsiteY7" fmla="*/ 751817 h 2277068"/>
                  <a:gd name="connsiteX8" fmla="*/ 3883573 w 3883573"/>
                  <a:gd name="connsiteY8" fmla="*/ 451503 h 2277068"/>
                  <a:gd name="connsiteX9" fmla="*/ 3883573 w 3883573"/>
                  <a:gd name="connsiteY9" fmla="*/ 13121 h 2277068"/>
                  <a:gd name="connsiteX10" fmla="*/ 3277257 w 3883573"/>
                  <a:gd name="connsiteY10" fmla="*/ 187696 h 2277068"/>
                  <a:gd name="connsiteX11" fmla="*/ 2790063 w 3883573"/>
                  <a:gd name="connsiteY11" fmla="*/ 287779 h 2277068"/>
                  <a:gd name="connsiteX12" fmla="*/ 2320781 w 3883573"/>
                  <a:gd name="connsiteY12" fmla="*/ 210442 h 2277068"/>
                  <a:gd name="connsiteX13" fmla="*/ 1581038 w 3883573"/>
                  <a:gd name="connsiteY13" fmla="*/ 185419 h 2277068"/>
                  <a:gd name="connsiteX14" fmla="*/ 981000 w 3883573"/>
                  <a:gd name="connsiteY14" fmla="*/ 94434 h 2277068"/>
                  <a:gd name="connsiteX15" fmla="*/ 61263 w 3883573"/>
                  <a:gd name="connsiteY15" fmla="*/ 30910 h 2277068"/>
                  <a:gd name="connsiteX0" fmla="*/ 61263 w 3883573"/>
                  <a:gd name="connsiteY0" fmla="*/ 30910 h 1851428"/>
                  <a:gd name="connsiteX1" fmla="*/ 126754 w 3883573"/>
                  <a:gd name="connsiteY1" fmla="*/ 537465 h 1851428"/>
                  <a:gd name="connsiteX2" fmla="*/ 459363 w 3883573"/>
                  <a:gd name="connsiteY2" fmla="*/ 1062319 h 1851428"/>
                  <a:gd name="connsiteX3" fmla="*/ 1235346 w 3883573"/>
                  <a:gd name="connsiteY3" fmla="*/ 1252241 h 1851428"/>
                  <a:gd name="connsiteX4" fmla="*/ 2023449 w 3883573"/>
                  <a:gd name="connsiteY4" fmla="*/ 999753 h 1851428"/>
                  <a:gd name="connsiteX5" fmla="*/ 3033660 w 3883573"/>
                  <a:gd name="connsiteY5" fmla="*/ 1843659 h 1851428"/>
                  <a:gd name="connsiteX6" fmla="*/ 3324591 w 3883573"/>
                  <a:gd name="connsiteY6" fmla="*/ 1197924 h 1851428"/>
                  <a:gd name="connsiteX7" fmla="*/ 3635487 w 3883573"/>
                  <a:gd name="connsiteY7" fmla="*/ 751817 h 1851428"/>
                  <a:gd name="connsiteX8" fmla="*/ 3883573 w 3883573"/>
                  <a:gd name="connsiteY8" fmla="*/ 451503 h 1851428"/>
                  <a:gd name="connsiteX9" fmla="*/ 3883573 w 3883573"/>
                  <a:gd name="connsiteY9" fmla="*/ 13121 h 1851428"/>
                  <a:gd name="connsiteX10" fmla="*/ 3277257 w 3883573"/>
                  <a:gd name="connsiteY10" fmla="*/ 187696 h 1851428"/>
                  <a:gd name="connsiteX11" fmla="*/ 2790063 w 3883573"/>
                  <a:gd name="connsiteY11" fmla="*/ 287779 h 1851428"/>
                  <a:gd name="connsiteX12" fmla="*/ 2320781 w 3883573"/>
                  <a:gd name="connsiteY12" fmla="*/ 210442 h 1851428"/>
                  <a:gd name="connsiteX13" fmla="*/ 1581038 w 3883573"/>
                  <a:gd name="connsiteY13" fmla="*/ 185419 h 1851428"/>
                  <a:gd name="connsiteX14" fmla="*/ 981000 w 3883573"/>
                  <a:gd name="connsiteY14" fmla="*/ 94434 h 1851428"/>
                  <a:gd name="connsiteX15" fmla="*/ 61263 w 3883573"/>
                  <a:gd name="connsiteY15" fmla="*/ 30910 h 1851428"/>
                  <a:gd name="connsiteX0" fmla="*/ 61263 w 3883573"/>
                  <a:gd name="connsiteY0" fmla="*/ 30910 h 1847024"/>
                  <a:gd name="connsiteX1" fmla="*/ 126754 w 3883573"/>
                  <a:gd name="connsiteY1" fmla="*/ 537465 h 1847024"/>
                  <a:gd name="connsiteX2" fmla="*/ 459363 w 3883573"/>
                  <a:gd name="connsiteY2" fmla="*/ 1062319 h 1847024"/>
                  <a:gd name="connsiteX3" fmla="*/ 1235346 w 3883573"/>
                  <a:gd name="connsiteY3" fmla="*/ 1252241 h 1847024"/>
                  <a:gd name="connsiteX4" fmla="*/ 2023449 w 3883573"/>
                  <a:gd name="connsiteY4" fmla="*/ 999753 h 1847024"/>
                  <a:gd name="connsiteX5" fmla="*/ 2490859 w 3883573"/>
                  <a:gd name="connsiteY5" fmla="*/ 1155322 h 1847024"/>
                  <a:gd name="connsiteX6" fmla="*/ 3033660 w 3883573"/>
                  <a:gd name="connsiteY6" fmla="*/ 1843659 h 1847024"/>
                  <a:gd name="connsiteX7" fmla="*/ 3324591 w 3883573"/>
                  <a:gd name="connsiteY7" fmla="*/ 1197924 h 1847024"/>
                  <a:gd name="connsiteX8" fmla="*/ 3635487 w 3883573"/>
                  <a:gd name="connsiteY8" fmla="*/ 751817 h 1847024"/>
                  <a:gd name="connsiteX9" fmla="*/ 3883573 w 3883573"/>
                  <a:gd name="connsiteY9" fmla="*/ 451503 h 1847024"/>
                  <a:gd name="connsiteX10" fmla="*/ 3883573 w 3883573"/>
                  <a:gd name="connsiteY10" fmla="*/ 13121 h 1847024"/>
                  <a:gd name="connsiteX11" fmla="*/ 3277257 w 3883573"/>
                  <a:gd name="connsiteY11" fmla="*/ 187696 h 1847024"/>
                  <a:gd name="connsiteX12" fmla="*/ 2790063 w 3883573"/>
                  <a:gd name="connsiteY12" fmla="*/ 287779 h 1847024"/>
                  <a:gd name="connsiteX13" fmla="*/ 2320781 w 3883573"/>
                  <a:gd name="connsiteY13" fmla="*/ 210442 h 1847024"/>
                  <a:gd name="connsiteX14" fmla="*/ 1581038 w 3883573"/>
                  <a:gd name="connsiteY14" fmla="*/ 185419 h 1847024"/>
                  <a:gd name="connsiteX15" fmla="*/ 981000 w 3883573"/>
                  <a:gd name="connsiteY15" fmla="*/ 94434 h 1847024"/>
                  <a:gd name="connsiteX16" fmla="*/ 61263 w 3883573"/>
                  <a:gd name="connsiteY16" fmla="*/ 30910 h 1847024"/>
                  <a:gd name="connsiteX0" fmla="*/ 61263 w 3883573"/>
                  <a:gd name="connsiteY0" fmla="*/ 30910 h 1847024"/>
                  <a:gd name="connsiteX1" fmla="*/ 126754 w 3883573"/>
                  <a:gd name="connsiteY1" fmla="*/ 537465 h 1847024"/>
                  <a:gd name="connsiteX2" fmla="*/ 459363 w 3883573"/>
                  <a:gd name="connsiteY2" fmla="*/ 1062319 h 1847024"/>
                  <a:gd name="connsiteX3" fmla="*/ 1235346 w 3883573"/>
                  <a:gd name="connsiteY3" fmla="*/ 1252241 h 1847024"/>
                  <a:gd name="connsiteX4" fmla="*/ 1736869 w 3883573"/>
                  <a:gd name="connsiteY4" fmla="*/ 1011123 h 1847024"/>
                  <a:gd name="connsiteX5" fmla="*/ 2490859 w 3883573"/>
                  <a:gd name="connsiteY5" fmla="*/ 1155322 h 1847024"/>
                  <a:gd name="connsiteX6" fmla="*/ 3033660 w 3883573"/>
                  <a:gd name="connsiteY6" fmla="*/ 1843659 h 1847024"/>
                  <a:gd name="connsiteX7" fmla="*/ 3324591 w 3883573"/>
                  <a:gd name="connsiteY7" fmla="*/ 1197924 h 1847024"/>
                  <a:gd name="connsiteX8" fmla="*/ 3635487 w 3883573"/>
                  <a:gd name="connsiteY8" fmla="*/ 751817 h 1847024"/>
                  <a:gd name="connsiteX9" fmla="*/ 3883573 w 3883573"/>
                  <a:gd name="connsiteY9" fmla="*/ 451503 h 1847024"/>
                  <a:gd name="connsiteX10" fmla="*/ 3883573 w 3883573"/>
                  <a:gd name="connsiteY10" fmla="*/ 13121 h 1847024"/>
                  <a:gd name="connsiteX11" fmla="*/ 3277257 w 3883573"/>
                  <a:gd name="connsiteY11" fmla="*/ 187696 h 1847024"/>
                  <a:gd name="connsiteX12" fmla="*/ 2790063 w 3883573"/>
                  <a:gd name="connsiteY12" fmla="*/ 287779 h 1847024"/>
                  <a:gd name="connsiteX13" fmla="*/ 2320781 w 3883573"/>
                  <a:gd name="connsiteY13" fmla="*/ 210442 h 1847024"/>
                  <a:gd name="connsiteX14" fmla="*/ 1581038 w 3883573"/>
                  <a:gd name="connsiteY14" fmla="*/ 185419 h 1847024"/>
                  <a:gd name="connsiteX15" fmla="*/ 981000 w 3883573"/>
                  <a:gd name="connsiteY15" fmla="*/ 94434 h 1847024"/>
                  <a:gd name="connsiteX16" fmla="*/ 61263 w 3883573"/>
                  <a:gd name="connsiteY16" fmla="*/ 30910 h 1847024"/>
                  <a:gd name="connsiteX0" fmla="*/ 61263 w 3883573"/>
                  <a:gd name="connsiteY0" fmla="*/ 30910 h 1847024"/>
                  <a:gd name="connsiteX1" fmla="*/ 126754 w 3883573"/>
                  <a:gd name="connsiteY1" fmla="*/ 537465 h 1847024"/>
                  <a:gd name="connsiteX2" fmla="*/ 459363 w 3883573"/>
                  <a:gd name="connsiteY2" fmla="*/ 1062319 h 1847024"/>
                  <a:gd name="connsiteX3" fmla="*/ 903987 w 3883573"/>
                  <a:gd name="connsiteY3" fmla="*/ 1127135 h 1847024"/>
                  <a:gd name="connsiteX4" fmla="*/ 1736869 w 3883573"/>
                  <a:gd name="connsiteY4" fmla="*/ 1011123 h 1847024"/>
                  <a:gd name="connsiteX5" fmla="*/ 2490859 w 3883573"/>
                  <a:gd name="connsiteY5" fmla="*/ 1155322 h 1847024"/>
                  <a:gd name="connsiteX6" fmla="*/ 3033660 w 3883573"/>
                  <a:gd name="connsiteY6" fmla="*/ 1843659 h 1847024"/>
                  <a:gd name="connsiteX7" fmla="*/ 3324591 w 3883573"/>
                  <a:gd name="connsiteY7" fmla="*/ 1197924 h 1847024"/>
                  <a:gd name="connsiteX8" fmla="*/ 3635487 w 3883573"/>
                  <a:gd name="connsiteY8" fmla="*/ 751817 h 1847024"/>
                  <a:gd name="connsiteX9" fmla="*/ 3883573 w 3883573"/>
                  <a:gd name="connsiteY9" fmla="*/ 451503 h 1847024"/>
                  <a:gd name="connsiteX10" fmla="*/ 3883573 w 3883573"/>
                  <a:gd name="connsiteY10" fmla="*/ 13121 h 1847024"/>
                  <a:gd name="connsiteX11" fmla="*/ 3277257 w 3883573"/>
                  <a:gd name="connsiteY11" fmla="*/ 187696 h 1847024"/>
                  <a:gd name="connsiteX12" fmla="*/ 2790063 w 3883573"/>
                  <a:gd name="connsiteY12" fmla="*/ 287779 h 1847024"/>
                  <a:gd name="connsiteX13" fmla="*/ 2320781 w 3883573"/>
                  <a:gd name="connsiteY13" fmla="*/ 210442 h 1847024"/>
                  <a:gd name="connsiteX14" fmla="*/ 1581038 w 3883573"/>
                  <a:gd name="connsiteY14" fmla="*/ 185419 h 1847024"/>
                  <a:gd name="connsiteX15" fmla="*/ 981000 w 3883573"/>
                  <a:gd name="connsiteY15" fmla="*/ 94434 h 1847024"/>
                  <a:gd name="connsiteX16" fmla="*/ 61263 w 3883573"/>
                  <a:gd name="connsiteY16" fmla="*/ 30910 h 1847024"/>
                  <a:gd name="connsiteX0" fmla="*/ 61263 w 3883573"/>
                  <a:gd name="connsiteY0" fmla="*/ 30910 h 1847000"/>
                  <a:gd name="connsiteX1" fmla="*/ 126754 w 3883573"/>
                  <a:gd name="connsiteY1" fmla="*/ 537465 h 1847000"/>
                  <a:gd name="connsiteX2" fmla="*/ 459363 w 3883573"/>
                  <a:gd name="connsiteY2" fmla="*/ 1062319 h 1847000"/>
                  <a:gd name="connsiteX3" fmla="*/ 903987 w 3883573"/>
                  <a:gd name="connsiteY3" fmla="*/ 1127135 h 1847000"/>
                  <a:gd name="connsiteX4" fmla="*/ 1736869 w 3883573"/>
                  <a:gd name="connsiteY4" fmla="*/ 1011123 h 1847000"/>
                  <a:gd name="connsiteX5" fmla="*/ 2069939 w 3883573"/>
                  <a:gd name="connsiteY5" fmla="*/ 1166694 h 1847000"/>
                  <a:gd name="connsiteX6" fmla="*/ 2490859 w 3883573"/>
                  <a:gd name="connsiteY6" fmla="*/ 1155322 h 1847000"/>
                  <a:gd name="connsiteX7" fmla="*/ 3033660 w 3883573"/>
                  <a:gd name="connsiteY7" fmla="*/ 1843659 h 1847000"/>
                  <a:gd name="connsiteX8" fmla="*/ 3324591 w 3883573"/>
                  <a:gd name="connsiteY8" fmla="*/ 1197924 h 1847000"/>
                  <a:gd name="connsiteX9" fmla="*/ 3635487 w 3883573"/>
                  <a:gd name="connsiteY9" fmla="*/ 751817 h 1847000"/>
                  <a:gd name="connsiteX10" fmla="*/ 3883573 w 3883573"/>
                  <a:gd name="connsiteY10" fmla="*/ 451503 h 1847000"/>
                  <a:gd name="connsiteX11" fmla="*/ 3883573 w 3883573"/>
                  <a:gd name="connsiteY11" fmla="*/ 13121 h 1847000"/>
                  <a:gd name="connsiteX12" fmla="*/ 3277257 w 3883573"/>
                  <a:gd name="connsiteY12" fmla="*/ 187696 h 1847000"/>
                  <a:gd name="connsiteX13" fmla="*/ 2790063 w 3883573"/>
                  <a:gd name="connsiteY13" fmla="*/ 287779 h 1847000"/>
                  <a:gd name="connsiteX14" fmla="*/ 2320781 w 3883573"/>
                  <a:gd name="connsiteY14" fmla="*/ 210442 h 1847000"/>
                  <a:gd name="connsiteX15" fmla="*/ 1581038 w 3883573"/>
                  <a:gd name="connsiteY15" fmla="*/ 185419 h 1847000"/>
                  <a:gd name="connsiteX16" fmla="*/ 981000 w 3883573"/>
                  <a:gd name="connsiteY16" fmla="*/ 94434 h 1847000"/>
                  <a:gd name="connsiteX17" fmla="*/ 61263 w 3883573"/>
                  <a:gd name="connsiteY17" fmla="*/ 30910 h 1847000"/>
                  <a:gd name="connsiteX0" fmla="*/ 61263 w 3883573"/>
                  <a:gd name="connsiteY0" fmla="*/ 30910 h 1220392"/>
                  <a:gd name="connsiteX1" fmla="*/ 126754 w 3883573"/>
                  <a:gd name="connsiteY1" fmla="*/ 537465 h 1220392"/>
                  <a:gd name="connsiteX2" fmla="*/ 459363 w 3883573"/>
                  <a:gd name="connsiteY2" fmla="*/ 1062319 h 1220392"/>
                  <a:gd name="connsiteX3" fmla="*/ 903987 w 3883573"/>
                  <a:gd name="connsiteY3" fmla="*/ 1127135 h 1220392"/>
                  <a:gd name="connsiteX4" fmla="*/ 1736869 w 3883573"/>
                  <a:gd name="connsiteY4" fmla="*/ 1011123 h 1220392"/>
                  <a:gd name="connsiteX5" fmla="*/ 2069939 w 3883573"/>
                  <a:gd name="connsiteY5" fmla="*/ 1166694 h 1220392"/>
                  <a:gd name="connsiteX6" fmla="*/ 2490859 w 3883573"/>
                  <a:gd name="connsiteY6" fmla="*/ 1155322 h 1220392"/>
                  <a:gd name="connsiteX7" fmla="*/ 3324591 w 3883573"/>
                  <a:gd name="connsiteY7" fmla="*/ 1197924 h 1220392"/>
                  <a:gd name="connsiteX8" fmla="*/ 3635487 w 3883573"/>
                  <a:gd name="connsiteY8" fmla="*/ 751817 h 1220392"/>
                  <a:gd name="connsiteX9" fmla="*/ 3883573 w 3883573"/>
                  <a:gd name="connsiteY9" fmla="*/ 451503 h 1220392"/>
                  <a:gd name="connsiteX10" fmla="*/ 3883573 w 3883573"/>
                  <a:gd name="connsiteY10" fmla="*/ 13121 h 1220392"/>
                  <a:gd name="connsiteX11" fmla="*/ 3277257 w 3883573"/>
                  <a:gd name="connsiteY11" fmla="*/ 187696 h 1220392"/>
                  <a:gd name="connsiteX12" fmla="*/ 2790063 w 3883573"/>
                  <a:gd name="connsiteY12" fmla="*/ 287779 h 1220392"/>
                  <a:gd name="connsiteX13" fmla="*/ 2320781 w 3883573"/>
                  <a:gd name="connsiteY13" fmla="*/ 210442 h 1220392"/>
                  <a:gd name="connsiteX14" fmla="*/ 1581038 w 3883573"/>
                  <a:gd name="connsiteY14" fmla="*/ 185419 h 1220392"/>
                  <a:gd name="connsiteX15" fmla="*/ 981000 w 3883573"/>
                  <a:gd name="connsiteY15" fmla="*/ 94434 h 1220392"/>
                  <a:gd name="connsiteX16" fmla="*/ 61263 w 3883573"/>
                  <a:gd name="connsiteY16" fmla="*/ 30910 h 1220392"/>
                  <a:gd name="connsiteX0" fmla="*/ 61263 w 3883573"/>
                  <a:gd name="connsiteY0" fmla="*/ 30910 h 1174361"/>
                  <a:gd name="connsiteX1" fmla="*/ 126754 w 3883573"/>
                  <a:gd name="connsiteY1" fmla="*/ 537465 h 1174361"/>
                  <a:gd name="connsiteX2" fmla="*/ 459363 w 3883573"/>
                  <a:gd name="connsiteY2" fmla="*/ 1062319 h 1174361"/>
                  <a:gd name="connsiteX3" fmla="*/ 903987 w 3883573"/>
                  <a:gd name="connsiteY3" fmla="*/ 1127135 h 1174361"/>
                  <a:gd name="connsiteX4" fmla="*/ 1736869 w 3883573"/>
                  <a:gd name="connsiteY4" fmla="*/ 1011123 h 1174361"/>
                  <a:gd name="connsiteX5" fmla="*/ 2069939 w 3883573"/>
                  <a:gd name="connsiteY5" fmla="*/ 1166694 h 1174361"/>
                  <a:gd name="connsiteX6" fmla="*/ 2490859 w 3883573"/>
                  <a:gd name="connsiteY6" fmla="*/ 1155322 h 1174361"/>
                  <a:gd name="connsiteX7" fmla="*/ 3243989 w 3883573"/>
                  <a:gd name="connsiteY7" fmla="*/ 959085 h 1174361"/>
                  <a:gd name="connsiteX8" fmla="*/ 3635487 w 3883573"/>
                  <a:gd name="connsiteY8" fmla="*/ 751817 h 1174361"/>
                  <a:gd name="connsiteX9" fmla="*/ 3883573 w 3883573"/>
                  <a:gd name="connsiteY9" fmla="*/ 451503 h 1174361"/>
                  <a:gd name="connsiteX10" fmla="*/ 3883573 w 3883573"/>
                  <a:gd name="connsiteY10" fmla="*/ 13121 h 1174361"/>
                  <a:gd name="connsiteX11" fmla="*/ 3277257 w 3883573"/>
                  <a:gd name="connsiteY11" fmla="*/ 187696 h 1174361"/>
                  <a:gd name="connsiteX12" fmla="*/ 2790063 w 3883573"/>
                  <a:gd name="connsiteY12" fmla="*/ 287779 h 1174361"/>
                  <a:gd name="connsiteX13" fmla="*/ 2320781 w 3883573"/>
                  <a:gd name="connsiteY13" fmla="*/ 210442 h 1174361"/>
                  <a:gd name="connsiteX14" fmla="*/ 1581038 w 3883573"/>
                  <a:gd name="connsiteY14" fmla="*/ 185419 h 1174361"/>
                  <a:gd name="connsiteX15" fmla="*/ 981000 w 3883573"/>
                  <a:gd name="connsiteY15" fmla="*/ 94434 h 1174361"/>
                  <a:gd name="connsiteX16" fmla="*/ 61263 w 3883573"/>
                  <a:gd name="connsiteY16" fmla="*/ 30910 h 1174361"/>
                  <a:gd name="connsiteX0" fmla="*/ 61263 w 3883573"/>
                  <a:gd name="connsiteY0" fmla="*/ 30910 h 1174361"/>
                  <a:gd name="connsiteX1" fmla="*/ 126754 w 3883573"/>
                  <a:gd name="connsiteY1" fmla="*/ 537465 h 1174361"/>
                  <a:gd name="connsiteX2" fmla="*/ 459363 w 3883573"/>
                  <a:gd name="connsiteY2" fmla="*/ 1062319 h 1174361"/>
                  <a:gd name="connsiteX3" fmla="*/ 903987 w 3883573"/>
                  <a:gd name="connsiteY3" fmla="*/ 1127135 h 1174361"/>
                  <a:gd name="connsiteX4" fmla="*/ 1736869 w 3883573"/>
                  <a:gd name="connsiteY4" fmla="*/ 1011123 h 1174361"/>
                  <a:gd name="connsiteX5" fmla="*/ 2069939 w 3883573"/>
                  <a:gd name="connsiteY5" fmla="*/ 1166694 h 1174361"/>
                  <a:gd name="connsiteX6" fmla="*/ 2490859 w 3883573"/>
                  <a:gd name="connsiteY6" fmla="*/ 1155322 h 1174361"/>
                  <a:gd name="connsiteX7" fmla="*/ 3360418 w 3883573"/>
                  <a:gd name="connsiteY7" fmla="*/ 1050071 h 1174361"/>
                  <a:gd name="connsiteX8" fmla="*/ 3635487 w 3883573"/>
                  <a:gd name="connsiteY8" fmla="*/ 751817 h 1174361"/>
                  <a:gd name="connsiteX9" fmla="*/ 3883573 w 3883573"/>
                  <a:gd name="connsiteY9" fmla="*/ 451503 h 1174361"/>
                  <a:gd name="connsiteX10" fmla="*/ 3883573 w 3883573"/>
                  <a:gd name="connsiteY10" fmla="*/ 13121 h 1174361"/>
                  <a:gd name="connsiteX11" fmla="*/ 3277257 w 3883573"/>
                  <a:gd name="connsiteY11" fmla="*/ 187696 h 1174361"/>
                  <a:gd name="connsiteX12" fmla="*/ 2790063 w 3883573"/>
                  <a:gd name="connsiteY12" fmla="*/ 287779 h 1174361"/>
                  <a:gd name="connsiteX13" fmla="*/ 2320781 w 3883573"/>
                  <a:gd name="connsiteY13" fmla="*/ 210442 h 1174361"/>
                  <a:gd name="connsiteX14" fmla="*/ 1581038 w 3883573"/>
                  <a:gd name="connsiteY14" fmla="*/ 185419 h 1174361"/>
                  <a:gd name="connsiteX15" fmla="*/ 981000 w 3883573"/>
                  <a:gd name="connsiteY15" fmla="*/ 94434 h 1174361"/>
                  <a:gd name="connsiteX16" fmla="*/ 61263 w 3883573"/>
                  <a:gd name="connsiteY16" fmla="*/ 30910 h 1174361"/>
                  <a:gd name="connsiteX0" fmla="*/ 61263 w 3892533"/>
                  <a:gd name="connsiteY0" fmla="*/ 24870 h 1168321"/>
                  <a:gd name="connsiteX1" fmla="*/ 126754 w 3892533"/>
                  <a:gd name="connsiteY1" fmla="*/ 531425 h 1168321"/>
                  <a:gd name="connsiteX2" fmla="*/ 459363 w 3892533"/>
                  <a:gd name="connsiteY2" fmla="*/ 1056279 h 1168321"/>
                  <a:gd name="connsiteX3" fmla="*/ 903987 w 3892533"/>
                  <a:gd name="connsiteY3" fmla="*/ 1121095 h 1168321"/>
                  <a:gd name="connsiteX4" fmla="*/ 1736869 w 3892533"/>
                  <a:gd name="connsiteY4" fmla="*/ 1005083 h 1168321"/>
                  <a:gd name="connsiteX5" fmla="*/ 2069939 w 3892533"/>
                  <a:gd name="connsiteY5" fmla="*/ 1160654 h 1168321"/>
                  <a:gd name="connsiteX6" fmla="*/ 2490859 w 3892533"/>
                  <a:gd name="connsiteY6" fmla="*/ 1149282 h 1168321"/>
                  <a:gd name="connsiteX7" fmla="*/ 3360418 w 3892533"/>
                  <a:gd name="connsiteY7" fmla="*/ 1044031 h 1168321"/>
                  <a:gd name="connsiteX8" fmla="*/ 3635487 w 3892533"/>
                  <a:gd name="connsiteY8" fmla="*/ 745777 h 1168321"/>
                  <a:gd name="connsiteX9" fmla="*/ 3883573 w 3892533"/>
                  <a:gd name="connsiteY9" fmla="*/ 445463 h 1168321"/>
                  <a:gd name="connsiteX10" fmla="*/ 3892534 w 3892533"/>
                  <a:gd name="connsiteY10" fmla="*/ 166306 h 1168321"/>
                  <a:gd name="connsiteX11" fmla="*/ 3277257 w 3892533"/>
                  <a:gd name="connsiteY11" fmla="*/ 181656 h 1168321"/>
                  <a:gd name="connsiteX12" fmla="*/ 2790063 w 3892533"/>
                  <a:gd name="connsiteY12" fmla="*/ 281739 h 1168321"/>
                  <a:gd name="connsiteX13" fmla="*/ 2320781 w 3892533"/>
                  <a:gd name="connsiteY13" fmla="*/ 204402 h 1168321"/>
                  <a:gd name="connsiteX14" fmla="*/ 1581038 w 3892533"/>
                  <a:gd name="connsiteY14" fmla="*/ 179379 h 1168321"/>
                  <a:gd name="connsiteX15" fmla="*/ 981000 w 3892533"/>
                  <a:gd name="connsiteY15" fmla="*/ 88394 h 1168321"/>
                  <a:gd name="connsiteX16" fmla="*/ 61263 w 3892533"/>
                  <a:gd name="connsiteY16" fmla="*/ 24870 h 1168321"/>
                  <a:gd name="connsiteX0" fmla="*/ 61263 w 3892535"/>
                  <a:gd name="connsiteY0" fmla="*/ 24870 h 1280796"/>
                  <a:gd name="connsiteX1" fmla="*/ 126754 w 3892535"/>
                  <a:gd name="connsiteY1" fmla="*/ 531425 h 1280796"/>
                  <a:gd name="connsiteX2" fmla="*/ 459363 w 3892535"/>
                  <a:gd name="connsiteY2" fmla="*/ 1056279 h 1280796"/>
                  <a:gd name="connsiteX3" fmla="*/ 966682 w 3892535"/>
                  <a:gd name="connsiteY3" fmla="*/ 1280322 h 1280796"/>
                  <a:gd name="connsiteX4" fmla="*/ 1736869 w 3892535"/>
                  <a:gd name="connsiteY4" fmla="*/ 1005083 h 1280796"/>
                  <a:gd name="connsiteX5" fmla="*/ 2069939 w 3892535"/>
                  <a:gd name="connsiteY5" fmla="*/ 1160654 h 1280796"/>
                  <a:gd name="connsiteX6" fmla="*/ 2490859 w 3892535"/>
                  <a:gd name="connsiteY6" fmla="*/ 1149282 h 1280796"/>
                  <a:gd name="connsiteX7" fmla="*/ 3360418 w 3892535"/>
                  <a:gd name="connsiteY7" fmla="*/ 1044031 h 1280796"/>
                  <a:gd name="connsiteX8" fmla="*/ 3635487 w 3892535"/>
                  <a:gd name="connsiteY8" fmla="*/ 745777 h 1280796"/>
                  <a:gd name="connsiteX9" fmla="*/ 3883573 w 3892535"/>
                  <a:gd name="connsiteY9" fmla="*/ 445463 h 1280796"/>
                  <a:gd name="connsiteX10" fmla="*/ 3892534 w 3892535"/>
                  <a:gd name="connsiteY10" fmla="*/ 166306 h 1280796"/>
                  <a:gd name="connsiteX11" fmla="*/ 3277257 w 3892535"/>
                  <a:gd name="connsiteY11" fmla="*/ 181656 h 1280796"/>
                  <a:gd name="connsiteX12" fmla="*/ 2790063 w 3892535"/>
                  <a:gd name="connsiteY12" fmla="*/ 281739 h 1280796"/>
                  <a:gd name="connsiteX13" fmla="*/ 2320781 w 3892535"/>
                  <a:gd name="connsiteY13" fmla="*/ 204402 h 1280796"/>
                  <a:gd name="connsiteX14" fmla="*/ 1581038 w 3892535"/>
                  <a:gd name="connsiteY14" fmla="*/ 179379 h 1280796"/>
                  <a:gd name="connsiteX15" fmla="*/ 981000 w 3892535"/>
                  <a:gd name="connsiteY15" fmla="*/ 88394 h 1280796"/>
                  <a:gd name="connsiteX16" fmla="*/ 61263 w 3892535"/>
                  <a:gd name="connsiteY16" fmla="*/ 24870 h 1280796"/>
                  <a:gd name="connsiteX0" fmla="*/ 61263 w 3892533"/>
                  <a:gd name="connsiteY0" fmla="*/ 24870 h 1288550"/>
                  <a:gd name="connsiteX1" fmla="*/ 126754 w 3892533"/>
                  <a:gd name="connsiteY1" fmla="*/ 531425 h 1288550"/>
                  <a:gd name="connsiteX2" fmla="*/ 459363 w 3892533"/>
                  <a:gd name="connsiteY2" fmla="*/ 1056279 h 1288550"/>
                  <a:gd name="connsiteX3" fmla="*/ 966682 w 3892533"/>
                  <a:gd name="connsiteY3" fmla="*/ 1280322 h 1288550"/>
                  <a:gd name="connsiteX4" fmla="*/ 1584621 w 3892533"/>
                  <a:gd name="connsiteY4" fmla="*/ 1232549 h 1288550"/>
                  <a:gd name="connsiteX5" fmla="*/ 2069939 w 3892533"/>
                  <a:gd name="connsiteY5" fmla="*/ 1160654 h 1288550"/>
                  <a:gd name="connsiteX6" fmla="*/ 2490859 w 3892533"/>
                  <a:gd name="connsiteY6" fmla="*/ 1149282 h 1288550"/>
                  <a:gd name="connsiteX7" fmla="*/ 3360418 w 3892533"/>
                  <a:gd name="connsiteY7" fmla="*/ 1044031 h 1288550"/>
                  <a:gd name="connsiteX8" fmla="*/ 3635487 w 3892533"/>
                  <a:gd name="connsiteY8" fmla="*/ 745777 h 1288550"/>
                  <a:gd name="connsiteX9" fmla="*/ 3883573 w 3892533"/>
                  <a:gd name="connsiteY9" fmla="*/ 445463 h 1288550"/>
                  <a:gd name="connsiteX10" fmla="*/ 3892534 w 3892533"/>
                  <a:gd name="connsiteY10" fmla="*/ 166306 h 1288550"/>
                  <a:gd name="connsiteX11" fmla="*/ 3277257 w 3892533"/>
                  <a:gd name="connsiteY11" fmla="*/ 181656 h 1288550"/>
                  <a:gd name="connsiteX12" fmla="*/ 2790063 w 3892533"/>
                  <a:gd name="connsiteY12" fmla="*/ 281739 h 1288550"/>
                  <a:gd name="connsiteX13" fmla="*/ 2320781 w 3892533"/>
                  <a:gd name="connsiteY13" fmla="*/ 204402 h 1288550"/>
                  <a:gd name="connsiteX14" fmla="*/ 1581038 w 3892533"/>
                  <a:gd name="connsiteY14" fmla="*/ 179379 h 1288550"/>
                  <a:gd name="connsiteX15" fmla="*/ 981000 w 3892533"/>
                  <a:gd name="connsiteY15" fmla="*/ 88394 h 1288550"/>
                  <a:gd name="connsiteX16" fmla="*/ 61263 w 3892533"/>
                  <a:gd name="connsiteY16" fmla="*/ 24870 h 1288550"/>
                  <a:gd name="connsiteX0" fmla="*/ 61263 w 3892535"/>
                  <a:gd name="connsiteY0" fmla="*/ 24870 h 1288550"/>
                  <a:gd name="connsiteX1" fmla="*/ 126754 w 3892535"/>
                  <a:gd name="connsiteY1" fmla="*/ 531425 h 1288550"/>
                  <a:gd name="connsiteX2" fmla="*/ 459363 w 3892535"/>
                  <a:gd name="connsiteY2" fmla="*/ 1056279 h 1288550"/>
                  <a:gd name="connsiteX3" fmla="*/ 966682 w 3892535"/>
                  <a:gd name="connsiteY3" fmla="*/ 1280322 h 1288550"/>
                  <a:gd name="connsiteX4" fmla="*/ 1584621 w 3892535"/>
                  <a:gd name="connsiteY4" fmla="*/ 1232549 h 1288550"/>
                  <a:gd name="connsiteX5" fmla="*/ 2069939 w 3892535"/>
                  <a:gd name="connsiteY5" fmla="*/ 1160654 h 1288550"/>
                  <a:gd name="connsiteX6" fmla="*/ 2338605 w 3892535"/>
                  <a:gd name="connsiteY6" fmla="*/ 1285763 h 1288550"/>
                  <a:gd name="connsiteX7" fmla="*/ 2490859 w 3892535"/>
                  <a:gd name="connsiteY7" fmla="*/ 1149282 h 1288550"/>
                  <a:gd name="connsiteX8" fmla="*/ 3360418 w 3892535"/>
                  <a:gd name="connsiteY8" fmla="*/ 1044031 h 1288550"/>
                  <a:gd name="connsiteX9" fmla="*/ 3635487 w 3892535"/>
                  <a:gd name="connsiteY9" fmla="*/ 745777 h 1288550"/>
                  <a:gd name="connsiteX10" fmla="*/ 3883573 w 3892535"/>
                  <a:gd name="connsiteY10" fmla="*/ 445463 h 1288550"/>
                  <a:gd name="connsiteX11" fmla="*/ 3892534 w 3892535"/>
                  <a:gd name="connsiteY11" fmla="*/ 166306 h 1288550"/>
                  <a:gd name="connsiteX12" fmla="*/ 3277257 w 3892535"/>
                  <a:gd name="connsiteY12" fmla="*/ 181656 h 1288550"/>
                  <a:gd name="connsiteX13" fmla="*/ 2790063 w 3892535"/>
                  <a:gd name="connsiteY13" fmla="*/ 281739 h 1288550"/>
                  <a:gd name="connsiteX14" fmla="*/ 2320781 w 3892535"/>
                  <a:gd name="connsiteY14" fmla="*/ 204402 h 1288550"/>
                  <a:gd name="connsiteX15" fmla="*/ 1581038 w 3892535"/>
                  <a:gd name="connsiteY15" fmla="*/ 179379 h 1288550"/>
                  <a:gd name="connsiteX16" fmla="*/ 981000 w 3892535"/>
                  <a:gd name="connsiteY16" fmla="*/ 88394 h 1288550"/>
                  <a:gd name="connsiteX17" fmla="*/ 61263 w 3892535"/>
                  <a:gd name="connsiteY17" fmla="*/ 24870 h 1288550"/>
                  <a:gd name="connsiteX0" fmla="*/ 61263 w 3892533"/>
                  <a:gd name="connsiteY0" fmla="*/ 24870 h 1288550"/>
                  <a:gd name="connsiteX1" fmla="*/ 126754 w 3892533"/>
                  <a:gd name="connsiteY1" fmla="*/ 531425 h 1288550"/>
                  <a:gd name="connsiteX2" fmla="*/ 459363 w 3892533"/>
                  <a:gd name="connsiteY2" fmla="*/ 1056279 h 1288550"/>
                  <a:gd name="connsiteX3" fmla="*/ 966682 w 3892533"/>
                  <a:gd name="connsiteY3" fmla="*/ 1280322 h 1288550"/>
                  <a:gd name="connsiteX4" fmla="*/ 1584621 w 3892533"/>
                  <a:gd name="connsiteY4" fmla="*/ 1232549 h 1288550"/>
                  <a:gd name="connsiteX5" fmla="*/ 2069939 w 3892533"/>
                  <a:gd name="connsiteY5" fmla="*/ 1160654 h 1288550"/>
                  <a:gd name="connsiteX6" fmla="*/ 2338605 w 3892533"/>
                  <a:gd name="connsiteY6" fmla="*/ 1285763 h 1288550"/>
                  <a:gd name="connsiteX7" fmla="*/ 2490859 w 3892533"/>
                  <a:gd name="connsiteY7" fmla="*/ 1149282 h 1288550"/>
                  <a:gd name="connsiteX8" fmla="*/ 2768487 w 3892533"/>
                  <a:gd name="connsiteY8" fmla="*/ 1206147 h 1288550"/>
                  <a:gd name="connsiteX9" fmla="*/ 3360418 w 3892533"/>
                  <a:gd name="connsiteY9" fmla="*/ 1044031 h 1288550"/>
                  <a:gd name="connsiteX10" fmla="*/ 3635487 w 3892533"/>
                  <a:gd name="connsiteY10" fmla="*/ 745777 h 1288550"/>
                  <a:gd name="connsiteX11" fmla="*/ 3883573 w 3892533"/>
                  <a:gd name="connsiteY11" fmla="*/ 445463 h 1288550"/>
                  <a:gd name="connsiteX12" fmla="*/ 3892534 w 3892533"/>
                  <a:gd name="connsiteY12" fmla="*/ 166306 h 1288550"/>
                  <a:gd name="connsiteX13" fmla="*/ 3277257 w 3892533"/>
                  <a:gd name="connsiteY13" fmla="*/ 181656 h 1288550"/>
                  <a:gd name="connsiteX14" fmla="*/ 2790063 w 3892533"/>
                  <a:gd name="connsiteY14" fmla="*/ 281739 h 1288550"/>
                  <a:gd name="connsiteX15" fmla="*/ 2320781 w 3892533"/>
                  <a:gd name="connsiteY15" fmla="*/ 204402 h 1288550"/>
                  <a:gd name="connsiteX16" fmla="*/ 1581038 w 3892533"/>
                  <a:gd name="connsiteY16" fmla="*/ 179379 h 1288550"/>
                  <a:gd name="connsiteX17" fmla="*/ 981000 w 3892533"/>
                  <a:gd name="connsiteY17" fmla="*/ 88394 h 1288550"/>
                  <a:gd name="connsiteX18" fmla="*/ 61263 w 3892533"/>
                  <a:gd name="connsiteY18" fmla="*/ 24870 h 1288550"/>
                  <a:gd name="connsiteX0" fmla="*/ 61263 w 3892535"/>
                  <a:gd name="connsiteY0" fmla="*/ 24870 h 1289751"/>
                  <a:gd name="connsiteX1" fmla="*/ 126754 w 3892535"/>
                  <a:gd name="connsiteY1" fmla="*/ 531425 h 1289751"/>
                  <a:gd name="connsiteX2" fmla="*/ 459363 w 3892535"/>
                  <a:gd name="connsiteY2" fmla="*/ 1056279 h 1289751"/>
                  <a:gd name="connsiteX3" fmla="*/ 966682 w 3892535"/>
                  <a:gd name="connsiteY3" fmla="*/ 1280322 h 1289751"/>
                  <a:gd name="connsiteX4" fmla="*/ 1584621 w 3892535"/>
                  <a:gd name="connsiteY4" fmla="*/ 1232549 h 1289751"/>
                  <a:gd name="connsiteX5" fmla="*/ 1881860 w 3892535"/>
                  <a:gd name="connsiteY5" fmla="*/ 1092415 h 1289751"/>
                  <a:gd name="connsiteX6" fmla="*/ 2069939 w 3892535"/>
                  <a:gd name="connsiteY6" fmla="*/ 1160654 h 1289751"/>
                  <a:gd name="connsiteX7" fmla="*/ 2338605 w 3892535"/>
                  <a:gd name="connsiteY7" fmla="*/ 1285763 h 1289751"/>
                  <a:gd name="connsiteX8" fmla="*/ 2490859 w 3892535"/>
                  <a:gd name="connsiteY8" fmla="*/ 1149282 h 1289751"/>
                  <a:gd name="connsiteX9" fmla="*/ 2768487 w 3892535"/>
                  <a:gd name="connsiteY9" fmla="*/ 1206147 h 1289751"/>
                  <a:gd name="connsiteX10" fmla="*/ 3360418 w 3892535"/>
                  <a:gd name="connsiteY10" fmla="*/ 1044031 h 1289751"/>
                  <a:gd name="connsiteX11" fmla="*/ 3635487 w 3892535"/>
                  <a:gd name="connsiteY11" fmla="*/ 745777 h 1289751"/>
                  <a:gd name="connsiteX12" fmla="*/ 3883573 w 3892535"/>
                  <a:gd name="connsiteY12" fmla="*/ 445463 h 1289751"/>
                  <a:gd name="connsiteX13" fmla="*/ 3892534 w 3892535"/>
                  <a:gd name="connsiteY13" fmla="*/ 166306 h 1289751"/>
                  <a:gd name="connsiteX14" fmla="*/ 3277257 w 3892535"/>
                  <a:gd name="connsiteY14" fmla="*/ 181656 h 1289751"/>
                  <a:gd name="connsiteX15" fmla="*/ 2790063 w 3892535"/>
                  <a:gd name="connsiteY15" fmla="*/ 281739 h 1289751"/>
                  <a:gd name="connsiteX16" fmla="*/ 2320781 w 3892535"/>
                  <a:gd name="connsiteY16" fmla="*/ 204402 h 1289751"/>
                  <a:gd name="connsiteX17" fmla="*/ 1581038 w 3892535"/>
                  <a:gd name="connsiteY17" fmla="*/ 179379 h 1289751"/>
                  <a:gd name="connsiteX18" fmla="*/ 981000 w 3892535"/>
                  <a:gd name="connsiteY18" fmla="*/ 88394 h 1289751"/>
                  <a:gd name="connsiteX19" fmla="*/ 61263 w 3892535"/>
                  <a:gd name="connsiteY19" fmla="*/ 24870 h 1289751"/>
                  <a:gd name="connsiteX0" fmla="*/ 61263 w 3892533"/>
                  <a:gd name="connsiteY0" fmla="*/ 24870 h 1411420"/>
                  <a:gd name="connsiteX1" fmla="*/ 126754 w 3892533"/>
                  <a:gd name="connsiteY1" fmla="*/ 531425 h 1411420"/>
                  <a:gd name="connsiteX2" fmla="*/ 459363 w 3892533"/>
                  <a:gd name="connsiteY2" fmla="*/ 1056279 h 1411420"/>
                  <a:gd name="connsiteX3" fmla="*/ 966682 w 3892533"/>
                  <a:gd name="connsiteY3" fmla="*/ 1280322 h 1411420"/>
                  <a:gd name="connsiteX4" fmla="*/ 1407205 w 3892533"/>
                  <a:gd name="connsiteY4" fmla="*/ 1410866 h 1411420"/>
                  <a:gd name="connsiteX5" fmla="*/ 1584621 w 3892533"/>
                  <a:gd name="connsiteY5" fmla="*/ 1232549 h 1411420"/>
                  <a:gd name="connsiteX6" fmla="*/ 1881860 w 3892533"/>
                  <a:gd name="connsiteY6" fmla="*/ 1092415 h 1411420"/>
                  <a:gd name="connsiteX7" fmla="*/ 2069939 w 3892533"/>
                  <a:gd name="connsiteY7" fmla="*/ 1160654 h 1411420"/>
                  <a:gd name="connsiteX8" fmla="*/ 2338605 w 3892533"/>
                  <a:gd name="connsiteY8" fmla="*/ 1285763 h 1411420"/>
                  <a:gd name="connsiteX9" fmla="*/ 2490859 w 3892533"/>
                  <a:gd name="connsiteY9" fmla="*/ 1149282 h 1411420"/>
                  <a:gd name="connsiteX10" fmla="*/ 2768487 w 3892533"/>
                  <a:gd name="connsiteY10" fmla="*/ 1206147 h 1411420"/>
                  <a:gd name="connsiteX11" fmla="*/ 3360418 w 3892533"/>
                  <a:gd name="connsiteY11" fmla="*/ 1044031 h 1411420"/>
                  <a:gd name="connsiteX12" fmla="*/ 3635487 w 3892533"/>
                  <a:gd name="connsiteY12" fmla="*/ 745777 h 1411420"/>
                  <a:gd name="connsiteX13" fmla="*/ 3883573 w 3892533"/>
                  <a:gd name="connsiteY13" fmla="*/ 445463 h 1411420"/>
                  <a:gd name="connsiteX14" fmla="*/ 3892534 w 3892533"/>
                  <a:gd name="connsiteY14" fmla="*/ 166306 h 1411420"/>
                  <a:gd name="connsiteX15" fmla="*/ 3277257 w 3892533"/>
                  <a:gd name="connsiteY15" fmla="*/ 181656 h 1411420"/>
                  <a:gd name="connsiteX16" fmla="*/ 2790063 w 3892533"/>
                  <a:gd name="connsiteY16" fmla="*/ 281739 h 1411420"/>
                  <a:gd name="connsiteX17" fmla="*/ 2320781 w 3892533"/>
                  <a:gd name="connsiteY17" fmla="*/ 204402 h 1411420"/>
                  <a:gd name="connsiteX18" fmla="*/ 1581038 w 3892533"/>
                  <a:gd name="connsiteY18" fmla="*/ 179379 h 1411420"/>
                  <a:gd name="connsiteX19" fmla="*/ 981000 w 3892533"/>
                  <a:gd name="connsiteY19" fmla="*/ 88394 h 1411420"/>
                  <a:gd name="connsiteX20" fmla="*/ 61263 w 3892533"/>
                  <a:gd name="connsiteY20" fmla="*/ 24870 h 1411420"/>
                  <a:gd name="connsiteX0" fmla="*/ 61263 w 3892534"/>
                  <a:gd name="connsiteY0" fmla="*/ 24870 h 1411420"/>
                  <a:gd name="connsiteX1" fmla="*/ 126754 w 3892534"/>
                  <a:gd name="connsiteY1" fmla="*/ 531425 h 1411420"/>
                  <a:gd name="connsiteX2" fmla="*/ 459363 w 3892534"/>
                  <a:gd name="connsiteY2" fmla="*/ 1056279 h 1411420"/>
                  <a:gd name="connsiteX3" fmla="*/ 966682 w 3892534"/>
                  <a:gd name="connsiteY3" fmla="*/ 1280322 h 1411420"/>
                  <a:gd name="connsiteX4" fmla="*/ 1407205 w 3892534"/>
                  <a:gd name="connsiteY4" fmla="*/ 1410866 h 1411420"/>
                  <a:gd name="connsiteX5" fmla="*/ 1584621 w 3892534"/>
                  <a:gd name="connsiteY5" fmla="*/ 1232549 h 1411420"/>
                  <a:gd name="connsiteX6" fmla="*/ 1881860 w 3892534"/>
                  <a:gd name="connsiteY6" fmla="*/ 1092415 h 1411420"/>
                  <a:gd name="connsiteX7" fmla="*/ 2069939 w 3892534"/>
                  <a:gd name="connsiteY7" fmla="*/ 1160654 h 1411420"/>
                  <a:gd name="connsiteX8" fmla="*/ 2338605 w 3892534"/>
                  <a:gd name="connsiteY8" fmla="*/ 1285763 h 1411420"/>
                  <a:gd name="connsiteX9" fmla="*/ 2490859 w 3892534"/>
                  <a:gd name="connsiteY9" fmla="*/ 1149282 h 1411420"/>
                  <a:gd name="connsiteX10" fmla="*/ 2768487 w 3892534"/>
                  <a:gd name="connsiteY10" fmla="*/ 1206147 h 1411420"/>
                  <a:gd name="connsiteX11" fmla="*/ 3360418 w 3892534"/>
                  <a:gd name="connsiteY11" fmla="*/ 1044031 h 1411420"/>
                  <a:gd name="connsiteX12" fmla="*/ 3635487 w 3892534"/>
                  <a:gd name="connsiteY12" fmla="*/ 745777 h 1411420"/>
                  <a:gd name="connsiteX13" fmla="*/ 3892534 w 3892534"/>
                  <a:gd name="connsiteY13" fmla="*/ 166306 h 1411420"/>
                  <a:gd name="connsiteX14" fmla="*/ 3277257 w 3892534"/>
                  <a:gd name="connsiteY14" fmla="*/ 181656 h 1411420"/>
                  <a:gd name="connsiteX15" fmla="*/ 2790063 w 3892534"/>
                  <a:gd name="connsiteY15" fmla="*/ 281739 h 1411420"/>
                  <a:gd name="connsiteX16" fmla="*/ 2320781 w 3892534"/>
                  <a:gd name="connsiteY16" fmla="*/ 204402 h 1411420"/>
                  <a:gd name="connsiteX17" fmla="*/ 1581038 w 3892534"/>
                  <a:gd name="connsiteY17" fmla="*/ 179379 h 1411420"/>
                  <a:gd name="connsiteX18" fmla="*/ 981000 w 3892534"/>
                  <a:gd name="connsiteY18" fmla="*/ 88394 h 1411420"/>
                  <a:gd name="connsiteX19" fmla="*/ 61263 w 3892534"/>
                  <a:gd name="connsiteY19" fmla="*/ 24870 h 1411420"/>
                  <a:gd name="connsiteX0" fmla="*/ 61263 w 3635487"/>
                  <a:gd name="connsiteY0" fmla="*/ 24870 h 1411420"/>
                  <a:gd name="connsiteX1" fmla="*/ 126754 w 3635487"/>
                  <a:gd name="connsiteY1" fmla="*/ 531425 h 1411420"/>
                  <a:gd name="connsiteX2" fmla="*/ 459363 w 3635487"/>
                  <a:gd name="connsiteY2" fmla="*/ 1056279 h 1411420"/>
                  <a:gd name="connsiteX3" fmla="*/ 966682 w 3635487"/>
                  <a:gd name="connsiteY3" fmla="*/ 1280322 h 1411420"/>
                  <a:gd name="connsiteX4" fmla="*/ 1407205 w 3635487"/>
                  <a:gd name="connsiteY4" fmla="*/ 1410866 h 1411420"/>
                  <a:gd name="connsiteX5" fmla="*/ 1584621 w 3635487"/>
                  <a:gd name="connsiteY5" fmla="*/ 1232549 h 1411420"/>
                  <a:gd name="connsiteX6" fmla="*/ 1881860 w 3635487"/>
                  <a:gd name="connsiteY6" fmla="*/ 1092415 h 1411420"/>
                  <a:gd name="connsiteX7" fmla="*/ 2069939 w 3635487"/>
                  <a:gd name="connsiteY7" fmla="*/ 1160654 h 1411420"/>
                  <a:gd name="connsiteX8" fmla="*/ 2338605 w 3635487"/>
                  <a:gd name="connsiteY8" fmla="*/ 1285763 h 1411420"/>
                  <a:gd name="connsiteX9" fmla="*/ 2490859 w 3635487"/>
                  <a:gd name="connsiteY9" fmla="*/ 1149282 h 1411420"/>
                  <a:gd name="connsiteX10" fmla="*/ 2768487 w 3635487"/>
                  <a:gd name="connsiteY10" fmla="*/ 1206147 h 1411420"/>
                  <a:gd name="connsiteX11" fmla="*/ 3360418 w 3635487"/>
                  <a:gd name="connsiteY11" fmla="*/ 1044031 h 1411420"/>
                  <a:gd name="connsiteX12" fmla="*/ 3635487 w 3635487"/>
                  <a:gd name="connsiteY12" fmla="*/ 745777 h 1411420"/>
                  <a:gd name="connsiteX13" fmla="*/ 3585596 w 3635487"/>
                  <a:gd name="connsiteY13" fmla="*/ 222686 h 1411420"/>
                  <a:gd name="connsiteX14" fmla="*/ 3277257 w 3635487"/>
                  <a:gd name="connsiteY14" fmla="*/ 181656 h 1411420"/>
                  <a:gd name="connsiteX15" fmla="*/ 2790063 w 3635487"/>
                  <a:gd name="connsiteY15" fmla="*/ 281739 h 1411420"/>
                  <a:gd name="connsiteX16" fmla="*/ 2320781 w 3635487"/>
                  <a:gd name="connsiteY16" fmla="*/ 204402 h 1411420"/>
                  <a:gd name="connsiteX17" fmla="*/ 1581038 w 3635487"/>
                  <a:gd name="connsiteY17" fmla="*/ 179379 h 1411420"/>
                  <a:gd name="connsiteX18" fmla="*/ 981000 w 3635487"/>
                  <a:gd name="connsiteY18" fmla="*/ 88394 h 1411420"/>
                  <a:gd name="connsiteX19" fmla="*/ 61263 w 3635487"/>
                  <a:gd name="connsiteY19" fmla="*/ 24870 h 1411420"/>
                  <a:gd name="connsiteX0" fmla="*/ 94360 w 3556971"/>
                  <a:gd name="connsiteY0" fmla="*/ 63653 h 1326168"/>
                  <a:gd name="connsiteX1" fmla="*/ 48238 w 3556971"/>
                  <a:gd name="connsiteY1" fmla="*/ 446173 h 1326168"/>
                  <a:gd name="connsiteX2" fmla="*/ 380847 w 3556971"/>
                  <a:gd name="connsiteY2" fmla="*/ 971027 h 1326168"/>
                  <a:gd name="connsiteX3" fmla="*/ 888166 w 3556971"/>
                  <a:gd name="connsiteY3" fmla="*/ 1195070 h 1326168"/>
                  <a:gd name="connsiteX4" fmla="*/ 1328689 w 3556971"/>
                  <a:gd name="connsiteY4" fmla="*/ 1325614 h 1326168"/>
                  <a:gd name="connsiteX5" fmla="*/ 1506105 w 3556971"/>
                  <a:gd name="connsiteY5" fmla="*/ 1147297 h 1326168"/>
                  <a:gd name="connsiteX6" fmla="*/ 1803344 w 3556971"/>
                  <a:gd name="connsiteY6" fmla="*/ 1007163 h 1326168"/>
                  <a:gd name="connsiteX7" fmla="*/ 1991423 w 3556971"/>
                  <a:gd name="connsiteY7" fmla="*/ 1075402 h 1326168"/>
                  <a:gd name="connsiteX8" fmla="*/ 2260089 w 3556971"/>
                  <a:gd name="connsiteY8" fmla="*/ 1200511 h 1326168"/>
                  <a:gd name="connsiteX9" fmla="*/ 2412343 w 3556971"/>
                  <a:gd name="connsiteY9" fmla="*/ 1064030 h 1326168"/>
                  <a:gd name="connsiteX10" fmla="*/ 2689971 w 3556971"/>
                  <a:gd name="connsiteY10" fmla="*/ 1120895 h 1326168"/>
                  <a:gd name="connsiteX11" fmla="*/ 3281902 w 3556971"/>
                  <a:gd name="connsiteY11" fmla="*/ 958779 h 1326168"/>
                  <a:gd name="connsiteX12" fmla="*/ 3556971 w 3556971"/>
                  <a:gd name="connsiteY12" fmla="*/ 660525 h 1326168"/>
                  <a:gd name="connsiteX13" fmla="*/ 3507080 w 3556971"/>
                  <a:gd name="connsiteY13" fmla="*/ 137434 h 1326168"/>
                  <a:gd name="connsiteX14" fmla="*/ 3198741 w 3556971"/>
                  <a:gd name="connsiteY14" fmla="*/ 96404 h 1326168"/>
                  <a:gd name="connsiteX15" fmla="*/ 2711547 w 3556971"/>
                  <a:gd name="connsiteY15" fmla="*/ 196487 h 1326168"/>
                  <a:gd name="connsiteX16" fmla="*/ 2242265 w 3556971"/>
                  <a:gd name="connsiteY16" fmla="*/ 119150 h 1326168"/>
                  <a:gd name="connsiteX17" fmla="*/ 1502522 w 3556971"/>
                  <a:gd name="connsiteY17" fmla="*/ 94127 h 1326168"/>
                  <a:gd name="connsiteX18" fmla="*/ 902484 w 3556971"/>
                  <a:gd name="connsiteY18" fmla="*/ 3142 h 1326168"/>
                  <a:gd name="connsiteX19" fmla="*/ 94360 w 3556971"/>
                  <a:gd name="connsiteY19" fmla="*/ 63653 h 1326168"/>
                  <a:gd name="connsiteX0" fmla="*/ 57946 w 3520557"/>
                  <a:gd name="connsiteY0" fmla="*/ 61876 h 1324391"/>
                  <a:gd name="connsiteX1" fmla="*/ 95534 w 3520557"/>
                  <a:gd name="connsiteY1" fmla="*/ 354189 h 1324391"/>
                  <a:gd name="connsiteX2" fmla="*/ 344433 w 3520557"/>
                  <a:gd name="connsiteY2" fmla="*/ 969250 h 1324391"/>
                  <a:gd name="connsiteX3" fmla="*/ 851752 w 3520557"/>
                  <a:gd name="connsiteY3" fmla="*/ 1193293 h 1324391"/>
                  <a:gd name="connsiteX4" fmla="*/ 1292275 w 3520557"/>
                  <a:gd name="connsiteY4" fmla="*/ 1323837 h 1324391"/>
                  <a:gd name="connsiteX5" fmla="*/ 1469691 w 3520557"/>
                  <a:gd name="connsiteY5" fmla="*/ 1145520 h 1324391"/>
                  <a:gd name="connsiteX6" fmla="*/ 1766930 w 3520557"/>
                  <a:gd name="connsiteY6" fmla="*/ 1005386 h 1324391"/>
                  <a:gd name="connsiteX7" fmla="*/ 1955009 w 3520557"/>
                  <a:gd name="connsiteY7" fmla="*/ 1073625 h 1324391"/>
                  <a:gd name="connsiteX8" fmla="*/ 2223675 w 3520557"/>
                  <a:gd name="connsiteY8" fmla="*/ 1198734 h 1324391"/>
                  <a:gd name="connsiteX9" fmla="*/ 2375929 w 3520557"/>
                  <a:gd name="connsiteY9" fmla="*/ 1062253 h 1324391"/>
                  <a:gd name="connsiteX10" fmla="*/ 2653557 w 3520557"/>
                  <a:gd name="connsiteY10" fmla="*/ 1119118 h 1324391"/>
                  <a:gd name="connsiteX11" fmla="*/ 3245488 w 3520557"/>
                  <a:gd name="connsiteY11" fmla="*/ 957002 h 1324391"/>
                  <a:gd name="connsiteX12" fmla="*/ 3520557 w 3520557"/>
                  <a:gd name="connsiteY12" fmla="*/ 658748 h 1324391"/>
                  <a:gd name="connsiteX13" fmla="*/ 3470666 w 3520557"/>
                  <a:gd name="connsiteY13" fmla="*/ 135657 h 1324391"/>
                  <a:gd name="connsiteX14" fmla="*/ 3162327 w 3520557"/>
                  <a:gd name="connsiteY14" fmla="*/ 94627 h 1324391"/>
                  <a:gd name="connsiteX15" fmla="*/ 2675133 w 3520557"/>
                  <a:gd name="connsiteY15" fmla="*/ 194710 h 1324391"/>
                  <a:gd name="connsiteX16" fmla="*/ 2205851 w 3520557"/>
                  <a:gd name="connsiteY16" fmla="*/ 117373 h 1324391"/>
                  <a:gd name="connsiteX17" fmla="*/ 1466108 w 3520557"/>
                  <a:gd name="connsiteY17" fmla="*/ 92350 h 1324391"/>
                  <a:gd name="connsiteX18" fmla="*/ 866070 w 3520557"/>
                  <a:gd name="connsiteY18" fmla="*/ 1365 h 1324391"/>
                  <a:gd name="connsiteX19" fmla="*/ 57946 w 3520557"/>
                  <a:gd name="connsiteY19" fmla="*/ 61876 h 1324391"/>
                  <a:gd name="connsiteX0" fmla="*/ 119984 w 3436101"/>
                  <a:gd name="connsiteY0" fmla="*/ 39450 h 1335792"/>
                  <a:gd name="connsiteX1" fmla="*/ 11078 w 3436101"/>
                  <a:gd name="connsiteY1" fmla="*/ 365590 h 1335792"/>
                  <a:gd name="connsiteX2" fmla="*/ 259977 w 3436101"/>
                  <a:gd name="connsiteY2" fmla="*/ 980651 h 1335792"/>
                  <a:gd name="connsiteX3" fmla="*/ 767296 w 3436101"/>
                  <a:gd name="connsiteY3" fmla="*/ 1204694 h 1335792"/>
                  <a:gd name="connsiteX4" fmla="*/ 1207819 w 3436101"/>
                  <a:gd name="connsiteY4" fmla="*/ 1335238 h 1335792"/>
                  <a:gd name="connsiteX5" fmla="*/ 1385235 w 3436101"/>
                  <a:gd name="connsiteY5" fmla="*/ 1156921 h 1335792"/>
                  <a:gd name="connsiteX6" fmla="*/ 1682474 w 3436101"/>
                  <a:gd name="connsiteY6" fmla="*/ 1016787 h 1335792"/>
                  <a:gd name="connsiteX7" fmla="*/ 1870553 w 3436101"/>
                  <a:gd name="connsiteY7" fmla="*/ 1085026 h 1335792"/>
                  <a:gd name="connsiteX8" fmla="*/ 2139219 w 3436101"/>
                  <a:gd name="connsiteY8" fmla="*/ 1210135 h 1335792"/>
                  <a:gd name="connsiteX9" fmla="*/ 2291473 w 3436101"/>
                  <a:gd name="connsiteY9" fmla="*/ 1073654 h 1335792"/>
                  <a:gd name="connsiteX10" fmla="*/ 2569101 w 3436101"/>
                  <a:gd name="connsiteY10" fmla="*/ 1130519 h 1335792"/>
                  <a:gd name="connsiteX11" fmla="*/ 3161032 w 3436101"/>
                  <a:gd name="connsiteY11" fmla="*/ 968403 h 1335792"/>
                  <a:gd name="connsiteX12" fmla="*/ 3436101 w 3436101"/>
                  <a:gd name="connsiteY12" fmla="*/ 670149 h 1335792"/>
                  <a:gd name="connsiteX13" fmla="*/ 3386210 w 3436101"/>
                  <a:gd name="connsiteY13" fmla="*/ 147058 h 1335792"/>
                  <a:gd name="connsiteX14" fmla="*/ 3077871 w 3436101"/>
                  <a:gd name="connsiteY14" fmla="*/ 106028 h 1335792"/>
                  <a:gd name="connsiteX15" fmla="*/ 2590677 w 3436101"/>
                  <a:gd name="connsiteY15" fmla="*/ 206111 h 1335792"/>
                  <a:gd name="connsiteX16" fmla="*/ 2121395 w 3436101"/>
                  <a:gd name="connsiteY16" fmla="*/ 128774 h 1335792"/>
                  <a:gd name="connsiteX17" fmla="*/ 1381652 w 3436101"/>
                  <a:gd name="connsiteY17" fmla="*/ 103751 h 1335792"/>
                  <a:gd name="connsiteX18" fmla="*/ 781614 w 3436101"/>
                  <a:gd name="connsiteY18" fmla="*/ 12766 h 1335792"/>
                  <a:gd name="connsiteX19" fmla="*/ 119984 w 3436101"/>
                  <a:gd name="connsiteY19" fmla="*/ 39450 h 1335792"/>
                  <a:gd name="connsiteX0" fmla="*/ 119984 w 3436101"/>
                  <a:gd name="connsiteY0" fmla="*/ 39450 h 1335792"/>
                  <a:gd name="connsiteX1" fmla="*/ 11078 w 3436101"/>
                  <a:gd name="connsiteY1" fmla="*/ 365590 h 1335792"/>
                  <a:gd name="connsiteX2" fmla="*/ 259977 w 3436101"/>
                  <a:gd name="connsiteY2" fmla="*/ 980651 h 1335792"/>
                  <a:gd name="connsiteX3" fmla="*/ 767296 w 3436101"/>
                  <a:gd name="connsiteY3" fmla="*/ 1204694 h 1335792"/>
                  <a:gd name="connsiteX4" fmla="*/ 1207819 w 3436101"/>
                  <a:gd name="connsiteY4" fmla="*/ 1335238 h 1335792"/>
                  <a:gd name="connsiteX5" fmla="*/ 1385235 w 3436101"/>
                  <a:gd name="connsiteY5" fmla="*/ 1156921 h 1335792"/>
                  <a:gd name="connsiteX6" fmla="*/ 1682474 w 3436101"/>
                  <a:gd name="connsiteY6" fmla="*/ 1016787 h 1335792"/>
                  <a:gd name="connsiteX7" fmla="*/ 1870553 w 3436101"/>
                  <a:gd name="connsiteY7" fmla="*/ 1085026 h 1335792"/>
                  <a:gd name="connsiteX8" fmla="*/ 2139219 w 3436101"/>
                  <a:gd name="connsiteY8" fmla="*/ 1210135 h 1335792"/>
                  <a:gd name="connsiteX9" fmla="*/ 2291473 w 3436101"/>
                  <a:gd name="connsiteY9" fmla="*/ 1073654 h 1335792"/>
                  <a:gd name="connsiteX10" fmla="*/ 2569101 w 3436101"/>
                  <a:gd name="connsiteY10" fmla="*/ 1130519 h 1335792"/>
                  <a:gd name="connsiteX11" fmla="*/ 3436101 w 3436101"/>
                  <a:gd name="connsiteY11" fmla="*/ 670149 h 1335792"/>
                  <a:gd name="connsiteX12" fmla="*/ 3386210 w 3436101"/>
                  <a:gd name="connsiteY12" fmla="*/ 147058 h 1335792"/>
                  <a:gd name="connsiteX13" fmla="*/ 3077871 w 3436101"/>
                  <a:gd name="connsiteY13" fmla="*/ 106028 h 1335792"/>
                  <a:gd name="connsiteX14" fmla="*/ 2590677 w 3436101"/>
                  <a:gd name="connsiteY14" fmla="*/ 206111 h 1335792"/>
                  <a:gd name="connsiteX15" fmla="*/ 2121395 w 3436101"/>
                  <a:gd name="connsiteY15" fmla="*/ 128774 h 1335792"/>
                  <a:gd name="connsiteX16" fmla="*/ 1381652 w 3436101"/>
                  <a:gd name="connsiteY16" fmla="*/ 103751 h 1335792"/>
                  <a:gd name="connsiteX17" fmla="*/ 781614 w 3436101"/>
                  <a:gd name="connsiteY17" fmla="*/ 12766 h 1335792"/>
                  <a:gd name="connsiteX18" fmla="*/ 119984 w 3436101"/>
                  <a:gd name="connsiteY18" fmla="*/ 39450 h 1335792"/>
                  <a:gd name="connsiteX0" fmla="*/ 119984 w 3421700"/>
                  <a:gd name="connsiteY0" fmla="*/ 39450 h 1335792"/>
                  <a:gd name="connsiteX1" fmla="*/ 11078 w 3421700"/>
                  <a:gd name="connsiteY1" fmla="*/ 365590 h 1335792"/>
                  <a:gd name="connsiteX2" fmla="*/ 259977 w 3421700"/>
                  <a:gd name="connsiteY2" fmla="*/ 980651 h 1335792"/>
                  <a:gd name="connsiteX3" fmla="*/ 767296 w 3421700"/>
                  <a:gd name="connsiteY3" fmla="*/ 1204694 h 1335792"/>
                  <a:gd name="connsiteX4" fmla="*/ 1207819 w 3421700"/>
                  <a:gd name="connsiteY4" fmla="*/ 1335238 h 1335792"/>
                  <a:gd name="connsiteX5" fmla="*/ 1385235 w 3421700"/>
                  <a:gd name="connsiteY5" fmla="*/ 1156921 h 1335792"/>
                  <a:gd name="connsiteX6" fmla="*/ 1682474 w 3421700"/>
                  <a:gd name="connsiteY6" fmla="*/ 1016787 h 1335792"/>
                  <a:gd name="connsiteX7" fmla="*/ 1870553 w 3421700"/>
                  <a:gd name="connsiteY7" fmla="*/ 1085026 h 1335792"/>
                  <a:gd name="connsiteX8" fmla="*/ 2139219 w 3421700"/>
                  <a:gd name="connsiteY8" fmla="*/ 1210135 h 1335792"/>
                  <a:gd name="connsiteX9" fmla="*/ 2291473 w 3421700"/>
                  <a:gd name="connsiteY9" fmla="*/ 1073654 h 1335792"/>
                  <a:gd name="connsiteX10" fmla="*/ 2569101 w 3421700"/>
                  <a:gd name="connsiteY10" fmla="*/ 1130519 h 1335792"/>
                  <a:gd name="connsiteX11" fmla="*/ 3386210 w 3421700"/>
                  <a:gd name="connsiteY11" fmla="*/ 147058 h 1335792"/>
                  <a:gd name="connsiteX12" fmla="*/ 3077871 w 3421700"/>
                  <a:gd name="connsiteY12" fmla="*/ 106028 h 1335792"/>
                  <a:gd name="connsiteX13" fmla="*/ 2590677 w 3421700"/>
                  <a:gd name="connsiteY13" fmla="*/ 206111 h 1335792"/>
                  <a:gd name="connsiteX14" fmla="*/ 2121395 w 3421700"/>
                  <a:gd name="connsiteY14" fmla="*/ 128774 h 1335792"/>
                  <a:gd name="connsiteX15" fmla="*/ 1381652 w 3421700"/>
                  <a:gd name="connsiteY15" fmla="*/ 103751 h 1335792"/>
                  <a:gd name="connsiteX16" fmla="*/ 781614 w 3421700"/>
                  <a:gd name="connsiteY16" fmla="*/ 12766 h 1335792"/>
                  <a:gd name="connsiteX17" fmla="*/ 119984 w 3421700"/>
                  <a:gd name="connsiteY17" fmla="*/ 39450 h 1335792"/>
                  <a:gd name="connsiteX0" fmla="*/ 119984 w 3077872"/>
                  <a:gd name="connsiteY0" fmla="*/ 39450 h 1335792"/>
                  <a:gd name="connsiteX1" fmla="*/ 11078 w 3077872"/>
                  <a:gd name="connsiteY1" fmla="*/ 365590 h 1335792"/>
                  <a:gd name="connsiteX2" fmla="*/ 259977 w 3077872"/>
                  <a:gd name="connsiteY2" fmla="*/ 980651 h 1335792"/>
                  <a:gd name="connsiteX3" fmla="*/ 767296 w 3077872"/>
                  <a:gd name="connsiteY3" fmla="*/ 1204694 h 1335792"/>
                  <a:gd name="connsiteX4" fmla="*/ 1207819 w 3077872"/>
                  <a:gd name="connsiteY4" fmla="*/ 1335238 h 1335792"/>
                  <a:gd name="connsiteX5" fmla="*/ 1385235 w 3077872"/>
                  <a:gd name="connsiteY5" fmla="*/ 1156921 h 1335792"/>
                  <a:gd name="connsiteX6" fmla="*/ 1682474 w 3077872"/>
                  <a:gd name="connsiteY6" fmla="*/ 1016787 h 1335792"/>
                  <a:gd name="connsiteX7" fmla="*/ 1870553 w 3077872"/>
                  <a:gd name="connsiteY7" fmla="*/ 1085026 h 1335792"/>
                  <a:gd name="connsiteX8" fmla="*/ 2139219 w 3077872"/>
                  <a:gd name="connsiteY8" fmla="*/ 1210135 h 1335792"/>
                  <a:gd name="connsiteX9" fmla="*/ 2291473 w 3077872"/>
                  <a:gd name="connsiteY9" fmla="*/ 1073654 h 1335792"/>
                  <a:gd name="connsiteX10" fmla="*/ 2569101 w 3077872"/>
                  <a:gd name="connsiteY10" fmla="*/ 1130519 h 1335792"/>
                  <a:gd name="connsiteX11" fmla="*/ 3077871 w 3077872"/>
                  <a:gd name="connsiteY11" fmla="*/ 106028 h 1335792"/>
                  <a:gd name="connsiteX12" fmla="*/ 2590677 w 3077872"/>
                  <a:gd name="connsiteY12" fmla="*/ 206111 h 1335792"/>
                  <a:gd name="connsiteX13" fmla="*/ 2121395 w 3077872"/>
                  <a:gd name="connsiteY13" fmla="*/ 128774 h 1335792"/>
                  <a:gd name="connsiteX14" fmla="*/ 1381652 w 3077872"/>
                  <a:gd name="connsiteY14" fmla="*/ 103751 h 1335792"/>
                  <a:gd name="connsiteX15" fmla="*/ 781614 w 3077872"/>
                  <a:gd name="connsiteY15" fmla="*/ 12766 h 1335792"/>
                  <a:gd name="connsiteX16" fmla="*/ 119984 w 3077872"/>
                  <a:gd name="connsiteY16" fmla="*/ 39450 h 1335792"/>
                  <a:gd name="connsiteX0" fmla="*/ 119984 w 2629790"/>
                  <a:gd name="connsiteY0" fmla="*/ 39450 h 1335792"/>
                  <a:gd name="connsiteX1" fmla="*/ 11078 w 2629790"/>
                  <a:gd name="connsiteY1" fmla="*/ 365590 h 1335792"/>
                  <a:gd name="connsiteX2" fmla="*/ 259977 w 2629790"/>
                  <a:gd name="connsiteY2" fmla="*/ 980651 h 1335792"/>
                  <a:gd name="connsiteX3" fmla="*/ 767296 w 2629790"/>
                  <a:gd name="connsiteY3" fmla="*/ 1204694 h 1335792"/>
                  <a:gd name="connsiteX4" fmla="*/ 1207819 w 2629790"/>
                  <a:gd name="connsiteY4" fmla="*/ 1335238 h 1335792"/>
                  <a:gd name="connsiteX5" fmla="*/ 1385235 w 2629790"/>
                  <a:gd name="connsiteY5" fmla="*/ 1156921 h 1335792"/>
                  <a:gd name="connsiteX6" fmla="*/ 1682474 w 2629790"/>
                  <a:gd name="connsiteY6" fmla="*/ 1016787 h 1335792"/>
                  <a:gd name="connsiteX7" fmla="*/ 1870553 w 2629790"/>
                  <a:gd name="connsiteY7" fmla="*/ 1085026 h 1335792"/>
                  <a:gd name="connsiteX8" fmla="*/ 2139219 w 2629790"/>
                  <a:gd name="connsiteY8" fmla="*/ 1210135 h 1335792"/>
                  <a:gd name="connsiteX9" fmla="*/ 2291473 w 2629790"/>
                  <a:gd name="connsiteY9" fmla="*/ 1073654 h 1335792"/>
                  <a:gd name="connsiteX10" fmla="*/ 2569101 w 2629790"/>
                  <a:gd name="connsiteY10" fmla="*/ 1130519 h 1335792"/>
                  <a:gd name="connsiteX11" fmla="*/ 2590677 w 2629790"/>
                  <a:gd name="connsiteY11" fmla="*/ 206111 h 1335792"/>
                  <a:gd name="connsiteX12" fmla="*/ 2121395 w 2629790"/>
                  <a:gd name="connsiteY12" fmla="*/ 128774 h 1335792"/>
                  <a:gd name="connsiteX13" fmla="*/ 1381652 w 2629790"/>
                  <a:gd name="connsiteY13" fmla="*/ 103751 h 1335792"/>
                  <a:gd name="connsiteX14" fmla="*/ 781614 w 2629790"/>
                  <a:gd name="connsiteY14" fmla="*/ 12766 h 1335792"/>
                  <a:gd name="connsiteX15" fmla="*/ 119984 w 2629790"/>
                  <a:gd name="connsiteY15" fmla="*/ 39450 h 1335792"/>
                  <a:gd name="connsiteX0" fmla="*/ 119984 w 2629790"/>
                  <a:gd name="connsiteY0" fmla="*/ 39450 h 1352354"/>
                  <a:gd name="connsiteX1" fmla="*/ 11078 w 2629790"/>
                  <a:gd name="connsiteY1" fmla="*/ 365590 h 1352354"/>
                  <a:gd name="connsiteX2" fmla="*/ 259977 w 2629790"/>
                  <a:gd name="connsiteY2" fmla="*/ 980651 h 1352354"/>
                  <a:gd name="connsiteX3" fmla="*/ 785740 w 2629790"/>
                  <a:gd name="connsiteY3" fmla="*/ 697773 h 1352354"/>
                  <a:gd name="connsiteX4" fmla="*/ 1207819 w 2629790"/>
                  <a:gd name="connsiteY4" fmla="*/ 1335238 h 1352354"/>
                  <a:gd name="connsiteX5" fmla="*/ 1385235 w 2629790"/>
                  <a:gd name="connsiteY5" fmla="*/ 1156921 h 1352354"/>
                  <a:gd name="connsiteX6" fmla="*/ 1682474 w 2629790"/>
                  <a:gd name="connsiteY6" fmla="*/ 1016787 h 1352354"/>
                  <a:gd name="connsiteX7" fmla="*/ 1870553 w 2629790"/>
                  <a:gd name="connsiteY7" fmla="*/ 1085026 h 1352354"/>
                  <a:gd name="connsiteX8" fmla="*/ 2139219 w 2629790"/>
                  <a:gd name="connsiteY8" fmla="*/ 1210135 h 1352354"/>
                  <a:gd name="connsiteX9" fmla="*/ 2291473 w 2629790"/>
                  <a:gd name="connsiteY9" fmla="*/ 1073654 h 1352354"/>
                  <a:gd name="connsiteX10" fmla="*/ 2569101 w 2629790"/>
                  <a:gd name="connsiteY10" fmla="*/ 1130519 h 1352354"/>
                  <a:gd name="connsiteX11" fmla="*/ 2590677 w 2629790"/>
                  <a:gd name="connsiteY11" fmla="*/ 206111 h 1352354"/>
                  <a:gd name="connsiteX12" fmla="*/ 2121395 w 2629790"/>
                  <a:gd name="connsiteY12" fmla="*/ 128774 h 1352354"/>
                  <a:gd name="connsiteX13" fmla="*/ 1381652 w 2629790"/>
                  <a:gd name="connsiteY13" fmla="*/ 103751 h 1352354"/>
                  <a:gd name="connsiteX14" fmla="*/ 781614 w 2629790"/>
                  <a:gd name="connsiteY14" fmla="*/ 12766 h 1352354"/>
                  <a:gd name="connsiteX15" fmla="*/ 119984 w 2629790"/>
                  <a:gd name="connsiteY15" fmla="*/ 39450 h 1352354"/>
                  <a:gd name="connsiteX0" fmla="*/ 30419 w 2540225"/>
                  <a:gd name="connsiteY0" fmla="*/ 39450 h 1352354"/>
                  <a:gd name="connsiteX1" fmla="*/ 170412 w 2540225"/>
                  <a:gd name="connsiteY1" fmla="*/ 980651 h 1352354"/>
                  <a:gd name="connsiteX2" fmla="*/ 696175 w 2540225"/>
                  <a:gd name="connsiteY2" fmla="*/ 697773 h 1352354"/>
                  <a:gd name="connsiteX3" fmla="*/ 1118254 w 2540225"/>
                  <a:gd name="connsiteY3" fmla="*/ 1335238 h 1352354"/>
                  <a:gd name="connsiteX4" fmla="*/ 1295670 w 2540225"/>
                  <a:gd name="connsiteY4" fmla="*/ 1156921 h 1352354"/>
                  <a:gd name="connsiteX5" fmla="*/ 1592909 w 2540225"/>
                  <a:gd name="connsiteY5" fmla="*/ 1016787 h 1352354"/>
                  <a:gd name="connsiteX6" fmla="*/ 1780988 w 2540225"/>
                  <a:gd name="connsiteY6" fmla="*/ 1085026 h 1352354"/>
                  <a:gd name="connsiteX7" fmla="*/ 2049654 w 2540225"/>
                  <a:gd name="connsiteY7" fmla="*/ 1210135 h 1352354"/>
                  <a:gd name="connsiteX8" fmla="*/ 2201908 w 2540225"/>
                  <a:gd name="connsiteY8" fmla="*/ 1073654 h 1352354"/>
                  <a:gd name="connsiteX9" fmla="*/ 2479536 w 2540225"/>
                  <a:gd name="connsiteY9" fmla="*/ 1130519 h 1352354"/>
                  <a:gd name="connsiteX10" fmla="*/ 2501112 w 2540225"/>
                  <a:gd name="connsiteY10" fmla="*/ 206111 h 1352354"/>
                  <a:gd name="connsiteX11" fmla="*/ 2031830 w 2540225"/>
                  <a:gd name="connsiteY11" fmla="*/ 128774 h 1352354"/>
                  <a:gd name="connsiteX12" fmla="*/ 1292087 w 2540225"/>
                  <a:gd name="connsiteY12" fmla="*/ 103751 h 1352354"/>
                  <a:gd name="connsiteX13" fmla="*/ 692049 w 2540225"/>
                  <a:gd name="connsiteY13" fmla="*/ 12766 h 1352354"/>
                  <a:gd name="connsiteX14" fmla="*/ 30419 w 2540225"/>
                  <a:gd name="connsiteY14" fmla="*/ 39450 h 1352354"/>
                  <a:gd name="connsiteX0" fmla="*/ 521639 w 2369815"/>
                  <a:gd name="connsiteY0" fmla="*/ 50160 h 1389748"/>
                  <a:gd name="connsiteX1" fmla="*/ 2 w 2369815"/>
                  <a:gd name="connsiteY1" fmla="*/ 1018045 h 1389748"/>
                  <a:gd name="connsiteX2" fmla="*/ 525765 w 2369815"/>
                  <a:gd name="connsiteY2" fmla="*/ 735167 h 1389748"/>
                  <a:gd name="connsiteX3" fmla="*/ 947844 w 2369815"/>
                  <a:gd name="connsiteY3" fmla="*/ 1372632 h 1389748"/>
                  <a:gd name="connsiteX4" fmla="*/ 1125260 w 2369815"/>
                  <a:gd name="connsiteY4" fmla="*/ 1194315 h 1389748"/>
                  <a:gd name="connsiteX5" fmla="*/ 1422499 w 2369815"/>
                  <a:gd name="connsiteY5" fmla="*/ 1054181 h 1389748"/>
                  <a:gd name="connsiteX6" fmla="*/ 1610578 w 2369815"/>
                  <a:gd name="connsiteY6" fmla="*/ 1122420 h 1389748"/>
                  <a:gd name="connsiteX7" fmla="*/ 1879244 w 2369815"/>
                  <a:gd name="connsiteY7" fmla="*/ 1247529 h 1389748"/>
                  <a:gd name="connsiteX8" fmla="*/ 2031498 w 2369815"/>
                  <a:gd name="connsiteY8" fmla="*/ 1111048 h 1389748"/>
                  <a:gd name="connsiteX9" fmla="*/ 2309126 w 2369815"/>
                  <a:gd name="connsiteY9" fmla="*/ 1167913 h 1389748"/>
                  <a:gd name="connsiteX10" fmla="*/ 2330702 w 2369815"/>
                  <a:gd name="connsiteY10" fmla="*/ 243505 h 1389748"/>
                  <a:gd name="connsiteX11" fmla="*/ 1861420 w 2369815"/>
                  <a:gd name="connsiteY11" fmla="*/ 166168 h 1389748"/>
                  <a:gd name="connsiteX12" fmla="*/ 1121677 w 2369815"/>
                  <a:gd name="connsiteY12" fmla="*/ 141145 h 1389748"/>
                  <a:gd name="connsiteX13" fmla="*/ 521639 w 2369815"/>
                  <a:gd name="connsiteY13" fmla="*/ 50160 h 1389748"/>
                  <a:gd name="connsiteX0" fmla="*/ 62542 w 1910718"/>
                  <a:gd name="connsiteY0" fmla="*/ 50160 h 1389748"/>
                  <a:gd name="connsiteX1" fmla="*/ 66668 w 1910718"/>
                  <a:gd name="connsiteY1" fmla="*/ 735167 h 1389748"/>
                  <a:gd name="connsiteX2" fmla="*/ 488747 w 1910718"/>
                  <a:gd name="connsiteY2" fmla="*/ 1372632 h 1389748"/>
                  <a:gd name="connsiteX3" fmla="*/ 666163 w 1910718"/>
                  <a:gd name="connsiteY3" fmla="*/ 1194315 h 1389748"/>
                  <a:gd name="connsiteX4" fmla="*/ 963402 w 1910718"/>
                  <a:gd name="connsiteY4" fmla="*/ 1054181 h 1389748"/>
                  <a:gd name="connsiteX5" fmla="*/ 1151481 w 1910718"/>
                  <a:gd name="connsiteY5" fmla="*/ 1122420 h 1389748"/>
                  <a:gd name="connsiteX6" fmla="*/ 1420147 w 1910718"/>
                  <a:gd name="connsiteY6" fmla="*/ 1247529 h 1389748"/>
                  <a:gd name="connsiteX7" fmla="*/ 1572401 w 1910718"/>
                  <a:gd name="connsiteY7" fmla="*/ 1111048 h 1389748"/>
                  <a:gd name="connsiteX8" fmla="*/ 1850029 w 1910718"/>
                  <a:gd name="connsiteY8" fmla="*/ 1167913 h 1389748"/>
                  <a:gd name="connsiteX9" fmla="*/ 1871605 w 1910718"/>
                  <a:gd name="connsiteY9" fmla="*/ 243505 h 1389748"/>
                  <a:gd name="connsiteX10" fmla="*/ 1402323 w 1910718"/>
                  <a:gd name="connsiteY10" fmla="*/ 166168 h 1389748"/>
                  <a:gd name="connsiteX11" fmla="*/ 662580 w 1910718"/>
                  <a:gd name="connsiteY11" fmla="*/ 141145 h 1389748"/>
                  <a:gd name="connsiteX12" fmla="*/ 62542 w 1910718"/>
                  <a:gd name="connsiteY12" fmla="*/ 50160 h 1389748"/>
                  <a:gd name="connsiteX0" fmla="*/ 597605 w 1845743"/>
                  <a:gd name="connsiteY0" fmla="*/ 39663 h 1288266"/>
                  <a:gd name="connsiteX1" fmla="*/ 1693 w 1845743"/>
                  <a:gd name="connsiteY1" fmla="*/ 633685 h 1288266"/>
                  <a:gd name="connsiteX2" fmla="*/ 423772 w 1845743"/>
                  <a:gd name="connsiteY2" fmla="*/ 1271150 h 1288266"/>
                  <a:gd name="connsiteX3" fmla="*/ 601188 w 1845743"/>
                  <a:gd name="connsiteY3" fmla="*/ 1092833 h 1288266"/>
                  <a:gd name="connsiteX4" fmla="*/ 898427 w 1845743"/>
                  <a:gd name="connsiteY4" fmla="*/ 952699 h 1288266"/>
                  <a:gd name="connsiteX5" fmla="*/ 1086506 w 1845743"/>
                  <a:gd name="connsiteY5" fmla="*/ 1020938 h 1288266"/>
                  <a:gd name="connsiteX6" fmla="*/ 1355172 w 1845743"/>
                  <a:gd name="connsiteY6" fmla="*/ 1146047 h 1288266"/>
                  <a:gd name="connsiteX7" fmla="*/ 1507426 w 1845743"/>
                  <a:gd name="connsiteY7" fmla="*/ 1009566 h 1288266"/>
                  <a:gd name="connsiteX8" fmla="*/ 1785054 w 1845743"/>
                  <a:gd name="connsiteY8" fmla="*/ 1066431 h 1288266"/>
                  <a:gd name="connsiteX9" fmla="*/ 1806630 w 1845743"/>
                  <a:gd name="connsiteY9" fmla="*/ 142023 h 1288266"/>
                  <a:gd name="connsiteX10" fmla="*/ 1337348 w 1845743"/>
                  <a:gd name="connsiteY10" fmla="*/ 64686 h 1288266"/>
                  <a:gd name="connsiteX11" fmla="*/ 597605 w 1845743"/>
                  <a:gd name="connsiteY11" fmla="*/ 39663 h 1288266"/>
                  <a:gd name="connsiteX0" fmla="*/ 639202 w 1887340"/>
                  <a:gd name="connsiteY0" fmla="*/ 39663 h 1364663"/>
                  <a:gd name="connsiteX1" fmla="*/ 43290 w 1887340"/>
                  <a:gd name="connsiteY1" fmla="*/ 633685 h 1364663"/>
                  <a:gd name="connsiteX2" fmla="*/ 112581 w 1887340"/>
                  <a:gd name="connsiteY2" fmla="*/ 1351062 h 1364663"/>
                  <a:gd name="connsiteX3" fmla="*/ 642785 w 1887340"/>
                  <a:gd name="connsiteY3" fmla="*/ 1092833 h 1364663"/>
                  <a:gd name="connsiteX4" fmla="*/ 940024 w 1887340"/>
                  <a:gd name="connsiteY4" fmla="*/ 952699 h 1364663"/>
                  <a:gd name="connsiteX5" fmla="*/ 1128103 w 1887340"/>
                  <a:gd name="connsiteY5" fmla="*/ 1020938 h 1364663"/>
                  <a:gd name="connsiteX6" fmla="*/ 1396769 w 1887340"/>
                  <a:gd name="connsiteY6" fmla="*/ 1146047 h 1364663"/>
                  <a:gd name="connsiteX7" fmla="*/ 1549023 w 1887340"/>
                  <a:gd name="connsiteY7" fmla="*/ 1009566 h 1364663"/>
                  <a:gd name="connsiteX8" fmla="*/ 1826651 w 1887340"/>
                  <a:gd name="connsiteY8" fmla="*/ 1066431 h 1364663"/>
                  <a:gd name="connsiteX9" fmla="*/ 1848227 w 1887340"/>
                  <a:gd name="connsiteY9" fmla="*/ 142023 h 1364663"/>
                  <a:gd name="connsiteX10" fmla="*/ 1378945 w 1887340"/>
                  <a:gd name="connsiteY10" fmla="*/ 64686 h 1364663"/>
                  <a:gd name="connsiteX11" fmla="*/ 639202 w 1887340"/>
                  <a:gd name="connsiteY11" fmla="*/ 39663 h 1364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887340" h="1364663">
                    <a:moveTo>
                      <a:pt x="639202" y="39663"/>
                    </a:moveTo>
                    <a:cubicBezTo>
                      <a:pt x="416593" y="134496"/>
                      <a:pt x="131060" y="415119"/>
                      <a:pt x="43290" y="633685"/>
                    </a:cubicBezTo>
                    <a:cubicBezTo>
                      <a:pt x="-44480" y="852251"/>
                      <a:pt x="12665" y="1274537"/>
                      <a:pt x="112581" y="1351062"/>
                    </a:cubicBezTo>
                    <a:cubicBezTo>
                      <a:pt x="212497" y="1427587"/>
                      <a:pt x="504878" y="1159227"/>
                      <a:pt x="642785" y="1092833"/>
                    </a:cubicBezTo>
                    <a:cubicBezTo>
                      <a:pt x="780692" y="1026439"/>
                      <a:pt x="859138" y="964681"/>
                      <a:pt x="940024" y="952699"/>
                    </a:cubicBezTo>
                    <a:cubicBezTo>
                      <a:pt x="1020910" y="940717"/>
                      <a:pt x="1051979" y="1005774"/>
                      <a:pt x="1128103" y="1020938"/>
                    </a:cubicBezTo>
                    <a:cubicBezTo>
                      <a:pt x="1204227" y="1036103"/>
                      <a:pt x="1326616" y="1147942"/>
                      <a:pt x="1396769" y="1146047"/>
                    </a:cubicBezTo>
                    <a:cubicBezTo>
                      <a:pt x="1466922" y="1144152"/>
                      <a:pt x="1477377" y="1037999"/>
                      <a:pt x="1549023" y="1009566"/>
                    </a:cubicBezTo>
                    <a:cubicBezTo>
                      <a:pt x="1620669" y="981133"/>
                      <a:pt x="1776784" y="1211021"/>
                      <a:pt x="1826651" y="1066431"/>
                    </a:cubicBezTo>
                    <a:cubicBezTo>
                      <a:pt x="1876518" y="921841"/>
                      <a:pt x="1922845" y="308981"/>
                      <a:pt x="1848227" y="142023"/>
                    </a:cubicBezTo>
                    <a:cubicBezTo>
                      <a:pt x="1773609" y="-24934"/>
                      <a:pt x="1580449" y="81746"/>
                      <a:pt x="1378945" y="64686"/>
                    </a:cubicBezTo>
                    <a:cubicBezTo>
                      <a:pt x="1177441" y="47626"/>
                      <a:pt x="861811" y="-55170"/>
                      <a:pt x="639202" y="39663"/>
                    </a:cubicBezTo>
                    <a:close/>
                  </a:path>
                </a:pathLst>
              </a:custGeom>
              <a:solidFill>
                <a:srgbClr val="E3D16D">
                  <a:alpha val="80000"/>
                </a:srgbClr>
              </a:solidFill>
              <a:ln w="127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600"/>
              </a:p>
            </p:txBody>
          </p:sp>
          <p:sp>
            <p:nvSpPr>
              <p:cNvPr id="3361" name="!!mucus">
                <a:extLst>
                  <a:ext uri="{FF2B5EF4-FFF2-40B4-BE49-F238E27FC236}">
                    <a16:creationId xmlns:a16="http://schemas.microsoft.com/office/drawing/2014/main" id="{D45D0D17-562B-34C3-8E00-8CB4FFC15FB9}"/>
                  </a:ext>
                </a:extLst>
              </p:cNvPr>
              <p:cNvSpPr/>
              <p:nvPr/>
            </p:nvSpPr>
            <p:spPr>
              <a:xfrm rot="17840723">
                <a:off x="4133642" y="3469703"/>
                <a:ext cx="1204947" cy="489291"/>
              </a:xfrm>
              <a:custGeom>
                <a:avLst/>
                <a:gdLst>
                  <a:gd name="connsiteX0" fmla="*/ 0 w 11280654"/>
                  <a:gd name="connsiteY0" fmla="*/ 91352 h 1986246"/>
                  <a:gd name="connsiteX1" fmla="*/ 10868 w 11280654"/>
                  <a:gd name="connsiteY1" fmla="*/ 745642 h 1986246"/>
                  <a:gd name="connsiteX2" fmla="*/ 260587 w 11280654"/>
                  <a:gd name="connsiteY2" fmla="*/ 915580 h 1986246"/>
                  <a:gd name="connsiteX3" fmla="*/ 282300 w 11280654"/>
                  <a:gd name="connsiteY3" fmla="*/ 1077031 h 1986246"/>
                  <a:gd name="connsiteX4" fmla="*/ 510305 w 11280654"/>
                  <a:gd name="connsiteY4" fmla="*/ 1416926 h 1986246"/>
                  <a:gd name="connsiteX5" fmla="*/ 640587 w 11280654"/>
                  <a:gd name="connsiteY5" fmla="*/ 1595370 h 1986246"/>
                  <a:gd name="connsiteX6" fmla="*/ 694882 w 11280654"/>
                  <a:gd name="connsiteY6" fmla="*/ 1790808 h 1986246"/>
                  <a:gd name="connsiteX7" fmla="*/ 857746 w 11280654"/>
                  <a:gd name="connsiteY7" fmla="*/ 1986246 h 1986246"/>
                  <a:gd name="connsiteX8" fmla="*/ 1020610 w 11280654"/>
                  <a:gd name="connsiteY8" fmla="*/ 1858784 h 1986246"/>
                  <a:gd name="connsiteX9" fmla="*/ 1042324 w 11280654"/>
                  <a:gd name="connsiteY9" fmla="*/ 1595370 h 1986246"/>
                  <a:gd name="connsiteX10" fmla="*/ 1194319 w 11280654"/>
                  <a:gd name="connsiteY10" fmla="*/ 1510401 h 1986246"/>
                  <a:gd name="connsiteX11" fmla="*/ 1302887 w 11280654"/>
                  <a:gd name="connsiteY11" fmla="*/ 1229994 h 1986246"/>
                  <a:gd name="connsiteX12" fmla="*/ 1411455 w 11280654"/>
                  <a:gd name="connsiteY12" fmla="*/ 873105 h 1986246"/>
                  <a:gd name="connsiteX13" fmla="*/ 1563450 w 11280654"/>
                  <a:gd name="connsiteY13" fmla="*/ 737154 h 1986246"/>
                  <a:gd name="connsiteX14" fmla="*/ 1867441 w 11280654"/>
                  <a:gd name="connsiteY14" fmla="*/ 737154 h 1986246"/>
                  <a:gd name="connsiteX15" fmla="*/ 2442864 w 11280654"/>
                  <a:gd name="connsiteY15" fmla="*/ 754148 h 1986246"/>
                  <a:gd name="connsiteX16" fmla="*/ 3582863 w 11280654"/>
                  <a:gd name="connsiteY16" fmla="*/ 754148 h 1986246"/>
                  <a:gd name="connsiteX17" fmla="*/ 4277722 w 11280654"/>
                  <a:gd name="connsiteY17" fmla="*/ 788136 h 1986246"/>
                  <a:gd name="connsiteX18" fmla="*/ 4733732 w 11280654"/>
                  <a:gd name="connsiteY18" fmla="*/ 728648 h 1986246"/>
                  <a:gd name="connsiteX19" fmla="*/ 5211454 w 11280654"/>
                  <a:gd name="connsiteY19" fmla="*/ 728648 h 1986246"/>
                  <a:gd name="connsiteX20" fmla="*/ 5982323 w 11280654"/>
                  <a:gd name="connsiteY20" fmla="*/ 771142 h 1986246"/>
                  <a:gd name="connsiteX21" fmla="*/ 6861759 w 11280654"/>
                  <a:gd name="connsiteY21" fmla="*/ 754148 h 1986246"/>
                  <a:gd name="connsiteX22" fmla="*/ 7491477 w 11280654"/>
                  <a:gd name="connsiteY22" fmla="*/ 762654 h 1986246"/>
                  <a:gd name="connsiteX23" fmla="*/ 8327487 w 11280654"/>
                  <a:gd name="connsiteY23" fmla="*/ 762654 h 1986246"/>
                  <a:gd name="connsiteX24" fmla="*/ 9391500 w 11280654"/>
                  <a:gd name="connsiteY24" fmla="*/ 788154 h 1986246"/>
                  <a:gd name="connsiteX25" fmla="*/ 10140655 w 11280654"/>
                  <a:gd name="connsiteY25" fmla="*/ 779648 h 1986246"/>
                  <a:gd name="connsiteX26" fmla="*/ 10672650 w 11280654"/>
                  <a:gd name="connsiteY26" fmla="*/ 771142 h 1986246"/>
                  <a:gd name="connsiteX27" fmla="*/ 11150373 w 11280654"/>
                  <a:gd name="connsiteY27" fmla="*/ 737154 h 1986246"/>
                  <a:gd name="connsiteX28" fmla="*/ 11280654 w 11280654"/>
                  <a:gd name="connsiteY28" fmla="*/ 754148 h 1986246"/>
                  <a:gd name="connsiteX29" fmla="*/ 11280654 w 11280654"/>
                  <a:gd name="connsiteY29" fmla="*/ 133791 h 1986246"/>
                  <a:gd name="connsiteX30" fmla="*/ 11096078 w 11280654"/>
                  <a:gd name="connsiteY30" fmla="*/ 65870 h 1986246"/>
                  <a:gd name="connsiteX31" fmla="*/ 10281782 w 11280654"/>
                  <a:gd name="connsiteY31" fmla="*/ 14889 h 1986246"/>
                  <a:gd name="connsiteX32" fmla="*/ 9695491 w 11280654"/>
                  <a:gd name="connsiteY32" fmla="*/ 108364 h 1986246"/>
                  <a:gd name="connsiteX33" fmla="*/ 8794341 w 11280654"/>
                  <a:gd name="connsiteY33" fmla="*/ 201839 h 1986246"/>
                  <a:gd name="connsiteX34" fmla="*/ 7828050 w 11280654"/>
                  <a:gd name="connsiteY34" fmla="*/ 201839 h 1986246"/>
                  <a:gd name="connsiteX35" fmla="*/ 6101760 w 11280654"/>
                  <a:gd name="connsiteY35" fmla="*/ 193333 h 1986246"/>
                  <a:gd name="connsiteX36" fmla="*/ 5016032 w 11280654"/>
                  <a:gd name="connsiteY36" fmla="*/ 65870 h 1986246"/>
                  <a:gd name="connsiteX37" fmla="*/ 3224600 w 11280654"/>
                  <a:gd name="connsiteY37" fmla="*/ 57364 h 1986246"/>
                  <a:gd name="connsiteX38" fmla="*/ 2171455 w 11280654"/>
                  <a:gd name="connsiteY38" fmla="*/ 82864 h 1986246"/>
                  <a:gd name="connsiteX39" fmla="*/ 760023 w 11280654"/>
                  <a:gd name="connsiteY39" fmla="*/ 116852 h 1986246"/>
                  <a:gd name="connsiteX40" fmla="*/ 0 w 11280654"/>
                  <a:gd name="connsiteY40" fmla="*/ 91352 h 1986246"/>
                  <a:gd name="connsiteX0" fmla="*/ 0 w 11280654"/>
                  <a:gd name="connsiteY0" fmla="*/ 91352 h 1994638"/>
                  <a:gd name="connsiteX1" fmla="*/ 10868 w 11280654"/>
                  <a:gd name="connsiteY1" fmla="*/ 745642 h 1994638"/>
                  <a:gd name="connsiteX2" fmla="*/ 260587 w 11280654"/>
                  <a:gd name="connsiteY2" fmla="*/ 915580 h 1994638"/>
                  <a:gd name="connsiteX3" fmla="*/ 282300 w 11280654"/>
                  <a:gd name="connsiteY3" fmla="*/ 1077031 h 1994638"/>
                  <a:gd name="connsiteX4" fmla="*/ 510305 w 11280654"/>
                  <a:gd name="connsiteY4" fmla="*/ 1416926 h 1994638"/>
                  <a:gd name="connsiteX5" fmla="*/ 640587 w 11280654"/>
                  <a:gd name="connsiteY5" fmla="*/ 1595370 h 1994638"/>
                  <a:gd name="connsiteX6" fmla="*/ 694882 w 11280654"/>
                  <a:gd name="connsiteY6" fmla="*/ 1790808 h 1994638"/>
                  <a:gd name="connsiteX7" fmla="*/ 857746 w 11280654"/>
                  <a:gd name="connsiteY7" fmla="*/ 1986246 h 1994638"/>
                  <a:gd name="connsiteX8" fmla="*/ 1020610 w 11280654"/>
                  <a:gd name="connsiteY8" fmla="*/ 1858784 h 1994638"/>
                  <a:gd name="connsiteX9" fmla="*/ 1042324 w 11280654"/>
                  <a:gd name="connsiteY9" fmla="*/ 1595370 h 1994638"/>
                  <a:gd name="connsiteX10" fmla="*/ 1194319 w 11280654"/>
                  <a:gd name="connsiteY10" fmla="*/ 1510401 h 1994638"/>
                  <a:gd name="connsiteX11" fmla="*/ 1302887 w 11280654"/>
                  <a:gd name="connsiteY11" fmla="*/ 1229994 h 1994638"/>
                  <a:gd name="connsiteX12" fmla="*/ 1411455 w 11280654"/>
                  <a:gd name="connsiteY12" fmla="*/ 873105 h 1994638"/>
                  <a:gd name="connsiteX13" fmla="*/ 1563450 w 11280654"/>
                  <a:gd name="connsiteY13" fmla="*/ 737154 h 1994638"/>
                  <a:gd name="connsiteX14" fmla="*/ 1867441 w 11280654"/>
                  <a:gd name="connsiteY14" fmla="*/ 737154 h 1994638"/>
                  <a:gd name="connsiteX15" fmla="*/ 2442864 w 11280654"/>
                  <a:gd name="connsiteY15" fmla="*/ 754148 h 1994638"/>
                  <a:gd name="connsiteX16" fmla="*/ 3582863 w 11280654"/>
                  <a:gd name="connsiteY16" fmla="*/ 754148 h 1994638"/>
                  <a:gd name="connsiteX17" fmla="*/ 4277722 w 11280654"/>
                  <a:gd name="connsiteY17" fmla="*/ 788136 h 1994638"/>
                  <a:gd name="connsiteX18" fmla="*/ 4733732 w 11280654"/>
                  <a:gd name="connsiteY18" fmla="*/ 728648 h 1994638"/>
                  <a:gd name="connsiteX19" fmla="*/ 5211454 w 11280654"/>
                  <a:gd name="connsiteY19" fmla="*/ 728648 h 1994638"/>
                  <a:gd name="connsiteX20" fmla="*/ 5982323 w 11280654"/>
                  <a:gd name="connsiteY20" fmla="*/ 771142 h 1994638"/>
                  <a:gd name="connsiteX21" fmla="*/ 6861759 w 11280654"/>
                  <a:gd name="connsiteY21" fmla="*/ 754148 h 1994638"/>
                  <a:gd name="connsiteX22" fmla="*/ 7491477 w 11280654"/>
                  <a:gd name="connsiteY22" fmla="*/ 762654 h 1994638"/>
                  <a:gd name="connsiteX23" fmla="*/ 8327487 w 11280654"/>
                  <a:gd name="connsiteY23" fmla="*/ 762654 h 1994638"/>
                  <a:gd name="connsiteX24" fmla="*/ 9391500 w 11280654"/>
                  <a:gd name="connsiteY24" fmla="*/ 788154 h 1994638"/>
                  <a:gd name="connsiteX25" fmla="*/ 10140655 w 11280654"/>
                  <a:gd name="connsiteY25" fmla="*/ 779648 h 1994638"/>
                  <a:gd name="connsiteX26" fmla="*/ 10672650 w 11280654"/>
                  <a:gd name="connsiteY26" fmla="*/ 771142 h 1994638"/>
                  <a:gd name="connsiteX27" fmla="*/ 11150373 w 11280654"/>
                  <a:gd name="connsiteY27" fmla="*/ 737154 h 1994638"/>
                  <a:gd name="connsiteX28" fmla="*/ 11280654 w 11280654"/>
                  <a:gd name="connsiteY28" fmla="*/ 754148 h 1994638"/>
                  <a:gd name="connsiteX29" fmla="*/ 11280654 w 11280654"/>
                  <a:gd name="connsiteY29" fmla="*/ 133791 h 1994638"/>
                  <a:gd name="connsiteX30" fmla="*/ 11096078 w 11280654"/>
                  <a:gd name="connsiteY30" fmla="*/ 65870 h 1994638"/>
                  <a:gd name="connsiteX31" fmla="*/ 10281782 w 11280654"/>
                  <a:gd name="connsiteY31" fmla="*/ 14889 h 1994638"/>
                  <a:gd name="connsiteX32" fmla="*/ 9695491 w 11280654"/>
                  <a:gd name="connsiteY32" fmla="*/ 108364 h 1994638"/>
                  <a:gd name="connsiteX33" fmla="*/ 8794341 w 11280654"/>
                  <a:gd name="connsiteY33" fmla="*/ 201839 h 1994638"/>
                  <a:gd name="connsiteX34" fmla="*/ 7828050 w 11280654"/>
                  <a:gd name="connsiteY34" fmla="*/ 201839 h 1994638"/>
                  <a:gd name="connsiteX35" fmla="*/ 6101760 w 11280654"/>
                  <a:gd name="connsiteY35" fmla="*/ 193333 h 1994638"/>
                  <a:gd name="connsiteX36" fmla="*/ 5016032 w 11280654"/>
                  <a:gd name="connsiteY36" fmla="*/ 65870 h 1994638"/>
                  <a:gd name="connsiteX37" fmla="*/ 3224600 w 11280654"/>
                  <a:gd name="connsiteY37" fmla="*/ 57364 h 1994638"/>
                  <a:gd name="connsiteX38" fmla="*/ 2171455 w 11280654"/>
                  <a:gd name="connsiteY38" fmla="*/ 82864 h 1994638"/>
                  <a:gd name="connsiteX39" fmla="*/ 760023 w 11280654"/>
                  <a:gd name="connsiteY39" fmla="*/ 116852 h 1994638"/>
                  <a:gd name="connsiteX40" fmla="*/ 0 w 11280654"/>
                  <a:gd name="connsiteY40" fmla="*/ 91352 h 1994638"/>
                  <a:gd name="connsiteX0" fmla="*/ 2673914 w 11269790"/>
                  <a:gd name="connsiteY0" fmla="*/ 66415 h 1994638"/>
                  <a:gd name="connsiteX1" fmla="*/ 4 w 11269790"/>
                  <a:gd name="connsiteY1" fmla="*/ 745642 h 1994638"/>
                  <a:gd name="connsiteX2" fmla="*/ 249723 w 11269790"/>
                  <a:gd name="connsiteY2" fmla="*/ 915580 h 1994638"/>
                  <a:gd name="connsiteX3" fmla="*/ 271436 w 11269790"/>
                  <a:gd name="connsiteY3" fmla="*/ 1077031 h 1994638"/>
                  <a:gd name="connsiteX4" fmla="*/ 499441 w 11269790"/>
                  <a:gd name="connsiteY4" fmla="*/ 1416926 h 1994638"/>
                  <a:gd name="connsiteX5" fmla="*/ 629723 w 11269790"/>
                  <a:gd name="connsiteY5" fmla="*/ 1595370 h 1994638"/>
                  <a:gd name="connsiteX6" fmla="*/ 684018 w 11269790"/>
                  <a:gd name="connsiteY6" fmla="*/ 1790808 h 1994638"/>
                  <a:gd name="connsiteX7" fmla="*/ 846882 w 11269790"/>
                  <a:gd name="connsiteY7" fmla="*/ 1986246 h 1994638"/>
                  <a:gd name="connsiteX8" fmla="*/ 1009746 w 11269790"/>
                  <a:gd name="connsiteY8" fmla="*/ 1858784 h 1994638"/>
                  <a:gd name="connsiteX9" fmla="*/ 1031460 w 11269790"/>
                  <a:gd name="connsiteY9" fmla="*/ 1595370 h 1994638"/>
                  <a:gd name="connsiteX10" fmla="*/ 1183455 w 11269790"/>
                  <a:gd name="connsiteY10" fmla="*/ 1510401 h 1994638"/>
                  <a:gd name="connsiteX11" fmla="*/ 1292023 w 11269790"/>
                  <a:gd name="connsiteY11" fmla="*/ 1229994 h 1994638"/>
                  <a:gd name="connsiteX12" fmla="*/ 1400591 w 11269790"/>
                  <a:gd name="connsiteY12" fmla="*/ 873105 h 1994638"/>
                  <a:gd name="connsiteX13" fmla="*/ 1552586 w 11269790"/>
                  <a:gd name="connsiteY13" fmla="*/ 737154 h 1994638"/>
                  <a:gd name="connsiteX14" fmla="*/ 1856577 w 11269790"/>
                  <a:gd name="connsiteY14" fmla="*/ 737154 h 1994638"/>
                  <a:gd name="connsiteX15" fmla="*/ 2432000 w 11269790"/>
                  <a:gd name="connsiteY15" fmla="*/ 754148 h 1994638"/>
                  <a:gd name="connsiteX16" fmla="*/ 3571999 w 11269790"/>
                  <a:gd name="connsiteY16" fmla="*/ 754148 h 1994638"/>
                  <a:gd name="connsiteX17" fmla="*/ 4266858 w 11269790"/>
                  <a:gd name="connsiteY17" fmla="*/ 788136 h 1994638"/>
                  <a:gd name="connsiteX18" fmla="*/ 4722868 w 11269790"/>
                  <a:gd name="connsiteY18" fmla="*/ 728648 h 1994638"/>
                  <a:gd name="connsiteX19" fmla="*/ 5200590 w 11269790"/>
                  <a:gd name="connsiteY19" fmla="*/ 728648 h 1994638"/>
                  <a:gd name="connsiteX20" fmla="*/ 5971459 w 11269790"/>
                  <a:gd name="connsiteY20" fmla="*/ 771142 h 1994638"/>
                  <a:gd name="connsiteX21" fmla="*/ 6850895 w 11269790"/>
                  <a:gd name="connsiteY21" fmla="*/ 754148 h 1994638"/>
                  <a:gd name="connsiteX22" fmla="*/ 7480613 w 11269790"/>
                  <a:gd name="connsiteY22" fmla="*/ 762654 h 1994638"/>
                  <a:gd name="connsiteX23" fmla="*/ 8316623 w 11269790"/>
                  <a:gd name="connsiteY23" fmla="*/ 762654 h 1994638"/>
                  <a:gd name="connsiteX24" fmla="*/ 9380636 w 11269790"/>
                  <a:gd name="connsiteY24" fmla="*/ 788154 h 1994638"/>
                  <a:gd name="connsiteX25" fmla="*/ 10129791 w 11269790"/>
                  <a:gd name="connsiteY25" fmla="*/ 779648 h 1994638"/>
                  <a:gd name="connsiteX26" fmla="*/ 10661786 w 11269790"/>
                  <a:gd name="connsiteY26" fmla="*/ 771142 h 1994638"/>
                  <a:gd name="connsiteX27" fmla="*/ 11139509 w 11269790"/>
                  <a:gd name="connsiteY27" fmla="*/ 737154 h 1994638"/>
                  <a:gd name="connsiteX28" fmla="*/ 11269790 w 11269790"/>
                  <a:gd name="connsiteY28" fmla="*/ 754148 h 1994638"/>
                  <a:gd name="connsiteX29" fmla="*/ 11269790 w 11269790"/>
                  <a:gd name="connsiteY29" fmla="*/ 133791 h 1994638"/>
                  <a:gd name="connsiteX30" fmla="*/ 11085214 w 11269790"/>
                  <a:gd name="connsiteY30" fmla="*/ 65870 h 1994638"/>
                  <a:gd name="connsiteX31" fmla="*/ 10270918 w 11269790"/>
                  <a:gd name="connsiteY31" fmla="*/ 14889 h 1994638"/>
                  <a:gd name="connsiteX32" fmla="*/ 9684627 w 11269790"/>
                  <a:gd name="connsiteY32" fmla="*/ 108364 h 1994638"/>
                  <a:gd name="connsiteX33" fmla="*/ 8783477 w 11269790"/>
                  <a:gd name="connsiteY33" fmla="*/ 201839 h 1994638"/>
                  <a:gd name="connsiteX34" fmla="*/ 7817186 w 11269790"/>
                  <a:gd name="connsiteY34" fmla="*/ 201839 h 1994638"/>
                  <a:gd name="connsiteX35" fmla="*/ 6090896 w 11269790"/>
                  <a:gd name="connsiteY35" fmla="*/ 193333 h 1994638"/>
                  <a:gd name="connsiteX36" fmla="*/ 5005168 w 11269790"/>
                  <a:gd name="connsiteY36" fmla="*/ 65870 h 1994638"/>
                  <a:gd name="connsiteX37" fmla="*/ 3213736 w 11269790"/>
                  <a:gd name="connsiteY37" fmla="*/ 57364 h 1994638"/>
                  <a:gd name="connsiteX38" fmla="*/ 2160591 w 11269790"/>
                  <a:gd name="connsiteY38" fmla="*/ 82864 h 1994638"/>
                  <a:gd name="connsiteX39" fmla="*/ 749159 w 11269790"/>
                  <a:gd name="connsiteY39" fmla="*/ 116852 h 1994638"/>
                  <a:gd name="connsiteX40" fmla="*/ 2673914 w 11269790"/>
                  <a:gd name="connsiteY40" fmla="*/ 66415 h 1994638"/>
                  <a:gd name="connsiteX0" fmla="*/ 2673914 w 11269790"/>
                  <a:gd name="connsiteY0" fmla="*/ 66415 h 1994638"/>
                  <a:gd name="connsiteX1" fmla="*/ 4 w 11269790"/>
                  <a:gd name="connsiteY1" fmla="*/ 745642 h 1994638"/>
                  <a:gd name="connsiteX2" fmla="*/ 249723 w 11269790"/>
                  <a:gd name="connsiteY2" fmla="*/ 915580 h 1994638"/>
                  <a:gd name="connsiteX3" fmla="*/ 271436 w 11269790"/>
                  <a:gd name="connsiteY3" fmla="*/ 1077031 h 1994638"/>
                  <a:gd name="connsiteX4" fmla="*/ 499441 w 11269790"/>
                  <a:gd name="connsiteY4" fmla="*/ 1416926 h 1994638"/>
                  <a:gd name="connsiteX5" fmla="*/ 629723 w 11269790"/>
                  <a:gd name="connsiteY5" fmla="*/ 1595370 h 1994638"/>
                  <a:gd name="connsiteX6" fmla="*/ 684018 w 11269790"/>
                  <a:gd name="connsiteY6" fmla="*/ 1790808 h 1994638"/>
                  <a:gd name="connsiteX7" fmla="*/ 846882 w 11269790"/>
                  <a:gd name="connsiteY7" fmla="*/ 1986246 h 1994638"/>
                  <a:gd name="connsiteX8" fmla="*/ 1009746 w 11269790"/>
                  <a:gd name="connsiteY8" fmla="*/ 1858784 h 1994638"/>
                  <a:gd name="connsiteX9" fmla="*/ 1031460 w 11269790"/>
                  <a:gd name="connsiteY9" fmla="*/ 1595370 h 1994638"/>
                  <a:gd name="connsiteX10" fmla="*/ 1183455 w 11269790"/>
                  <a:gd name="connsiteY10" fmla="*/ 1510401 h 1994638"/>
                  <a:gd name="connsiteX11" fmla="*/ 1292023 w 11269790"/>
                  <a:gd name="connsiteY11" fmla="*/ 1229994 h 1994638"/>
                  <a:gd name="connsiteX12" fmla="*/ 1400591 w 11269790"/>
                  <a:gd name="connsiteY12" fmla="*/ 873105 h 1994638"/>
                  <a:gd name="connsiteX13" fmla="*/ 1552586 w 11269790"/>
                  <a:gd name="connsiteY13" fmla="*/ 737154 h 1994638"/>
                  <a:gd name="connsiteX14" fmla="*/ 1856577 w 11269790"/>
                  <a:gd name="connsiteY14" fmla="*/ 737154 h 1994638"/>
                  <a:gd name="connsiteX15" fmla="*/ 2432000 w 11269790"/>
                  <a:gd name="connsiteY15" fmla="*/ 754148 h 1994638"/>
                  <a:gd name="connsiteX16" fmla="*/ 3571999 w 11269790"/>
                  <a:gd name="connsiteY16" fmla="*/ 754148 h 1994638"/>
                  <a:gd name="connsiteX17" fmla="*/ 4266858 w 11269790"/>
                  <a:gd name="connsiteY17" fmla="*/ 788136 h 1994638"/>
                  <a:gd name="connsiteX18" fmla="*/ 4722868 w 11269790"/>
                  <a:gd name="connsiteY18" fmla="*/ 728648 h 1994638"/>
                  <a:gd name="connsiteX19" fmla="*/ 5200590 w 11269790"/>
                  <a:gd name="connsiteY19" fmla="*/ 728648 h 1994638"/>
                  <a:gd name="connsiteX20" fmla="*/ 5971459 w 11269790"/>
                  <a:gd name="connsiteY20" fmla="*/ 771142 h 1994638"/>
                  <a:gd name="connsiteX21" fmla="*/ 6850895 w 11269790"/>
                  <a:gd name="connsiteY21" fmla="*/ 754148 h 1994638"/>
                  <a:gd name="connsiteX22" fmla="*/ 7480613 w 11269790"/>
                  <a:gd name="connsiteY22" fmla="*/ 762654 h 1994638"/>
                  <a:gd name="connsiteX23" fmla="*/ 8316623 w 11269790"/>
                  <a:gd name="connsiteY23" fmla="*/ 762654 h 1994638"/>
                  <a:gd name="connsiteX24" fmla="*/ 9380636 w 11269790"/>
                  <a:gd name="connsiteY24" fmla="*/ 788154 h 1994638"/>
                  <a:gd name="connsiteX25" fmla="*/ 10129791 w 11269790"/>
                  <a:gd name="connsiteY25" fmla="*/ 779648 h 1994638"/>
                  <a:gd name="connsiteX26" fmla="*/ 10661786 w 11269790"/>
                  <a:gd name="connsiteY26" fmla="*/ 771142 h 1994638"/>
                  <a:gd name="connsiteX27" fmla="*/ 11139509 w 11269790"/>
                  <a:gd name="connsiteY27" fmla="*/ 737154 h 1994638"/>
                  <a:gd name="connsiteX28" fmla="*/ 11269790 w 11269790"/>
                  <a:gd name="connsiteY28" fmla="*/ 754148 h 1994638"/>
                  <a:gd name="connsiteX29" fmla="*/ 11269790 w 11269790"/>
                  <a:gd name="connsiteY29" fmla="*/ 133791 h 1994638"/>
                  <a:gd name="connsiteX30" fmla="*/ 11085214 w 11269790"/>
                  <a:gd name="connsiteY30" fmla="*/ 65870 h 1994638"/>
                  <a:gd name="connsiteX31" fmla="*/ 10270918 w 11269790"/>
                  <a:gd name="connsiteY31" fmla="*/ 14889 h 1994638"/>
                  <a:gd name="connsiteX32" fmla="*/ 9684627 w 11269790"/>
                  <a:gd name="connsiteY32" fmla="*/ 108364 h 1994638"/>
                  <a:gd name="connsiteX33" fmla="*/ 8783477 w 11269790"/>
                  <a:gd name="connsiteY33" fmla="*/ 201839 h 1994638"/>
                  <a:gd name="connsiteX34" fmla="*/ 7817186 w 11269790"/>
                  <a:gd name="connsiteY34" fmla="*/ 201839 h 1994638"/>
                  <a:gd name="connsiteX35" fmla="*/ 6090896 w 11269790"/>
                  <a:gd name="connsiteY35" fmla="*/ 193333 h 1994638"/>
                  <a:gd name="connsiteX36" fmla="*/ 5005168 w 11269790"/>
                  <a:gd name="connsiteY36" fmla="*/ 65870 h 1994638"/>
                  <a:gd name="connsiteX37" fmla="*/ 3213736 w 11269790"/>
                  <a:gd name="connsiteY37" fmla="*/ 57364 h 1994638"/>
                  <a:gd name="connsiteX38" fmla="*/ 2160591 w 11269790"/>
                  <a:gd name="connsiteY38" fmla="*/ 82864 h 1994638"/>
                  <a:gd name="connsiteX39" fmla="*/ 2673914 w 11269790"/>
                  <a:gd name="connsiteY39" fmla="*/ 66415 h 1994638"/>
                  <a:gd name="connsiteX0" fmla="*/ 2673914 w 11269790"/>
                  <a:gd name="connsiteY0" fmla="*/ 66415 h 1994638"/>
                  <a:gd name="connsiteX1" fmla="*/ 4 w 11269790"/>
                  <a:gd name="connsiteY1" fmla="*/ 745642 h 1994638"/>
                  <a:gd name="connsiteX2" fmla="*/ 249723 w 11269790"/>
                  <a:gd name="connsiteY2" fmla="*/ 915580 h 1994638"/>
                  <a:gd name="connsiteX3" fmla="*/ 271436 w 11269790"/>
                  <a:gd name="connsiteY3" fmla="*/ 1077031 h 1994638"/>
                  <a:gd name="connsiteX4" fmla="*/ 499441 w 11269790"/>
                  <a:gd name="connsiteY4" fmla="*/ 1416926 h 1994638"/>
                  <a:gd name="connsiteX5" fmla="*/ 629723 w 11269790"/>
                  <a:gd name="connsiteY5" fmla="*/ 1595370 h 1994638"/>
                  <a:gd name="connsiteX6" fmla="*/ 684018 w 11269790"/>
                  <a:gd name="connsiteY6" fmla="*/ 1790808 h 1994638"/>
                  <a:gd name="connsiteX7" fmla="*/ 846882 w 11269790"/>
                  <a:gd name="connsiteY7" fmla="*/ 1986246 h 1994638"/>
                  <a:gd name="connsiteX8" fmla="*/ 1009746 w 11269790"/>
                  <a:gd name="connsiteY8" fmla="*/ 1858784 h 1994638"/>
                  <a:gd name="connsiteX9" fmla="*/ 1031460 w 11269790"/>
                  <a:gd name="connsiteY9" fmla="*/ 1595370 h 1994638"/>
                  <a:gd name="connsiteX10" fmla="*/ 1183455 w 11269790"/>
                  <a:gd name="connsiteY10" fmla="*/ 1510401 h 1994638"/>
                  <a:gd name="connsiteX11" fmla="*/ 1292023 w 11269790"/>
                  <a:gd name="connsiteY11" fmla="*/ 1229994 h 1994638"/>
                  <a:gd name="connsiteX12" fmla="*/ 1400591 w 11269790"/>
                  <a:gd name="connsiteY12" fmla="*/ 873105 h 1994638"/>
                  <a:gd name="connsiteX13" fmla="*/ 1552586 w 11269790"/>
                  <a:gd name="connsiteY13" fmla="*/ 737154 h 1994638"/>
                  <a:gd name="connsiteX14" fmla="*/ 1856577 w 11269790"/>
                  <a:gd name="connsiteY14" fmla="*/ 737154 h 1994638"/>
                  <a:gd name="connsiteX15" fmla="*/ 2432000 w 11269790"/>
                  <a:gd name="connsiteY15" fmla="*/ 754148 h 1994638"/>
                  <a:gd name="connsiteX16" fmla="*/ 3571999 w 11269790"/>
                  <a:gd name="connsiteY16" fmla="*/ 754148 h 1994638"/>
                  <a:gd name="connsiteX17" fmla="*/ 4266858 w 11269790"/>
                  <a:gd name="connsiteY17" fmla="*/ 788136 h 1994638"/>
                  <a:gd name="connsiteX18" fmla="*/ 4722868 w 11269790"/>
                  <a:gd name="connsiteY18" fmla="*/ 728648 h 1994638"/>
                  <a:gd name="connsiteX19" fmla="*/ 5200590 w 11269790"/>
                  <a:gd name="connsiteY19" fmla="*/ 728648 h 1994638"/>
                  <a:gd name="connsiteX20" fmla="*/ 5971459 w 11269790"/>
                  <a:gd name="connsiteY20" fmla="*/ 771142 h 1994638"/>
                  <a:gd name="connsiteX21" fmla="*/ 6850895 w 11269790"/>
                  <a:gd name="connsiteY21" fmla="*/ 754148 h 1994638"/>
                  <a:gd name="connsiteX22" fmla="*/ 7480613 w 11269790"/>
                  <a:gd name="connsiteY22" fmla="*/ 762654 h 1994638"/>
                  <a:gd name="connsiteX23" fmla="*/ 8316623 w 11269790"/>
                  <a:gd name="connsiteY23" fmla="*/ 762654 h 1994638"/>
                  <a:gd name="connsiteX24" fmla="*/ 9380636 w 11269790"/>
                  <a:gd name="connsiteY24" fmla="*/ 788154 h 1994638"/>
                  <a:gd name="connsiteX25" fmla="*/ 10129791 w 11269790"/>
                  <a:gd name="connsiteY25" fmla="*/ 779648 h 1994638"/>
                  <a:gd name="connsiteX26" fmla="*/ 10661786 w 11269790"/>
                  <a:gd name="connsiteY26" fmla="*/ 771142 h 1994638"/>
                  <a:gd name="connsiteX27" fmla="*/ 11139509 w 11269790"/>
                  <a:gd name="connsiteY27" fmla="*/ 737154 h 1994638"/>
                  <a:gd name="connsiteX28" fmla="*/ 11269790 w 11269790"/>
                  <a:gd name="connsiteY28" fmla="*/ 754148 h 1994638"/>
                  <a:gd name="connsiteX29" fmla="*/ 11269790 w 11269790"/>
                  <a:gd name="connsiteY29" fmla="*/ 133791 h 1994638"/>
                  <a:gd name="connsiteX30" fmla="*/ 11085214 w 11269790"/>
                  <a:gd name="connsiteY30" fmla="*/ 65870 h 1994638"/>
                  <a:gd name="connsiteX31" fmla="*/ 10270918 w 11269790"/>
                  <a:gd name="connsiteY31" fmla="*/ 14889 h 1994638"/>
                  <a:gd name="connsiteX32" fmla="*/ 9684627 w 11269790"/>
                  <a:gd name="connsiteY32" fmla="*/ 108364 h 1994638"/>
                  <a:gd name="connsiteX33" fmla="*/ 8783477 w 11269790"/>
                  <a:gd name="connsiteY33" fmla="*/ 201839 h 1994638"/>
                  <a:gd name="connsiteX34" fmla="*/ 7817186 w 11269790"/>
                  <a:gd name="connsiteY34" fmla="*/ 201839 h 1994638"/>
                  <a:gd name="connsiteX35" fmla="*/ 6090896 w 11269790"/>
                  <a:gd name="connsiteY35" fmla="*/ 193333 h 1994638"/>
                  <a:gd name="connsiteX36" fmla="*/ 5005168 w 11269790"/>
                  <a:gd name="connsiteY36" fmla="*/ 65870 h 1994638"/>
                  <a:gd name="connsiteX37" fmla="*/ 3213736 w 11269790"/>
                  <a:gd name="connsiteY37" fmla="*/ 57364 h 1994638"/>
                  <a:gd name="connsiteX38" fmla="*/ 2673914 w 11269790"/>
                  <a:gd name="connsiteY38" fmla="*/ 66415 h 1994638"/>
                  <a:gd name="connsiteX0" fmla="*/ 2598674 w 11194550"/>
                  <a:gd name="connsiteY0" fmla="*/ 66415 h 1994638"/>
                  <a:gd name="connsiteX1" fmla="*/ 174483 w 11194550"/>
                  <a:gd name="connsiteY1" fmla="*/ 915580 h 1994638"/>
                  <a:gd name="connsiteX2" fmla="*/ 196196 w 11194550"/>
                  <a:gd name="connsiteY2" fmla="*/ 1077031 h 1994638"/>
                  <a:gd name="connsiteX3" fmla="*/ 424201 w 11194550"/>
                  <a:gd name="connsiteY3" fmla="*/ 1416926 h 1994638"/>
                  <a:gd name="connsiteX4" fmla="*/ 554483 w 11194550"/>
                  <a:gd name="connsiteY4" fmla="*/ 1595370 h 1994638"/>
                  <a:gd name="connsiteX5" fmla="*/ 608778 w 11194550"/>
                  <a:gd name="connsiteY5" fmla="*/ 1790808 h 1994638"/>
                  <a:gd name="connsiteX6" fmla="*/ 771642 w 11194550"/>
                  <a:gd name="connsiteY6" fmla="*/ 1986246 h 1994638"/>
                  <a:gd name="connsiteX7" fmla="*/ 934506 w 11194550"/>
                  <a:gd name="connsiteY7" fmla="*/ 1858784 h 1994638"/>
                  <a:gd name="connsiteX8" fmla="*/ 956220 w 11194550"/>
                  <a:gd name="connsiteY8" fmla="*/ 1595370 h 1994638"/>
                  <a:gd name="connsiteX9" fmla="*/ 1108215 w 11194550"/>
                  <a:gd name="connsiteY9" fmla="*/ 1510401 h 1994638"/>
                  <a:gd name="connsiteX10" fmla="*/ 1216783 w 11194550"/>
                  <a:gd name="connsiteY10" fmla="*/ 1229994 h 1994638"/>
                  <a:gd name="connsiteX11" fmla="*/ 1325351 w 11194550"/>
                  <a:gd name="connsiteY11" fmla="*/ 873105 h 1994638"/>
                  <a:gd name="connsiteX12" fmla="*/ 1477346 w 11194550"/>
                  <a:gd name="connsiteY12" fmla="*/ 737154 h 1994638"/>
                  <a:gd name="connsiteX13" fmla="*/ 1781337 w 11194550"/>
                  <a:gd name="connsiteY13" fmla="*/ 737154 h 1994638"/>
                  <a:gd name="connsiteX14" fmla="*/ 2356760 w 11194550"/>
                  <a:gd name="connsiteY14" fmla="*/ 754148 h 1994638"/>
                  <a:gd name="connsiteX15" fmla="*/ 3496759 w 11194550"/>
                  <a:gd name="connsiteY15" fmla="*/ 754148 h 1994638"/>
                  <a:gd name="connsiteX16" fmla="*/ 4191618 w 11194550"/>
                  <a:gd name="connsiteY16" fmla="*/ 788136 h 1994638"/>
                  <a:gd name="connsiteX17" fmla="*/ 4647628 w 11194550"/>
                  <a:gd name="connsiteY17" fmla="*/ 728648 h 1994638"/>
                  <a:gd name="connsiteX18" fmla="*/ 5125350 w 11194550"/>
                  <a:gd name="connsiteY18" fmla="*/ 728648 h 1994638"/>
                  <a:gd name="connsiteX19" fmla="*/ 5896219 w 11194550"/>
                  <a:gd name="connsiteY19" fmla="*/ 771142 h 1994638"/>
                  <a:gd name="connsiteX20" fmla="*/ 6775655 w 11194550"/>
                  <a:gd name="connsiteY20" fmla="*/ 754148 h 1994638"/>
                  <a:gd name="connsiteX21" fmla="*/ 7405373 w 11194550"/>
                  <a:gd name="connsiteY21" fmla="*/ 762654 h 1994638"/>
                  <a:gd name="connsiteX22" fmla="*/ 8241383 w 11194550"/>
                  <a:gd name="connsiteY22" fmla="*/ 762654 h 1994638"/>
                  <a:gd name="connsiteX23" fmla="*/ 9305396 w 11194550"/>
                  <a:gd name="connsiteY23" fmla="*/ 788154 h 1994638"/>
                  <a:gd name="connsiteX24" fmla="*/ 10054551 w 11194550"/>
                  <a:gd name="connsiteY24" fmla="*/ 779648 h 1994638"/>
                  <a:gd name="connsiteX25" fmla="*/ 10586546 w 11194550"/>
                  <a:gd name="connsiteY25" fmla="*/ 771142 h 1994638"/>
                  <a:gd name="connsiteX26" fmla="*/ 11064269 w 11194550"/>
                  <a:gd name="connsiteY26" fmla="*/ 737154 h 1994638"/>
                  <a:gd name="connsiteX27" fmla="*/ 11194550 w 11194550"/>
                  <a:gd name="connsiteY27" fmla="*/ 754148 h 1994638"/>
                  <a:gd name="connsiteX28" fmla="*/ 11194550 w 11194550"/>
                  <a:gd name="connsiteY28" fmla="*/ 133791 h 1994638"/>
                  <a:gd name="connsiteX29" fmla="*/ 11009974 w 11194550"/>
                  <a:gd name="connsiteY29" fmla="*/ 65870 h 1994638"/>
                  <a:gd name="connsiteX30" fmla="*/ 10195678 w 11194550"/>
                  <a:gd name="connsiteY30" fmla="*/ 14889 h 1994638"/>
                  <a:gd name="connsiteX31" fmla="*/ 9609387 w 11194550"/>
                  <a:gd name="connsiteY31" fmla="*/ 108364 h 1994638"/>
                  <a:gd name="connsiteX32" fmla="*/ 8708237 w 11194550"/>
                  <a:gd name="connsiteY32" fmla="*/ 201839 h 1994638"/>
                  <a:gd name="connsiteX33" fmla="*/ 7741946 w 11194550"/>
                  <a:gd name="connsiteY33" fmla="*/ 201839 h 1994638"/>
                  <a:gd name="connsiteX34" fmla="*/ 6015656 w 11194550"/>
                  <a:gd name="connsiteY34" fmla="*/ 193333 h 1994638"/>
                  <a:gd name="connsiteX35" fmla="*/ 4929928 w 11194550"/>
                  <a:gd name="connsiteY35" fmla="*/ 65870 h 1994638"/>
                  <a:gd name="connsiteX36" fmla="*/ 3138496 w 11194550"/>
                  <a:gd name="connsiteY36" fmla="*/ 57364 h 1994638"/>
                  <a:gd name="connsiteX37" fmla="*/ 2598674 w 11194550"/>
                  <a:gd name="connsiteY37" fmla="*/ 66415 h 1994638"/>
                  <a:gd name="connsiteX0" fmla="*/ 2523012 w 11118888"/>
                  <a:gd name="connsiteY0" fmla="*/ 66415 h 1994638"/>
                  <a:gd name="connsiteX1" fmla="*/ 2391070 w 11118888"/>
                  <a:gd name="connsiteY1" fmla="*/ 622730 h 1994638"/>
                  <a:gd name="connsiteX2" fmla="*/ 120534 w 11118888"/>
                  <a:gd name="connsiteY2" fmla="*/ 1077031 h 1994638"/>
                  <a:gd name="connsiteX3" fmla="*/ 348539 w 11118888"/>
                  <a:gd name="connsiteY3" fmla="*/ 1416926 h 1994638"/>
                  <a:gd name="connsiteX4" fmla="*/ 478821 w 11118888"/>
                  <a:gd name="connsiteY4" fmla="*/ 1595370 h 1994638"/>
                  <a:gd name="connsiteX5" fmla="*/ 533116 w 11118888"/>
                  <a:gd name="connsiteY5" fmla="*/ 1790808 h 1994638"/>
                  <a:gd name="connsiteX6" fmla="*/ 695980 w 11118888"/>
                  <a:gd name="connsiteY6" fmla="*/ 1986246 h 1994638"/>
                  <a:gd name="connsiteX7" fmla="*/ 858844 w 11118888"/>
                  <a:gd name="connsiteY7" fmla="*/ 1858784 h 1994638"/>
                  <a:gd name="connsiteX8" fmla="*/ 880558 w 11118888"/>
                  <a:gd name="connsiteY8" fmla="*/ 1595370 h 1994638"/>
                  <a:gd name="connsiteX9" fmla="*/ 1032553 w 11118888"/>
                  <a:gd name="connsiteY9" fmla="*/ 1510401 h 1994638"/>
                  <a:gd name="connsiteX10" fmla="*/ 1141121 w 11118888"/>
                  <a:gd name="connsiteY10" fmla="*/ 1229994 h 1994638"/>
                  <a:gd name="connsiteX11" fmla="*/ 1249689 w 11118888"/>
                  <a:gd name="connsiteY11" fmla="*/ 873105 h 1994638"/>
                  <a:gd name="connsiteX12" fmla="*/ 1401684 w 11118888"/>
                  <a:gd name="connsiteY12" fmla="*/ 737154 h 1994638"/>
                  <a:gd name="connsiteX13" fmla="*/ 1705675 w 11118888"/>
                  <a:gd name="connsiteY13" fmla="*/ 737154 h 1994638"/>
                  <a:gd name="connsiteX14" fmla="*/ 2281098 w 11118888"/>
                  <a:gd name="connsiteY14" fmla="*/ 754148 h 1994638"/>
                  <a:gd name="connsiteX15" fmla="*/ 3421097 w 11118888"/>
                  <a:gd name="connsiteY15" fmla="*/ 754148 h 1994638"/>
                  <a:gd name="connsiteX16" fmla="*/ 4115956 w 11118888"/>
                  <a:gd name="connsiteY16" fmla="*/ 788136 h 1994638"/>
                  <a:gd name="connsiteX17" fmla="*/ 4571966 w 11118888"/>
                  <a:gd name="connsiteY17" fmla="*/ 728648 h 1994638"/>
                  <a:gd name="connsiteX18" fmla="*/ 5049688 w 11118888"/>
                  <a:gd name="connsiteY18" fmla="*/ 728648 h 1994638"/>
                  <a:gd name="connsiteX19" fmla="*/ 5820557 w 11118888"/>
                  <a:gd name="connsiteY19" fmla="*/ 771142 h 1994638"/>
                  <a:gd name="connsiteX20" fmla="*/ 6699993 w 11118888"/>
                  <a:gd name="connsiteY20" fmla="*/ 754148 h 1994638"/>
                  <a:gd name="connsiteX21" fmla="*/ 7329711 w 11118888"/>
                  <a:gd name="connsiteY21" fmla="*/ 762654 h 1994638"/>
                  <a:gd name="connsiteX22" fmla="*/ 8165721 w 11118888"/>
                  <a:gd name="connsiteY22" fmla="*/ 762654 h 1994638"/>
                  <a:gd name="connsiteX23" fmla="*/ 9229734 w 11118888"/>
                  <a:gd name="connsiteY23" fmla="*/ 788154 h 1994638"/>
                  <a:gd name="connsiteX24" fmla="*/ 9978889 w 11118888"/>
                  <a:gd name="connsiteY24" fmla="*/ 779648 h 1994638"/>
                  <a:gd name="connsiteX25" fmla="*/ 10510884 w 11118888"/>
                  <a:gd name="connsiteY25" fmla="*/ 771142 h 1994638"/>
                  <a:gd name="connsiteX26" fmla="*/ 10988607 w 11118888"/>
                  <a:gd name="connsiteY26" fmla="*/ 737154 h 1994638"/>
                  <a:gd name="connsiteX27" fmla="*/ 11118888 w 11118888"/>
                  <a:gd name="connsiteY27" fmla="*/ 754148 h 1994638"/>
                  <a:gd name="connsiteX28" fmla="*/ 11118888 w 11118888"/>
                  <a:gd name="connsiteY28" fmla="*/ 133791 h 1994638"/>
                  <a:gd name="connsiteX29" fmla="*/ 10934312 w 11118888"/>
                  <a:gd name="connsiteY29" fmla="*/ 65870 h 1994638"/>
                  <a:gd name="connsiteX30" fmla="*/ 10120016 w 11118888"/>
                  <a:gd name="connsiteY30" fmla="*/ 14889 h 1994638"/>
                  <a:gd name="connsiteX31" fmla="*/ 9533725 w 11118888"/>
                  <a:gd name="connsiteY31" fmla="*/ 108364 h 1994638"/>
                  <a:gd name="connsiteX32" fmla="*/ 8632575 w 11118888"/>
                  <a:gd name="connsiteY32" fmla="*/ 201839 h 1994638"/>
                  <a:gd name="connsiteX33" fmla="*/ 7666284 w 11118888"/>
                  <a:gd name="connsiteY33" fmla="*/ 201839 h 1994638"/>
                  <a:gd name="connsiteX34" fmla="*/ 5939994 w 11118888"/>
                  <a:gd name="connsiteY34" fmla="*/ 193333 h 1994638"/>
                  <a:gd name="connsiteX35" fmla="*/ 4854266 w 11118888"/>
                  <a:gd name="connsiteY35" fmla="*/ 65870 h 1994638"/>
                  <a:gd name="connsiteX36" fmla="*/ 3062834 w 11118888"/>
                  <a:gd name="connsiteY36" fmla="*/ 57364 h 1994638"/>
                  <a:gd name="connsiteX37" fmla="*/ 2523012 w 11118888"/>
                  <a:gd name="connsiteY37" fmla="*/ 66415 h 1994638"/>
                  <a:gd name="connsiteX0" fmla="*/ 2523012 w 11118888"/>
                  <a:gd name="connsiteY0" fmla="*/ 66415 h 1994638"/>
                  <a:gd name="connsiteX1" fmla="*/ 2391070 w 11118888"/>
                  <a:gd name="connsiteY1" fmla="*/ 622730 h 1994638"/>
                  <a:gd name="connsiteX2" fmla="*/ 120534 w 11118888"/>
                  <a:gd name="connsiteY2" fmla="*/ 1077031 h 1994638"/>
                  <a:gd name="connsiteX3" fmla="*/ 348539 w 11118888"/>
                  <a:gd name="connsiteY3" fmla="*/ 1416926 h 1994638"/>
                  <a:gd name="connsiteX4" fmla="*/ 478821 w 11118888"/>
                  <a:gd name="connsiteY4" fmla="*/ 1595370 h 1994638"/>
                  <a:gd name="connsiteX5" fmla="*/ 533116 w 11118888"/>
                  <a:gd name="connsiteY5" fmla="*/ 1790808 h 1994638"/>
                  <a:gd name="connsiteX6" fmla="*/ 695980 w 11118888"/>
                  <a:gd name="connsiteY6" fmla="*/ 1986246 h 1994638"/>
                  <a:gd name="connsiteX7" fmla="*/ 858844 w 11118888"/>
                  <a:gd name="connsiteY7" fmla="*/ 1858784 h 1994638"/>
                  <a:gd name="connsiteX8" fmla="*/ 880558 w 11118888"/>
                  <a:gd name="connsiteY8" fmla="*/ 1595370 h 1994638"/>
                  <a:gd name="connsiteX9" fmla="*/ 1032553 w 11118888"/>
                  <a:gd name="connsiteY9" fmla="*/ 1510401 h 1994638"/>
                  <a:gd name="connsiteX10" fmla="*/ 1141121 w 11118888"/>
                  <a:gd name="connsiteY10" fmla="*/ 1229994 h 1994638"/>
                  <a:gd name="connsiteX11" fmla="*/ 1249689 w 11118888"/>
                  <a:gd name="connsiteY11" fmla="*/ 873105 h 1994638"/>
                  <a:gd name="connsiteX12" fmla="*/ 1401684 w 11118888"/>
                  <a:gd name="connsiteY12" fmla="*/ 737154 h 1994638"/>
                  <a:gd name="connsiteX13" fmla="*/ 1705675 w 11118888"/>
                  <a:gd name="connsiteY13" fmla="*/ 737154 h 1994638"/>
                  <a:gd name="connsiteX14" fmla="*/ 2281098 w 11118888"/>
                  <a:gd name="connsiteY14" fmla="*/ 754148 h 1994638"/>
                  <a:gd name="connsiteX15" fmla="*/ 3421097 w 11118888"/>
                  <a:gd name="connsiteY15" fmla="*/ 754148 h 1994638"/>
                  <a:gd name="connsiteX16" fmla="*/ 4115956 w 11118888"/>
                  <a:gd name="connsiteY16" fmla="*/ 788136 h 1994638"/>
                  <a:gd name="connsiteX17" fmla="*/ 4571966 w 11118888"/>
                  <a:gd name="connsiteY17" fmla="*/ 728648 h 1994638"/>
                  <a:gd name="connsiteX18" fmla="*/ 5049688 w 11118888"/>
                  <a:gd name="connsiteY18" fmla="*/ 728648 h 1994638"/>
                  <a:gd name="connsiteX19" fmla="*/ 5820557 w 11118888"/>
                  <a:gd name="connsiteY19" fmla="*/ 771142 h 1994638"/>
                  <a:gd name="connsiteX20" fmla="*/ 6699993 w 11118888"/>
                  <a:gd name="connsiteY20" fmla="*/ 754148 h 1994638"/>
                  <a:gd name="connsiteX21" fmla="*/ 7329711 w 11118888"/>
                  <a:gd name="connsiteY21" fmla="*/ 762654 h 1994638"/>
                  <a:gd name="connsiteX22" fmla="*/ 8165721 w 11118888"/>
                  <a:gd name="connsiteY22" fmla="*/ 762654 h 1994638"/>
                  <a:gd name="connsiteX23" fmla="*/ 9229734 w 11118888"/>
                  <a:gd name="connsiteY23" fmla="*/ 788154 h 1994638"/>
                  <a:gd name="connsiteX24" fmla="*/ 9978889 w 11118888"/>
                  <a:gd name="connsiteY24" fmla="*/ 779648 h 1994638"/>
                  <a:gd name="connsiteX25" fmla="*/ 10510884 w 11118888"/>
                  <a:gd name="connsiteY25" fmla="*/ 771142 h 1994638"/>
                  <a:gd name="connsiteX26" fmla="*/ 10988607 w 11118888"/>
                  <a:gd name="connsiteY26" fmla="*/ 737154 h 1994638"/>
                  <a:gd name="connsiteX27" fmla="*/ 11118888 w 11118888"/>
                  <a:gd name="connsiteY27" fmla="*/ 754148 h 1994638"/>
                  <a:gd name="connsiteX28" fmla="*/ 11118888 w 11118888"/>
                  <a:gd name="connsiteY28" fmla="*/ 133791 h 1994638"/>
                  <a:gd name="connsiteX29" fmla="*/ 10934312 w 11118888"/>
                  <a:gd name="connsiteY29" fmla="*/ 65870 h 1994638"/>
                  <a:gd name="connsiteX30" fmla="*/ 10120016 w 11118888"/>
                  <a:gd name="connsiteY30" fmla="*/ 14889 h 1994638"/>
                  <a:gd name="connsiteX31" fmla="*/ 9533725 w 11118888"/>
                  <a:gd name="connsiteY31" fmla="*/ 108364 h 1994638"/>
                  <a:gd name="connsiteX32" fmla="*/ 8632575 w 11118888"/>
                  <a:gd name="connsiteY32" fmla="*/ 201839 h 1994638"/>
                  <a:gd name="connsiteX33" fmla="*/ 7666284 w 11118888"/>
                  <a:gd name="connsiteY33" fmla="*/ 201839 h 1994638"/>
                  <a:gd name="connsiteX34" fmla="*/ 5939994 w 11118888"/>
                  <a:gd name="connsiteY34" fmla="*/ 193333 h 1994638"/>
                  <a:gd name="connsiteX35" fmla="*/ 4854266 w 11118888"/>
                  <a:gd name="connsiteY35" fmla="*/ 65870 h 1994638"/>
                  <a:gd name="connsiteX36" fmla="*/ 3062834 w 11118888"/>
                  <a:gd name="connsiteY36" fmla="*/ 57364 h 1994638"/>
                  <a:gd name="connsiteX37" fmla="*/ 2523012 w 11118888"/>
                  <a:gd name="connsiteY37" fmla="*/ 66415 h 1994638"/>
                  <a:gd name="connsiteX0" fmla="*/ 2532379 w 11128255"/>
                  <a:gd name="connsiteY0" fmla="*/ 66415 h 1994638"/>
                  <a:gd name="connsiteX1" fmla="*/ 129901 w 11128255"/>
                  <a:gd name="connsiteY1" fmla="*/ 1077031 h 1994638"/>
                  <a:gd name="connsiteX2" fmla="*/ 357906 w 11128255"/>
                  <a:gd name="connsiteY2" fmla="*/ 1416926 h 1994638"/>
                  <a:gd name="connsiteX3" fmla="*/ 488188 w 11128255"/>
                  <a:gd name="connsiteY3" fmla="*/ 1595370 h 1994638"/>
                  <a:gd name="connsiteX4" fmla="*/ 542483 w 11128255"/>
                  <a:gd name="connsiteY4" fmla="*/ 1790808 h 1994638"/>
                  <a:gd name="connsiteX5" fmla="*/ 705347 w 11128255"/>
                  <a:gd name="connsiteY5" fmla="*/ 1986246 h 1994638"/>
                  <a:gd name="connsiteX6" fmla="*/ 868211 w 11128255"/>
                  <a:gd name="connsiteY6" fmla="*/ 1858784 h 1994638"/>
                  <a:gd name="connsiteX7" fmla="*/ 889925 w 11128255"/>
                  <a:gd name="connsiteY7" fmla="*/ 1595370 h 1994638"/>
                  <a:gd name="connsiteX8" fmla="*/ 1041920 w 11128255"/>
                  <a:gd name="connsiteY8" fmla="*/ 1510401 h 1994638"/>
                  <a:gd name="connsiteX9" fmla="*/ 1150488 w 11128255"/>
                  <a:gd name="connsiteY9" fmla="*/ 1229994 h 1994638"/>
                  <a:gd name="connsiteX10" fmla="*/ 1259056 w 11128255"/>
                  <a:gd name="connsiteY10" fmla="*/ 873105 h 1994638"/>
                  <a:gd name="connsiteX11" fmla="*/ 1411051 w 11128255"/>
                  <a:gd name="connsiteY11" fmla="*/ 737154 h 1994638"/>
                  <a:gd name="connsiteX12" fmla="*/ 1715042 w 11128255"/>
                  <a:gd name="connsiteY12" fmla="*/ 737154 h 1994638"/>
                  <a:gd name="connsiteX13" fmla="*/ 2290465 w 11128255"/>
                  <a:gd name="connsiteY13" fmla="*/ 754148 h 1994638"/>
                  <a:gd name="connsiteX14" fmla="*/ 3430464 w 11128255"/>
                  <a:gd name="connsiteY14" fmla="*/ 754148 h 1994638"/>
                  <a:gd name="connsiteX15" fmla="*/ 4125323 w 11128255"/>
                  <a:gd name="connsiteY15" fmla="*/ 788136 h 1994638"/>
                  <a:gd name="connsiteX16" fmla="*/ 4581333 w 11128255"/>
                  <a:gd name="connsiteY16" fmla="*/ 728648 h 1994638"/>
                  <a:gd name="connsiteX17" fmla="*/ 5059055 w 11128255"/>
                  <a:gd name="connsiteY17" fmla="*/ 728648 h 1994638"/>
                  <a:gd name="connsiteX18" fmla="*/ 5829924 w 11128255"/>
                  <a:gd name="connsiteY18" fmla="*/ 771142 h 1994638"/>
                  <a:gd name="connsiteX19" fmla="*/ 6709360 w 11128255"/>
                  <a:gd name="connsiteY19" fmla="*/ 754148 h 1994638"/>
                  <a:gd name="connsiteX20" fmla="*/ 7339078 w 11128255"/>
                  <a:gd name="connsiteY20" fmla="*/ 762654 h 1994638"/>
                  <a:gd name="connsiteX21" fmla="*/ 8175088 w 11128255"/>
                  <a:gd name="connsiteY21" fmla="*/ 762654 h 1994638"/>
                  <a:gd name="connsiteX22" fmla="*/ 9239101 w 11128255"/>
                  <a:gd name="connsiteY22" fmla="*/ 788154 h 1994638"/>
                  <a:gd name="connsiteX23" fmla="*/ 9988256 w 11128255"/>
                  <a:gd name="connsiteY23" fmla="*/ 779648 h 1994638"/>
                  <a:gd name="connsiteX24" fmla="*/ 10520251 w 11128255"/>
                  <a:gd name="connsiteY24" fmla="*/ 771142 h 1994638"/>
                  <a:gd name="connsiteX25" fmla="*/ 10997974 w 11128255"/>
                  <a:gd name="connsiteY25" fmla="*/ 737154 h 1994638"/>
                  <a:gd name="connsiteX26" fmla="*/ 11128255 w 11128255"/>
                  <a:gd name="connsiteY26" fmla="*/ 754148 h 1994638"/>
                  <a:gd name="connsiteX27" fmla="*/ 11128255 w 11128255"/>
                  <a:gd name="connsiteY27" fmla="*/ 133791 h 1994638"/>
                  <a:gd name="connsiteX28" fmla="*/ 10943679 w 11128255"/>
                  <a:gd name="connsiteY28" fmla="*/ 65870 h 1994638"/>
                  <a:gd name="connsiteX29" fmla="*/ 10129383 w 11128255"/>
                  <a:gd name="connsiteY29" fmla="*/ 14889 h 1994638"/>
                  <a:gd name="connsiteX30" fmla="*/ 9543092 w 11128255"/>
                  <a:gd name="connsiteY30" fmla="*/ 108364 h 1994638"/>
                  <a:gd name="connsiteX31" fmla="*/ 8641942 w 11128255"/>
                  <a:gd name="connsiteY31" fmla="*/ 201839 h 1994638"/>
                  <a:gd name="connsiteX32" fmla="*/ 7675651 w 11128255"/>
                  <a:gd name="connsiteY32" fmla="*/ 201839 h 1994638"/>
                  <a:gd name="connsiteX33" fmla="*/ 5949361 w 11128255"/>
                  <a:gd name="connsiteY33" fmla="*/ 193333 h 1994638"/>
                  <a:gd name="connsiteX34" fmla="*/ 4863633 w 11128255"/>
                  <a:gd name="connsiteY34" fmla="*/ 65870 h 1994638"/>
                  <a:gd name="connsiteX35" fmla="*/ 3072201 w 11128255"/>
                  <a:gd name="connsiteY35" fmla="*/ 57364 h 1994638"/>
                  <a:gd name="connsiteX36" fmla="*/ 2532379 w 11128255"/>
                  <a:gd name="connsiteY36" fmla="*/ 66415 h 1994638"/>
                  <a:gd name="connsiteX0" fmla="*/ 2290884 w 10886760"/>
                  <a:gd name="connsiteY0" fmla="*/ 66415 h 1994638"/>
                  <a:gd name="connsiteX1" fmla="*/ 2173324 w 10886760"/>
                  <a:gd name="connsiteY1" fmla="*/ 625754 h 1994638"/>
                  <a:gd name="connsiteX2" fmla="*/ 116411 w 10886760"/>
                  <a:gd name="connsiteY2" fmla="*/ 1416926 h 1994638"/>
                  <a:gd name="connsiteX3" fmla="*/ 246693 w 10886760"/>
                  <a:gd name="connsiteY3" fmla="*/ 1595370 h 1994638"/>
                  <a:gd name="connsiteX4" fmla="*/ 300988 w 10886760"/>
                  <a:gd name="connsiteY4" fmla="*/ 1790808 h 1994638"/>
                  <a:gd name="connsiteX5" fmla="*/ 463852 w 10886760"/>
                  <a:gd name="connsiteY5" fmla="*/ 1986246 h 1994638"/>
                  <a:gd name="connsiteX6" fmla="*/ 626716 w 10886760"/>
                  <a:gd name="connsiteY6" fmla="*/ 1858784 h 1994638"/>
                  <a:gd name="connsiteX7" fmla="*/ 648430 w 10886760"/>
                  <a:gd name="connsiteY7" fmla="*/ 1595370 h 1994638"/>
                  <a:gd name="connsiteX8" fmla="*/ 800425 w 10886760"/>
                  <a:gd name="connsiteY8" fmla="*/ 1510401 h 1994638"/>
                  <a:gd name="connsiteX9" fmla="*/ 908993 w 10886760"/>
                  <a:gd name="connsiteY9" fmla="*/ 1229994 h 1994638"/>
                  <a:gd name="connsiteX10" fmla="*/ 1017561 w 10886760"/>
                  <a:gd name="connsiteY10" fmla="*/ 873105 h 1994638"/>
                  <a:gd name="connsiteX11" fmla="*/ 1169556 w 10886760"/>
                  <a:gd name="connsiteY11" fmla="*/ 737154 h 1994638"/>
                  <a:gd name="connsiteX12" fmla="*/ 1473547 w 10886760"/>
                  <a:gd name="connsiteY12" fmla="*/ 737154 h 1994638"/>
                  <a:gd name="connsiteX13" fmla="*/ 2048970 w 10886760"/>
                  <a:gd name="connsiteY13" fmla="*/ 754148 h 1994638"/>
                  <a:gd name="connsiteX14" fmla="*/ 3188969 w 10886760"/>
                  <a:gd name="connsiteY14" fmla="*/ 754148 h 1994638"/>
                  <a:gd name="connsiteX15" fmla="*/ 3883828 w 10886760"/>
                  <a:gd name="connsiteY15" fmla="*/ 788136 h 1994638"/>
                  <a:gd name="connsiteX16" fmla="*/ 4339838 w 10886760"/>
                  <a:gd name="connsiteY16" fmla="*/ 728648 h 1994638"/>
                  <a:gd name="connsiteX17" fmla="*/ 4817560 w 10886760"/>
                  <a:gd name="connsiteY17" fmla="*/ 728648 h 1994638"/>
                  <a:gd name="connsiteX18" fmla="*/ 5588429 w 10886760"/>
                  <a:gd name="connsiteY18" fmla="*/ 771142 h 1994638"/>
                  <a:gd name="connsiteX19" fmla="*/ 6467865 w 10886760"/>
                  <a:gd name="connsiteY19" fmla="*/ 754148 h 1994638"/>
                  <a:gd name="connsiteX20" fmla="*/ 7097583 w 10886760"/>
                  <a:gd name="connsiteY20" fmla="*/ 762654 h 1994638"/>
                  <a:gd name="connsiteX21" fmla="*/ 7933593 w 10886760"/>
                  <a:gd name="connsiteY21" fmla="*/ 762654 h 1994638"/>
                  <a:gd name="connsiteX22" fmla="*/ 8997606 w 10886760"/>
                  <a:gd name="connsiteY22" fmla="*/ 788154 h 1994638"/>
                  <a:gd name="connsiteX23" fmla="*/ 9746761 w 10886760"/>
                  <a:gd name="connsiteY23" fmla="*/ 779648 h 1994638"/>
                  <a:gd name="connsiteX24" fmla="*/ 10278756 w 10886760"/>
                  <a:gd name="connsiteY24" fmla="*/ 771142 h 1994638"/>
                  <a:gd name="connsiteX25" fmla="*/ 10756479 w 10886760"/>
                  <a:gd name="connsiteY25" fmla="*/ 737154 h 1994638"/>
                  <a:gd name="connsiteX26" fmla="*/ 10886760 w 10886760"/>
                  <a:gd name="connsiteY26" fmla="*/ 754148 h 1994638"/>
                  <a:gd name="connsiteX27" fmla="*/ 10886760 w 10886760"/>
                  <a:gd name="connsiteY27" fmla="*/ 133791 h 1994638"/>
                  <a:gd name="connsiteX28" fmla="*/ 10702184 w 10886760"/>
                  <a:gd name="connsiteY28" fmla="*/ 65870 h 1994638"/>
                  <a:gd name="connsiteX29" fmla="*/ 9887888 w 10886760"/>
                  <a:gd name="connsiteY29" fmla="*/ 14889 h 1994638"/>
                  <a:gd name="connsiteX30" fmla="*/ 9301597 w 10886760"/>
                  <a:gd name="connsiteY30" fmla="*/ 108364 h 1994638"/>
                  <a:gd name="connsiteX31" fmla="*/ 8400447 w 10886760"/>
                  <a:gd name="connsiteY31" fmla="*/ 201839 h 1994638"/>
                  <a:gd name="connsiteX32" fmla="*/ 7434156 w 10886760"/>
                  <a:gd name="connsiteY32" fmla="*/ 201839 h 1994638"/>
                  <a:gd name="connsiteX33" fmla="*/ 5707866 w 10886760"/>
                  <a:gd name="connsiteY33" fmla="*/ 193333 h 1994638"/>
                  <a:gd name="connsiteX34" fmla="*/ 4622138 w 10886760"/>
                  <a:gd name="connsiteY34" fmla="*/ 65870 h 1994638"/>
                  <a:gd name="connsiteX35" fmla="*/ 2830706 w 10886760"/>
                  <a:gd name="connsiteY35" fmla="*/ 57364 h 1994638"/>
                  <a:gd name="connsiteX36" fmla="*/ 2290884 w 10886760"/>
                  <a:gd name="connsiteY36" fmla="*/ 66415 h 1994638"/>
                  <a:gd name="connsiteX0" fmla="*/ 2179017 w 10774893"/>
                  <a:gd name="connsiteY0" fmla="*/ 66415 h 1994638"/>
                  <a:gd name="connsiteX1" fmla="*/ 2061457 w 10774893"/>
                  <a:gd name="connsiteY1" fmla="*/ 625754 h 1994638"/>
                  <a:gd name="connsiteX2" fmla="*/ 134826 w 10774893"/>
                  <a:gd name="connsiteY2" fmla="*/ 1595370 h 1994638"/>
                  <a:gd name="connsiteX3" fmla="*/ 189121 w 10774893"/>
                  <a:gd name="connsiteY3" fmla="*/ 1790808 h 1994638"/>
                  <a:gd name="connsiteX4" fmla="*/ 351985 w 10774893"/>
                  <a:gd name="connsiteY4" fmla="*/ 1986246 h 1994638"/>
                  <a:gd name="connsiteX5" fmla="*/ 514849 w 10774893"/>
                  <a:gd name="connsiteY5" fmla="*/ 1858784 h 1994638"/>
                  <a:gd name="connsiteX6" fmla="*/ 536563 w 10774893"/>
                  <a:gd name="connsiteY6" fmla="*/ 1595370 h 1994638"/>
                  <a:gd name="connsiteX7" fmla="*/ 688558 w 10774893"/>
                  <a:gd name="connsiteY7" fmla="*/ 1510401 h 1994638"/>
                  <a:gd name="connsiteX8" fmla="*/ 797126 w 10774893"/>
                  <a:gd name="connsiteY8" fmla="*/ 1229994 h 1994638"/>
                  <a:gd name="connsiteX9" fmla="*/ 905694 w 10774893"/>
                  <a:gd name="connsiteY9" fmla="*/ 873105 h 1994638"/>
                  <a:gd name="connsiteX10" fmla="*/ 1057689 w 10774893"/>
                  <a:gd name="connsiteY10" fmla="*/ 737154 h 1994638"/>
                  <a:gd name="connsiteX11" fmla="*/ 1361680 w 10774893"/>
                  <a:gd name="connsiteY11" fmla="*/ 737154 h 1994638"/>
                  <a:gd name="connsiteX12" fmla="*/ 1937103 w 10774893"/>
                  <a:gd name="connsiteY12" fmla="*/ 754148 h 1994638"/>
                  <a:gd name="connsiteX13" fmla="*/ 3077102 w 10774893"/>
                  <a:gd name="connsiteY13" fmla="*/ 754148 h 1994638"/>
                  <a:gd name="connsiteX14" fmla="*/ 3771961 w 10774893"/>
                  <a:gd name="connsiteY14" fmla="*/ 788136 h 1994638"/>
                  <a:gd name="connsiteX15" fmla="*/ 4227971 w 10774893"/>
                  <a:gd name="connsiteY15" fmla="*/ 728648 h 1994638"/>
                  <a:gd name="connsiteX16" fmla="*/ 4705693 w 10774893"/>
                  <a:gd name="connsiteY16" fmla="*/ 728648 h 1994638"/>
                  <a:gd name="connsiteX17" fmla="*/ 5476562 w 10774893"/>
                  <a:gd name="connsiteY17" fmla="*/ 771142 h 1994638"/>
                  <a:gd name="connsiteX18" fmla="*/ 6355998 w 10774893"/>
                  <a:gd name="connsiteY18" fmla="*/ 754148 h 1994638"/>
                  <a:gd name="connsiteX19" fmla="*/ 6985716 w 10774893"/>
                  <a:gd name="connsiteY19" fmla="*/ 762654 h 1994638"/>
                  <a:gd name="connsiteX20" fmla="*/ 7821726 w 10774893"/>
                  <a:gd name="connsiteY20" fmla="*/ 762654 h 1994638"/>
                  <a:gd name="connsiteX21" fmla="*/ 8885739 w 10774893"/>
                  <a:gd name="connsiteY21" fmla="*/ 788154 h 1994638"/>
                  <a:gd name="connsiteX22" fmla="*/ 9634894 w 10774893"/>
                  <a:gd name="connsiteY22" fmla="*/ 779648 h 1994638"/>
                  <a:gd name="connsiteX23" fmla="*/ 10166889 w 10774893"/>
                  <a:gd name="connsiteY23" fmla="*/ 771142 h 1994638"/>
                  <a:gd name="connsiteX24" fmla="*/ 10644612 w 10774893"/>
                  <a:gd name="connsiteY24" fmla="*/ 737154 h 1994638"/>
                  <a:gd name="connsiteX25" fmla="*/ 10774893 w 10774893"/>
                  <a:gd name="connsiteY25" fmla="*/ 754148 h 1994638"/>
                  <a:gd name="connsiteX26" fmla="*/ 10774893 w 10774893"/>
                  <a:gd name="connsiteY26" fmla="*/ 133791 h 1994638"/>
                  <a:gd name="connsiteX27" fmla="*/ 10590317 w 10774893"/>
                  <a:gd name="connsiteY27" fmla="*/ 65870 h 1994638"/>
                  <a:gd name="connsiteX28" fmla="*/ 9776021 w 10774893"/>
                  <a:gd name="connsiteY28" fmla="*/ 14889 h 1994638"/>
                  <a:gd name="connsiteX29" fmla="*/ 9189730 w 10774893"/>
                  <a:gd name="connsiteY29" fmla="*/ 108364 h 1994638"/>
                  <a:gd name="connsiteX30" fmla="*/ 8288580 w 10774893"/>
                  <a:gd name="connsiteY30" fmla="*/ 201839 h 1994638"/>
                  <a:gd name="connsiteX31" fmla="*/ 7322289 w 10774893"/>
                  <a:gd name="connsiteY31" fmla="*/ 201839 h 1994638"/>
                  <a:gd name="connsiteX32" fmla="*/ 5595999 w 10774893"/>
                  <a:gd name="connsiteY32" fmla="*/ 193333 h 1994638"/>
                  <a:gd name="connsiteX33" fmla="*/ 4510271 w 10774893"/>
                  <a:gd name="connsiteY33" fmla="*/ 65870 h 1994638"/>
                  <a:gd name="connsiteX34" fmla="*/ 2718839 w 10774893"/>
                  <a:gd name="connsiteY34" fmla="*/ 57364 h 1994638"/>
                  <a:gd name="connsiteX35" fmla="*/ 2179017 w 10774893"/>
                  <a:gd name="connsiteY35" fmla="*/ 66415 h 1994638"/>
                  <a:gd name="connsiteX0" fmla="*/ 2100767 w 10696643"/>
                  <a:gd name="connsiteY0" fmla="*/ 66415 h 2006207"/>
                  <a:gd name="connsiteX1" fmla="*/ 1983207 w 10696643"/>
                  <a:gd name="connsiteY1" fmla="*/ 625754 h 2006207"/>
                  <a:gd name="connsiteX2" fmla="*/ 110871 w 10696643"/>
                  <a:gd name="connsiteY2" fmla="*/ 1790808 h 2006207"/>
                  <a:gd name="connsiteX3" fmla="*/ 273735 w 10696643"/>
                  <a:gd name="connsiteY3" fmla="*/ 1986246 h 2006207"/>
                  <a:gd name="connsiteX4" fmla="*/ 436599 w 10696643"/>
                  <a:gd name="connsiteY4" fmla="*/ 1858784 h 2006207"/>
                  <a:gd name="connsiteX5" fmla="*/ 458313 w 10696643"/>
                  <a:gd name="connsiteY5" fmla="*/ 1595370 h 2006207"/>
                  <a:gd name="connsiteX6" fmla="*/ 610308 w 10696643"/>
                  <a:gd name="connsiteY6" fmla="*/ 1510401 h 2006207"/>
                  <a:gd name="connsiteX7" fmla="*/ 718876 w 10696643"/>
                  <a:gd name="connsiteY7" fmla="*/ 1229994 h 2006207"/>
                  <a:gd name="connsiteX8" fmla="*/ 827444 w 10696643"/>
                  <a:gd name="connsiteY8" fmla="*/ 873105 h 2006207"/>
                  <a:gd name="connsiteX9" fmla="*/ 979439 w 10696643"/>
                  <a:gd name="connsiteY9" fmla="*/ 737154 h 2006207"/>
                  <a:gd name="connsiteX10" fmla="*/ 1283430 w 10696643"/>
                  <a:gd name="connsiteY10" fmla="*/ 737154 h 2006207"/>
                  <a:gd name="connsiteX11" fmla="*/ 1858853 w 10696643"/>
                  <a:gd name="connsiteY11" fmla="*/ 754148 h 2006207"/>
                  <a:gd name="connsiteX12" fmla="*/ 2998852 w 10696643"/>
                  <a:gd name="connsiteY12" fmla="*/ 754148 h 2006207"/>
                  <a:gd name="connsiteX13" fmla="*/ 3693711 w 10696643"/>
                  <a:gd name="connsiteY13" fmla="*/ 788136 h 2006207"/>
                  <a:gd name="connsiteX14" fmla="*/ 4149721 w 10696643"/>
                  <a:gd name="connsiteY14" fmla="*/ 728648 h 2006207"/>
                  <a:gd name="connsiteX15" fmla="*/ 4627443 w 10696643"/>
                  <a:gd name="connsiteY15" fmla="*/ 728648 h 2006207"/>
                  <a:gd name="connsiteX16" fmla="*/ 5398312 w 10696643"/>
                  <a:gd name="connsiteY16" fmla="*/ 771142 h 2006207"/>
                  <a:gd name="connsiteX17" fmla="*/ 6277748 w 10696643"/>
                  <a:gd name="connsiteY17" fmla="*/ 754148 h 2006207"/>
                  <a:gd name="connsiteX18" fmla="*/ 6907466 w 10696643"/>
                  <a:gd name="connsiteY18" fmla="*/ 762654 h 2006207"/>
                  <a:gd name="connsiteX19" fmla="*/ 7743476 w 10696643"/>
                  <a:gd name="connsiteY19" fmla="*/ 762654 h 2006207"/>
                  <a:gd name="connsiteX20" fmla="*/ 8807489 w 10696643"/>
                  <a:gd name="connsiteY20" fmla="*/ 788154 h 2006207"/>
                  <a:gd name="connsiteX21" fmla="*/ 9556644 w 10696643"/>
                  <a:gd name="connsiteY21" fmla="*/ 779648 h 2006207"/>
                  <a:gd name="connsiteX22" fmla="*/ 10088639 w 10696643"/>
                  <a:gd name="connsiteY22" fmla="*/ 771142 h 2006207"/>
                  <a:gd name="connsiteX23" fmla="*/ 10566362 w 10696643"/>
                  <a:gd name="connsiteY23" fmla="*/ 737154 h 2006207"/>
                  <a:gd name="connsiteX24" fmla="*/ 10696643 w 10696643"/>
                  <a:gd name="connsiteY24" fmla="*/ 754148 h 2006207"/>
                  <a:gd name="connsiteX25" fmla="*/ 10696643 w 10696643"/>
                  <a:gd name="connsiteY25" fmla="*/ 133791 h 2006207"/>
                  <a:gd name="connsiteX26" fmla="*/ 10512067 w 10696643"/>
                  <a:gd name="connsiteY26" fmla="*/ 65870 h 2006207"/>
                  <a:gd name="connsiteX27" fmla="*/ 9697771 w 10696643"/>
                  <a:gd name="connsiteY27" fmla="*/ 14889 h 2006207"/>
                  <a:gd name="connsiteX28" fmla="*/ 9111480 w 10696643"/>
                  <a:gd name="connsiteY28" fmla="*/ 108364 h 2006207"/>
                  <a:gd name="connsiteX29" fmla="*/ 8210330 w 10696643"/>
                  <a:gd name="connsiteY29" fmla="*/ 201839 h 2006207"/>
                  <a:gd name="connsiteX30" fmla="*/ 7244039 w 10696643"/>
                  <a:gd name="connsiteY30" fmla="*/ 201839 h 2006207"/>
                  <a:gd name="connsiteX31" fmla="*/ 5517749 w 10696643"/>
                  <a:gd name="connsiteY31" fmla="*/ 193333 h 2006207"/>
                  <a:gd name="connsiteX32" fmla="*/ 4432021 w 10696643"/>
                  <a:gd name="connsiteY32" fmla="*/ 65870 h 2006207"/>
                  <a:gd name="connsiteX33" fmla="*/ 2640589 w 10696643"/>
                  <a:gd name="connsiteY33" fmla="*/ 57364 h 2006207"/>
                  <a:gd name="connsiteX34" fmla="*/ 2100767 w 10696643"/>
                  <a:gd name="connsiteY34" fmla="*/ 66415 h 2006207"/>
                  <a:gd name="connsiteX0" fmla="*/ 1827032 w 10422908"/>
                  <a:gd name="connsiteY0" fmla="*/ 66415 h 1986245"/>
                  <a:gd name="connsiteX1" fmla="*/ 1709472 w 10422908"/>
                  <a:gd name="connsiteY1" fmla="*/ 625754 h 1986245"/>
                  <a:gd name="connsiteX2" fmla="*/ 0 w 10422908"/>
                  <a:gd name="connsiteY2" fmla="*/ 1986246 h 1986245"/>
                  <a:gd name="connsiteX3" fmla="*/ 162864 w 10422908"/>
                  <a:gd name="connsiteY3" fmla="*/ 1858784 h 1986245"/>
                  <a:gd name="connsiteX4" fmla="*/ 184578 w 10422908"/>
                  <a:gd name="connsiteY4" fmla="*/ 1595370 h 1986245"/>
                  <a:gd name="connsiteX5" fmla="*/ 336573 w 10422908"/>
                  <a:gd name="connsiteY5" fmla="*/ 1510401 h 1986245"/>
                  <a:gd name="connsiteX6" fmla="*/ 445141 w 10422908"/>
                  <a:gd name="connsiteY6" fmla="*/ 1229994 h 1986245"/>
                  <a:gd name="connsiteX7" fmla="*/ 553709 w 10422908"/>
                  <a:gd name="connsiteY7" fmla="*/ 873105 h 1986245"/>
                  <a:gd name="connsiteX8" fmla="*/ 705704 w 10422908"/>
                  <a:gd name="connsiteY8" fmla="*/ 737154 h 1986245"/>
                  <a:gd name="connsiteX9" fmla="*/ 1009695 w 10422908"/>
                  <a:gd name="connsiteY9" fmla="*/ 737154 h 1986245"/>
                  <a:gd name="connsiteX10" fmla="*/ 1585118 w 10422908"/>
                  <a:gd name="connsiteY10" fmla="*/ 754148 h 1986245"/>
                  <a:gd name="connsiteX11" fmla="*/ 2725117 w 10422908"/>
                  <a:gd name="connsiteY11" fmla="*/ 754148 h 1986245"/>
                  <a:gd name="connsiteX12" fmla="*/ 3419976 w 10422908"/>
                  <a:gd name="connsiteY12" fmla="*/ 788136 h 1986245"/>
                  <a:gd name="connsiteX13" fmla="*/ 3875986 w 10422908"/>
                  <a:gd name="connsiteY13" fmla="*/ 728648 h 1986245"/>
                  <a:gd name="connsiteX14" fmla="*/ 4353708 w 10422908"/>
                  <a:gd name="connsiteY14" fmla="*/ 728648 h 1986245"/>
                  <a:gd name="connsiteX15" fmla="*/ 5124577 w 10422908"/>
                  <a:gd name="connsiteY15" fmla="*/ 771142 h 1986245"/>
                  <a:gd name="connsiteX16" fmla="*/ 6004013 w 10422908"/>
                  <a:gd name="connsiteY16" fmla="*/ 754148 h 1986245"/>
                  <a:gd name="connsiteX17" fmla="*/ 6633731 w 10422908"/>
                  <a:gd name="connsiteY17" fmla="*/ 762654 h 1986245"/>
                  <a:gd name="connsiteX18" fmla="*/ 7469741 w 10422908"/>
                  <a:gd name="connsiteY18" fmla="*/ 762654 h 1986245"/>
                  <a:gd name="connsiteX19" fmla="*/ 8533754 w 10422908"/>
                  <a:gd name="connsiteY19" fmla="*/ 788154 h 1986245"/>
                  <a:gd name="connsiteX20" fmla="*/ 9282909 w 10422908"/>
                  <a:gd name="connsiteY20" fmla="*/ 779648 h 1986245"/>
                  <a:gd name="connsiteX21" fmla="*/ 9814904 w 10422908"/>
                  <a:gd name="connsiteY21" fmla="*/ 771142 h 1986245"/>
                  <a:gd name="connsiteX22" fmla="*/ 10292627 w 10422908"/>
                  <a:gd name="connsiteY22" fmla="*/ 737154 h 1986245"/>
                  <a:gd name="connsiteX23" fmla="*/ 10422908 w 10422908"/>
                  <a:gd name="connsiteY23" fmla="*/ 754148 h 1986245"/>
                  <a:gd name="connsiteX24" fmla="*/ 10422908 w 10422908"/>
                  <a:gd name="connsiteY24" fmla="*/ 133791 h 1986245"/>
                  <a:gd name="connsiteX25" fmla="*/ 10238332 w 10422908"/>
                  <a:gd name="connsiteY25" fmla="*/ 65870 h 1986245"/>
                  <a:gd name="connsiteX26" fmla="*/ 9424036 w 10422908"/>
                  <a:gd name="connsiteY26" fmla="*/ 14889 h 1986245"/>
                  <a:gd name="connsiteX27" fmla="*/ 8837745 w 10422908"/>
                  <a:gd name="connsiteY27" fmla="*/ 108364 h 1986245"/>
                  <a:gd name="connsiteX28" fmla="*/ 7936595 w 10422908"/>
                  <a:gd name="connsiteY28" fmla="*/ 201839 h 1986245"/>
                  <a:gd name="connsiteX29" fmla="*/ 6970304 w 10422908"/>
                  <a:gd name="connsiteY29" fmla="*/ 201839 h 1986245"/>
                  <a:gd name="connsiteX30" fmla="*/ 5244014 w 10422908"/>
                  <a:gd name="connsiteY30" fmla="*/ 193333 h 1986245"/>
                  <a:gd name="connsiteX31" fmla="*/ 4158286 w 10422908"/>
                  <a:gd name="connsiteY31" fmla="*/ 65870 h 1986245"/>
                  <a:gd name="connsiteX32" fmla="*/ 2366854 w 10422908"/>
                  <a:gd name="connsiteY32" fmla="*/ 57364 h 1986245"/>
                  <a:gd name="connsiteX33" fmla="*/ 1827032 w 10422908"/>
                  <a:gd name="connsiteY33" fmla="*/ 66415 h 1986245"/>
                  <a:gd name="connsiteX0" fmla="*/ 1786453 w 10382329"/>
                  <a:gd name="connsiteY0" fmla="*/ 66415 h 1901488"/>
                  <a:gd name="connsiteX1" fmla="*/ 1668893 w 10382329"/>
                  <a:gd name="connsiteY1" fmla="*/ 625754 h 1901488"/>
                  <a:gd name="connsiteX2" fmla="*/ 122285 w 10382329"/>
                  <a:gd name="connsiteY2" fmla="*/ 1858784 h 1901488"/>
                  <a:gd name="connsiteX3" fmla="*/ 143999 w 10382329"/>
                  <a:gd name="connsiteY3" fmla="*/ 1595370 h 1901488"/>
                  <a:gd name="connsiteX4" fmla="*/ 295994 w 10382329"/>
                  <a:gd name="connsiteY4" fmla="*/ 1510401 h 1901488"/>
                  <a:gd name="connsiteX5" fmla="*/ 404562 w 10382329"/>
                  <a:gd name="connsiteY5" fmla="*/ 1229994 h 1901488"/>
                  <a:gd name="connsiteX6" fmla="*/ 513130 w 10382329"/>
                  <a:gd name="connsiteY6" fmla="*/ 873105 h 1901488"/>
                  <a:gd name="connsiteX7" fmla="*/ 665125 w 10382329"/>
                  <a:gd name="connsiteY7" fmla="*/ 737154 h 1901488"/>
                  <a:gd name="connsiteX8" fmla="*/ 969116 w 10382329"/>
                  <a:gd name="connsiteY8" fmla="*/ 737154 h 1901488"/>
                  <a:gd name="connsiteX9" fmla="*/ 1544539 w 10382329"/>
                  <a:gd name="connsiteY9" fmla="*/ 754148 h 1901488"/>
                  <a:gd name="connsiteX10" fmla="*/ 2684538 w 10382329"/>
                  <a:gd name="connsiteY10" fmla="*/ 754148 h 1901488"/>
                  <a:gd name="connsiteX11" fmla="*/ 3379397 w 10382329"/>
                  <a:gd name="connsiteY11" fmla="*/ 788136 h 1901488"/>
                  <a:gd name="connsiteX12" fmla="*/ 3835407 w 10382329"/>
                  <a:gd name="connsiteY12" fmla="*/ 728648 h 1901488"/>
                  <a:gd name="connsiteX13" fmla="*/ 4313129 w 10382329"/>
                  <a:gd name="connsiteY13" fmla="*/ 728648 h 1901488"/>
                  <a:gd name="connsiteX14" fmla="*/ 5083998 w 10382329"/>
                  <a:gd name="connsiteY14" fmla="*/ 771142 h 1901488"/>
                  <a:gd name="connsiteX15" fmla="*/ 5963434 w 10382329"/>
                  <a:gd name="connsiteY15" fmla="*/ 754148 h 1901488"/>
                  <a:gd name="connsiteX16" fmla="*/ 6593152 w 10382329"/>
                  <a:gd name="connsiteY16" fmla="*/ 762654 h 1901488"/>
                  <a:gd name="connsiteX17" fmla="*/ 7429162 w 10382329"/>
                  <a:gd name="connsiteY17" fmla="*/ 762654 h 1901488"/>
                  <a:gd name="connsiteX18" fmla="*/ 8493175 w 10382329"/>
                  <a:gd name="connsiteY18" fmla="*/ 788154 h 1901488"/>
                  <a:gd name="connsiteX19" fmla="*/ 9242330 w 10382329"/>
                  <a:gd name="connsiteY19" fmla="*/ 779648 h 1901488"/>
                  <a:gd name="connsiteX20" fmla="*/ 9774325 w 10382329"/>
                  <a:gd name="connsiteY20" fmla="*/ 771142 h 1901488"/>
                  <a:gd name="connsiteX21" fmla="*/ 10252048 w 10382329"/>
                  <a:gd name="connsiteY21" fmla="*/ 737154 h 1901488"/>
                  <a:gd name="connsiteX22" fmla="*/ 10382329 w 10382329"/>
                  <a:gd name="connsiteY22" fmla="*/ 754148 h 1901488"/>
                  <a:gd name="connsiteX23" fmla="*/ 10382329 w 10382329"/>
                  <a:gd name="connsiteY23" fmla="*/ 133791 h 1901488"/>
                  <a:gd name="connsiteX24" fmla="*/ 10197753 w 10382329"/>
                  <a:gd name="connsiteY24" fmla="*/ 65870 h 1901488"/>
                  <a:gd name="connsiteX25" fmla="*/ 9383457 w 10382329"/>
                  <a:gd name="connsiteY25" fmla="*/ 14889 h 1901488"/>
                  <a:gd name="connsiteX26" fmla="*/ 8797166 w 10382329"/>
                  <a:gd name="connsiteY26" fmla="*/ 108364 h 1901488"/>
                  <a:gd name="connsiteX27" fmla="*/ 7896016 w 10382329"/>
                  <a:gd name="connsiteY27" fmla="*/ 201839 h 1901488"/>
                  <a:gd name="connsiteX28" fmla="*/ 6929725 w 10382329"/>
                  <a:gd name="connsiteY28" fmla="*/ 201839 h 1901488"/>
                  <a:gd name="connsiteX29" fmla="*/ 5203435 w 10382329"/>
                  <a:gd name="connsiteY29" fmla="*/ 193333 h 1901488"/>
                  <a:gd name="connsiteX30" fmla="*/ 4117707 w 10382329"/>
                  <a:gd name="connsiteY30" fmla="*/ 65870 h 1901488"/>
                  <a:gd name="connsiteX31" fmla="*/ 2326275 w 10382329"/>
                  <a:gd name="connsiteY31" fmla="*/ 57364 h 1901488"/>
                  <a:gd name="connsiteX32" fmla="*/ 1786453 w 10382329"/>
                  <a:gd name="connsiteY32" fmla="*/ 66415 h 1901488"/>
                  <a:gd name="connsiteX0" fmla="*/ 1724759 w 10320635"/>
                  <a:gd name="connsiteY0" fmla="*/ 66415 h 1652063"/>
                  <a:gd name="connsiteX1" fmla="*/ 1607199 w 10320635"/>
                  <a:gd name="connsiteY1" fmla="*/ 625754 h 1652063"/>
                  <a:gd name="connsiteX2" fmla="*/ 82305 w 10320635"/>
                  <a:gd name="connsiteY2" fmla="*/ 1595370 h 1652063"/>
                  <a:gd name="connsiteX3" fmla="*/ 234300 w 10320635"/>
                  <a:gd name="connsiteY3" fmla="*/ 1510401 h 1652063"/>
                  <a:gd name="connsiteX4" fmla="*/ 342868 w 10320635"/>
                  <a:gd name="connsiteY4" fmla="*/ 1229994 h 1652063"/>
                  <a:gd name="connsiteX5" fmla="*/ 451436 w 10320635"/>
                  <a:gd name="connsiteY5" fmla="*/ 873105 h 1652063"/>
                  <a:gd name="connsiteX6" fmla="*/ 603431 w 10320635"/>
                  <a:gd name="connsiteY6" fmla="*/ 737154 h 1652063"/>
                  <a:gd name="connsiteX7" fmla="*/ 907422 w 10320635"/>
                  <a:gd name="connsiteY7" fmla="*/ 737154 h 1652063"/>
                  <a:gd name="connsiteX8" fmla="*/ 1482845 w 10320635"/>
                  <a:gd name="connsiteY8" fmla="*/ 754148 h 1652063"/>
                  <a:gd name="connsiteX9" fmla="*/ 2622844 w 10320635"/>
                  <a:gd name="connsiteY9" fmla="*/ 754148 h 1652063"/>
                  <a:gd name="connsiteX10" fmla="*/ 3317703 w 10320635"/>
                  <a:gd name="connsiteY10" fmla="*/ 788136 h 1652063"/>
                  <a:gd name="connsiteX11" fmla="*/ 3773713 w 10320635"/>
                  <a:gd name="connsiteY11" fmla="*/ 728648 h 1652063"/>
                  <a:gd name="connsiteX12" fmla="*/ 4251435 w 10320635"/>
                  <a:gd name="connsiteY12" fmla="*/ 728648 h 1652063"/>
                  <a:gd name="connsiteX13" fmla="*/ 5022304 w 10320635"/>
                  <a:gd name="connsiteY13" fmla="*/ 771142 h 1652063"/>
                  <a:gd name="connsiteX14" fmla="*/ 5901740 w 10320635"/>
                  <a:gd name="connsiteY14" fmla="*/ 754148 h 1652063"/>
                  <a:gd name="connsiteX15" fmla="*/ 6531458 w 10320635"/>
                  <a:gd name="connsiteY15" fmla="*/ 762654 h 1652063"/>
                  <a:gd name="connsiteX16" fmla="*/ 7367468 w 10320635"/>
                  <a:gd name="connsiteY16" fmla="*/ 762654 h 1652063"/>
                  <a:gd name="connsiteX17" fmla="*/ 8431481 w 10320635"/>
                  <a:gd name="connsiteY17" fmla="*/ 788154 h 1652063"/>
                  <a:gd name="connsiteX18" fmla="*/ 9180636 w 10320635"/>
                  <a:gd name="connsiteY18" fmla="*/ 779648 h 1652063"/>
                  <a:gd name="connsiteX19" fmla="*/ 9712631 w 10320635"/>
                  <a:gd name="connsiteY19" fmla="*/ 771142 h 1652063"/>
                  <a:gd name="connsiteX20" fmla="*/ 10190354 w 10320635"/>
                  <a:gd name="connsiteY20" fmla="*/ 737154 h 1652063"/>
                  <a:gd name="connsiteX21" fmla="*/ 10320635 w 10320635"/>
                  <a:gd name="connsiteY21" fmla="*/ 754148 h 1652063"/>
                  <a:gd name="connsiteX22" fmla="*/ 10320635 w 10320635"/>
                  <a:gd name="connsiteY22" fmla="*/ 133791 h 1652063"/>
                  <a:gd name="connsiteX23" fmla="*/ 10136059 w 10320635"/>
                  <a:gd name="connsiteY23" fmla="*/ 65870 h 1652063"/>
                  <a:gd name="connsiteX24" fmla="*/ 9321763 w 10320635"/>
                  <a:gd name="connsiteY24" fmla="*/ 14889 h 1652063"/>
                  <a:gd name="connsiteX25" fmla="*/ 8735472 w 10320635"/>
                  <a:gd name="connsiteY25" fmla="*/ 108364 h 1652063"/>
                  <a:gd name="connsiteX26" fmla="*/ 7834322 w 10320635"/>
                  <a:gd name="connsiteY26" fmla="*/ 201839 h 1652063"/>
                  <a:gd name="connsiteX27" fmla="*/ 6868031 w 10320635"/>
                  <a:gd name="connsiteY27" fmla="*/ 201839 h 1652063"/>
                  <a:gd name="connsiteX28" fmla="*/ 5141741 w 10320635"/>
                  <a:gd name="connsiteY28" fmla="*/ 193333 h 1652063"/>
                  <a:gd name="connsiteX29" fmla="*/ 4056013 w 10320635"/>
                  <a:gd name="connsiteY29" fmla="*/ 65870 h 1652063"/>
                  <a:gd name="connsiteX30" fmla="*/ 2264581 w 10320635"/>
                  <a:gd name="connsiteY30" fmla="*/ 57364 h 1652063"/>
                  <a:gd name="connsiteX31" fmla="*/ 1724759 w 10320635"/>
                  <a:gd name="connsiteY31" fmla="*/ 66415 h 1652063"/>
                  <a:gd name="connsiteX0" fmla="*/ 1567192 w 10163068"/>
                  <a:gd name="connsiteY0" fmla="*/ 66415 h 1535484"/>
                  <a:gd name="connsiteX1" fmla="*/ 1449632 w 10163068"/>
                  <a:gd name="connsiteY1" fmla="*/ 625754 h 1535484"/>
                  <a:gd name="connsiteX2" fmla="*/ 76733 w 10163068"/>
                  <a:gd name="connsiteY2" fmla="*/ 1510401 h 1535484"/>
                  <a:gd name="connsiteX3" fmla="*/ 185301 w 10163068"/>
                  <a:gd name="connsiteY3" fmla="*/ 1229994 h 1535484"/>
                  <a:gd name="connsiteX4" fmla="*/ 293869 w 10163068"/>
                  <a:gd name="connsiteY4" fmla="*/ 873105 h 1535484"/>
                  <a:gd name="connsiteX5" fmla="*/ 445864 w 10163068"/>
                  <a:gd name="connsiteY5" fmla="*/ 737154 h 1535484"/>
                  <a:gd name="connsiteX6" fmla="*/ 749855 w 10163068"/>
                  <a:gd name="connsiteY6" fmla="*/ 737154 h 1535484"/>
                  <a:gd name="connsiteX7" fmla="*/ 1325278 w 10163068"/>
                  <a:gd name="connsiteY7" fmla="*/ 754148 h 1535484"/>
                  <a:gd name="connsiteX8" fmla="*/ 2465277 w 10163068"/>
                  <a:gd name="connsiteY8" fmla="*/ 754148 h 1535484"/>
                  <a:gd name="connsiteX9" fmla="*/ 3160136 w 10163068"/>
                  <a:gd name="connsiteY9" fmla="*/ 788136 h 1535484"/>
                  <a:gd name="connsiteX10" fmla="*/ 3616146 w 10163068"/>
                  <a:gd name="connsiteY10" fmla="*/ 728648 h 1535484"/>
                  <a:gd name="connsiteX11" fmla="*/ 4093868 w 10163068"/>
                  <a:gd name="connsiteY11" fmla="*/ 728648 h 1535484"/>
                  <a:gd name="connsiteX12" fmla="*/ 4864737 w 10163068"/>
                  <a:gd name="connsiteY12" fmla="*/ 771142 h 1535484"/>
                  <a:gd name="connsiteX13" fmla="*/ 5744173 w 10163068"/>
                  <a:gd name="connsiteY13" fmla="*/ 754148 h 1535484"/>
                  <a:gd name="connsiteX14" fmla="*/ 6373891 w 10163068"/>
                  <a:gd name="connsiteY14" fmla="*/ 762654 h 1535484"/>
                  <a:gd name="connsiteX15" fmla="*/ 7209901 w 10163068"/>
                  <a:gd name="connsiteY15" fmla="*/ 762654 h 1535484"/>
                  <a:gd name="connsiteX16" fmla="*/ 8273914 w 10163068"/>
                  <a:gd name="connsiteY16" fmla="*/ 788154 h 1535484"/>
                  <a:gd name="connsiteX17" fmla="*/ 9023069 w 10163068"/>
                  <a:gd name="connsiteY17" fmla="*/ 779648 h 1535484"/>
                  <a:gd name="connsiteX18" fmla="*/ 9555064 w 10163068"/>
                  <a:gd name="connsiteY18" fmla="*/ 771142 h 1535484"/>
                  <a:gd name="connsiteX19" fmla="*/ 10032787 w 10163068"/>
                  <a:gd name="connsiteY19" fmla="*/ 737154 h 1535484"/>
                  <a:gd name="connsiteX20" fmla="*/ 10163068 w 10163068"/>
                  <a:gd name="connsiteY20" fmla="*/ 754148 h 1535484"/>
                  <a:gd name="connsiteX21" fmla="*/ 10163068 w 10163068"/>
                  <a:gd name="connsiteY21" fmla="*/ 133791 h 1535484"/>
                  <a:gd name="connsiteX22" fmla="*/ 9978492 w 10163068"/>
                  <a:gd name="connsiteY22" fmla="*/ 65870 h 1535484"/>
                  <a:gd name="connsiteX23" fmla="*/ 9164196 w 10163068"/>
                  <a:gd name="connsiteY23" fmla="*/ 14889 h 1535484"/>
                  <a:gd name="connsiteX24" fmla="*/ 8577905 w 10163068"/>
                  <a:gd name="connsiteY24" fmla="*/ 108364 h 1535484"/>
                  <a:gd name="connsiteX25" fmla="*/ 7676755 w 10163068"/>
                  <a:gd name="connsiteY25" fmla="*/ 201839 h 1535484"/>
                  <a:gd name="connsiteX26" fmla="*/ 6710464 w 10163068"/>
                  <a:gd name="connsiteY26" fmla="*/ 201839 h 1535484"/>
                  <a:gd name="connsiteX27" fmla="*/ 4984174 w 10163068"/>
                  <a:gd name="connsiteY27" fmla="*/ 193333 h 1535484"/>
                  <a:gd name="connsiteX28" fmla="*/ 3898446 w 10163068"/>
                  <a:gd name="connsiteY28" fmla="*/ 65870 h 1535484"/>
                  <a:gd name="connsiteX29" fmla="*/ 2107014 w 10163068"/>
                  <a:gd name="connsiteY29" fmla="*/ 57364 h 1535484"/>
                  <a:gd name="connsiteX30" fmla="*/ 1567192 w 10163068"/>
                  <a:gd name="connsiteY30" fmla="*/ 66415 h 1535484"/>
                  <a:gd name="connsiteX0" fmla="*/ 1453651 w 10049527"/>
                  <a:gd name="connsiteY0" fmla="*/ 66415 h 1233597"/>
                  <a:gd name="connsiteX1" fmla="*/ 1336091 w 10049527"/>
                  <a:gd name="connsiteY1" fmla="*/ 625754 h 1233597"/>
                  <a:gd name="connsiteX2" fmla="*/ 71760 w 10049527"/>
                  <a:gd name="connsiteY2" fmla="*/ 1229994 h 1233597"/>
                  <a:gd name="connsiteX3" fmla="*/ 180328 w 10049527"/>
                  <a:gd name="connsiteY3" fmla="*/ 873105 h 1233597"/>
                  <a:gd name="connsiteX4" fmla="*/ 332323 w 10049527"/>
                  <a:gd name="connsiteY4" fmla="*/ 737154 h 1233597"/>
                  <a:gd name="connsiteX5" fmla="*/ 636314 w 10049527"/>
                  <a:gd name="connsiteY5" fmla="*/ 737154 h 1233597"/>
                  <a:gd name="connsiteX6" fmla="*/ 1211737 w 10049527"/>
                  <a:gd name="connsiteY6" fmla="*/ 754148 h 1233597"/>
                  <a:gd name="connsiteX7" fmla="*/ 2351736 w 10049527"/>
                  <a:gd name="connsiteY7" fmla="*/ 754148 h 1233597"/>
                  <a:gd name="connsiteX8" fmla="*/ 3046595 w 10049527"/>
                  <a:gd name="connsiteY8" fmla="*/ 788136 h 1233597"/>
                  <a:gd name="connsiteX9" fmla="*/ 3502605 w 10049527"/>
                  <a:gd name="connsiteY9" fmla="*/ 728648 h 1233597"/>
                  <a:gd name="connsiteX10" fmla="*/ 3980327 w 10049527"/>
                  <a:gd name="connsiteY10" fmla="*/ 728648 h 1233597"/>
                  <a:gd name="connsiteX11" fmla="*/ 4751196 w 10049527"/>
                  <a:gd name="connsiteY11" fmla="*/ 771142 h 1233597"/>
                  <a:gd name="connsiteX12" fmla="*/ 5630632 w 10049527"/>
                  <a:gd name="connsiteY12" fmla="*/ 754148 h 1233597"/>
                  <a:gd name="connsiteX13" fmla="*/ 6260350 w 10049527"/>
                  <a:gd name="connsiteY13" fmla="*/ 762654 h 1233597"/>
                  <a:gd name="connsiteX14" fmla="*/ 7096360 w 10049527"/>
                  <a:gd name="connsiteY14" fmla="*/ 762654 h 1233597"/>
                  <a:gd name="connsiteX15" fmla="*/ 8160373 w 10049527"/>
                  <a:gd name="connsiteY15" fmla="*/ 788154 h 1233597"/>
                  <a:gd name="connsiteX16" fmla="*/ 8909528 w 10049527"/>
                  <a:gd name="connsiteY16" fmla="*/ 779648 h 1233597"/>
                  <a:gd name="connsiteX17" fmla="*/ 9441523 w 10049527"/>
                  <a:gd name="connsiteY17" fmla="*/ 771142 h 1233597"/>
                  <a:gd name="connsiteX18" fmla="*/ 9919246 w 10049527"/>
                  <a:gd name="connsiteY18" fmla="*/ 737154 h 1233597"/>
                  <a:gd name="connsiteX19" fmla="*/ 10049527 w 10049527"/>
                  <a:gd name="connsiteY19" fmla="*/ 754148 h 1233597"/>
                  <a:gd name="connsiteX20" fmla="*/ 10049527 w 10049527"/>
                  <a:gd name="connsiteY20" fmla="*/ 133791 h 1233597"/>
                  <a:gd name="connsiteX21" fmla="*/ 9864951 w 10049527"/>
                  <a:gd name="connsiteY21" fmla="*/ 65870 h 1233597"/>
                  <a:gd name="connsiteX22" fmla="*/ 9050655 w 10049527"/>
                  <a:gd name="connsiteY22" fmla="*/ 14889 h 1233597"/>
                  <a:gd name="connsiteX23" fmla="*/ 8464364 w 10049527"/>
                  <a:gd name="connsiteY23" fmla="*/ 108364 h 1233597"/>
                  <a:gd name="connsiteX24" fmla="*/ 7563214 w 10049527"/>
                  <a:gd name="connsiteY24" fmla="*/ 201839 h 1233597"/>
                  <a:gd name="connsiteX25" fmla="*/ 6596923 w 10049527"/>
                  <a:gd name="connsiteY25" fmla="*/ 201839 h 1233597"/>
                  <a:gd name="connsiteX26" fmla="*/ 4870633 w 10049527"/>
                  <a:gd name="connsiteY26" fmla="*/ 193333 h 1233597"/>
                  <a:gd name="connsiteX27" fmla="*/ 3784905 w 10049527"/>
                  <a:gd name="connsiteY27" fmla="*/ 65870 h 1233597"/>
                  <a:gd name="connsiteX28" fmla="*/ 1993473 w 10049527"/>
                  <a:gd name="connsiteY28" fmla="*/ 57364 h 1233597"/>
                  <a:gd name="connsiteX29" fmla="*/ 1453651 w 10049527"/>
                  <a:gd name="connsiteY29" fmla="*/ 66415 h 1233597"/>
                  <a:gd name="connsiteX0" fmla="*/ 1428093 w 10023969"/>
                  <a:gd name="connsiteY0" fmla="*/ 66415 h 1230579"/>
                  <a:gd name="connsiteX1" fmla="*/ 1310533 w 10023969"/>
                  <a:gd name="connsiteY1" fmla="*/ 625754 h 1230579"/>
                  <a:gd name="connsiteX2" fmla="*/ 46202 w 10023969"/>
                  <a:gd name="connsiteY2" fmla="*/ 1229994 h 1230579"/>
                  <a:gd name="connsiteX3" fmla="*/ 306765 w 10023969"/>
                  <a:gd name="connsiteY3" fmla="*/ 737154 h 1230579"/>
                  <a:gd name="connsiteX4" fmla="*/ 610756 w 10023969"/>
                  <a:gd name="connsiteY4" fmla="*/ 737154 h 1230579"/>
                  <a:gd name="connsiteX5" fmla="*/ 1186179 w 10023969"/>
                  <a:gd name="connsiteY5" fmla="*/ 754148 h 1230579"/>
                  <a:gd name="connsiteX6" fmla="*/ 2326178 w 10023969"/>
                  <a:gd name="connsiteY6" fmla="*/ 754148 h 1230579"/>
                  <a:gd name="connsiteX7" fmla="*/ 3021037 w 10023969"/>
                  <a:gd name="connsiteY7" fmla="*/ 788136 h 1230579"/>
                  <a:gd name="connsiteX8" fmla="*/ 3477047 w 10023969"/>
                  <a:gd name="connsiteY8" fmla="*/ 728648 h 1230579"/>
                  <a:gd name="connsiteX9" fmla="*/ 3954769 w 10023969"/>
                  <a:gd name="connsiteY9" fmla="*/ 728648 h 1230579"/>
                  <a:gd name="connsiteX10" fmla="*/ 4725638 w 10023969"/>
                  <a:gd name="connsiteY10" fmla="*/ 771142 h 1230579"/>
                  <a:gd name="connsiteX11" fmla="*/ 5605074 w 10023969"/>
                  <a:gd name="connsiteY11" fmla="*/ 754148 h 1230579"/>
                  <a:gd name="connsiteX12" fmla="*/ 6234792 w 10023969"/>
                  <a:gd name="connsiteY12" fmla="*/ 762654 h 1230579"/>
                  <a:gd name="connsiteX13" fmla="*/ 7070802 w 10023969"/>
                  <a:gd name="connsiteY13" fmla="*/ 762654 h 1230579"/>
                  <a:gd name="connsiteX14" fmla="*/ 8134815 w 10023969"/>
                  <a:gd name="connsiteY14" fmla="*/ 788154 h 1230579"/>
                  <a:gd name="connsiteX15" fmla="*/ 8883970 w 10023969"/>
                  <a:gd name="connsiteY15" fmla="*/ 779648 h 1230579"/>
                  <a:gd name="connsiteX16" fmla="*/ 9415965 w 10023969"/>
                  <a:gd name="connsiteY16" fmla="*/ 771142 h 1230579"/>
                  <a:gd name="connsiteX17" fmla="*/ 9893688 w 10023969"/>
                  <a:gd name="connsiteY17" fmla="*/ 737154 h 1230579"/>
                  <a:gd name="connsiteX18" fmla="*/ 10023969 w 10023969"/>
                  <a:gd name="connsiteY18" fmla="*/ 754148 h 1230579"/>
                  <a:gd name="connsiteX19" fmla="*/ 10023969 w 10023969"/>
                  <a:gd name="connsiteY19" fmla="*/ 133791 h 1230579"/>
                  <a:gd name="connsiteX20" fmla="*/ 9839393 w 10023969"/>
                  <a:gd name="connsiteY20" fmla="*/ 65870 h 1230579"/>
                  <a:gd name="connsiteX21" fmla="*/ 9025097 w 10023969"/>
                  <a:gd name="connsiteY21" fmla="*/ 14889 h 1230579"/>
                  <a:gd name="connsiteX22" fmla="*/ 8438806 w 10023969"/>
                  <a:gd name="connsiteY22" fmla="*/ 108364 h 1230579"/>
                  <a:gd name="connsiteX23" fmla="*/ 7537656 w 10023969"/>
                  <a:gd name="connsiteY23" fmla="*/ 201839 h 1230579"/>
                  <a:gd name="connsiteX24" fmla="*/ 6571365 w 10023969"/>
                  <a:gd name="connsiteY24" fmla="*/ 201839 h 1230579"/>
                  <a:gd name="connsiteX25" fmla="*/ 4845075 w 10023969"/>
                  <a:gd name="connsiteY25" fmla="*/ 193333 h 1230579"/>
                  <a:gd name="connsiteX26" fmla="*/ 3759347 w 10023969"/>
                  <a:gd name="connsiteY26" fmla="*/ 65870 h 1230579"/>
                  <a:gd name="connsiteX27" fmla="*/ 1967915 w 10023969"/>
                  <a:gd name="connsiteY27" fmla="*/ 57364 h 1230579"/>
                  <a:gd name="connsiteX28" fmla="*/ 1428093 w 10023969"/>
                  <a:gd name="connsiteY28" fmla="*/ 66415 h 1230579"/>
                  <a:gd name="connsiteX0" fmla="*/ 1143230 w 9739106"/>
                  <a:gd name="connsiteY0" fmla="*/ 66415 h 797578"/>
                  <a:gd name="connsiteX1" fmla="*/ 1025670 w 9739106"/>
                  <a:gd name="connsiteY1" fmla="*/ 625754 h 797578"/>
                  <a:gd name="connsiteX2" fmla="*/ 21902 w 9739106"/>
                  <a:gd name="connsiteY2" fmla="*/ 737154 h 797578"/>
                  <a:gd name="connsiteX3" fmla="*/ 325893 w 9739106"/>
                  <a:gd name="connsiteY3" fmla="*/ 737154 h 797578"/>
                  <a:gd name="connsiteX4" fmla="*/ 901316 w 9739106"/>
                  <a:gd name="connsiteY4" fmla="*/ 754148 h 797578"/>
                  <a:gd name="connsiteX5" fmla="*/ 2041315 w 9739106"/>
                  <a:gd name="connsiteY5" fmla="*/ 754148 h 797578"/>
                  <a:gd name="connsiteX6" fmla="*/ 2736174 w 9739106"/>
                  <a:gd name="connsiteY6" fmla="*/ 788136 h 797578"/>
                  <a:gd name="connsiteX7" fmla="*/ 3192184 w 9739106"/>
                  <a:gd name="connsiteY7" fmla="*/ 728648 h 797578"/>
                  <a:gd name="connsiteX8" fmla="*/ 3669906 w 9739106"/>
                  <a:gd name="connsiteY8" fmla="*/ 728648 h 797578"/>
                  <a:gd name="connsiteX9" fmla="*/ 4440775 w 9739106"/>
                  <a:gd name="connsiteY9" fmla="*/ 771142 h 797578"/>
                  <a:gd name="connsiteX10" fmla="*/ 5320211 w 9739106"/>
                  <a:gd name="connsiteY10" fmla="*/ 754148 h 797578"/>
                  <a:gd name="connsiteX11" fmla="*/ 5949929 w 9739106"/>
                  <a:gd name="connsiteY11" fmla="*/ 762654 h 797578"/>
                  <a:gd name="connsiteX12" fmla="*/ 6785939 w 9739106"/>
                  <a:gd name="connsiteY12" fmla="*/ 762654 h 797578"/>
                  <a:gd name="connsiteX13" fmla="*/ 7849952 w 9739106"/>
                  <a:gd name="connsiteY13" fmla="*/ 788154 h 797578"/>
                  <a:gd name="connsiteX14" fmla="*/ 8599107 w 9739106"/>
                  <a:gd name="connsiteY14" fmla="*/ 779648 h 797578"/>
                  <a:gd name="connsiteX15" fmla="*/ 9131102 w 9739106"/>
                  <a:gd name="connsiteY15" fmla="*/ 771142 h 797578"/>
                  <a:gd name="connsiteX16" fmla="*/ 9608825 w 9739106"/>
                  <a:gd name="connsiteY16" fmla="*/ 737154 h 797578"/>
                  <a:gd name="connsiteX17" fmla="*/ 9739106 w 9739106"/>
                  <a:gd name="connsiteY17" fmla="*/ 754148 h 797578"/>
                  <a:gd name="connsiteX18" fmla="*/ 9739106 w 9739106"/>
                  <a:gd name="connsiteY18" fmla="*/ 133791 h 797578"/>
                  <a:gd name="connsiteX19" fmla="*/ 9554530 w 9739106"/>
                  <a:gd name="connsiteY19" fmla="*/ 65870 h 797578"/>
                  <a:gd name="connsiteX20" fmla="*/ 8740234 w 9739106"/>
                  <a:gd name="connsiteY20" fmla="*/ 14889 h 797578"/>
                  <a:gd name="connsiteX21" fmla="*/ 8153943 w 9739106"/>
                  <a:gd name="connsiteY21" fmla="*/ 108364 h 797578"/>
                  <a:gd name="connsiteX22" fmla="*/ 7252793 w 9739106"/>
                  <a:gd name="connsiteY22" fmla="*/ 201839 h 797578"/>
                  <a:gd name="connsiteX23" fmla="*/ 6286502 w 9739106"/>
                  <a:gd name="connsiteY23" fmla="*/ 201839 h 797578"/>
                  <a:gd name="connsiteX24" fmla="*/ 4560212 w 9739106"/>
                  <a:gd name="connsiteY24" fmla="*/ 193333 h 797578"/>
                  <a:gd name="connsiteX25" fmla="*/ 3474484 w 9739106"/>
                  <a:gd name="connsiteY25" fmla="*/ 65870 h 797578"/>
                  <a:gd name="connsiteX26" fmla="*/ 1683052 w 9739106"/>
                  <a:gd name="connsiteY26" fmla="*/ 57364 h 797578"/>
                  <a:gd name="connsiteX27" fmla="*/ 1143230 w 9739106"/>
                  <a:gd name="connsiteY27" fmla="*/ 66415 h 797578"/>
                  <a:gd name="connsiteX0" fmla="*/ 817337 w 9413213"/>
                  <a:gd name="connsiteY0" fmla="*/ 66415 h 797576"/>
                  <a:gd name="connsiteX1" fmla="*/ 699777 w 9413213"/>
                  <a:gd name="connsiteY1" fmla="*/ 625754 h 797576"/>
                  <a:gd name="connsiteX2" fmla="*/ 0 w 9413213"/>
                  <a:gd name="connsiteY2" fmla="*/ 737154 h 797576"/>
                  <a:gd name="connsiteX3" fmla="*/ 575423 w 9413213"/>
                  <a:gd name="connsiteY3" fmla="*/ 754148 h 797576"/>
                  <a:gd name="connsiteX4" fmla="*/ 1715422 w 9413213"/>
                  <a:gd name="connsiteY4" fmla="*/ 754148 h 797576"/>
                  <a:gd name="connsiteX5" fmla="*/ 2410281 w 9413213"/>
                  <a:gd name="connsiteY5" fmla="*/ 788136 h 797576"/>
                  <a:gd name="connsiteX6" fmla="*/ 2866291 w 9413213"/>
                  <a:gd name="connsiteY6" fmla="*/ 728648 h 797576"/>
                  <a:gd name="connsiteX7" fmla="*/ 3344013 w 9413213"/>
                  <a:gd name="connsiteY7" fmla="*/ 728648 h 797576"/>
                  <a:gd name="connsiteX8" fmla="*/ 4114882 w 9413213"/>
                  <a:gd name="connsiteY8" fmla="*/ 771142 h 797576"/>
                  <a:gd name="connsiteX9" fmla="*/ 4994318 w 9413213"/>
                  <a:gd name="connsiteY9" fmla="*/ 754148 h 797576"/>
                  <a:gd name="connsiteX10" fmla="*/ 5624036 w 9413213"/>
                  <a:gd name="connsiteY10" fmla="*/ 762654 h 797576"/>
                  <a:gd name="connsiteX11" fmla="*/ 6460046 w 9413213"/>
                  <a:gd name="connsiteY11" fmla="*/ 762654 h 797576"/>
                  <a:gd name="connsiteX12" fmla="*/ 7524059 w 9413213"/>
                  <a:gd name="connsiteY12" fmla="*/ 788154 h 797576"/>
                  <a:gd name="connsiteX13" fmla="*/ 8273214 w 9413213"/>
                  <a:gd name="connsiteY13" fmla="*/ 779648 h 797576"/>
                  <a:gd name="connsiteX14" fmla="*/ 8805209 w 9413213"/>
                  <a:gd name="connsiteY14" fmla="*/ 771142 h 797576"/>
                  <a:gd name="connsiteX15" fmla="*/ 9282932 w 9413213"/>
                  <a:gd name="connsiteY15" fmla="*/ 737154 h 797576"/>
                  <a:gd name="connsiteX16" fmla="*/ 9413213 w 9413213"/>
                  <a:gd name="connsiteY16" fmla="*/ 754148 h 797576"/>
                  <a:gd name="connsiteX17" fmla="*/ 9413213 w 9413213"/>
                  <a:gd name="connsiteY17" fmla="*/ 133791 h 797576"/>
                  <a:gd name="connsiteX18" fmla="*/ 9228637 w 9413213"/>
                  <a:gd name="connsiteY18" fmla="*/ 65870 h 797576"/>
                  <a:gd name="connsiteX19" fmla="*/ 8414341 w 9413213"/>
                  <a:gd name="connsiteY19" fmla="*/ 14889 h 797576"/>
                  <a:gd name="connsiteX20" fmla="*/ 7828050 w 9413213"/>
                  <a:gd name="connsiteY20" fmla="*/ 108364 h 797576"/>
                  <a:gd name="connsiteX21" fmla="*/ 6926900 w 9413213"/>
                  <a:gd name="connsiteY21" fmla="*/ 201839 h 797576"/>
                  <a:gd name="connsiteX22" fmla="*/ 5960609 w 9413213"/>
                  <a:gd name="connsiteY22" fmla="*/ 201839 h 797576"/>
                  <a:gd name="connsiteX23" fmla="*/ 4234319 w 9413213"/>
                  <a:gd name="connsiteY23" fmla="*/ 193333 h 797576"/>
                  <a:gd name="connsiteX24" fmla="*/ 3148591 w 9413213"/>
                  <a:gd name="connsiteY24" fmla="*/ 65870 h 797576"/>
                  <a:gd name="connsiteX25" fmla="*/ 1357159 w 9413213"/>
                  <a:gd name="connsiteY25" fmla="*/ 57364 h 797576"/>
                  <a:gd name="connsiteX26" fmla="*/ 817337 w 9413213"/>
                  <a:gd name="connsiteY26" fmla="*/ 66415 h 797576"/>
                  <a:gd name="connsiteX0" fmla="*/ 299581 w 8895457"/>
                  <a:gd name="connsiteY0" fmla="*/ 66415 h 797578"/>
                  <a:gd name="connsiteX1" fmla="*/ 182021 w 8895457"/>
                  <a:gd name="connsiteY1" fmla="*/ 625754 h 797578"/>
                  <a:gd name="connsiteX2" fmla="*/ 57667 w 8895457"/>
                  <a:gd name="connsiteY2" fmla="*/ 754148 h 797578"/>
                  <a:gd name="connsiteX3" fmla="*/ 1197666 w 8895457"/>
                  <a:gd name="connsiteY3" fmla="*/ 754148 h 797578"/>
                  <a:gd name="connsiteX4" fmla="*/ 1892525 w 8895457"/>
                  <a:gd name="connsiteY4" fmla="*/ 788136 h 797578"/>
                  <a:gd name="connsiteX5" fmla="*/ 2348535 w 8895457"/>
                  <a:gd name="connsiteY5" fmla="*/ 728648 h 797578"/>
                  <a:gd name="connsiteX6" fmla="*/ 2826257 w 8895457"/>
                  <a:gd name="connsiteY6" fmla="*/ 728648 h 797578"/>
                  <a:gd name="connsiteX7" fmla="*/ 3597126 w 8895457"/>
                  <a:gd name="connsiteY7" fmla="*/ 771142 h 797578"/>
                  <a:gd name="connsiteX8" fmla="*/ 4476562 w 8895457"/>
                  <a:gd name="connsiteY8" fmla="*/ 754148 h 797578"/>
                  <a:gd name="connsiteX9" fmla="*/ 5106280 w 8895457"/>
                  <a:gd name="connsiteY9" fmla="*/ 762654 h 797578"/>
                  <a:gd name="connsiteX10" fmla="*/ 5942290 w 8895457"/>
                  <a:gd name="connsiteY10" fmla="*/ 762654 h 797578"/>
                  <a:gd name="connsiteX11" fmla="*/ 7006303 w 8895457"/>
                  <a:gd name="connsiteY11" fmla="*/ 788154 h 797578"/>
                  <a:gd name="connsiteX12" fmla="*/ 7755458 w 8895457"/>
                  <a:gd name="connsiteY12" fmla="*/ 779648 h 797578"/>
                  <a:gd name="connsiteX13" fmla="*/ 8287453 w 8895457"/>
                  <a:gd name="connsiteY13" fmla="*/ 771142 h 797578"/>
                  <a:gd name="connsiteX14" fmla="*/ 8765176 w 8895457"/>
                  <a:gd name="connsiteY14" fmla="*/ 737154 h 797578"/>
                  <a:gd name="connsiteX15" fmla="*/ 8895457 w 8895457"/>
                  <a:gd name="connsiteY15" fmla="*/ 754148 h 797578"/>
                  <a:gd name="connsiteX16" fmla="*/ 8895457 w 8895457"/>
                  <a:gd name="connsiteY16" fmla="*/ 133791 h 797578"/>
                  <a:gd name="connsiteX17" fmla="*/ 8710881 w 8895457"/>
                  <a:gd name="connsiteY17" fmla="*/ 65870 h 797578"/>
                  <a:gd name="connsiteX18" fmla="*/ 7896585 w 8895457"/>
                  <a:gd name="connsiteY18" fmla="*/ 14889 h 797578"/>
                  <a:gd name="connsiteX19" fmla="*/ 7310294 w 8895457"/>
                  <a:gd name="connsiteY19" fmla="*/ 108364 h 797578"/>
                  <a:gd name="connsiteX20" fmla="*/ 6409144 w 8895457"/>
                  <a:gd name="connsiteY20" fmla="*/ 201839 h 797578"/>
                  <a:gd name="connsiteX21" fmla="*/ 5442853 w 8895457"/>
                  <a:gd name="connsiteY21" fmla="*/ 201839 h 797578"/>
                  <a:gd name="connsiteX22" fmla="*/ 3716563 w 8895457"/>
                  <a:gd name="connsiteY22" fmla="*/ 193333 h 797578"/>
                  <a:gd name="connsiteX23" fmla="*/ 2630835 w 8895457"/>
                  <a:gd name="connsiteY23" fmla="*/ 65870 h 797578"/>
                  <a:gd name="connsiteX24" fmla="*/ 839403 w 8895457"/>
                  <a:gd name="connsiteY24" fmla="*/ 57364 h 797578"/>
                  <a:gd name="connsiteX25" fmla="*/ 299581 w 8895457"/>
                  <a:gd name="connsiteY25" fmla="*/ 66415 h 797578"/>
                  <a:gd name="connsiteX0" fmla="*/ 300385 w 8896261"/>
                  <a:gd name="connsiteY0" fmla="*/ 66415 h 797969"/>
                  <a:gd name="connsiteX1" fmla="*/ 182825 w 8896261"/>
                  <a:gd name="connsiteY1" fmla="*/ 625754 h 797969"/>
                  <a:gd name="connsiteX2" fmla="*/ 1198470 w 8896261"/>
                  <a:gd name="connsiteY2" fmla="*/ 754148 h 797969"/>
                  <a:gd name="connsiteX3" fmla="*/ 1893329 w 8896261"/>
                  <a:gd name="connsiteY3" fmla="*/ 788136 h 797969"/>
                  <a:gd name="connsiteX4" fmla="*/ 2349339 w 8896261"/>
                  <a:gd name="connsiteY4" fmla="*/ 728648 h 797969"/>
                  <a:gd name="connsiteX5" fmla="*/ 2827061 w 8896261"/>
                  <a:gd name="connsiteY5" fmla="*/ 728648 h 797969"/>
                  <a:gd name="connsiteX6" fmla="*/ 3597930 w 8896261"/>
                  <a:gd name="connsiteY6" fmla="*/ 771142 h 797969"/>
                  <a:gd name="connsiteX7" fmla="*/ 4477366 w 8896261"/>
                  <a:gd name="connsiteY7" fmla="*/ 754148 h 797969"/>
                  <a:gd name="connsiteX8" fmla="*/ 5107084 w 8896261"/>
                  <a:gd name="connsiteY8" fmla="*/ 762654 h 797969"/>
                  <a:gd name="connsiteX9" fmla="*/ 5943094 w 8896261"/>
                  <a:gd name="connsiteY9" fmla="*/ 762654 h 797969"/>
                  <a:gd name="connsiteX10" fmla="*/ 7007107 w 8896261"/>
                  <a:gd name="connsiteY10" fmla="*/ 788154 h 797969"/>
                  <a:gd name="connsiteX11" fmla="*/ 7756262 w 8896261"/>
                  <a:gd name="connsiteY11" fmla="*/ 779648 h 797969"/>
                  <a:gd name="connsiteX12" fmla="*/ 8288257 w 8896261"/>
                  <a:gd name="connsiteY12" fmla="*/ 771142 h 797969"/>
                  <a:gd name="connsiteX13" fmla="*/ 8765980 w 8896261"/>
                  <a:gd name="connsiteY13" fmla="*/ 737154 h 797969"/>
                  <a:gd name="connsiteX14" fmla="*/ 8896261 w 8896261"/>
                  <a:gd name="connsiteY14" fmla="*/ 754148 h 797969"/>
                  <a:gd name="connsiteX15" fmla="*/ 8896261 w 8896261"/>
                  <a:gd name="connsiteY15" fmla="*/ 133791 h 797969"/>
                  <a:gd name="connsiteX16" fmla="*/ 8711685 w 8896261"/>
                  <a:gd name="connsiteY16" fmla="*/ 65870 h 797969"/>
                  <a:gd name="connsiteX17" fmla="*/ 7897389 w 8896261"/>
                  <a:gd name="connsiteY17" fmla="*/ 14889 h 797969"/>
                  <a:gd name="connsiteX18" fmla="*/ 7311098 w 8896261"/>
                  <a:gd name="connsiteY18" fmla="*/ 108364 h 797969"/>
                  <a:gd name="connsiteX19" fmla="*/ 6409948 w 8896261"/>
                  <a:gd name="connsiteY19" fmla="*/ 201839 h 797969"/>
                  <a:gd name="connsiteX20" fmla="*/ 5443657 w 8896261"/>
                  <a:gd name="connsiteY20" fmla="*/ 201839 h 797969"/>
                  <a:gd name="connsiteX21" fmla="*/ 3717367 w 8896261"/>
                  <a:gd name="connsiteY21" fmla="*/ 193333 h 797969"/>
                  <a:gd name="connsiteX22" fmla="*/ 2631639 w 8896261"/>
                  <a:gd name="connsiteY22" fmla="*/ 65870 h 797969"/>
                  <a:gd name="connsiteX23" fmla="*/ 840207 w 8896261"/>
                  <a:gd name="connsiteY23" fmla="*/ 57364 h 797969"/>
                  <a:gd name="connsiteX24" fmla="*/ 300385 w 8896261"/>
                  <a:gd name="connsiteY24" fmla="*/ 66415 h 797969"/>
                  <a:gd name="connsiteX0" fmla="*/ 263649 w 8859525"/>
                  <a:gd name="connsiteY0" fmla="*/ 66415 h 795901"/>
                  <a:gd name="connsiteX1" fmla="*/ 238952 w 8859525"/>
                  <a:gd name="connsiteY1" fmla="*/ 726571 h 795901"/>
                  <a:gd name="connsiteX2" fmla="*/ 1161734 w 8859525"/>
                  <a:gd name="connsiteY2" fmla="*/ 754148 h 795901"/>
                  <a:gd name="connsiteX3" fmla="*/ 1856593 w 8859525"/>
                  <a:gd name="connsiteY3" fmla="*/ 788136 h 795901"/>
                  <a:gd name="connsiteX4" fmla="*/ 2312603 w 8859525"/>
                  <a:gd name="connsiteY4" fmla="*/ 728648 h 795901"/>
                  <a:gd name="connsiteX5" fmla="*/ 2790325 w 8859525"/>
                  <a:gd name="connsiteY5" fmla="*/ 728648 h 795901"/>
                  <a:gd name="connsiteX6" fmla="*/ 3561194 w 8859525"/>
                  <a:gd name="connsiteY6" fmla="*/ 771142 h 795901"/>
                  <a:gd name="connsiteX7" fmla="*/ 4440630 w 8859525"/>
                  <a:gd name="connsiteY7" fmla="*/ 754148 h 795901"/>
                  <a:gd name="connsiteX8" fmla="*/ 5070348 w 8859525"/>
                  <a:gd name="connsiteY8" fmla="*/ 762654 h 795901"/>
                  <a:gd name="connsiteX9" fmla="*/ 5906358 w 8859525"/>
                  <a:gd name="connsiteY9" fmla="*/ 762654 h 795901"/>
                  <a:gd name="connsiteX10" fmla="*/ 6970371 w 8859525"/>
                  <a:gd name="connsiteY10" fmla="*/ 788154 h 795901"/>
                  <a:gd name="connsiteX11" fmla="*/ 7719526 w 8859525"/>
                  <a:gd name="connsiteY11" fmla="*/ 779648 h 795901"/>
                  <a:gd name="connsiteX12" fmla="*/ 8251521 w 8859525"/>
                  <a:gd name="connsiteY12" fmla="*/ 771142 h 795901"/>
                  <a:gd name="connsiteX13" fmla="*/ 8729244 w 8859525"/>
                  <a:gd name="connsiteY13" fmla="*/ 737154 h 795901"/>
                  <a:gd name="connsiteX14" fmla="*/ 8859525 w 8859525"/>
                  <a:gd name="connsiteY14" fmla="*/ 754148 h 795901"/>
                  <a:gd name="connsiteX15" fmla="*/ 8859525 w 8859525"/>
                  <a:gd name="connsiteY15" fmla="*/ 133791 h 795901"/>
                  <a:gd name="connsiteX16" fmla="*/ 8674949 w 8859525"/>
                  <a:gd name="connsiteY16" fmla="*/ 65870 h 795901"/>
                  <a:gd name="connsiteX17" fmla="*/ 7860653 w 8859525"/>
                  <a:gd name="connsiteY17" fmla="*/ 14889 h 795901"/>
                  <a:gd name="connsiteX18" fmla="*/ 7274362 w 8859525"/>
                  <a:gd name="connsiteY18" fmla="*/ 108364 h 795901"/>
                  <a:gd name="connsiteX19" fmla="*/ 6373212 w 8859525"/>
                  <a:gd name="connsiteY19" fmla="*/ 201839 h 795901"/>
                  <a:gd name="connsiteX20" fmla="*/ 5406921 w 8859525"/>
                  <a:gd name="connsiteY20" fmla="*/ 201839 h 795901"/>
                  <a:gd name="connsiteX21" fmla="*/ 3680631 w 8859525"/>
                  <a:gd name="connsiteY21" fmla="*/ 193333 h 795901"/>
                  <a:gd name="connsiteX22" fmla="*/ 2594903 w 8859525"/>
                  <a:gd name="connsiteY22" fmla="*/ 65870 h 795901"/>
                  <a:gd name="connsiteX23" fmla="*/ 803471 w 8859525"/>
                  <a:gd name="connsiteY23" fmla="*/ 57364 h 795901"/>
                  <a:gd name="connsiteX24" fmla="*/ 263649 w 8859525"/>
                  <a:gd name="connsiteY24" fmla="*/ 66415 h 795901"/>
                  <a:gd name="connsiteX0" fmla="*/ 224684 w 8820560"/>
                  <a:gd name="connsiteY0" fmla="*/ 66415 h 815564"/>
                  <a:gd name="connsiteX1" fmla="*/ 199987 w 8820560"/>
                  <a:gd name="connsiteY1" fmla="*/ 726571 h 815564"/>
                  <a:gd name="connsiteX2" fmla="*/ 1122769 w 8820560"/>
                  <a:gd name="connsiteY2" fmla="*/ 754148 h 815564"/>
                  <a:gd name="connsiteX3" fmla="*/ 1817628 w 8820560"/>
                  <a:gd name="connsiteY3" fmla="*/ 788136 h 815564"/>
                  <a:gd name="connsiteX4" fmla="*/ 2273638 w 8820560"/>
                  <a:gd name="connsiteY4" fmla="*/ 728648 h 815564"/>
                  <a:gd name="connsiteX5" fmla="*/ 2751360 w 8820560"/>
                  <a:gd name="connsiteY5" fmla="*/ 728648 h 815564"/>
                  <a:gd name="connsiteX6" fmla="*/ 3522229 w 8820560"/>
                  <a:gd name="connsiteY6" fmla="*/ 771142 h 815564"/>
                  <a:gd name="connsiteX7" fmla="*/ 4401665 w 8820560"/>
                  <a:gd name="connsiteY7" fmla="*/ 754148 h 815564"/>
                  <a:gd name="connsiteX8" fmla="*/ 5031383 w 8820560"/>
                  <a:gd name="connsiteY8" fmla="*/ 762654 h 815564"/>
                  <a:gd name="connsiteX9" fmla="*/ 5867393 w 8820560"/>
                  <a:gd name="connsiteY9" fmla="*/ 762654 h 815564"/>
                  <a:gd name="connsiteX10" fmla="*/ 6931406 w 8820560"/>
                  <a:gd name="connsiteY10" fmla="*/ 788154 h 815564"/>
                  <a:gd name="connsiteX11" fmla="*/ 7680561 w 8820560"/>
                  <a:gd name="connsiteY11" fmla="*/ 779648 h 815564"/>
                  <a:gd name="connsiteX12" fmla="*/ 8212556 w 8820560"/>
                  <a:gd name="connsiteY12" fmla="*/ 771142 h 815564"/>
                  <a:gd name="connsiteX13" fmla="*/ 8690279 w 8820560"/>
                  <a:gd name="connsiteY13" fmla="*/ 737154 h 815564"/>
                  <a:gd name="connsiteX14" fmla="*/ 8820560 w 8820560"/>
                  <a:gd name="connsiteY14" fmla="*/ 754148 h 815564"/>
                  <a:gd name="connsiteX15" fmla="*/ 8820560 w 8820560"/>
                  <a:gd name="connsiteY15" fmla="*/ 133791 h 815564"/>
                  <a:gd name="connsiteX16" fmla="*/ 8635984 w 8820560"/>
                  <a:gd name="connsiteY16" fmla="*/ 65870 h 815564"/>
                  <a:gd name="connsiteX17" fmla="*/ 7821688 w 8820560"/>
                  <a:gd name="connsiteY17" fmla="*/ 14889 h 815564"/>
                  <a:gd name="connsiteX18" fmla="*/ 7235397 w 8820560"/>
                  <a:gd name="connsiteY18" fmla="*/ 108364 h 815564"/>
                  <a:gd name="connsiteX19" fmla="*/ 6334247 w 8820560"/>
                  <a:gd name="connsiteY19" fmla="*/ 201839 h 815564"/>
                  <a:gd name="connsiteX20" fmla="*/ 5367956 w 8820560"/>
                  <a:gd name="connsiteY20" fmla="*/ 201839 h 815564"/>
                  <a:gd name="connsiteX21" fmla="*/ 3641666 w 8820560"/>
                  <a:gd name="connsiteY21" fmla="*/ 193333 h 815564"/>
                  <a:gd name="connsiteX22" fmla="*/ 2555938 w 8820560"/>
                  <a:gd name="connsiteY22" fmla="*/ 65870 h 815564"/>
                  <a:gd name="connsiteX23" fmla="*/ 764506 w 8820560"/>
                  <a:gd name="connsiteY23" fmla="*/ 57364 h 815564"/>
                  <a:gd name="connsiteX24" fmla="*/ 224684 w 8820560"/>
                  <a:gd name="connsiteY24" fmla="*/ 66415 h 815564"/>
                  <a:gd name="connsiteX0" fmla="*/ 93047 w 8688923"/>
                  <a:gd name="connsiteY0" fmla="*/ 66415 h 795903"/>
                  <a:gd name="connsiteX1" fmla="*/ 71109 w 8688923"/>
                  <a:gd name="connsiteY1" fmla="*/ 350379 h 795903"/>
                  <a:gd name="connsiteX2" fmla="*/ 68350 w 8688923"/>
                  <a:gd name="connsiteY2" fmla="*/ 726571 h 795903"/>
                  <a:gd name="connsiteX3" fmla="*/ 991132 w 8688923"/>
                  <a:gd name="connsiteY3" fmla="*/ 754148 h 795903"/>
                  <a:gd name="connsiteX4" fmla="*/ 1685991 w 8688923"/>
                  <a:gd name="connsiteY4" fmla="*/ 788136 h 795903"/>
                  <a:gd name="connsiteX5" fmla="*/ 2142001 w 8688923"/>
                  <a:gd name="connsiteY5" fmla="*/ 728648 h 795903"/>
                  <a:gd name="connsiteX6" fmla="*/ 2619723 w 8688923"/>
                  <a:gd name="connsiteY6" fmla="*/ 728648 h 795903"/>
                  <a:gd name="connsiteX7" fmla="*/ 3390592 w 8688923"/>
                  <a:gd name="connsiteY7" fmla="*/ 771142 h 795903"/>
                  <a:gd name="connsiteX8" fmla="*/ 4270028 w 8688923"/>
                  <a:gd name="connsiteY8" fmla="*/ 754148 h 795903"/>
                  <a:gd name="connsiteX9" fmla="*/ 4899746 w 8688923"/>
                  <a:gd name="connsiteY9" fmla="*/ 762654 h 795903"/>
                  <a:gd name="connsiteX10" fmla="*/ 5735756 w 8688923"/>
                  <a:gd name="connsiteY10" fmla="*/ 762654 h 795903"/>
                  <a:gd name="connsiteX11" fmla="*/ 6799769 w 8688923"/>
                  <a:gd name="connsiteY11" fmla="*/ 788154 h 795903"/>
                  <a:gd name="connsiteX12" fmla="*/ 7548924 w 8688923"/>
                  <a:gd name="connsiteY12" fmla="*/ 779648 h 795903"/>
                  <a:gd name="connsiteX13" fmla="*/ 8080919 w 8688923"/>
                  <a:gd name="connsiteY13" fmla="*/ 771142 h 795903"/>
                  <a:gd name="connsiteX14" fmla="*/ 8558642 w 8688923"/>
                  <a:gd name="connsiteY14" fmla="*/ 737154 h 795903"/>
                  <a:gd name="connsiteX15" fmla="*/ 8688923 w 8688923"/>
                  <a:gd name="connsiteY15" fmla="*/ 754148 h 795903"/>
                  <a:gd name="connsiteX16" fmla="*/ 8688923 w 8688923"/>
                  <a:gd name="connsiteY16" fmla="*/ 133791 h 795903"/>
                  <a:gd name="connsiteX17" fmla="*/ 8504347 w 8688923"/>
                  <a:gd name="connsiteY17" fmla="*/ 65870 h 795903"/>
                  <a:gd name="connsiteX18" fmla="*/ 7690051 w 8688923"/>
                  <a:gd name="connsiteY18" fmla="*/ 14889 h 795903"/>
                  <a:gd name="connsiteX19" fmla="*/ 7103760 w 8688923"/>
                  <a:gd name="connsiteY19" fmla="*/ 108364 h 795903"/>
                  <a:gd name="connsiteX20" fmla="*/ 6202610 w 8688923"/>
                  <a:gd name="connsiteY20" fmla="*/ 201839 h 795903"/>
                  <a:gd name="connsiteX21" fmla="*/ 5236319 w 8688923"/>
                  <a:gd name="connsiteY21" fmla="*/ 201839 h 795903"/>
                  <a:gd name="connsiteX22" fmla="*/ 3510029 w 8688923"/>
                  <a:gd name="connsiteY22" fmla="*/ 193333 h 795903"/>
                  <a:gd name="connsiteX23" fmla="*/ 2424301 w 8688923"/>
                  <a:gd name="connsiteY23" fmla="*/ 65870 h 795903"/>
                  <a:gd name="connsiteX24" fmla="*/ 632869 w 8688923"/>
                  <a:gd name="connsiteY24" fmla="*/ 57364 h 795903"/>
                  <a:gd name="connsiteX25" fmla="*/ 93047 w 8688923"/>
                  <a:gd name="connsiteY25" fmla="*/ 66415 h 795903"/>
                  <a:gd name="connsiteX0" fmla="*/ 91443 w 8687319"/>
                  <a:gd name="connsiteY0" fmla="*/ 66415 h 795901"/>
                  <a:gd name="connsiteX1" fmla="*/ 69505 w 8687319"/>
                  <a:gd name="connsiteY1" fmla="*/ 350379 h 795901"/>
                  <a:gd name="connsiteX2" fmla="*/ 66746 w 8687319"/>
                  <a:gd name="connsiteY2" fmla="*/ 726571 h 795901"/>
                  <a:gd name="connsiteX3" fmla="*/ 989528 w 8687319"/>
                  <a:gd name="connsiteY3" fmla="*/ 754148 h 795901"/>
                  <a:gd name="connsiteX4" fmla="*/ 1684387 w 8687319"/>
                  <a:gd name="connsiteY4" fmla="*/ 788136 h 795901"/>
                  <a:gd name="connsiteX5" fmla="*/ 2140397 w 8687319"/>
                  <a:gd name="connsiteY5" fmla="*/ 728648 h 795901"/>
                  <a:gd name="connsiteX6" fmla="*/ 2618119 w 8687319"/>
                  <a:gd name="connsiteY6" fmla="*/ 728648 h 795901"/>
                  <a:gd name="connsiteX7" fmla="*/ 3388988 w 8687319"/>
                  <a:gd name="connsiteY7" fmla="*/ 771142 h 795901"/>
                  <a:gd name="connsiteX8" fmla="*/ 4268424 w 8687319"/>
                  <a:gd name="connsiteY8" fmla="*/ 754148 h 795901"/>
                  <a:gd name="connsiteX9" fmla="*/ 4898142 w 8687319"/>
                  <a:gd name="connsiteY9" fmla="*/ 762654 h 795901"/>
                  <a:gd name="connsiteX10" fmla="*/ 5734152 w 8687319"/>
                  <a:gd name="connsiteY10" fmla="*/ 762654 h 795901"/>
                  <a:gd name="connsiteX11" fmla="*/ 6798165 w 8687319"/>
                  <a:gd name="connsiteY11" fmla="*/ 788154 h 795901"/>
                  <a:gd name="connsiteX12" fmla="*/ 7547320 w 8687319"/>
                  <a:gd name="connsiteY12" fmla="*/ 779648 h 795901"/>
                  <a:gd name="connsiteX13" fmla="*/ 8079315 w 8687319"/>
                  <a:gd name="connsiteY13" fmla="*/ 771142 h 795901"/>
                  <a:gd name="connsiteX14" fmla="*/ 8557038 w 8687319"/>
                  <a:gd name="connsiteY14" fmla="*/ 737154 h 795901"/>
                  <a:gd name="connsiteX15" fmla="*/ 8687319 w 8687319"/>
                  <a:gd name="connsiteY15" fmla="*/ 754148 h 795901"/>
                  <a:gd name="connsiteX16" fmla="*/ 8687319 w 8687319"/>
                  <a:gd name="connsiteY16" fmla="*/ 133791 h 795901"/>
                  <a:gd name="connsiteX17" fmla="*/ 8502743 w 8687319"/>
                  <a:gd name="connsiteY17" fmla="*/ 65870 h 795901"/>
                  <a:gd name="connsiteX18" fmla="*/ 7688447 w 8687319"/>
                  <a:gd name="connsiteY18" fmla="*/ 14889 h 795901"/>
                  <a:gd name="connsiteX19" fmla="*/ 7102156 w 8687319"/>
                  <a:gd name="connsiteY19" fmla="*/ 108364 h 795901"/>
                  <a:gd name="connsiteX20" fmla="*/ 6201006 w 8687319"/>
                  <a:gd name="connsiteY20" fmla="*/ 201839 h 795901"/>
                  <a:gd name="connsiteX21" fmla="*/ 5234715 w 8687319"/>
                  <a:gd name="connsiteY21" fmla="*/ 201839 h 795901"/>
                  <a:gd name="connsiteX22" fmla="*/ 3508425 w 8687319"/>
                  <a:gd name="connsiteY22" fmla="*/ 193333 h 795901"/>
                  <a:gd name="connsiteX23" fmla="*/ 2422697 w 8687319"/>
                  <a:gd name="connsiteY23" fmla="*/ 65870 h 795901"/>
                  <a:gd name="connsiteX24" fmla="*/ 631265 w 8687319"/>
                  <a:gd name="connsiteY24" fmla="*/ 57364 h 795901"/>
                  <a:gd name="connsiteX25" fmla="*/ 91443 w 8687319"/>
                  <a:gd name="connsiteY25" fmla="*/ 66415 h 795901"/>
                  <a:gd name="connsiteX0" fmla="*/ 91443 w 8687319"/>
                  <a:gd name="connsiteY0" fmla="*/ 66415 h 795903"/>
                  <a:gd name="connsiteX1" fmla="*/ 69505 w 8687319"/>
                  <a:gd name="connsiteY1" fmla="*/ 350379 h 795903"/>
                  <a:gd name="connsiteX2" fmla="*/ 66746 w 8687319"/>
                  <a:gd name="connsiteY2" fmla="*/ 726571 h 795903"/>
                  <a:gd name="connsiteX3" fmla="*/ 989528 w 8687319"/>
                  <a:gd name="connsiteY3" fmla="*/ 754148 h 795903"/>
                  <a:gd name="connsiteX4" fmla="*/ 1684387 w 8687319"/>
                  <a:gd name="connsiteY4" fmla="*/ 788136 h 795903"/>
                  <a:gd name="connsiteX5" fmla="*/ 2140397 w 8687319"/>
                  <a:gd name="connsiteY5" fmla="*/ 728648 h 795903"/>
                  <a:gd name="connsiteX6" fmla="*/ 2618119 w 8687319"/>
                  <a:gd name="connsiteY6" fmla="*/ 728648 h 795903"/>
                  <a:gd name="connsiteX7" fmla="*/ 3388988 w 8687319"/>
                  <a:gd name="connsiteY7" fmla="*/ 771142 h 795903"/>
                  <a:gd name="connsiteX8" fmla="*/ 4268424 w 8687319"/>
                  <a:gd name="connsiteY8" fmla="*/ 754148 h 795903"/>
                  <a:gd name="connsiteX9" fmla="*/ 4898142 w 8687319"/>
                  <a:gd name="connsiteY9" fmla="*/ 762654 h 795903"/>
                  <a:gd name="connsiteX10" fmla="*/ 5734152 w 8687319"/>
                  <a:gd name="connsiteY10" fmla="*/ 762654 h 795903"/>
                  <a:gd name="connsiteX11" fmla="*/ 6798165 w 8687319"/>
                  <a:gd name="connsiteY11" fmla="*/ 788154 h 795903"/>
                  <a:gd name="connsiteX12" fmla="*/ 7547320 w 8687319"/>
                  <a:gd name="connsiteY12" fmla="*/ 779648 h 795903"/>
                  <a:gd name="connsiteX13" fmla="*/ 8079315 w 8687319"/>
                  <a:gd name="connsiteY13" fmla="*/ 771142 h 795903"/>
                  <a:gd name="connsiteX14" fmla="*/ 8557038 w 8687319"/>
                  <a:gd name="connsiteY14" fmla="*/ 737154 h 795903"/>
                  <a:gd name="connsiteX15" fmla="*/ 8687319 w 8687319"/>
                  <a:gd name="connsiteY15" fmla="*/ 754148 h 795903"/>
                  <a:gd name="connsiteX16" fmla="*/ 8687319 w 8687319"/>
                  <a:gd name="connsiteY16" fmla="*/ 133791 h 795903"/>
                  <a:gd name="connsiteX17" fmla="*/ 8502743 w 8687319"/>
                  <a:gd name="connsiteY17" fmla="*/ 65870 h 795903"/>
                  <a:gd name="connsiteX18" fmla="*/ 7688447 w 8687319"/>
                  <a:gd name="connsiteY18" fmla="*/ 14889 h 795903"/>
                  <a:gd name="connsiteX19" fmla="*/ 7102156 w 8687319"/>
                  <a:gd name="connsiteY19" fmla="*/ 108364 h 795903"/>
                  <a:gd name="connsiteX20" fmla="*/ 6201006 w 8687319"/>
                  <a:gd name="connsiteY20" fmla="*/ 201839 h 795903"/>
                  <a:gd name="connsiteX21" fmla="*/ 5234715 w 8687319"/>
                  <a:gd name="connsiteY21" fmla="*/ 201839 h 795903"/>
                  <a:gd name="connsiteX22" fmla="*/ 3508425 w 8687319"/>
                  <a:gd name="connsiteY22" fmla="*/ 193333 h 795903"/>
                  <a:gd name="connsiteX23" fmla="*/ 2422697 w 8687319"/>
                  <a:gd name="connsiteY23" fmla="*/ 65870 h 795903"/>
                  <a:gd name="connsiteX24" fmla="*/ 631265 w 8687319"/>
                  <a:gd name="connsiteY24" fmla="*/ 57364 h 795903"/>
                  <a:gd name="connsiteX25" fmla="*/ 91443 w 8687319"/>
                  <a:gd name="connsiteY25" fmla="*/ 66415 h 795903"/>
                  <a:gd name="connsiteX0" fmla="*/ 87616 w 8683492"/>
                  <a:gd name="connsiteY0" fmla="*/ 66415 h 795901"/>
                  <a:gd name="connsiteX1" fmla="*/ 65678 w 8683492"/>
                  <a:gd name="connsiteY1" fmla="*/ 350379 h 795901"/>
                  <a:gd name="connsiteX2" fmla="*/ 80340 w 8683492"/>
                  <a:gd name="connsiteY2" fmla="*/ 609625 h 795901"/>
                  <a:gd name="connsiteX3" fmla="*/ 62919 w 8683492"/>
                  <a:gd name="connsiteY3" fmla="*/ 726571 h 795901"/>
                  <a:gd name="connsiteX4" fmla="*/ 985701 w 8683492"/>
                  <a:gd name="connsiteY4" fmla="*/ 754148 h 795901"/>
                  <a:gd name="connsiteX5" fmla="*/ 1680560 w 8683492"/>
                  <a:gd name="connsiteY5" fmla="*/ 788136 h 795901"/>
                  <a:gd name="connsiteX6" fmla="*/ 2136570 w 8683492"/>
                  <a:gd name="connsiteY6" fmla="*/ 728648 h 795901"/>
                  <a:gd name="connsiteX7" fmla="*/ 2614292 w 8683492"/>
                  <a:gd name="connsiteY7" fmla="*/ 728648 h 795901"/>
                  <a:gd name="connsiteX8" fmla="*/ 3385161 w 8683492"/>
                  <a:gd name="connsiteY8" fmla="*/ 771142 h 795901"/>
                  <a:gd name="connsiteX9" fmla="*/ 4264597 w 8683492"/>
                  <a:gd name="connsiteY9" fmla="*/ 754148 h 795901"/>
                  <a:gd name="connsiteX10" fmla="*/ 4894315 w 8683492"/>
                  <a:gd name="connsiteY10" fmla="*/ 762654 h 795901"/>
                  <a:gd name="connsiteX11" fmla="*/ 5730325 w 8683492"/>
                  <a:gd name="connsiteY11" fmla="*/ 762654 h 795901"/>
                  <a:gd name="connsiteX12" fmla="*/ 6794338 w 8683492"/>
                  <a:gd name="connsiteY12" fmla="*/ 788154 h 795901"/>
                  <a:gd name="connsiteX13" fmla="*/ 7543493 w 8683492"/>
                  <a:gd name="connsiteY13" fmla="*/ 779648 h 795901"/>
                  <a:gd name="connsiteX14" fmla="*/ 8075488 w 8683492"/>
                  <a:gd name="connsiteY14" fmla="*/ 771142 h 795901"/>
                  <a:gd name="connsiteX15" fmla="*/ 8553211 w 8683492"/>
                  <a:gd name="connsiteY15" fmla="*/ 737154 h 795901"/>
                  <a:gd name="connsiteX16" fmla="*/ 8683492 w 8683492"/>
                  <a:gd name="connsiteY16" fmla="*/ 754148 h 795901"/>
                  <a:gd name="connsiteX17" fmla="*/ 8683492 w 8683492"/>
                  <a:gd name="connsiteY17" fmla="*/ 133791 h 795901"/>
                  <a:gd name="connsiteX18" fmla="*/ 8498916 w 8683492"/>
                  <a:gd name="connsiteY18" fmla="*/ 65870 h 795901"/>
                  <a:gd name="connsiteX19" fmla="*/ 7684620 w 8683492"/>
                  <a:gd name="connsiteY19" fmla="*/ 14889 h 795901"/>
                  <a:gd name="connsiteX20" fmla="*/ 7098329 w 8683492"/>
                  <a:gd name="connsiteY20" fmla="*/ 108364 h 795901"/>
                  <a:gd name="connsiteX21" fmla="*/ 6197179 w 8683492"/>
                  <a:gd name="connsiteY21" fmla="*/ 201839 h 795901"/>
                  <a:gd name="connsiteX22" fmla="*/ 5230888 w 8683492"/>
                  <a:gd name="connsiteY22" fmla="*/ 201839 h 795901"/>
                  <a:gd name="connsiteX23" fmla="*/ 3504598 w 8683492"/>
                  <a:gd name="connsiteY23" fmla="*/ 193333 h 795901"/>
                  <a:gd name="connsiteX24" fmla="*/ 2418870 w 8683492"/>
                  <a:gd name="connsiteY24" fmla="*/ 65870 h 795901"/>
                  <a:gd name="connsiteX25" fmla="*/ 627438 w 8683492"/>
                  <a:gd name="connsiteY25" fmla="*/ 57364 h 795901"/>
                  <a:gd name="connsiteX26" fmla="*/ 87616 w 8683492"/>
                  <a:gd name="connsiteY26" fmla="*/ 66415 h 795901"/>
                  <a:gd name="connsiteX0" fmla="*/ 84495 w 8680371"/>
                  <a:gd name="connsiteY0" fmla="*/ 66415 h 795903"/>
                  <a:gd name="connsiteX1" fmla="*/ 62557 w 8680371"/>
                  <a:gd name="connsiteY1" fmla="*/ 350379 h 795903"/>
                  <a:gd name="connsiteX2" fmla="*/ 77219 w 8680371"/>
                  <a:gd name="connsiteY2" fmla="*/ 609625 h 795903"/>
                  <a:gd name="connsiteX3" fmla="*/ 89436 w 8680371"/>
                  <a:gd name="connsiteY3" fmla="*/ 686441 h 795903"/>
                  <a:gd name="connsiteX4" fmla="*/ 59798 w 8680371"/>
                  <a:gd name="connsiteY4" fmla="*/ 726571 h 795903"/>
                  <a:gd name="connsiteX5" fmla="*/ 982580 w 8680371"/>
                  <a:gd name="connsiteY5" fmla="*/ 754148 h 795903"/>
                  <a:gd name="connsiteX6" fmla="*/ 1677439 w 8680371"/>
                  <a:gd name="connsiteY6" fmla="*/ 788136 h 795903"/>
                  <a:gd name="connsiteX7" fmla="*/ 2133449 w 8680371"/>
                  <a:gd name="connsiteY7" fmla="*/ 728648 h 795903"/>
                  <a:gd name="connsiteX8" fmla="*/ 2611171 w 8680371"/>
                  <a:gd name="connsiteY8" fmla="*/ 728648 h 795903"/>
                  <a:gd name="connsiteX9" fmla="*/ 3382040 w 8680371"/>
                  <a:gd name="connsiteY9" fmla="*/ 771142 h 795903"/>
                  <a:gd name="connsiteX10" fmla="*/ 4261476 w 8680371"/>
                  <a:gd name="connsiteY10" fmla="*/ 754148 h 795903"/>
                  <a:gd name="connsiteX11" fmla="*/ 4891194 w 8680371"/>
                  <a:gd name="connsiteY11" fmla="*/ 762654 h 795903"/>
                  <a:gd name="connsiteX12" fmla="*/ 5727204 w 8680371"/>
                  <a:gd name="connsiteY12" fmla="*/ 762654 h 795903"/>
                  <a:gd name="connsiteX13" fmla="*/ 6791217 w 8680371"/>
                  <a:gd name="connsiteY13" fmla="*/ 788154 h 795903"/>
                  <a:gd name="connsiteX14" fmla="*/ 7540372 w 8680371"/>
                  <a:gd name="connsiteY14" fmla="*/ 779648 h 795903"/>
                  <a:gd name="connsiteX15" fmla="*/ 8072367 w 8680371"/>
                  <a:gd name="connsiteY15" fmla="*/ 771142 h 795903"/>
                  <a:gd name="connsiteX16" fmla="*/ 8550090 w 8680371"/>
                  <a:gd name="connsiteY16" fmla="*/ 737154 h 795903"/>
                  <a:gd name="connsiteX17" fmla="*/ 8680371 w 8680371"/>
                  <a:gd name="connsiteY17" fmla="*/ 754148 h 795903"/>
                  <a:gd name="connsiteX18" fmla="*/ 8680371 w 8680371"/>
                  <a:gd name="connsiteY18" fmla="*/ 133791 h 795903"/>
                  <a:gd name="connsiteX19" fmla="*/ 8495795 w 8680371"/>
                  <a:gd name="connsiteY19" fmla="*/ 65870 h 795903"/>
                  <a:gd name="connsiteX20" fmla="*/ 7681499 w 8680371"/>
                  <a:gd name="connsiteY20" fmla="*/ 14889 h 795903"/>
                  <a:gd name="connsiteX21" fmla="*/ 7095208 w 8680371"/>
                  <a:gd name="connsiteY21" fmla="*/ 108364 h 795903"/>
                  <a:gd name="connsiteX22" fmla="*/ 6194058 w 8680371"/>
                  <a:gd name="connsiteY22" fmla="*/ 201839 h 795903"/>
                  <a:gd name="connsiteX23" fmla="*/ 5227767 w 8680371"/>
                  <a:gd name="connsiteY23" fmla="*/ 201839 h 795903"/>
                  <a:gd name="connsiteX24" fmla="*/ 3501477 w 8680371"/>
                  <a:gd name="connsiteY24" fmla="*/ 193333 h 795903"/>
                  <a:gd name="connsiteX25" fmla="*/ 2415749 w 8680371"/>
                  <a:gd name="connsiteY25" fmla="*/ 65870 h 795903"/>
                  <a:gd name="connsiteX26" fmla="*/ 624317 w 8680371"/>
                  <a:gd name="connsiteY26" fmla="*/ 57364 h 795903"/>
                  <a:gd name="connsiteX27" fmla="*/ 84495 w 8680371"/>
                  <a:gd name="connsiteY27" fmla="*/ 66415 h 795903"/>
                  <a:gd name="connsiteX0" fmla="*/ 58632 w 8654508"/>
                  <a:gd name="connsiteY0" fmla="*/ 66415 h 847530"/>
                  <a:gd name="connsiteX1" fmla="*/ 36694 w 8654508"/>
                  <a:gd name="connsiteY1" fmla="*/ 350379 h 847530"/>
                  <a:gd name="connsiteX2" fmla="*/ 51356 w 8654508"/>
                  <a:gd name="connsiteY2" fmla="*/ 609625 h 847530"/>
                  <a:gd name="connsiteX3" fmla="*/ 63573 w 8654508"/>
                  <a:gd name="connsiteY3" fmla="*/ 686441 h 847530"/>
                  <a:gd name="connsiteX4" fmla="*/ 99916 w 8654508"/>
                  <a:gd name="connsiteY4" fmla="*/ 846591 h 847530"/>
                  <a:gd name="connsiteX5" fmla="*/ 956717 w 8654508"/>
                  <a:gd name="connsiteY5" fmla="*/ 754148 h 847530"/>
                  <a:gd name="connsiteX6" fmla="*/ 1651576 w 8654508"/>
                  <a:gd name="connsiteY6" fmla="*/ 788136 h 847530"/>
                  <a:gd name="connsiteX7" fmla="*/ 2107586 w 8654508"/>
                  <a:gd name="connsiteY7" fmla="*/ 728648 h 847530"/>
                  <a:gd name="connsiteX8" fmla="*/ 2585308 w 8654508"/>
                  <a:gd name="connsiteY8" fmla="*/ 728648 h 847530"/>
                  <a:gd name="connsiteX9" fmla="*/ 3356177 w 8654508"/>
                  <a:gd name="connsiteY9" fmla="*/ 771142 h 847530"/>
                  <a:gd name="connsiteX10" fmla="*/ 4235613 w 8654508"/>
                  <a:gd name="connsiteY10" fmla="*/ 754148 h 847530"/>
                  <a:gd name="connsiteX11" fmla="*/ 4865331 w 8654508"/>
                  <a:gd name="connsiteY11" fmla="*/ 762654 h 847530"/>
                  <a:gd name="connsiteX12" fmla="*/ 5701341 w 8654508"/>
                  <a:gd name="connsiteY12" fmla="*/ 762654 h 847530"/>
                  <a:gd name="connsiteX13" fmla="*/ 6765354 w 8654508"/>
                  <a:gd name="connsiteY13" fmla="*/ 788154 h 847530"/>
                  <a:gd name="connsiteX14" fmla="*/ 7514509 w 8654508"/>
                  <a:gd name="connsiteY14" fmla="*/ 779648 h 847530"/>
                  <a:gd name="connsiteX15" fmla="*/ 8046504 w 8654508"/>
                  <a:gd name="connsiteY15" fmla="*/ 771142 h 847530"/>
                  <a:gd name="connsiteX16" fmla="*/ 8524227 w 8654508"/>
                  <a:gd name="connsiteY16" fmla="*/ 737154 h 847530"/>
                  <a:gd name="connsiteX17" fmla="*/ 8654508 w 8654508"/>
                  <a:gd name="connsiteY17" fmla="*/ 754148 h 847530"/>
                  <a:gd name="connsiteX18" fmla="*/ 8654508 w 8654508"/>
                  <a:gd name="connsiteY18" fmla="*/ 133791 h 847530"/>
                  <a:gd name="connsiteX19" fmla="*/ 8469932 w 8654508"/>
                  <a:gd name="connsiteY19" fmla="*/ 65870 h 847530"/>
                  <a:gd name="connsiteX20" fmla="*/ 7655636 w 8654508"/>
                  <a:gd name="connsiteY20" fmla="*/ 14889 h 847530"/>
                  <a:gd name="connsiteX21" fmla="*/ 7069345 w 8654508"/>
                  <a:gd name="connsiteY21" fmla="*/ 108364 h 847530"/>
                  <a:gd name="connsiteX22" fmla="*/ 6168195 w 8654508"/>
                  <a:gd name="connsiteY22" fmla="*/ 201839 h 847530"/>
                  <a:gd name="connsiteX23" fmla="*/ 5201904 w 8654508"/>
                  <a:gd name="connsiteY23" fmla="*/ 201839 h 847530"/>
                  <a:gd name="connsiteX24" fmla="*/ 3475614 w 8654508"/>
                  <a:gd name="connsiteY24" fmla="*/ 193333 h 847530"/>
                  <a:gd name="connsiteX25" fmla="*/ 2389886 w 8654508"/>
                  <a:gd name="connsiteY25" fmla="*/ 65870 h 847530"/>
                  <a:gd name="connsiteX26" fmla="*/ 598454 w 8654508"/>
                  <a:gd name="connsiteY26" fmla="*/ 57364 h 847530"/>
                  <a:gd name="connsiteX27" fmla="*/ 58632 w 8654508"/>
                  <a:gd name="connsiteY27" fmla="*/ 66415 h 847530"/>
                  <a:gd name="connsiteX0" fmla="*/ 54170 w 8650046"/>
                  <a:gd name="connsiteY0" fmla="*/ 66415 h 847528"/>
                  <a:gd name="connsiteX1" fmla="*/ 20012 w 8650046"/>
                  <a:gd name="connsiteY1" fmla="*/ 139144 h 847528"/>
                  <a:gd name="connsiteX2" fmla="*/ 32232 w 8650046"/>
                  <a:gd name="connsiteY2" fmla="*/ 350379 h 847528"/>
                  <a:gd name="connsiteX3" fmla="*/ 46894 w 8650046"/>
                  <a:gd name="connsiteY3" fmla="*/ 609625 h 847528"/>
                  <a:gd name="connsiteX4" fmla="*/ 59111 w 8650046"/>
                  <a:gd name="connsiteY4" fmla="*/ 686441 h 847528"/>
                  <a:gd name="connsiteX5" fmla="*/ 95454 w 8650046"/>
                  <a:gd name="connsiteY5" fmla="*/ 846591 h 847528"/>
                  <a:gd name="connsiteX6" fmla="*/ 952255 w 8650046"/>
                  <a:gd name="connsiteY6" fmla="*/ 754148 h 847528"/>
                  <a:gd name="connsiteX7" fmla="*/ 1647114 w 8650046"/>
                  <a:gd name="connsiteY7" fmla="*/ 788136 h 847528"/>
                  <a:gd name="connsiteX8" fmla="*/ 2103124 w 8650046"/>
                  <a:gd name="connsiteY8" fmla="*/ 728648 h 847528"/>
                  <a:gd name="connsiteX9" fmla="*/ 2580846 w 8650046"/>
                  <a:gd name="connsiteY9" fmla="*/ 728648 h 847528"/>
                  <a:gd name="connsiteX10" fmla="*/ 3351715 w 8650046"/>
                  <a:gd name="connsiteY10" fmla="*/ 771142 h 847528"/>
                  <a:gd name="connsiteX11" fmla="*/ 4231151 w 8650046"/>
                  <a:gd name="connsiteY11" fmla="*/ 754148 h 847528"/>
                  <a:gd name="connsiteX12" fmla="*/ 4860869 w 8650046"/>
                  <a:gd name="connsiteY12" fmla="*/ 762654 h 847528"/>
                  <a:gd name="connsiteX13" fmla="*/ 5696879 w 8650046"/>
                  <a:gd name="connsiteY13" fmla="*/ 762654 h 847528"/>
                  <a:gd name="connsiteX14" fmla="*/ 6760892 w 8650046"/>
                  <a:gd name="connsiteY14" fmla="*/ 788154 h 847528"/>
                  <a:gd name="connsiteX15" fmla="*/ 7510047 w 8650046"/>
                  <a:gd name="connsiteY15" fmla="*/ 779648 h 847528"/>
                  <a:gd name="connsiteX16" fmla="*/ 8042042 w 8650046"/>
                  <a:gd name="connsiteY16" fmla="*/ 771142 h 847528"/>
                  <a:gd name="connsiteX17" fmla="*/ 8519765 w 8650046"/>
                  <a:gd name="connsiteY17" fmla="*/ 737154 h 847528"/>
                  <a:gd name="connsiteX18" fmla="*/ 8650046 w 8650046"/>
                  <a:gd name="connsiteY18" fmla="*/ 754148 h 847528"/>
                  <a:gd name="connsiteX19" fmla="*/ 8650046 w 8650046"/>
                  <a:gd name="connsiteY19" fmla="*/ 133791 h 847528"/>
                  <a:gd name="connsiteX20" fmla="*/ 8465470 w 8650046"/>
                  <a:gd name="connsiteY20" fmla="*/ 65870 h 847528"/>
                  <a:gd name="connsiteX21" fmla="*/ 7651174 w 8650046"/>
                  <a:gd name="connsiteY21" fmla="*/ 14889 h 847528"/>
                  <a:gd name="connsiteX22" fmla="*/ 7064883 w 8650046"/>
                  <a:gd name="connsiteY22" fmla="*/ 108364 h 847528"/>
                  <a:gd name="connsiteX23" fmla="*/ 6163733 w 8650046"/>
                  <a:gd name="connsiteY23" fmla="*/ 201839 h 847528"/>
                  <a:gd name="connsiteX24" fmla="*/ 5197442 w 8650046"/>
                  <a:gd name="connsiteY24" fmla="*/ 201839 h 847528"/>
                  <a:gd name="connsiteX25" fmla="*/ 3471152 w 8650046"/>
                  <a:gd name="connsiteY25" fmla="*/ 193333 h 847528"/>
                  <a:gd name="connsiteX26" fmla="*/ 2385424 w 8650046"/>
                  <a:gd name="connsiteY26" fmla="*/ 65870 h 847528"/>
                  <a:gd name="connsiteX27" fmla="*/ 593992 w 8650046"/>
                  <a:gd name="connsiteY27" fmla="*/ 57364 h 847528"/>
                  <a:gd name="connsiteX28" fmla="*/ 54170 w 8650046"/>
                  <a:gd name="connsiteY28" fmla="*/ 66415 h 847528"/>
                  <a:gd name="connsiteX0" fmla="*/ 54170 w 8650046"/>
                  <a:gd name="connsiteY0" fmla="*/ 66415 h 847530"/>
                  <a:gd name="connsiteX1" fmla="*/ 20012 w 8650046"/>
                  <a:gd name="connsiteY1" fmla="*/ 139144 h 847530"/>
                  <a:gd name="connsiteX2" fmla="*/ 32232 w 8650046"/>
                  <a:gd name="connsiteY2" fmla="*/ 350379 h 847530"/>
                  <a:gd name="connsiteX3" fmla="*/ 46894 w 8650046"/>
                  <a:gd name="connsiteY3" fmla="*/ 609625 h 847530"/>
                  <a:gd name="connsiteX4" fmla="*/ 59111 w 8650046"/>
                  <a:gd name="connsiteY4" fmla="*/ 686441 h 847530"/>
                  <a:gd name="connsiteX5" fmla="*/ 95454 w 8650046"/>
                  <a:gd name="connsiteY5" fmla="*/ 846591 h 847530"/>
                  <a:gd name="connsiteX6" fmla="*/ 952255 w 8650046"/>
                  <a:gd name="connsiteY6" fmla="*/ 754148 h 847530"/>
                  <a:gd name="connsiteX7" fmla="*/ 1647114 w 8650046"/>
                  <a:gd name="connsiteY7" fmla="*/ 788136 h 847530"/>
                  <a:gd name="connsiteX8" fmla="*/ 2103124 w 8650046"/>
                  <a:gd name="connsiteY8" fmla="*/ 728648 h 847530"/>
                  <a:gd name="connsiteX9" fmla="*/ 2580846 w 8650046"/>
                  <a:gd name="connsiteY9" fmla="*/ 728648 h 847530"/>
                  <a:gd name="connsiteX10" fmla="*/ 3351715 w 8650046"/>
                  <a:gd name="connsiteY10" fmla="*/ 771142 h 847530"/>
                  <a:gd name="connsiteX11" fmla="*/ 4231151 w 8650046"/>
                  <a:gd name="connsiteY11" fmla="*/ 754148 h 847530"/>
                  <a:gd name="connsiteX12" fmla="*/ 4860869 w 8650046"/>
                  <a:gd name="connsiteY12" fmla="*/ 762654 h 847530"/>
                  <a:gd name="connsiteX13" fmla="*/ 5696879 w 8650046"/>
                  <a:gd name="connsiteY13" fmla="*/ 762654 h 847530"/>
                  <a:gd name="connsiteX14" fmla="*/ 6760892 w 8650046"/>
                  <a:gd name="connsiteY14" fmla="*/ 788154 h 847530"/>
                  <a:gd name="connsiteX15" fmla="*/ 7510047 w 8650046"/>
                  <a:gd name="connsiteY15" fmla="*/ 779648 h 847530"/>
                  <a:gd name="connsiteX16" fmla="*/ 8042042 w 8650046"/>
                  <a:gd name="connsiteY16" fmla="*/ 771142 h 847530"/>
                  <a:gd name="connsiteX17" fmla="*/ 8519765 w 8650046"/>
                  <a:gd name="connsiteY17" fmla="*/ 737154 h 847530"/>
                  <a:gd name="connsiteX18" fmla="*/ 8650046 w 8650046"/>
                  <a:gd name="connsiteY18" fmla="*/ 754148 h 847530"/>
                  <a:gd name="connsiteX19" fmla="*/ 8650046 w 8650046"/>
                  <a:gd name="connsiteY19" fmla="*/ 133791 h 847530"/>
                  <a:gd name="connsiteX20" fmla="*/ 8465470 w 8650046"/>
                  <a:gd name="connsiteY20" fmla="*/ 65870 h 847530"/>
                  <a:gd name="connsiteX21" fmla="*/ 7651174 w 8650046"/>
                  <a:gd name="connsiteY21" fmla="*/ 14889 h 847530"/>
                  <a:gd name="connsiteX22" fmla="*/ 7064883 w 8650046"/>
                  <a:gd name="connsiteY22" fmla="*/ 108364 h 847530"/>
                  <a:gd name="connsiteX23" fmla="*/ 6163733 w 8650046"/>
                  <a:gd name="connsiteY23" fmla="*/ 201839 h 847530"/>
                  <a:gd name="connsiteX24" fmla="*/ 5197442 w 8650046"/>
                  <a:gd name="connsiteY24" fmla="*/ 201839 h 847530"/>
                  <a:gd name="connsiteX25" fmla="*/ 3471152 w 8650046"/>
                  <a:gd name="connsiteY25" fmla="*/ 193333 h 847530"/>
                  <a:gd name="connsiteX26" fmla="*/ 2385424 w 8650046"/>
                  <a:gd name="connsiteY26" fmla="*/ 65870 h 847530"/>
                  <a:gd name="connsiteX27" fmla="*/ 593992 w 8650046"/>
                  <a:gd name="connsiteY27" fmla="*/ 57364 h 847530"/>
                  <a:gd name="connsiteX28" fmla="*/ 54170 w 8650046"/>
                  <a:gd name="connsiteY28" fmla="*/ 66415 h 847530"/>
                  <a:gd name="connsiteX0" fmla="*/ 48208 w 8644084"/>
                  <a:gd name="connsiteY0" fmla="*/ 66415 h 847528"/>
                  <a:gd name="connsiteX1" fmla="*/ 14050 w 8644084"/>
                  <a:gd name="connsiteY1" fmla="*/ 139144 h 847528"/>
                  <a:gd name="connsiteX2" fmla="*/ 26270 w 8644084"/>
                  <a:gd name="connsiteY2" fmla="*/ 350379 h 847528"/>
                  <a:gd name="connsiteX3" fmla="*/ 40932 w 8644084"/>
                  <a:gd name="connsiteY3" fmla="*/ 609625 h 847528"/>
                  <a:gd name="connsiteX4" fmla="*/ 53149 w 8644084"/>
                  <a:gd name="connsiteY4" fmla="*/ 686441 h 847528"/>
                  <a:gd name="connsiteX5" fmla="*/ 89492 w 8644084"/>
                  <a:gd name="connsiteY5" fmla="*/ 846591 h 847528"/>
                  <a:gd name="connsiteX6" fmla="*/ 946293 w 8644084"/>
                  <a:gd name="connsiteY6" fmla="*/ 754148 h 847528"/>
                  <a:gd name="connsiteX7" fmla="*/ 1641152 w 8644084"/>
                  <a:gd name="connsiteY7" fmla="*/ 788136 h 847528"/>
                  <a:gd name="connsiteX8" fmla="*/ 2097162 w 8644084"/>
                  <a:gd name="connsiteY8" fmla="*/ 728648 h 847528"/>
                  <a:gd name="connsiteX9" fmla="*/ 2574884 w 8644084"/>
                  <a:gd name="connsiteY9" fmla="*/ 728648 h 847528"/>
                  <a:gd name="connsiteX10" fmla="*/ 3345753 w 8644084"/>
                  <a:gd name="connsiteY10" fmla="*/ 771142 h 847528"/>
                  <a:gd name="connsiteX11" fmla="*/ 4225189 w 8644084"/>
                  <a:gd name="connsiteY11" fmla="*/ 754148 h 847528"/>
                  <a:gd name="connsiteX12" fmla="*/ 4854907 w 8644084"/>
                  <a:gd name="connsiteY12" fmla="*/ 762654 h 847528"/>
                  <a:gd name="connsiteX13" fmla="*/ 5690917 w 8644084"/>
                  <a:gd name="connsiteY13" fmla="*/ 762654 h 847528"/>
                  <a:gd name="connsiteX14" fmla="*/ 6754930 w 8644084"/>
                  <a:gd name="connsiteY14" fmla="*/ 788154 h 847528"/>
                  <a:gd name="connsiteX15" fmla="*/ 7504085 w 8644084"/>
                  <a:gd name="connsiteY15" fmla="*/ 779648 h 847528"/>
                  <a:gd name="connsiteX16" fmla="*/ 8036080 w 8644084"/>
                  <a:gd name="connsiteY16" fmla="*/ 771142 h 847528"/>
                  <a:gd name="connsiteX17" fmla="*/ 8513803 w 8644084"/>
                  <a:gd name="connsiteY17" fmla="*/ 737154 h 847528"/>
                  <a:gd name="connsiteX18" fmla="*/ 8644084 w 8644084"/>
                  <a:gd name="connsiteY18" fmla="*/ 754148 h 847528"/>
                  <a:gd name="connsiteX19" fmla="*/ 8644084 w 8644084"/>
                  <a:gd name="connsiteY19" fmla="*/ 133791 h 847528"/>
                  <a:gd name="connsiteX20" fmla="*/ 8459508 w 8644084"/>
                  <a:gd name="connsiteY20" fmla="*/ 65870 h 847528"/>
                  <a:gd name="connsiteX21" fmla="*/ 7645212 w 8644084"/>
                  <a:gd name="connsiteY21" fmla="*/ 14889 h 847528"/>
                  <a:gd name="connsiteX22" fmla="*/ 7058921 w 8644084"/>
                  <a:gd name="connsiteY22" fmla="*/ 108364 h 847528"/>
                  <a:gd name="connsiteX23" fmla="*/ 6157771 w 8644084"/>
                  <a:gd name="connsiteY23" fmla="*/ 201839 h 847528"/>
                  <a:gd name="connsiteX24" fmla="*/ 5191480 w 8644084"/>
                  <a:gd name="connsiteY24" fmla="*/ 201839 h 847528"/>
                  <a:gd name="connsiteX25" fmla="*/ 3465190 w 8644084"/>
                  <a:gd name="connsiteY25" fmla="*/ 193333 h 847528"/>
                  <a:gd name="connsiteX26" fmla="*/ 2379462 w 8644084"/>
                  <a:gd name="connsiteY26" fmla="*/ 65870 h 847528"/>
                  <a:gd name="connsiteX27" fmla="*/ 588030 w 8644084"/>
                  <a:gd name="connsiteY27" fmla="*/ 57364 h 847528"/>
                  <a:gd name="connsiteX28" fmla="*/ 48208 w 8644084"/>
                  <a:gd name="connsiteY28" fmla="*/ 66415 h 847528"/>
                  <a:gd name="connsiteX0" fmla="*/ 39893 w 8635769"/>
                  <a:gd name="connsiteY0" fmla="*/ 66415 h 847530"/>
                  <a:gd name="connsiteX1" fmla="*/ 5735 w 8635769"/>
                  <a:gd name="connsiteY1" fmla="*/ 139144 h 847530"/>
                  <a:gd name="connsiteX2" fmla="*/ 17955 w 8635769"/>
                  <a:gd name="connsiteY2" fmla="*/ 350379 h 847530"/>
                  <a:gd name="connsiteX3" fmla="*/ 32617 w 8635769"/>
                  <a:gd name="connsiteY3" fmla="*/ 609625 h 847530"/>
                  <a:gd name="connsiteX4" fmla="*/ 44834 w 8635769"/>
                  <a:gd name="connsiteY4" fmla="*/ 686441 h 847530"/>
                  <a:gd name="connsiteX5" fmla="*/ 81177 w 8635769"/>
                  <a:gd name="connsiteY5" fmla="*/ 846591 h 847530"/>
                  <a:gd name="connsiteX6" fmla="*/ 937978 w 8635769"/>
                  <a:gd name="connsiteY6" fmla="*/ 754148 h 847530"/>
                  <a:gd name="connsiteX7" fmla="*/ 1632837 w 8635769"/>
                  <a:gd name="connsiteY7" fmla="*/ 788136 h 847530"/>
                  <a:gd name="connsiteX8" fmla="*/ 2088847 w 8635769"/>
                  <a:gd name="connsiteY8" fmla="*/ 728648 h 847530"/>
                  <a:gd name="connsiteX9" fmla="*/ 2566569 w 8635769"/>
                  <a:gd name="connsiteY9" fmla="*/ 728648 h 847530"/>
                  <a:gd name="connsiteX10" fmla="*/ 3337438 w 8635769"/>
                  <a:gd name="connsiteY10" fmla="*/ 771142 h 847530"/>
                  <a:gd name="connsiteX11" fmla="*/ 4216874 w 8635769"/>
                  <a:gd name="connsiteY11" fmla="*/ 754148 h 847530"/>
                  <a:gd name="connsiteX12" fmla="*/ 4846592 w 8635769"/>
                  <a:gd name="connsiteY12" fmla="*/ 762654 h 847530"/>
                  <a:gd name="connsiteX13" fmla="*/ 5682602 w 8635769"/>
                  <a:gd name="connsiteY13" fmla="*/ 762654 h 847530"/>
                  <a:gd name="connsiteX14" fmla="*/ 6746615 w 8635769"/>
                  <a:gd name="connsiteY14" fmla="*/ 788154 h 847530"/>
                  <a:gd name="connsiteX15" fmla="*/ 7495770 w 8635769"/>
                  <a:gd name="connsiteY15" fmla="*/ 779648 h 847530"/>
                  <a:gd name="connsiteX16" fmla="*/ 8027765 w 8635769"/>
                  <a:gd name="connsiteY16" fmla="*/ 771142 h 847530"/>
                  <a:gd name="connsiteX17" fmla="*/ 8505488 w 8635769"/>
                  <a:gd name="connsiteY17" fmla="*/ 737154 h 847530"/>
                  <a:gd name="connsiteX18" fmla="*/ 8635769 w 8635769"/>
                  <a:gd name="connsiteY18" fmla="*/ 754148 h 847530"/>
                  <a:gd name="connsiteX19" fmla="*/ 8635769 w 8635769"/>
                  <a:gd name="connsiteY19" fmla="*/ 133791 h 847530"/>
                  <a:gd name="connsiteX20" fmla="*/ 8451193 w 8635769"/>
                  <a:gd name="connsiteY20" fmla="*/ 65870 h 847530"/>
                  <a:gd name="connsiteX21" fmla="*/ 7636897 w 8635769"/>
                  <a:gd name="connsiteY21" fmla="*/ 14889 h 847530"/>
                  <a:gd name="connsiteX22" fmla="*/ 7050606 w 8635769"/>
                  <a:gd name="connsiteY22" fmla="*/ 108364 h 847530"/>
                  <a:gd name="connsiteX23" fmla="*/ 6149456 w 8635769"/>
                  <a:gd name="connsiteY23" fmla="*/ 201839 h 847530"/>
                  <a:gd name="connsiteX24" fmla="*/ 5183165 w 8635769"/>
                  <a:gd name="connsiteY24" fmla="*/ 201839 h 847530"/>
                  <a:gd name="connsiteX25" fmla="*/ 3456875 w 8635769"/>
                  <a:gd name="connsiteY25" fmla="*/ 193333 h 847530"/>
                  <a:gd name="connsiteX26" fmla="*/ 2371147 w 8635769"/>
                  <a:gd name="connsiteY26" fmla="*/ 65870 h 847530"/>
                  <a:gd name="connsiteX27" fmla="*/ 579715 w 8635769"/>
                  <a:gd name="connsiteY27" fmla="*/ 57364 h 847530"/>
                  <a:gd name="connsiteX28" fmla="*/ 39893 w 8635769"/>
                  <a:gd name="connsiteY28" fmla="*/ 66415 h 847530"/>
                  <a:gd name="connsiteX0" fmla="*/ 39893 w 8635769"/>
                  <a:gd name="connsiteY0" fmla="*/ 66415 h 847528"/>
                  <a:gd name="connsiteX1" fmla="*/ 5735 w 8635769"/>
                  <a:gd name="connsiteY1" fmla="*/ 139144 h 847528"/>
                  <a:gd name="connsiteX2" fmla="*/ 17955 w 8635769"/>
                  <a:gd name="connsiteY2" fmla="*/ 350379 h 847528"/>
                  <a:gd name="connsiteX3" fmla="*/ 32617 w 8635769"/>
                  <a:gd name="connsiteY3" fmla="*/ 609625 h 847528"/>
                  <a:gd name="connsiteX4" fmla="*/ 44834 w 8635769"/>
                  <a:gd name="connsiteY4" fmla="*/ 686441 h 847528"/>
                  <a:gd name="connsiteX5" fmla="*/ 81177 w 8635769"/>
                  <a:gd name="connsiteY5" fmla="*/ 846591 h 847528"/>
                  <a:gd name="connsiteX6" fmla="*/ 937978 w 8635769"/>
                  <a:gd name="connsiteY6" fmla="*/ 754148 h 847528"/>
                  <a:gd name="connsiteX7" fmla="*/ 1632837 w 8635769"/>
                  <a:gd name="connsiteY7" fmla="*/ 788136 h 847528"/>
                  <a:gd name="connsiteX8" fmla="*/ 2088847 w 8635769"/>
                  <a:gd name="connsiteY8" fmla="*/ 728648 h 847528"/>
                  <a:gd name="connsiteX9" fmla="*/ 2566569 w 8635769"/>
                  <a:gd name="connsiteY9" fmla="*/ 728648 h 847528"/>
                  <a:gd name="connsiteX10" fmla="*/ 3337438 w 8635769"/>
                  <a:gd name="connsiteY10" fmla="*/ 771142 h 847528"/>
                  <a:gd name="connsiteX11" fmla="*/ 4216874 w 8635769"/>
                  <a:gd name="connsiteY11" fmla="*/ 754148 h 847528"/>
                  <a:gd name="connsiteX12" fmla="*/ 4846592 w 8635769"/>
                  <a:gd name="connsiteY12" fmla="*/ 762654 h 847528"/>
                  <a:gd name="connsiteX13" fmla="*/ 5682602 w 8635769"/>
                  <a:gd name="connsiteY13" fmla="*/ 762654 h 847528"/>
                  <a:gd name="connsiteX14" fmla="*/ 6746615 w 8635769"/>
                  <a:gd name="connsiteY14" fmla="*/ 788154 h 847528"/>
                  <a:gd name="connsiteX15" fmla="*/ 7495770 w 8635769"/>
                  <a:gd name="connsiteY15" fmla="*/ 779648 h 847528"/>
                  <a:gd name="connsiteX16" fmla="*/ 8027765 w 8635769"/>
                  <a:gd name="connsiteY16" fmla="*/ 771142 h 847528"/>
                  <a:gd name="connsiteX17" fmla="*/ 8505488 w 8635769"/>
                  <a:gd name="connsiteY17" fmla="*/ 737154 h 847528"/>
                  <a:gd name="connsiteX18" fmla="*/ 8635769 w 8635769"/>
                  <a:gd name="connsiteY18" fmla="*/ 754148 h 847528"/>
                  <a:gd name="connsiteX19" fmla="*/ 8635769 w 8635769"/>
                  <a:gd name="connsiteY19" fmla="*/ 133791 h 847528"/>
                  <a:gd name="connsiteX20" fmla="*/ 8451193 w 8635769"/>
                  <a:gd name="connsiteY20" fmla="*/ 65870 h 847528"/>
                  <a:gd name="connsiteX21" fmla="*/ 7636897 w 8635769"/>
                  <a:gd name="connsiteY21" fmla="*/ 14889 h 847528"/>
                  <a:gd name="connsiteX22" fmla="*/ 7050606 w 8635769"/>
                  <a:gd name="connsiteY22" fmla="*/ 108364 h 847528"/>
                  <a:gd name="connsiteX23" fmla="*/ 6149456 w 8635769"/>
                  <a:gd name="connsiteY23" fmla="*/ 201839 h 847528"/>
                  <a:gd name="connsiteX24" fmla="*/ 5183165 w 8635769"/>
                  <a:gd name="connsiteY24" fmla="*/ 201839 h 847528"/>
                  <a:gd name="connsiteX25" fmla="*/ 3456875 w 8635769"/>
                  <a:gd name="connsiteY25" fmla="*/ 193333 h 847528"/>
                  <a:gd name="connsiteX26" fmla="*/ 2371147 w 8635769"/>
                  <a:gd name="connsiteY26" fmla="*/ 65870 h 847528"/>
                  <a:gd name="connsiteX27" fmla="*/ 579715 w 8635769"/>
                  <a:gd name="connsiteY27" fmla="*/ 57364 h 847528"/>
                  <a:gd name="connsiteX28" fmla="*/ 39893 w 8635769"/>
                  <a:gd name="connsiteY28" fmla="*/ 66415 h 847528"/>
                  <a:gd name="connsiteX0" fmla="*/ 36653 w 8632529"/>
                  <a:gd name="connsiteY0" fmla="*/ 66415 h 847530"/>
                  <a:gd name="connsiteX1" fmla="*/ 2495 w 8632529"/>
                  <a:gd name="connsiteY1" fmla="*/ 139144 h 847530"/>
                  <a:gd name="connsiteX2" fmla="*/ 14715 w 8632529"/>
                  <a:gd name="connsiteY2" fmla="*/ 350379 h 847530"/>
                  <a:gd name="connsiteX3" fmla="*/ 29377 w 8632529"/>
                  <a:gd name="connsiteY3" fmla="*/ 609625 h 847530"/>
                  <a:gd name="connsiteX4" fmla="*/ 41594 w 8632529"/>
                  <a:gd name="connsiteY4" fmla="*/ 686441 h 847530"/>
                  <a:gd name="connsiteX5" fmla="*/ 77937 w 8632529"/>
                  <a:gd name="connsiteY5" fmla="*/ 846591 h 847530"/>
                  <a:gd name="connsiteX6" fmla="*/ 934738 w 8632529"/>
                  <a:gd name="connsiteY6" fmla="*/ 754148 h 847530"/>
                  <a:gd name="connsiteX7" fmla="*/ 1629597 w 8632529"/>
                  <a:gd name="connsiteY7" fmla="*/ 788136 h 847530"/>
                  <a:gd name="connsiteX8" fmla="*/ 2085607 w 8632529"/>
                  <a:gd name="connsiteY8" fmla="*/ 728648 h 847530"/>
                  <a:gd name="connsiteX9" fmla="*/ 2563329 w 8632529"/>
                  <a:gd name="connsiteY9" fmla="*/ 728648 h 847530"/>
                  <a:gd name="connsiteX10" fmla="*/ 3334198 w 8632529"/>
                  <a:gd name="connsiteY10" fmla="*/ 771142 h 847530"/>
                  <a:gd name="connsiteX11" fmla="*/ 4213634 w 8632529"/>
                  <a:gd name="connsiteY11" fmla="*/ 754148 h 847530"/>
                  <a:gd name="connsiteX12" fmla="*/ 4843352 w 8632529"/>
                  <a:gd name="connsiteY12" fmla="*/ 762654 h 847530"/>
                  <a:gd name="connsiteX13" fmla="*/ 5679362 w 8632529"/>
                  <a:gd name="connsiteY13" fmla="*/ 762654 h 847530"/>
                  <a:gd name="connsiteX14" fmla="*/ 6743375 w 8632529"/>
                  <a:gd name="connsiteY14" fmla="*/ 788154 h 847530"/>
                  <a:gd name="connsiteX15" fmla="*/ 7492530 w 8632529"/>
                  <a:gd name="connsiteY15" fmla="*/ 779648 h 847530"/>
                  <a:gd name="connsiteX16" fmla="*/ 8024525 w 8632529"/>
                  <a:gd name="connsiteY16" fmla="*/ 771142 h 847530"/>
                  <a:gd name="connsiteX17" fmla="*/ 8502248 w 8632529"/>
                  <a:gd name="connsiteY17" fmla="*/ 737154 h 847530"/>
                  <a:gd name="connsiteX18" fmla="*/ 8632529 w 8632529"/>
                  <a:gd name="connsiteY18" fmla="*/ 754148 h 847530"/>
                  <a:gd name="connsiteX19" fmla="*/ 8632529 w 8632529"/>
                  <a:gd name="connsiteY19" fmla="*/ 133791 h 847530"/>
                  <a:gd name="connsiteX20" fmla="*/ 8447953 w 8632529"/>
                  <a:gd name="connsiteY20" fmla="*/ 65870 h 847530"/>
                  <a:gd name="connsiteX21" fmla="*/ 7633657 w 8632529"/>
                  <a:gd name="connsiteY21" fmla="*/ 14889 h 847530"/>
                  <a:gd name="connsiteX22" fmla="*/ 7047366 w 8632529"/>
                  <a:gd name="connsiteY22" fmla="*/ 108364 h 847530"/>
                  <a:gd name="connsiteX23" fmla="*/ 6146216 w 8632529"/>
                  <a:gd name="connsiteY23" fmla="*/ 201839 h 847530"/>
                  <a:gd name="connsiteX24" fmla="*/ 5179925 w 8632529"/>
                  <a:gd name="connsiteY24" fmla="*/ 201839 h 847530"/>
                  <a:gd name="connsiteX25" fmla="*/ 3453635 w 8632529"/>
                  <a:gd name="connsiteY25" fmla="*/ 193333 h 847530"/>
                  <a:gd name="connsiteX26" fmla="*/ 2367907 w 8632529"/>
                  <a:gd name="connsiteY26" fmla="*/ 65870 h 847530"/>
                  <a:gd name="connsiteX27" fmla="*/ 576475 w 8632529"/>
                  <a:gd name="connsiteY27" fmla="*/ 57364 h 847530"/>
                  <a:gd name="connsiteX28" fmla="*/ 36653 w 8632529"/>
                  <a:gd name="connsiteY28" fmla="*/ 66415 h 847530"/>
                  <a:gd name="connsiteX0" fmla="*/ 38923 w 8634799"/>
                  <a:gd name="connsiteY0" fmla="*/ 66415 h 847528"/>
                  <a:gd name="connsiteX1" fmla="*/ 4765 w 8634799"/>
                  <a:gd name="connsiteY1" fmla="*/ 139144 h 847528"/>
                  <a:gd name="connsiteX2" fmla="*/ 16985 w 8634799"/>
                  <a:gd name="connsiteY2" fmla="*/ 350379 h 847528"/>
                  <a:gd name="connsiteX3" fmla="*/ 31647 w 8634799"/>
                  <a:gd name="connsiteY3" fmla="*/ 609625 h 847528"/>
                  <a:gd name="connsiteX4" fmla="*/ 43864 w 8634799"/>
                  <a:gd name="connsiteY4" fmla="*/ 686441 h 847528"/>
                  <a:gd name="connsiteX5" fmla="*/ 80207 w 8634799"/>
                  <a:gd name="connsiteY5" fmla="*/ 846591 h 847528"/>
                  <a:gd name="connsiteX6" fmla="*/ 937008 w 8634799"/>
                  <a:gd name="connsiteY6" fmla="*/ 754148 h 847528"/>
                  <a:gd name="connsiteX7" fmla="*/ 1631867 w 8634799"/>
                  <a:gd name="connsiteY7" fmla="*/ 788136 h 847528"/>
                  <a:gd name="connsiteX8" fmla="*/ 2087877 w 8634799"/>
                  <a:gd name="connsiteY8" fmla="*/ 728648 h 847528"/>
                  <a:gd name="connsiteX9" fmla="*/ 2565599 w 8634799"/>
                  <a:gd name="connsiteY9" fmla="*/ 728648 h 847528"/>
                  <a:gd name="connsiteX10" fmla="*/ 3336468 w 8634799"/>
                  <a:gd name="connsiteY10" fmla="*/ 771142 h 847528"/>
                  <a:gd name="connsiteX11" fmla="*/ 4215904 w 8634799"/>
                  <a:gd name="connsiteY11" fmla="*/ 754148 h 847528"/>
                  <a:gd name="connsiteX12" fmla="*/ 4845622 w 8634799"/>
                  <a:gd name="connsiteY12" fmla="*/ 762654 h 847528"/>
                  <a:gd name="connsiteX13" fmla="*/ 5681632 w 8634799"/>
                  <a:gd name="connsiteY13" fmla="*/ 762654 h 847528"/>
                  <a:gd name="connsiteX14" fmla="*/ 6745645 w 8634799"/>
                  <a:gd name="connsiteY14" fmla="*/ 788154 h 847528"/>
                  <a:gd name="connsiteX15" fmla="*/ 7494800 w 8634799"/>
                  <a:gd name="connsiteY15" fmla="*/ 779648 h 847528"/>
                  <a:gd name="connsiteX16" fmla="*/ 8026795 w 8634799"/>
                  <a:gd name="connsiteY16" fmla="*/ 771142 h 847528"/>
                  <a:gd name="connsiteX17" fmla="*/ 8504518 w 8634799"/>
                  <a:gd name="connsiteY17" fmla="*/ 737154 h 847528"/>
                  <a:gd name="connsiteX18" fmla="*/ 8634799 w 8634799"/>
                  <a:gd name="connsiteY18" fmla="*/ 754148 h 847528"/>
                  <a:gd name="connsiteX19" fmla="*/ 8634799 w 8634799"/>
                  <a:gd name="connsiteY19" fmla="*/ 133791 h 847528"/>
                  <a:gd name="connsiteX20" fmla="*/ 8450223 w 8634799"/>
                  <a:gd name="connsiteY20" fmla="*/ 65870 h 847528"/>
                  <a:gd name="connsiteX21" fmla="*/ 7635927 w 8634799"/>
                  <a:gd name="connsiteY21" fmla="*/ 14889 h 847528"/>
                  <a:gd name="connsiteX22" fmla="*/ 7049636 w 8634799"/>
                  <a:gd name="connsiteY22" fmla="*/ 108364 h 847528"/>
                  <a:gd name="connsiteX23" fmla="*/ 6148486 w 8634799"/>
                  <a:gd name="connsiteY23" fmla="*/ 201839 h 847528"/>
                  <a:gd name="connsiteX24" fmla="*/ 5182195 w 8634799"/>
                  <a:gd name="connsiteY24" fmla="*/ 201839 h 847528"/>
                  <a:gd name="connsiteX25" fmla="*/ 3455905 w 8634799"/>
                  <a:gd name="connsiteY25" fmla="*/ 193333 h 847528"/>
                  <a:gd name="connsiteX26" fmla="*/ 2370177 w 8634799"/>
                  <a:gd name="connsiteY26" fmla="*/ 65870 h 847528"/>
                  <a:gd name="connsiteX27" fmla="*/ 578745 w 8634799"/>
                  <a:gd name="connsiteY27" fmla="*/ 57364 h 847528"/>
                  <a:gd name="connsiteX28" fmla="*/ 38923 w 8634799"/>
                  <a:gd name="connsiteY28" fmla="*/ 66415 h 847528"/>
                  <a:gd name="connsiteX0" fmla="*/ 38923 w 8634799"/>
                  <a:gd name="connsiteY0" fmla="*/ 66415 h 847530"/>
                  <a:gd name="connsiteX1" fmla="*/ 4765 w 8634799"/>
                  <a:gd name="connsiteY1" fmla="*/ 139144 h 847530"/>
                  <a:gd name="connsiteX2" fmla="*/ 16985 w 8634799"/>
                  <a:gd name="connsiteY2" fmla="*/ 350379 h 847530"/>
                  <a:gd name="connsiteX3" fmla="*/ 31647 w 8634799"/>
                  <a:gd name="connsiteY3" fmla="*/ 609625 h 847530"/>
                  <a:gd name="connsiteX4" fmla="*/ 43864 w 8634799"/>
                  <a:gd name="connsiteY4" fmla="*/ 686441 h 847530"/>
                  <a:gd name="connsiteX5" fmla="*/ 80207 w 8634799"/>
                  <a:gd name="connsiteY5" fmla="*/ 846591 h 847530"/>
                  <a:gd name="connsiteX6" fmla="*/ 937008 w 8634799"/>
                  <a:gd name="connsiteY6" fmla="*/ 754148 h 847530"/>
                  <a:gd name="connsiteX7" fmla="*/ 1631867 w 8634799"/>
                  <a:gd name="connsiteY7" fmla="*/ 788136 h 847530"/>
                  <a:gd name="connsiteX8" fmla="*/ 2087877 w 8634799"/>
                  <a:gd name="connsiteY8" fmla="*/ 728648 h 847530"/>
                  <a:gd name="connsiteX9" fmla="*/ 2565599 w 8634799"/>
                  <a:gd name="connsiteY9" fmla="*/ 728648 h 847530"/>
                  <a:gd name="connsiteX10" fmla="*/ 3336468 w 8634799"/>
                  <a:gd name="connsiteY10" fmla="*/ 771142 h 847530"/>
                  <a:gd name="connsiteX11" fmla="*/ 4215904 w 8634799"/>
                  <a:gd name="connsiteY11" fmla="*/ 754148 h 847530"/>
                  <a:gd name="connsiteX12" fmla="*/ 4845622 w 8634799"/>
                  <a:gd name="connsiteY12" fmla="*/ 762654 h 847530"/>
                  <a:gd name="connsiteX13" fmla="*/ 5681632 w 8634799"/>
                  <a:gd name="connsiteY13" fmla="*/ 762654 h 847530"/>
                  <a:gd name="connsiteX14" fmla="*/ 6745645 w 8634799"/>
                  <a:gd name="connsiteY14" fmla="*/ 788154 h 847530"/>
                  <a:gd name="connsiteX15" fmla="*/ 7494800 w 8634799"/>
                  <a:gd name="connsiteY15" fmla="*/ 779648 h 847530"/>
                  <a:gd name="connsiteX16" fmla="*/ 8026795 w 8634799"/>
                  <a:gd name="connsiteY16" fmla="*/ 771142 h 847530"/>
                  <a:gd name="connsiteX17" fmla="*/ 8504518 w 8634799"/>
                  <a:gd name="connsiteY17" fmla="*/ 737154 h 847530"/>
                  <a:gd name="connsiteX18" fmla="*/ 8634799 w 8634799"/>
                  <a:gd name="connsiteY18" fmla="*/ 754148 h 847530"/>
                  <a:gd name="connsiteX19" fmla="*/ 8634799 w 8634799"/>
                  <a:gd name="connsiteY19" fmla="*/ 133791 h 847530"/>
                  <a:gd name="connsiteX20" fmla="*/ 8450223 w 8634799"/>
                  <a:gd name="connsiteY20" fmla="*/ 65870 h 847530"/>
                  <a:gd name="connsiteX21" fmla="*/ 7635927 w 8634799"/>
                  <a:gd name="connsiteY21" fmla="*/ 14889 h 847530"/>
                  <a:gd name="connsiteX22" fmla="*/ 7049636 w 8634799"/>
                  <a:gd name="connsiteY22" fmla="*/ 108364 h 847530"/>
                  <a:gd name="connsiteX23" fmla="*/ 6132068 w 8634799"/>
                  <a:gd name="connsiteY23" fmla="*/ 131955 h 847530"/>
                  <a:gd name="connsiteX24" fmla="*/ 5182195 w 8634799"/>
                  <a:gd name="connsiteY24" fmla="*/ 201839 h 847530"/>
                  <a:gd name="connsiteX25" fmla="*/ 3455905 w 8634799"/>
                  <a:gd name="connsiteY25" fmla="*/ 193333 h 847530"/>
                  <a:gd name="connsiteX26" fmla="*/ 2370177 w 8634799"/>
                  <a:gd name="connsiteY26" fmla="*/ 65870 h 847530"/>
                  <a:gd name="connsiteX27" fmla="*/ 578745 w 8634799"/>
                  <a:gd name="connsiteY27" fmla="*/ 57364 h 847530"/>
                  <a:gd name="connsiteX28" fmla="*/ 38923 w 8634799"/>
                  <a:gd name="connsiteY28" fmla="*/ 66415 h 847530"/>
                  <a:gd name="connsiteX0" fmla="*/ 38923 w 8634799"/>
                  <a:gd name="connsiteY0" fmla="*/ 66415 h 847528"/>
                  <a:gd name="connsiteX1" fmla="*/ 4765 w 8634799"/>
                  <a:gd name="connsiteY1" fmla="*/ 139144 h 847528"/>
                  <a:gd name="connsiteX2" fmla="*/ 16985 w 8634799"/>
                  <a:gd name="connsiteY2" fmla="*/ 350379 h 847528"/>
                  <a:gd name="connsiteX3" fmla="*/ 31647 w 8634799"/>
                  <a:gd name="connsiteY3" fmla="*/ 609625 h 847528"/>
                  <a:gd name="connsiteX4" fmla="*/ 43864 w 8634799"/>
                  <a:gd name="connsiteY4" fmla="*/ 686441 h 847528"/>
                  <a:gd name="connsiteX5" fmla="*/ 80207 w 8634799"/>
                  <a:gd name="connsiteY5" fmla="*/ 846591 h 847528"/>
                  <a:gd name="connsiteX6" fmla="*/ 937008 w 8634799"/>
                  <a:gd name="connsiteY6" fmla="*/ 754148 h 847528"/>
                  <a:gd name="connsiteX7" fmla="*/ 1631867 w 8634799"/>
                  <a:gd name="connsiteY7" fmla="*/ 788136 h 847528"/>
                  <a:gd name="connsiteX8" fmla="*/ 2087877 w 8634799"/>
                  <a:gd name="connsiteY8" fmla="*/ 728648 h 847528"/>
                  <a:gd name="connsiteX9" fmla="*/ 2565599 w 8634799"/>
                  <a:gd name="connsiteY9" fmla="*/ 728648 h 847528"/>
                  <a:gd name="connsiteX10" fmla="*/ 3336468 w 8634799"/>
                  <a:gd name="connsiteY10" fmla="*/ 771142 h 847528"/>
                  <a:gd name="connsiteX11" fmla="*/ 4215904 w 8634799"/>
                  <a:gd name="connsiteY11" fmla="*/ 754148 h 847528"/>
                  <a:gd name="connsiteX12" fmla="*/ 4845622 w 8634799"/>
                  <a:gd name="connsiteY12" fmla="*/ 762654 h 847528"/>
                  <a:gd name="connsiteX13" fmla="*/ 5681632 w 8634799"/>
                  <a:gd name="connsiteY13" fmla="*/ 762654 h 847528"/>
                  <a:gd name="connsiteX14" fmla="*/ 6745645 w 8634799"/>
                  <a:gd name="connsiteY14" fmla="*/ 788154 h 847528"/>
                  <a:gd name="connsiteX15" fmla="*/ 7494800 w 8634799"/>
                  <a:gd name="connsiteY15" fmla="*/ 779648 h 847528"/>
                  <a:gd name="connsiteX16" fmla="*/ 8026795 w 8634799"/>
                  <a:gd name="connsiteY16" fmla="*/ 771142 h 847528"/>
                  <a:gd name="connsiteX17" fmla="*/ 8504518 w 8634799"/>
                  <a:gd name="connsiteY17" fmla="*/ 737154 h 847528"/>
                  <a:gd name="connsiteX18" fmla="*/ 8634799 w 8634799"/>
                  <a:gd name="connsiteY18" fmla="*/ 754148 h 847528"/>
                  <a:gd name="connsiteX19" fmla="*/ 8634799 w 8634799"/>
                  <a:gd name="connsiteY19" fmla="*/ 133791 h 847528"/>
                  <a:gd name="connsiteX20" fmla="*/ 8450223 w 8634799"/>
                  <a:gd name="connsiteY20" fmla="*/ 65870 h 847528"/>
                  <a:gd name="connsiteX21" fmla="*/ 7635927 w 8634799"/>
                  <a:gd name="connsiteY21" fmla="*/ 14889 h 847528"/>
                  <a:gd name="connsiteX22" fmla="*/ 7049636 w 8634799"/>
                  <a:gd name="connsiteY22" fmla="*/ 108364 h 847528"/>
                  <a:gd name="connsiteX23" fmla="*/ 6132068 w 8634799"/>
                  <a:gd name="connsiteY23" fmla="*/ 131955 h 847528"/>
                  <a:gd name="connsiteX24" fmla="*/ 5182195 w 8634799"/>
                  <a:gd name="connsiteY24" fmla="*/ 201839 h 847528"/>
                  <a:gd name="connsiteX25" fmla="*/ 3455905 w 8634799"/>
                  <a:gd name="connsiteY25" fmla="*/ 193333 h 847528"/>
                  <a:gd name="connsiteX26" fmla="*/ 2370177 w 8634799"/>
                  <a:gd name="connsiteY26" fmla="*/ 65870 h 847528"/>
                  <a:gd name="connsiteX27" fmla="*/ 578745 w 8634799"/>
                  <a:gd name="connsiteY27" fmla="*/ 57364 h 847528"/>
                  <a:gd name="connsiteX28" fmla="*/ 38923 w 8634799"/>
                  <a:gd name="connsiteY28" fmla="*/ 66415 h 847528"/>
                  <a:gd name="connsiteX0" fmla="*/ 38923 w 8634799"/>
                  <a:gd name="connsiteY0" fmla="*/ 66415 h 847530"/>
                  <a:gd name="connsiteX1" fmla="*/ 4765 w 8634799"/>
                  <a:gd name="connsiteY1" fmla="*/ 139144 h 847530"/>
                  <a:gd name="connsiteX2" fmla="*/ 16985 w 8634799"/>
                  <a:gd name="connsiteY2" fmla="*/ 350379 h 847530"/>
                  <a:gd name="connsiteX3" fmla="*/ 31647 w 8634799"/>
                  <a:gd name="connsiteY3" fmla="*/ 609625 h 847530"/>
                  <a:gd name="connsiteX4" fmla="*/ 43864 w 8634799"/>
                  <a:gd name="connsiteY4" fmla="*/ 686441 h 847530"/>
                  <a:gd name="connsiteX5" fmla="*/ 80207 w 8634799"/>
                  <a:gd name="connsiteY5" fmla="*/ 846591 h 847530"/>
                  <a:gd name="connsiteX6" fmla="*/ 937008 w 8634799"/>
                  <a:gd name="connsiteY6" fmla="*/ 754148 h 847530"/>
                  <a:gd name="connsiteX7" fmla="*/ 1631867 w 8634799"/>
                  <a:gd name="connsiteY7" fmla="*/ 788136 h 847530"/>
                  <a:gd name="connsiteX8" fmla="*/ 2087877 w 8634799"/>
                  <a:gd name="connsiteY8" fmla="*/ 728648 h 847530"/>
                  <a:gd name="connsiteX9" fmla="*/ 2565599 w 8634799"/>
                  <a:gd name="connsiteY9" fmla="*/ 728648 h 847530"/>
                  <a:gd name="connsiteX10" fmla="*/ 3336468 w 8634799"/>
                  <a:gd name="connsiteY10" fmla="*/ 771142 h 847530"/>
                  <a:gd name="connsiteX11" fmla="*/ 4215904 w 8634799"/>
                  <a:gd name="connsiteY11" fmla="*/ 754148 h 847530"/>
                  <a:gd name="connsiteX12" fmla="*/ 4845622 w 8634799"/>
                  <a:gd name="connsiteY12" fmla="*/ 762654 h 847530"/>
                  <a:gd name="connsiteX13" fmla="*/ 5681632 w 8634799"/>
                  <a:gd name="connsiteY13" fmla="*/ 762654 h 847530"/>
                  <a:gd name="connsiteX14" fmla="*/ 6745645 w 8634799"/>
                  <a:gd name="connsiteY14" fmla="*/ 788154 h 847530"/>
                  <a:gd name="connsiteX15" fmla="*/ 7494800 w 8634799"/>
                  <a:gd name="connsiteY15" fmla="*/ 779648 h 847530"/>
                  <a:gd name="connsiteX16" fmla="*/ 8026795 w 8634799"/>
                  <a:gd name="connsiteY16" fmla="*/ 771142 h 847530"/>
                  <a:gd name="connsiteX17" fmla="*/ 8504518 w 8634799"/>
                  <a:gd name="connsiteY17" fmla="*/ 737154 h 847530"/>
                  <a:gd name="connsiteX18" fmla="*/ 8634799 w 8634799"/>
                  <a:gd name="connsiteY18" fmla="*/ 754148 h 847530"/>
                  <a:gd name="connsiteX19" fmla="*/ 8634799 w 8634799"/>
                  <a:gd name="connsiteY19" fmla="*/ 133791 h 847530"/>
                  <a:gd name="connsiteX20" fmla="*/ 8450223 w 8634799"/>
                  <a:gd name="connsiteY20" fmla="*/ 65870 h 847530"/>
                  <a:gd name="connsiteX21" fmla="*/ 7635927 w 8634799"/>
                  <a:gd name="connsiteY21" fmla="*/ 14889 h 847530"/>
                  <a:gd name="connsiteX22" fmla="*/ 7049636 w 8634799"/>
                  <a:gd name="connsiteY22" fmla="*/ 108364 h 847530"/>
                  <a:gd name="connsiteX23" fmla="*/ 6132068 w 8634799"/>
                  <a:gd name="connsiteY23" fmla="*/ 131955 h 847530"/>
                  <a:gd name="connsiteX24" fmla="*/ 5182195 w 8634799"/>
                  <a:gd name="connsiteY24" fmla="*/ 201839 h 847530"/>
                  <a:gd name="connsiteX25" fmla="*/ 3455905 w 8634799"/>
                  <a:gd name="connsiteY25" fmla="*/ 193333 h 847530"/>
                  <a:gd name="connsiteX26" fmla="*/ 2370177 w 8634799"/>
                  <a:gd name="connsiteY26" fmla="*/ 65870 h 847530"/>
                  <a:gd name="connsiteX27" fmla="*/ 578745 w 8634799"/>
                  <a:gd name="connsiteY27" fmla="*/ 57364 h 847530"/>
                  <a:gd name="connsiteX28" fmla="*/ 38923 w 8634799"/>
                  <a:gd name="connsiteY28" fmla="*/ 66415 h 847530"/>
                  <a:gd name="connsiteX0" fmla="*/ 38923 w 8634799"/>
                  <a:gd name="connsiteY0" fmla="*/ 66415 h 847528"/>
                  <a:gd name="connsiteX1" fmla="*/ 4765 w 8634799"/>
                  <a:gd name="connsiteY1" fmla="*/ 139144 h 847528"/>
                  <a:gd name="connsiteX2" fmla="*/ 16985 w 8634799"/>
                  <a:gd name="connsiteY2" fmla="*/ 350379 h 847528"/>
                  <a:gd name="connsiteX3" fmla="*/ 31647 w 8634799"/>
                  <a:gd name="connsiteY3" fmla="*/ 609625 h 847528"/>
                  <a:gd name="connsiteX4" fmla="*/ 43864 w 8634799"/>
                  <a:gd name="connsiteY4" fmla="*/ 686441 h 847528"/>
                  <a:gd name="connsiteX5" fmla="*/ 80207 w 8634799"/>
                  <a:gd name="connsiteY5" fmla="*/ 846591 h 847528"/>
                  <a:gd name="connsiteX6" fmla="*/ 937008 w 8634799"/>
                  <a:gd name="connsiteY6" fmla="*/ 754148 h 847528"/>
                  <a:gd name="connsiteX7" fmla="*/ 1631867 w 8634799"/>
                  <a:gd name="connsiteY7" fmla="*/ 788136 h 847528"/>
                  <a:gd name="connsiteX8" fmla="*/ 2087877 w 8634799"/>
                  <a:gd name="connsiteY8" fmla="*/ 728648 h 847528"/>
                  <a:gd name="connsiteX9" fmla="*/ 2565599 w 8634799"/>
                  <a:gd name="connsiteY9" fmla="*/ 728648 h 847528"/>
                  <a:gd name="connsiteX10" fmla="*/ 3336468 w 8634799"/>
                  <a:gd name="connsiteY10" fmla="*/ 771142 h 847528"/>
                  <a:gd name="connsiteX11" fmla="*/ 4215904 w 8634799"/>
                  <a:gd name="connsiteY11" fmla="*/ 754148 h 847528"/>
                  <a:gd name="connsiteX12" fmla="*/ 4845622 w 8634799"/>
                  <a:gd name="connsiteY12" fmla="*/ 762654 h 847528"/>
                  <a:gd name="connsiteX13" fmla="*/ 5681632 w 8634799"/>
                  <a:gd name="connsiteY13" fmla="*/ 762654 h 847528"/>
                  <a:gd name="connsiteX14" fmla="*/ 6745645 w 8634799"/>
                  <a:gd name="connsiteY14" fmla="*/ 788154 h 847528"/>
                  <a:gd name="connsiteX15" fmla="*/ 7494800 w 8634799"/>
                  <a:gd name="connsiteY15" fmla="*/ 779648 h 847528"/>
                  <a:gd name="connsiteX16" fmla="*/ 8026795 w 8634799"/>
                  <a:gd name="connsiteY16" fmla="*/ 771142 h 847528"/>
                  <a:gd name="connsiteX17" fmla="*/ 8504518 w 8634799"/>
                  <a:gd name="connsiteY17" fmla="*/ 737154 h 847528"/>
                  <a:gd name="connsiteX18" fmla="*/ 8634799 w 8634799"/>
                  <a:gd name="connsiteY18" fmla="*/ 754148 h 847528"/>
                  <a:gd name="connsiteX19" fmla="*/ 8634799 w 8634799"/>
                  <a:gd name="connsiteY19" fmla="*/ 133791 h 847528"/>
                  <a:gd name="connsiteX20" fmla="*/ 8450223 w 8634799"/>
                  <a:gd name="connsiteY20" fmla="*/ 65870 h 847528"/>
                  <a:gd name="connsiteX21" fmla="*/ 7635927 w 8634799"/>
                  <a:gd name="connsiteY21" fmla="*/ 14889 h 847528"/>
                  <a:gd name="connsiteX22" fmla="*/ 7049636 w 8634799"/>
                  <a:gd name="connsiteY22" fmla="*/ 108364 h 847528"/>
                  <a:gd name="connsiteX23" fmla="*/ 6342549 w 8634799"/>
                  <a:gd name="connsiteY23" fmla="*/ 55805 h 847528"/>
                  <a:gd name="connsiteX24" fmla="*/ 6132068 w 8634799"/>
                  <a:gd name="connsiteY24" fmla="*/ 131955 h 847528"/>
                  <a:gd name="connsiteX25" fmla="*/ 5182195 w 8634799"/>
                  <a:gd name="connsiteY25" fmla="*/ 201839 h 847528"/>
                  <a:gd name="connsiteX26" fmla="*/ 3455905 w 8634799"/>
                  <a:gd name="connsiteY26" fmla="*/ 193333 h 847528"/>
                  <a:gd name="connsiteX27" fmla="*/ 2370177 w 8634799"/>
                  <a:gd name="connsiteY27" fmla="*/ 65870 h 847528"/>
                  <a:gd name="connsiteX28" fmla="*/ 578745 w 8634799"/>
                  <a:gd name="connsiteY28" fmla="*/ 57364 h 847528"/>
                  <a:gd name="connsiteX29" fmla="*/ 38923 w 8634799"/>
                  <a:gd name="connsiteY29" fmla="*/ 66415 h 847528"/>
                  <a:gd name="connsiteX0" fmla="*/ 38923 w 8634799"/>
                  <a:gd name="connsiteY0" fmla="*/ 66415 h 847530"/>
                  <a:gd name="connsiteX1" fmla="*/ 4765 w 8634799"/>
                  <a:gd name="connsiteY1" fmla="*/ 139144 h 847530"/>
                  <a:gd name="connsiteX2" fmla="*/ 16985 w 8634799"/>
                  <a:gd name="connsiteY2" fmla="*/ 350379 h 847530"/>
                  <a:gd name="connsiteX3" fmla="*/ 31647 w 8634799"/>
                  <a:gd name="connsiteY3" fmla="*/ 609625 h 847530"/>
                  <a:gd name="connsiteX4" fmla="*/ 43864 w 8634799"/>
                  <a:gd name="connsiteY4" fmla="*/ 686441 h 847530"/>
                  <a:gd name="connsiteX5" fmla="*/ 80207 w 8634799"/>
                  <a:gd name="connsiteY5" fmla="*/ 846591 h 847530"/>
                  <a:gd name="connsiteX6" fmla="*/ 937008 w 8634799"/>
                  <a:gd name="connsiteY6" fmla="*/ 754148 h 847530"/>
                  <a:gd name="connsiteX7" fmla="*/ 1631867 w 8634799"/>
                  <a:gd name="connsiteY7" fmla="*/ 788136 h 847530"/>
                  <a:gd name="connsiteX8" fmla="*/ 2087877 w 8634799"/>
                  <a:gd name="connsiteY8" fmla="*/ 728648 h 847530"/>
                  <a:gd name="connsiteX9" fmla="*/ 2565599 w 8634799"/>
                  <a:gd name="connsiteY9" fmla="*/ 728648 h 847530"/>
                  <a:gd name="connsiteX10" fmla="*/ 3336468 w 8634799"/>
                  <a:gd name="connsiteY10" fmla="*/ 771142 h 847530"/>
                  <a:gd name="connsiteX11" fmla="*/ 4215904 w 8634799"/>
                  <a:gd name="connsiteY11" fmla="*/ 754148 h 847530"/>
                  <a:gd name="connsiteX12" fmla="*/ 4845622 w 8634799"/>
                  <a:gd name="connsiteY12" fmla="*/ 762654 h 847530"/>
                  <a:gd name="connsiteX13" fmla="*/ 5681632 w 8634799"/>
                  <a:gd name="connsiteY13" fmla="*/ 762654 h 847530"/>
                  <a:gd name="connsiteX14" fmla="*/ 6745645 w 8634799"/>
                  <a:gd name="connsiteY14" fmla="*/ 788154 h 847530"/>
                  <a:gd name="connsiteX15" fmla="*/ 7494800 w 8634799"/>
                  <a:gd name="connsiteY15" fmla="*/ 779648 h 847530"/>
                  <a:gd name="connsiteX16" fmla="*/ 8026795 w 8634799"/>
                  <a:gd name="connsiteY16" fmla="*/ 771142 h 847530"/>
                  <a:gd name="connsiteX17" fmla="*/ 8504518 w 8634799"/>
                  <a:gd name="connsiteY17" fmla="*/ 737154 h 847530"/>
                  <a:gd name="connsiteX18" fmla="*/ 8634799 w 8634799"/>
                  <a:gd name="connsiteY18" fmla="*/ 754148 h 847530"/>
                  <a:gd name="connsiteX19" fmla="*/ 8634799 w 8634799"/>
                  <a:gd name="connsiteY19" fmla="*/ 133791 h 847530"/>
                  <a:gd name="connsiteX20" fmla="*/ 8450223 w 8634799"/>
                  <a:gd name="connsiteY20" fmla="*/ 65870 h 847530"/>
                  <a:gd name="connsiteX21" fmla="*/ 7635927 w 8634799"/>
                  <a:gd name="connsiteY21" fmla="*/ 14889 h 847530"/>
                  <a:gd name="connsiteX22" fmla="*/ 7049636 w 8634799"/>
                  <a:gd name="connsiteY22" fmla="*/ 108364 h 847530"/>
                  <a:gd name="connsiteX23" fmla="*/ 6342549 w 8634799"/>
                  <a:gd name="connsiteY23" fmla="*/ 55805 h 847530"/>
                  <a:gd name="connsiteX24" fmla="*/ 6132068 w 8634799"/>
                  <a:gd name="connsiteY24" fmla="*/ 131955 h 847530"/>
                  <a:gd name="connsiteX25" fmla="*/ 5182195 w 8634799"/>
                  <a:gd name="connsiteY25" fmla="*/ 201839 h 847530"/>
                  <a:gd name="connsiteX26" fmla="*/ 3455905 w 8634799"/>
                  <a:gd name="connsiteY26" fmla="*/ 193333 h 847530"/>
                  <a:gd name="connsiteX27" fmla="*/ 2370177 w 8634799"/>
                  <a:gd name="connsiteY27" fmla="*/ 65870 h 847530"/>
                  <a:gd name="connsiteX28" fmla="*/ 578745 w 8634799"/>
                  <a:gd name="connsiteY28" fmla="*/ 57364 h 847530"/>
                  <a:gd name="connsiteX29" fmla="*/ 38923 w 8634799"/>
                  <a:gd name="connsiteY29" fmla="*/ 66415 h 847530"/>
                  <a:gd name="connsiteX0" fmla="*/ 38923 w 8634799"/>
                  <a:gd name="connsiteY0" fmla="*/ 66415 h 847528"/>
                  <a:gd name="connsiteX1" fmla="*/ 4765 w 8634799"/>
                  <a:gd name="connsiteY1" fmla="*/ 139144 h 847528"/>
                  <a:gd name="connsiteX2" fmla="*/ 16985 w 8634799"/>
                  <a:gd name="connsiteY2" fmla="*/ 350379 h 847528"/>
                  <a:gd name="connsiteX3" fmla="*/ 31647 w 8634799"/>
                  <a:gd name="connsiteY3" fmla="*/ 609625 h 847528"/>
                  <a:gd name="connsiteX4" fmla="*/ 43864 w 8634799"/>
                  <a:gd name="connsiteY4" fmla="*/ 686441 h 847528"/>
                  <a:gd name="connsiteX5" fmla="*/ 80207 w 8634799"/>
                  <a:gd name="connsiteY5" fmla="*/ 846591 h 847528"/>
                  <a:gd name="connsiteX6" fmla="*/ 937008 w 8634799"/>
                  <a:gd name="connsiteY6" fmla="*/ 754148 h 847528"/>
                  <a:gd name="connsiteX7" fmla="*/ 1631867 w 8634799"/>
                  <a:gd name="connsiteY7" fmla="*/ 788136 h 847528"/>
                  <a:gd name="connsiteX8" fmla="*/ 2087877 w 8634799"/>
                  <a:gd name="connsiteY8" fmla="*/ 728648 h 847528"/>
                  <a:gd name="connsiteX9" fmla="*/ 2565599 w 8634799"/>
                  <a:gd name="connsiteY9" fmla="*/ 728648 h 847528"/>
                  <a:gd name="connsiteX10" fmla="*/ 3336468 w 8634799"/>
                  <a:gd name="connsiteY10" fmla="*/ 771142 h 847528"/>
                  <a:gd name="connsiteX11" fmla="*/ 4215904 w 8634799"/>
                  <a:gd name="connsiteY11" fmla="*/ 754148 h 847528"/>
                  <a:gd name="connsiteX12" fmla="*/ 4845622 w 8634799"/>
                  <a:gd name="connsiteY12" fmla="*/ 762654 h 847528"/>
                  <a:gd name="connsiteX13" fmla="*/ 5681632 w 8634799"/>
                  <a:gd name="connsiteY13" fmla="*/ 762654 h 847528"/>
                  <a:gd name="connsiteX14" fmla="*/ 6745645 w 8634799"/>
                  <a:gd name="connsiteY14" fmla="*/ 788154 h 847528"/>
                  <a:gd name="connsiteX15" fmla="*/ 7494800 w 8634799"/>
                  <a:gd name="connsiteY15" fmla="*/ 779648 h 847528"/>
                  <a:gd name="connsiteX16" fmla="*/ 8026795 w 8634799"/>
                  <a:gd name="connsiteY16" fmla="*/ 771142 h 847528"/>
                  <a:gd name="connsiteX17" fmla="*/ 8504518 w 8634799"/>
                  <a:gd name="connsiteY17" fmla="*/ 737154 h 847528"/>
                  <a:gd name="connsiteX18" fmla="*/ 8634799 w 8634799"/>
                  <a:gd name="connsiteY18" fmla="*/ 754148 h 847528"/>
                  <a:gd name="connsiteX19" fmla="*/ 8634799 w 8634799"/>
                  <a:gd name="connsiteY19" fmla="*/ 133791 h 847528"/>
                  <a:gd name="connsiteX20" fmla="*/ 8450223 w 8634799"/>
                  <a:gd name="connsiteY20" fmla="*/ 65870 h 847528"/>
                  <a:gd name="connsiteX21" fmla="*/ 7635927 w 8634799"/>
                  <a:gd name="connsiteY21" fmla="*/ 14889 h 847528"/>
                  <a:gd name="connsiteX22" fmla="*/ 7049636 w 8634799"/>
                  <a:gd name="connsiteY22" fmla="*/ 108364 h 847528"/>
                  <a:gd name="connsiteX23" fmla="*/ 6342549 w 8634799"/>
                  <a:gd name="connsiteY23" fmla="*/ 55805 h 847528"/>
                  <a:gd name="connsiteX24" fmla="*/ 5902209 w 8634799"/>
                  <a:gd name="connsiteY24" fmla="*/ 158833 h 847528"/>
                  <a:gd name="connsiteX25" fmla="*/ 5182195 w 8634799"/>
                  <a:gd name="connsiteY25" fmla="*/ 201839 h 847528"/>
                  <a:gd name="connsiteX26" fmla="*/ 3455905 w 8634799"/>
                  <a:gd name="connsiteY26" fmla="*/ 193333 h 847528"/>
                  <a:gd name="connsiteX27" fmla="*/ 2370177 w 8634799"/>
                  <a:gd name="connsiteY27" fmla="*/ 65870 h 847528"/>
                  <a:gd name="connsiteX28" fmla="*/ 578745 w 8634799"/>
                  <a:gd name="connsiteY28" fmla="*/ 57364 h 847528"/>
                  <a:gd name="connsiteX29" fmla="*/ 38923 w 8634799"/>
                  <a:gd name="connsiteY29" fmla="*/ 66415 h 847528"/>
                  <a:gd name="connsiteX0" fmla="*/ 38923 w 8634799"/>
                  <a:gd name="connsiteY0" fmla="*/ 111866 h 892981"/>
                  <a:gd name="connsiteX1" fmla="*/ 4765 w 8634799"/>
                  <a:gd name="connsiteY1" fmla="*/ 184595 h 892981"/>
                  <a:gd name="connsiteX2" fmla="*/ 16985 w 8634799"/>
                  <a:gd name="connsiteY2" fmla="*/ 395830 h 892981"/>
                  <a:gd name="connsiteX3" fmla="*/ 31647 w 8634799"/>
                  <a:gd name="connsiteY3" fmla="*/ 655076 h 892981"/>
                  <a:gd name="connsiteX4" fmla="*/ 43864 w 8634799"/>
                  <a:gd name="connsiteY4" fmla="*/ 731892 h 892981"/>
                  <a:gd name="connsiteX5" fmla="*/ 80207 w 8634799"/>
                  <a:gd name="connsiteY5" fmla="*/ 892042 h 892981"/>
                  <a:gd name="connsiteX6" fmla="*/ 937008 w 8634799"/>
                  <a:gd name="connsiteY6" fmla="*/ 799599 h 892981"/>
                  <a:gd name="connsiteX7" fmla="*/ 1631867 w 8634799"/>
                  <a:gd name="connsiteY7" fmla="*/ 833587 h 892981"/>
                  <a:gd name="connsiteX8" fmla="*/ 2087877 w 8634799"/>
                  <a:gd name="connsiteY8" fmla="*/ 774099 h 892981"/>
                  <a:gd name="connsiteX9" fmla="*/ 2565599 w 8634799"/>
                  <a:gd name="connsiteY9" fmla="*/ 774099 h 892981"/>
                  <a:gd name="connsiteX10" fmla="*/ 3336468 w 8634799"/>
                  <a:gd name="connsiteY10" fmla="*/ 816593 h 892981"/>
                  <a:gd name="connsiteX11" fmla="*/ 4215904 w 8634799"/>
                  <a:gd name="connsiteY11" fmla="*/ 799599 h 892981"/>
                  <a:gd name="connsiteX12" fmla="*/ 4845622 w 8634799"/>
                  <a:gd name="connsiteY12" fmla="*/ 808105 h 892981"/>
                  <a:gd name="connsiteX13" fmla="*/ 5681632 w 8634799"/>
                  <a:gd name="connsiteY13" fmla="*/ 808105 h 892981"/>
                  <a:gd name="connsiteX14" fmla="*/ 6745645 w 8634799"/>
                  <a:gd name="connsiteY14" fmla="*/ 833605 h 892981"/>
                  <a:gd name="connsiteX15" fmla="*/ 7494800 w 8634799"/>
                  <a:gd name="connsiteY15" fmla="*/ 825099 h 892981"/>
                  <a:gd name="connsiteX16" fmla="*/ 8026795 w 8634799"/>
                  <a:gd name="connsiteY16" fmla="*/ 816593 h 892981"/>
                  <a:gd name="connsiteX17" fmla="*/ 8504518 w 8634799"/>
                  <a:gd name="connsiteY17" fmla="*/ 782605 h 892981"/>
                  <a:gd name="connsiteX18" fmla="*/ 8634799 w 8634799"/>
                  <a:gd name="connsiteY18" fmla="*/ 799599 h 892981"/>
                  <a:gd name="connsiteX19" fmla="*/ 8634799 w 8634799"/>
                  <a:gd name="connsiteY19" fmla="*/ 179242 h 892981"/>
                  <a:gd name="connsiteX20" fmla="*/ 8450223 w 8634799"/>
                  <a:gd name="connsiteY20" fmla="*/ 111321 h 892981"/>
                  <a:gd name="connsiteX21" fmla="*/ 7635927 w 8634799"/>
                  <a:gd name="connsiteY21" fmla="*/ 60340 h 892981"/>
                  <a:gd name="connsiteX22" fmla="*/ 7049636 w 8634799"/>
                  <a:gd name="connsiteY22" fmla="*/ 153815 h 892981"/>
                  <a:gd name="connsiteX23" fmla="*/ 6342549 w 8634799"/>
                  <a:gd name="connsiteY23" fmla="*/ 101256 h 892981"/>
                  <a:gd name="connsiteX24" fmla="*/ 5902209 w 8634799"/>
                  <a:gd name="connsiteY24" fmla="*/ 204284 h 892981"/>
                  <a:gd name="connsiteX25" fmla="*/ 5182195 w 8634799"/>
                  <a:gd name="connsiteY25" fmla="*/ 247290 h 892981"/>
                  <a:gd name="connsiteX26" fmla="*/ 3469826 w 8634799"/>
                  <a:gd name="connsiteY26" fmla="*/ 5421 h 892981"/>
                  <a:gd name="connsiteX27" fmla="*/ 2370177 w 8634799"/>
                  <a:gd name="connsiteY27" fmla="*/ 111321 h 892981"/>
                  <a:gd name="connsiteX28" fmla="*/ 578745 w 8634799"/>
                  <a:gd name="connsiteY28" fmla="*/ 102815 h 892981"/>
                  <a:gd name="connsiteX29" fmla="*/ 38923 w 8634799"/>
                  <a:gd name="connsiteY29" fmla="*/ 111866 h 892981"/>
                  <a:gd name="connsiteX0" fmla="*/ 38923 w 8634799"/>
                  <a:gd name="connsiteY0" fmla="*/ 135210 h 916324"/>
                  <a:gd name="connsiteX1" fmla="*/ 4765 w 8634799"/>
                  <a:gd name="connsiteY1" fmla="*/ 207939 h 916324"/>
                  <a:gd name="connsiteX2" fmla="*/ 16985 w 8634799"/>
                  <a:gd name="connsiteY2" fmla="*/ 419174 h 916324"/>
                  <a:gd name="connsiteX3" fmla="*/ 31647 w 8634799"/>
                  <a:gd name="connsiteY3" fmla="*/ 678420 h 916324"/>
                  <a:gd name="connsiteX4" fmla="*/ 43864 w 8634799"/>
                  <a:gd name="connsiteY4" fmla="*/ 755236 h 916324"/>
                  <a:gd name="connsiteX5" fmla="*/ 80207 w 8634799"/>
                  <a:gd name="connsiteY5" fmla="*/ 915386 h 916324"/>
                  <a:gd name="connsiteX6" fmla="*/ 937008 w 8634799"/>
                  <a:gd name="connsiteY6" fmla="*/ 822943 h 916324"/>
                  <a:gd name="connsiteX7" fmla="*/ 1631867 w 8634799"/>
                  <a:gd name="connsiteY7" fmla="*/ 856931 h 916324"/>
                  <a:gd name="connsiteX8" fmla="*/ 2087877 w 8634799"/>
                  <a:gd name="connsiteY8" fmla="*/ 797443 h 916324"/>
                  <a:gd name="connsiteX9" fmla="*/ 2565599 w 8634799"/>
                  <a:gd name="connsiteY9" fmla="*/ 797443 h 916324"/>
                  <a:gd name="connsiteX10" fmla="*/ 3336468 w 8634799"/>
                  <a:gd name="connsiteY10" fmla="*/ 839937 h 916324"/>
                  <a:gd name="connsiteX11" fmla="*/ 4215904 w 8634799"/>
                  <a:gd name="connsiteY11" fmla="*/ 822943 h 916324"/>
                  <a:gd name="connsiteX12" fmla="*/ 4845622 w 8634799"/>
                  <a:gd name="connsiteY12" fmla="*/ 831449 h 916324"/>
                  <a:gd name="connsiteX13" fmla="*/ 5681632 w 8634799"/>
                  <a:gd name="connsiteY13" fmla="*/ 831449 h 916324"/>
                  <a:gd name="connsiteX14" fmla="*/ 6745645 w 8634799"/>
                  <a:gd name="connsiteY14" fmla="*/ 856949 h 916324"/>
                  <a:gd name="connsiteX15" fmla="*/ 7494800 w 8634799"/>
                  <a:gd name="connsiteY15" fmla="*/ 848443 h 916324"/>
                  <a:gd name="connsiteX16" fmla="*/ 8026795 w 8634799"/>
                  <a:gd name="connsiteY16" fmla="*/ 839937 h 916324"/>
                  <a:gd name="connsiteX17" fmla="*/ 8504518 w 8634799"/>
                  <a:gd name="connsiteY17" fmla="*/ 805949 h 916324"/>
                  <a:gd name="connsiteX18" fmla="*/ 8634799 w 8634799"/>
                  <a:gd name="connsiteY18" fmla="*/ 822943 h 916324"/>
                  <a:gd name="connsiteX19" fmla="*/ 8634799 w 8634799"/>
                  <a:gd name="connsiteY19" fmla="*/ 202586 h 916324"/>
                  <a:gd name="connsiteX20" fmla="*/ 8450223 w 8634799"/>
                  <a:gd name="connsiteY20" fmla="*/ 134665 h 916324"/>
                  <a:gd name="connsiteX21" fmla="*/ 7635927 w 8634799"/>
                  <a:gd name="connsiteY21" fmla="*/ 83684 h 916324"/>
                  <a:gd name="connsiteX22" fmla="*/ 7049636 w 8634799"/>
                  <a:gd name="connsiteY22" fmla="*/ 177159 h 916324"/>
                  <a:gd name="connsiteX23" fmla="*/ 6342549 w 8634799"/>
                  <a:gd name="connsiteY23" fmla="*/ 124600 h 916324"/>
                  <a:gd name="connsiteX24" fmla="*/ 5902209 w 8634799"/>
                  <a:gd name="connsiteY24" fmla="*/ 227628 h 916324"/>
                  <a:gd name="connsiteX25" fmla="*/ 5182195 w 8634799"/>
                  <a:gd name="connsiteY25" fmla="*/ 270634 h 916324"/>
                  <a:gd name="connsiteX26" fmla="*/ 3469826 w 8634799"/>
                  <a:gd name="connsiteY26" fmla="*/ 28765 h 916324"/>
                  <a:gd name="connsiteX27" fmla="*/ 2370177 w 8634799"/>
                  <a:gd name="connsiteY27" fmla="*/ 134665 h 916324"/>
                  <a:gd name="connsiteX28" fmla="*/ 578745 w 8634799"/>
                  <a:gd name="connsiteY28" fmla="*/ 126159 h 916324"/>
                  <a:gd name="connsiteX29" fmla="*/ 38923 w 8634799"/>
                  <a:gd name="connsiteY29" fmla="*/ 135210 h 916324"/>
                  <a:gd name="connsiteX0" fmla="*/ 38923 w 8634799"/>
                  <a:gd name="connsiteY0" fmla="*/ 128131 h 909245"/>
                  <a:gd name="connsiteX1" fmla="*/ 4765 w 8634799"/>
                  <a:gd name="connsiteY1" fmla="*/ 200860 h 909245"/>
                  <a:gd name="connsiteX2" fmla="*/ 16985 w 8634799"/>
                  <a:gd name="connsiteY2" fmla="*/ 412095 h 909245"/>
                  <a:gd name="connsiteX3" fmla="*/ 31647 w 8634799"/>
                  <a:gd name="connsiteY3" fmla="*/ 671341 h 909245"/>
                  <a:gd name="connsiteX4" fmla="*/ 43864 w 8634799"/>
                  <a:gd name="connsiteY4" fmla="*/ 748157 h 909245"/>
                  <a:gd name="connsiteX5" fmla="*/ 80207 w 8634799"/>
                  <a:gd name="connsiteY5" fmla="*/ 908307 h 909245"/>
                  <a:gd name="connsiteX6" fmla="*/ 937008 w 8634799"/>
                  <a:gd name="connsiteY6" fmla="*/ 815864 h 909245"/>
                  <a:gd name="connsiteX7" fmla="*/ 1631867 w 8634799"/>
                  <a:gd name="connsiteY7" fmla="*/ 849852 h 909245"/>
                  <a:gd name="connsiteX8" fmla="*/ 2087877 w 8634799"/>
                  <a:gd name="connsiteY8" fmla="*/ 790364 h 909245"/>
                  <a:gd name="connsiteX9" fmla="*/ 2565599 w 8634799"/>
                  <a:gd name="connsiteY9" fmla="*/ 790364 h 909245"/>
                  <a:gd name="connsiteX10" fmla="*/ 3336468 w 8634799"/>
                  <a:gd name="connsiteY10" fmla="*/ 832858 h 909245"/>
                  <a:gd name="connsiteX11" fmla="*/ 4215904 w 8634799"/>
                  <a:gd name="connsiteY11" fmla="*/ 815864 h 909245"/>
                  <a:gd name="connsiteX12" fmla="*/ 4845622 w 8634799"/>
                  <a:gd name="connsiteY12" fmla="*/ 824370 h 909245"/>
                  <a:gd name="connsiteX13" fmla="*/ 5681632 w 8634799"/>
                  <a:gd name="connsiteY13" fmla="*/ 824370 h 909245"/>
                  <a:gd name="connsiteX14" fmla="*/ 6745645 w 8634799"/>
                  <a:gd name="connsiteY14" fmla="*/ 849870 h 909245"/>
                  <a:gd name="connsiteX15" fmla="*/ 7494800 w 8634799"/>
                  <a:gd name="connsiteY15" fmla="*/ 841364 h 909245"/>
                  <a:gd name="connsiteX16" fmla="*/ 8026795 w 8634799"/>
                  <a:gd name="connsiteY16" fmla="*/ 832858 h 909245"/>
                  <a:gd name="connsiteX17" fmla="*/ 8504518 w 8634799"/>
                  <a:gd name="connsiteY17" fmla="*/ 798870 h 909245"/>
                  <a:gd name="connsiteX18" fmla="*/ 8634799 w 8634799"/>
                  <a:gd name="connsiteY18" fmla="*/ 815864 h 909245"/>
                  <a:gd name="connsiteX19" fmla="*/ 8634799 w 8634799"/>
                  <a:gd name="connsiteY19" fmla="*/ 195507 h 909245"/>
                  <a:gd name="connsiteX20" fmla="*/ 8450223 w 8634799"/>
                  <a:gd name="connsiteY20" fmla="*/ 127586 h 909245"/>
                  <a:gd name="connsiteX21" fmla="*/ 7635927 w 8634799"/>
                  <a:gd name="connsiteY21" fmla="*/ 76605 h 909245"/>
                  <a:gd name="connsiteX22" fmla="*/ 7049636 w 8634799"/>
                  <a:gd name="connsiteY22" fmla="*/ 170080 h 909245"/>
                  <a:gd name="connsiteX23" fmla="*/ 6342549 w 8634799"/>
                  <a:gd name="connsiteY23" fmla="*/ 117521 h 909245"/>
                  <a:gd name="connsiteX24" fmla="*/ 5902209 w 8634799"/>
                  <a:gd name="connsiteY24" fmla="*/ 220549 h 909245"/>
                  <a:gd name="connsiteX25" fmla="*/ 5182195 w 8634799"/>
                  <a:gd name="connsiteY25" fmla="*/ 263555 h 909245"/>
                  <a:gd name="connsiteX26" fmla="*/ 3469826 w 8634799"/>
                  <a:gd name="connsiteY26" fmla="*/ 21686 h 909245"/>
                  <a:gd name="connsiteX27" fmla="*/ 2370177 w 8634799"/>
                  <a:gd name="connsiteY27" fmla="*/ 127586 h 909245"/>
                  <a:gd name="connsiteX28" fmla="*/ 578745 w 8634799"/>
                  <a:gd name="connsiteY28" fmla="*/ 119080 h 909245"/>
                  <a:gd name="connsiteX29" fmla="*/ 38923 w 8634799"/>
                  <a:gd name="connsiteY29" fmla="*/ 128131 h 909245"/>
                  <a:gd name="connsiteX0" fmla="*/ 38923 w 8634799"/>
                  <a:gd name="connsiteY0" fmla="*/ 134331 h 915445"/>
                  <a:gd name="connsiteX1" fmla="*/ 4765 w 8634799"/>
                  <a:gd name="connsiteY1" fmla="*/ 207060 h 915445"/>
                  <a:gd name="connsiteX2" fmla="*/ 16985 w 8634799"/>
                  <a:gd name="connsiteY2" fmla="*/ 418295 h 915445"/>
                  <a:gd name="connsiteX3" fmla="*/ 31647 w 8634799"/>
                  <a:gd name="connsiteY3" fmla="*/ 677541 h 915445"/>
                  <a:gd name="connsiteX4" fmla="*/ 43864 w 8634799"/>
                  <a:gd name="connsiteY4" fmla="*/ 754357 h 915445"/>
                  <a:gd name="connsiteX5" fmla="*/ 80207 w 8634799"/>
                  <a:gd name="connsiteY5" fmla="*/ 914507 h 915445"/>
                  <a:gd name="connsiteX6" fmla="*/ 937008 w 8634799"/>
                  <a:gd name="connsiteY6" fmla="*/ 822064 h 915445"/>
                  <a:gd name="connsiteX7" fmla="*/ 1631867 w 8634799"/>
                  <a:gd name="connsiteY7" fmla="*/ 856052 h 915445"/>
                  <a:gd name="connsiteX8" fmla="*/ 2087877 w 8634799"/>
                  <a:gd name="connsiteY8" fmla="*/ 796564 h 915445"/>
                  <a:gd name="connsiteX9" fmla="*/ 2565599 w 8634799"/>
                  <a:gd name="connsiteY9" fmla="*/ 796564 h 915445"/>
                  <a:gd name="connsiteX10" fmla="*/ 3336468 w 8634799"/>
                  <a:gd name="connsiteY10" fmla="*/ 839058 h 915445"/>
                  <a:gd name="connsiteX11" fmla="*/ 4215904 w 8634799"/>
                  <a:gd name="connsiteY11" fmla="*/ 822064 h 915445"/>
                  <a:gd name="connsiteX12" fmla="*/ 4845622 w 8634799"/>
                  <a:gd name="connsiteY12" fmla="*/ 830570 h 915445"/>
                  <a:gd name="connsiteX13" fmla="*/ 5681632 w 8634799"/>
                  <a:gd name="connsiteY13" fmla="*/ 830570 h 915445"/>
                  <a:gd name="connsiteX14" fmla="*/ 6745645 w 8634799"/>
                  <a:gd name="connsiteY14" fmla="*/ 856070 h 915445"/>
                  <a:gd name="connsiteX15" fmla="*/ 7494800 w 8634799"/>
                  <a:gd name="connsiteY15" fmla="*/ 847564 h 915445"/>
                  <a:gd name="connsiteX16" fmla="*/ 8026795 w 8634799"/>
                  <a:gd name="connsiteY16" fmla="*/ 839058 h 915445"/>
                  <a:gd name="connsiteX17" fmla="*/ 8504518 w 8634799"/>
                  <a:gd name="connsiteY17" fmla="*/ 805070 h 915445"/>
                  <a:gd name="connsiteX18" fmla="*/ 8634799 w 8634799"/>
                  <a:gd name="connsiteY18" fmla="*/ 822064 h 915445"/>
                  <a:gd name="connsiteX19" fmla="*/ 8634799 w 8634799"/>
                  <a:gd name="connsiteY19" fmla="*/ 201707 h 915445"/>
                  <a:gd name="connsiteX20" fmla="*/ 8450223 w 8634799"/>
                  <a:gd name="connsiteY20" fmla="*/ 133786 h 915445"/>
                  <a:gd name="connsiteX21" fmla="*/ 7635927 w 8634799"/>
                  <a:gd name="connsiteY21" fmla="*/ 82805 h 915445"/>
                  <a:gd name="connsiteX22" fmla="*/ 7049636 w 8634799"/>
                  <a:gd name="connsiteY22" fmla="*/ 176280 h 915445"/>
                  <a:gd name="connsiteX23" fmla="*/ 6342549 w 8634799"/>
                  <a:gd name="connsiteY23" fmla="*/ 123721 h 915445"/>
                  <a:gd name="connsiteX24" fmla="*/ 5902209 w 8634799"/>
                  <a:gd name="connsiteY24" fmla="*/ 226749 h 915445"/>
                  <a:gd name="connsiteX25" fmla="*/ 5182195 w 8634799"/>
                  <a:gd name="connsiteY25" fmla="*/ 269755 h 915445"/>
                  <a:gd name="connsiteX26" fmla="*/ 3618314 w 8634799"/>
                  <a:gd name="connsiteY26" fmla="*/ 21218 h 915445"/>
                  <a:gd name="connsiteX27" fmla="*/ 2370177 w 8634799"/>
                  <a:gd name="connsiteY27" fmla="*/ 133786 h 915445"/>
                  <a:gd name="connsiteX28" fmla="*/ 578745 w 8634799"/>
                  <a:gd name="connsiteY28" fmla="*/ 125280 h 915445"/>
                  <a:gd name="connsiteX29" fmla="*/ 38923 w 8634799"/>
                  <a:gd name="connsiteY29" fmla="*/ 134331 h 915445"/>
                  <a:gd name="connsiteX0" fmla="*/ 38923 w 8634799"/>
                  <a:gd name="connsiteY0" fmla="*/ 153045 h 934159"/>
                  <a:gd name="connsiteX1" fmla="*/ 4765 w 8634799"/>
                  <a:gd name="connsiteY1" fmla="*/ 225774 h 934159"/>
                  <a:gd name="connsiteX2" fmla="*/ 16985 w 8634799"/>
                  <a:gd name="connsiteY2" fmla="*/ 437009 h 934159"/>
                  <a:gd name="connsiteX3" fmla="*/ 31647 w 8634799"/>
                  <a:gd name="connsiteY3" fmla="*/ 696255 h 934159"/>
                  <a:gd name="connsiteX4" fmla="*/ 43864 w 8634799"/>
                  <a:gd name="connsiteY4" fmla="*/ 773071 h 934159"/>
                  <a:gd name="connsiteX5" fmla="*/ 80207 w 8634799"/>
                  <a:gd name="connsiteY5" fmla="*/ 933221 h 934159"/>
                  <a:gd name="connsiteX6" fmla="*/ 937008 w 8634799"/>
                  <a:gd name="connsiteY6" fmla="*/ 840778 h 934159"/>
                  <a:gd name="connsiteX7" fmla="*/ 1631867 w 8634799"/>
                  <a:gd name="connsiteY7" fmla="*/ 874766 h 934159"/>
                  <a:gd name="connsiteX8" fmla="*/ 2087877 w 8634799"/>
                  <a:gd name="connsiteY8" fmla="*/ 815278 h 934159"/>
                  <a:gd name="connsiteX9" fmla="*/ 2565599 w 8634799"/>
                  <a:gd name="connsiteY9" fmla="*/ 815278 h 934159"/>
                  <a:gd name="connsiteX10" fmla="*/ 3336468 w 8634799"/>
                  <a:gd name="connsiteY10" fmla="*/ 857772 h 934159"/>
                  <a:gd name="connsiteX11" fmla="*/ 4215904 w 8634799"/>
                  <a:gd name="connsiteY11" fmla="*/ 840778 h 934159"/>
                  <a:gd name="connsiteX12" fmla="*/ 4845622 w 8634799"/>
                  <a:gd name="connsiteY12" fmla="*/ 849284 h 934159"/>
                  <a:gd name="connsiteX13" fmla="*/ 5681632 w 8634799"/>
                  <a:gd name="connsiteY13" fmla="*/ 849284 h 934159"/>
                  <a:gd name="connsiteX14" fmla="*/ 6745645 w 8634799"/>
                  <a:gd name="connsiteY14" fmla="*/ 874784 h 934159"/>
                  <a:gd name="connsiteX15" fmla="*/ 7494800 w 8634799"/>
                  <a:gd name="connsiteY15" fmla="*/ 866278 h 934159"/>
                  <a:gd name="connsiteX16" fmla="*/ 8026795 w 8634799"/>
                  <a:gd name="connsiteY16" fmla="*/ 857772 h 934159"/>
                  <a:gd name="connsiteX17" fmla="*/ 8504518 w 8634799"/>
                  <a:gd name="connsiteY17" fmla="*/ 823784 h 934159"/>
                  <a:gd name="connsiteX18" fmla="*/ 8634799 w 8634799"/>
                  <a:gd name="connsiteY18" fmla="*/ 840778 h 934159"/>
                  <a:gd name="connsiteX19" fmla="*/ 8634799 w 8634799"/>
                  <a:gd name="connsiteY19" fmla="*/ 220421 h 934159"/>
                  <a:gd name="connsiteX20" fmla="*/ 8450223 w 8634799"/>
                  <a:gd name="connsiteY20" fmla="*/ 152500 h 934159"/>
                  <a:gd name="connsiteX21" fmla="*/ 7635927 w 8634799"/>
                  <a:gd name="connsiteY21" fmla="*/ 101519 h 934159"/>
                  <a:gd name="connsiteX22" fmla="*/ 7049636 w 8634799"/>
                  <a:gd name="connsiteY22" fmla="*/ 194994 h 934159"/>
                  <a:gd name="connsiteX23" fmla="*/ 6342549 w 8634799"/>
                  <a:gd name="connsiteY23" fmla="*/ 142435 h 934159"/>
                  <a:gd name="connsiteX24" fmla="*/ 5902209 w 8634799"/>
                  <a:gd name="connsiteY24" fmla="*/ 245463 h 934159"/>
                  <a:gd name="connsiteX25" fmla="*/ 5182195 w 8634799"/>
                  <a:gd name="connsiteY25" fmla="*/ 288469 h 934159"/>
                  <a:gd name="connsiteX26" fmla="*/ 3655437 w 8634799"/>
                  <a:gd name="connsiteY26" fmla="*/ 19929 h 934159"/>
                  <a:gd name="connsiteX27" fmla="*/ 2370177 w 8634799"/>
                  <a:gd name="connsiteY27" fmla="*/ 152500 h 934159"/>
                  <a:gd name="connsiteX28" fmla="*/ 578745 w 8634799"/>
                  <a:gd name="connsiteY28" fmla="*/ 143994 h 934159"/>
                  <a:gd name="connsiteX29" fmla="*/ 38923 w 8634799"/>
                  <a:gd name="connsiteY29" fmla="*/ 153045 h 934159"/>
                  <a:gd name="connsiteX0" fmla="*/ 38923 w 8634799"/>
                  <a:gd name="connsiteY0" fmla="*/ 203294 h 984408"/>
                  <a:gd name="connsiteX1" fmla="*/ 4765 w 8634799"/>
                  <a:gd name="connsiteY1" fmla="*/ 276023 h 984408"/>
                  <a:gd name="connsiteX2" fmla="*/ 16985 w 8634799"/>
                  <a:gd name="connsiteY2" fmla="*/ 487258 h 984408"/>
                  <a:gd name="connsiteX3" fmla="*/ 31647 w 8634799"/>
                  <a:gd name="connsiteY3" fmla="*/ 746504 h 984408"/>
                  <a:gd name="connsiteX4" fmla="*/ 43864 w 8634799"/>
                  <a:gd name="connsiteY4" fmla="*/ 823320 h 984408"/>
                  <a:gd name="connsiteX5" fmla="*/ 80207 w 8634799"/>
                  <a:gd name="connsiteY5" fmla="*/ 983470 h 984408"/>
                  <a:gd name="connsiteX6" fmla="*/ 937008 w 8634799"/>
                  <a:gd name="connsiteY6" fmla="*/ 891027 h 984408"/>
                  <a:gd name="connsiteX7" fmla="*/ 1631867 w 8634799"/>
                  <a:gd name="connsiteY7" fmla="*/ 925015 h 984408"/>
                  <a:gd name="connsiteX8" fmla="*/ 2087877 w 8634799"/>
                  <a:gd name="connsiteY8" fmla="*/ 865527 h 984408"/>
                  <a:gd name="connsiteX9" fmla="*/ 2565599 w 8634799"/>
                  <a:gd name="connsiteY9" fmla="*/ 865527 h 984408"/>
                  <a:gd name="connsiteX10" fmla="*/ 3336468 w 8634799"/>
                  <a:gd name="connsiteY10" fmla="*/ 908021 h 984408"/>
                  <a:gd name="connsiteX11" fmla="*/ 4215904 w 8634799"/>
                  <a:gd name="connsiteY11" fmla="*/ 891027 h 984408"/>
                  <a:gd name="connsiteX12" fmla="*/ 4845622 w 8634799"/>
                  <a:gd name="connsiteY12" fmla="*/ 899533 h 984408"/>
                  <a:gd name="connsiteX13" fmla="*/ 5681632 w 8634799"/>
                  <a:gd name="connsiteY13" fmla="*/ 899533 h 984408"/>
                  <a:gd name="connsiteX14" fmla="*/ 6745645 w 8634799"/>
                  <a:gd name="connsiteY14" fmla="*/ 925033 h 984408"/>
                  <a:gd name="connsiteX15" fmla="*/ 7494800 w 8634799"/>
                  <a:gd name="connsiteY15" fmla="*/ 916527 h 984408"/>
                  <a:gd name="connsiteX16" fmla="*/ 8026795 w 8634799"/>
                  <a:gd name="connsiteY16" fmla="*/ 908021 h 984408"/>
                  <a:gd name="connsiteX17" fmla="*/ 8504518 w 8634799"/>
                  <a:gd name="connsiteY17" fmla="*/ 874033 h 984408"/>
                  <a:gd name="connsiteX18" fmla="*/ 8634799 w 8634799"/>
                  <a:gd name="connsiteY18" fmla="*/ 891027 h 984408"/>
                  <a:gd name="connsiteX19" fmla="*/ 8634799 w 8634799"/>
                  <a:gd name="connsiteY19" fmla="*/ 270670 h 984408"/>
                  <a:gd name="connsiteX20" fmla="*/ 8450223 w 8634799"/>
                  <a:gd name="connsiteY20" fmla="*/ 202749 h 984408"/>
                  <a:gd name="connsiteX21" fmla="*/ 7635927 w 8634799"/>
                  <a:gd name="connsiteY21" fmla="*/ 151768 h 984408"/>
                  <a:gd name="connsiteX22" fmla="*/ 7049636 w 8634799"/>
                  <a:gd name="connsiteY22" fmla="*/ 245243 h 984408"/>
                  <a:gd name="connsiteX23" fmla="*/ 6342549 w 8634799"/>
                  <a:gd name="connsiteY23" fmla="*/ 192684 h 984408"/>
                  <a:gd name="connsiteX24" fmla="*/ 5902209 w 8634799"/>
                  <a:gd name="connsiteY24" fmla="*/ 295712 h 984408"/>
                  <a:gd name="connsiteX25" fmla="*/ 5182195 w 8634799"/>
                  <a:gd name="connsiteY25" fmla="*/ 338718 h 984408"/>
                  <a:gd name="connsiteX26" fmla="*/ 3655437 w 8634799"/>
                  <a:gd name="connsiteY26" fmla="*/ 70178 h 984408"/>
                  <a:gd name="connsiteX27" fmla="*/ 2370177 w 8634799"/>
                  <a:gd name="connsiteY27" fmla="*/ 202749 h 984408"/>
                  <a:gd name="connsiteX28" fmla="*/ 578745 w 8634799"/>
                  <a:gd name="connsiteY28" fmla="*/ 194243 h 984408"/>
                  <a:gd name="connsiteX29" fmla="*/ 38923 w 8634799"/>
                  <a:gd name="connsiteY29" fmla="*/ 203294 h 984408"/>
                  <a:gd name="connsiteX0" fmla="*/ 38923 w 8634799"/>
                  <a:gd name="connsiteY0" fmla="*/ 146213 h 927327"/>
                  <a:gd name="connsiteX1" fmla="*/ 4765 w 8634799"/>
                  <a:gd name="connsiteY1" fmla="*/ 218942 h 927327"/>
                  <a:gd name="connsiteX2" fmla="*/ 16985 w 8634799"/>
                  <a:gd name="connsiteY2" fmla="*/ 430177 h 927327"/>
                  <a:gd name="connsiteX3" fmla="*/ 31647 w 8634799"/>
                  <a:gd name="connsiteY3" fmla="*/ 689423 h 927327"/>
                  <a:gd name="connsiteX4" fmla="*/ 43864 w 8634799"/>
                  <a:gd name="connsiteY4" fmla="*/ 766239 h 927327"/>
                  <a:gd name="connsiteX5" fmla="*/ 80207 w 8634799"/>
                  <a:gd name="connsiteY5" fmla="*/ 926389 h 927327"/>
                  <a:gd name="connsiteX6" fmla="*/ 937008 w 8634799"/>
                  <a:gd name="connsiteY6" fmla="*/ 833946 h 927327"/>
                  <a:gd name="connsiteX7" fmla="*/ 1631867 w 8634799"/>
                  <a:gd name="connsiteY7" fmla="*/ 867934 h 927327"/>
                  <a:gd name="connsiteX8" fmla="*/ 2087877 w 8634799"/>
                  <a:gd name="connsiteY8" fmla="*/ 808446 h 927327"/>
                  <a:gd name="connsiteX9" fmla="*/ 2565599 w 8634799"/>
                  <a:gd name="connsiteY9" fmla="*/ 808446 h 927327"/>
                  <a:gd name="connsiteX10" fmla="*/ 3336468 w 8634799"/>
                  <a:gd name="connsiteY10" fmla="*/ 850940 h 927327"/>
                  <a:gd name="connsiteX11" fmla="*/ 4215904 w 8634799"/>
                  <a:gd name="connsiteY11" fmla="*/ 833946 h 927327"/>
                  <a:gd name="connsiteX12" fmla="*/ 4845622 w 8634799"/>
                  <a:gd name="connsiteY12" fmla="*/ 842452 h 927327"/>
                  <a:gd name="connsiteX13" fmla="*/ 5681632 w 8634799"/>
                  <a:gd name="connsiteY13" fmla="*/ 842452 h 927327"/>
                  <a:gd name="connsiteX14" fmla="*/ 6745645 w 8634799"/>
                  <a:gd name="connsiteY14" fmla="*/ 867952 h 927327"/>
                  <a:gd name="connsiteX15" fmla="*/ 7494800 w 8634799"/>
                  <a:gd name="connsiteY15" fmla="*/ 859446 h 927327"/>
                  <a:gd name="connsiteX16" fmla="*/ 8026795 w 8634799"/>
                  <a:gd name="connsiteY16" fmla="*/ 850940 h 927327"/>
                  <a:gd name="connsiteX17" fmla="*/ 8504518 w 8634799"/>
                  <a:gd name="connsiteY17" fmla="*/ 816952 h 927327"/>
                  <a:gd name="connsiteX18" fmla="*/ 8634799 w 8634799"/>
                  <a:gd name="connsiteY18" fmla="*/ 833946 h 927327"/>
                  <a:gd name="connsiteX19" fmla="*/ 8634799 w 8634799"/>
                  <a:gd name="connsiteY19" fmla="*/ 213589 h 927327"/>
                  <a:gd name="connsiteX20" fmla="*/ 8450223 w 8634799"/>
                  <a:gd name="connsiteY20" fmla="*/ 145668 h 927327"/>
                  <a:gd name="connsiteX21" fmla="*/ 7635927 w 8634799"/>
                  <a:gd name="connsiteY21" fmla="*/ 94687 h 927327"/>
                  <a:gd name="connsiteX22" fmla="*/ 7049636 w 8634799"/>
                  <a:gd name="connsiteY22" fmla="*/ 188162 h 927327"/>
                  <a:gd name="connsiteX23" fmla="*/ 6342549 w 8634799"/>
                  <a:gd name="connsiteY23" fmla="*/ 135603 h 927327"/>
                  <a:gd name="connsiteX24" fmla="*/ 5902209 w 8634799"/>
                  <a:gd name="connsiteY24" fmla="*/ 238631 h 927327"/>
                  <a:gd name="connsiteX25" fmla="*/ 5182195 w 8634799"/>
                  <a:gd name="connsiteY25" fmla="*/ 281637 h 927327"/>
                  <a:gd name="connsiteX26" fmla="*/ 3822487 w 8634799"/>
                  <a:gd name="connsiteY26" fmla="*/ 79772 h 927327"/>
                  <a:gd name="connsiteX27" fmla="*/ 2370177 w 8634799"/>
                  <a:gd name="connsiteY27" fmla="*/ 145668 h 927327"/>
                  <a:gd name="connsiteX28" fmla="*/ 578745 w 8634799"/>
                  <a:gd name="connsiteY28" fmla="*/ 137162 h 927327"/>
                  <a:gd name="connsiteX29" fmla="*/ 38923 w 8634799"/>
                  <a:gd name="connsiteY29" fmla="*/ 146213 h 927327"/>
                  <a:gd name="connsiteX0" fmla="*/ 38923 w 8634799"/>
                  <a:gd name="connsiteY0" fmla="*/ 157240 h 938354"/>
                  <a:gd name="connsiteX1" fmla="*/ 4765 w 8634799"/>
                  <a:gd name="connsiteY1" fmla="*/ 229969 h 938354"/>
                  <a:gd name="connsiteX2" fmla="*/ 16985 w 8634799"/>
                  <a:gd name="connsiteY2" fmla="*/ 441204 h 938354"/>
                  <a:gd name="connsiteX3" fmla="*/ 31647 w 8634799"/>
                  <a:gd name="connsiteY3" fmla="*/ 700450 h 938354"/>
                  <a:gd name="connsiteX4" fmla="*/ 43864 w 8634799"/>
                  <a:gd name="connsiteY4" fmla="*/ 777266 h 938354"/>
                  <a:gd name="connsiteX5" fmla="*/ 80207 w 8634799"/>
                  <a:gd name="connsiteY5" fmla="*/ 937416 h 938354"/>
                  <a:gd name="connsiteX6" fmla="*/ 937008 w 8634799"/>
                  <a:gd name="connsiteY6" fmla="*/ 844973 h 938354"/>
                  <a:gd name="connsiteX7" fmla="*/ 1631867 w 8634799"/>
                  <a:gd name="connsiteY7" fmla="*/ 878961 h 938354"/>
                  <a:gd name="connsiteX8" fmla="*/ 2087877 w 8634799"/>
                  <a:gd name="connsiteY8" fmla="*/ 819473 h 938354"/>
                  <a:gd name="connsiteX9" fmla="*/ 2565599 w 8634799"/>
                  <a:gd name="connsiteY9" fmla="*/ 819473 h 938354"/>
                  <a:gd name="connsiteX10" fmla="*/ 3336468 w 8634799"/>
                  <a:gd name="connsiteY10" fmla="*/ 861967 h 938354"/>
                  <a:gd name="connsiteX11" fmla="*/ 4215904 w 8634799"/>
                  <a:gd name="connsiteY11" fmla="*/ 844973 h 938354"/>
                  <a:gd name="connsiteX12" fmla="*/ 4845622 w 8634799"/>
                  <a:gd name="connsiteY12" fmla="*/ 853479 h 938354"/>
                  <a:gd name="connsiteX13" fmla="*/ 5681632 w 8634799"/>
                  <a:gd name="connsiteY13" fmla="*/ 853479 h 938354"/>
                  <a:gd name="connsiteX14" fmla="*/ 6745645 w 8634799"/>
                  <a:gd name="connsiteY14" fmla="*/ 878979 h 938354"/>
                  <a:gd name="connsiteX15" fmla="*/ 7494800 w 8634799"/>
                  <a:gd name="connsiteY15" fmla="*/ 870473 h 938354"/>
                  <a:gd name="connsiteX16" fmla="*/ 8026795 w 8634799"/>
                  <a:gd name="connsiteY16" fmla="*/ 861967 h 938354"/>
                  <a:gd name="connsiteX17" fmla="*/ 8504518 w 8634799"/>
                  <a:gd name="connsiteY17" fmla="*/ 827979 h 938354"/>
                  <a:gd name="connsiteX18" fmla="*/ 8634799 w 8634799"/>
                  <a:gd name="connsiteY18" fmla="*/ 844973 h 938354"/>
                  <a:gd name="connsiteX19" fmla="*/ 8634799 w 8634799"/>
                  <a:gd name="connsiteY19" fmla="*/ 224616 h 938354"/>
                  <a:gd name="connsiteX20" fmla="*/ 8450223 w 8634799"/>
                  <a:gd name="connsiteY20" fmla="*/ 156695 h 938354"/>
                  <a:gd name="connsiteX21" fmla="*/ 7635927 w 8634799"/>
                  <a:gd name="connsiteY21" fmla="*/ 105714 h 938354"/>
                  <a:gd name="connsiteX22" fmla="*/ 7049636 w 8634799"/>
                  <a:gd name="connsiteY22" fmla="*/ 199189 h 938354"/>
                  <a:gd name="connsiteX23" fmla="*/ 6342549 w 8634799"/>
                  <a:gd name="connsiteY23" fmla="*/ 146630 h 938354"/>
                  <a:gd name="connsiteX24" fmla="*/ 5902209 w 8634799"/>
                  <a:gd name="connsiteY24" fmla="*/ 249658 h 938354"/>
                  <a:gd name="connsiteX25" fmla="*/ 5182195 w 8634799"/>
                  <a:gd name="connsiteY25" fmla="*/ 292664 h 938354"/>
                  <a:gd name="connsiteX26" fmla="*/ 3822487 w 8634799"/>
                  <a:gd name="connsiteY26" fmla="*/ 90799 h 938354"/>
                  <a:gd name="connsiteX27" fmla="*/ 2370177 w 8634799"/>
                  <a:gd name="connsiteY27" fmla="*/ 156695 h 938354"/>
                  <a:gd name="connsiteX28" fmla="*/ 578745 w 8634799"/>
                  <a:gd name="connsiteY28" fmla="*/ 148189 h 938354"/>
                  <a:gd name="connsiteX29" fmla="*/ 38923 w 8634799"/>
                  <a:gd name="connsiteY29" fmla="*/ 157240 h 938354"/>
                  <a:gd name="connsiteX0" fmla="*/ 38923 w 12045155"/>
                  <a:gd name="connsiteY0" fmla="*/ 157240 h 938354"/>
                  <a:gd name="connsiteX1" fmla="*/ 4765 w 12045155"/>
                  <a:gd name="connsiteY1" fmla="*/ 229969 h 938354"/>
                  <a:gd name="connsiteX2" fmla="*/ 16985 w 12045155"/>
                  <a:gd name="connsiteY2" fmla="*/ 441204 h 938354"/>
                  <a:gd name="connsiteX3" fmla="*/ 31647 w 12045155"/>
                  <a:gd name="connsiteY3" fmla="*/ 700450 h 938354"/>
                  <a:gd name="connsiteX4" fmla="*/ 43864 w 12045155"/>
                  <a:gd name="connsiteY4" fmla="*/ 777266 h 938354"/>
                  <a:gd name="connsiteX5" fmla="*/ 80207 w 12045155"/>
                  <a:gd name="connsiteY5" fmla="*/ 937416 h 938354"/>
                  <a:gd name="connsiteX6" fmla="*/ 937008 w 12045155"/>
                  <a:gd name="connsiteY6" fmla="*/ 844973 h 938354"/>
                  <a:gd name="connsiteX7" fmla="*/ 1631867 w 12045155"/>
                  <a:gd name="connsiteY7" fmla="*/ 878961 h 938354"/>
                  <a:gd name="connsiteX8" fmla="*/ 2087877 w 12045155"/>
                  <a:gd name="connsiteY8" fmla="*/ 819473 h 938354"/>
                  <a:gd name="connsiteX9" fmla="*/ 2565599 w 12045155"/>
                  <a:gd name="connsiteY9" fmla="*/ 819473 h 938354"/>
                  <a:gd name="connsiteX10" fmla="*/ 3336468 w 12045155"/>
                  <a:gd name="connsiteY10" fmla="*/ 861967 h 938354"/>
                  <a:gd name="connsiteX11" fmla="*/ 4215904 w 12045155"/>
                  <a:gd name="connsiteY11" fmla="*/ 844973 h 938354"/>
                  <a:gd name="connsiteX12" fmla="*/ 4845622 w 12045155"/>
                  <a:gd name="connsiteY12" fmla="*/ 853479 h 938354"/>
                  <a:gd name="connsiteX13" fmla="*/ 5681632 w 12045155"/>
                  <a:gd name="connsiteY13" fmla="*/ 853479 h 938354"/>
                  <a:gd name="connsiteX14" fmla="*/ 6745645 w 12045155"/>
                  <a:gd name="connsiteY14" fmla="*/ 878979 h 938354"/>
                  <a:gd name="connsiteX15" fmla="*/ 7494800 w 12045155"/>
                  <a:gd name="connsiteY15" fmla="*/ 870473 h 938354"/>
                  <a:gd name="connsiteX16" fmla="*/ 8026795 w 12045155"/>
                  <a:gd name="connsiteY16" fmla="*/ 861967 h 938354"/>
                  <a:gd name="connsiteX17" fmla="*/ 8504518 w 12045155"/>
                  <a:gd name="connsiteY17" fmla="*/ 827979 h 938354"/>
                  <a:gd name="connsiteX18" fmla="*/ 12045155 w 12045155"/>
                  <a:gd name="connsiteY18" fmla="*/ 699393 h 938354"/>
                  <a:gd name="connsiteX19" fmla="*/ 8634799 w 12045155"/>
                  <a:gd name="connsiteY19" fmla="*/ 224616 h 938354"/>
                  <a:gd name="connsiteX20" fmla="*/ 8450223 w 12045155"/>
                  <a:gd name="connsiteY20" fmla="*/ 156695 h 938354"/>
                  <a:gd name="connsiteX21" fmla="*/ 7635927 w 12045155"/>
                  <a:gd name="connsiteY21" fmla="*/ 105714 h 938354"/>
                  <a:gd name="connsiteX22" fmla="*/ 7049636 w 12045155"/>
                  <a:gd name="connsiteY22" fmla="*/ 199189 h 938354"/>
                  <a:gd name="connsiteX23" fmla="*/ 6342549 w 12045155"/>
                  <a:gd name="connsiteY23" fmla="*/ 146630 h 938354"/>
                  <a:gd name="connsiteX24" fmla="*/ 5902209 w 12045155"/>
                  <a:gd name="connsiteY24" fmla="*/ 249658 h 938354"/>
                  <a:gd name="connsiteX25" fmla="*/ 5182195 w 12045155"/>
                  <a:gd name="connsiteY25" fmla="*/ 292664 h 938354"/>
                  <a:gd name="connsiteX26" fmla="*/ 3822487 w 12045155"/>
                  <a:gd name="connsiteY26" fmla="*/ 90799 h 938354"/>
                  <a:gd name="connsiteX27" fmla="*/ 2370177 w 12045155"/>
                  <a:gd name="connsiteY27" fmla="*/ 156695 h 938354"/>
                  <a:gd name="connsiteX28" fmla="*/ 578745 w 12045155"/>
                  <a:gd name="connsiteY28" fmla="*/ 148189 h 938354"/>
                  <a:gd name="connsiteX29" fmla="*/ 38923 w 12045155"/>
                  <a:gd name="connsiteY29" fmla="*/ 157240 h 938354"/>
                  <a:gd name="connsiteX0" fmla="*/ 38923 w 12045155"/>
                  <a:gd name="connsiteY0" fmla="*/ 157240 h 938354"/>
                  <a:gd name="connsiteX1" fmla="*/ 4765 w 12045155"/>
                  <a:gd name="connsiteY1" fmla="*/ 229969 h 938354"/>
                  <a:gd name="connsiteX2" fmla="*/ 16985 w 12045155"/>
                  <a:gd name="connsiteY2" fmla="*/ 441204 h 938354"/>
                  <a:gd name="connsiteX3" fmla="*/ 31647 w 12045155"/>
                  <a:gd name="connsiteY3" fmla="*/ 700450 h 938354"/>
                  <a:gd name="connsiteX4" fmla="*/ 43864 w 12045155"/>
                  <a:gd name="connsiteY4" fmla="*/ 777266 h 938354"/>
                  <a:gd name="connsiteX5" fmla="*/ 80207 w 12045155"/>
                  <a:gd name="connsiteY5" fmla="*/ 937416 h 938354"/>
                  <a:gd name="connsiteX6" fmla="*/ 937008 w 12045155"/>
                  <a:gd name="connsiteY6" fmla="*/ 844973 h 938354"/>
                  <a:gd name="connsiteX7" fmla="*/ 1631867 w 12045155"/>
                  <a:gd name="connsiteY7" fmla="*/ 878961 h 938354"/>
                  <a:gd name="connsiteX8" fmla="*/ 2087877 w 12045155"/>
                  <a:gd name="connsiteY8" fmla="*/ 819473 h 938354"/>
                  <a:gd name="connsiteX9" fmla="*/ 2565599 w 12045155"/>
                  <a:gd name="connsiteY9" fmla="*/ 819473 h 938354"/>
                  <a:gd name="connsiteX10" fmla="*/ 3336468 w 12045155"/>
                  <a:gd name="connsiteY10" fmla="*/ 861967 h 938354"/>
                  <a:gd name="connsiteX11" fmla="*/ 4215904 w 12045155"/>
                  <a:gd name="connsiteY11" fmla="*/ 844973 h 938354"/>
                  <a:gd name="connsiteX12" fmla="*/ 4845622 w 12045155"/>
                  <a:gd name="connsiteY12" fmla="*/ 853479 h 938354"/>
                  <a:gd name="connsiteX13" fmla="*/ 5681632 w 12045155"/>
                  <a:gd name="connsiteY13" fmla="*/ 853479 h 938354"/>
                  <a:gd name="connsiteX14" fmla="*/ 6745645 w 12045155"/>
                  <a:gd name="connsiteY14" fmla="*/ 878979 h 938354"/>
                  <a:gd name="connsiteX15" fmla="*/ 7494800 w 12045155"/>
                  <a:gd name="connsiteY15" fmla="*/ 870473 h 938354"/>
                  <a:gd name="connsiteX16" fmla="*/ 8026795 w 12045155"/>
                  <a:gd name="connsiteY16" fmla="*/ 861967 h 938354"/>
                  <a:gd name="connsiteX17" fmla="*/ 8504518 w 12045155"/>
                  <a:gd name="connsiteY17" fmla="*/ 827979 h 938354"/>
                  <a:gd name="connsiteX18" fmla="*/ 12045155 w 12045155"/>
                  <a:gd name="connsiteY18" fmla="*/ 699393 h 938354"/>
                  <a:gd name="connsiteX19" fmla="*/ 12045155 w 12045155"/>
                  <a:gd name="connsiteY19" fmla="*/ 261011 h 938354"/>
                  <a:gd name="connsiteX20" fmla="*/ 8450223 w 12045155"/>
                  <a:gd name="connsiteY20" fmla="*/ 156695 h 938354"/>
                  <a:gd name="connsiteX21" fmla="*/ 7635927 w 12045155"/>
                  <a:gd name="connsiteY21" fmla="*/ 105714 h 938354"/>
                  <a:gd name="connsiteX22" fmla="*/ 7049636 w 12045155"/>
                  <a:gd name="connsiteY22" fmla="*/ 199189 h 938354"/>
                  <a:gd name="connsiteX23" fmla="*/ 6342549 w 12045155"/>
                  <a:gd name="connsiteY23" fmla="*/ 146630 h 938354"/>
                  <a:gd name="connsiteX24" fmla="*/ 5902209 w 12045155"/>
                  <a:gd name="connsiteY24" fmla="*/ 249658 h 938354"/>
                  <a:gd name="connsiteX25" fmla="*/ 5182195 w 12045155"/>
                  <a:gd name="connsiteY25" fmla="*/ 292664 h 938354"/>
                  <a:gd name="connsiteX26" fmla="*/ 3822487 w 12045155"/>
                  <a:gd name="connsiteY26" fmla="*/ 90799 h 938354"/>
                  <a:gd name="connsiteX27" fmla="*/ 2370177 w 12045155"/>
                  <a:gd name="connsiteY27" fmla="*/ 156695 h 938354"/>
                  <a:gd name="connsiteX28" fmla="*/ 578745 w 12045155"/>
                  <a:gd name="connsiteY28" fmla="*/ 148189 h 938354"/>
                  <a:gd name="connsiteX29" fmla="*/ 38923 w 12045155"/>
                  <a:gd name="connsiteY29" fmla="*/ 157240 h 938354"/>
                  <a:gd name="connsiteX0" fmla="*/ 38923 w 12045155"/>
                  <a:gd name="connsiteY0" fmla="*/ 157240 h 1129823"/>
                  <a:gd name="connsiteX1" fmla="*/ 4765 w 12045155"/>
                  <a:gd name="connsiteY1" fmla="*/ 229969 h 1129823"/>
                  <a:gd name="connsiteX2" fmla="*/ 16985 w 12045155"/>
                  <a:gd name="connsiteY2" fmla="*/ 441204 h 1129823"/>
                  <a:gd name="connsiteX3" fmla="*/ 31647 w 12045155"/>
                  <a:gd name="connsiteY3" fmla="*/ 700450 h 1129823"/>
                  <a:gd name="connsiteX4" fmla="*/ 43864 w 12045155"/>
                  <a:gd name="connsiteY4" fmla="*/ 777266 h 1129823"/>
                  <a:gd name="connsiteX5" fmla="*/ 80207 w 12045155"/>
                  <a:gd name="connsiteY5" fmla="*/ 937416 h 1129823"/>
                  <a:gd name="connsiteX6" fmla="*/ 937008 w 12045155"/>
                  <a:gd name="connsiteY6" fmla="*/ 844973 h 1129823"/>
                  <a:gd name="connsiteX7" fmla="*/ 1631867 w 12045155"/>
                  <a:gd name="connsiteY7" fmla="*/ 878961 h 1129823"/>
                  <a:gd name="connsiteX8" fmla="*/ 2087877 w 12045155"/>
                  <a:gd name="connsiteY8" fmla="*/ 819473 h 1129823"/>
                  <a:gd name="connsiteX9" fmla="*/ 2565599 w 12045155"/>
                  <a:gd name="connsiteY9" fmla="*/ 819473 h 1129823"/>
                  <a:gd name="connsiteX10" fmla="*/ 3336468 w 12045155"/>
                  <a:gd name="connsiteY10" fmla="*/ 861967 h 1129823"/>
                  <a:gd name="connsiteX11" fmla="*/ 4215904 w 12045155"/>
                  <a:gd name="connsiteY11" fmla="*/ 844973 h 1129823"/>
                  <a:gd name="connsiteX12" fmla="*/ 4845622 w 12045155"/>
                  <a:gd name="connsiteY12" fmla="*/ 853479 h 1129823"/>
                  <a:gd name="connsiteX13" fmla="*/ 5681632 w 12045155"/>
                  <a:gd name="connsiteY13" fmla="*/ 853479 h 1129823"/>
                  <a:gd name="connsiteX14" fmla="*/ 6745645 w 12045155"/>
                  <a:gd name="connsiteY14" fmla="*/ 878979 h 1129823"/>
                  <a:gd name="connsiteX15" fmla="*/ 7494800 w 12045155"/>
                  <a:gd name="connsiteY15" fmla="*/ 870473 h 1129823"/>
                  <a:gd name="connsiteX16" fmla="*/ 8026795 w 12045155"/>
                  <a:gd name="connsiteY16" fmla="*/ 861967 h 1129823"/>
                  <a:gd name="connsiteX17" fmla="*/ 8504518 w 12045155"/>
                  <a:gd name="connsiteY17" fmla="*/ 827979 h 1129823"/>
                  <a:gd name="connsiteX18" fmla="*/ 11481826 w 12045155"/>
                  <a:gd name="connsiteY18" fmla="*/ 1127088 h 1129823"/>
                  <a:gd name="connsiteX19" fmla="*/ 12045155 w 12045155"/>
                  <a:gd name="connsiteY19" fmla="*/ 699393 h 1129823"/>
                  <a:gd name="connsiteX20" fmla="*/ 12045155 w 12045155"/>
                  <a:gd name="connsiteY20" fmla="*/ 261011 h 1129823"/>
                  <a:gd name="connsiteX21" fmla="*/ 8450223 w 12045155"/>
                  <a:gd name="connsiteY21" fmla="*/ 156695 h 1129823"/>
                  <a:gd name="connsiteX22" fmla="*/ 7635927 w 12045155"/>
                  <a:gd name="connsiteY22" fmla="*/ 105714 h 1129823"/>
                  <a:gd name="connsiteX23" fmla="*/ 7049636 w 12045155"/>
                  <a:gd name="connsiteY23" fmla="*/ 199189 h 1129823"/>
                  <a:gd name="connsiteX24" fmla="*/ 6342549 w 12045155"/>
                  <a:gd name="connsiteY24" fmla="*/ 146630 h 1129823"/>
                  <a:gd name="connsiteX25" fmla="*/ 5902209 w 12045155"/>
                  <a:gd name="connsiteY25" fmla="*/ 249658 h 1129823"/>
                  <a:gd name="connsiteX26" fmla="*/ 5182195 w 12045155"/>
                  <a:gd name="connsiteY26" fmla="*/ 292664 h 1129823"/>
                  <a:gd name="connsiteX27" fmla="*/ 3822487 w 12045155"/>
                  <a:gd name="connsiteY27" fmla="*/ 90799 h 1129823"/>
                  <a:gd name="connsiteX28" fmla="*/ 2370177 w 12045155"/>
                  <a:gd name="connsiteY28" fmla="*/ 156695 h 1129823"/>
                  <a:gd name="connsiteX29" fmla="*/ 578745 w 12045155"/>
                  <a:gd name="connsiteY29" fmla="*/ 148189 h 1129823"/>
                  <a:gd name="connsiteX30" fmla="*/ 38923 w 12045155"/>
                  <a:gd name="connsiteY30" fmla="*/ 157240 h 1129823"/>
                  <a:gd name="connsiteX0" fmla="*/ 38923 w 12045155"/>
                  <a:gd name="connsiteY0" fmla="*/ 157240 h 1784983"/>
                  <a:gd name="connsiteX1" fmla="*/ 4765 w 12045155"/>
                  <a:gd name="connsiteY1" fmla="*/ 229969 h 1784983"/>
                  <a:gd name="connsiteX2" fmla="*/ 16985 w 12045155"/>
                  <a:gd name="connsiteY2" fmla="*/ 441204 h 1784983"/>
                  <a:gd name="connsiteX3" fmla="*/ 31647 w 12045155"/>
                  <a:gd name="connsiteY3" fmla="*/ 700450 h 1784983"/>
                  <a:gd name="connsiteX4" fmla="*/ 43864 w 12045155"/>
                  <a:gd name="connsiteY4" fmla="*/ 777266 h 1784983"/>
                  <a:gd name="connsiteX5" fmla="*/ 80207 w 12045155"/>
                  <a:gd name="connsiteY5" fmla="*/ 937416 h 1784983"/>
                  <a:gd name="connsiteX6" fmla="*/ 937008 w 12045155"/>
                  <a:gd name="connsiteY6" fmla="*/ 844973 h 1784983"/>
                  <a:gd name="connsiteX7" fmla="*/ 1631867 w 12045155"/>
                  <a:gd name="connsiteY7" fmla="*/ 878961 h 1784983"/>
                  <a:gd name="connsiteX8" fmla="*/ 2087877 w 12045155"/>
                  <a:gd name="connsiteY8" fmla="*/ 819473 h 1784983"/>
                  <a:gd name="connsiteX9" fmla="*/ 2565599 w 12045155"/>
                  <a:gd name="connsiteY9" fmla="*/ 819473 h 1784983"/>
                  <a:gd name="connsiteX10" fmla="*/ 3336468 w 12045155"/>
                  <a:gd name="connsiteY10" fmla="*/ 861967 h 1784983"/>
                  <a:gd name="connsiteX11" fmla="*/ 4215904 w 12045155"/>
                  <a:gd name="connsiteY11" fmla="*/ 844973 h 1784983"/>
                  <a:gd name="connsiteX12" fmla="*/ 4845622 w 12045155"/>
                  <a:gd name="connsiteY12" fmla="*/ 853479 h 1784983"/>
                  <a:gd name="connsiteX13" fmla="*/ 5681632 w 12045155"/>
                  <a:gd name="connsiteY13" fmla="*/ 853479 h 1784983"/>
                  <a:gd name="connsiteX14" fmla="*/ 6745645 w 12045155"/>
                  <a:gd name="connsiteY14" fmla="*/ 878979 h 1784983"/>
                  <a:gd name="connsiteX15" fmla="*/ 7494800 w 12045155"/>
                  <a:gd name="connsiteY15" fmla="*/ 870473 h 1784983"/>
                  <a:gd name="connsiteX16" fmla="*/ 8026795 w 12045155"/>
                  <a:gd name="connsiteY16" fmla="*/ 861967 h 1784983"/>
                  <a:gd name="connsiteX17" fmla="*/ 8504518 w 12045155"/>
                  <a:gd name="connsiteY17" fmla="*/ 827979 h 1784983"/>
                  <a:gd name="connsiteX18" fmla="*/ 10922986 w 12045155"/>
                  <a:gd name="connsiteY18" fmla="*/ 1782194 h 1784983"/>
                  <a:gd name="connsiteX19" fmla="*/ 11481826 w 12045155"/>
                  <a:gd name="connsiteY19" fmla="*/ 1127088 h 1784983"/>
                  <a:gd name="connsiteX20" fmla="*/ 12045155 w 12045155"/>
                  <a:gd name="connsiteY20" fmla="*/ 699393 h 1784983"/>
                  <a:gd name="connsiteX21" fmla="*/ 12045155 w 12045155"/>
                  <a:gd name="connsiteY21" fmla="*/ 261011 h 1784983"/>
                  <a:gd name="connsiteX22" fmla="*/ 8450223 w 12045155"/>
                  <a:gd name="connsiteY22" fmla="*/ 156695 h 1784983"/>
                  <a:gd name="connsiteX23" fmla="*/ 7635927 w 12045155"/>
                  <a:gd name="connsiteY23" fmla="*/ 105714 h 1784983"/>
                  <a:gd name="connsiteX24" fmla="*/ 7049636 w 12045155"/>
                  <a:gd name="connsiteY24" fmla="*/ 199189 h 1784983"/>
                  <a:gd name="connsiteX25" fmla="*/ 6342549 w 12045155"/>
                  <a:gd name="connsiteY25" fmla="*/ 146630 h 1784983"/>
                  <a:gd name="connsiteX26" fmla="*/ 5902209 w 12045155"/>
                  <a:gd name="connsiteY26" fmla="*/ 249658 h 1784983"/>
                  <a:gd name="connsiteX27" fmla="*/ 5182195 w 12045155"/>
                  <a:gd name="connsiteY27" fmla="*/ 292664 h 1784983"/>
                  <a:gd name="connsiteX28" fmla="*/ 3822487 w 12045155"/>
                  <a:gd name="connsiteY28" fmla="*/ 90799 h 1784983"/>
                  <a:gd name="connsiteX29" fmla="*/ 2370177 w 12045155"/>
                  <a:gd name="connsiteY29" fmla="*/ 156695 h 1784983"/>
                  <a:gd name="connsiteX30" fmla="*/ 578745 w 12045155"/>
                  <a:gd name="connsiteY30" fmla="*/ 148189 h 1784983"/>
                  <a:gd name="connsiteX31" fmla="*/ 38923 w 12045155"/>
                  <a:gd name="connsiteY31" fmla="*/ 157240 h 1784983"/>
                  <a:gd name="connsiteX0" fmla="*/ 38923 w 12045155"/>
                  <a:gd name="connsiteY0" fmla="*/ 157240 h 1848237"/>
                  <a:gd name="connsiteX1" fmla="*/ 4765 w 12045155"/>
                  <a:gd name="connsiteY1" fmla="*/ 229969 h 1848237"/>
                  <a:gd name="connsiteX2" fmla="*/ 16985 w 12045155"/>
                  <a:gd name="connsiteY2" fmla="*/ 441204 h 1848237"/>
                  <a:gd name="connsiteX3" fmla="*/ 31647 w 12045155"/>
                  <a:gd name="connsiteY3" fmla="*/ 700450 h 1848237"/>
                  <a:gd name="connsiteX4" fmla="*/ 43864 w 12045155"/>
                  <a:gd name="connsiteY4" fmla="*/ 777266 h 1848237"/>
                  <a:gd name="connsiteX5" fmla="*/ 80207 w 12045155"/>
                  <a:gd name="connsiteY5" fmla="*/ 937416 h 1848237"/>
                  <a:gd name="connsiteX6" fmla="*/ 937008 w 12045155"/>
                  <a:gd name="connsiteY6" fmla="*/ 844973 h 1848237"/>
                  <a:gd name="connsiteX7" fmla="*/ 1631867 w 12045155"/>
                  <a:gd name="connsiteY7" fmla="*/ 878961 h 1848237"/>
                  <a:gd name="connsiteX8" fmla="*/ 2087877 w 12045155"/>
                  <a:gd name="connsiteY8" fmla="*/ 819473 h 1848237"/>
                  <a:gd name="connsiteX9" fmla="*/ 2565599 w 12045155"/>
                  <a:gd name="connsiteY9" fmla="*/ 819473 h 1848237"/>
                  <a:gd name="connsiteX10" fmla="*/ 3336468 w 12045155"/>
                  <a:gd name="connsiteY10" fmla="*/ 861967 h 1848237"/>
                  <a:gd name="connsiteX11" fmla="*/ 4215904 w 12045155"/>
                  <a:gd name="connsiteY11" fmla="*/ 844973 h 1848237"/>
                  <a:gd name="connsiteX12" fmla="*/ 4845622 w 12045155"/>
                  <a:gd name="connsiteY12" fmla="*/ 853479 h 1848237"/>
                  <a:gd name="connsiteX13" fmla="*/ 5681632 w 12045155"/>
                  <a:gd name="connsiteY13" fmla="*/ 853479 h 1848237"/>
                  <a:gd name="connsiteX14" fmla="*/ 6745645 w 12045155"/>
                  <a:gd name="connsiteY14" fmla="*/ 878979 h 1848237"/>
                  <a:gd name="connsiteX15" fmla="*/ 7494800 w 12045155"/>
                  <a:gd name="connsiteY15" fmla="*/ 870473 h 1848237"/>
                  <a:gd name="connsiteX16" fmla="*/ 8026795 w 12045155"/>
                  <a:gd name="connsiteY16" fmla="*/ 861967 h 1848237"/>
                  <a:gd name="connsiteX17" fmla="*/ 8504518 w 12045155"/>
                  <a:gd name="connsiteY17" fmla="*/ 827979 h 1848237"/>
                  <a:gd name="connsiteX18" fmla="*/ 10922986 w 12045155"/>
                  <a:gd name="connsiteY18" fmla="*/ 1782194 h 1848237"/>
                  <a:gd name="connsiteX19" fmla="*/ 11481826 w 12045155"/>
                  <a:gd name="connsiteY19" fmla="*/ 1127088 h 1848237"/>
                  <a:gd name="connsiteX20" fmla="*/ 12045155 w 12045155"/>
                  <a:gd name="connsiteY20" fmla="*/ 699393 h 1848237"/>
                  <a:gd name="connsiteX21" fmla="*/ 12045155 w 12045155"/>
                  <a:gd name="connsiteY21" fmla="*/ 261011 h 1848237"/>
                  <a:gd name="connsiteX22" fmla="*/ 8450223 w 12045155"/>
                  <a:gd name="connsiteY22" fmla="*/ 156695 h 1848237"/>
                  <a:gd name="connsiteX23" fmla="*/ 7635927 w 12045155"/>
                  <a:gd name="connsiteY23" fmla="*/ 105714 h 1848237"/>
                  <a:gd name="connsiteX24" fmla="*/ 7049636 w 12045155"/>
                  <a:gd name="connsiteY24" fmla="*/ 199189 h 1848237"/>
                  <a:gd name="connsiteX25" fmla="*/ 6342549 w 12045155"/>
                  <a:gd name="connsiteY25" fmla="*/ 146630 h 1848237"/>
                  <a:gd name="connsiteX26" fmla="*/ 5902209 w 12045155"/>
                  <a:gd name="connsiteY26" fmla="*/ 249658 h 1848237"/>
                  <a:gd name="connsiteX27" fmla="*/ 5182195 w 12045155"/>
                  <a:gd name="connsiteY27" fmla="*/ 292664 h 1848237"/>
                  <a:gd name="connsiteX28" fmla="*/ 3822487 w 12045155"/>
                  <a:gd name="connsiteY28" fmla="*/ 90799 h 1848237"/>
                  <a:gd name="connsiteX29" fmla="*/ 2370177 w 12045155"/>
                  <a:gd name="connsiteY29" fmla="*/ 156695 h 1848237"/>
                  <a:gd name="connsiteX30" fmla="*/ 578745 w 12045155"/>
                  <a:gd name="connsiteY30" fmla="*/ 148189 h 1848237"/>
                  <a:gd name="connsiteX31" fmla="*/ 38923 w 12045155"/>
                  <a:gd name="connsiteY31" fmla="*/ 157240 h 1848237"/>
                  <a:gd name="connsiteX0" fmla="*/ 38923 w 12045155"/>
                  <a:gd name="connsiteY0" fmla="*/ 157240 h 2147863"/>
                  <a:gd name="connsiteX1" fmla="*/ 4765 w 12045155"/>
                  <a:gd name="connsiteY1" fmla="*/ 229969 h 2147863"/>
                  <a:gd name="connsiteX2" fmla="*/ 16985 w 12045155"/>
                  <a:gd name="connsiteY2" fmla="*/ 441204 h 2147863"/>
                  <a:gd name="connsiteX3" fmla="*/ 31647 w 12045155"/>
                  <a:gd name="connsiteY3" fmla="*/ 700450 h 2147863"/>
                  <a:gd name="connsiteX4" fmla="*/ 43864 w 12045155"/>
                  <a:gd name="connsiteY4" fmla="*/ 777266 h 2147863"/>
                  <a:gd name="connsiteX5" fmla="*/ 80207 w 12045155"/>
                  <a:gd name="connsiteY5" fmla="*/ 937416 h 2147863"/>
                  <a:gd name="connsiteX6" fmla="*/ 937008 w 12045155"/>
                  <a:gd name="connsiteY6" fmla="*/ 844973 h 2147863"/>
                  <a:gd name="connsiteX7" fmla="*/ 1631867 w 12045155"/>
                  <a:gd name="connsiteY7" fmla="*/ 878961 h 2147863"/>
                  <a:gd name="connsiteX8" fmla="*/ 2087877 w 12045155"/>
                  <a:gd name="connsiteY8" fmla="*/ 819473 h 2147863"/>
                  <a:gd name="connsiteX9" fmla="*/ 2565599 w 12045155"/>
                  <a:gd name="connsiteY9" fmla="*/ 819473 h 2147863"/>
                  <a:gd name="connsiteX10" fmla="*/ 3336468 w 12045155"/>
                  <a:gd name="connsiteY10" fmla="*/ 861967 h 2147863"/>
                  <a:gd name="connsiteX11" fmla="*/ 4215904 w 12045155"/>
                  <a:gd name="connsiteY11" fmla="*/ 844973 h 2147863"/>
                  <a:gd name="connsiteX12" fmla="*/ 4845622 w 12045155"/>
                  <a:gd name="connsiteY12" fmla="*/ 853479 h 2147863"/>
                  <a:gd name="connsiteX13" fmla="*/ 5681632 w 12045155"/>
                  <a:gd name="connsiteY13" fmla="*/ 853479 h 2147863"/>
                  <a:gd name="connsiteX14" fmla="*/ 6745645 w 12045155"/>
                  <a:gd name="connsiteY14" fmla="*/ 878979 h 2147863"/>
                  <a:gd name="connsiteX15" fmla="*/ 7494800 w 12045155"/>
                  <a:gd name="connsiteY15" fmla="*/ 870473 h 2147863"/>
                  <a:gd name="connsiteX16" fmla="*/ 8026795 w 12045155"/>
                  <a:gd name="connsiteY16" fmla="*/ 861967 h 2147863"/>
                  <a:gd name="connsiteX17" fmla="*/ 8504518 w 12045155"/>
                  <a:gd name="connsiteY17" fmla="*/ 827979 h 2147863"/>
                  <a:gd name="connsiteX18" fmla="*/ 10177867 w 12045155"/>
                  <a:gd name="connsiteY18" fmla="*/ 2109744 h 2147863"/>
                  <a:gd name="connsiteX19" fmla="*/ 10922986 w 12045155"/>
                  <a:gd name="connsiteY19" fmla="*/ 1782194 h 2147863"/>
                  <a:gd name="connsiteX20" fmla="*/ 11481826 w 12045155"/>
                  <a:gd name="connsiteY20" fmla="*/ 1127088 h 2147863"/>
                  <a:gd name="connsiteX21" fmla="*/ 12045155 w 12045155"/>
                  <a:gd name="connsiteY21" fmla="*/ 699393 h 2147863"/>
                  <a:gd name="connsiteX22" fmla="*/ 12045155 w 12045155"/>
                  <a:gd name="connsiteY22" fmla="*/ 261011 h 2147863"/>
                  <a:gd name="connsiteX23" fmla="*/ 8450223 w 12045155"/>
                  <a:gd name="connsiteY23" fmla="*/ 156695 h 2147863"/>
                  <a:gd name="connsiteX24" fmla="*/ 7635927 w 12045155"/>
                  <a:gd name="connsiteY24" fmla="*/ 105714 h 2147863"/>
                  <a:gd name="connsiteX25" fmla="*/ 7049636 w 12045155"/>
                  <a:gd name="connsiteY25" fmla="*/ 199189 h 2147863"/>
                  <a:gd name="connsiteX26" fmla="*/ 6342549 w 12045155"/>
                  <a:gd name="connsiteY26" fmla="*/ 146630 h 2147863"/>
                  <a:gd name="connsiteX27" fmla="*/ 5902209 w 12045155"/>
                  <a:gd name="connsiteY27" fmla="*/ 249658 h 2147863"/>
                  <a:gd name="connsiteX28" fmla="*/ 5182195 w 12045155"/>
                  <a:gd name="connsiteY28" fmla="*/ 292664 h 2147863"/>
                  <a:gd name="connsiteX29" fmla="*/ 3822487 w 12045155"/>
                  <a:gd name="connsiteY29" fmla="*/ 90799 h 2147863"/>
                  <a:gd name="connsiteX30" fmla="*/ 2370177 w 12045155"/>
                  <a:gd name="connsiteY30" fmla="*/ 156695 h 2147863"/>
                  <a:gd name="connsiteX31" fmla="*/ 578745 w 12045155"/>
                  <a:gd name="connsiteY31" fmla="*/ 148189 h 2147863"/>
                  <a:gd name="connsiteX32" fmla="*/ 38923 w 12045155"/>
                  <a:gd name="connsiteY32" fmla="*/ 157240 h 2147863"/>
                  <a:gd name="connsiteX0" fmla="*/ 38923 w 12045155"/>
                  <a:gd name="connsiteY0" fmla="*/ 157240 h 2112232"/>
                  <a:gd name="connsiteX1" fmla="*/ 4765 w 12045155"/>
                  <a:gd name="connsiteY1" fmla="*/ 229969 h 2112232"/>
                  <a:gd name="connsiteX2" fmla="*/ 16985 w 12045155"/>
                  <a:gd name="connsiteY2" fmla="*/ 441204 h 2112232"/>
                  <a:gd name="connsiteX3" fmla="*/ 31647 w 12045155"/>
                  <a:gd name="connsiteY3" fmla="*/ 700450 h 2112232"/>
                  <a:gd name="connsiteX4" fmla="*/ 43864 w 12045155"/>
                  <a:gd name="connsiteY4" fmla="*/ 777266 h 2112232"/>
                  <a:gd name="connsiteX5" fmla="*/ 80207 w 12045155"/>
                  <a:gd name="connsiteY5" fmla="*/ 937416 h 2112232"/>
                  <a:gd name="connsiteX6" fmla="*/ 937008 w 12045155"/>
                  <a:gd name="connsiteY6" fmla="*/ 844973 h 2112232"/>
                  <a:gd name="connsiteX7" fmla="*/ 1631867 w 12045155"/>
                  <a:gd name="connsiteY7" fmla="*/ 878961 h 2112232"/>
                  <a:gd name="connsiteX8" fmla="*/ 2087877 w 12045155"/>
                  <a:gd name="connsiteY8" fmla="*/ 819473 h 2112232"/>
                  <a:gd name="connsiteX9" fmla="*/ 2565599 w 12045155"/>
                  <a:gd name="connsiteY9" fmla="*/ 819473 h 2112232"/>
                  <a:gd name="connsiteX10" fmla="*/ 3336468 w 12045155"/>
                  <a:gd name="connsiteY10" fmla="*/ 861967 h 2112232"/>
                  <a:gd name="connsiteX11" fmla="*/ 4215904 w 12045155"/>
                  <a:gd name="connsiteY11" fmla="*/ 844973 h 2112232"/>
                  <a:gd name="connsiteX12" fmla="*/ 4845622 w 12045155"/>
                  <a:gd name="connsiteY12" fmla="*/ 853479 h 2112232"/>
                  <a:gd name="connsiteX13" fmla="*/ 5681632 w 12045155"/>
                  <a:gd name="connsiteY13" fmla="*/ 853479 h 2112232"/>
                  <a:gd name="connsiteX14" fmla="*/ 6745645 w 12045155"/>
                  <a:gd name="connsiteY14" fmla="*/ 878979 h 2112232"/>
                  <a:gd name="connsiteX15" fmla="*/ 7494800 w 12045155"/>
                  <a:gd name="connsiteY15" fmla="*/ 870473 h 2112232"/>
                  <a:gd name="connsiteX16" fmla="*/ 8026795 w 12045155"/>
                  <a:gd name="connsiteY16" fmla="*/ 861967 h 2112232"/>
                  <a:gd name="connsiteX17" fmla="*/ 8504518 w 12045155"/>
                  <a:gd name="connsiteY17" fmla="*/ 827979 h 2112232"/>
                  <a:gd name="connsiteX18" fmla="*/ 9490064 w 12045155"/>
                  <a:gd name="connsiteY18" fmla="*/ 1654810 h 2112232"/>
                  <a:gd name="connsiteX19" fmla="*/ 10177867 w 12045155"/>
                  <a:gd name="connsiteY19" fmla="*/ 2109744 h 2112232"/>
                  <a:gd name="connsiteX20" fmla="*/ 10922986 w 12045155"/>
                  <a:gd name="connsiteY20" fmla="*/ 1782194 h 2112232"/>
                  <a:gd name="connsiteX21" fmla="*/ 11481826 w 12045155"/>
                  <a:gd name="connsiteY21" fmla="*/ 1127088 h 2112232"/>
                  <a:gd name="connsiteX22" fmla="*/ 12045155 w 12045155"/>
                  <a:gd name="connsiteY22" fmla="*/ 699393 h 2112232"/>
                  <a:gd name="connsiteX23" fmla="*/ 12045155 w 12045155"/>
                  <a:gd name="connsiteY23" fmla="*/ 261011 h 2112232"/>
                  <a:gd name="connsiteX24" fmla="*/ 8450223 w 12045155"/>
                  <a:gd name="connsiteY24" fmla="*/ 156695 h 2112232"/>
                  <a:gd name="connsiteX25" fmla="*/ 7635927 w 12045155"/>
                  <a:gd name="connsiteY25" fmla="*/ 105714 h 2112232"/>
                  <a:gd name="connsiteX26" fmla="*/ 7049636 w 12045155"/>
                  <a:gd name="connsiteY26" fmla="*/ 199189 h 2112232"/>
                  <a:gd name="connsiteX27" fmla="*/ 6342549 w 12045155"/>
                  <a:gd name="connsiteY27" fmla="*/ 146630 h 2112232"/>
                  <a:gd name="connsiteX28" fmla="*/ 5902209 w 12045155"/>
                  <a:gd name="connsiteY28" fmla="*/ 249658 h 2112232"/>
                  <a:gd name="connsiteX29" fmla="*/ 5182195 w 12045155"/>
                  <a:gd name="connsiteY29" fmla="*/ 292664 h 2112232"/>
                  <a:gd name="connsiteX30" fmla="*/ 3822487 w 12045155"/>
                  <a:gd name="connsiteY30" fmla="*/ 90799 h 2112232"/>
                  <a:gd name="connsiteX31" fmla="*/ 2370177 w 12045155"/>
                  <a:gd name="connsiteY31" fmla="*/ 156695 h 2112232"/>
                  <a:gd name="connsiteX32" fmla="*/ 578745 w 12045155"/>
                  <a:gd name="connsiteY32" fmla="*/ 148189 h 2112232"/>
                  <a:gd name="connsiteX33" fmla="*/ 38923 w 12045155"/>
                  <a:gd name="connsiteY33" fmla="*/ 157240 h 2112232"/>
                  <a:gd name="connsiteX0" fmla="*/ 38923 w 12045155"/>
                  <a:gd name="connsiteY0" fmla="*/ 157240 h 2112232"/>
                  <a:gd name="connsiteX1" fmla="*/ 4765 w 12045155"/>
                  <a:gd name="connsiteY1" fmla="*/ 229969 h 2112232"/>
                  <a:gd name="connsiteX2" fmla="*/ 16985 w 12045155"/>
                  <a:gd name="connsiteY2" fmla="*/ 441204 h 2112232"/>
                  <a:gd name="connsiteX3" fmla="*/ 31647 w 12045155"/>
                  <a:gd name="connsiteY3" fmla="*/ 700450 h 2112232"/>
                  <a:gd name="connsiteX4" fmla="*/ 43864 w 12045155"/>
                  <a:gd name="connsiteY4" fmla="*/ 777266 h 2112232"/>
                  <a:gd name="connsiteX5" fmla="*/ 80207 w 12045155"/>
                  <a:gd name="connsiteY5" fmla="*/ 937416 h 2112232"/>
                  <a:gd name="connsiteX6" fmla="*/ 937008 w 12045155"/>
                  <a:gd name="connsiteY6" fmla="*/ 844973 h 2112232"/>
                  <a:gd name="connsiteX7" fmla="*/ 1631867 w 12045155"/>
                  <a:gd name="connsiteY7" fmla="*/ 878961 h 2112232"/>
                  <a:gd name="connsiteX8" fmla="*/ 2087877 w 12045155"/>
                  <a:gd name="connsiteY8" fmla="*/ 819473 h 2112232"/>
                  <a:gd name="connsiteX9" fmla="*/ 2565599 w 12045155"/>
                  <a:gd name="connsiteY9" fmla="*/ 819473 h 2112232"/>
                  <a:gd name="connsiteX10" fmla="*/ 3336468 w 12045155"/>
                  <a:gd name="connsiteY10" fmla="*/ 861967 h 2112232"/>
                  <a:gd name="connsiteX11" fmla="*/ 4215904 w 12045155"/>
                  <a:gd name="connsiteY11" fmla="*/ 844973 h 2112232"/>
                  <a:gd name="connsiteX12" fmla="*/ 4845622 w 12045155"/>
                  <a:gd name="connsiteY12" fmla="*/ 853479 h 2112232"/>
                  <a:gd name="connsiteX13" fmla="*/ 5681632 w 12045155"/>
                  <a:gd name="connsiteY13" fmla="*/ 853479 h 2112232"/>
                  <a:gd name="connsiteX14" fmla="*/ 6745645 w 12045155"/>
                  <a:gd name="connsiteY14" fmla="*/ 878979 h 2112232"/>
                  <a:gd name="connsiteX15" fmla="*/ 7494800 w 12045155"/>
                  <a:gd name="connsiteY15" fmla="*/ 870473 h 2112232"/>
                  <a:gd name="connsiteX16" fmla="*/ 8026795 w 12045155"/>
                  <a:gd name="connsiteY16" fmla="*/ 861967 h 2112232"/>
                  <a:gd name="connsiteX17" fmla="*/ 8504518 w 12045155"/>
                  <a:gd name="connsiteY17" fmla="*/ 827979 h 2112232"/>
                  <a:gd name="connsiteX18" fmla="*/ 9490064 w 12045155"/>
                  <a:gd name="connsiteY18" fmla="*/ 1654810 h 2112232"/>
                  <a:gd name="connsiteX19" fmla="*/ 10177867 w 12045155"/>
                  <a:gd name="connsiteY19" fmla="*/ 2109744 h 2112232"/>
                  <a:gd name="connsiteX20" fmla="*/ 10922986 w 12045155"/>
                  <a:gd name="connsiteY20" fmla="*/ 1782194 h 2112232"/>
                  <a:gd name="connsiteX21" fmla="*/ 11481826 w 12045155"/>
                  <a:gd name="connsiteY21" fmla="*/ 1127088 h 2112232"/>
                  <a:gd name="connsiteX22" fmla="*/ 12045155 w 12045155"/>
                  <a:gd name="connsiteY22" fmla="*/ 699393 h 2112232"/>
                  <a:gd name="connsiteX23" fmla="*/ 12045155 w 12045155"/>
                  <a:gd name="connsiteY23" fmla="*/ 261011 h 2112232"/>
                  <a:gd name="connsiteX24" fmla="*/ 11438839 w 12045155"/>
                  <a:gd name="connsiteY24" fmla="*/ 435586 h 2112232"/>
                  <a:gd name="connsiteX25" fmla="*/ 8450223 w 12045155"/>
                  <a:gd name="connsiteY25" fmla="*/ 156695 h 2112232"/>
                  <a:gd name="connsiteX26" fmla="*/ 7635927 w 12045155"/>
                  <a:gd name="connsiteY26" fmla="*/ 105714 h 2112232"/>
                  <a:gd name="connsiteX27" fmla="*/ 7049636 w 12045155"/>
                  <a:gd name="connsiteY27" fmla="*/ 199189 h 2112232"/>
                  <a:gd name="connsiteX28" fmla="*/ 6342549 w 12045155"/>
                  <a:gd name="connsiteY28" fmla="*/ 146630 h 2112232"/>
                  <a:gd name="connsiteX29" fmla="*/ 5902209 w 12045155"/>
                  <a:gd name="connsiteY29" fmla="*/ 249658 h 2112232"/>
                  <a:gd name="connsiteX30" fmla="*/ 5182195 w 12045155"/>
                  <a:gd name="connsiteY30" fmla="*/ 292664 h 2112232"/>
                  <a:gd name="connsiteX31" fmla="*/ 3822487 w 12045155"/>
                  <a:gd name="connsiteY31" fmla="*/ 90799 h 2112232"/>
                  <a:gd name="connsiteX32" fmla="*/ 2370177 w 12045155"/>
                  <a:gd name="connsiteY32" fmla="*/ 156695 h 2112232"/>
                  <a:gd name="connsiteX33" fmla="*/ 578745 w 12045155"/>
                  <a:gd name="connsiteY33" fmla="*/ 148189 h 2112232"/>
                  <a:gd name="connsiteX34" fmla="*/ 38923 w 12045155"/>
                  <a:gd name="connsiteY34" fmla="*/ 157240 h 2112232"/>
                  <a:gd name="connsiteX0" fmla="*/ 38923 w 12045155"/>
                  <a:gd name="connsiteY0" fmla="*/ 157240 h 2112232"/>
                  <a:gd name="connsiteX1" fmla="*/ 4765 w 12045155"/>
                  <a:gd name="connsiteY1" fmla="*/ 229969 h 2112232"/>
                  <a:gd name="connsiteX2" fmla="*/ 16985 w 12045155"/>
                  <a:gd name="connsiteY2" fmla="*/ 441204 h 2112232"/>
                  <a:gd name="connsiteX3" fmla="*/ 31647 w 12045155"/>
                  <a:gd name="connsiteY3" fmla="*/ 700450 h 2112232"/>
                  <a:gd name="connsiteX4" fmla="*/ 43864 w 12045155"/>
                  <a:gd name="connsiteY4" fmla="*/ 777266 h 2112232"/>
                  <a:gd name="connsiteX5" fmla="*/ 80207 w 12045155"/>
                  <a:gd name="connsiteY5" fmla="*/ 937416 h 2112232"/>
                  <a:gd name="connsiteX6" fmla="*/ 937008 w 12045155"/>
                  <a:gd name="connsiteY6" fmla="*/ 844973 h 2112232"/>
                  <a:gd name="connsiteX7" fmla="*/ 1631867 w 12045155"/>
                  <a:gd name="connsiteY7" fmla="*/ 878961 h 2112232"/>
                  <a:gd name="connsiteX8" fmla="*/ 2087877 w 12045155"/>
                  <a:gd name="connsiteY8" fmla="*/ 819473 h 2112232"/>
                  <a:gd name="connsiteX9" fmla="*/ 2565599 w 12045155"/>
                  <a:gd name="connsiteY9" fmla="*/ 819473 h 2112232"/>
                  <a:gd name="connsiteX10" fmla="*/ 3336468 w 12045155"/>
                  <a:gd name="connsiteY10" fmla="*/ 861967 h 2112232"/>
                  <a:gd name="connsiteX11" fmla="*/ 4215904 w 12045155"/>
                  <a:gd name="connsiteY11" fmla="*/ 844973 h 2112232"/>
                  <a:gd name="connsiteX12" fmla="*/ 4845622 w 12045155"/>
                  <a:gd name="connsiteY12" fmla="*/ 853479 h 2112232"/>
                  <a:gd name="connsiteX13" fmla="*/ 5681632 w 12045155"/>
                  <a:gd name="connsiteY13" fmla="*/ 853479 h 2112232"/>
                  <a:gd name="connsiteX14" fmla="*/ 6745645 w 12045155"/>
                  <a:gd name="connsiteY14" fmla="*/ 878979 h 2112232"/>
                  <a:gd name="connsiteX15" fmla="*/ 7494800 w 12045155"/>
                  <a:gd name="connsiteY15" fmla="*/ 870473 h 2112232"/>
                  <a:gd name="connsiteX16" fmla="*/ 8026795 w 12045155"/>
                  <a:gd name="connsiteY16" fmla="*/ 861967 h 2112232"/>
                  <a:gd name="connsiteX17" fmla="*/ 8504518 w 12045155"/>
                  <a:gd name="connsiteY17" fmla="*/ 827979 h 2112232"/>
                  <a:gd name="connsiteX18" fmla="*/ 9490064 w 12045155"/>
                  <a:gd name="connsiteY18" fmla="*/ 1654810 h 2112232"/>
                  <a:gd name="connsiteX19" fmla="*/ 10177867 w 12045155"/>
                  <a:gd name="connsiteY19" fmla="*/ 2109744 h 2112232"/>
                  <a:gd name="connsiteX20" fmla="*/ 10922986 w 12045155"/>
                  <a:gd name="connsiteY20" fmla="*/ 1782194 h 2112232"/>
                  <a:gd name="connsiteX21" fmla="*/ 11481826 w 12045155"/>
                  <a:gd name="connsiteY21" fmla="*/ 1127088 h 2112232"/>
                  <a:gd name="connsiteX22" fmla="*/ 12045155 w 12045155"/>
                  <a:gd name="connsiteY22" fmla="*/ 699393 h 2112232"/>
                  <a:gd name="connsiteX23" fmla="*/ 12045155 w 12045155"/>
                  <a:gd name="connsiteY23" fmla="*/ 261011 h 2112232"/>
                  <a:gd name="connsiteX24" fmla="*/ 11438839 w 12045155"/>
                  <a:gd name="connsiteY24" fmla="*/ 435586 h 2112232"/>
                  <a:gd name="connsiteX25" fmla="*/ 8450223 w 12045155"/>
                  <a:gd name="connsiteY25" fmla="*/ 156695 h 2112232"/>
                  <a:gd name="connsiteX26" fmla="*/ 7635927 w 12045155"/>
                  <a:gd name="connsiteY26" fmla="*/ 105714 h 2112232"/>
                  <a:gd name="connsiteX27" fmla="*/ 7049636 w 12045155"/>
                  <a:gd name="connsiteY27" fmla="*/ 199189 h 2112232"/>
                  <a:gd name="connsiteX28" fmla="*/ 6342549 w 12045155"/>
                  <a:gd name="connsiteY28" fmla="*/ 146630 h 2112232"/>
                  <a:gd name="connsiteX29" fmla="*/ 5902209 w 12045155"/>
                  <a:gd name="connsiteY29" fmla="*/ 249658 h 2112232"/>
                  <a:gd name="connsiteX30" fmla="*/ 5182195 w 12045155"/>
                  <a:gd name="connsiteY30" fmla="*/ 292664 h 2112232"/>
                  <a:gd name="connsiteX31" fmla="*/ 3822487 w 12045155"/>
                  <a:gd name="connsiteY31" fmla="*/ 90799 h 2112232"/>
                  <a:gd name="connsiteX32" fmla="*/ 2370177 w 12045155"/>
                  <a:gd name="connsiteY32" fmla="*/ 156695 h 2112232"/>
                  <a:gd name="connsiteX33" fmla="*/ 578745 w 12045155"/>
                  <a:gd name="connsiteY33" fmla="*/ 148189 h 2112232"/>
                  <a:gd name="connsiteX34" fmla="*/ 38923 w 12045155"/>
                  <a:gd name="connsiteY34" fmla="*/ 157240 h 2112232"/>
                  <a:gd name="connsiteX0" fmla="*/ 38923 w 12045155"/>
                  <a:gd name="connsiteY0" fmla="*/ 157240 h 2112232"/>
                  <a:gd name="connsiteX1" fmla="*/ 4765 w 12045155"/>
                  <a:gd name="connsiteY1" fmla="*/ 229969 h 2112232"/>
                  <a:gd name="connsiteX2" fmla="*/ 16985 w 12045155"/>
                  <a:gd name="connsiteY2" fmla="*/ 441204 h 2112232"/>
                  <a:gd name="connsiteX3" fmla="*/ 31647 w 12045155"/>
                  <a:gd name="connsiteY3" fmla="*/ 700450 h 2112232"/>
                  <a:gd name="connsiteX4" fmla="*/ 43864 w 12045155"/>
                  <a:gd name="connsiteY4" fmla="*/ 777266 h 2112232"/>
                  <a:gd name="connsiteX5" fmla="*/ 80207 w 12045155"/>
                  <a:gd name="connsiteY5" fmla="*/ 937416 h 2112232"/>
                  <a:gd name="connsiteX6" fmla="*/ 937008 w 12045155"/>
                  <a:gd name="connsiteY6" fmla="*/ 844973 h 2112232"/>
                  <a:gd name="connsiteX7" fmla="*/ 1631867 w 12045155"/>
                  <a:gd name="connsiteY7" fmla="*/ 878961 h 2112232"/>
                  <a:gd name="connsiteX8" fmla="*/ 2087877 w 12045155"/>
                  <a:gd name="connsiteY8" fmla="*/ 819473 h 2112232"/>
                  <a:gd name="connsiteX9" fmla="*/ 2565599 w 12045155"/>
                  <a:gd name="connsiteY9" fmla="*/ 819473 h 2112232"/>
                  <a:gd name="connsiteX10" fmla="*/ 3336468 w 12045155"/>
                  <a:gd name="connsiteY10" fmla="*/ 861967 h 2112232"/>
                  <a:gd name="connsiteX11" fmla="*/ 4215904 w 12045155"/>
                  <a:gd name="connsiteY11" fmla="*/ 844973 h 2112232"/>
                  <a:gd name="connsiteX12" fmla="*/ 4845622 w 12045155"/>
                  <a:gd name="connsiteY12" fmla="*/ 853479 h 2112232"/>
                  <a:gd name="connsiteX13" fmla="*/ 5681632 w 12045155"/>
                  <a:gd name="connsiteY13" fmla="*/ 853479 h 2112232"/>
                  <a:gd name="connsiteX14" fmla="*/ 6745645 w 12045155"/>
                  <a:gd name="connsiteY14" fmla="*/ 878979 h 2112232"/>
                  <a:gd name="connsiteX15" fmla="*/ 7494800 w 12045155"/>
                  <a:gd name="connsiteY15" fmla="*/ 870473 h 2112232"/>
                  <a:gd name="connsiteX16" fmla="*/ 8026795 w 12045155"/>
                  <a:gd name="connsiteY16" fmla="*/ 861967 h 2112232"/>
                  <a:gd name="connsiteX17" fmla="*/ 8504518 w 12045155"/>
                  <a:gd name="connsiteY17" fmla="*/ 827979 h 2112232"/>
                  <a:gd name="connsiteX18" fmla="*/ 9490064 w 12045155"/>
                  <a:gd name="connsiteY18" fmla="*/ 1654810 h 2112232"/>
                  <a:gd name="connsiteX19" fmla="*/ 10177867 w 12045155"/>
                  <a:gd name="connsiteY19" fmla="*/ 2109744 h 2112232"/>
                  <a:gd name="connsiteX20" fmla="*/ 10922986 w 12045155"/>
                  <a:gd name="connsiteY20" fmla="*/ 1782194 h 2112232"/>
                  <a:gd name="connsiteX21" fmla="*/ 11481826 w 12045155"/>
                  <a:gd name="connsiteY21" fmla="*/ 1127088 h 2112232"/>
                  <a:gd name="connsiteX22" fmla="*/ 12045155 w 12045155"/>
                  <a:gd name="connsiteY22" fmla="*/ 699393 h 2112232"/>
                  <a:gd name="connsiteX23" fmla="*/ 12045155 w 12045155"/>
                  <a:gd name="connsiteY23" fmla="*/ 261011 h 2112232"/>
                  <a:gd name="connsiteX24" fmla="*/ 11438839 w 12045155"/>
                  <a:gd name="connsiteY24" fmla="*/ 435586 h 2112232"/>
                  <a:gd name="connsiteX25" fmla="*/ 9053022 w 12045155"/>
                  <a:gd name="connsiteY25" fmla="*/ 581165 h 2112232"/>
                  <a:gd name="connsiteX26" fmla="*/ 8450223 w 12045155"/>
                  <a:gd name="connsiteY26" fmla="*/ 156695 h 2112232"/>
                  <a:gd name="connsiteX27" fmla="*/ 7635927 w 12045155"/>
                  <a:gd name="connsiteY27" fmla="*/ 105714 h 2112232"/>
                  <a:gd name="connsiteX28" fmla="*/ 7049636 w 12045155"/>
                  <a:gd name="connsiteY28" fmla="*/ 199189 h 2112232"/>
                  <a:gd name="connsiteX29" fmla="*/ 6342549 w 12045155"/>
                  <a:gd name="connsiteY29" fmla="*/ 146630 h 2112232"/>
                  <a:gd name="connsiteX30" fmla="*/ 5902209 w 12045155"/>
                  <a:gd name="connsiteY30" fmla="*/ 249658 h 2112232"/>
                  <a:gd name="connsiteX31" fmla="*/ 5182195 w 12045155"/>
                  <a:gd name="connsiteY31" fmla="*/ 292664 h 2112232"/>
                  <a:gd name="connsiteX32" fmla="*/ 3822487 w 12045155"/>
                  <a:gd name="connsiteY32" fmla="*/ 90799 h 2112232"/>
                  <a:gd name="connsiteX33" fmla="*/ 2370177 w 12045155"/>
                  <a:gd name="connsiteY33" fmla="*/ 156695 h 2112232"/>
                  <a:gd name="connsiteX34" fmla="*/ 578745 w 12045155"/>
                  <a:gd name="connsiteY34" fmla="*/ 148189 h 2112232"/>
                  <a:gd name="connsiteX35" fmla="*/ 38923 w 12045155"/>
                  <a:gd name="connsiteY35" fmla="*/ 157240 h 2112232"/>
                  <a:gd name="connsiteX0" fmla="*/ 38923 w 12045155"/>
                  <a:gd name="connsiteY0" fmla="*/ 157240 h 2112232"/>
                  <a:gd name="connsiteX1" fmla="*/ 4765 w 12045155"/>
                  <a:gd name="connsiteY1" fmla="*/ 229969 h 2112232"/>
                  <a:gd name="connsiteX2" fmla="*/ 16985 w 12045155"/>
                  <a:gd name="connsiteY2" fmla="*/ 441204 h 2112232"/>
                  <a:gd name="connsiteX3" fmla="*/ 31647 w 12045155"/>
                  <a:gd name="connsiteY3" fmla="*/ 700450 h 2112232"/>
                  <a:gd name="connsiteX4" fmla="*/ 43864 w 12045155"/>
                  <a:gd name="connsiteY4" fmla="*/ 777266 h 2112232"/>
                  <a:gd name="connsiteX5" fmla="*/ 80207 w 12045155"/>
                  <a:gd name="connsiteY5" fmla="*/ 937416 h 2112232"/>
                  <a:gd name="connsiteX6" fmla="*/ 937008 w 12045155"/>
                  <a:gd name="connsiteY6" fmla="*/ 844973 h 2112232"/>
                  <a:gd name="connsiteX7" fmla="*/ 1631867 w 12045155"/>
                  <a:gd name="connsiteY7" fmla="*/ 878961 h 2112232"/>
                  <a:gd name="connsiteX8" fmla="*/ 2087877 w 12045155"/>
                  <a:gd name="connsiteY8" fmla="*/ 819473 h 2112232"/>
                  <a:gd name="connsiteX9" fmla="*/ 2565599 w 12045155"/>
                  <a:gd name="connsiteY9" fmla="*/ 819473 h 2112232"/>
                  <a:gd name="connsiteX10" fmla="*/ 3336468 w 12045155"/>
                  <a:gd name="connsiteY10" fmla="*/ 861967 h 2112232"/>
                  <a:gd name="connsiteX11" fmla="*/ 4215904 w 12045155"/>
                  <a:gd name="connsiteY11" fmla="*/ 844973 h 2112232"/>
                  <a:gd name="connsiteX12" fmla="*/ 4845622 w 12045155"/>
                  <a:gd name="connsiteY12" fmla="*/ 853479 h 2112232"/>
                  <a:gd name="connsiteX13" fmla="*/ 5681632 w 12045155"/>
                  <a:gd name="connsiteY13" fmla="*/ 853479 h 2112232"/>
                  <a:gd name="connsiteX14" fmla="*/ 6745645 w 12045155"/>
                  <a:gd name="connsiteY14" fmla="*/ 878979 h 2112232"/>
                  <a:gd name="connsiteX15" fmla="*/ 7494800 w 12045155"/>
                  <a:gd name="connsiteY15" fmla="*/ 870473 h 2112232"/>
                  <a:gd name="connsiteX16" fmla="*/ 8026795 w 12045155"/>
                  <a:gd name="connsiteY16" fmla="*/ 861967 h 2112232"/>
                  <a:gd name="connsiteX17" fmla="*/ 8504518 w 12045155"/>
                  <a:gd name="connsiteY17" fmla="*/ 827979 h 2112232"/>
                  <a:gd name="connsiteX18" fmla="*/ 9490064 w 12045155"/>
                  <a:gd name="connsiteY18" fmla="*/ 1654810 h 2112232"/>
                  <a:gd name="connsiteX19" fmla="*/ 10177867 w 12045155"/>
                  <a:gd name="connsiteY19" fmla="*/ 2109744 h 2112232"/>
                  <a:gd name="connsiteX20" fmla="*/ 10922986 w 12045155"/>
                  <a:gd name="connsiteY20" fmla="*/ 1782194 h 2112232"/>
                  <a:gd name="connsiteX21" fmla="*/ 11481826 w 12045155"/>
                  <a:gd name="connsiteY21" fmla="*/ 1127088 h 2112232"/>
                  <a:gd name="connsiteX22" fmla="*/ 12045155 w 12045155"/>
                  <a:gd name="connsiteY22" fmla="*/ 699393 h 2112232"/>
                  <a:gd name="connsiteX23" fmla="*/ 12045155 w 12045155"/>
                  <a:gd name="connsiteY23" fmla="*/ 261011 h 2112232"/>
                  <a:gd name="connsiteX24" fmla="*/ 11438839 w 12045155"/>
                  <a:gd name="connsiteY24" fmla="*/ 435586 h 2112232"/>
                  <a:gd name="connsiteX25" fmla="*/ 9527677 w 12045155"/>
                  <a:gd name="connsiteY25" fmla="*/ 1058846 h 2112232"/>
                  <a:gd name="connsiteX26" fmla="*/ 9053022 w 12045155"/>
                  <a:gd name="connsiteY26" fmla="*/ 581165 h 2112232"/>
                  <a:gd name="connsiteX27" fmla="*/ 8450223 w 12045155"/>
                  <a:gd name="connsiteY27" fmla="*/ 156695 h 2112232"/>
                  <a:gd name="connsiteX28" fmla="*/ 7635927 w 12045155"/>
                  <a:gd name="connsiteY28" fmla="*/ 105714 h 2112232"/>
                  <a:gd name="connsiteX29" fmla="*/ 7049636 w 12045155"/>
                  <a:gd name="connsiteY29" fmla="*/ 199189 h 2112232"/>
                  <a:gd name="connsiteX30" fmla="*/ 6342549 w 12045155"/>
                  <a:gd name="connsiteY30" fmla="*/ 146630 h 2112232"/>
                  <a:gd name="connsiteX31" fmla="*/ 5902209 w 12045155"/>
                  <a:gd name="connsiteY31" fmla="*/ 249658 h 2112232"/>
                  <a:gd name="connsiteX32" fmla="*/ 5182195 w 12045155"/>
                  <a:gd name="connsiteY32" fmla="*/ 292664 h 2112232"/>
                  <a:gd name="connsiteX33" fmla="*/ 3822487 w 12045155"/>
                  <a:gd name="connsiteY33" fmla="*/ 90799 h 2112232"/>
                  <a:gd name="connsiteX34" fmla="*/ 2370177 w 12045155"/>
                  <a:gd name="connsiteY34" fmla="*/ 156695 h 2112232"/>
                  <a:gd name="connsiteX35" fmla="*/ 578745 w 12045155"/>
                  <a:gd name="connsiteY35" fmla="*/ 148189 h 2112232"/>
                  <a:gd name="connsiteX36" fmla="*/ 38923 w 12045155"/>
                  <a:gd name="connsiteY36" fmla="*/ 157240 h 2112232"/>
                  <a:gd name="connsiteX0" fmla="*/ 38923 w 12045155"/>
                  <a:gd name="connsiteY0" fmla="*/ 157240 h 2112232"/>
                  <a:gd name="connsiteX1" fmla="*/ 4765 w 12045155"/>
                  <a:gd name="connsiteY1" fmla="*/ 229969 h 2112232"/>
                  <a:gd name="connsiteX2" fmla="*/ 16985 w 12045155"/>
                  <a:gd name="connsiteY2" fmla="*/ 441204 h 2112232"/>
                  <a:gd name="connsiteX3" fmla="*/ 31647 w 12045155"/>
                  <a:gd name="connsiteY3" fmla="*/ 700450 h 2112232"/>
                  <a:gd name="connsiteX4" fmla="*/ 43864 w 12045155"/>
                  <a:gd name="connsiteY4" fmla="*/ 777266 h 2112232"/>
                  <a:gd name="connsiteX5" fmla="*/ 80207 w 12045155"/>
                  <a:gd name="connsiteY5" fmla="*/ 937416 h 2112232"/>
                  <a:gd name="connsiteX6" fmla="*/ 937008 w 12045155"/>
                  <a:gd name="connsiteY6" fmla="*/ 844973 h 2112232"/>
                  <a:gd name="connsiteX7" fmla="*/ 1631867 w 12045155"/>
                  <a:gd name="connsiteY7" fmla="*/ 878961 h 2112232"/>
                  <a:gd name="connsiteX8" fmla="*/ 2087877 w 12045155"/>
                  <a:gd name="connsiteY8" fmla="*/ 819473 h 2112232"/>
                  <a:gd name="connsiteX9" fmla="*/ 2565599 w 12045155"/>
                  <a:gd name="connsiteY9" fmla="*/ 819473 h 2112232"/>
                  <a:gd name="connsiteX10" fmla="*/ 3336468 w 12045155"/>
                  <a:gd name="connsiteY10" fmla="*/ 861967 h 2112232"/>
                  <a:gd name="connsiteX11" fmla="*/ 4215904 w 12045155"/>
                  <a:gd name="connsiteY11" fmla="*/ 844973 h 2112232"/>
                  <a:gd name="connsiteX12" fmla="*/ 4845622 w 12045155"/>
                  <a:gd name="connsiteY12" fmla="*/ 853479 h 2112232"/>
                  <a:gd name="connsiteX13" fmla="*/ 5681632 w 12045155"/>
                  <a:gd name="connsiteY13" fmla="*/ 853479 h 2112232"/>
                  <a:gd name="connsiteX14" fmla="*/ 6745645 w 12045155"/>
                  <a:gd name="connsiteY14" fmla="*/ 878979 h 2112232"/>
                  <a:gd name="connsiteX15" fmla="*/ 7494800 w 12045155"/>
                  <a:gd name="connsiteY15" fmla="*/ 870473 h 2112232"/>
                  <a:gd name="connsiteX16" fmla="*/ 8026795 w 12045155"/>
                  <a:gd name="connsiteY16" fmla="*/ 861967 h 2112232"/>
                  <a:gd name="connsiteX17" fmla="*/ 8504518 w 12045155"/>
                  <a:gd name="connsiteY17" fmla="*/ 827979 h 2112232"/>
                  <a:gd name="connsiteX18" fmla="*/ 9490064 w 12045155"/>
                  <a:gd name="connsiteY18" fmla="*/ 1654810 h 2112232"/>
                  <a:gd name="connsiteX19" fmla="*/ 10177867 w 12045155"/>
                  <a:gd name="connsiteY19" fmla="*/ 2109744 h 2112232"/>
                  <a:gd name="connsiteX20" fmla="*/ 10922986 w 12045155"/>
                  <a:gd name="connsiteY20" fmla="*/ 1782194 h 2112232"/>
                  <a:gd name="connsiteX21" fmla="*/ 11481826 w 12045155"/>
                  <a:gd name="connsiteY21" fmla="*/ 1127088 h 2112232"/>
                  <a:gd name="connsiteX22" fmla="*/ 12045155 w 12045155"/>
                  <a:gd name="connsiteY22" fmla="*/ 699393 h 2112232"/>
                  <a:gd name="connsiteX23" fmla="*/ 12045155 w 12045155"/>
                  <a:gd name="connsiteY23" fmla="*/ 261011 h 2112232"/>
                  <a:gd name="connsiteX24" fmla="*/ 11438839 w 12045155"/>
                  <a:gd name="connsiteY24" fmla="*/ 435586 h 2112232"/>
                  <a:gd name="connsiteX25" fmla="*/ 11059114 w 12045155"/>
                  <a:gd name="connsiteY25" fmla="*/ 1047471 h 2112232"/>
                  <a:gd name="connsiteX26" fmla="*/ 9527677 w 12045155"/>
                  <a:gd name="connsiteY26" fmla="*/ 1058846 h 2112232"/>
                  <a:gd name="connsiteX27" fmla="*/ 9053022 w 12045155"/>
                  <a:gd name="connsiteY27" fmla="*/ 581165 h 2112232"/>
                  <a:gd name="connsiteX28" fmla="*/ 8450223 w 12045155"/>
                  <a:gd name="connsiteY28" fmla="*/ 156695 h 2112232"/>
                  <a:gd name="connsiteX29" fmla="*/ 7635927 w 12045155"/>
                  <a:gd name="connsiteY29" fmla="*/ 105714 h 2112232"/>
                  <a:gd name="connsiteX30" fmla="*/ 7049636 w 12045155"/>
                  <a:gd name="connsiteY30" fmla="*/ 199189 h 2112232"/>
                  <a:gd name="connsiteX31" fmla="*/ 6342549 w 12045155"/>
                  <a:gd name="connsiteY31" fmla="*/ 146630 h 2112232"/>
                  <a:gd name="connsiteX32" fmla="*/ 5902209 w 12045155"/>
                  <a:gd name="connsiteY32" fmla="*/ 249658 h 2112232"/>
                  <a:gd name="connsiteX33" fmla="*/ 5182195 w 12045155"/>
                  <a:gd name="connsiteY33" fmla="*/ 292664 h 2112232"/>
                  <a:gd name="connsiteX34" fmla="*/ 3822487 w 12045155"/>
                  <a:gd name="connsiteY34" fmla="*/ 90799 h 2112232"/>
                  <a:gd name="connsiteX35" fmla="*/ 2370177 w 12045155"/>
                  <a:gd name="connsiteY35" fmla="*/ 156695 h 2112232"/>
                  <a:gd name="connsiteX36" fmla="*/ 578745 w 12045155"/>
                  <a:gd name="connsiteY36" fmla="*/ 148189 h 2112232"/>
                  <a:gd name="connsiteX37" fmla="*/ 38923 w 12045155"/>
                  <a:gd name="connsiteY37" fmla="*/ 157240 h 2112232"/>
                  <a:gd name="connsiteX0" fmla="*/ 38923 w 12045155"/>
                  <a:gd name="connsiteY0" fmla="*/ 157240 h 2112232"/>
                  <a:gd name="connsiteX1" fmla="*/ 4765 w 12045155"/>
                  <a:gd name="connsiteY1" fmla="*/ 229969 h 2112232"/>
                  <a:gd name="connsiteX2" fmla="*/ 16985 w 12045155"/>
                  <a:gd name="connsiteY2" fmla="*/ 441204 h 2112232"/>
                  <a:gd name="connsiteX3" fmla="*/ 31647 w 12045155"/>
                  <a:gd name="connsiteY3" fmla="*/ 700450 h 2112232"/>
                  <a:gd name="connsiteX4" fmla="*/ 43864 w 12045155"/>
                  <a:gd name="connsiteY4" fmla="*/ 777266 h 2112232"/>
                  <a:gd name="connsiteX5" fmla="*/ 80207 w 12045155"/>
                  <a:gd name="connsiteY5" fmla="*/ 937416 h 2112232"/>
                  <a:gd name="connsiteX6" fmla="*/ 937008 w 12045155"/>
                  <a:gd name="connsiteY6" fmla="*/ 844973 h 2112232"/>
                  <a:gd name="connsiteX7" fmla="*/ 1631867 w 12045155"/>
                  <a:gd name="connsiteY7" fmla="*/ 878961 h 2112232"/>
                  <a:gd name="connsiteX8" fmla="*/ 2087877 w 12045155"/>
                  <a:gd name="connsiteY8" fmla="*/ 819473 h 2112232"/>
                  <a:gd name="connsiteX9" fmla="*/ 2565599 w 12045155"/>
                  <a:gd name="connsiteY9" fmla="*/ 819473 h 2112232"/>
                  <a:gd name="connsiteX10" fmla="*/ 3336468 w 12045155"/>
                  <a:gd name="connsiteY10" fmla="*/ 861967 h 2112232"/>
                  <a:gd name="connsiteX11" fmla="*/ 4215904 w 12045155"/>
                  <a:gd name="connsiteY11" fmla="*/ 844973 h 2112232"/>
                  <a:gd name="connsiteX12" fmla="*/ 4845622 w 12045155"/>
                  <a:gd name="connsiteY12" fmla="*/ 853479 h 2112232"/>
                  <a:gd name="connsiteX13" fmla="*/ 5681632 w 12045155"/>
                  <a:gd name="connsiteY13" fmla="*/ 853479 h 2112232"/>
                  <a:gd name="connsiteX14" fmla="*/ 6745645 w 12045155"/>
                  <a:gd name="connsiteY14" fmla="*/ 878979 h 2112232"/>
                  <a:gd name="connsiteX15" fmla="*/ 7494800 w 12045155"/>
                  <a:gd name="connsiteY15" fmla="*/ 870473 h 2112232"/>
                  <a:gd name="connsiteX16" fmla="*/ 8026795 w 12045155"/>
                  <a:gd name="connsiteY16" fmla="*/ 861967 h 2112232"/>
                  <a:gd name="connsiteX17" fmla="*/ 8504518 w 12045155"/>
                  <a:gd name="connsiteY17" fmla="*/ 827979 h 2112232"/>
                  <a:gd name="connsiteX18" fmla="*/ 9490064 w 12045155"/>
                  <a:gd name="connsiteY18" fmla="*/ 1654810 h 2112232"/>
                  <a:gd name="connsiteX19" fmla="*/ 10177867 w 12045155"/>
                  <a:gd name="connsiteY19" fmla="*/ 2109744 h 2112232"/>
                  <a:gd name="connsiteX20" fmla="*/ 10922986 w 12045155"/>
                  <a:gd name="connsiteY20" fmla="*/ 1782194 h 2112232"/>
                  <a:gd name="connsiteX21" fmla="*/ 11481826 w 12045155"/>
                  <a:gd name="connsiteY21" fmla="*/ 1127088 h 2112232"/>
                  <a:gd name="connsiteX22" fmla="*/ 12045155 w 12045155"/>
                  <a:gd name="connsiteY22" fmla="*/ 699393 h 2112232"/>
                  <a:gd name="connsiteX23" fmla="*/ 12045155 w 12045155"/>
                  <a:gd name="connsiteY23" fmla="*/ 261011 h 2112232"/>
                  <a:gd name="connsiteX24" fmla="*/ 11438839 w 12045155"/>
                  <a:gd name="connsiteY24" fmla="*/ 435586 h 2112232"/>
                  <a:gd name="connsiteX25" fmla="*/ 11059114 w 12045155"/>
                  <a:gd name="connsiteY25" fmla="*/ 1047471 h 2112232"/>
                  <a:gd name="connsiteX26" fmla="*/ 10602369 w 12045155"/>
                  <a:gd name="connsiteY26" fmla="*/ 1661632 h 2112232"/>
                  <a:gd name="connsiteX27" fmla="*/ 9527677 w 12045155"/>
                  <a:gd name="connsiteY27" fmla="*/ 1058846 h 2112232"/>
                  <a:gd name="connsiteX28" fmla="*/ 9053022 w 12045155"/>
                  <a:gd name="connsiteY28" fmla="*/ 581165 h 2112232"/>
                  <a:gd name="connsiteX29" fmla="*/ 8450223 w 12045155"/>
                  <a:gd name="connsiteY29" fmla="*/ 156695 h 2112232"/>
                  <a:gd name="connsiteX30" fmla="*/ 7635927 w 12045155"/>
                  <a:gd name="connsiteY30" fmla="*/ 105714 h 2112232"/>
                  <a:gd name="connsiteX31" fmla="*/ 7049636 w 12045155"/>
                  <a:gd name="connsiteY31" fmla="*/ 199189 h 2112232"/>
                  <a:gd name="connsiteX32" fmla="*/ 6342549 w 12045155"/>
                  <a:gd name="connsiteY32" fmla="*/ 146630 h 2112232"/>
                  <a:gd name="connsiteX33" fmla="*/ 5902209 w 12045155"/>
                  <a:gd name="connsiteY33" fmla="*/ 249658 h 2112232"/>
                  <a:gd name="connsiteX34" fmla="*/ 5182195 w 12045155"/>
                  <a:gd name="connsiteY34" fmla="*/ 292664 h 2112232"/>
                  <a:gd name="connsiteX35" fmla="*/ 3822487 w 12045155"/>
                  <a:gd name="connsiteY35" fmla="*/ 90799 h 2112232"/>
                  <a:gd name="connsiteX36" fmla="*/ 2370177 w 12045155"/>
                  <a:gd name="connsiteY36" fmla="*/ 156695 h 2112232"/>
                  <a:gd name="connsiteX37" fmla="*/ 578745 w 12045155"/>
                  <a:gd name="connsiteY37" fmla="*/ 148189 h 2112232"/>
                  <a:gd name="connsiteX38" fmla="*/ 38923 w 12045155"/>
                  <a:gd name="connsiteY38" fmla="*/ 157240 h 2112232"/>
                  <a:gd name="connsiteX0" fmla="*/ 38923 w 12045155"/>
                  <a:gd name="connsiteY0" fmla="*/ 157240 h 2112232"/>
                  <a:gd name="connsiteX1" fmla="*/ 4765 w 12045155"/>
                  <a:gd name="connsiteY1" fmla="*/ 229969 h 2112232"/>
                  <a:gd name="connsiteX2" fmla="*/ 16985 w 12045155"/>
                  <a:gd name="connsiteY2" fmla="*/ 441204 h 2112232"/>
                  <a:gd name="connsiteX3" fmla="*/ 31647 w 12045155"/>
                  <a:gd name="connsiteY3" fmla="*/ 700450 h 2112232"/>
                  <a:gd name="connsiteX4" fmla="*/ 43864 w 12045155"/>
                  <a:gd name="connsiteY4" fmla="*/ 777266 h 2112232"/>
                  <a:gd name="connsiteX5" fmla="*/ 80207 w 12045155"/>
                  <a:gd name="connsiteY5" fmla="*/ 937416 h 2112232"/>
                  <a:gd name="connsiteX6" fmla="*/ 937008 w 12045155"/>
                  <a:gd name="connsiteY6" fmla="*/ 844973 h 2112232"/>
                  <a:gd name="connsiteX7" fmla="*/ 1631867 w 12045155"/>
                  <a:gd name="connsiteY7" fmla="*/ 878961 h 2112232"/>
                  <a:gd name="connsiteX8" fmla="*/ 2087877 w 12045155"/>
                  <a:gd name="connsiteY8" fmla="*/ 819473 h 2112232"/>
                  <a:gd name="connsiteX9" fmla="*/ 2565599 w 12045155"/>
                  <a:gd name="connsiteY9" fmla="*/ 819473 h 2112232"/>
                  <a:gd name="connsiteX10" fmla="*/ 3336468 w 12045155"/>
                  <a:gd name="connsiteY10" fmla="*/ 861967 h 2112232"/>
                  <a:gd name="connsiteX11" fmla="*/ 4215904 w 12045155"/>
                  <a:gd name="connsiteY11" fmla="*/ 844973 h 2112232"/>
                  <a:gd name="connsiteX12" fmla="*/ 4845622 w 12045155"/>
                  <a:gd name="connsiteY12" fmla="*/ 853479 h 2112232"/>
                  <a:gd name="connsiteX13" fmla="*/ 5681632 w 12045155"/>
                  <a:gd name="connsiteY13" fmla="*/ 853479 h 2112232"/>
                  <a:gd name="connsiteX14" fmla="*/ 6745645 w 12045155"/>
                  <a:gd name="connsiteY14" fmla="*/ 878979 h 2112232"/>
                  <a:gd name="connsiteX15" fmla="*/ 7494800 w 12045155"/>
                  <a:gd name="connsiteY15" fmla="*/ 870473 h 2112232"/>
                  <a:gd name="connsiteX16" fmla="*/ 8026795 w 12045155"/>
                  <a:gd name="connsiteY16" fmla="*/ 861967 h 2112232"/>
                  <a:gd name="connsiteX17" fmla="*/ 8504518 w 12045155"/>
                  <a:gd name="connsiteY17" fmla="*/ 827979 h 2112232"/>
                  <a:gd name="connsiteX18" fmla="*/ 9490064 w 12045155"/>
                  <a:gd name="connsiteY18" fmla="*/ 1654810 h 2112232"/>
                  <a:gd name="connsiteX19" fmla="*/ 10177867 w 12045155"/>
                  <a:gd name="connsiteY19" fmla="*/ 2109744 h 2112232"/>
                  <a:gd name="connsiteX20" fmla="*/ 10922986 w 12045155"/>
                  <a:gd name="connsiteY20" fmla="*/ 1782194 h 2112232"/>
                  <a:gd name="connsiteX21" fmla="*/ 11481826 w 12045155"/>
                  <a:gd name="connsiteY21" fmla="*/ 1127088 h 2112232"/>
                  <a:gd name="connsiteX22" fmla="*/ 12045155 w 12045155"/>
                  <a:gd name="connsiteY22" fmla="*/ 699393 h 2112232"/>
                  <a:gd name="connsiteX23" fmla="*/ 12045155 w 12045155"/>
                  <a:gd name="connsiteY23" fmla="*/ 261011 h 2112232"/>
                  <a:gd name="connsiteX24" fmla="*/ 11438839 w 12045155"/>
                  <a:gd name="connsiteY24" fmla="*/ 435586 h 2112232"/>
                  <a:gd name="connsiteX25" fmla="*/ 11059114 w 12045155"/>
                  <a:gd name="connsiteY25" fmla="*/ 1047471 h 2112232"/>
                  <a:gd name="connsiteX26" fmla="*/ 10602369 w 12045155"/>
                  <a:gd name="connsiteY26" fmla="*/ 1661632 h 2112232"/>
                  <a:gd name="connsiteX27" fmla="*/ 9948599 w 12045155"/>
                  <a:gd name="connsiteY27" fmla="*/ 1673007 h 2112232"/>
                  <a:gd name="connsiteX28" fmla="*/ 9527677 w 12045155"/>
                  <a:gd name="connsiteY28" fmla="*/ 1058846 h 2112232"/>
                  <a:gd name="connsiteX29" fmla="*/ 9053022 w 12045155"/>
                  <a:gd name="connsiteY29" fmla="*/ 581165 h 2112232"/>
                  <a:gd name="connsiteX30" fmla="*/ 8450223 w 12045155"/>
                  <a:gd name="connsiteY30" fmla="*/ 156695 h 2112232"/>
                  <a:gd name="connsiteX31" fmla="*/ 7635927 w 12045155"/>
                  <a:gd name="connsiteY31" fmla="*/ 105714 h 2112232"/>
                  <a:gd name="connsiteX32" fmla="*/ 7049636 w 12045155"/>
                  <a:gd name="connsiteY32" fmla="*/ 199189 h 2112232"/>
                  <a:gd name="connsiteX33" fmla="*/ 6342549 w 12045155"/>
                  <a:gd name="connsiteY33" fmla="*/ 146630 h 2112232"/>
                  <a:gd name="connsiteX34" fmla="*/ 5902209 w 12045155"/>
                  <a:gd name="connsiteY34" fmla="*/ 249658 h 2112232"/>
                  <a:gd name="connsiteX35" fmla="*/ 5182195 w 12045155"/>
                  <a:gd name="connsiteY35" fmla="*/ 292664 h 2112232"/>
                  <a:gd name="connsiteX36" fmla="*/ 3822487 w 12045155"/>
                  <a:gd name="connsiteY36" fmla="*/ 90799 h 2112232"/>
                  <a:gd name="connsiteX37" fmla="*/ 2370177 w 12045155"/>
                  <a:gd name="connsiteY37" fmla="*/ 156695 h 2112232"/>
                  <a:gd name="connsiteX38" fmla="*/ 578745 w 12045155"/>
                  <a:gd name="connsiteY38" fmla="*/ 148189 h 2112232"/>
                  <a:gd name="connsiteX39" fmla="*/ 38923 w 12045155"/>
                  <a:gd name="connsiteY39" fmla="*/ 157240 h 2112232"/>
                  <a:gd name="connsiteX0" fmla="*/ 38923 w 12045155"/>
                  <a:gd name="connsiteY0" fmla="*/ 157240 h 2112232"/>
                  <a:gd name="connsiteX1" fmla="*/ 4765 w 12045155"/>
                  <a:gd name="connsiteY1" fmla="*/ 229969 h 2112232"/>
                  <a:gd name="connsiteX2" fmla="*/ 16985 w 12045155"/>
                  <a:gd name="connsiteY2" fmla="*/ 441204 h 2112232"/>
                  <a:gd name="connsiteX3" fmla="*/ 31647 w 12045155"/>
                  <a:gd name="connsiteY3" fmla="*/ 700450 h 2112232"/>
                  <a:gd name="connsiteX4" fmla="*/ 43864 w 12045155"/>
                  <a:gd name="connsiteY4" fmla="*/ 777266 h 2112232"/>
                  <a:gd name="connsiteX5" fmla="*/ 80207 w 12045155"/>
                  <a:gd name="connsiteY5" fmla="*/ 937416 h 2112232"/>
                  <a:gd name="connsiteX6" fmla="*/ 937008 w 12045155"/>
                  <a:gd name="connsiteY6" fmla="*/ 844973 h 2112232"/>
                  <a:gd name="connsiteX7" fmla="*/ 1631867 w 12045155"/>
                  <a:gd name="connsiteY7" fmla="*/ 878961 h 2112232"/>
                  <a:gd name="connsiteX8" fmla="*/ 2087877 w 12045155"/>
                  <a:gd name="connsiteY8" fmla="*/ 819473 h 2112232"/>
                  <a:gd name="connsiteX9" fmla="*/ 2565599 w 12045155"/>
                  <a:gd name="connsiteY9" fmla="*/ 819473 h 2112232"/>
                  <a:gd name="connsiteX10" fmla="*/ 3336468 w 12045155"/>
                  <a:gd name="connsiteY10" fmla="*/ 861967 h 2112232"/>
                  <a:gd name="connsiteX11" fmla="*/ 4215904 w 12045155"/>
                  <a:gd name="connsiteY11" fmla="*/ 844973 h 2112232"/>
                  <a:gd name="connsiteX12" fmla="*/ 4845622 w 12045155"/>
                  <a:gd name="connsiteY12" fmla="*/ 853479 h 2112232"/>
                  <a:gd name="connsiteX13" fmla="*/ 5681632 w 12045155"/>
                  <a:gd name="connsiteY13" fmla="*/ 853479 h 2112232"/>
                  <a:gd name="connsiteX14" fmla="*/ 6745645 w 12045155"/>
                  <a:gd name="connsiteY14" fmla="*/ 878979 h 2112232"/>
                  <a:gd name="connsiteX15" fmla="*/ 7494800 w 12045155"/>
                  <a:gd name="connsiteY15" fmla="*/ 870473 h 2112232"/>
                  <a:gd name="connsiteX16" fmla="*/ 8026795 w 12045155"/>
                  <a:gd name="connsiteY16" fmla="*/ 861967 h 2112232"/>
                  <a:gd name="connsiteX17" fmla="*/ 8504518 w 12045155"/>
                  <a:gd name="connsiteY17" fmla="*/ 827979 h 2112232"/>
                  <a:gd name="connsiteX18" fmla="*/ 9490064 w 12045155"/>
                  <a:gd name="connsiteY18" fmla="*/ 1654810 h 2112232"/>
                  <a:gd name="connsiteX19" fmla="*/ 10177867 w 12045155"/>
                  <a:gd name="connsiteY19" fmla="*/ 2109744 h 2112232"/>
                  <a:gd name="connsiteX20" fmla="*/ 10922986 w 12045155"/>
                  <a:gd name="connsiteY20" fmla="*/ 1782194 h 2112232"/>
                  <a:gd name="connsiteX21" fmla="*/ 11481826 w 12045155"/>
                  <a:gd name="connsiteY21" fmla="*/ 1127088 h 2112232"/>
                  <a:gd name="connsiteX22" fmla="*/ 12045155 w 12045155"/>
                  <a:gd name="connsiteY22" fmla="*/ 699393 h 2112232"/>
                  <a:gd name="connsiteX23" fmla="*/ 12045155 w 12045155"/>
                  <a:gd name="connsiteY23" fmla="*/ 261011 h 2112232"/>
                  <a:gd name="connsiteX24" fmla="*/ 11438839 w 12045155"/>
                  <a:gd name="connsiteY24" fmla="*/ 435586 h 2112232"/>
                  <a:gd name="connsiteX25" fmla="*/ 11059114 w 12045155"/>
                  <a:gd name="connsiteY25" fmla="*/ 1047471 h 2112232"/>
                  <a:gd name="connsiteX26" fmla="*/ 10602369 w 12045155"/>
                  <a:gd name="connsiteY26" fmla="*/ 1661632 h 2112232"/>
                  <a:gd name="connsiteX27" fmla="*/ 10034574 w 12045155"/>
                  <a:gd name="connsiteY27" fmla="*/ 1618415 h 2112232"/>
                  <a:gd name="connsiteX28" fmla="*/ 9527677 w 12045155"/>
                  <a:gd name="connsiteY28" fmla="*/ 1058846 h 2112232"/>
                  <a:gd name="connsiteX29" fmla="*/ 9053022 w 12045155"/>
                  <a:gd name="connsiteY29" fmla="*/ 581165 h 2112232"/>
                  <a:gd name="connsiteX30" fmla="*/ 8450223 w 12045155"/>
                  <a:gd name="connsiteY30" fmla="*/ 156695 h 2112232"/>
                  <a:gd name="connsiteX31" fmla="*/ 7635927 w 12045155"/>
                  <a:gd name="connsiteY31" fmla="*/ 105714 h 2112232"/>
                  <a:gd name="connsiteX32" fmla="*/ 7049636 w 12045155"/>
                  <a:gd name="connsiteY32" fmla="*/ 199189 h 2112232"/>
                  <a:gd name="connsiteX33" fmla="*/ 6342549 w 12045155"/>
                  <a:gd name="connsiteY33" fmla="*/ 146630 h 2112232"/>
                  <a:gd name="connsiteX34" fmla="*/ 5902209 w 12045155"/>
                  <a:gd name="connsiteY34" fmla="*/ 249658 h 2112232"/>
                  <a:gd name="connsiteX35" fmla="*/ 5182195 w 12045155"/>
                  <a:gd name="connsiteY35" fmla="*/ 292664 h 2112232"/>
                  <a:gd name="connsiteX36" fmla="*/ 3822487 w 12045155"/>
                  <a:gd name="connsiteY36" fmla="*/ 90799 h 2112232"/>
                  <a:gd name="connsiteX37" fmla="*/ 2370177 w 12045155"/>
                  <a:gd name="connsiteY37" fmla="*/ 156695 h 2112232"/>
                  <a:gd name="connsiteX38" fmla="*/ 578745 w 12045155"/>
                  <a:gd name="connsiteY38" fmla="*/ 148189 h 2112232"/>
                  <a:gd name="connsiteX39" fmla="*/ 38923 w 12045155"/>
                  <a:gd name="connsiteY39" fmla="*/ 157240 h 2112232"/>
                  <a:gd name="connsiteX0" fmla="*/ 38923 w 12045155"/>
                  <a:gd name="connsiteY0" fmla="*/ 157240 h 2159168"/>
                  <a:gd name="connsiteX1" fmla="*/ 4765 w 12045155"/>
                  <a:gd name="connsiteY1" fmla="*/ 229969 h 2159168"/>
                  <a:gd name="connsiteX2" fmla="*/ 16985 w 12045155"/>
                  <a:gd name="connsiteY2" fmla="*/ 441204 h 2159168"/>
                  <a:gd name="connsiteX3" fmla="*/ 31647 w 12045155"/>
                  <a:gd name="connsiteY3" fmla="*/ 700450 h 2159168"/>
                  <a:gd name="connsiteX4" fmla="*/ 43864 w 12045155"/>
                  <a:gd name="connsiteY4" fmla="*/ 777266 h 2159168"/>
                  <a:gd name="connsiteX5" fmla="*/ 80207 w 12045155"/>
                  <a:gd name="connsiteY5" fmla="*/ 937416 h 2159168"/>
                  <a:gd name="connsiteX6" fmla="*/ 937008 w 12045155"/>
                  <a:gd name="connsiteY6" fmla="*/ 844973 h 2159168"/>
                  <a:gd name="connsiteX7" fmla="*/ 1631867 w 12045155"/>
                  <a:gd name="connsiteY7" fmla="*/ 878961 h 2159168"/>
                  <a:gd name="connsiteX8" fmla="*/ 2087877 w 12045155"/>
                  <a:gd name="connsiteY8" fmla="*/ 819473 h 2159168"/>
                  <a:gd name="connsiteX9" fmla="*/ 2565599 w 12045155"/>
                  <a:gd name="connsiteY9" fmla="*/ 819473 h 2159168"/>
                  <a:gd name="connsiteX10" fmla="*/ 3336468 w 12045155"/>
                  <a:gd name="connsiteY10" fmla="*/ 861967 h 2159168"/>
                  <a:gd name="connsiteX11" fmla="*/ 4215904 w 12045155"/>
                  <a:gd name="connsiteY11" fmla="*/ 844973 h 2159168"/>
                  <a:gd name="connsiteX12" fmla="*/ 4845622 w 12045155"/>
                  <a:gd name="connsiteY12" fmla="*/ 853479 h 2159168"/>
                  <a:gd name="connsiteX13" fmla="*/ 5681632 w 12045155"/>
                  <a:gd name="connsiteY13" fmla="*/ 853479 h 2159168"/>
                  <a:gd name="connsiteX14" fmla="*/ 6745645 w 12045155"/>
                  <a:gd name="connsiteY14" fmla="*/ 878979 h 2159168"/>
                  <a:gd name="connsiteX15" fmla="*/ 7494800 w 12045155"/>
                  <a:gd name="connsiteY15" fmla="*/ 870473 h 2159168"/>
                  <a:gd name="connsiteX16" fmla="*/ 8026795 w 12045155"/>
                  <a:gd name="connsiteY16" fmla="*/ 861967 h 2159168"/>
                  <a:gd name="connsiteX17" fmla="*/ 8504518 w 12045155"/>
                  <a:gd name="connsiteY17" fmla="*/ 827979 h 2159168"/>
                  <a:gd name="connsiteX18" fmla="*/ 9361101 w 12045155"/>
                  <a:gd name="connsiteY18" fmla="*/ 2018757 h 2159168"/>
                  <a:gd name="connsiteX19" fmla="*/ 10177867 w 12045155"/>
                  <a:gd name="connsiteY19" fmla="*/ 2109744 h 2159168"/>
                  <a:gd name="connsiteX20" fmla="*/ 10922986 w 12045155"/>
                  <a:gd name="connsiteY20" fmla="*/ 1782194 h 2159168"/>
                  <a:gd name="connsiteX21" fmla="*/ 11481826 w 12045155"/>
                  <a:gd name="connsiteY21" fmla="*/ 1127088 h 2159168"/>
                  <a:gd name="connsiteX22" fmla="*/ 12045155 w 12045155"/>
                  <a:gd name="connsiteY22" fmla="*/ 699393 h 2159168"/>
                  <a:gd name="connsiteX23" fmla="*/ 12045155 w 12045155"/>
                  <a:gd name="connsiteY23" fmla="*/ 261011 h 2159168"/>
                  <a:gd name="connsiteX24" fmla="*/ 11438839 w 12045155"/>
                  <a:gd name="connsiteY24" fmla="*/ 435586 h 2159168"/>
                  <a:gd name="connsiteX25" fmla="*/ 11059114 w 12045155"/>
                  <a:gd name="connsiteY25" fmla="*/ 1047471 h 2159168"/>
                  <a:gd name="connsiteX26" fmla="*/ 10602369 w 12045155"/>
                  <a:gd name="connsiteY26" fmla="*/ 1661632 h 2159168"/>
                  <a:gd name="connsiteX27" fmla="*/ 10034574 w 12045155"/>
                  <a:gd name="connsiteY27" fmla="*/ 1618415 h 2159168"/>
                  <a:gd name="connsiteX28" fmla="*/ 9527677 w 12045155"/>
                  <a:gd name="connsiteY28" fmla="*/ 1058846 h 2159168"/>
                  <a:gd name="connsiteX29" fmla="*/ 9053022 w 12045155"/>
                  <a:gd name="connsiteY29" fmla="*/ 581165 h 2159168"/>
                  <a:gd name="connsiteX30" fmla="*/ 8450223 w 12045155"/>
                  <a:gd name="connsiteY30" fmla="*/ 156695 h 2159168"/>
                  <a:gd name="connsiteX31" fmla="*/ 7635927 w 12045155"/>
                  <a:gd name="connsiteY31" fmla="*/ 105714 h 2159168"/>
                  <a:gd name="connsiteX32" fmla="*/ 7049636 w 12045155"/>
                  <a:gd name="connsiteY32" fmla="*/ 199189 h 2159168"/>
                  <a:gd name="connsiteX33" fmla="*/ 6342549 w 12045155"/>
                  <a:gd name="connsiteY33" fmla="*/ 146630 h 2159168"/>
                  <a:gd name="connsiteX34" fmla="*/ 5902209 w 12045155"/>
                  <a:gd name="connsiteY34" fmla="*/ 249658 h 2159168"/>
                  <a:gd name="connsiteX35" fmla="*/ 5182195 w 12045155"/>
                  <a:gd name="connsiteY35" fmla="*/ 292664 h 2159168"/>
                  <a:gd name="connsiteX36" fmla="*/ 3822487 w 12045155"/>
                  <a:gd name="connsiteY36" fmla="*/ 90799 h 2159168"/>
                  <a:gd name="connsiteX37" fmla="*/ 2370177 w 12045155"/>
                  <a:gd name="connsiteY37" fmla="*/ 156695 h 2159168"/>
                  <a:gd name="connsiteX38" fmla="*/ 578745 w 12045155"/>
                  <a:gd name="connsiteY38" fmla="*/ 148189 h 2159168"/>
                  <a:gd name="connsiteX39" fmla="*/ 38923 w 12045155"/>
                  <a:gd name="connsiteY39" fmla="*/ 157240 h 2159168"/>
                  <a:gd name="connsiteX0" fmla="*/ 38923 w 12045155"/>
                  <a:gd name="connsiteY0" fmla="*/ 157240 h 2371492"/>
                  <a:gd name="connsiteX1" fmla="*/ 4765 w 12045155"/>
                  <a:gd name="connsiteY1" fmla="*/ 229969 h 2371492"/>
                  <a:gd name="connsiteX2" fmla="*/ 16985 w 12045155"/>
                  <a:gd name="connsiteY2" fmla="*/ 441204 h 2371492"/>
                  <a:gd name="connsiteX3" fmla="*/ 31647 w 12045155"/>
                  <a:gd name="connsiteY3" fmla="*/ 700450 h 2371492"/>
                  <a:gd name="connsiteX4" fmla="*/ 43864 w 12045155"/>
                  <a:gd name="connsiteY4" fmla="*/ 777266 h 2371492"/>
                  <a:gd name="connsiteX5" fmla="*/ 80207 w 12045155"/>
                  <a:gd name="connsiteY5" fmla="*/ 937416 h 2371492"/>
                  <a:gd name="connsiteX6" fmla="*/ 937008 w 12045155"/>
                  <a:gd name="connsiteY6" fmla="*/ 844973 h 2371492"/>
                  <a:gd name="connsiteX7" fmla="*/ 1631867 w 12045155"/>
                  <a:gd name="connsiteY7" fmla="*/ 878961 h 2371492"/>
                  <a:gd name="connsiteX8" fmla="*/ 2087877 w 12045155"/>
                  <a:gd name="connsiteY8" fmla="*/ 819473 h 2371492"/>
                  <a:gd name="connsiteX9" fmla="*/ 2565599 w 12045155"/>
                  <a:gd name="connsiteY9" fmla="*/ 819473 h 2371492"/>
                  <a:gd name="connsiteX10" fmla="*/ 3336468 w 12045155"/>
                  <a:gd name="connsiteY10" fmla="*/ 861967 h 2371492"/>
                  <a:gd name="connsiteX11" fmla="*/ 4215904 w 12045155"/>
                  <a:gd name="connsiteY11" fmla="*/ 844973 h 2371492"/>
                  <a:gd name="connsiteX12" fmla="*/ 4845622 w 12045155"/>
                  <a:gd name="connsiteY12" fmla="*/ 853479 h 2371492"/>
                  <a:gd name="connsiteX13" fmla="*/ 5681632 w 12045155"/>
                  <a:gd name="connsiteY13" fmla="*/ 853479 h 2371492"/>
                  <a:gd name="connsiteX14" fmla="*/ 6745645 w 12045155"/>
                  <a:gd name="connsiteY14" fmla="*/ 878979 h 2371492"/>
                  <a:gd name="connsiteX15" fmla="*/ 7494800 w 12045155"/>
                  <a:gd name="connsiteY15" fmla="*/ 870473 h 2371492"/>
                  <a:gd name="connsiteX16" fmla="*/ 8026795 w 12045155"/>
                  <a:gd name="connsiteY16" fmla="*/ 861967 h 2371492"/>
                  <a:gd name="connsiteX17" fmla="*/ 8504518 w 12045155"/>
                  <a:gd name="connsiteY17" fmla="*/ 827979 h 2371492"/>
                  <a:gd name="connsiteX18" fmla="*/ 9361101 w 12045155"/>
                  <a:gd name="connsiteY18" fmla="*/ 2018757 h 2371492"/>
                  <a:gd name="connsiteX19" fmla="*/ 10249513 w 12045155"/>
                  <a:gd name="connsiteY19" fmla="*/ 2364507 h 2371492"/>
                  <a:gd name="connsiteX20" fmla="*/ 10922986 w 12045155"/>
                  <a:gd name="connsiteY20" fmla="*/ 1782194 h 2371492"/>
                  <a:gd name="connsiteX21" fmla="*/ 11481826 w 12045155"/>
                  <a:gd name="connsiteY21" fmla="*/ 1127088 h 2371492"/>
                  <a:gd name="connsiteX22" fmla="*/ 12045155 w 12045155"/>
                  <a:gd name="connsiteY22" fmla="*/ 699393 h 2371492"/>
                  <a:gd name="connsiteX23" fmla="*/ 12045155 w 12045155"/>
                  <a:gd name="connsiteY23" fmla="*/ 261011 h 2371492"/>
                  <a:gd name="connsiteX24" fmla="*/ 11438839 w 12045155"/>
                  <a:gd name="connsiteY24" fmla="*/ 435586 h 2371492"/>
                  <a:gd name="connsiteX25" fmla="*/ 11059114 w 12045155"/>
                  <a:gd name="connsiteY25" fmla="*/ 1047471 h 2371492"/>
                  <a:gd name="connsiteX26" fmla="*/ 10602369 w 12045155"/>
                  <a:gd name="connsiteY26" fmla="*/ 1661632 h 2371492"/>
                  <a:gd name="connsiteX27" fmla="*/ 10034574 w 12045155"/>
                  <a:gd name="connsiteY27" fmla="*/ 1618415 h 2371492"/>
                  <a:gd name="connsiteX28" fmla="*/ 9527677 w 12045155"/>
                  <a:gd name="connsiteY28" fmla="*/ 1058846 h 2371492"/>
                  <a:gd name="connsiteX29" fmla="*/ 9053022 w 12045155"/>
                  <a:gd name="connsiteY29" fmla="*/ 581165 h 2371492"/>
                  <a:gd name="connsiteX30" fmla="*/ 8450223 w 12045155"/>
                  <a:gd name="connsiteY30" fmla="*/ 156695 h 2371492"/>
                  <a:gd name="connsiteX31" fmla="*/ 7635927 w 12045155"/>
                  <a:gd name="connsiteY31" fmla="*/ 105714 h 2371492"/>
                  <a:gd name="connsiteX32" fmla="*/ 7049636 w 12045155"/>
                  <a:gd name="connsiteY32" fmla="*/ 199189 h 2371492"/>
                  <a:gd name="connsiteX33" fmla="*/ 6342549 w 12045155"/>
                  <a:gd name="connsiteY33" fmla="*/ 146630 h 2371492"/>
                  <a:gd name="connsiteX34" fmla="*/ 5902209 w 12045155"/>
                  <a:gd name="connsiteY34" fmla="*/ 249658 h 2371492"/>
                  <a:gd name="connsiteX35" fmla="*/ 5182195 w 12045155"/>
                  <a:gd name="connsiteY35" fmla="*/ 292664 h 2371492"/>
                  <a:gd name="connsiteX36" fmla="*/ 3822487 w 12045155"/>
                  <a:gd name="connsiteY36" fmla="*/ 90799 h 2371492"/>
                  <a:gd name="connsiteX37" fmla="*/ 2370177 w 12045155"/>
                  <a:gd name="connsiteY37" fmla="*/ 156695 h 2371492"/>
                  <a:gd name="connsiteX38" fmla="*/ 578745 w 12045155"/>
                  <a:gd name="connsiteY38" fmla="*/ 148189 h 2371492"/>
                  <a:gd name="connsiteX39" fmla="*/ 38923 w 12045155"/>
                  <a:gd name="connsiteY39" fmla="*/ 157240 h 2371492"/>
                  <a:gd name="connsiteX0" fmla="*/ 38923 w 12045155"/>
                  <a:gd name="connsiteY0" fmla="*/ 157240 h 2365078"/>
                  <a:gd name="connsiteX1" fmla="*/ 4765 w 12045155"/>
                  <a:gd name="connsiteY1" fmla="*/ 229969 h 2365078"/>
                  <a:gd name="connsiteX2" fmla="*/ 16985 w 12045155"/>
                  <a:gd name="connsiteY2" fmla="*/ 441204 h 2365078"/>
                  <a:gd name="connsiteX3" fmla="*/ 31647 w 12045155"/>
                  <a:gd name="connsiteY3" fmla="*/ 700450 h 2365078"/>
                  <a:gd name="connsiteX4" fmla="*/ 43864 w 12045155"/>
                  <a:gd name="connsiteY4" fmla="*/ 777266 h 2365078"/>
                  <a:gd name="connsiteX5" fmla="*/ 80207 w 12045155"/>
                  <a:gd name="connsiteY5" fmla="*/ 937416 h 2365078"/>
                  <a:gd name="connsiteX6" fmla="*/ 937008 w 12045155"/>
                  <a:gd name="connsiteY6" fmla="*/ 844973 h 2365078"/>
                  <a:gd name="connsiteX7" fmla="*/ 1631867 w 12045155"/>
                  <a:gd name="connsiteY7" fmla="*/ 878961 h 2365078"/>
                  <a:gd name="connsiteX8" fmla="*/ 2087877 w 12045155"/>
                  <a:gd name="connsiteY8" fmla="*/ 819473 h 2365078"/>
                  <a:gd name="connsiteX9" fmla="*/ 2565599 w 12045155"/>
                  <a:gd name="connsiteY9" fmla="*/ 819473 h 2365078"/>
                  <a:gd name="connsiteX10" fmla="*/ 3336468 w 12045155"/>
                  <a:gd name="connsiteY10" fmla="*/ 861967 h 2365078"/>
                  <a:gd name="connsiteX11" fmla="*/ 4215904 w 12045155"/>
                  <a:gd name="connsiteY11" fmla="*/ 844973 h 2365078"/>
                  <a:gd name="connsiteX12" fmla="*/ 4845622 w 12045155"/>
                  <a:gd name="connsiteY12" fmla="*/ 853479 h 2365078"/>
                  <a:gd name="connsiteX13" fmla="*/ 5681632 w 12045155"/>
                  <a:gd name="connsiteY13" fmla="*/ 853479 h 2365078"/>
                  <a:gd name="connsiteX14" fmla="*/ 6745645 w 12045155"/>
                  <a:gd name="connsiteY14" fmla="*/ 878979 h 2365078"/>
                  <a:gd name="connsiteX15" fmla="*/ 7494800 w 12045155"/>
                  <a:gd name="connsiteY15" fmla="*/ 870473 h 2365078"/>
                  <a:gd name="connsiteX16" fmla="*/ 8026795 w 12045155"/>
                  <a:gd name="connsiteY16" fmla="*/ 861967 h 2365078"/>
                  <a:gd name="connsiteX17" fmla="*/ 8504518 w 12045155"/>
                  <a:gd name="connsiteY17" fmla="*/ 827979 h 2365078"/>
                  <a:gd name="connsiteX18" fmla="*/ 9361101 w 12045155"/>
                  <a:gd name="connsiteY18" fmla="*/ 2018757 h 2365078"/>
                  <a:gd name="connsiteX19" fmla="*/ 10249513 w 12045155"/>
                  <a:gd name="connsiteY19" fmla="*/ 2364507 h 2365078"/>
                  <a:gd name="connsiteX20" fmla="*/ 11123596 w 12045155"/>
                  <a:gd name="connsiteY20" fmla="*/ 1964167 h 2365078"/>
                  <a:gd name="connsiteX21" fmla="*/ 11481826 w 12045155"/>
                  <a:gd name="connsiteY21" fmla="*/ 1127088 h 2365078"/>
                  <a:gd name="connsiteX22" fmla="*/ 12045155 w 12045155"/>
                  <a:gd name="connsiteY22" fmla="*/ 699393 h 2365078"/>
                  <a:gd name="connsiteX23" fmla="*/ 12045155 w 12045155"/>
                  <a:gd name="connsiteY23" fmla="*/ 261011 h 2365078"/>
                  <a:gd name="connsiteX24" fmla="*/ 11438839 w 12045155"/>
                  <a:gd name="connsiteY24" fmla="*/ 435586 h 2365078"/>
                  <a:gd name="connsiteX25" fmla="*/ 11059114 w 12045155"/>
                  <a:gd name="connsiteY25" fmla="*/ 1047471 h 2365078"/>
                  <a:gd name="connsiteX26" fmla="*/ 10602369 w 12045155"/>
                  <a:gd name="connsiteY26" fmla="*/ 1661632 h 2365078"/>
                  <a:gd name="connsiteX27" fmla="*/ 10034574 w 12045155"/>
                  <a:gd name="connsiteY27" fmla="*/ 1618415 h 2365078"/>
                  <a:gd name="connsiteX28" fmla="*/ 9527677 w 12045155"/>
                  <a:gd name="connsiteY28" fmla="*/ 1058846 h 2365078"/>
                  <a:gd name="connsiteX29" fmla="*/ 9053022 w 12045155"/>
                  <a:gd name="connsiteY29" fmla="*/ 581165 h 2365078"/>
                  <a:gd name="connsiteX30" fmla="*/ 8450223 w 12045155"/>
                  <a:gd name="connsiteY30" fmla="*/ 156695 h 2365078"/>
                  <a:gd name="connsiteX31" fmla="*/ 7635927 w 12045155"/>
                  <a:gd name="connsiteY31" fmla="*/ 105714 h 2365078"/>
                  <a:gd name="connsiteX32" fmla="*/ 7049636 w 12045155"/>
                  <a:gd name="connsiteY32" fmla="*/ 199189 h 2365078"/>
                  <a:gd name="connsiteX33" fmla="*/ 6342549 w 12045155"/>
                  <a:gd name="connsiteY33" fmla="*/ 146630 h 2365078"/>
                  <a:gd name="connsiteX34" fmla="*/ 5902209 w 12045155"/>
                  <a:gd name="connsiteY34" fmla="*/ 249658 h 2365078"/>
                  <a:gd name="connsiteX35" fmla="*/ 5182195 w 12045155"/>
                  <a:gd name="connsiteY35" fmla="*/ 292664 h 2365078"/>
                  <a:gd name="connsiteX36" fmla="*/ 3822487 w 12045155"/>
                  <a:gd name="connsiteY36" fmla="*/ 90799 h 2365078"/>
                  <a:gd name="connsiteX37" fmla="*/ 2370177 w 12045155"/>
                  <a:gd name="connsiteY37" fmla="*/ 156695 h 2365078"/>
                  <a:gd name="connsiteX38" fmla="*/ 578745 w 12045155"/>
                  <a:gd name="connsiteY38" fmla="*/ 148189 h 2365078"/>
                  <a:gd name="connsiteX39" fmla="*/ 38923 w 12045155"/>
                  <a:gd name="connsiteY39" fmla="*/ 157240 h 2365078"/>
                  <a:gd name="connsiteX0" fmla="*/ 38923 w 12045155"/>
                  <a:gd name="connsiteY0" fmla="*/ 157240 h 2365078"/>
                  <a:gd name="connsiteX1" fmla="*/ 4765 w 12045155"/>
                  <a:gd name="connsiteY1" fmla="*/ 229969 h 2365078"/>
                  <a:gd name="connsiteX2" fmla="*/ 16985 w 12045155"/>
                  <a:gd name="connsiteY2" fmla="*/ 441204 h 2365078"/>
                  <a:gd name="connsiteX3" fmla="*/ 31647 w 12045155"/>
                  <a:gd name="connsiteY3" fmla="*/ 700450 h 2365078"/>
                  <a:gd name="connsiteX4" fmla="*/ 43864 w 12045155"/>
                  <a:gd name="connsiteY4" fmla="*/ 777266 h 2365078"/>
                  <a:gd name="connsiteX5" fmla="*/ 80207 w 12045155"/>
                  <a:gd name="connsiteY5" fmla="*/ 937416 h 2365078"/>
                  <a:gd name="connsiteX6" fmla="*/ 937008 w 12045155"/>
                  <a:gd name="connsiteY6" fmla="*/ 844973 h 2365078"/>
                  <a:gd name="connsiteX7" fmla="*/ 1631867 w 12045155"/>
                  <a:gd name="connsiteY7" fmla="*/ 878961 h 2365078"/>
                  <a:gd name="connsiteX8" fmla="*/ 2087877 w 12045155"/>
                  <a:gd name="connsiteY8" fmla="*/ 819473 h 2365078"/>
                  <a:gd name="connsiteX9" fmla="*/ 2565599 w 12045155"/>
                  <a:gd name="connsiteY9" fmla="*/ 819473 h 2365078"/>
                  <a:gd name="connsiteX10" fmla="*/ 3336468 w 12045155"/>
                  <a:gd name="connsiteY10" fmla="*/ 861967 h 2365078"/>
                  <a:gd name="connsiteX11" fmla="*/ 4215904 w 12045155"/>
                  <a:gd name="connsiteY11" fmla="*/ 844973 h 2365078"/>
                  <a:gd name="connsiteX12" fmla="*/ 4845622 w 12045155"/>
                  <a:gd name="connsiteY12" fmla="*/ 853479 h 2365078"/>
                  <a:gd name="connsiteX13" fmla="*/ 5681632 w 12045155"/>
                  <a:gd name="connsiteY13" fmla="*/ 853479 h 2365078"/>
                  <a:gd name="connsiteX14" fmla="*/ 6745645 w 12045155"/>
                  <a:gd name="connsiteY14" fmla="*/ 878979 h 2365078"/>
                  <a:gd name="connsiteX15" fmla="*/ 7494800 w 12045155"/>
                  <a:gd name="connsiteY15" fmla="*/ 870473 h 2365078"/>
                  <a:gd name="connsiteX16" fmla="*/ 8026795 w 12045155"/>
                  <a:gd name="connsiteY16" fmla="*/ 861967 h 2365078"/>
                  <a:gd name="connsiteX17" fmla="*/ 8504518 w 12045155"/>
                  <a:gd name="connsiteY17" fmla="*/ 827979 h 2365078"/>
                  <a:gd name="connsiteX18" fmla="*/ 9361101 w 12045155"/>
                  <a:gd name="connsiteY18" fmla="*/ 2018757 h 2365078"/>
                  <a:gd name="connsiteX19" fmla="*/ 10249513 w 12045155"/>
                  <a:gd name="connsiteY19" fmla="*/ 2364507 h 2365078"/>
                  <a:gd name="connsiteX20" fmla="*/ 11123596 w 12045155"/>
                  <a:gd name="connsiteY20" fmla="*/ 1964167 h 2365078"/>
                  <a:gd name="connsiteX21" fmla="*/ 11797069 w 12045155"/>
                  <a:gd name="connsiteY21" fmla="*/ 999707 h 2365078"/>
                  <a:gd name="connsiteX22" fmla="*/ 12045155 w 12045155"/>
                  <a:gd name="connsiteY22" fmla="*/ 699393 h 2365078"/>
                  <a:gd name="connsiteX23" fmla="*/ 12045155 w 12045155"/>
                  <a:gd name="connsiteY23" fmla="*/ 261011 h 2365078"/>
                  <a:gd name="connsiteX24" fmla="*/ 11438839 w 12045155"/>
                  <a:gd name="connsiteY24" fmla="*/ 435586 h 2365078"/>
                  <a:gd name="connsiteX25" fmla="*/ 11059114 w 12045155"/>
                  <a:gd name="connsiteY25" fmla="*/ 1047471 h 2365078"/>
                  <a:gd name="connsiteX26" fmla="*/ 10602369 w 12045155"/>
                  <a:gd name="connsiteY26" fmla="*/ 1661632 h 2365078"/>
                  <a:gd name="connsiteX27" fmla="*/ 10034574 w 12045155"/>
                  <a:gd name="connsiteY27" fmla="*/ 1618415 h 2365078"/>
                  <a:gd name="connsiteX28" fmla="*/ 9527677 w 12045155"/>
                  <a:gd name="connsiteY28" fmla="*/ 1058846 h 2365078"/>
                  <a:gd name="connsiteX29" fmla="*/ 9053022 w 12045155"/>
                  <a:gd name="connsiteY29" fmla="*/ 581165 h 2365078"/>
                  <a:gd name="connsiteX30" fmla="*/ 8450223 w 12045155"/>
                  <a:gd name="connsiteY30" fmla="*/ 156695 h 2365078"/>
                  <a:gd name="connsiteX31" fmla="*/ 7635927 w 12045155"/>
                  <a:gd name="connsiteY31" fmla="*/ 105714 h 2365078"/>
                  <a:gd name="connsiteX32" fmla="*/ 7049636 w 12045155"/>
                  <a:gd name="connsiteY32" fmla="*/ 199189 h 2365078"/>
                  <a:gd name="connsiteX33" fmla="*/ 6342549 w 12045155"/>
                  <a:gd name="connsiteY33" fmla="*/ 146630 h 2365078"/>
                  <a:gd name="connsiteX34" fmla="*/ 5902209 w 12045155"/>
                  <a:gd name="connsiteY34" fmla="*/ 249658 h 2365078"/>
                  <a:gd name="connsiteX35" fmla="*/ 5182195 w 12045155"/>
                  <a:gd name="connsiteY35" fmla="*/ 292664 h 2365078"/>
                  <a:gd name="connsiteX36" fmla="*/ 3822487 w 12045155"/>
                  <a:gd name="connsiteY36" fmla="*/ 90799 h 2365078"/>
                  <a:gd name="connsiteX37" fmla="*/ 2370177 w 12045155"/>
                  <a:gd name="connsiteY37" fmla="*/ 156695 h 2365078"/>
                  <a:gd name="connsiteX38" fmla="*/ 578745 w 12045155"/>
                  <a:gd name="connsiteY38" fmla="*/ 148189 h 2365078"/>
                  <a:gd name="connsiteX39" fmla="*/ 38923 w 12045155"/>
                  <a:gd name="connsiteY39" fmla="*/ 157240 h 2365078"/>
                  <a:gd name="connsiteX0" fmla="*/ 38923 w 12045155"/>
                  <a:gd name="connsiteY0" fmla="*/ 157240 h 2365078"/>
                  <a:gd name="connsiteX1" fmla="*/ 4765 w 12045155"/>
                  <a:gd name="connsiteY1" fmla="*/ 229969 h 2365078"/>
                  <a:gd name="connsiteX2" fmla="*/ 16985 w 12045155"/>
                  <a:gd name="connsiteY2" fmla="*/ 441204 h 2365078"/>
                  <a:gd name="connsiteX3" fmla="*/ 31647 w 12045155"/>
                  <a:gd name="connsiteY3" fmla="*/ 700450 h 2365078"/>
                  <a:gd name="connsiteX4" fmla="*/ 43864 w 12045155"/>
                  <a:gd name="connsiteY4" fmla="*/ 777266 h 2365078"/>
                  <a:gd name="connsiteX5" fmla="*/ 80207 w 12045155"/>
                  <a:gd name="connsiteY5" fmla="*/ 937416 h 2365078"/>
                  <a:gd name="connsiteX6" fmla="*/ 937008 w 12045155"/>
                  <a:gd name="connsiteY6" fmla="*/ 844973 h 2365078"/>
                  <a:gd name="connsiteX7" fmla="*/ 1631867 w 12045155"/>
                  <a:gd name="connsiteY7" fmla="*/ 878961 h 2365078"/>
                  <a:gd name="connsiteX8" fmla="*/ 2087877 w 12045155"/>
                  <a:gd name="connsiteY8" fmla="*/ 819473 h 2365078"/>
                  <a:gd name="connsiteX9" fmla="*/ 2565599 w 12045155"/>
                  <a:gd name="connsiteY9" fmla="*/ 819473 h 2365078"/>
                  <a:gd name="connsiteX10" fmla="*/ 3336468 w 12045155"/>
                  <a:gd name="connsiteY10" fmla="*/ 861967 h 2365078"/>
                  <a:gd name="connsiteX11" fmla="*/ 4215904 w 12045155"/>
                  <a:gd name="connsiteY11" fmla="*/ 844973 h 2365078"/>
                  <a:gd name="connsiteX12" fmla="*/ 4845622 w 12045155"/>
                  <a:gd name="connsiteY12" fmla="*/ 853479 h 2365078"/>
                  <a:gd name="connsiteX13" fmla="*/ 5681632 w 12045155"/>
                  <a:gd name="connsiteY13" fmla="*/ 853479 h 2365078"/>
                  <a:gd name="connsiteX14" fmla="*/ 6745645 w 12045155"/>
                  <a:gd name="connsiteY14" fmla="*/ 878979 h 2365078"/>
                  <a:gd name="connsiteX15" fmla="*/ 7494800 w 12045155"/>
                  <a:gd name="connsiteY15" fmla="*/ 870473 h 2365078"/>
                  <a:gd name="connsiteX16" fmla="*/ 8026795 w 12045155"/>
                  <a:gd name="connsiteY16" fmla="*/ 861967 h 2365078"/>
                  <a:gd name="connsiteX17" fmla="*/ 8504518 w 12045155"/>
                  <a:gd name="connsiteY17" fmla="*/ 827979 h 2365078"/>
                  <a:gd name="connsiteX18" fmla="*/ 9361101 w 12045155"/>
                  <a:gd name="connsiteY18" fmla="*/ 2018757 h 2365078"/>
                  <a:gd name="connsiteX19" fmla="*/ 10249513 w 12045155"/>
                  <a:gd name="connsiteY19" fmla="*/ 2364507 h 2365078"/>
                  <a:gd name="connsiteX20" fmla="*/ 11123596 w 12045155"/>
                  <a:gd name="connsiteY20" fmla="*/ 1964167 h 2365078"/>
                  <a:gd name="connsiteX21" fmla="*/ 11266888 w 12045155"/>
                  <a:gd name="connsiteY21" fmla="*/ 1582018 h 2365078"/>
                  <a:gd name="connsiteX22" fmla="*/ 11797069 w 12045155"/>
                  <a:gd name="connsiteY22" fmla="*/ 999707 h 2365078"/>
                  <a:gd name="connsiteX23" fmla="*/ 12045155 w 12045155"/>
                  <a:gd name="connsiteY23" fmla="*/ 699393 h 2365078"/>
                  <a:gd name="connsiteX24" fmla="*/ 12045155 w 12045155"/>
                  <a:gd name="connsiteY24" fmla="*/ 261011 h 2365078"/>
                  <a:gd name="connsiteX25" fmla="*/ 11438839 w 12045155"/>
                  <a:gd name="connsiteY25" fmla="*/ 435586 h 2365078"/>
                  <a:gd name="connsiteX26" fmla="*/ 11059114 w 12045155"/>
                  <a:gd name="connsiteY26" fmla="*/ 1047471 h 2365078"/>
                  <a:gd name="connsiteX27" fmla="*/ 10602369 w 12045155"/>
                  <a:gd name="connsiteY27" fmla="*/ 1661632 h 2365078"/>
                  <a:gd name="connsiteX28" fmla="*/ 10034574 w 12045155"/>
                  <a:gd name="connsiteY28" fmla="*/ 1618415 h 2365078"/>
                  <a:gd name="connsiteX29" fmla="*/ 9527677 w 12045155"/>
                  <a:gd name="connsiteY29" fmla="*/ 1058846 h 2365078"/>
                  <a:gd name="connsiteX30" fmla="*/ 9053022 w 12045155"/>
                  <a:gd name="connsiteY30" fmla="*/ 581165 h 2365078"/>
                  <a:gd name="connsiteX31" fmla="*/ 8450223 w 12045155"/>
                  <a:gd name="connsiteY31" fmla="*/ 156695 h 2365078"/>
                  <a:gd name="connsiteX32" fmla="*/ 7635927 w 12045155"/>
                  <a:gd name="connsiteY32" fmla="*/ 105714 h 2365078"/>
                  <a:gd name="connsiteX33" fmla="*/ 7049636 w 12045155"/>
                  <a:gd name="connsiteY33" fmla="*/ 199189 h 2365078"/>
                  <a:gd name="connsiteX34" fmla="*/ 6342549 w 12045155"/>
                  <a:gd name="connsiteY34" fmla="*/ 146630 h 2365078"/>
                  <a:gd name="connsiteX35" fmla="*/ 5902209 w 12045155"/>
                  <a:gd name="connsiteY35" fmla="*/ 249658 h 2365078"/>
                  <a:gd name="connsiteX36" fmla="*/ 5182195 w 12045155"/>
                  <a:gd name="connsiteY36" fmla="*/ 292664 h 2365078"/>
                  <a:gd name="connsiteX37" fmla="*/ 3822487 w 12045155"/>
                  <a:gd name="connsiteY37" fmla="*/ 90799 h 2365078"/>
                  <a:gd name="connsiteX38" fmla="*/ 2370177 w 12045155"/>
                  <a:gd name="connsiteY38" fmla="*/ 156695 h 2365078"/>
                  <a:gd name="connsiteX39" fmla="*/ 578745 w 12045155"/>
                  <a:gd name="connsiteY39" fmla="*/ 148189 h 2365078"/>
                  <a:gd name="connsiteX40" fmla="*/ 38923 w 12045155"/>
                  <a:gd name="connsiteY40" fmla="*/ 157240 h 2365078"/>
                  <a:gd name="connsiteX0" fmla="*/ 38923 w 12045155"/>
                  <a:gd name="connsiteY0" fmla="*/ 157240 h 2365078"/>
                  <a:gd name="connsiteX1" fmla="*/ 4765 w 12045155"/>
                  <a:gd name="connsiteY1" fmla="*/ 229969 h 2365078"/>
                  <a:gd name="connsiteX2" fmla="*/ 16985 w 12045155"/>
                  <a:gd name="connsiteY2" fmla="*/ 441204 h 2365078"/>
                  <a:gd name="connsiteX3" fmla="*/ 31647 w 12045155"/>
                  <a:gd name="connsiteY3" fmla="*/ 700450 h 2365078"/>
                  <a:gd name="connsiteX4" fmla="*/ 43864 w 12045155"/>
                  <a:gd name="connsiteY4" fmla="*/ 777266 h 2365078"/>
                  <a:gd name="connsiteX5" fmla="*/ 80207 w 12045155"/>
                  <a:gd name="connsiteY5" fmla="*/ 937416 h 2365078"/>
                  <a:gd name="connsiteX6" fmla="*/ 937008 w 12045155"/>
                  <a:gd name="connsiteY6" fmla="*/ 844973 h 2365078"/>
                  <a:gd name="connsiteX7" fmla="*/ 1631867 w 12045155"/>
                  <a:gd name="connsiteY7" fmla="*/ 878961 h 2365078"/>
                  <a:gd name="connsiteX8" fmla="*/ 2087877 w 12045155"/>
                  <a:gd name="connsiteY8" fmla="*/ 819473 h 2365078"/>
                  <a:gd name="connsiteX9" fmla="*/ 2565599 w 12045155"/>
                  <a:gd name="connsiteY9" fmla="*/ 819473 h 2365078"/>
                  <a:gd name="connsiteX10" fmla="*/ 3336468 w 12045155"/>
                  <a:gd name="connsiteY10" fmla="*/ 861967 h 2365078"/>
                  <a:gd name="connsiteX11" fmla="*/ 4215904 w 12045155"/>
                  <a:gd name="connsiteY11" fmla="*/ 844973 h 2365078"/>
                  <a:gd name="connsiteX12" fmla="*/ 4845622 w 12045155"/>
                  <a:gd name="connsiteY12" fmla="*/ 853479 h 2365078"/>
                  <a:gd name="connsiteX13" fmla="*/ 5681632 w 12045155"/>
                  <a:gd name="connsiteY13" fmla="*/ 853479 h 2365078"/>
                  <a:gd name="connsiteX14" fmla="*/ 6745645 w 12045155"/>
                  <a:gd name="connsiteY14" fmla="*/ 878979 h 2365078"/>
                  <a:gd name="connsiteX15" fmla="*/ 7494800 w 12045155"/>
                  <a:gd name="connsiteY15" fmla="*/ 870473 h 2365078"/>
                  <a:gd name="connsiteX16" fmla="*/ 8026795 w 12045155"/>
                  <a:gd name="connsiteY16" fmla="*/ 861967 h 2365078"/>
                  <a:gd name="connsiteX17" fmla="*/ 8504518 w 12045155"/>
                  <a:gd name="connsiteY17" fmla="*/ 827979 h 2365078"/>
                  <a:gd name="connsiteX18" fmla="*/ 9361101 w 12045155"/>
                  <a:gd name="connsiteY18" fmla="*/ 2018757 h 2365078"/>
                  <a:gd name="connsiteX19" fmla="*/ 10249513 w 12045155"/>
                  <a:gd name="connsiteY19" fmla="*/ 2364507 h 2365078"/>
                  <a:gd name="connsiteX20" fmla="*/ 11123596 w 12045155"/>
                  <a:gd name="connsiteY20" fmla="*/ 1964167 h 2365078"/>
                  <a:gd name="connsiteX21" fmla="*/ 11309876 w 12045155"/>
                  <a:gd name="connsiteY21" fmla="*/ 1618413 h 2365078"/>
                  <a:gd name="connsiteX22" fmla="*/ 11797069 w 12045155"/>
                  <a:gd name="connsiteY22" fmla="*/ 999707 h 2365078"/>
                  <a:gd name="connsiteX23" fmla="*/ 12045155 w 12045155"/>
                  <a:gd name="connsiteY23" fmla="*/ 699393 h 2365078"/>
                  <a:gd name="connsiteX24" fmla="*/ 12045155 w 12045155"/>
                  <a:gd name="connsiteY24" fmla="*/ 261011 h 2365078"/>
                  <a:gd name="connsiteX25" fmla="*/ 11438839 w 12045155"/>
                  <a:gd name="connsiteY25" fmla="*/ 435586 h 2365078"/>
                  <a:gd name="connsiteX26" fmla="*/ 11059114 w 12045155"/>
                  <a:gd name="connsiteY26" fmla="*/ 1047471 h 2365078"/>
                  <a:gd name="connsiteX27" fmla="*/ 10602369 w 12045155"/>
                  <a:gd name="connsiteY27" fmla="*/ 1661632 h 2365078"/>
                  <a:gd name="connsiteX28" fmla="*/ 10034574 w 12045155"/>
                  <a:gd name="connsiteY28" fmla="*/ 1618415 h 2365078"/>
                  <a:gd name="connsiteX29" fmla="*/ 9527677 w 12045155"/>
                  <a:gd name="connsiteY29" fmla="*/ 1058846 h 2365078"/>
                  <a:gd name="connsiteX30" fmla="*/ 9053022 w 12045155"/>
                  <a:gd name="connsiteY30" fmla="*/ 581165 h 2365078"/>
                  <a:gd name="connsiteX31" fmla="*/ 8450223 w 12045155"/>
                  <a:gd name="connsiteY31" fmla="*/ 156695 h 2365078"/>
                  <a:gd name="connsiteX32" fmla="*/ 7635927 w 12045155"/>
                  <a:gd name="connsiteY32" fmla="*/ 105714 h 2365078"/>
                  <a:gd name="connsiteX33" fmla="*/ 7049636 w 12045155"/>
                  <a:gd name="connsiteY33" fmla="*/ 199189 h 2365078"/>
                  <a:gd name="connsiteX34" fmla="*/ 6342549 w 12045155"/>
                  <a:gd name="connsiteY34" fmla="*/ 146630 h 2365078"/>
                  <a:gd name="connsiteX35" fmla="*/ 5902209 w 12045155"/>
                  <a:gd name="connsiteY35" fmla="*/ 249658 h 2365078"/>
                  <a:gd name="connsiteX36" fmla="*/ 5182195 w 12045155"/>
                  <a:gd name="connsiteY36" fmla="*/ 292664 h 2365078"/>
                  <a:gd name="connsiteX37" fmla="*/ 3822487 w 12045155"/>
                  <a:gd name="connsiteY37" fmla="*/ 90799 h 2365078"/>
                  <a:gd name="connsiteX38" fmla="*/ 2370177 w 12045155"/>
                  <a:gd name="connsiteY38" fmla="*/ 156695 h 2365078"/>
                  <a:gd name="connsiteX39" fmla="*/ 578745 w 12045155"/>
                  <a:gd name="connsiteY39" fmla="*/ 148189 h 2365078"/>
                  <a:gd name="connsiteX40" fmla="*/ 38923 w 12045155"/>
                  <a:gd name="connsiteY40" fmla="*/ 157240 h 2365078"/>
                  <a:gd name="connsiteX0" fmla="*/ 38923 w 12045155"/>
                  <a:gd name="connsiteY0" fmla="*/ 157240 h 2365066"/>
                  <a:gd name="connsiteX1" fmla="*/ 4765 w 12045155"/>
                  <a:gd name="connsiteY1" fmla="*/ 229969 h 2365066"/>
                  <a:gd name="connsiteX2" fmla="*/ 16985 w 12045155"/>
                  <a:gd name="connsiteY2" fmla="*/ 441204 h 2365066"/>
                  <a:gd name="connsiteX3" fmla="*/ 31647 w 12045155"/>
                  <a:gd name="connsiteY3" fmla="*/ 700450 h 2365066"/>
                  <a:gd name="connsiteX4" fmla="*/ 43864 w 12045155"/>
                  <a:gd name="connsiteY4" fmla="*/ 777266 h 2365066"/>
                  <a:gd name="connsiteX5" fmla="*/ 80207 w 12045155"/>
                  <a:gd name="connsiteY5" fmla="*/ 937416 h 2365066"/>
                  <a:gd name="connsiteX6" fmla="*/ 937008 w 12045155"/>
                  <a:gd name="connsiteY6" fmla="*/ 844973 h 2365066"/>
                  <a:gd name="connsiteX7" fmla="*/ 1631867 w 12045155"/>
                  <a:gd name="connsiteY7" fmla="*/ 878961 h 2365066"/>
                  <a:gd name="connsiteX8" fmla="*/ 2087877 w 12045155"/>
                  <a:gd name="connsiteY8" fmla="*/ 819473 h 2365066"/>
                  <a:gd name="connsiteX9" fmla="*/ 2565599 w 12045155"/>
                  <a:gd name="connsiteY9" fmla="*/ 819473 h 2365066"/>
                  <a:gd name="connsiteX10" fmla="*/ 3336468 w 12045155"/>
                  <a:gd name="connsiteY10" fmla="*/ 861967 h 2365066"/>
                  <a:gd name="connsiteX11" fmla="*/ 4215904 w 12045155"/>
                  <a:gd name="connsiteY11" fmla="*/ 844973 h 2365066"/>
                  <a:gd name="connsiteX12" fmla="*/ 4845622 w 12045155"/>
                  <a:gd name="connsiteY12" fmla="*/ 853479 h 2365066"/>
                  <a:gd name="connsiteX13" fmla="*/ 5681632 w 12045155"/>
                  <a:gd name="connsiteY13" fmla="*/ 853479 h 2365066"/>
                  <a:gd name="connsiteX14" fmla="*/ 6745645 w 12045155"/>
                  <a:gd name="connsiteY14" fmla="*/ 878979 h 2365066"/>
                  <a:gd name="connsiteX15" fmla="*/ 7494800 w 12045155"/>
                  <a:gd name="connsiteY15" fmla="*/ 870473 h 2365066"/>
                  <a:gd name="connsiteX16" fmla="*/ 8026795 w 12045155"/>
                  <a:gd name="connsiteY16" fmla="*/ 861967 h 2365066"/>
                  <a:gd name="connsiteX17" fmla="*/ 8504518 w 12045155"/>
                  <a:gd name="connsiteY17" fmla="*/ 827979 h 2365066"/>
                  <a:gd name="connsiteX18" fmla="*/ 9361101 w 12045155"/>
                  <a:gd name="connsiteY18" fmla="*/ 2018757 h 2365066"/>
                  <a:gd name="connsiteX19" fmla="*/ 10249513 w 12045155"/>
                  <a:gd name="connsiteY19" fmla="*/ 2364507 h 2365066"/>
                  <a:gd name="connsiteX20" fmla="*/ 11195242 w 12045155"/>
                  <a:gd name="connsiteY20" fmla="*/ 2091549 h 2365066"/>
                  <a:gd name="connsiteX21" fmla="*/ 11309876 w 12045155"/>
                  <a:gd name="connsiteY21" fmla="*/ 1618413 h 2365066"/>
                  <a:gd name="connsiteX22" fmla="*/ 11797069 w 12045155"/>
                  <a:gd name="connsiteY22" fmla="*/ 999707 h 2365066"/>
                  <a:gd name="connsiteX23" fmla="*/ 12045155 w 12045155"/>
                  <a:gd name="connsiteY23" fmla="*/ 699393 h 2365066"/>
                  <a:gd name="connsiteX24" fmla="*/ 12045155 w 12045155"/>
                  <a:gd name="connsiteY24" fmla="*/ 261011 h 2365066"/>
                  <a:gd name="connsiteX25" fmla="*/ 11438839 w 12045155"/>
                  <a:gd name="connsiteY25" fmla="*/ 435586 h 2365066"/>
                  <a:gd name="connsiteX26" fmla="*/ 11059114 w 12045155"/>
                  <a:gd name="connsiteY26" fmla="*/ 1047471 h 2365066"/>
                  <a:gd name="connsiteX27" fmla="*/ 10602369 w 12045155"/>
                  <a:gd name="connsiteY27" fmla="*/ 1661632 h 2365066"/>
                  <a:gd name="connsiteX28" fmla="*/ 10034574 w 12045155"/>
                  <a:gd name="connsiteY28" fmla="*/ 1618415 h 2365066"/>
                  <a:gd name="connsiteX29" fmla="*/ 9527677 w 12045155"/>
                  <a:gd name="connsiteY29" fmla="*/ 1058846 h 2365066"/>
                  <a:gd name="connsiteX30" fmla="*/ 9053022 w 12045155"/>
                  <a:gd name="connsiteY30" fmla="*/ 581165 h 2365066"/>
                  <a:gd name="connsiteX31" fmla="*/ 8450223 w 12045155"/>
                  <a:gd name="connsiteY31" fmla="*/ 156695 h 2365066"/>
                  <a:gd name="connsiteX32" fmla="*/ 7635927 w 12045155"/>
                  <a:gd name="connsiteY32" fmla="*/ 105714 h 2365066"/>
                  <a:gd name="connsiteX33" fmla="*/ 7049636 w 12045155"/>
                  <a:gd name="connsiteY33" fmla="*/ 199189 h 2365066"/>
                  <a:gd name="connsiteX34" fmla="*/ 6342549 w 12045155"/>
                  <a:gd name="connsiteY34" fmla="*/ 146630 h 2365066"/>
                  <a:gd name="connsiteX35" fmla="*/ 5902209 w 12045155"/>
                  <a:gd name="connsiteY35" fmla="*/ 249658 h 2365066"/>
                  <a:gd name="connsiteX36" fmla="*/ 5182195 w 12045155"/>
                  <a:gd name="connsiteY36" fmla="*/ 292664 h 2365066"/>
                  <a:gd name="connsiteX37" fmla="*/ 3822487 w 12045155"/>
                  <a:gd name="connsiteY37" fmla="*/ 90799 h 2365066"/>
                  <a:gd name="connsiteX38" fmla="*/ 2370177 w 12045155"/>
                  <a:gd name="connsiteY38" fmla="*/ 156695 h 2365066"/>
                  <a:gd name="connsiteX39" fmla="*/ 578745 w 12045155"/>
                  <a:gd name="connsiteY39" fmla="*/ 148189 h 2365066"/>
                  <a:gd name="connsiteX40" fmla="*/ 38923 w 12045155"/>
                  <a:gd name="connsiteY40" fmla="*/ 157240 h 2365066"/>
                  <a:gd name="connsiteX0" fmla="*/ 38923 w 12045155"/>
                  <a:gd name="connsiteY0" fmla="*/ 157240 h 2510409"/>
                  <a:gd name="connsiteX1" fmla="*/ 4765 w 12045155"/>
                  <a:gd name="connsiteY1" fmla="*/ 229969 h 2510409"/>
                  <a:gd name="connsiteX2" fmla="*/ 16985 w 12045155"/>
                  <a:gd name="connsiteY2" fmla="*/ 441204 h 2510409"/>
                  <a:gd name="connsiteX3" fmla="*/ 31647 w 12045155"/>
                  <a:gd name="connsiteY3" fmla="*/ 700450 h 2510409"/>
                  <a:gd name="connsiteX4" fmla="*/ 43864 w 12045155"/>
                  <a:gd name="connsiteY4" fmla="*/ 777266 h 2510409"/>
                  <a:gd name="connsiteX5" fmla="*/ 80207 w 12045155"/>
                  <a:gd name="connsiteY5" fmla="*/ 937416 h 2510409"/>
                  <a:gd name="connsiteX6" fmla="*/ 937008 w 12045155"/>
                  <a:gd name="connsiteY6" fmla="*/ 844973 h 2510409"/>
                  <a:gd name="connsiteX7" fmla="*/ 1631867 w 12045155"/>
                  <a:gd name="connsiteY7" fmla="*/ 878961 h 2510409"/>
                  <a:gd name="connsiteX8" fmla="*/ 2087877 w 12045155"/>
                  <a:gd name="connsiteY8" fmla="*/ 819473 h 2510409"/>
                  <a:gd name="connsiteX9" fmla="*/ 2565599 w 12045155"/>
                  <a:gd name="connsiteY9" fmla="*/ 819473 h 2510409"/>
                  <a:gd name="connsiteX10" fmla="*/ 3336468 w 12045155"/>
                  <a:gd name="connsiteY10" fmla="*/ 861967 h 2510409"/>
                  <a:gd name="connsiteX11" fmla="*/ 4215904 w 12045155"/>
                  <a:gd name="connsiteY11" fmla="*/ 844973 h 2510409"/>
                  <a:gd name="connsiteX12" fmla="*/ 4845622 w 12045155"/>
                  <a:gd name="connsiteY12" fmla="*/ 853479 h 2510409"/>
                  <a:gd name="connsiteX13" fmla="*/ 5681632 w 12045155"/>
                  <a:gd name="connsiteY13" fmla="*/ 853479 h 2510409"/>
                  <a:gd name="connsiteX14" fmla="*/ 6745645 w 12045155"/>
                  <a:gd name="connsiteY14" fmla="*/ 878979 h 2510409"/>
                  <a:gd name="connsiteX15" fmla="*/ 7494800 w 12045155"/>
                  <a:gd name="connsiteY15" fmla="*/ 870473 h 2510409"/>
                  <a:gd name="connsiteX16" fmla="*/ 8026795 w 12045155"/>
                  <a:gd name="connsiteY16" fmla="*/ 861967 h 2510409"/>
                  <a:gd name="connsiteX17" fmla="*/ 8504518 w 12045155"/>
                  <a:gd name="connsiteY17" fmla="*/ 827979 h 2510409"/>
                  <a:gd name="connsiteX18" fmla="*/ 9361101 w 12045155"/>
                  <a:gd name="connsiteY18" fmla="*/ 2018757 h 2510409"/>
                  <a:gd name="connsiteX19" fmla="*/ 10149208 w 12045155"/>
                  <a:gd name="connsiteY19" fmla="*/ 2510086 h 2510409"/>
                  <a:gd name="connsiteX20" fmla="*/ 11195242 w 12045155"/>
                  <a:gd name="connsiteY20" fmla="*/ 2091549 h 2510409"/>
                  <a:gd name="connsiteX21" fmla="*/ 11309876 w 12045155"/>
                  <a:gd name="connsiteY21" fmla="*/ 1618413 h 2510409"/>
                  <a:gd name="connsiteX22" fmla="*/ 11797069 w 12045155"/>
                  <a:gd name="connsiteY22" fmla="*/ 999707 h 2510409"/>
                  <a:gd name="connsiteX23" fmla="*/ 12045155 w 12045155"/>
                  <a:gd name="connsiteY23" fmla="*/ 699393 h 2510409"/>
                  <a:gd name="connsiteX24" fmla="*/ 12045155 w 12045155"/>
                  <a:gd name="connsiteY24" fmla="*/ 261011 h 2510409"/>
                  <a:gd name="connsiteX25" fmla="*/ 11438839 w 12045155"/>
                  <a:gd name="connsiteY25" fmla="*/ 435586 h 2510409"/>
                  <a:gd name="connsiteX26" fmla="*/ 11059114 w 12045155"/>
                  <a:gd name="connsiteY26" fmla="*/ 1047471 h 2510409"/>
                  <a:gd name="connsiteX27" fmla="*/ 10602369 w 12045155"/>
                  <a:gd name="connsiteY27" fmla="*/ 1661632 h 2510409"/>
                  <a:gd name="connsiteX28" fmla="*/ 10034574 w 12045155"/>
                  <a:gd name="connsiteY28" fmla="*/ 1618415 h 2510409"/>
                  <a:gd name="connsiteX29" fmla="*/ 9527677 w 12045155"/>
                  <a:gd name="connsiteY29" fmla="*/ 1058846 h 2510409"/>
                  <a:gd name="connsiteX30" fmla="*/ 9053022 w 12045155"/>
                  <a:gd name="connsiteY30" fmla="*/ 581165 h 2510409"/>
                  <a:gd name="connsiteX31" fmla="*/ 8450223 w 12045155"/>
                  <a:gd name="connsiteY31" fmla="*/ 156695 h 2510409"/>
                  <a:gd name="connsiteX32" fmla="*/ 7635927 w 12045155"/>
                  <a:gd name="connsiteY32" fmla="*/ 105714 h 2510409"/>
                  <a:gd name="connsiteX33" fmla="*/ 7049636 w 12045155"/>
                  <a:gd name="connsiteY33" fmla="*/ 199189 h 2510409"/>
                  <a:gd name="connsiteX34" fmla="*/ 6342549 w 12045155"/>
                  <a:gd name="connsiteY34" fmla="*/ 146630 h 2510409"/>
                  <a:gd name="connsiteX35" fmla="*/ 5902209 w 12045155"/>
                  <a:gd name="connsiteY35" fmla="*/ 249658 h 2510409"/>
                  <a:gd name="connsiteX36" fmla="*/ 5182195 w 12045155"/>
                  <a:gd name="connsiteY36" fmla="*/ 292664 h 2510409"/>
                  <a:gd name="connsiteX37" fmla="*/ 3822487 w 12045155"/>
                  <a:gd name="connsiteY37" fmla="*/ 90799 h 2510409"/>
                  <a:gd name="connsiteX38" fmla="*/ 2370177 w 12045155"/>
                  <a:gd name="connsiteY38" fmla="*/ 156695 h 2510409"/>
                  <a:gd name="connsiteX39" fmla="*/ 578745 w 12045155"/>
                  <a:gd name="connsiteY39" fmla="*/ 148189 h 2510409"/>
                  <a:gd name="connsiteX40" fmla="*/ 38923 w 12045155"/>
                  <a:gd name="connsiteY40" fmla="*/ 157240 h 2510409"/>
                  <a:gd name="connsiteX0" fmla="*/ 38923 w 12045155"/>
                  <a:gd name="connsiteY0" fmla="*/ 157240 h 2510087"/>
                  <a:gd name="connsiteX1" fmla="*/ 4765 w 12045155"/>
                  <a:gd name="connsiteY1" fmla="*/ 229969 h 2510087"/>
                  <a:gd name="connsiteX2" fmla="*/ 16985 w 12045155"/>
                  <a:gd name="connsiteY2" fmla="*/ 441204 h 2510087"/>
                  <a:gd name="connsiteX3" fmla="*/ 31647 w 12045155"/>
                  <a:gd name="connsiteY3" fmla="*/ 700450 h 2510087"/>
                  <a:gd name="connsiteX4" fmla="*/ 43864 w 12045155"/>
                  <a:gd name="connsiteY4" fmla="*/ 777266 h 2510087"/>
                  <a:gd name="connsiteX5" fmla="*/ 80207 w 12045155"/>
                  <a:gd name="connsiteY5" fmla="*/ 937416 h 2510087"/>
                  <a:gd name="connsiteX6" fmla="*/ 937008 w 12045155"/>
                  <a:gd name="connsiteY6" fmla="*/ 844973 h 2510087"/>
                  <a:gd name="connsiteX7" fmla="*/ 1631867 w 12045155"/>
                  <a:gd name="connsiteY7" fmla="*/ 878961 h 2510087"/>
                  <a:gd name="connsiteX8" fmla="*/ 2087877 w 12045155"/>
                  <a:gd name="connsiteY8" fmla="*/ 819473 h 2510087"/>
                  <a:gd name="connsiteX9" fmla="*/ 2565599 w 12045155"/>
                  <a:gd name="connsiteY9" fmla="*/ 819473 h 2510087"/>
                  <a:gd name="connsiteX10" fmla="*/ 3336468 w 12045155"/>
                  <a:gd name="connsiteY10" fmla="*/ 861967 h 2510087"/>
                  <a:gd name="connsiteX11" fmla="*/ 4215904 w 12045155"/>
                  <a:gd name="connsiteY11" fmla="*/ 844973 h 2510087"/>
                  <a:gd name="connsiteX12" fmla="*/ 4845622 w 12045155"/>
                  <a:gd name="connsiteY12" fmla="*/ 853479 h 2510087"/>
                  <a:gd name="connsiteX13" fmla="*/ 5681632 w 12045155"/>
                  <a:gd name="connsiteY13" fmla="*/ 853479 h 2510087"/>
                  <a:gd name="connsiteX14" fmla="*/ 6745645 w 12045155"/>
                  <a:gd name="connsiteY14" fmla="*/ 878979 h 2510087"/>
                  <a:gd name="connsiteX15" fmla="*/ 7494800 w 12045155"/>
                  <a:gd name="connsiteY15" fmla="*/ 870473 h 2510087"/>
                  <a:gd name="connsiteX16" fmla="*/ 8026795 w 12045155"/>
                  <a:gd name="connsiteY16" fmla="*/ 861967 h 2510087"/>
                  <a:gd name="connsiteX17" fmla="*/ 8504518 w 12045155"/>
                  <a:gd name="connsiteY17" fmla="*/ 827979 h 2510087"/>
                  <a:gd name="connsiteX18" fmla="*/ 9217808 w 12045155"/>
                  <a:gd name="connsiteY18" fmla="*/ 2091547 h 2510087"/>
                  <a:gd name="connsiteX19" fmla="*/ 10149208 w 12045155"/>
                  <a:gd name="connsiteY19" fmla="*/ 2510086 h 2510087"/>
                  <a:gd name="connsiteX20" fmla="*/ 11195242 w 12045155"/>
                  <a:gd name="connsiteY20" fmla="*/ 2091549 h 2510087"/>
                  <a:gd name="connsiteX21" fmla="*/ 11309876 w 12045155"/>
                  <a:gd name="connsiteY21" fmla="*/ 1618413 h 2510087"/>
                  <a:gd name="connsiteX22" fmla="*/ 11797069 w 12045155"/>
                  <a:gd name="connsiteY22" fmla="*/ 999707 h 2510087"/>
                  <a:gd name="connsiteX23" fmla="*/ 12045155 w 12045155"/>
                  <a:gd name="connsiteY23" fmla="*/ 699393 h 2510087"/>
                  <a:gd name="connsiteX24" fmla="*/ 12045155 w 12045155"/>
                  <a:gd name="connsiteY24" fmla="*/ 261011 h 2510087"/>
                  <a:gd name="connsiteX25" fmla="*/ 11438839 w 12045155"/>
                  <a:gd name="connsiteY25" fmla="*/ 435586 h 2510087"/>
                  <a:gd name="connsiteX26" fmla="*/ 11059114 w 12045155"/>
                  <a:gd name="connsiteY26" fmla="*/ 1047471 h 2510087"/>
                  <a:gd name="connsiteX27" fmla="*/ 10602369 w 12045155"/>
                  <a:gd name="connsiteY27" fmla="*/ 1661632 h 2510087"/>
                  <a:gd name="connsiteX28" fmla="*/ 10034574 w 12045155"/>
                  <a:gd name="connsiteY28" fmla="*/ 1618415 h 2510087"/>
                  <a:gd name="connsiteX29" fmla="*/ 9527677 w 12045155"/>
                  <a:gd name="connsiteY29" fmla="*/ 1058846 h 2510087"/>
                  <a:gd name="connsiteX30" fmla="*/ 9053022 w 12045155"/>
                  <a:gd name="connsiteY30" fmla="*/ 581165 h 2510087"/>
                  <a:gd name="connsiteX31" fmla="*/ 8450223 w 12045155"/>
                  <a:gd name="connsiteY31" fmla="*/ 156695 h 2510087"/>
                  <a:gd name="connsiteX32" fmla="*/ 7635927 w 12045155"/>
                  <a:gd name="connsiteY32" fmla="*/ 105714 h 2510087"/>
                  <a:gd name="connsiteX33" fmla="*/ 7049636 w 12045155"/>
                  <a:gd name="connsiteY33" fmla="*/ 199189 h 2510087"/>
                  <a:gd name="connsiteX34" fmla="*/ 6342549 w 12045155"/>
                  <a:gd name="connsiteY34" fmla="*/ 146630 h 2510087"/>
                  <a:gd name="connsiteX35" fmla="*/ 5902209 w 12045155"/>
                  <a:gd name="connsiteY35" fmla="*/ 249658 h 2510087"/>
                  <a:gd name="connsiteX36" fmla="*/ 5182195 w 12045155"/>
                  <a:gd name="connsiteY36" fmla="*/ 292664 h 2510087"/>
                  <a:gd name="connsiteX37" fmla="*/ 3822487 w 12045155"/>
                  <a:gd name="connsiteY37" fmla="*/ 90799 h 2510087"/>
                  <a:gd name="connsiteX38" fmla="*/ 2370177 w 12045155"/>
                  <a:gd name="connsiteY38" fmla="*/ 156695 h 2510087"/>
                  <a:gd name="connsiteX39" fmla="*/ 578745 w 12045155"/>
                  <a:gd name="connsiteY39" fmla="*/ 148189 h 2510087"/>
                  <a:gd name="connsiteX40" fmla="*/ 38923 w 12045155"/>
                  <a:gd name="connsiteY40" fmla="*/ 157240 h 2510087"/>
                  <a:gd name="connsiteX0" fmla="*/ 38923 w 12045155"/>
                  <a:gd name="connsiteY0" fmla="*/ 157240 h 2510087"/>
                  <a:gd name="connsiteX1" fmla="*/ 4765 w 12045155"/>
                  <a:gd name="connsiteY1" fmla="*/ 229969 h 2510087"/>
                  <a:gd name="connsiteX2" fmla="*/ 16985 w 12045155"/>
                  <a:gd name="connsiteY2" fmla="*/ 441204 h 2510087"/>
                  <a:gd name="connsiteX3" fmla="*/ 31647 w 12045155"/>
                  <a:gd name="connsiteY3" fmla="*/ 700450 h 2510087"/>
                  <a:gd name="connsiteX4" fmla="*/ 43864 w 12045155"/>
                  <a:gd name="connsiteY4" fmla="*/ 777266 h 2510087"/>
                  <a:gd name="connsiteX5" fmla="*/ 80207 w 12045155"/>
                  <a:gd name="connsiteY5" fmla="*/ 937416 h 2510087"/>
                  <a:gd name="connsiteX6" fmla="*/ 937008 w 12045155"/>
                  <a:gd name="connsiteY6" fmla="*/ 844973 h 2510087"/>
                  <a:gd name="connsiteX7" fmla="*/ 1631867 w 12045155"/>
                  <a:gd name="connsiteY7" fmla="*/ 878961 h 2510087"/>
                  <a:gd name="connsiteX8" fmla="*/ 2087877 w 12045155"/>
                  <a:gd name="connsiteY8" fmla="*/ 819473 h 2510087"/>
                  <a:gd name="connsiteX9" fmla="*/ 2565599 w 12045155"/>
                  <a:gd name="connsiteY9" fmla="*/ 819473 h 2510087"/>
                  <a:gd name="connsiteX10" fmla="*/ 3336468 w 12045155"/>
                  <a:gd name="connsiteY10" fmla="*/ 861967 h 2510087"/>
                  <a:gd name="connsiteX11" fmla="*/ 4215904 w 12045155"/>
                  <a:gd name="connsiteY11" fmla="*/ 844973 h 2510087"/>
                  <a:gd name="connsiteX12" fmla="*/ 4845622 w 12045155"/>
                  <a:gd name="connsiteY12" fmla="*/ 853479 h 2510087"/>
                  <a:gd name="connsiteX13" fmla="*/ 5681632 w 12045155"/>
                  <a:gd name="connsiteY13" fmla="*/ 853479 h 2510087"/>
                  <a:gd name="connsiteX14" fmla="*/ 6745645 w 12045155"/>
                  <a:gd name="connsiteY14" fmla="*/ 878979 h 2510087"/>
                  <a:gd name="connsiteX15" fmla="*/ 7494800 w 12045155"/>
                  <a:gd name="connsiteY15" fmla="*/ 870473 h 2510087"/>
                  <a:gd name="connsiteX16" fmla="*/ 8026795 w 12045155"/>
                  <a:gd name="connsiteY16" fmla="*/ 861967 h 2510087"/>
                  <a:gd name="connsiteX17" fmla="*/ 8504518 w 12045155"/>
                  <a:gd name="connsiteY17" fmla="*/ 827979 h 2510087"/>
                  <a:gd name="connsiteX18" fmla="*/ 9217808 w 12045155"/>
                  <a:gd name="connsiteY18" fmla="*/ 2091547 h 2510087"/>
                  <a:gd name="connsiteX19" fmla="*/ 10149208 w 12045155"/>
                  <a:gd name="connsiteY19" fmla="*/ 2510086 h 2510087"/>
                  <a:gd name="connsiteX20" fmla="*/ 11195242 w 12045155"/>
                  <a:gd name="connsiteY20" fmla="*/ 2091549 h 2510087"/>
                  <a:gd name="connsiteX21" fmla="*/ 11625119 w 12045155"/>
                  <a:gd name="connsiteY21" fmla="*/ 1600216 h 2510087"/>
                  <a:gd name="connsiteX22" fmla="*/ 11797069 w 12045155"/>
                  <a:gd name="connsiteY22" fmla="*/ 999707 h 2510087"/>
                  <a:gd name="connsiteX23" fmla="*/ 12045155 w 12045155"/>
                  <a:gd name="connsiteY23" fmla="*/ 699393 h 2510087"/>
                  <a:gd name="connsiteX24" fmla="*/ 12045155 w 12045155"/>
                  <a:gd name="connsiteY24" fmla="*/ 261011 h 2510087"/>
                  <a:gd name="connsiteX25" fmla="*/ 11438839 w 12045155"/>
                  <a:gd name="connsiteY25" fmla="*/ 435586 h 2510087"/>
                  <a:gd name="connsiteX26" fmla="*/ 11059114 w 12045155"/>
                  <a:gd name="connsiteY26" fmla="*/ 1047471 h 2510087"/>
                  <a:gd name="connsiteX27" fmla="*/ 10602369 w 12045155"/>
                  <a:gd name="connsiteY27" fmla="*/ 1661632 h 2510087"/>
                  <a:gd name="connsiteX28" fmla="*/ 10034574 w 12045155"/>
                  <a:gd name="connsiteY28" fmla="*/ 1618415 h 2510087"/>
                  <a:gd name="connsiteX29" fmla="*/ 9527677 w 12045155"/>
                  <a:gd name="connsiteY29" fmla="*/ 1058846 h 2510087"/>
                  <a:gd name="connsiteX30" fmla="*/ 9053022 w 12045155"/>
                  <a:gd name="connsiteY30" fmla="*/ 581165 h 2510087"/>
                  <a:gd name="connsiteX31" fmla="*/ 8450223 w 12045155"/>
                  <a:gd name="connsiteY31" fmla="*/ 156695 h 2510087"/>
                  <a:gd name="connsiteX32" fmla="*/ 7635927 w 12045155"/>
                  <a:gd name="connsiteY32" fmla="*/ 105714 h 2510087"/>
                  <a:gd name="connsiteX33" fmla="*/ 7049636 w 12045155"/>
                  <a:gd name="connsiteY33" fmla="*/ 199189 h 2510087"/>
                  <a:gd name="connsiteX34" fmla="*/ 6342549 w 12045155"/>
                  <a:gd name="connsiteY34" fmla="*/ 146630 h 2510087"/>
                  <a:gd name="connsiteX35" fmla="*/ 5902209 w 12045155"/>
                  <a:gd name="connsiteY35" fmla="*/ 249658 h 2510087"/>
                  <a:gd name="connsiteX36" fmla="*/ 5182195 w 12045155"/>
                  <a:gd name="connsiteY36" fmla="*/ 292664 h 2510087"/>
                  <a:gd name="connsiteX37" fmla="*/ 3822487 w 12045155"/>
                  <a:gd name="connsiteY37" fmla="*/ 90799 h 2510087"/>
                  <a:gd name="connsiteX38" fmla="*/ 2370177 w 12045155"/>
                  <a:gd name="connsiteY38" fmla="*/ 156695 h 2510087"/>
                  <a:gd name="connsiteX39" fmla="*/ 578745 w 12045155"/>
                  <a:gd name="connsiteY39" fmla="*/ 148189 h 2510087"/>
                  <a:gd name="connsiteX40" fmla="*/ 38923 w 12045155"/>
                  <a:gd name="connsiteY40" fmla="*/ 157240 h 2510087"/>
                  <a:gd name="connsiteX0" fmla="*/ 38923 w 12045155"/>
                  <a:gd name="connsiteY0" fmla="*/ 157240 h 2510087"/>
                  <a:gd name="connsiteX1" fmla="*/ 4765 w 12045155"/>
                  <a:gd name="connsiteY1" fmla="*/ 229969 h 2510087"/>
                  <a:gd name="connsiteX2" fmla="*/ 16985 w 12045155"/>
                  <a:gd name="connsiteY2" fmla="*/ 441204 h 2510087"/>
                  <a:gd name="connsiteX3" fmla="*/ 31647 w 12045155"/>
                  <a:gd name="connsiteY3" fmla="*/ 700450 h 2510087"/>
                  <a:gd name="connsiteX4" fmla="*/ 43864 w 12045155"/>
                  <a:gd name="connsiteY4" fmla="*/ 777266 h 2510087"/>
                  <a:gd name="connsiteX5" fmla="*/ 80207 w 12045155"/>
                  <a:gd name="connsiteY5" fmla="*/ 937416 h 2510087"/>
                  <a:gd name="connsiteX6" fmla="*/ 937008 w 12045155"/>
                  <a:gd name="connsiteY6" fmla="*/ 844973 h 2510087"/>
                  <a:gd name="connsiteX7" fmla="*/ 1631867 w 12045155"/>
                  <a:gd name="connsiteY7" fmla="*/ 878961 h 2510087"/>
                  <a:gd name="connsiteX8" fmla="*/ 2087877 w 12045155"/>
                  <a:gd name="connsiteY8" fmla="*/ 819473 h 2510087"/>
                  <a:gd name="connsiteX9" fmla="*/ 2565599 w 12045155"/>
                  <a:gd name="connsiteY9" fmla="*/ 819473 h 2510087"/>
                  <a:gd name="connsiteX10" fmla="*/ 3336468 w 12045155"/>
                  <a:gd name="connsiteY10" fmla="*/ 861967 h 2510087"/>
                  <a:gd name="connsiteX11" fmla="*/ 4215904 w 12045155"/>
                  <a:gd name="connsiteY11" fmla="*/ 844973 h 2510087"/>
                  <a:gd name="connsiteX12" fmla="*/ 4845622 w 12045155"/>
                  <a:gd name="connsiteY12" fmla="*/ 853479 h 2510087"/>
                  <a:gd name="connsiteX13" fmla="*/ 5681632 w 12045155"/>
                  <a:gd name="connsiteY13" fmla="*/ 853479 h 2510087"/>
                  <a:gd name="connsiteX14" fmla="*/ 6745645 w 12045155"/>
                  <a:gd name="connsiteY14" fmla="*/ 878979 h 2510087"/>
                  <a:gd name="connsiteX15" fmla="*/ 7494800 w 12045155"/>
                  <a:gd name="connsiteY15" fmla="*/ 870473 h 2510087"/>
                  <a:gd name="connsiteX16" fmla="*/ 8026795 w 12045155"/>
                  <a:gd name="connsiteY16" fmla="*/ 861967 h 2510087"/>
                  <a:gd name="connsiteX17" fmla="*/ 8647812 w 12045155"/>
                  <a:gd name="connsiteY17" fmla="*/ 1264715 h 2510087"/>
                  <a:gd name="connsiteX18" fmla="*/ 9217808 w 12045155"/>
                  <a:gd name="connsiteY18" fmla="*/ 2091547 h 2510087"/>
                  <a:gd name="connsiteX19" fmla="*/ 10149208 w 12045155"/>
                  <a:gd name="connsiteY19" fmla="*/ 2510086 h 2510087"/>
                  <a:gd name="connsiteX20" fmla="*/ 11195242 w 12045155"/>
                  <a:gd name="connsiteY20" fmla="*/ 2091549 h 2510087"/>
                  <a:gd name="connsiteX21" fmla="*/ 11625119 w 12045155"/>
                  <a:gd name="connsiteY21" fmla="*/ 1600216 h 2510087"/>
                  <a:gd name="connsiteX22" fmla="*/ 11797069 w 12045155"/>
                  <a:gd name="connsiteY22" fmla="*/ 999707 h 2510087"/>
                  <a:gd name="connsiteX23" fmla="*/ 12045155 w 12045155"/>
                  <a:gd name="connsiteY23" fmla="*/ 699393 h 2510087"/>
                  <a:gd name="connsiteX24" fmla="*/ 12045155 w 12045155"/>
                  <a:gd name="connsiteY24" fmla="*/ 261011 h 2510087"/>
                  <a:gd name="connsiteX25" fmla="*/ 11438839 w 12045155"/>
                  <a:gd name="connsiteY25" fmla="*/ 435586 h 2510087"/>
                  <a:gd name="connsiteX26" fmla="*/ 11059114 w 12045155"/>
                  <a:gd name="connsiteY26" fmla="*/ 1047471 h 2510087"/>
                  <a:gd name="connsiteX27" fmla="*/ 10602369 w 12045155"/>
                  <a:gd name="connsiteY27" fmla="*/ 1661632 h 2510087"/>
                  <a:gd name="connsiteX28" fmla="*/ 10034574 w 12045155"/>
                  <a:gd name="connsiteY28" fmla="*/ 1618415 h 2510087"/>
                  <a:gd name="connsiteX29" fmla="*/ 9527677 w 12045155"/>
                  <a:gd name="connsiteY29" fmla="*/ 1058846 h 2510087"/>
                  <a:gd name="connsiteX30" fmla="*/ 9053022 w 12045155"/>
                  <a:gd name="connsiteY30" fmla="*/ 581165 h 2510087"/>
                  <a:gd name="connsiteX31" fmla="*/ 8450223 w 12045155"/>
                  <a:gd name="connsiteY31" fmla="*/ 156695 h 2510087"/>
                  <a:gd name="connsiteX32" fmla="*/ 7635927 w 12045155"/>
                  <a:gd name="connsiteY32" fmla="*/ 105714 h 2510087"/>
                  <a:gd name="connsiteX33" fmla="*/ 7049636 w 12045155"/>
                  <a:gd name="connsiteY33" fmla="*/ 199189 h 2510087"/>
                  <a:gd name="connsiteX34" fmla="*/ 6342549 w 12045155"/>
                  <a:gd name="connsiteY34" fmla="*/ 146630 h 2510087"/>
                  <a:gd name="connsiteX35" fmla="*/ 5902209 w 12045155"/>
                  <a:gd name="connsiteY35" fmla="*/ 249658 h 2510087"/>
                  <a:gd name="connsiteX36" fmla="*/ 5182195 w 12045155"/>
                  <a:gd name="connsiteY36" fmla="*/ 292664 h 2510087"/>
                  <a:gd name="connsiteX37" fmla="*/ 3822487 w 12045155"/>
                  <a:gd name="connsiteY37" fmla="*/ 90799 h 2510087"/>
                  <a:gd name="connsiteX38" fmla="*/ 2370177 w 12045155"/>
                  <a:gd name="connsiteY38" fmla="*/ 156695 h 2510087"/>
                  <a:gd name="connsiteX39" fmla="*/ 578745 w 12045155"/>
                  <a:gd name="connsiteY39" fmla="*/ 148189 h 2510087"/>
                  <a:gd name="connsiteX40" fmla="*/ 38923 w 12045155"/>
                  <a:gd name="connsiteY40" fmla="*/ 157240 h 2510087"/>
                  <a:gd name="connsiteX0" fmla="*/ 38923 w 12045155"/>
                  <a:gd name="connsiteY0" fmla="*/ 157240 h 2510087"/>
                  <a:gd name="connsiteX1" fmla="*/ 4765 w 12045155"/>
                  <a:gd name="connsiteY1" fmla="*/ 229969 h 2510087"/>
                  <a:gd name="connsiteX2" fmla="*/ 16985 w 12045155"/>
                  <a:gd name="connsiteY2" fmla="*/ 441204 h 2510087"/>
                  <a:gd name="connsiteX3" fmla="*/ 31647 w 12045155"/>
                  <a:gd name="connsiteY3" fmla="*/ 700450 h 2510087"/>
                  <a:gd name="connsiteX4" fmla="*/ 43864 w 12045155"/>
                  <a:gd name="connsiteY4" fmla="*/ 777266 h 2510087"/>
                  <a:gd name="connsiteX5" fmla="*/ 80207 w 12045155"/>
                  <a:gd name="connsiteY5" fmla="*/ 937416 h 2510087"/>
                  <a:gd name="connsiteX6" fmla="*/ 937008 w 12045155"/>
                  <a:gd name="connsiteY6" fmla="*/ 844973 h 2510087"/>
                  <a:gd name="connsiteX7" fmla="*/ 1631867 w 12045155"/>
                  <a:gd name="connsiteY7" fmla="*/ 878961 h 2510087"/>
                  <a:gd name="connsiteX8" fmla="*/ 2087877 w 12045155"/>
                  <a:gd name="connsiteY8" fmla="*/ 819473 h 2510087"/>
                  <a:gd name="connsiteX9" fmla="*/ 2565599 w 12045155"/>
                  <a:gd name="connsiteY9" fmla="*/ 819473 h 2510087"/>
                  <a:gd name="connsiteX10" fmla="*/ 3336468 w 12045155"/>
                  <a:gd name="connsiteY10" fmla="*/ 861967 h 2510087"/>
                  <a:gd name="connsiteX11" fmla="*/ 4215904 w 12045155"/>
                  <a:gd name="connsiteY11" fmla="*/ 844973 h 2510087"/>
                  <a:gd name="connsiteX12" fmla="*/ 4845622 w 12045155"/>
                  <a:gd name="connsiteY12" fmla="*/ 853479 h 2510087"/>
                  <a:gd name="connsiteX13" fmla="*/ 5681632 w 12045155"/>
                  <a:gd name="connsiteY13" fmla="*/ 853479 h 2510087"/>
                  <a:gd name="connsiteX14" fmla="*/ 6745645 w 12045155"/>
                  <a:gd name="connsiteY14" fmla="*/ 878979 h 2510087"/>
                  <a:gd name="connsiteX15" fmla="*/ 7494800 w 12045155"/>
                  <a:gd name="connsiteY15" fmla="*/ 870473 h 2510087"/>
                  <a:gd name="connsiteX16" fmla="*/ 8026795 w 12045155"/>
                  <a:gd name="connsiteY16" fmla="*/ 861967 h 2510087"/>
                  <a:gd name="connsiteX17" fmla="*/ 8647812 w 12045155"/>
                  <a:gd name="connsiteY17" fmla="*/ 1264715 h 2510087"/>
                  <a:gd name="connsiteX18" fmla="*/ 9217808 w 12045155"/>
                  <a:gd name="connsiteY18" fmla="*/ 2091547 h 2510087"/>
                  <a:gd name="connsiteX19" fmla="*/ 10149208 w 12045155"/>
                  <a:gd name="connsiteY19" fmla="*/ 2510086 h 2510087"/>
                  <a:gd name="connsiteX20" fmla="*/ 11195242 w 12045155"/>
                  <a:gd name="connsiteY20" fmla="*/ 2091549 h 2510087"/>
                  <a:gd name="connsiteX21" fmla="*/ 11486173 w 12045155"/>
                  <a:gd name="connsiteY21" fmla="*/ 1445814 h 2510087"/>
                  <a:gd name="connsiteX22" fmla="*/ 11797069 w 12045155"/>
                  <a:gd name="connsiteY22" fmla="*/ 999707 h 2510087"/>
                  <a:gd name="connsiteX23" fmla="*/ 12045155 w 12045155"/>
                  <a:gd name="connsiteY23" fmla="*/ 699393 h 2510087"/>
                  <a:gd name="connsiteX24" fmla="*/ 12045155 w 12045155"/>
                  <a:gd name="connsiteY24" fmla="*/ 261011 h 2510087"/>
                  <a:gd name="connsiteX25" fmla="*/ 11438839 w 12045155"/>
                  <a:gd name="connsiteY25" fmla="*/ 435586 h 2510087"/>
                  <a:gd name="connsiteX26" fmla="*/ 11059114 w 12045155"/>
                  <a:gd name="connsiteY26" fmla="*/ 1047471 h 2510087"/>
                  <a:gd name="connsiteX27" fmla="*/ 10602369 w 12045155"/>
                  <a:gd name="connsiteY27" fmla="*/ 1661632 h 2510087"/>
                  <a:gd name="connsiteX28" fmla="*/ 10034574 w 12045155"/>
                  <a:gd name="connsiteY28" fmla="*/ 1618415 h 2510087"/>
                  <a:gd name="connsiteX29" fmla="*/ 9527677 w 12045155"/>
                  <a:gd name="connsiteY29" fmla="*/ 1058846 h 2510087"/>
                  <a:gd name="connsiteX30" fmla="*/ 9053022 w 12045155"/>
                  <a:gd name="connsiteY30" fmla="*/ 581165 h 2510087"/>
                  <a:gd name="connsiteX31" fmla="*/ 8450223 w 12045155"/>
                  <a:gd name="connsiteY31" fmla="*/ 156695 h 2510087"/>
                  <a:gd name="connsiteX32" fmla="*/ 7635927 w 12045155"/>
                  <a:gd name="connsiteY32" fmla="*/ 105714 h 2510087"/>
                  <a:gd name="connsiteX33" fmla="*/ 7049636 w 12045155"/>
                  <a:gd name="connsiteY33" fmla="*/ 199189 h 2510087"/>
                  <a:gd name="connsiteX34" fmla="*/ 6342549 w 12045155"/>
                  <a:gd name="connsiteY34" fmla="*/ 146630 h 2510087"/>
                  <a:gd name="connsiteX35" fmla="*/ 5902209 w 12045155"/>
                  <a:gd name="connsiteY35" fmla="*/ 249658 h 2510087"/>
                  <a:gd name="connsiteX36" fmla="*/ 5182195 w 12045155"/>
                  <a:gd name="connsiteY36" fmla="*/ 292664 h 2510087"/>
                  <a:gd name="connsiteX37" fmla="*/ 3822487 w 12045155"/>
                  <a:gd name="connsiteY37" fmla="*/ 90799 h 2510087"/>
                  <a:gd name="connsiteX38" fmla="*/ 2370177 w 12045155"/>
                  <a:gd name="connsiteY38" fmla="*/ 156695 h 2510087"/>
                  <a:gd name="connsiteX39" fmla="*/ 578745 w 12045155"/>
                  <a:gd name="connsiteY39" fmla="*/ 148189 h 2510087"/>
                  <a:gd name="connsiteX40" fmla="*/ 38923 w 12045155"/>
                  <a:gd name="connsiteY40" fmla="*/ 157240 h 2510087"/>
                  <a:gd name="connsiteX0" fmla="*/ 38923 w 12045155"/>
                  <a:gd name="connsiteY0" fmla="*/ 157240 h 2510087"/>
                  <a:gd name="connsiteX1" fmla="*/ 4765 w 12045155"/>
                  <a:gd name="connsiteY1" fmla="*/ 229969 h 2510087"/>
                  <a:gd name="connsiteX2" fmla="*/ 8249783 w 12045155"/>
                  <a:gd name="connsiteY2" fmla="*/ 507371 h 2510087"/>
                  <a:gd name="connsiteX3" fmla="*/ 31647 w 12045155"/>
                  <a:gd name="connsiteY3" fmla="*/ 700450 h 2510087"/>
                  <a:gd name="connsiteX4" fmla="*/ 43864 w 12045155"/>
                  <a:gd name="connsiteY4" fmla="*/ 777266 h 2510087"/>
                  <a:gd name="connsiteX5" fmla="*/ 80207 w 12045155"/>
                  <a:gd name="connsiteY5" fmla="*/ 937416 h 2510087"/>
                  <a:gd name="connsiteX6" fmla="*/ 937008 w 12045155"/>
                  <a:gd name="connsiteY6" fmla="*/ 844973 h 2510087"/>
                  <a:gd name="connsiteX7" fmla="*/ 1631867 w 12045155"/>
                  <a:gd name="connsiteY7" fmla="*/ 878961 h 2510087"/>
                  <a:gd name="connsiteX8" fmla="*/ 2087877 w 12045155"/>
                  <a:gd name="connsiteY8" fmla="*/ 819473 h 2510087"/>
                  <a:gd name="connsiteX9" fmla="*/ 2565599 w 12045155"/>
                  <a:gd name="connsiteY9" fmla="*/ 819473 h 2510087"/>
                  <a:gd name="connsiteX10" fmla="*/ 3336468 w 12045155"/>
                  <a:gd name="connsiteY10" fmla="*/ 861967 h 2510087"/>
                  <a:gd name="connsiteX11" fmla="*/ 4215904 w 12045155"/>
                  <a:gd name="connsiteY11" fmla="*/ 844973 h 2510087"/>
                  <a:gd name="connsiteX12" fmla="*/ 4845622 w 12045155"/>
                  <a:gd name="connsiteY12" fmla="*/ 853479 h 2510087"/>
                  <a:gd name="connsiteX13" fmla="*/ 5681632 w 12045155"/>
                  <a:gd name="connsiteY13" fmla="*/ 853479 h 2510087"/>
                  <a:gd name="connsiteX14" fmla="*/ 6745645 w 12045155"/>
                  <a:gd name="connsiteY14" fmla="*/ 878979 h 2510087"/>
                  <a:gd name="connsiteX15" fmla="*/ 7494800 w 12045155"/>
                  <a:gd name="connsiteY15" fmla="*/ 870473 h 2510087"/>
                  <a:gd name="connsiteX16" fmla="*/ 8026795 w 12045155"/>
                  <a:gd name="connsiteY16" fmla="*/ 861967 h 2510087"/>
                  <a:gd name="connsiteX17" fmla="*/ 8647812 w 12045155"/>
                  <a:gd name="connsiteY17" fmla="*/ 1264715 h 2510087"/>
                  <a:gd name="connsiteX18" fmla="*/ 9217808 w 12045155"/>
                  <a:gd name="connsiteY18" fmla="*/ 2091547 h 2510087"/>
                  <a:gd name="connsiteX19" fmla="*/ 10149208 w 12045155"/>
                  <a:gd name="connsiteY19" fmla="*/ 2510086 h 2510087"/>
                  <a:gd name="connsiteX20" fmla="*/ 11195242 w 12045155"/>
                  <a:gd name="connsiteY20" fmla="*/ 2091549 h 2510087"/>
                  <a:gd name="connsiteX21" fmla="*/ 11486173 w 12045155"/>
                  <a:gd name="connsiteY21" fmla="*/ 1445814 h 2510087"/>
                  <a:gd name="connsiteX22" fmla="*/ 11797069 w 12045155"/>
                  <a:gd name="connsiteY22" fmla="*/ 999707 h 2510087"/>
                  <a:gd name="connsiteX23" fmla="*/ 12045155 w 12045155"/>
                  <a:gd name="connsiteY23" fmla="*/ 699393 h 2510087"/>
                  <a:gd name="connsiteX24" fmla="*/ 12045155 w 12045155"/>
                  <a:gd name="connsiteY24" fmla="*/ 261011 h 2510087"/>
                  <a:gd name="connsiteX25" fmla="*/ 11438839 w 12045155"/>
                  <a:gd name="connsiteY25" fmla="*/ 435586 h 2510087"/>
                  <a:gd name="connsiteX26" fmla="*/ 11059114 w 12045155"/>
                  <a:gd name="connsiteY26" fmla="*/ 1047471 h 2510087"/>
                  <a:gd name="connsiteX27" fmla="*/ 10602369 w 12045155"/>
                  <a:gd name="connsiteY27" fmla="*/ 1661632 h 2510087"/>
                  <a:gd name="connsiteX28" fmla="*/ 10034574 w 12045155"/>
                  <a:gd name="connsiteY28" fmla="*/ 1618415 h 2510087"/>
                  <a:gd name="connsiteX29" fmla="*/ 9527677 w 12045155"/>
                  <a:gd name="connsiteY29" fmla="*/ 1058846 h 2510087"/>
                  <a:gd name="connsiteX30" fmla="*/ 9053022 w 12045155"/>
                  <a:gd name="connsiteY30" fmla="*/ 581165 h 2510087"/>
                  <a:gd name="connsiteX31" fmla="*/ 8450223 w 12045155"/>
                  <a:gd name="connsiteY31" fmla="*/ 156695 h 2510087"/>
                  <a:gd name="connsiteX32" fmla="*/ 7635927 w 12045155"/>
                  <a:gd name="connsiteY32" fmla="*/ 105714 h 2510087"/>
                  <a:gd name="connsiteX33" fmla="*/ 7049636 w 12045155"/>
                  <a:gd name="connsiteY33" fmla="*/ 199189 h 2510087"/>
                  <a:gd name="connsiteX34" fmla="*/ 6342549 w 12045155"/>
                  <a:gd name="connsiteY34" fmla="*/ 146630 h 2510087"/>
                  <a:gd name="connsiteX35" fmla="*/ 5902209 w 12045155"/>
                  <a:gd name="connsiteY35" fmla="*/ 249658 h 2510087"/>
                  <a:gd name="connsiteX36" fmla="*/ 5182195 w 12045155"/>
                  <a:gd name="connsiteY36" fmla="*/ 292664 h 2510087"/>
                  <a:gd name="connsiteX37" fmla="*/ 3822487 w 12045155"/>
                  <a:gd name="connsiteY37" fmla="*/ 90799 h 2510087"/>
                  <a:gd name="connsiteX38" fmla="*/ 2370177 w 12045155"/>
                  <a:gd name="connsiteY38" fmla="*/ 156695 h 2510087"/>
                  <a:gd name="connsiteX39" fmla="*/ 578745 w 12045155"/>
                  <a:gd name="connsiteY39" fmla="*/ 148189 h 2510087"/>
                  <a:gd name="connsiteX40" fmla="*/ 38923 w 12045155"/>
                  <a:gd name="connsiteY40" fmla="*/ 157240 h 2510087"/>
                  <a:gd name="connsiteX0" fmla="*/ 38923 w 12045155"/>
                  <a:gd name="connsiteY0" fmla="*/ 157240 h 2510087"/>
                  <a:gd name="connsiteX1" fmla="*/ 4765 w 12045155"/>
                  <a:gd name="connsiteY1" fmla="*/ 229969 h 2510087"/>
                  <a:gd name="connsiteX2" fmla="*/ 8249783 w 12045155"/>
                  <a:gd name="connsiteY2" fmla="*/ 507371 h 2510087"/>
                  <a:gd name="connsiteX3" fmla="*/ 31647 w 12045155"/>
                  <a:gd name="connsiteY3" fmla="*/ 700450 h 2510087"/>
                  <a:gd name="connsiteX4" fmla="*/ 43864 w 12045155"/>
                  <a:gd name="connsiteY4" fmla="*/ 777266 h 2510087"/>
                  <a:gd name="connsiteX5" fmla="*/ 80207 w 12045155"/>
                  <a:gd name="connsiteY5" fmla="*/ 937416 h 2510087"/>
                  <a:gd name="connsiteX6" fmla="*/ 937008 w 12045155"/>
                  <a:gd name="connsiteY6" fmla="*/ 844973 h 2510087"/>
                  <a:gd name="connsiteX7" fmla="*/ 1631867 w 12045155"/>
                  <a:gd name="connsiteY7" fmla="*/ 878961 h 2510087"/>
                  <a:gd name="connsiteX8" fmla="*/ 2087877 w 12045155"/>
                  <a:gd name="connsiteY8" fmla="*/ 819473 h 2510087"/>
                  <a:gd name="connsiteX9" fmla="*/ 2565599 w 12045155"/>
                  <a:gd name="connsiteY9" fmla="*/ 819473 h 2510087"/>
                  <a:gd name="connsiteX10" fmla="*/ 3336468 w 12045155"/>
                  <a:gd name="connsiteY10" fmla="*/ 861967 h 2510087"/>
                  <a:gd name="connsiteX11" fmla="*/ 4215904 w 12045155"/>
                  <a:gd name="connsiteY11" fmla="*/ 844973 h 2510087"/>
                  <a:gd name="connsiteX12" fmla="*/ 4845622 w 12045155"/>
                  <a:gd name="connsiteY12" fmla="*/ 853479 h 2510087"/>
                  <a:gd name="connsiteX13" fmla="*/ 5681632 w 12045155"/>
                  <a:gd name="connsiteY13" fmla="*/ 853479 h 2510087"/>
                  <a:gd name="connsiteX14" fmla="*/ 6745645 w 12045155"/>
                  <a:gd name="connsiteY14" fmla="*/ 878979 h 2510087"/>
                  <a:gd name="connsiteX15" fmla="*/ 7494800 w 12045155"/>
                  <a:gd name="connsiteY15" fmla="*/ 870473 h 2510087"/>
                  <a:gd name="connsiteX16" fmla="*/ 8026795 w 12045155"/>
                  <a:gd name="connsiteY16" fmla="*/ 861967 h 2510087"/>
                  <a:gd name="connsiteX17" fmla="*/ 8647812 w 12045155"/>
                  <a:gd name="connsiteY17" fmla="*/ 1264715 h 2510087"/>
                  <a:gd name="connsiteX18" fmla="*/ 9217808 w 12045155"/>
                  <a:gd name="connsiteY18" fmla="*/ 2091547 h 2510087"/>
                  <a:gd name="connsiteX19" fmla="*/ 10149208 w 12045155"/>
                  <a:gd name="connsiteY19" fmla="*/ 2510086 h 2510087"/>
                  <a:gd name="connsiteX20" fmla="*/ 11195242 w 12045155"/>
                  <a:gd name="connsiteY20" fmla="*/ 2091549 h 2510087"/>
                  <a:gd name="connsiteX21" fmla="*/ 11486173 w 12045155"/>
                  <a:gd name="connsiteY21" fmla="*/ 1445814 h 2510087"/>
                  <a:gd name="connsiteX22" fmla="*/ 11797069 w 12045155"/>
                  <a:gd name="connsiteY22" fmla="*/ 999707 h 2510087"/>
                  <a:gd name="connsiteX23" fmla="*/ 12045155 w 12045155"/>
                  <a:gd name="connsiteY23" fmla="*/ 699393 h 2510087"/>
                  <a:gd name="connsiteX24" fmla="*/ 12045155 w 12045155"/>
                  <a:gd name="connsiteY24" fmla="*/ 261011 h 2510087"/>
                  <a:gd name="connsiteX25" fmla="*/ 11438839 w 12045155"/>
                  <a:gd name="connsiteY25" fmla="*/ 435586 h 2510087"/>
                  <a:gd name="connsiteX26" fmla="*/ 11059114 w 12045155"/>
                  <a:gd name="connsiteY26" fmla="*/ 1047471 h 2510087"/>
                  <a:gd name="connsiteX27" fmla="*/ 10602369 w 12045155"/>
                  <a:gd name="connsiteY27" fmla="*/ 1661632 h 2510087"/>
                  <a:gd name="connsiteX28" fmla="*/ 10034574 w 12045155"/>
                  <a:gd name="connsiteY28" fmla="*/ 1618415 h 2510087"/>
                  <a:gd name="connsiteX29" fmla="*/ 9527677 w 12045155"/>
                  <a:gd name="connsiteY29" fmla="*/ 1058846 h 2510087"/>
                  <a:gd name="connsiteX30" fmla="*/ 9053022 w 12045155"/>
                  <a:gd name="connsiteY30" fmla="*/ 581165 h 2510087"/>
                  <a:gd name="connsiteX31" fmla="*/ 8450223 w 12045155"/>
                  <a:gd name="connsiteY31" fmla="*/ 156695 h 2510087"/>
                  <a:gd name="connsiteX32" fmla="*/ 7635927 w 12045155"/>
                  <a:gd name="connsiteY32" fmla="*/ 105714 h 2510087"/>
                  <a:gd name="connsiteX33" fmla="*/ 7049636 w 12045155"/>
                  <a:gd name="connsiteY33" fmla="*/ 199189 h 2510087"/>
                  <a:gd name="connsiteX34" fmla="*/ 6342549 w 12045155"/>
                  <a:gd name="connsiteY34" fmla="*/ 146630 h 2510087"/>
                  <a:gd name="connsiteX35" fmla="*/ 5902209 w 12045155"/>
                  <a:gd name="connsiteY35" fmla="*/ 249658 h 2510087"/>
                  <a:gd name="connsiteX36" fmla="*/ 5182195 w 12045155"/>
                  <a:gd name="connsiteY36" fmla="*/ 292664 h 2510087"/>
                  <a:gd name="connsiteX37" fmla="*/ 3822487 w 12045155"/>
                  <a:gd name="connsiteY37" fmla="*/ 90799 h 2510087"/>
                  <a:gd name="connsiteX38" fmla="*/ 2370177 w 12045155"/>
                  <a:gd name="connsiteY38" fmla="*/ 156695 h 2510087"/>
                  <a:gd name="connsiteX39" fmla="*/ 578745 w 12045155"/>
                  <a:gd name="connsiteY39" fmla="*/ 148189 h 2510087"/>
                  <a:gd name="connsiteX40" fmla="*/ 38923 w 12045155"/>
                  <a:gd name="connsiteY40" fmla="*/ 157240 h 2510087"/>
                  <a:gd name="connsiteX0" fmla="*/ 379789 w 12386021"/>
                  <a:gd name="connsiteY0" fmla="*/ 157240 h 2510087"/>
                  <a:gd name="connsiteX1" fmla="*/ 345631 w 12386021"/>
                  <a:gd name="connsiteY1" fmla="*/ 229969 h 2510087"/>
                  <a:gd name="connsiteX2" fmla="*/ 8590649 w 12386021"/>
                  <a:gd name="connsiteY2" fmla="*/ 507371 h 2510087"/>
                  <a:gd name="connsiteX3" fmla="*/ 372513 w 12386021"/>
                  <a:gd name="connsiteY3" fmla="*/ 700450 h 2510087"/>
                  <a:gd name="connsiteX4" fmla="*/ 8652699 w 12386021"/>
                  <a:gd name="connsiteY4" fmla="*/ 777261 h 2510087"/>
                  <a:gd name="connsiteX5" fmla="*/ 421073 w 12386021"/>
                  <a:gd name="connsiteY5" fmla="*/ 937416 h 2510087"/>
                  <a:gd name="connsiteX6" fmla="*/ 1277874 w 12386021"/>
                  <a:gd name="connsiteY6" fmla="*/ 844973 h 2510087"/>
                  <a:gd name="connsiteX7" fmla="*/ 1972733 w 12386021"/>
                  <a:gd name="connsiteY7" fmla="*/ 878961 h 2510087"/>
                  <a:gd name="connsiteX8" fmla="*/ 2428743 w 12386021"/>
                  <a:gd name="connsiteY8" fmla="*/ 819473 h 2510087"/>
                  <a:gd name="connsiteX9" fmla="*/ 2906465 w 12386021"/>
                  <a:gd name="connsiteY9" fmla="*/ 819473 h 2510087"/>
                  <a:gd name="connsiteX10" fmla="*/ 3677334 w 12386021"/>
                  <a:gd name="connsiteY10" fmla="*/ 861967 h 2510087"/>
                  <a:gd name="connsiteX11" fmla="*/ 4556770 w 12386021"/>
                  <a:gd name="connsiteY11" fmla="*/ 844973 h 2510087"/>
                  <a:gd name="connsiteX12" fmla="*/ 5186488 w 12386021"/>
                  <a:gd name="connsiteY12" fmla="*/ 853479 h 2510087"/>
                  <a:gd name="connsiteX13" fmla="*/ 6022498 w 12386021"/>
                  <a:gd name="connsiteY13" fmla="*/ 853479 h 2510087"/>
                  <a:gd name="connsiteX14" fmla="*/ 7086511 w 12386021"/>
                  <a:gd name="connsiteY14" fmla="*/ 878979 h 2510087"/>
                  <a:gd name="connsiteX15" fmla="*/ 7835666 w 12386021"/>
                  <a:gd name="connsiteY15" fmla="*/ 870473 h 2510087"/>
                  <a:gd name="connsiteX16" fmla="*/ 8367661 w 12386021"/>
                  <a:gd name="connsiteY16" fmla="*/ 861967 h 2510087"/>
                  <a:gd name="connsiteX17" fmla="*/ 8988678 w 12386021"/>
                  <a:gd name="connsiteY17" fmla="*/ 1264715 h 2510087"/>
                  <a:gd name="connsiteX18" fmla="*/ 9558674 w 12386021"/>
                  <a:gd name="connsiteY18" fmla="*/ 2091547 h 2510087"/>
                  <a:gd name="connsiteX19" fmla="*/ 10490074 w 12386021"/>
                  <a:gd name="connsiteY19" fmla="*/ 2510086 h 2510087"/>
                  <a:gd name="connsiteX20" fmla="*/ 11536108 w 12386021"/>
                  <a:gd name="connsiteY20" fmla="*/ 2091549 h 2510087"/>
                  <a:gd name="connsiteX21" fmla="*/ 11827039 w 12386021"/>
                  <a:gd name="connsiteY21" fmla="*/ 1445814 h 2510087"/>
                  <a:gd name="connsiteX22" fmla="*/ 12137935 w 12386021"/>
                  <a:gd name="connsiteY22" fmla="*/ 999707 h 2510087"/>
                  <a:gd name="connsiteX23" fmla="*/ 12386021 w 12386021"/>
                  <a:gd name="connsiteY23" fmla="*/ 699393 h 2510087"/>
                  <a:gd name="connsiteX24" fmla="*/ 12386021 w 12386021"/>
                  <a:gd name="connsiteY24" fmla="*/ 261011 h 2510087"/>
                  <a:gd name="connsiteX25" fmla="*/ 11779705 w 12386021"/>
                  <a:gd name="connsiteY25" fmla="*/ 435586 h 2510087"/>
                  <a:gd name="connsiteX26" fmla="*/ 11399980 w 12386021"/>
                  <a:gd name="connsiteY26" fmla="*/ 1047471 h 2510087"/>
                  <a:gd name="connsiteX27" fmla="*/ 10943235 w 12386021"/>
                  <a:gd name="connsiteY27" fmla="*/ 1661632 h 2510087"/>
                  <a:gd name="connsiteX28" fmla="*/ 10375440 w 12386021"/>
                  <a:gd name="connsiteY28" fmla="*/ 1618415 h 2510087"/>
                  <a:gd name="connsiteX29" fmla="*/ 9868543 w 12386021"/>
                  <a:gd name="connsiteY29" fmla="*/ 1058846 h 2510087"/>
                  <a:gd name="connsiteX30" fmla="*/ 9393888 w 12386021"/>
                  <a:gd name="connsiteY30" fmla="*/ 581165 h 2510087"/>
                  <a:gd name="connsiteX31" fmla="*/ 8791089 w 12386021"/>
                  <a:gd name="connsiteY31" fmla="*/ 156695 h 2510087"/>
                  <a:gd name="connsiteX32" fmla="*/ 7976793 w 12386021"/>
                  <a:gd name="connsiteY32" fmla="*/ 105714 h 2510087"/>
                  <a:gd name="connsiteX33" fmla="*/ 7390502 w 12386021"/>
                  <a:gd name="connsiteY33" fmla="*/ 199189 h 2510087"/>
                  <a:gd name="connsiteX34" fmla="*/ 6683415 w 12386021"/>
                  <a:gd name="connsiteY34" fmla="*/ 146630 h 2510087"/>
                  <a:gd name="connsiteX35" fmla="*/ 6243075 w 12386021"/>
                  <a:gd name="connsiteY35" fmla="*/ 249658 h 2510087"/>
                  <a:gd name="connsiteX36" fmla="*/ 5523061 w 12386021"/>
                  <a:gd name="connsiteY36" fmla="*/ 292664 h 2510087"/>
                  <a:gd name="connsiteX37" fmla="*/ 4163353 w 12386021"/>
                  <a:gd name="connsiteY37" fmla="*/ 90799 h 2510087"/>
                  <a:gd name="connsiteX38" fmla="*/ 2711043 w 12386021"/>
                  <a:gd name="connsiteY38" fmla="*/ 156695 h 2510087"/>
                  <a:gd name="connsiteX39" fmla="*/ 919611 w 12386021"/>
                  <a:gd name="connsiteY39" fmla="*/ 148189 h 2510087"/>
                  <a:gd name="connsiteX40" fmla="*/ 379789 w 12386021"/>
                  <a:gd name="connsiteY40" fmla="*/ 157240 h 2510087"/>
                  <a:gd name="connsiteX0" fmla="*/ 379791 w 12386023"/>
                  <a:gd name="connsiteY0" fmla="*/ 157240 h 2510087"/>
                  <a:gd name="connsiteX1" fmla="*/ 345633 w 12386023"/>
                  <a:gd name="connsiteY1" fmla="*/ 229969 h 2510087"/>
                  <a:gd name="connsiteX2" fmla="*/ 8590651 w 12386023"/>
                  <a:gd name="connsiteY2" fmla="*/ 507371 h 2510087"/>
                  <a:gd name="connsiteX3" fmla="*/ 8697801 w 12386023"/>
                  <a:gd name="connsiteY3" fmla="*/ 591261 h 2510087"/>
                  <a:gd name="connsiteX4" fmla="*/ 8652701 w 12386023"/>
                  <a:gd name="connsiteY4" fmla="*/ 777261 h 2510087"/>
                  <a:gd name="connsiteX5" fmla="*/ 421075 w 12386023"/>
                  <a:gd name="connsiteY5" fmla="*/ 937416 h 2510087"/>
                  <a:gd name="connsiteX6" fmla="*/ 1277876 w 12386023"/>
                  <a:gd name="connsiteY6" fmla="*/ 844973 h 2510087"/>
                  <a:gd name="connsiteX7" fmla="*/ 1972735 w 12386023"/>
                  <a:gd name="connsiteY7" fmla="*/ 878961 h 2510087"/>
                  <a:gd name="connsiteX8" fmla="*/ 2428745 w 12386023"/>
                  <a:gd name="connsiteY8" fmla="*/ 819473 h 2510087"/>
                  <a:gd name="connsiteX9" fmla="*/ 2906467 w 12386023"/>
                  <a:gd name="connsiteY9" fmla="*/ 819473 h 2510087"/>
                  <a:gd name="connsiteX10" fmla="*/ 3677336 w 12386023"/>
                  <a:gd name="connsiteY10" fmla="*/ 861967 h 2510087"/>
                  <a:gd name="connsiteX11" fmla="*/ 4556772 w 12386023"/>
                  <a:gd name="connsiteY11" fmla="*/ 844973 h 2510087"/>
                  <a:gd name="connsiteX12" fmla="*/ 5186490 w 12386023"/>
                  <a:gd name="connsiteY12" fmla="*/ 853479 h 2510087"/>
                  <a:gd name="connsiteX13" fmla="*/ 6022500 w 12386023"/>
                  <a:gd name="connsiteY13" fmla="*/ 853479 h 2510087"/>
                  <a:gd name="connsiteX14" fmla="*/ 7086513 w 12386023"/>
                  <a:gd name="connsiteY14" fmla="*/ 878979 h 2510087"/>
                  <a:gd name="connsiteX15" fmla="*/ 7835668 w 12386023"/>
                  <a:gd name="connsiteY15" fmla="*/ 870473 h 2510087"/>
                  <a:gd name="connsiteX16" fmla="*/ 8367663 w 12386023"/>
                  <a:gd name="connsiteY16" fmla="*/ 861967 h 2510087"/>
                  <a:gd name="connsiteX17" fmla="*/ 8988680 w 12386023"/>
                  <a:gd name="connsiteY17" fmla="*/ 1264715 h 2510087"/>
                  <a:gd name="connsiteX18" fmla="*/ 9558676 w 12386023"/>
                  <a:gd name="connsiteY18" fmla="*/ 2091547 h 2510087"/>
                  <a:gd name="connsiteX19" fmla="*/ 10490076 w 12386023"/>
                  <a:gd name="connsiteY19" fmla="*/ 2510086 h 2510087"/>
                  <a:gd name="connsiteX20" fmla="*/ 11536110 w 12386023"/>
                  <a:gd name="connsiteY20" fmla="*/ 2091549 h 2510087"/>
                  <a:gd name="connsiteX21" fmla="*/ 11827041 w 12386023"/>
                  <a:gd name="connsiteY21" fmla="*/ 1445814 h 2510087"/>
                  <a:gd name="connsiteX22" fmla="*/ 12137937 w 12386023"/>
                  <a:gd name="connsiteY22" fmla="*/ 999707 h 2510087"/>
                  <a:gd name="connsiteX23" fmla="*/ 12386023 w 12386023"/>
                  <a:gd name="connsiteY23" fmla="*/ 699393 h 2510087"/>
                  <a:gd name="connsiteX24" fmla="*/ 12386023 w 12386023"/>
                  <a:gd name="connsiteY24" fmla="*/ 261011 h 2510087"/>
                  <a:gd name="connsiteX25" fmla="*/ 11779707 w 12386023"/>
                  <a:gd name="connsiteY25" fmla="*/ 435586 h 2510087"/>
                  <a:gd name="connsiteX26" fmla="*/ 11399982 w 12386023"/>
                  <a:gd name="connsiteY26" fmla="*/ 1047471 h 2510087"/>
                  <a:gd name="connsiteX27" fmla="*/ 10943237 w 12386023"/>
                  <a:gd name="connsiteY27" fmla="*/ 1661632 h 2510087"/>
                  <a:gd name="connsiteX28" fmla="*/ 10375442 w 12386023"/>
                  <a:gd name="connsiteY28" fmla="*/ 1618415 h 2510087"/>
                  <a:gd name="connsiteX29" fmla="*/ 9868545 w 12386023"/>
                  <a:gd name="connsiteY29" fmla="*/ 1058846 h 2510087"/>
                  <a:gd name="connsiteX30" fmla="*/ 9393890 w 12386023"/>
                  <a:gd name="connsiteY30" fmla="*/ 581165 h 2510087"/>
                  <a:gd name="connsiteX31" fmla="*/ 8791091 w 12386023"/>
                  <a:gd name="connsiteY31" fmla="*/ 156695 h 2510087"/>
                  <a:gd name="connsiteX32" fmla="*/ 7976795 w 12386023"/>
                  <a:gd name="connsiteY32" fmla="*/ 105714 h 2510087"/>
                  <a:gd name="connsiteX33" fmla="*/ 7390504 w 12386023"/>
                  <a:gd name="connsiteY33" fmla="*/ 199189 h 2510087"/>
                  <a:gd name="connsiteX34" fmla="*/ 6683417 w 12386023"/>
                  <a:gd name="connsiteY34" fmla="*/ 146630 h 2510087"/>
                  <a:gd name="connsiteX35" fmla="*/ 6243077 w 12386023"/>
                  <a:gd name="connsiteY35" fmla="*/ 249658 h 2510087"/>
                  <a:gd name="connsiteX36" fmla="*/ 5523063 w 12386023"/>
                  <a:gd name="connsiteY36" fmla="*/ 292664 h 2510087"/>
                  <a:gd name="connsiteX37" fmla="*/ 4163355 w 12386023"/>
                  <a:gd name="connsiteY37" fmla="*/ 90799 h 2510087"/>
                  <a:gd name="connsiteX38" fmla="*/ 2711045 w 12386023"/>
                  <a:gd name="connsiteY38" fmla="*/ 156695 h 2510087"/>
                  <a:gd name="connsiteX39" fmla="*/ 919613 w 12386023"/>
                  <a:gd name="connsiteY39" fmla="*/ 148189 h 2510087"/>
                  <a:gd name="connsiteX40" fmla="*/ 379791 w 12386023"/>
                  <a:gd name="connsiteY40" fmla="*/ 157240 h 2510087"/>
                  <a:gd name="connsiteX0" fmla="*/ 379791 w 12386023"/>
                  <a:gd name="connsiteY0" fmla="*/ 157240 h 2510087"/>
                  <a:gd name="connsiteX1" fmla="*/ 345633 w 12386023"/>
                  <a:gd name="connsiteY1" fmla="*/ 229969 h 2510087"/>
                  <a:gd name="connsiteX2" fmla="*/ 8676628 w 12386023"/>
                  <a:gd name="connsiteY2" fmla="*/ 434581 h 2510087"/>
                  <a:gd name="connsiteX3" fmla="*/ 8697801 w 12386023"/>
                  <a:gd name="connsiteY3" fmla="*/ 591261 h 2510087"/>
                  <a:gd name="connsiteX4" fmla="*/ 8652701 w 12386023"/>
                  <a:gd name="connsiteY4" fmla="*/ 777261 h 2510087"/>
                  <a:gd name="connsiteX5" fmla="*/ 421075 w 12386023"/>
                  <a:gd name="connsiteY5" fmla="*/ 937416 h 2510087"/>
                  <a:gd name="connsiteX6" fmla="*/ 1277876 w 12386023"/>
                  <a:gd name="connsiteY6" fmla="*/ 844973 h 2510087"/>
                  <a:gd name="connsiteX7" fmla="*/ 1972735 w 12386023"/>
                  <a:gd name="connsiteY7" fmla="*/ 878961 h 2510087"/>
                  <a:gd name="connsiteX8" fmla="*/ 2428745 w 12386023"/>
                  <a:gd name="connsiteY8" fmla="*/ 819473 h 2510087"/>
                  <a:gd name="connsiteX9" fmla="*/ 2906467 w 12386023"/>
                  <a:gd name="connsiteY9" fmla="*/ 819473 h 2510087"/>
                  <a:gd name="connsiteX10" fmla="*/ 3677336 w 12386023"/>
                  <a:gd name="connsiteY10" fmla="*/ 861967 h 2510087"/>
                  <a:gd name="connsiteX11" fmla="*/ 4556772 w 12386023"/>
                  <a:gd name="connsiteY11" fmla="*/ 844973 h 2510087"/>
                  <a:gd name="connsiteX12" fmla="*/ 5186490 w 12386023"/>
                  <a:gd name="connsiteY12" fmla="*/ 853479 h 2510087"/>
                  <a:gd name="connsiteX13" fmla="*/ 6022500 w 12386023"/>
                  <a:gd name="connsiteY13" fmla="*/ 853479 h 2510087"/>
                  <a:gd name="connsiteX14" fmla="*/ 7086513 w 12386023"/>
                  <a:gd name="connsiteY14" fmla="*/ 878979 h 2510087"/>
                  <a:gd name="connsiteX15" fmla="*/ 7835668 w 12386023"/>
                  <a:gd name="connsiteY15" fmla="*/ 870473 h 2510087"/>
                  <a:gd name="connsiteX16" fmla="*/ 8367663 w 12386023"/>
                  <a:gd name="connsiteY16" fmla="*/ 861967 h 2510087"/>
                  <a:gd name="connsiteX17" fmla="*/ 8988680 w 12386023"/>
                  <a:gd name="connsiteY17" fmla="*/ 1264715 h 2510087"/>
                  <a:gd name="connsiteX18" fmla="*/ 9558676 w 12386023"/>
                  <a:gd name="connsiteY18" fmla="*/ 2091547 h 2510087"/>
                  <a:gd name="connsiteX19" fmla="*/ 10490076 w 12386023"/>
                  <a:gd name="connsiteY19" fmla="*/ 2510086 h 2510087"/>
                  <a:gd name="connsiteX20" fmla="*/ 11536110 w 12386023"/>
                  <a:gd name="connsiteY20" fmla="*/ 2091549 h 2510087"/>
                  <a:gd name="connsiteX21" fmla="*/ 11827041 w 12386023"/>
                  <a:gd name="connsiteY21" fmla="*/ 1445814 h 2510087"/>
                  <a:gd name="connsiteX22" fmla="*/ 12137937 w 12386023"/>
                  <a:gd name="connsiteY22" fmla="*/ 999707 h 2510087"/>
                  <a:gd name="connsiteX23" fmla="*/ 12386023 w 12386023"/>
                  <a:gd name="connsiteY23" fmla="*/ 699393 h 2510087"/>
                  <a:gd name="connsiteX24" fmla="*/ 12386023 w 12386023"/>
                  <a:gd name="connsiteY24" fmla="*/ 261011 h 2510087"/>
                  <a:gd name="connsiteX25" fmla="*/ 11779707 w 12386023"/>
                  <a:gd name="connsiteY25" fmla="*/ 435586 h 2510087"/>
                  <a:gd name="connsiteX26" fmla="*/ 11399982 w 12386023"/>
                  <a:gd name="connsiteY26" fmla="*/ 1047471 h 2510087"/>
                  <a:gd name="connsiteX27" fmla="*/ 10943237 w 12386023"/>
                  <a:gd name="connsiteY27" fmla="*/ 1661632 h 2510087"/>
                  <a:gd name="connsiteX28" fmla="*/ 10375442 w 12386023"/>
                  <a:gd name="connsiteY28" fmla="*/ 1618415 h 2510087"/>
                  <a:gd name="connsiteX29" fmla="*/ 9868545 w 12386023"/>
                  <a:gd name="connsiteY29" fmla="*/ 1058846 h 2510087"/>
                  <a:gd name="connsiteX30" fmla="*/ 9393890 w 12386023"/>
                  <a:gd name="connsiteY30" fmla="*/ 581165 h 2510087"/>
                  <a:gd name="connsiteX31" fmla="*/ 8791091 w 12386023"/>
                  <a:gd name="connsiteY31" fmla="*/ 156695 h 2510087"/>
                  <a:gd name="connsiteX32" fmla="*/ 7976795 w 12386023"/>
                  <a:gd name="connsiteY32" fmla="*/ 105714 h 2510087"/>
                  <a:gd name="connsiteX33" fmla="*/ 7390504 w 12386023"/>
                  <a:gd name="connsiteY33" fmla="*/ 199189 h 2510087"/>
                  <a:gd name="connsiteX34" fmla="*/ 6683417 w 12386023"/>
                  <a:gd name="connsiteY34" fmla="*/ 146630 h 2510087"/>
                  <a:gd name="connsiteX35" fmla="*/ 6243077 w 12386023"/>
                  <a:gd name="connsiteY35" fmla="*/ 249658 h 2510087"/>
                  <a:gd name="connsiteX36" fmla="*/ 5523063 w 12386023"/>
                  <a:gd name="connsiteY36" fmla="*/ 292664 h 2510087"/>
                  <a:gd name="connsiteX37" fmla="*/ 4163355 w 12386023"/>
                  <a:gd name="connsiteY37" fmla="*/ 90799 h 2510087"/>
                  <a:gd name="connsiteX38" fmla="*/ 2711045 w 12386023"/>
                  <a:gd name="connsiteY38" fmla="*/ 156695 h 2510087"/>
                  <a:gd name="connsiteX39" fmla="*/ 919613 w 12386023"/>
                  <a:gd name="connsiteY39" fmla="*/ 148189 h 2510087"/>
                  <a:gd name="connsiteX40" fmla="*/ 379791 w 12386023"/>
                  <a:gd name="connsiteY40" fmla="*/ 157240 h 2510087"/>
                  <a:gd name="connsiteX0" fmla="*/ 8705072 w 12386023"/>
                  <a:gd name="connsiteY0" fmla="*/ 284622 h 2510087"/>
                  <a:gd name="connsiteX1" fmla="*/ 345633 w 12386023"/>
                  <a:gd name="connsiteY1" fmla="*/ 229969 h 2510087"/>
                  <a:gd name="connsiteX2" fmla="*/ 8676628 w 12386023"/>
                  <a:gd name="connsiteY2" fmla="*/ 434581 h 2510087"/>
                  <a:gd name="connsiteX3" fmla="*/ 8697801 w 12386023"/>
                  <a:gd name="connsiteY3" fmla="*/ 591261 h 2510087"/>
                  <a:gd name="connsiteX4" fmla="*/ 8652701 w 12386023"/>
                  <a:gd name="connsiteY4" fmla="*/ 777261 h 2510087"/>
                  <a:gd name="connsiteX5" fmla="*/ 421075 w 12386023"/>
                  <a:gd name="connsiteY5" fmla="*/ 937416 h 2510087"/>
                  <a:gd name="connsiteX6" fmla="*/ 1277876 w 12386023"/>
                  <a:gd name="connsiteY6" fmla="*/ 844973 h 2510087"/>
                  <a:gd name="connsiteX7" fmla="*/ 1972735 w 12386023"/>
                  <a:gd name="connsiteY7" fmla="*/ 878961 h 2510087"/>
                  <a:gd name="connsiteX8" fmla="*/ 2428745 w 12386023"/>
                  <a:gd name="connsiteY8" fmla="*/ 819473 h 2510087"/>
                  <a:gd name="connsiteX9" fmla="*/ 2906467 w 12386023"/>
                  <a:gd name="connsiteY9" fmla="*/ 819473 h 2510087"/>
                  <a:gd name="connsiteX10" fmla="*/ 3677336 w 12386023"/>
                  <a:gd name="connsiteY10" fmla="*/ 861967 h 2510087"/>
                  <a:gd name="connsiteX11" fmla="*/ 4556772 w 12386023"/>
                  <a:gd name="connsiteY11" fmla="*/ 844973 h 2510087"/>
                  <a:gd name="connsiteX12" fmla="*/ 5186490 w 12386023"/>
                  <a:gd name="connsiteY12" fmla="*/ 853479 h 2510087"/>
                  <a:gd name="connsiteX13" fmla="*/ 6022500 w 12386023"/>
                  <a:gd name="connsiteY13" fmla="*/ 853479 h 2510087"/>
                  <a:gd name="connsiteX14" fmla="*/ 7086513 w 12386023"/>
                  <a:gd name="connsiteY14" fmla="*/ 878979 h 2510087"/>
                  <a:gd name="connsiteX15" fmla="*/ 7835668 w 12386023"/>
                  <a:gd name="connsiteY15" fmla="*/ 870473 h 2510087"/>
                  <a:gd name="connsiteX16" fmla="*/ 8367663 w 12386023"/>
                  <a:gd name="connsiteY16" fmla="*/ 861967 h 2510087"/>
                  <a:gd name="connsiteX17" fmla="*/ 8988680 w 12386023"/>
                  <a:gd name="connsiteY17" fmla="*/ 1264715 h 2510087"/>
                  <a:gd name="connsiteX18" fmla="*/ 9558676 w 12386023"/>
                  <a:gd name="connsiteY18" fmla="*/ 2091547 h 2510087"/>
                  <a:gd name="connsiteX19" fmla="*/ 10490076 w 12386023"/>
                  <a:gd name="connsiteY19" fmla="*/ 2510086 h 2510087"/>
                  <a:gd name="connsiteX20" fmla="*/ 11536110 w 12386023"/>
                  <a:gd name="connsiteY20" fmla="*/ 2091549 h 2510087"/>
                  <a:gd name="connsiteX21" fmla="*/ 11827041 w 12386023"/>
                  <a:gd name="connsiteY21" fmla="*/ 1445814 h 2510087"/>
                  <a:gd name="connsiteX22" fmla="*/ 12137937 w 12386023"/>
                  <a:gd name="connsiteY22" fmla="*/ 999707 h 2510087"/>
                  <a:gd name="connsiteX23" fmla="*/ 12386023 w 12386023"/>
                  <a:gd name="connsiteY23" fmla="*/ 699393 h 2510087"/>
                  <a:gd name="connsiteX24" fmla="*/ 12386023 w 12386023"/>
                  <a:gd name="connsiteY24" fmla="*/ 261011 h 2510087"/>
                  <a:gd name="connsiteX25" fmla="*/ 11779707 w 12386023"/>
                  <a:gd name="connsiteY25" fmla="*/ 435586 h 2510087"/>
                  <a:gd name="connsiteX26" fmla="*/ 11399982 w 12386023"/>
                  <a:gd name="connsiteY26" fmla="*/ 1047471 h 2510087"/>
                  <a:gd name="connsiteX27" fmla="*/ 10943237 w 12386023"/>
                  <a:gd name="connsiteY27" fmla="*/ 1661632 h 2510087"/>
                  <a:gd name="connsiteX28" fmla="*/ 10375442 w 12386023"/>
                  <a:gd name="connsiteY28" fmla="*/ 1618415 h 2510087"/>
                  <a:gd name="connsiteX29" fmla="*/ 9868545 w 12386023"/>
                  <a:gd name="connsiteY29" fmla="*/ 1058846 h 2510087"/>
                  <a:gd name="connsiteX30" fmla="*/ 9393890 w 12386023"/>
                  <a:gd name="connsiteY30" fmla="*/ 581165 h 2510087"/>
                  <a:gd name="connsiteX31" fmla="*/ 8791091 w 12386023"/>
                  <a:gd name="connsiteY31" fmla="*/ 156695 h 2510087"/>
                  <a:gd name="connsiteX32" fmla="*/ 7976795 w 12386023"/>
                  <a:gd name="connsiteY32" fmla="*/ 105714 h 2510087"/>
                  <a:gd name="connsiteX33" fmla="*/ 7390504 w 12386023"/>
                  <a:gd name="connsiteY33" fmla="*/ 199189 h 2510087"/>
                  <a:gd name="connsiteX34" fmla="*/ 6683417 w 12386023"/>
                  <a:gd name="connsiteY34" fmla="*/ 146630 h 2510087"/>
                  <a:gd name="connsiteX35" fmla="*/ 6243077 w 12386023"/>
                  <a:gd name="connsiteY35" fmla="*/ 249658 h 2510087"/>
                  <a:gd name="connsiteX36" fmla="*/ 5523063 w 12386023"/>
                  <a:gd name="connsiteY36" fmla="*/ 292664 h 2510087"/>
                  <a:gd name="connsiteX37" fmla="*/ 4163355 w 12386023"/>
                  <a:gd name="connsiteY37" fmla="*/ 90799 h 2510087"/>
                  <a:gd name="connsiteX38" fmla="*/ 2711045 w 12386023"/>
                  <a:gd name="connsiteY38" fmla="*/ 156695 h 2510087"/>
                  <a:gd name="connsiteX39" fmla="*/ 919613 w 12386023"/>
                  <a:gd name="connsiteY39" fmla="*/ 148189 h 2510087"/>
                  <a:gd name="connsiteX40" fmla="*/ 8705072 w 12386023"/>
                  <a:gd name="connsiteY40" fmla="*/ 284622 h 2510087"/>
                  <a:gd name="connsiteX0" fmla="*/ 8705072 w 12386023"/>
                  <a:gd name="connsiteY0" fmla="*/ 284622 h 2510087"/>
                  <a:gd name="connsiteX1" fmla="*/ 8742561 w 12386023"/>
                  <a:gd name="connsiteY1" fmla="*/ 521128 h 2510087"/>
                  <a:gd name="connsiteX2" fmla="*/ 8676628 w 12386023"/>
                  <a:gd name="connsiteY2" fmla="*/ 434581 h 2510087"/>
                  <a:gd name="connsiteX3" fmla="*/ 8697801 w 12386023"/>
                  <a:gd name="connsiteY3" fmla="*/ 591261 h 2510087"/>
                  <a:gd name="connsiteX4" fmla="*/ 8652701 w 12386023"/>
                  <a:gd name="connsiteY4" fmla="*/ 777261 h 2510087"/>
                  <a:gd name="connsiteX5" fmla="*/ 421075 w 12386023"/>
                  <a:gd name="connsiteY5" fmla="*/ 937416 h 2510087"/>
                  <a:gd name="connsiteX6" fmla="*/ 1277876 w 12386023"/>
                  <a:gd name="connsiteY6" fmla="*/ 844973 h 2510087"/>
                  <a:gd name="connsiteX7" fmla="*/ 1972735 w 12386023"/>
                  <a:gd name="connsiteY7" fmla="*/ 878961 h 2510087"/>
                  <a:gd name="connsiteX8" fmla="*/ 2428745 w 12386023"/>
                  <a:gd name="connsiteY8" fmla="*/ 819473 h 2510087"/>
                  <a:gd name="connsiteX9" fmla="*/ 2906467 w 12386023"/>
                  <a:gd name="connsiteY9" fmla="*/ 819473 h 2510087"/>
                  <a:gd name="connsiteX10" fmla="*/ 3677336 w 12386023"/>
                  <a:gd name="connsiteY10" fmla="*/ 861967 h 2510087"/>
                  <a:gd name="connsiteX11" fmla="*/ 4556772 w 12386023"/>
                  <a:gd name="connsiteY11" fmla="*/ 844973 h 2510087"/>
                  <a:gd name="connsiteX12" fmla="*/ 5186490 w 12386023"/>
                  <a:gd name="connsiteY12" fmla="*/ 853479 h 2510087"/>
                  <a:gd name="connsiteX13" fmla="*/ 6022500 w 12386023"/>
                  <a:gd name="connsiteY13" fmla="*/ 853479 h 2510087"/>
                  <a:gd name="connsiteX14" fmla="*/ 7086513 w 12386023"/>
                  <a:gd name="connsiteY14" fmla="*/ 878979 h 2510087"/>
                  <a:gd name="connsiteX15" fmla="*/ 7835668 w 12386023"/>
                  <a:gd name="connsiteY15" fmla="*/ 870473 h 2510087"/>
                  <a:gd name="connsiteX16" fmla="*/ 8367663 w 12386023"/>
                  <a:gd name="connsiteY16" fmla="*/ 861967 h 2510087"/>
                  <a:gd name="connsiteX17" fmla="*/ 8988680 w 12386023"/>
                  <a:gd name="connsiteY17" fmla="*/ 1264715 h 2510087"/>
                  <a:gd name="connsiteX18" fmla="*/ 9558676 w 12386023"/>
                  <a:gd name="connsiteY18" fmla="*/ 2091547 h 2510087"/>
                  <a:gd name="connsiteX19" fmla="*/ 10490076 w 12386023"/>
                  <a:gd name="connsiteY19" fmla="*/ 2510086 h 2510087"/>
                  <a:gd name="connsiteX20" fmla="*/ 11536110 w 12386023"/>
                  <a:gd name="connsiteY20" fmla="*/ 2091549 h 2510087"/>
                  <a:gd name="connsiteX21" fmla="*/ 11827041 w 12386023"/>
                  <a:gd name="connsiteY21" fmla="*/ 1445814 h 2510087"/>
                  <a:gd name="connsiteX22" fmla="*/ 12137937 w 12386023"/>
                  <a:gd name="connsiteY22" fmla="*/ 999707 h 2510087"/>
                  <a:gd name="connsiteX23" fmla="*/ 12386023 w 12386023"/>
                  <a:gd name="connsiteY23" fmla="*/ 699393 h 2510087"/>
                  <a:gd name="connsiteX24" fmla="*/ 12386023 w 12386023"/>
                  <a:gd name="connsiteY24" fmla="*/ 261011 h 2510087"/>
                  <a:gd name="connsiteX25" fmla="*/ 11779707 w 12386023"/>
                  <a:gd name="connsiteY25" fmla="*/ 435586 h 2510087"/>
                  <a:gd name="connsiteX26" fmla="*/ 11399982 w 12386023"/>
                  <a:gd name="connsiteY26" fmla="*/ 1047471 h 2510087"/>
                  <a:gd name="connsiteX27" fmla="*/ 10943237 w 12386023"/>
                  <a:gd name="connsiteY27" fmla="*/ 1661632 h 2510087"/>
                  <a:gd name="connsiteX28" fmla="*/ 10375442 w 12386023"/>
                  <a:gd name="connsiteY28" fmla="*/ 1618415 h 2510087"/>
                  <a:gd name="connsiteX29" fmla="*/ 9868545 w 12386023"/>
                  <a:gd name="connsiteY29" fmla="*/ 1058846 h 2510087"/>
                  <a:gd name="connsiteX30" fmla="*/ 9393890 w 12386023"/>
                  <a:gd name="connsiteY30" fmla="*/ 581165 h 2510087"/>
                  <a:gd name="connsiteX31" fmla="*/ 8791091 w 12386023"/>
                  <a:gd name="connsiteY31" fmla="*/ 156695 h 2510087"/>
                  <a:gd name="connsiteX32" fmla="*/ 7976795 w 12386023"/>
                  <a:gd name="connsiteY32" fmla="*/ 105714 h 2510087"/>
                  <a:gd name="connsiteX33" fmla="*/ 7390504 w 12386023"/>
                  <a:gd name="connsiteY33" fmla="*/ 199189 h 2510087"/>
                  <a:gd name="connsiteX34" fmla="*/ 6683417 w 12386023"/>
                  <a:gd name="connsiteY34" fmla="*/ 146630 h 2510087"/>
                  <a:gd name="connsiteX35" fmla="*/ 6243077 w 12386023"/>
                  <a:gd name="connsiteY35" fmla="*/ 249658 h 2510087"/>
                  <a:gd name="connsiteX36" fmla="*/ 5523063 w 12386023"/>
                  <a:gd name="connsiteY36" fmla="*/ 292664 h 2510087"/>
                  <a:gd name="connsiteX37" fmla="*/ 4163355 w 12386023"/>
                  <a:gd name="connsiteY37" fmla="*/ 90799 h 2510087"/>
                  <a:gd name="connsiteX38" fmla="*/ 2711045 w 12386023"/>
                  <a:gd name="connsiteY38" fmla="*/ 156695 h 2510087"/>
                  <a:gd name="connsiteX39" fmla="*/ 919613 w 12386023"/>
                  <a:gd name="connsiteY39" fmla="*/ 148189 h 2510087"/>
                  <a:gd name="connsiteX40" fmla="*/ 8705072 w 12386023"/>
                  <a:gd name="connsiteY40" fmla="*/ 284622 h 2510087"/>
                  <a:gd name="connsiteX0" fmla="*/ 8705072 w 12386023"/>
                  <a:gd name="connsiteY0" fmla="*/ 284622 h 2510087"/>
                  <a:gd name="connsiteX1" fmla="*/ 8742561 w 12386023"/>
                  <a:gd name="connsiteY1" fmla="*/ 521128 h 2510087"/>
                  <a:gd name="connsiteX2" fmla="*/ 8676628 w 12386023"/>
                  <a:gd name="connsiteY2" fmla="*/ 434581 h 2510087"/>
                  <a:gd name="connsiteX3" fmla="*/ 8697801 w 12386023"/>
                  <a:gd name="connsiteY3" fmla="*/ 591261 h 2510087"/>
                  <a:gd name="connsiteX4" fmla="*/ 8652701 w 12386023"/>
                  <a:gd name="connsiteY4" fmla="*/ 777261 h 2510087"/>
                  <a:gd name="connsiteX5" fmla="*/ 421075 w 12386023"/>
                  <a:gd name="connsiteY5" fmla="*/ 937416 h 2510087"/>
                  <a:gd name="connsiteX6" fmla="*/ 1277876 w 12386023"/>
                  <a:gd name="connsiteY6" fmla="*/ 844973 h 2510087"/>
                  <a:gd name="connsiteX7" fmla="*/ 1972735 w 12386023"/>
                  <a:gd name="connsiteY7" fmla="*/ 878961 h 2510087"/>
                  <a:gd name="connsiteX8" fmla="*/ 2428745 w 12386023"/>
                  <a:gd name="connsiteY8" fmla="*/ 819473 h 2510087"/>
                  <a:gd name="connsiteX9" fmla="*/ 2906467 w 12386023"/>
                  <a:gd name="connsiteY9" fmla="*/ 819473 h 2510087"/>
                  <a:gd name="connsiteX10" fmla="*/ 3677336 w 12386023"/>
                  <a:gd name="connsiteY10" fmla="*/ 861967 h 2510087"/>
                  <a:gd name="connsiteX11" fmla="*/ 4556772 w 12386023"/>
                  <a:gd name="connsiteY11" fmla="*/ 844973 h 2510087"/>
                  <a:gd name="connsiteX12" fmla="*/ 5186490 w 12386023"/>
                  <a:gd name="connsiteY12" fmla="*/ 853479 h 2510087"/>
                  <a:gd name="connsiteX13" fmla="*/ 6022500 w 12386023"/>
                  <a:gd name="connsiteY13" fmla="*/ 853479 h 2510087"/>
                  <a:gd name="connsiteX14" fmla="*/ 7086513 w 12386023"/>
                  <a:gd name="connsiteY14" fmla="*/ 878979 h 2510087"/>
                  <a:gd name="connsiteX15" fmla="*/ 7835668 w 12386023"/>
                  <a:gd name="connsiteY15" fmla="*/ 870473 h 2510087"/>
                  <a:gd name="connsiteX16" fmla="*/ 8367663 w 12386023"/>
                  <a:gd name="connsiteY16" fmla="*/ 861967 h 2510087"/>
                  <a:gd name="connsiteX17" fmla="*/ 8988680 w 12386023"/>
                  <a:gd name="connsiteY17" fmla="*/ 1264715 h 2510087"/>
                  <a:gd name="connsiteX18" fmla="*/ 9558676 w 12386023"/>
                  <a:gd name="connsiteY18" fmla="*/ 2091547 h 2510087"/>
                  <a:gd name="connsiteX19" fmla="*/ 10490076 w 12386023"/>
                  <a:gd name="connsiteY19" fmla="*/ 2510086 h 2510087"/>
                  <a:gd name="connsiteX20" fmla="*/ 11536110 w 12386023"/>
                  <a:gd name="connsiteY20" fmla="*/ 2091549 h 2510087"/>
                  <a:gd name="connsiteX21" fmla="*/ 11827041 w 12386023"/>
                  <a:gd name="connsiteY21" fmla="*/ 1445814 h 2510087"/>
                  <a:gd name="connsiteX22" fmla="*/ 12137937 w 12386023"/>
                  <a:gd name="connsiteY22" fmla="*/ 999707 h 2510087"/>
                  <a:gd name="connsiteX23" fmla="*/ 12386023 w 12386023"/>
                  <a:gd name="connsiteY23" fmla="*/ 699393 h 2510087"/>
                  <a:gd name="connsiteX24" fmla="*/ 12386023 w 12386023"/>
                  <a:gd name="connsiteY24" fmla="*/ 261011 h 2510087"/>
                  <a:gd name="connsiteX25" fmla="*/ 11779707 w 12386023"/>
                  <a:gd name="connsiteY25" fmla="*/ 435586 h 2510087"/>
                  <a:gd name="connsiteX26" fmla="*/ 11399982 w 12386023"/>
                  <a:gd name="connsiteY26" fmla="*/ 1047471 h 2510087"/>
                  <a:gd name="connsiteX27" fmla="*/ 10943237 w 12386023"/>
                  <a:gd name="connsiteY27" fmla="*/ 1661632 h 2510087"/>
                  <a:gd name="connsiteX28" fmla="*/ 10375442 w 12386023"/>
                  <a:gd name="connsiteY28" fmla="*/ 1618415 h 2510087"/>
                  <a:gd name="connsiteX29" fmla="*/ 9868545 w 12386023"/>
                  <a:gd name="connsiteY29" fmla="*/ 1058846 h 2510087"/>
                  <a:gd name="connsiteX30" fmla="*/ 9393890 w 12386023"/>
                  <a:gd name="connsiteY30" fmla="*/ 581165 h 2510087"/>
                  <a:gd name="connsiteX31" fmla="*/ 8791091 w 12386023"/>
                  <a:gd name="connsiteY31" fmla="*/ 156695 h 2510087"/>
                  <a:gd name="connsiteX32" fmla="*/ 7976795 w 12386023"/>
                  <a:gd name="connsiteY32" fmla="*/ 105714 h 2510087"/>
                  <a:gd name="connsiteX33" fmla="*/ 7390504 w 12386023"/>
                  <a:gd name="connsiteY33" fmla="*/ 199189 h 2510087"/>
                  <a:gd name="connsiteX34" fmla="*/ 6683417 w 12386023"/>
                  <a:gd name="connsiteY34" fmla="*/ 146630 h 2510087"/>
                  <a:gd name="connsiteX35" fmla="*/ 6243077 w 12386023"/>
                  <a:gd name="connsiteY35" fmla="*/ 249658 h 2510087"/>
                  <a:gd name="connsiteX36" fmla="*/ 5523063 w 12386023"/>
                  <a:gd name="connsiteY36" fmla="*/ 292664 h 2510087"/>
                  <a:gd name="connsiteX37" fmla="*/ 4163355 w 12386023"/>
                  <a:gd name="connsiteY37" fmla="*/ 90799 h 2510087"/>
                  <a:gd name="connsiteX38" fmla="*/ 2711045 w 12386023"/>
                  <a:gd name="connsiteY38" fmla="*/ 156695 h 2510087"/>
                  <a:gd name="connsiteX39" fmla="*/ 8714713 w 12386023"/>
                  <a:gd name="connsiteY39" fmla="*/ 457545 h 2510087"/>
                  <a:gd name="connsiteX40" fmla="*/ 8705072 w 12386023"/>
                  <a:gd name="connsiteY40" fmla="*/ 284622 h 2510087"/>
                  <a:gd name="connsiteX0" fmla="*/ 8705072 w 12386023"/>
                  <a:gd name="connsiteY0" fmla="*/ 215157 h 2440622"/>
                  <a:gd name="connsiteX1" fmla="*/ 8742561 w 12386023"/>
                  <a:gd name="connsiteY1" fmla="*/ 451663 h 2440622"/>
                  <a:gd name="connsiteX2" fmla="*/ 8676628 w 12386023"/>
                  <a:gd name="connsiteY2" fmla="*/ 365116 h 2440622"/>
                  <a:gd name="connsiteX3" fmla="*/ 8697801 w 12386023"/>
                  <a:gd name="connsiteY3" fmla="*/ 521796 h 2440622"/>
                  <a:gd name="connsiteX4" fmla="*/ 8652701 w 12386023"/>
                  <a:gd name="connsiteY4" fmla="*/ 707796 h 2440622"/>
                  <a:gd name="connsiteX5" fmla="*/ 421075 w 12386023"/>
                  <a:gd name="connsiteY5" fmla="*/ 867951 h 2440622"/>
                  <a:gd name="connsiteX6" fmla="*/ 1277876 w 12386023"/>
                  <a:gd name="connsiteY6" fmla="*/ 775508 h 2440622"/>
                  <a:gd name="connsiteX7" fmla="*/ 1972735 w 12386023"/>
                  <a:gd name="connsiteY7" fmla="*/ 809496 h 2440622"/>
                  <a:gd name="connsiteX8" fmla="*/ 2428745 w 12386023"/>
                  <a:gd name="connsiteY8" fmla="*/ 750008 h 2440622"/>
                  <a:gd name="connsiteX9" fmla="*/ 2906467 w 12386023"/>
                  <a:gd name="connsiteY9" fmla="*/ 750008 h 2440622"/>
                  <a:gd name="connsiteX10" fmla="*/ 3677336 w 12386023"/>
                  <a:gd name="connsiteY10" fmla="*/ 792502 h 2440622"/>
                  <a:gd name="connsiteX11" fmla="*/ 4556772 w 12386023"/>
                  <a:gd name="connsiteY11" fmla="*/ 775508 h 2440622"/>
                  <a:gd name="connsiteX12" fmla="*/ 5186490 w 12386023"/>
                  <a:gd name="connsiteY12" fmla="*/ 784014 h 2440622"/>
                  <a:gd name="connsiteX13" fmla="*/ 6022500 w 12386023"/>
                  <a:gd name="connsiteY13" fmla="*/ 784014 h 2440622"/>
                  <a:gd name="connsiteX14" fmla="*/ 7086513 w 12386023"/>
                  <a:gd name="connsiteY14" fmla="*/ 809514 h 2440622"/>
                  <a:gd name="connsiteX15" fmla="*/ 7835668 w 12386023"/>
                  <a:gd name="connsiteY15" fmla="*/ 801008 h 2440622"/>
                  <a:gd name="connsiteX16" fmla="*/ 8367663 w 12386023"/>
                  <a:gd name="connsiteY16" fmla="*/ 792502 h 2440622"/>
                  <a:gd name="connsiteX17" fmla="*/ 8988680 w 12386023"/>
                  <a:gd name="connsiteY17" fmla="*/ 1195250 h 2440622"/>
                  <a:gd name="connsiteX18" fmla="*/ 9558676 w 12386023"/>
                  <a:gd name="connsiteY18" fmla="*/ 2022082 h 2440622"/>
                  <a:gd name="connsiteX19" fmla="*/ 10490076 w 12386023"/>
                  <a:gd name="connsiteY19" fmla="*/ 2440621 h 2440622"/>
                  <a:gd name="connsiteX20" fmla="*/ 11536110 w 12386023"/>
                  <a:gd name="connsiteY20" fmla="*/ 2022084 h 2440622"/>
                  <a:gd name="connsiteX21" fmla="*/ 11827041 w 12386023"/>
                  <a:gd name="connsiteY21" fmla="*/ 1376349 h 2440622"/>
                  <a:gd name="connsiteX22" fmla="*/ 12137937 w 12386023"/>
                  <a:gd name="connsiteY22" fmla="*/ 930242 h 2440622"/>
                  <a:gd name="connsiteX23" fmla="*/ 12386023 w 12386023"/>
                  <a:gd name="connsiteY23" fmla="*/ 629928 h 2440622"/>
                  <a:gd name="connsiteX24" fmla="*/ 12386023 w 12386023"/>
                  <a:gd name="connsiteY24" fmla="*/ 191546 h 2440622"/>
                  <a:gd name="connsiteX25" fmla="*/ 11779707 w 12386023"/>
                  <a:gd name="connsiteY25" fmla="*/ 366121 h 2440622"/>
                  <a:gd name="connsiteX26" fmla="*/ 11399982 w 12386023"/>
                  <a:gd name="connsiteY26" fmla="*/ 978006 h 2440622"/>
                  <a:gd name="connsiteX27" fmla="*/ 10943237 w 12386023"/>
                  <a:gd name="connsiteY27" fmla="*/ 1592167 h 2440622"/>
                  <a:gd name="connsiteX28" fmla="*/ 10375442 w 12386023"/>
                  <a:gd name="connsiteY28" fmla="*/ 1548950 h 2440622"/>
                  <a:gd name="connsiteX29" fmla="*/ 9868545 w 12386023"/>
                  <a:gd name="connsiteY29" fmla="*/ 989381 h 2440622"/>
                  <a:gd name="connsiteX30" fmla="*/ 9393890 w 12386023"/>
                  <a:gd name="connsiteY30" fmla="*/ 511700 h 2440622"/>
                  <a:gd name="connsiteX31" fmla="*/ 8791091 w 12386023"/>
                  <a:gd name="connsiteY31" fmla="*/ 87230 h 2440622"/>
                  <a:gd name="connsiteX32" fmla="*/ 7976795 w 12386023"/>
                  <a:gd name="connsiteY32" fmla="*/ 36249 h 2440622"/>
                  <a:gd name="connsiteX33" fmla="*/ 7390504 w 12386023"/>
                  <a:gd name="connsiteY33" fmla="*/ 129724 h 2440622"/>
                  <a:gd name="connsiteX34" fmla="*/ 6683417 w 12386023"/>
                  <a:gd name="connsiteY34" fmla="*/ 77165 h 2440622"/>
                  <a:gd name="connsiteX35" fmla="*/ 6243077 w 12386023"/>
                  <a:gd name="connsiteY35" fmla="*/ 180193 h 2440622"/>
                  <a:gd name="connsiteX36" fmla="*/ 5523063 w 12386023"/>
                  <a:gd name="connsiteY36" fmla="*/ 223199 h 2440622"/>
                  <a:gd name="connsiteX37" fmla="*/ 4163355 w 12386023"/>
                  <a:gd name="connsiteY37" fmla="*/ 21334 h 2440622"/>
                  <a:gd name="connsiteX38" fmla="*/ 9073222 w 12386023"/>
                  <a:gd name="connsiteY38" fmla="*/ 815126 h 2440622"/>
                  <a:gd name="connsiteX39" fmla="*/ 8714713 w 12386023"/>
                  <a:gd name="connsiteY39" fmla="*/ 388080 h 2440622"/>
                  <a:gd name="connsiteX40" fmla="*/ 8705072 w 12386023"/>
                  <a:gd name="connsiteY40" fmla="*/ 215157 h 2440622"/>
                  <a:gd name="connsiteX0" fmla="*/ 8705072 w 12386023"/>
                  <a:gd name="connsiteY0" fmla="*/ 200377 h 2425842"/>
                  <a:gd name="connsiteX1" fmla="*/ 8742561 w 12386023"/>
                  <a:gd name="connsiteY1" fmla="*/ 436883 h 2425842"/>
                  <a:gd name="connsiteX2" fmla="*/ 8676628 w 12386023"/>
                  <a:gd name="connsiteY2" fmla="*/ 350336 h 2425842"/>
                  <a:gd name="connsiteX3" fmla="*/ 8697801 w 12386023"/>
                  <a:gd name="connsiteY3" fmla="*/ 507016 h 2425842"/>
                  <a:gd name="connsiteX4" fmla="*/ 8652701 w 12386023"/>
                  <a:gd name="connsiteY4" fmla="*/ 693016 h 2425842"/>
                  <a:gd name="connsiteX5" fmla="*/ 421075 w 12386023"/>
                  <a:gd name="connsiteY5" fmla="*/ 853171 h 2425842"/>
                  <a:gd name="connsiteX6" fmla="*/ 1277876 w 12386023"/>
                  <a:gd name="connsiteY6" fmla="*/ 760728 h 2425842"/>
                  <a:gd name="connsiteX7" fmla="*/ 1972735 w 12386023"/>
                  <a:gd name="connsiteY7" fmla="*/ 794716 h 2425842"/>
                  <a:gd name="connsiteX8" fmla="*/ 2428745 w 12386023"/>
                  <a:gd name="connsiteY8" fmla="*/ 735228 h 2425842"/>
                  <a:gd name="connsiteX9" fmla="*/ 2906467 w 12386023"/>
                  <a:gd name="connsiteY9" fmla="*/ 735228 h 2425842"/>
                  <a:gd name="connsiteX10" fmla="*/ 3677336 w 12386023"/>
                  <a:gd name="connsiteY10" fmla="*/ 777722 h 2425842"/>
                  <a:gd name="connsiteX11" fmla="*/ 4556772 w 12386023"/>
                  <a:gd name="connsiteY11" fmla="*/ 760728 h 2425842"/>
                  <a:gd name="connsiteX12" fmla="*/ 5186490 w 12386023"/>
                  <a:gd name="connsiteY12" fmla="*/ 769234 h 2425842"/>
                  <a:gd name="connsiteX13" fmla="*/ 6022500 w 12386023"/>
                  <a:gd name="connsiteY13" fmla="*/ 769234 h 2425842"/>
                  <a:gd name="connsiteX14" fmla="*/ 7086513 w 12386023"/>
                  <a:gd name="connsiteY14" fmla="*/ 794734 h 2425842"/>
                  <a:gd name="connsiteX15" fmla="*/ 7835668 w 12386023"/>
                  <a:gd name="connsiteY15" fmla="*/ 786228 h 2425842"/>
                  <a:gd name="connsiteX16" fmla="*/ 8367663 w 12386023"/>
                  <a:gd name="connsiteY16" fmla="*/ 777722 h 2425842"/>
                  <a:gd name="connsiteX17" fmla="*/ 8988680 w 12386023"/>
                  <a:gd name="connsiteY17" fmla="*/ 1180470 h 2425842"/>
                  <a:gd name="connsiteX18" fmla="*/ 9558676 w 12386023"/>
                  <a:gd name="connsiteY18" fmla="*/ 2007302 h 2425842"/>
                  <a:gd name="connsiteX19" fmla="*/ 10490076 w 12386023"/>
                  <a:gd name="connsiteY19" fmla="*/ 2425841 h 2425842"/>
                  <a:gd name="connsiteX20" fmla="*/ 11536110 w 12386023"/>
                  <a:gd name="connsiteY20" fmla="*/ 2007304 h 2425842"/>
                  <a:gd name="connsiteX21" fmla="*/ 11827041 w 12386023"/>
                  <a:gd name="connsiteY21" fmla="*/ 1361569 h 2425842"/>
                  <a:gd name="connsiteX22" fmla="*/ 12137937 w 12386023"/>
                  <a:gd name="connsiteY22" fmla="*/ 915462 h 2425842"/>
                  <a:gd name="connsiteX23" fmla="*/ 12386023 w 12386023"/>
                  <a:gd name="connsiteY23" fmla="*/ 615148 h 2425842"/>
                  <a:gd name="connsiteX24" fmla="*/ 12386023 w 12386023"/>
                  <a:gd name="connsiteY24" fmla="*/ 176766 h 2425842"/>
                  <a:gd name="connsiteX25" fmla="*/ 11779707 w 12386023"/>
                  <a:gd name="connsiteY25" fmla="*/ 351341 h 2425842"/>
                  <a:gd name="connsiteX26" fmla="*/ 11399982 w 12386023"/>
                  <a:gd name="connsiteY26" fmla="*/ 963226 h 2425842"/>
                  <a:gd name="connsiteX27" fmla="*/ 10943237 w 12386023"/>
                  <a:gd name="connsiteY27" fmla="*/ 1577387 h 2425842"/>
                  <a:gd name="connsiteX28" fmla="*/ 10375442 w 12386023"/>
                  <a:gd name="connsiteY28" fmla="*/ 1534170 h 2425842"/>
                  <a:gd name="connsiteX29" fmla="*/ 9868545 w 12386023"/>
                  <a:gd name="connsiteY29" fmla="*/ 974601 h 2425842"/>
                  <a:gd name="connsiteX30" fmla="*/ 9393890 w 12386023"/>
                  <a:gd name="connsiteY30" fmla="*/ 496920 h 2425842"/>
                  <a:gd name="connsiteX31" fmla="*/ 8791091 w 12386023"/>
                  <a:gd name="connsiteY31" fmla="*/ 72450 h 2425842"/>
                  <a:gd name="connsiteX32" fmla="*/ 7976795 w 12386023"/>
                  <a:gd name="connsiteY32" fmla="*/ 21469 h 2425842"/>
                  <a:gd name="connsiteX33" fmla="*/ 7390504 w 12386023"/>
                  <a:gd name="connsiteY33" fmla="*/ 114944 h 2425842"/>
                  <a:gd name="connsiteX34" fmla="*/ 6683417 w 12386023"/>
                  <a:gd name="connsiteY34" fmla="*/ 62385 h 2425842"/>
                  <a:gd name="connsiteX35" fmla="*/ 6243077 w 12386023"/>
                  <a:gd name="connsiteY35" fmla="*/ 165413 h 2425842"/>
                  <a:gd name="connsiteX36" fmla="*/ 5523063 w 12386023"/>
                  <a:gd name="connsiteY36" fmla="*/ 208419 h 2425842"/>
                  <a:gd name="connsiteX37" fmla="*/ 8892001 w 12386023"/>
                  <a:gd name="connsiteY37" fmla="*/ 497882 h 2425842"/>
                  <a:gd name="connsiteX38" fmla="*/ 9073222 w 12386023"/>
                  <a:gd name="connsiteY38" fmla="*/ 800346 h 2425842"/>
                  <a:gd name="connsiteX39" fmla="*/ 8714713 w 12386023"/>
                  <a:gd name="connsiteY39" fmla="*/ 373300 h 2425842"/>
                  <a:gd name="connsiteX40" fmla="*/ 8705072 w 12386023"/>
                  <a:gd name="connsiteY40" fmla="*/ 200377 h 2425842"/>
                  <a:gd name="connsiteX0" fmla="*/ 8705072 w 12386023"/>
                  <a:gd name="connsiteY0" fmla="*/ 200377 h 2425842"/>
                  <a:gd name="connsiteX1" fmla="*/ 8742561 w 12386023"/>
                  <a:gd name="connsiteY1" fmla="*/ 436883 h 2425842"/>
                  <a:gd name="connsiteX2" fmla="*/ 8676628 w 12386023"/>
                  <a:gd name="connsiteY2" fmla="*/ 350336 h 2425842"/>
                  <a:gd name="connsiteX3" fmla="*/ 8697801 w 12386023"/>
                  <a:gd name="connsiteY3" fmla="*/ 507016 h 2425842"/>
                  <a:gd name="connsiteX4" fmla="*/ 8652701 w 12386023"/>
                  <a:gd name="connsiteY4" fmla="*/ 693016 h 2425842"/>
                  <a:gd name="connsiteX5" fmla="*/ 421075 w 12386023"/>
                  <a:gd name="connsiteY5" fmla="*/ 853171 h 2425842"/>
                  <a:gd name="connsiteX6" fmla="*/ 1277876 w 12386023"/>
                  <a:gd name="connsiteY6" fmla="*/ 760728 h 2425842"/>
                  <a:gd name="connsiteX7" fmla="*/ 1972735 w 12386023"/>
                  <a:gd name="connsiteY7" fmla="*/ 794716 h 2425842"/>
                  <a:gd name="connsiteX8" fmla="*/ 2428745 w 12386023"/>
                  <a:gd name="connsiteY8" fmla="*/ 735228 h 2425842"/>
                  <a:gd name="connsiteX9" fmla="*/ 2906467 w 12386023"/>
                  <a:gd name="connsiteY9" fmla="*/ 735228 h 2425842"/>
                  <a:gd name="connsiteX10" fmla="*/ 3677336 w 12386023"/>
                  <a:gd name="connsiteY10" fmla="*/ 777722 h 2425842"/>
                  <a:gd name="connsiteX11" fmla="*/ 4556772 w 12386023"/>
                  <a:gd name="connsiteY11" fmla="*/ 760728 h 2425842"/>
                  <a:gd name="connsiteX12" fmla="*/ 5186490 w 12386023"/>
                  <a:gd name="connsiteY12" fmla="*/ 769234 h 2425842"/>
                  <a:gd name="connsiteX13" fmla="*/ 6022500 w 12386023"/>
                  <a:gd name="connsiteY13" fmla="*/ 769234 h 2425842"/>
                  <a:gd name="connsiteX14" fmla="*/ 7086513 w 12386023"/>
                  <a:gd name="connsiteY14" fmla="*/ 794734 h 2425842"/>
                  <a:gd name="connsiteX15" fmla="*/ 7835668 w 12386023"/>
                  <a:gd name="connsiteY15" fmla="*/ 786228 h 2425842"/>
                  <a:gd name="connsiteX16" fmla="*/ 8367663 w 12386023"/>
                  <a:gd name="connsiteY16" fmla="*/ 777722 h 2425842"/>
                  <a:gd name="connsiteX17" fmla="*/ 8988680 w 12386023"/>
                  <a:gd name="connsiteY17" fmla="*/ 1180470 h 2425842"/>
                  <a:gd name="connsiteX18" fmla="*/ 9558676 w 12386023"/>
                  <a:gd name="connsiteY18" fmla="*/ 2007302 h 2425842"/>
                  <a:gd name="connsiteX19" fmla="*/ 10490076 w 12386023"/>
                  <a:gd name="connsiteY19" fmla="*/ 2425841 h 2425842"/>
                  <a:gd name="connsiteX20" fmla="*/ 11536110 w 12386023"/>
                  <a:gd name="connsiteY20" fmla="*/ 2007304 h 2425842"/>
                  <a:gd name="connsiteX21" fmla="*/ 11827041 w 12386023"/>
                  <a:gd name="connsiteY21" fmla="*/ 1361569 h 2425842"/>
                  <a:gd name="connsiteX22" fmla="*/ 12137937 w 12386023"/>
                  <a:gd name="connsiteY22" fmla="*/ 915462 h 2425842"/>
                  <a:gd name="connsiteX23" fmla="*/ 12386023 w 12386023"/>
                  <a:gd name="connsiteY23" fmla="*/ 615148 h 2425842"/>
                  <a:gd name="connsiteX24" fmla="*/ 12386023 w 12386023"/>
                  <a:gd name="connsiteY24" fmla="*/ 176766 h 2425842"/>
                  <a:gd name="connsiteX25" fmla="*/ 11779707 w 12386023"/>
                  <a:gd name="connsiteY25" fmla="*/ 351341 h 2425842"/>
                  <a:gd name="connsiteX26" fmla="*/ 11399982 w 12386023"/>
                  <a:gd name="connsiteY26" fmla="*/ 963226 h 2425842"/>
                  <a:gd name="connsiteX27" fmla="*/ 10943237 w 12386023"/>
                  <a:gd name="connsiteY27" fmla="*/ 1577387 h 2425842"/>
                  <a:gd name="connsiteX28" fmla="*/ 10375442 w 12386023"/>
                  <a:gd name="connsiteY28" fmla="*/ 1534170 h 2425842"/>
                  <a:gd name="connsiteX29" fmla="*/ 9868545 w 12386023"/>
                  <a:gd name="connsiteY29" fmla="*/ 974601 h 2425842"/>
                  <a:gd name="connsiteX30" fmla="*/ 9393890 w 12386023"/>
                  <a:gd name="connsiteY30" fmla="*/ 496920 h 2425842"/>
                  <a:gd name="connsiteX31" fmla="*/ 8791091 w 12386023"/>
                  <a:gd name="connsiteY31" fmla="*/ 72450 h 2425842"/>
                  <a:gd name="connsiteX32" fmla="*/ 7976795 w 12386023"/>
                  <a:gd name="connsiteY32" fmla="*/ 21469 h 2425842"/>
                  <a:gd name="connsiteX33" fmla="*/ 7390504 w 12386023"/>
                  <a:gd name="connsiteY33" fmla="*/ 114944 h 2425842"/>
                  <a:gd name="connsiteX34" fmla="*/ 6683417 w 12386023"/>
                  <a:gd name="connsiteY34" fmla="*/ 62385 h 2425842"/>
                  <a:gd name="connsiteX35" fmla="*/ 6243077 w 12386023"/>
                  <a:gd name="connsiteY35" fmla="*/ 165413 h 2425842"/>
                  <a:gd name="connsiteX36" fmla="*/ 9248668 w 12386023"/>
                  <a:gd name="connsiteY36" fmla="*/ 535967 h 2425842"/>
                  <a:gd name="connsiteX37" fmla="*/ 8892001 w 12386023"/>
                  <a:gd name="connsiteY37" fmla="*/ 497882 h 2425842"/>
                  <a:gd name="connsiteX38" fmla="*/ 9073222 w 12386023"/>
                  <a:gd name="connsiteY38" fmla="*/ 800346 h 2425842"/>
                  <a:gd name="connsiteX39" fmla="*/ 8714713 w 12386023"/>
                  <a:gd name="connsiteY39" fmla="*/ 373300 h 2425842"/>
                  <a:gd name="connsiteX40" fmla="*/ 8705072 w 12386023"/>
                  <a:gd name="connsiteY40" fmla="*/ 200377 h 2425842"/>
                  <a:gd name="connsiteX0" fmla="*/ 8705072 w 12386023"/>
                  <a:gd name="connsiteY0" fmla="*/ 148058 h 2373523"/>
                  <a:gd name="connsiteX1" fmla="*/ 8742561 w 12386023"/>
                  <a:gd name="connsiteY1" fmla="*/ 384564 h 2373523"/>
                  <a:gd name="connsiteX2" fmla="*/ 8676628 w 12386023"/>
                  <a:gd name="connsiteY2" fmla="*/ 298017 h 2373523"/>
                  <a:gd name="connsiteX3" fmla="*/ 8697801 w 12386023"/>
                  <a:gd name="connsiteY3" fmla="*/ 454697 h 2373523"/>
                  <a:gd name="connsiteX4" fmla="*/ 8652701 w 12386023"/>
                  <a:gd name="connsiteY4" fmla="*/ 640697 h 2373523"/>
                  <a:gd name="connsiteX5" fmla="*/ 421075 w 12386023"/>
                  <a:gd name="connsiteY5" fmla="*/ 800852 h 2373523"/>
                  <a:gd name="connsiteX6" fmla="*/ 1277876 w 12386023"/>
                  <a:gd name="connsiteY6" fmla="*/ 708409 h 2373523"/>
                  <a:gd name="connsiteX7" fmla="*/ 1972735 w 12386023"/>
                  <a:gd name="connsiteY7" fmla="*/ 742397 h 2373523"/>
                  <a:gd name="connsiteX8" fmla="*/ 2428745 w 12386023"/>
                  <a:gd name="connsiteY8" fmla="*/ 682909 h 2373523"/>
                  <a:gd name="connsiteX9" fmla="*/ 2906467 w 12386023"/>
                  <a:gd name="connsiteY9" fmla="*/ 682909 h 2373523"/>
                  <a:gd name="connsiteX10" fmla="*/ 3677336 w 12386023"/>
                  <a:gd name="connsiteY10" fmla="*/ 725403 h 2373523"/>
                  <a:gd name="connsiteX11" fmla="*/ 4556772 w 12386023"/>
                  <a:gd name="connsiteY11" fmla="*/ 708409 h 2373523"/>
                  <a:gd name="connsiteX12" fmla="*/ 5186490 w 12386023"/>
                  <a:gd name="connsiteY12" fmla="*/ 716915 h 2373523"/>
                  <a:gd name="connsiteX13" fmla="*/ 6022500 w 12386023"/>
                  <a:gd name="connsiteY13" fmla="*/ 716915 h 2373523"/>
                  <a:gd name="connsiteX14" fmla="*/ 7086513 w 12386023"/>
                  <a:gd name="connsiteY14" fmla="*/ 742415 h 2373523"/>
                  <a:gd name="connsiteX15" fmla="*/ 7835668 w 12386023"/>
                  <a:gd name="connsiteY15" fmla="*/ 733909 h 2373523"/>
                  <a:gd name="connsiteX16" fmla="*/ 8367663 w 12386023"/>
                  <a:gd name="connsiteY16" fmla="*/ 725403 h 2373523"/>
                  <a:gd name="connsiteX17" fmla="*/ 8988680 w 12386023"/>
                  <a:gd name="connsiteY17" fmla="*/ 1128151 h 2373523"/>
                  <a:gd name="connsiteX18" fmla="*/ 9558676 w 12386023"/>
                  <a:gd name="connsiteY18" fmla="*/ 1954983 h 2373523"/>
                  <a:gd name="connsiteX19" fmla="*/ 10490076 w 12386023"/>
                  <a:gd name="connsiteY19" fmla="*/ 2373522 h 2373523"/>
                  <a:gd name="connsiteX20" fmla="*/ 11536110 w 12386023"/>
                  <a:gd name="connsiteY20" fmla="*/ 1954985 h 2373523"/>
                  <a:gd name="connsiteX21" fmla="*/ 11827041 w 12386023"/>
                  <a:gd name="connsiteY21" fmla="*/ 1309250 h 2373523"/>
                  <a:gd name="connsiteX22" fmla="*/ 12137937 w 12386023"/>
                  <a:gd name="connsiteY22" fmla="*/ 863143 h 2373523"/>
                  <a:gd name="connsiteX23" fmla="*/ 12386023 w 12386023"/>
                  <a:gd name="connsiteY23" fmla="*/ 562829 h 2373523"/>
                  <a:gd name="connsiteX24" fmla="*/ 12386023 w 12386023"/>
                  <a:gd name="connsiteY24" fmla="*/ 124447 h 2373523"/>
                  <a:gd name="connsiteX25" fmla="*/ 11779707 w 12386023"/>
                  <a:gd name="connsiteY25" fmla="*/ 299022 h 2373523"/>
                  <a:gd name="connsiteX26" fmla="*/ 11399982 w 12386023"/>
                  <a:gd name="connsiteY26" fmla="*/ 910907 h 2373523"/>
                  <a:gd name="connsiteX27" fmla="*/ 10943237 w 12386023"/>
                  <a:gd name="connsiteY27" fmla="*/ 1525068 h 2373523"/>
                  <a:gd name="connsiteX28" fmla="*/ 10375442 w 12386023"/>
                  <a:gd name="connsiteY28" fmla="*/ 1481851 h 2373523"/>
                  <a:gd name="connsiteX29" fmla="*/ 9868545 w 12386023"/>
                  <a:gd name="connsiteY29" fmla="*/ 922282 h 2373523"/>
                  <a:gd name="connsiteX30" fmla="*/ 9393890 w 12386023"/>
                  <a:gd name="connsiteY30" fmla="*/ 444601 h 2373523"/>
                  <a:gd name="connsiteX31" fmla="*/ 8791091 w 12386023"/>
                  <a:gd name="connsiteY31" fmla="*/ 20131 h 2373523"/>
                  <a:gd name="connsiteX32" fmla="*/ 7390504 w 12386023"/>
                  <a:gd name="connsiteY32" fmla="*/ 62625 h 2373523"/>
                  <a:gd name="connsiteX33" fmla="*/ 6683417 w 12386023"/>
                  <a:gd name="connsiteY33" fmla="*/ 10066 h 2373523"/>
                  <a:gd name="connsiteX34" fmla="*/ 6243077 w 12386023"/>
                  <a:gd name="connsiteY34" fmla="*/ 113094 h 2373523"/>
                  <a:gd name="connsiteX35" fmla="*/ 9248668 w 12386023"/>
                  <a:gd name="connsiteY35" fmla="*/ 483648 h 2373523"/>
                  <a:gd name="connsiteX36" fmla="*/ 8892001 w 12386023"/>
                  <a:gd name="connsiteY36" fmla="*/ 445563 h 2373523"/>
                  <a:gd name="connsiteX37" fmla="*/ 9073222 w 12386023"/>
                  <a:gd name="connsiteY37" fmla="*/ 748027 h 2373523"/>
                  <a:gd name="connsiteX38" fmla="*/ 8714713 w 12386023"/>
                  <a:gd name="connsiteY38" fmla="*/ 320981 h 2373523"/>
                  <a:gd name="connsiteX39" fmla="*/ 8705072 w 12386023"/>
                  <a:gd name="connsiteY39" fmla="*/ 148058 h 2373523"/>
                  <a:gd name="connsiteX0" fmla="*/ 8705072 w 12386023"/>
                  <a:gd name="connsiteY0" fmla="*/ 148058 h 2373523"/>
                  <a:gd name="connsiteX1" fmla="*/ 8742561 w 12386023"/>
                  <a:gd name="connsiteY1" fmla="*/ 384564 h 2373523"/>
                  <a:gd name="connsiteX2" fmla="*/ 8676628 w 12386023"/>
                  <a:gd name="connsiteY2" fmla="*/ 298017 h 2373523"/>
                  <a:gd name="connsiteX3" fmla="*/ 8697801 w 12386023"/>
                  <a:gd name="connsiteY3" fmla="*/ 454697 h 2373523"/>
                  <a:gd name="connsiteX4" fmla="*/ 8652701 w 12386023"/>
                  <a:gd name="connsiteY4" fmla="*/ 640697 h 2373523"/>
                  <a:gd name="connsiteX5" fmla="*/ 421075 w 12386023"/>
                  <a:gd name="connsiteY5" fmla="*/ 800852 h 2373523"/>
                  <a:gd name="connsiteX6" fmla="*/ 1277876 w 12386023"/>
                  <a:gd name="connsiteY6" fmla="*/ 708409 h 2373523"/>
                  <a:gd name="connsiteX7" fmla="*/ 1972735 w 12386023"/>
                  <a:gd name="connsiteY7" fmla="*/ 742397 h 2373523"/>
                  <a:gd name="connsiteX8" fmla="*/ 2428745 w 12386023"/>
                  <a:gd name="connsiteY8" fmla="*/ 682909 h 2373523"/>
                  <a:gd name="connsiteX9" fmla="*/ 2906467 w 12386023"/>
                  <a:gd name="connsiteY9" fmla="*/ 682909 h 2373523"/>
                  <a:gd name="connsiteX10" fmla="*/ 3677336 w 12386023"/>
                  <a:gd name="connsiteY10" fmla="*/ 725403 h 2373523"/>
                  <a:gd name="connsiteX11" fmla="*/ 4556772 w 12386023"/>
                  <a:gd name="connsiteY11" fmla="*/ 708409 h 2373523"/>
                  <a:gd name="connsiteX12" fmla="*/ 5186490 w 12386023"/>
                  <a:gd name="connsiteY12" fmla="*/ 716915 h 2373523"/>
                  <a:gd name="connsiteX13" fmla="*/ 6022500 w 12386023"/>
                  <a:gd name="connsiteY13" fmla="*/ 716915 h 2373523"/>
                  <a:gd name="connsiteX14" fmla="*/ 7086513 w 12386023"/>
                  <a:gd name="connsiteY14" fmla="*/ 742415 h 2373523"/>
                  <a:gd name="connsiteX15" fmla="*/ 7835668 w 12386023"/>
                  <a:gd name="connsiteY15" fmla="*/ 733909 h 2373523"/>
                  <a:gd name="connsiteX16" fmla="*/ 8367663 w 12386023"/>
                  <a:gd name="connsiteY16" fmla="*/ 725403 h 2373523"/>
                  <a:gd name="connsiteX17" fmla="*/ 8988680 w 12386023"/>
                  <a:gd name="connsiteY17" fmla="*/ 1128151 h 2373523"/>
                  <a:gd name="connsiteX18" fmla="*/ 9558676 w 12386023"/>
                  <a:gd name="connsiteY18" fmla="*/ 1954983 h 2373523"/>
                  <a:gd name="connsiteX19" fmla="*/ 10490076 w 12386023"/>
                  <a:gd name="connsiteY19" fmla="*/ 2373522 h 2373523"/>
                  <a:gd name="connsiteX20" fmla="*/ 11536110 w 12386023"/>
                  <a:gd name="connsiteY20" fmla="*/ 1954985 h 2373523"/>
                  <a:gd name="connsiteX21" fmla="*/ 11827041 w 12386023"/>
                  <a:gd name="connsiteY21" fmla="*/ 1309250 h 2373523"/>
                  <a:gd name="connsiteX22" fmla="*/ 12137937 w 12386023"/>
                  <a:gd name="connsiteY22" fmla="*/ 863143 h 2373523"/>
                  <a:gd name="connsiteX23" fmla="*/ 12386023 w 12386023"/>
                  <a:gd name="connsiteY23" fmla="*/ 562829 h 2373523"/>
                  <a:gd name="connsiteX24" fmla="*/ 12386023 w 12386023"/>
                  <a:gd name="connsiteY24" fmla="*/ 124447 h 2373523"/>
                  <a:gd name="connsiteX25" fmla="*/ 11779707 w 12386023"/>
                  <a:gd name="connsiteY25" fmla="*/ 299022 h 2373523"/>
                  <a:gd name="connsiteX26" fmla="*/ 11399982 w 12386023"/>
                  <a:gd name="connsiteY26" fmla="*/ 910907 h 2373523"/>
                  <a:gd name="connsiteX27" fmla="*/ 10943237 w 12386023"/>
                  <a:gd name="connsiteY27" fmla="*/ 1525068 h 2373523"/>
                  <a:gd name="connsiteX28" fmla="*/ 10375442 w 12386023"/>
                  <a:gd name="connsiteY28" fmla="*/ 1481851 h 2373523"/>
                  <a:gd name="connsiteX29" fmla="*/ 9868545 w 12386023"/>
                  <a:gd name="connsiteY29" fmla="*/ 922282 h 2373523"/>
                  <a:gd name="connsiteX30" fmla="*/ 9393890 w 12386023"/>
                  <a:gd name="connsiteY30" fmla="*/ 444601 h 2373523"/>
                  <a:gd name="connsiteX31" fmla="*/ 8791091 w 12386023"/>
                  <a:gd name="connsiteY31" fmla="*/ 20131 h 2373523"/>
                  <a:gd name="connsiteX32" fmla="*/ 7390504 w 12386023"/>
                  <a:gd name="connsiteY32" fmla="*/ 62625 h 2373523"/>
                  <a:gd name="connsiteX33" fmla="*/ 6243077 w 12386023"/>
                  <a:gd name="connsiteY33" fmla="*/ 113094 h 2373523"/>
                  <a:gd name="connsiteX34" fmla="*/ 9248668 w 12386023"/>
                  <a:gd name="connsiteY34" fmla="*/ 483648 h 2373523"/>
                  <a:gd name="connsiteX35" fmla="*/ 8892001 w 12386023"/>
                  <a:gd name="connsiteY35" fmla="*/ 445563 h 2373523"/>
                  <a:gd name="connsiteX36" fmla="*/ 9073222 w 12386023"/>
                  <a:gd name="connsiteY36" fmla="*/ 748027 h 2373523"/>
                  <a:gd name="connsiteX37" fmla="*/ 8714713 w 12386023"/>
                  <a:gd name="connsiteY37" fmla="*/ 320981 h 2373523"/>
                  <a:gd name="connsiteX38" fmla="*/ 8705072 w 12386023"/>
                  <a:gd name="connsiteY38" fmla="*/ 148058 h 2373523"/>
                  <a:gd name="connsiteX0" fmla="*/ 8705072 w 12386023"/>
                  <a:gd name="connsiteY0" fmla="*/ 148058 h 2373523"/>
                  <a:gd name="connsiteX1" fmla="*/ 8742561 w 12386023"/>
                  <a:gd name="connsiteY1" fmla="*/ 384564 h 2373523"/>
                  <a:gd name="connsiteX2" fmla="*/ 8676628 w 12386023"/>
                  <a:gd name="connsiteY2" fmla="*/ 298017 h 2373523"/>
                  <a:gd name="connsiteX3" fmla="*/ 8697801 w 12386023"/>
                  <a:gd name="connsiteY3" fmla="*/ 454697 h 2373523"/>
                  <a:gd name="connsiteX4" fmla="*/ 8652701 w 12386023"/>
                  <a:gd name="connsiteY4" fmla="*/ 640697 h 2373523"/>
                  <a:gd name="connsiteX5" fmla="*/ 421075 w 12386023"/>
                  <a:gd name="connsiteY5" fmla="*/ 800852 h 2373523"/>
                  <a:gd name="connsiteX6" fmla="*/ 1277876 w 12386023"/>
                  <a:gd name="connsiteY6" fmla="*/ 708409 h 2373523"/>
                  <a:gd name="connsiteX7" fmla="*/ 1972735 w 12386023"/>
                  <a:gd name="connsiteY7" fmla="*/ 742397 h 2373523"/>
                  <a:gd name="connsiteX8" fmla="*/ 2428745 w 12386023"/>
                  <a:gd name="connsiteY8" fmla="*/ 682909 h 2373523"/>
                  <a:gd name="connsiteX9" fmla="*/ 2906467 w 12386023"/>
                  <a:gd name="connsiteY9" fmla="*/ 682909 h 2373523"/>
                  <a:gd name="connsiteX10" fmla="*/ 3677336 w 12386023"/>
                  <a:gd name="connsiteY10" fmla="*/ 725403 h 2373523"/>
                  <a:gd name="connsiteX11" fmla="*/ 4556772 w 12386023"/>
                  <a:gd name="connsiteY11" fmla="*/ 708409 h 2373523"/>
                  <a:gd name="connsiteX12" fmla="*/ 5186490 w 12386023"/>
                  <a:gd name="connsiteY12" fmla="*/ 716915 h 2373523"/>
                  <a:gd name="connsiteX13" fmla="*/ 6022500 w 12386023"/>
                  <a:gd name="connsiteY13" fmla="*/ 716915 h 2373523"/>
                  <a:gd name="connsiteX14" fmla="*/ 7086513 w 12386023"/>
                  <a:gd name="connsiteY14" fmla="*/ 742415 h 2373523"/>
                  <a:gd name="connsiteX15" fmla="*/ 7835668 w 12386023"/>
                  <a:gd name="connsiteY15" fmla="*/ 733909 h 2373523"/>
                  <a:gd name="connsiteX16" fmla="*/ 8367663 w 12386023"/>
                  <a:gd name="connsiteY16" fmla="*/ 725403 h 2373523"/>
                  <a:gd name="connsiteX17" fmla="*/ 8988680 w 12386023"/>
                  <a:gd name="connsiteY17" fmla="*/ 1128151 h 2373523"/>
                  <a:gd name="connsiteX18" fmla="*/ 9558676 w 12386023"/>
                  <a:gd name="connsiteY18" fmla="*/ 1954983 h 2373523"/>
                  <a:gd name="connsiteX19" fmla="*/ 10490076 w 12386023"/>
                  <a:gd name="connsiteY19" fmla="*/ 2373522 h 2373523"/>
                  <a:gd name="connsiteX20" fmla="*/ 11536110 w 12386023"/>
                  <a:gd name="connsiteY20" fmla="*/ 1954985 h 2373523"/>
                  <a:gd name="connsiteX21" fmla="*/ 11827041 w 12386023"/>
                  <a:gd name="connsiteY21" fmla="*/ 1309250 h 2373523"/>
                  <a:gd name="connsiteX22" fmla="*/ 12137937 w 12386023"/>
                  <a:gd name="connsiteY22" fmla="*/ 863143 h 2373523"/>
                  <a:gd name="connsiteX23" fmla="*/ 12386023 w 12386023"/>
                  <a:gd name="connsiteY23" fmla="*/ 562829 h 2373523"/>
                  <a:gd name="connsiteX24" fmla="*/ 12386023 w 12386023"/>
                  <a:gd name="connsiteY24" fmla="*/ 124447 h 2373523"/>
                  <a:gd name="connsiteX25" fmla="*/ 11779707 w 12386023"/>
                  <a:gd name="connsiteY25" fmla="*/ 299022 h 2373523"/>
                  <a:gd name="connsiteX26" fmla="*/ 11399982 w 12386023"/>
                  <a:gd name="connsiteY26" fmla="*/ 910907 h 2373523"/>
                  <a:gd name="connsiteX27" fmla="*/ 10943237 w 12386023"/>
                  <a:gd name="connsiteY27" fmla="*/ 1525068 h 2373523"/>
                  <a:gd name="connsiteX28" fmla="*/ 10375442 w 12386023"/>
                  <a:gd name="connsiteY28" fmla="*/ 1481851 h 2373523"/>
                  <a:gd name="connsiteX29" fmla="*/ 9868545 w 12386023"/>
                  <a:gd name="connsiteY29" fmla="*/ 922282 h 2373523"/>
                  <a:gd name="connsiteX30" fmla="*/ 9393890 w 12386023"/>
                  <a:gd name="connsiteY30" fmla="*/ 444601 h 2373523"/>
                  <a:gd name="connsiteX31" fmla="*/ 8791091 w 12386023"/>
                  <a:gd name="connsiteY31" fmla="*/ 20131 h 2373523"/>
                  <a:gd name="connsiteX32" fmla="*/ 7390504 w 12386023"/>
                  <a:gd name="connsiteY32" fmla="*/ 62625 h 2373523"/>
                  <a:gd name="connsiteX33" fmla="*/ 9248668 w 12386023"/>
                  <a:gd name="connsiteY33" fmla="*/ 483648 h 2373523"/>
                  <a:gd name="connsiteX34" fmla="*/ 8892001 w 12386023"/>
                  <a:gd name="connsiteY34" fmla="*/ 445563 h 2373523"/>
                  <a:gd name="connsiteX35" fmla="*/ 9073222 w 12386023"/>
                  <a:gd name="connsiteY35" fmla="*/ 748027 h 2373523"/>
                  <a:gd name="connsiteX36" fmla="*/ 8714713 w 12386023"/>
                  <a:gd name="connsiteY36" fmla="*/ 320981 h 2373523"/>
                  <a:gd name="connsiteX37" fmla="*/ 8705072 w 12386023"/>
                  <a:gd name="connsiteY37" fmla="*/ 148058 h 2373523"/>
                  <a:gd name="connsiteX0" fmla="*/ 8705072 w 12386023"/>
                  <a:gd name="connsiteY0" fmla="*/ 148058 h 2373523"/>
                  <a:gd name="connsiteX1" fmla="*/ 8742561 w 12386023"/>
                  <a:gd name="connsiteY1" fmla="*/ 384564 h 2373523"/>
                  <a:gd name="connsiteX2" fmla="*/ 8676628 w 12386023"/>
                  <a:gd name="connsiteY2" fmla="*/ 298017 h 2373523"/>
                  <a:gd name="connsiteX3" fmla="*/ 8697801 w 12386023"/>
                  <a:gd name="connsiteY3" fmla="*/ 454697 h 2373523"/>
                  <a:gd name="connsiteX4" fmla="*/ 8652701 w 12386023"/>
                  <a:gd name="connsiteY4" fmla="*/ 640697 h 2373523"/>
                  <a:gd name="connsiteX5" fmla="*/ 421075 w 12386023"/>
                  <a:gd name="connsiteY5" fmla="*/ 800852 h 2373523"/>
                  <a:gd name="connsiteX6" fmla="*/ 1277876 w 12386023"/>
                  <a:gd name="connsiteY6" fmla="*/ 708409 h 2373523"/>
                  <a:gd name="connsiteX7" fmla="*/ 1972735 w 12386023"/>
                  <a:gd name="connsiteY7" fmla="*/ 742397 h 2373523"/>
                  <a:gd name="connsiteX8" fmla="*/ 2428745 w 12386023"/>
                  <a:gd name="connsiteY8" fmla="*/ 682909 h 2373523"/>
                  <a:gd name="connsiteX9" fmla="*/ 2906467 w 12386023"/>
                  <a:gd name="connsiteY9" fmla="*/ 682909 h 2373523"/>
                  <a:gd name="connsiteX10" fmla="*/ 3677336 w 12386023"/>
                  <a:gd name="connsiteY10" fmla="*/ 725403 h 2373523"/>
                  <a:gd name="connsiteX11" fmla="*/ 4556772 w 12386023"/>
                  <a:gd name="connsiteY11" fmla="*/ 708409 h 2373523"/>
                  <a:gd name="connsiteX12" fmla="*/ 5186490 w 12386023"/>
                  <a:gd name="connsiteY12" fmla="*/ 716915 h 2373523"/>
                  <a:gd name="connsiteX13" fmla="*/ 6022500 w 12386023"/>
                  <a:gd name="connsiteY13" fmla="*/ 716915 h 2373523"/>
                  <a:gd name="connsiteX14" fmla="*/ 7086513 w 12386023"/>
                  <a:gd name="connsiteY14" fmla="*/ 742415 h 2373523"/>
                  <a:gd name="connsiteX15" fmla="*/ 7835668 w 12386023"/>
                  <a:gd name="connsiteY15" fmla="*/ 733909 h 2373523"/>
                  <a:gd name="connsiteX16" fmla="*/ 8367663 w 12386023"/>
                  <a:gd name="connsiteY16" fmla="*/ 725403 h 2373523"/>
                  <a:gd name="connsiteX17" fmla="*/ 8988680 w 12386023"/>
                  <a:gd name="connsiteY17" fmla="*/ 1128151 h 2373523"/>
                  <a:gd name="connsiteX18" fmla="*/ 9558676 w 12386023"/>
                  <a:gd name="connsiteY18" fmla="*/ 1954983 h 2373523"/>
                  <a:gd name="connsiteX19" fmla="*/ 10490076 w 12386023"/>
                  <a:gd name="connsiteY19" fmla="*/ 2373522 h 2373523"/>
                  <a:gd name="connsiteX20" fmla="*/ 11536110 w 12386023"/>
                  <a:gd name="connsiteY20" fmla="*/ 1954985 h 2373523"/>
                  <a:gd name="connsiteX21" fmla="*/ 11827041 w 12386023"/>
                  <a:gd name="connsiteY21" fmla="*/ 1309250 h 2373523"/>
                  <a:gd name="connsiteX22" fmla="*/ 12137937 w 12386023"/>
                  <a:gd name="connsiteY22" fmla="*/ 863143 h 2373523"/>
                  <a:gd name="connsiteX23" fmla="*/ 12386023 w 12386023"/>
                  <a:gd name="connsiteY23" fmla="*/ 562829 h 2373523"/>
                  <a:gd name="connsiteX24" fmla="*/ 12386023 w 12386023"/>
                  <a:gd name="connsiteY24" fmla="*/ 124447 h 2373523"/>
                  <a:gd name="connsiteX25" fmla="*/ 11779707 w 12386023"/>
                  <a:gd name="connsiteY25" fmla="*/ 299022 h 2373523"/>
                  <a:gd name="connsiteX26" fmla="*/ 11399982 w 12386023"/>
                  <a:gd name="connsiteY26" fmla="*/ 910907 h 2373523"/>
                  <a:gd name="connsiteX27" fmla="*/ 10943237 w 12386023"/>
                  <a:gd name="connsiteY27" fmla="*/ 1525068 h 2373523"/>
                  <a:gd name="connsiteX28" fmla="*/ 10375442 w 12386023"/>
                  <a:gd name="connsiteY28" fmla="*/ 1481851 h 2373523"/>
                  <a:gd name="connsiteX29" fmla="*/ 9868545 w 12386023"/>
                  <a:gd name="connsiteY29" fmla="*/ 922282 h 2373523"/>
                  <a:gd name="connsiteX30" fmla="*/ 9393890 w 12386023"/>
                  <a:gd name="connsiteY30" fmla="*/ 444601 h 2373523"/>
                  <a:gd name="connsiteX31" fmla="*/ 8791091 w 12386023"/>
                  <a:gd name="connsiteY31" fmla="*/ 20131 h 2373523"/>
                  <a:gd name="connsiteX32" fmla="*/ 7390504 w 12386023"/>
                  <a:gd name="connsiteY32" fmla="*/ 62625 h 2373523"/>
                  <a:gd name="connsiteX33" fmla="*/ 9248668 w 12386023"/>
                  <a:gd name="connsiteY33" fmla="*/ 483648 h 2373523"/>
                  <a:gd name="connsiteX34" fmla="*/ 8892001 w 12386023"/>
                  <a:gd name="connsiteY34" fmla="*/ 445563 h 2373523"/>
                  <a:gd name="connsiteX35" fmla="*/ 9073222 w 12386023"/>
                  <a:gd name="connsiteY35" fmla="*/ 748027 h 2373523"/>
                  <a:gd name="connsiteX36" fmla="*/ 8705072 w 12386023"/>
                  <a:gd name="connsiteY36" fmla="*/ 148058 h 2373523"/>
                  <a:gd name="connsiteX0" fmla="*/ 8705072 w 12386023"/>
                  <a:gd name="connsiteY0" fmla="*/ 148058 h 2373523"/>
                  <a:gd name="connsiteX1" fmla="*/ 8742561 w 12386023"/>
                  <a:gd name="connsiteY1" fmla="*/ 384564 h 2373523"/>
                  <a:gd name="connsiteX2" fmla="*/ 8697801 w 12386023"/>
                  <a:gd name="connsiteY2" fmla="*/ 454697 h 2373523"/>
                  <a:gd name="connsiteX3" fmla="*/ 8652701 w 12386023"/>
                  <a:gd name="connsiteY3" fmla="*/ 640697 h 2373523"/>
                  <a:gd name="connsiteX4" fmla="*/ 421075 w 12386023"/>
                  <a:gd name="connsiteY4" fmla="*/ 800852 h 2373523"/>
                  <a:gd name="connsiteX5" fmla="*/ 1277876 w 12386023"/>
                  <a:gd name="connsiteY5" fmla="*/ 708409 h 2373523"/>
                  <a:gd name="connsiteX6" fmla="*/ 1972735 w 12386023"/>
                  <a:gd name="connsiteY6" fmla="*/ 742397 h 2373523"/>
                  <a:gd name="connsiteX7" fmla="*/ 2428745 w 12386023"/>
                  <a:gd name="connsiteY7" fmla="*/ 682909 h 2373523"/>
                  <a:gd name="connsiteX8" fmla="*/ 2906467 w 12386023"/>
                  <a:gd name="connsiteY8" fmla="*/ 682909 h 2373523"/>
                  <a:gd name="connsiteX9" fmla="*/ 3677336 w 12386023"/>
                  <a:gd name="connsiteY9" fmla="*/ 725403 h 2373523"/>
                  <a:gd name="connsiteX10" fmla="*/ 4556772 w 12386023"/>
                  <a:gd name="connsiteY10" fmla="*/ 708409 h 2373523"/>
                  <a:gd name="connsiteX11" fmla="*/ 5186490 w 12386023"/>
                  <a:gd name="connsiteY11" fmla="*/ 716915 h 2373523"/>
                  <a:gd name="connsiteX12" fmla="*/ 6022500 w 12386023"/>
                  <a:gd name="connsiteY12" fmla="*/ 716915 h 2373523"/>
                  <a:gd name="connsiteX13" fmla="*/ 7086513 w 12386023"/>
                  <a:gd name="connsiteY13" fmla="*/ 742415 h 2373523"/>
                  <a:gd name="connsiteX14" fmla="*/ 7835668 w 12386023"/>
                  <a:gd name="connsiteY14" fmla="*/ 733909 h 2373523"/>
                  <a:gd name="connsiteX15" fmla="*/ 8367663 w 12386023"/>
                  <a:gd name="connsiteY15" fmla="*/ 725403 h 2373523"/>
                  <a:gd name="connsiteX16" fmla="*/ 8988680 w 12386023"/>
                  <a:gd name="connsiteY16" fmla="*/ 1128151 h 2373523"/>
                  <a:gd name="connsiteX17" fmla="*/ 9558676 w 12386023"/>
                  <a:gd name="connsiteY17" fmla="*/ 1954983 h 2373523"/>
                  <a:gd name="connsiteX18" fmla="*/ 10490076 w 12386023"/>
                  <a:gd name="connsiteY18" fmla="*/ 2373522 h 2373523"/>
                  <a:gd name="connsiteX19" fmla="*/ 11536110 w 12386023"/>
                  <a:gd name="connsiteY19" fmla="*/ 1954985 h 2373523"/>
                  <a:gd name="connsiteX20" fmla="*/ 11827041 w 12386023"/>
                  <a:gd name="connsiteY20" fmla="*/ 1309250 h 2373523"/>
                  <a:gd name="connsiteX21" fmla="*/ 12137937 w 12386023"/>
                  <a:gd name="connsiteY21" fmla="*/ 863143 h 2373523"/>
                  <a:gd name="connsiteX22" fmla="*/ 12386023 w 12386023"/>
                  <a:gd name="connsiteY22" fmla="*/ 562829 h 2373523"/>
                  <a:gd name="connsiteX23" fmla="*/ 12386023 w 12386023"/>
                  <a:gd name="connsiteY23" fmla="*/ 124447 h 2373523"/>
                  <a:gd name="connsiteX24" fmla="*/ 11779707 w 12386023"/>
                  <a:gd name="connsiteY24" fmla="*/ 299022 h 2373523"/>
                  <a:gd name="connsiteX25" fmla="*/ 11399982 w 12386023"/>
                  <a:gd name="connsiteY25" fmla="*/ 910907 h 2373523"/>
                  <a:gd name="connsiteX26" fmla="*/ 10943237 w 12386023"/>
                  <a:gd name="connsiteY26" fmla="*/ 1525068 h 2373523"/>
                  <a:gd name="connsiteX27" fmla="*/ 10375442 w 12386023"/>
                  <a:gd name="connsiteY27" fmla="*/ 1481851 h 2373523"/>
                  <a:gd name="connsiteX28" fmla="*/ 9868545 w 12386023"/>
                  <a:gd name="connsiteY28" fmla="*/ 922282 h 2373523"/>
                  <a:gd name="connsiteX29" fmla="*/ 9393890 w 12386023"/>
                  <a:gd name="connsiteY29" fmla="*/ 444601 h 2373523"/>
                  <a:gd name="connsiteX30" fmla="*/ 8791091 w 12386023"/>
                  <a:gd name="connsiteY30" fmla="*/ 20131 h 2373523"/>
                  <a:gd name="connsiteX31" fmla="*/ 7390504 w 12386023"/>
                  <a:gd name="connsiteY31" fmla="*/ 62625 h 2373523"/>
                  <a:gd name="connsiteX32" fmla="*/ 9248668 w 12386023"/>
                  <a:gd name="connsiteY32" fmla="*/ 483648 h 2373523"/>
                  <a:gd name="connsiteX33" fmla="*/ 8892001 w 12386023"/>
                  <a:gd name="connsiteY33" fmla="*/ 445563 h 2373523"/>
                  <a:gd name="connsiteX34" fmla="*/ 9073222 w 12386023"/>
                  <a:gd name="connsiteY34" fmla="*/ 748027 h 2373523"/>
                  <a:gd name="connsiteX35" fmla="*/ 8705072 w 12386023"/>
                  <a:gd name="connsiteY35" fmla="*/ 148058 h 2373523"/>
                  <a:gd name="connsiteX0" fmla="*/ 8705072 w 12386023"/>
                  <a:gd name="connsiteY0" fmla="*/ 148058 h 2373523"/>
                  <a:gd name="connsiteX1" fmla="*/ 8697801 w 12386023"/>
                  <a:gd name="connsiteY1" fmla="*/ 454697 h 2373523"/>
                  <a:gd name="connsiteX2" fmla="*/ 8652701 w 12386023"/>
                  <a:gd name="connsiteY2" fmla="*/ 640697 h 2373523"/>
                  <a:gd name="connsiteX3" fmla="*/ 421075 w 12386023"/>
                  <a:gd name="connsiteY3" fmla="*/ 800852 h 2373523"/>
                  <a:gd name="connsiteX4" fmla="*/ 1277876 w 12386023"/>
                  <a:gd name="connsiteY4" fmla="*/ 708409 h 2373523"/>
                  <a:gd name="connsiteX5" fmla="*/ 1972735 w 12386023"/>
                  <a:gd name="connsiteY5" fmla="*/ 742397 h 2373523"/>
                  <a:gd name="connsiteX6" fmla="*/ 2428745 w 12386023"/>
                  <a:gd name="connsiteY6" fmla="*/ 682909 h 2373523"/>
                  <a:gd name="connsiteX7" fmla="*/ 2906467 w 12386023"/>
                  <a:gd name="connsiteY7" fmla="*/ 682909 h 2373523"/>
                  <a:gd name="connsiteX8" fmla="*/ 3677336 w 12386023"/>
                  <a:gd name="connsiteY8" fmla="*/ 725403 h 2373523"/>
                  <a:gd name="connsiteX9" fmla="*/ 4556772 w 12386023"/>
                  <a:gd name="connsiteY9" fmla="*/ 708409 h 2373523"/>
                  <a:gd name="connsiteX10" fmla="*/ 5186490 w 12386023"/>
                  <a:gd name="connsiteY10" fmla="*/ 716915 h 2373523"/>
                  <a:gd name="connsiteX11" fmla="*/ 6022500 w 12386023"/>
                  <a:gd name="connsiteY11" fmla="*/ 716915 h 2373523"/>
                  <a:gd name="connsiteX12" fmla="*/ 7086513 w 12386023"/>
                  <a:gd name="connsiteY12" fmla="*/ 742415 h 2373523"/>
                  <a:gd name="connsiteX13" fmla="*/ 7835668 w 12386023"/>
                  <a:gd name="connsiteY13" fmla="*/ 733909 h 2373523"/>
                  <a:gd name="connsiteX14" fmla="*/ 8367663 w 12386023"/>
                  <a:gd name="connsiteY14" fmla="*/ 725403 h 2373523"/>
                  <a:gd name="connsiteX15" fmla="*/ 8988680 w 12386023"/>
                  <a:gd name="connsiteY15" fmla="*/ 1128151 h 2373523"/>
                  <a:gd name="connsiteX16" fmla="*/ 9558676 w 12386023"/>
                  <a:gd name="connsiteY16" fmla="*/ 1954983 h 2373523"/>
                  <a:gd name="connsiteX17" fmla="*/ 10490076 w 12386023"/>
                  <a:gd name="connsiteY17" fmla="*/ 2373522 h 2373523"/>
                  <a:gd name="connsiteX18" fmla="*/ 11536110 w 12386023"/>
                  <a:gd name="connsiteY18" fmla="*/ 1954985 h 2373523"/>
                  <a:gd name="connsiteX19" fmla="*/ 11827041 w 12386023"/>
                  <a:gd name="connsiteY19" fmla="*/ 1309250 h 2373523"/>
                  <a:gd name="connsiteX20" fmla="*/ 12137937 w 12386023"/>
                  <a:gd name="connsiteY20" fmla="*/ 863143 h 2373523"/>
                  <a:gd name="connsiteX21" fmla="*/ 12386023 w 12386023"/>
                  <a:gd name="connsiteY21" fmla="*/ 562829 h 2373523"/>
                  <a:gd name="connsiteX22" fmla="*/ 12386023 w 12386023"/>
                  <a:gd name="connsiteY22" fmla="*/ 124447 h 2373523"/>
                  <a:gd name="connsiteX23" fmla="*/ 11779707 w 12386023"/>
                  <a:gd name="connsiteY23" fmla="*/ 299022 h 2373523"/>
                  <a:gd name="connsiteX24" fmla="*/ 11399982 w 12386023"/>
                  <a:gd name="connsiteY24" fmla="*/ 910907 h 2373523"/>
                  <a:gd name="connsiteX25" fmla="*/ 10943237 w 12386023"/>
                  <a:gd name="connsiteY25" fmla="*/ 1525068 h 2373523"/>
                  <a:gd name="connsiteX26" fmla="*/ 10375442 w 12386023"/>
                  <a:gd name="connsiteY26" fmla="*/ 1481851 h 2373523"/>
                  <a:gd name="connsiteX27" fmla="*/ 9868545 w 12386023"/>
                  <a:gd name="connsiteY27" fmla="*/ 922282 h 2373523"/>
                  <a:gd name="connsiteX28" fmla="*/ 9393890 w 12386023"/>
                  <a:gd name="connsiteY28" fmla="*/ 444601 h 2373523"/>
                  <a:gd name="connsiteX29" fmla="*/ 8791091 w 12386023"/>
                  <a:gd name="connsiteY29" fmla="*/ 20131 h 2373523"/>
                  <a:gd name="connsiteX30" fmla="*/ 7390504 w 12386023"/>
                  <a:gd name="connsiteY30" fmla="*/ 62625 h 2373523"/>
                  <a:gd name="connsiteX31" fmla="*/ 9248668 w 12386023"/>
                  <a:gd name="connsiteY31" fmla="*/ 483648 h 2373523"/>
                  <a:gd name="connsiteX32" fmla="*/ 8892001 w 12386023"/>
                  <a:gd name="connsiteY32" fmla="*/ 445563 h 2373523"/>
                  <a:gd name="connsiteX33" fmla="*/ 9073222 w 12386023"/>
                  <a:gd name="connsiteY33" fmla="*/ 748027 h 2373523"/>
                  <a:gd name="connsiteX34" fmla="*/ 8705072 w 12386023"/>
                  <a:gd name="connsiteY34" fmla="*/ 148058 h 2373523"/>
                  <a:gd name="connsiteX0" fmla="*/ 9073222 w 12386023"/>
                  <a:gd name="connsiteY0" fmla="*/ 748027 h 2373523"/>
                  <a:gd name="connsiteX1" fmla="*/ 8697801 w 12386023"/>
                  <a:gd name="connsiteY1" fmla="*/ 454697 h 2373523"/>
                  <a:gd name="connsiteX2" fmla="*/ 8652701 w 12386023"/>
                  <a:gd name="connsiteY2" fmla="*/ 640697 h 2373523"/>
                  <a:gd name="connsiteX3" fmla="*/ 421075 w 12386023"/>
                  <a:gd name="connsiteY3" fmla="*/ 800852 h 2373523"/>
                  <a:gd name="connsiteX4" fmla="*/ 1277876 w 12386023"/>
                  <a:gd name="connsiteY4" fmla="*/ 708409 h 2373523"/>
                  <a:gd name="connsiteX5" fmla="*/ 1972735 w 12386023"/>
                  <a:gd name="connsiteY5" fmla="*/ 742397 h 2373523"/>
                  <a:gd name="connsiteX6" fmla="*/ 2428745 w 12386023"/>
                  <a:gd name="connsiteY6" fmla="*/ 682909 h 2373523"/>
                  <a:gd name="connsiteX7" fmla="*/ 2906467 w 12386023"/>
                  <a:gd name="connsiteY7" fmla="*/ 682909 h 2373523"/>
                  <a:gd name="connsiteX8" fmla="*/ 3677336 w 12386023"/>
                  <a:gd name="connsiteY8" fmla="*/ 725403 h 2373523"/>
                  <a:gd name="connsiteX9" fmla="*/ 4556772 w 12386023"/>
                  <a:gd name="connsiteY9" fmla="*/ 708409 h 2373523"/>
                  <a:gd name="connsiteX10" fmla="*/ 5186490 w 12386023"/>
                  <a:gd name="connsiteY10" fmla="*/ 716915 h 2373523"/>
                  <a:gd name="connsiteX11" fmla="*/ 6022500 w 12386023"/>
                  <a:gd name="connsiteY11" fmla="*/ 716915 h 2373523"/>
                  <a:gd name="connsiteX12" fmla="*/ 7086513 w 12386023"/>
                  <a:gd name="connsiteY12" fmla="*/ 742415 h 2373523"/>
                  <a:gd name="connsiteX13" fmla="*/ 7835668 w 12386023"/>
                  <a:gd name="connsiteY13" fmla="*/ 733909 h 2373523"/>
                  <a:gd name="connsiteX14" fmla="*/ 8367663 w 12386023"/>
                  <a:gd name="connsiteY14" fmla="*/ 725403 h 2373523"/>
                  <a:gd name="connsiteX15" fmla="*/ 8988680 w 12386023"/>
                  <a:gd name="connsiteY15" fmla="*/ 1128151 h 2373523"/>
                  <a:gd name="connsiteX16" fmla="*/ 9558676 w 12386023"/>
                  <a:gd name="connsiteY16" fmla="*/ 1954983 h 2373523"/>
                  <a:gd name="connsiteX17" fmla="*/ 10490076 w 12386023"/>
                  <a:gd name="connsiteY17" fmla="*/ 2373522 h 2373523"/>
                  <a:gd name="connsiteX18" fmla="*/ 11536110 w 12386023"/>
                  <a:gd name="connsiteY18" fmla="*/ 1954985 h 2373523"/>
                  <a:gd name="connsiteX19" fmla="*/ 11827041 w 12386023"/>
                  <a:gd name="connsiteY19" fmla="*/ 1309250 h 2373523"/>
                  <a:gd name="connsiteX20" fmla="*/ 12137937 w 12386023"/>
                  <a:gd name="connsiteY20" fmla="*/ 863143 h 2373523"/>
                  <a:gd name="connsiteX21" fmla="*/ 12386023 w 12386023"/>
                  <a:gd name="connsiteY21" fmla="*/ 562829 h 2373523"/>
                  <a:gd name="connsiteX22" fmla="*/ 12386023 w 12386023"/>
                  <a:gd name="connsiteY22" fmla="*/ 124447 h 2373523"/>
                  <a:gd name="connsiteX23" fmla="*/ 11779707 w 12386023"/>
                  <a:gd name="connsiteY23" fmla="*/ 299022 h 2373523"/>
                  <a:gd name="connsiteX24" fmla="*/ 11399982 w 12386023"/>
                  <a:gd name="connsiteY24" fmla="*/ 910907 h 2373523"/>
                  <a:gd name="connsiteX25" fmla="*/ 10943237 w 12386023"/>
                  <a:gd name="connsiteY25" fmla="*/ 1525068 h 2373523"/>
                  <a:gd name="connsiteX26" fmla="*/ 10375442 w 12386023"/>
                  <a:gd name="connsiteY26" fmla="*/ 1481851 h 2373523"/>
                  <a:gd name="connsiteX27" fmla="*/ 9868545 w 12386023"/>
                  <a:gd name="connsiteY27" fmla="*/ 922282 h 2373523"/>
                  <a:gd name="connsiteX28" fmla="*/ 9393890 w 12386023"/>
                  <a:gd name="connsiteY28" fmla="*/ 444601 h 2373523"/>
                  <a:gd name="connsiteX29" fmla="*/ 8791091 w 12386023"/>
                  <a:gd name="connsiteY29" fmla="*/ 20131 h 2373523"/>
                  <a:gd name="connsiteX30" fmla="*/ 7390504 w 12386023"/>
                  <a:gd name="connsiteY30" fmla="*/ 62625 h 2373523"/>
                  <a:gd name="connsiteX31" fmla="*/ 9248668 w 12386023"/>
                  <a:gd name="connsiteY31" fmla="*/ 483648 h 2373523"/>
                  <a:gd name="connsiteX32" fmla="*/ 8892001 w 12386023"/>
                  <a:gd name="connsiteY32" fmla="*/ 445563 h 2373523"/>
                  <a:gd name="connsiteX33" fmla="*/ 9073222 w 12386023"/>
                  <a:gd name="connsiteY33" fmla="*/ 748027 h 2373523"/>
                  <a:gd name="connsiteX0" fmla="*/ 9073222 w 12386023"/>
                  <a:gd name="connsiteY0" fmla="*/ 748027 h 2373523"/>
                  <a:gd name="connsiteX1" fmla="*/ 8652701 w 12386023"/>
                  <a:gd name="connsiteY1" fmla="*/ 640697 h 2373523"/>
                  <a:gd name="connsiteX2" fmla="*/ 421075 w 12386023"/>
                  <a:gd name="connsiteY2" fmla="*/ 800852 h 2373523"/>
                  <a:gd name="connsiteX3" fmla="*/ 1277876 w 12386023"/>
                  <a:gd name="connsiteY3" fmla="*/ 708409 h 2373523"/>
                  <a:gd name="connsiteX4" fmla="*/ 1972735 w 12386023"/>
                  <a:gd name="connsiteY4" fmla="*/ 742397 h 2373523"/>
                  <a:gd name="connsiteX5" fmla="*/ 2428745 w 12386023"/>
                  <a:gd name="connsiteY5" fmla="*/ 682909 h 2373523"/>
                  <a:gd name="connsiteX6" fmla="*/ 2906467 w 12386023"/>
                  <a:gd name="connsiteY6" fmla="*/ 682909 h 2373523"/>
                  <a:gd name="connsiteX7" fmla="*/ 3677336 w 12386023"/>
                  <a:gd name="connsiteY7" fmla="*/ 725403 h 2373523"/>
                  <a:gd name="connsiteX8" fmla="*/ 4556772 w 12386023"/>
                  <a:gd name="connsiteY8" fmla="*/ 708409 h 2373523"/>
                  <a:gd name="connsiteX9" fmla="*/ 5186490 w 12386023"/>
                  <a:gd name="connsiteY9" fmla="*/ 716915 h 2373523"/>
                  <a:gd name="connsiteX10" fmla="*/ 6022500 w 12386023"/>
                  <a:gd name="connsiteY10" fmla="*/ 716915 h 2373523"/>
                  <a:gd name="connsiteX11" fmla="*/ 7086513 w 12386023"/>
                  <a:gd name="connsiteY11" fmla="*/ 742415 h 2373523"/>
                  <a:gd name="connsiteX12" fmla="*/ 7835668 w 12386023"/>
                  <a:gd name="connsiteY12" fmla="*/ 733909 h 2373523"/>
                  <a:gd name="connsiteX13" fmla="*/ 8367663 w 12386023"/>
                  <a:gd name="connsiteY13" fmla="*/ 725403 h 2373523"/>
                  <a:gd name="connsiteX14" fmla="*/ 8988680 w 12386023"/>
                  <a:gd name="connsiteY14" fmla="*/ 1128151 h 2373523"/>
                  <a:gd name="connsiteX15" fmla="*/ 9558676 w 12386023"/>
                  <a:gd name="connsiteY15" fmla="*/ 1954983 h 2373523"/>
                  <a:gd name="connsiteX16" fmla="*/ 10490076 w 12386023"/>
                  <a:gd name="connsiteY16" fmla="*/ 2373522 h 2373523"/>
                  <a:gd name="connsiteX17" fmla="*/ 11536110 w 12386023"/>
                  <a:gd name="connsiteY17" fmla="*/ 1954985 h 2373523"/>
                  <a:gd name="connsiteX18" fmla="*/ 11827041 w 12386023"/>
                  <a:gd name="connsiteY18" fmla="*/ 1309250 h 2373523"/>
                  <a:gd name="connsiteX19" fmla="*/ 12137937 w 12386023"/>
                  <a:gd name="connsiteY19" fmla="*/ 863143 h 2373523"/>
                  <a:gd name="connsiteX20" fmla="*/ 12386023 w 12386023"/>
                  <a:gd name="connsiteY20" fmla="*/ 562829 h 2373523"/>
                  <a:gd name="connsiteX21" fmla="*/ 12386023 w 12386023"/>
                  <a:gd name="connsiteY21" fmla="*/ 124447 h 2373523"/>
                  <a:gd name="connsiteX22" fmla="*/ 11779707 w 12386023"/>
                  <a:gd name="connsiteY22" fmla="*/ 299022 h 2373523"/>
                  <a:gd name="connsiteX23" fmla="*/ 11399982 w 12386023"/>
                  <a:gd name="connsiteY23" fmla="*/ 910907 h 2373523"/>
                  <a:gd name="connsiteX24" fmla="*/ 10943237 w 12386023"/>
                  <a:gd name="connsiteY24" fmla="*/ 1525068 h 2373523"/>
                  <a:gd name="connsiteX25" fmla="*/ 10375442 w 12386023"/>
                  <a:gd name="connsiteY25" fmla="*/ 1481851 h 2373523"/>
                  <a:gd name="connsiteX26" fmla="*/ 9868545 w 12386023"/>
                  <a:gd name="connsiteY26" fmla="*/ 922282 h 2373523"/>
                  <a:gd name="connsiteX27" fmla="*/ 9393890 w 12386023"/>
                  <a:gd name="connsiteY27" fmla="*/ 444601 h 2373523"/>
                  <a:gd name="connsiteX28" fmla="*/ 8791091 w 12386023"/>
                  <a:gd name="connsiteY28" fmla="*/ 20131 h 2373523"/>
                  <a:gd name="connsiteX29" fmla="*/ 7390504 w 12386023"/>
                  <a:gd name="connsiteY29" fmla="*/ 62625 h 2373523"/>
                  <a:gd name="connsiteX30" fmla="*/ 9248668 w 12386023"/>
                  <a:gd name="connsiteY30" fmla="*/ 483648 h 2373523"/>
                  <a:gd name="connsiteX31" fmla="*/ 8892001 w 12386023"/>
                  <a:gd name="connsiteY31" fmla="*/ 445563 h 2373523"/>
                  <a:gd name="connsiteX32" fmla="*/ 9073222 w 12386023"/>
                  <a:gd name="connsiteY32" fmla="*/ 748027 h 2373523"/>
                  <a:gd name="connsiteX0" fmla="*/ 9102751 w 12415552"/>
                  <a:gd name="connsiteY0" fmla="*/ 748027 h 2373523"/>
                  <a:gd name="connsiteX1" fmla="*/ 450604 w 12415552"/>
                  <a:gd name="connsiteY1" fmla="*/ 800852 h 2373523"/>
                  <a:gd name="connsiteX2" fmla="*/ 1307405 w 12415552"/>
                  <a:gd name="connsiteY2" fmla="*/ 708409 h 2373523"/>
                  <a:gd name="connsiteX3" fmla="*/ 2002264 w 12415552"/>
                  <a:gd name="connsiteY3" fmla="*/ 742397 h 2373523"/>
                  <a:gd name="connsiteX4" fmla="*/ 2458274 w 12415552"/>
                  <a:gd name="connsiteY4" fmla="*/ 682909 h 2373523"/>
                  <a:gd name="connsiteX5" fmla="*/ 2935996 w 12415552"/>
                  <a:gd name="connsiteY5" fmla="*/ 682909 h 2373523"/>
                  <a:gd name="connsiteX6" fmla="*/ 3706865 w 12415552"/>
                  <a:gd name="connsiteY6" fmla="*/ 725403 h 2373523"/>
                  <a:gd name="connsiteX7" fmla="*/ 4586301 w 12415552"/>
                  <a:gd name="connsiteY7" fmla="*/ 708409 h 2373523"/>
                  <a:gd name="connsiteX8" fmla="*/ 5216019 w 12415552"/>
                  <a:gd name="connsiteY8" fmla="*/ 716915 h 2373523"/>
                  <a:gd name="connsiteX9" fmla="*/ 6052029 w 12415552"/>
                  <a:gd name="connsiteY9" fmla="*/ 716915 h 2373523"/>
                  <a:gd name="connsiteX10" fmla="*/ 7116042 w 12415552"/>
                  <a:gd name="connsiteY10" fmla="*/ 742415 h 2373523"/>
                  <a:gd name="connsiteX11" fmla="*/ 7865197 w 12415552"/>
                  <a:gd name="connsiteY11" fmla="*/ 733909 h 2373523"/>
                  <a:gd name="connsiteX12" fmla="*/ 8397192 w 12415552"/>
                  <a:gd name="connsiteY12" fmla="*/ 725403 h 2373523"/>
                  <a:gd name="connsiteX13" fmla="*/ 9018209 w 12415552"/>
                  <a:gd name="connsiteY13" fmla="*/ 1128151 h 2373523"/>
                  <a:gd name="connsiteX14" fmla="*/ 9588205 w 12415552"/>
                  <a:gd name="connsiteY14" fmla="*/ 1954983 h 2373523"/>
                  <a:gd name="connsiteX15" fmla="*/ 10519605 w 12415552"/>
                  <a:gd name="connsiteY15" fmla="*/ 2373522 h 2373523"/>
                  <a:gd name="connsiteX16" fmla="*/ 11565639 w 12415552"/>
                  <a:gd name="connsiteY16" fmla="*/ 1954985 h 2373523"/>
                  <a:gd name="connsiteX17" fmla="*/ 11856570 w 12415552"/>
                  <a:gd name="connsiteY17" fmla="*/ 1309250 h 2373523"/>
                  <a:gd name="connsiteX18" fmla="*/ 12167466 w 12415552"/>
                  <a:gd name="connsiteY18" fmla="*/ 863143 h 2373523"/>
                  <a:gd name="connsiteX19" fmla="*/ 12415552 w 12415552"/>
                  <a:gd name="connsiteY19" fmla="*/ 562829 h 2373523"/>
                  <a:gd name="connsiteX20" fmla="*/ 12415552 w 12415552"/>
                  <a:gd name="connsiteY20" fmla="*/ 124447 h 2373523"/>
                  <a:gd name="connsiteX21" fmla="*/ 11809236 w 12415552"/>
                  <a:gd name="connsiteY21" fmla="*/ 299022 h 2373523"/>
                  <a:gd name="connsiteX22" fmla="*/ 11429511 w 12415552"/>
                  <a:gd name="connsiteY22" fmla="*/ 910907 h 2373523"/>
                  <a:gd name="connsiteX23" fmla="*/ 10972766 w 12415552"/>
                  <a:gd name="connsiteY23" fmla="*/ 1525068 h 2373523"/>
                  <a:gd name="connsiteX24" fmla="*/ 10404971 w 12415552"/>
                  <a:gd name="connsiteY24" fmla="*/ 1481851 h 2373523"/>
                  <a:gd name="connsiteX25" fmla="*/ 9898074 w 12415552"/>
                  <a:gd name="connsiteY25" fmla="*/ 922282 h 2373523"/>
                  <a:gd name="connsiteX26" fmla="*/ 9423419 w 12415552"/>
                  <a:gd name="connsiteY26" fmla="*/ 444601 h 2373523"/>
                  <a:gd name="connsiteX27" fmla="*/ 8820620 w 12415552"/>
                  <a:gd name="connsiteY27" fmla="*/ 20131 h 2373523"/>
                  <a:gd name="connsiteX28" fmla="*/ 7420033 w 12415552"/>
                  <a:gd name="connsiteY28" fmla="*/ 62625 h 2373523"/>
                  <a:gd name="connsiteX29" fmla="*/ 9278197 w 12415552"/>
                  <a:gd name="connsiteY29" fmla="*/ 483648 h 2373523"/>
                  <a:gd name="connsiteX30" fmla="*/ 8921530 w 12415552"/>
                  <a:gd name="connsiteY30" fmla="*/ 445563 h 2373523"/>
                  <a:gd name="connsiteX31" fmla="*/ 9102751 w 12415552"/>
                  <a:gd name="connsiteY31" fmla="*/ 748027 h 2373523"/>
                  <a:gd name="connsiteX0" fmla="*/ 9102753 w 12415554"/>
                  <a:gd name="connsiteY0" fmla="*/ 748027 h 2373523"/>
                  <a:gd name="connsiteX1" fmla="*/ 450606 w 12415554"/>
                  <a:gd name="connsiteY1" fmla="*/ 800852 h 2373523"/>
                  <a:gd name="connsiteX2" fmla="*/ 1307407 w 12415554"/>
                  <a:gd name="connsiteY2" fmla="*/ 708409 h 2373523"/>
                  <a:gd name="connsiteX3" fmla="*/ 2002266 w 12415554"/>
                  <a:gd name="connsiteY3" fmla="*/ 742397 h 2373523"/>
                  <a:gd name="connsiteX4" fmla="*/ 2458276 w 12415554"/>
                  <a:gd name="connsiteY4" fmla="*/ 682909 h 2373523"/>
                  <a:gd name="connsiteX5" fmla="*/ 2935998 w 12415554"/>
                  <a:gd name="connsiteY5" fmla="*/ 682909 h 2373523"/>
                  <a:gd name="connsiteX6" fmla="*/ 3706867 w 12415554"/>
                  <a:gd name="connsiteY6" fmla="*/ 725403 h 2373523"/>
                  <a:gd name="connsiteX7" fmla="*/ 4586303 w 12415554"/>
                  <a:gd name="connsiteY7" fmla="*/ 708409 h 2373523"/>
                  <a:gd name="connsiteX8" fmla="*/ 5216021 w 12415554"/>
                  <a:gd name="connsiteY8" fmla="*/ 716915 h 2373523"/>
                  <a:gd name="connsiteX9" fmla="*/ 6052031 w 12415554"/>
                  <a:gd name="connsiteY9" fmla="*/ 716915 h 2373523"/>
                  <a:gd name="connsiteX10" fmla="*/ 7116044 w 12415554"/>
                  <a:gd name="connsiteY10" fmla="*/ 742415 h 2373523"/>
                  <a:gd name="connsiteX11" fmla="*/ 7865199 w 12415554"/>
                  <a:gd name="connsiteY11" fmla="*/ 733909 h 2373523"/>
                  <a:gd name="connsiteX12" fmla="*/ 8397194 w 12415554"/>
                  <a:gd name="connsiteY12" fmla="*/ 725403 h 2373523"/>
                  <a:gd name="connsiteX13" fmla="*/ 9018211 w 12415554"/>
                  <a:gd name="connsiteY13" fmla="*/ 1128151 h 2373523"/>
                  <a:gd name="connsiteX14" fmla="*/ 9588207 w 12415554"/>
                  <a:gd name="connsiteY14" fmla="*/ 1954983 h 2373523"/>
                  <a:gd name="connsiteX15" fmla="*/ 10519607 w 12415554"/>
                  <a:gd name="connsiteY15" fmla="*/ 2373522 h 2373523"/>
                  <a:gd name="connsiteX16" fmla="*/ 11565641 w 12415554"/>
                  <a:gd name="connsiteY16" fmla="*/ 1954985 h 2373523"/>
                  <a:gd name="connsiteX17" fmla="*/ 11856572 w 12415554"/>
                  <a:gd name="connsiteY17" fmla="*/ 1309250 h 2373523"/>
                  <a:gd name="connsiteX18" fmla="*/ 12167468 w 12415554"/>
                  <a:gd name="connsiteY18" fmla="*/ 863143 h 2373523"/>
                  <a:gd name="connsiteX19" fmla="*/ 12415554 w 12415554"/>
                  <a:gd name="connsiteY19" fmla="*/ 562829 h 2373523"/>
                  <a:gd name="connsiteX20" fmla="*/ 12415554 w 12415554"/>
                  <a:gd name="connsiteY20" fmla="*/ 124447 h 2373523"/>
                  <a:gd name="connsiteX21" fmla="*/ 11809238 w 12415554"/>
                  <a:gd name="connsiteY21" fmla="*/ 299022 h 2373523"/>
                  <a:gd name="connsiteX22" fmla="*/ 11429513 w 12415554"/>
                  <a:gd name="connsiteY22" fmla="*/ 910907 h 2373523"/>
                  <a:gd name="connsiteX23" fmla="*/ 10972768 w 12415554"/>
                  <a:gd name="connsiteY23" fmla="*/ 1525068 h 2373523"/>
                  <a:gd name="connsiteX24" fmla="*/ 10404973 w 12415554"/>
                  <a:gd name="connsiteY24" fmla="*/ 1481851 h 2373523"/>
                  <a:gd name="connsiteX25" fmla="*/ 9898076 w 12415554"/>
                  <a:gd name="connsiteY25" fmla="*/ 922282 h 2373523"/>
                  <a:gd name="connsiteX26" fmla="*/ 9423421 w 12415554"/>
                  <a:gd name="connsiteY26" fmla="*/ 444601 h 2373523"/>
                  <a:gd name="connsiteX27" fmla="*/ 8820622 w 12415554"/>
                  <a:gd name="connsiteY27" fmla="*/ 20131 h 2373523"/>
                  <a:gd name="connsiteX28" fmla="*/ 7420035 w 12415554"/>
                  <a:gd name="connsiteY28" fmla="*/ 62625 h 2373523"/>
                  <a:gd name="connsiteX29" fmla="*/ 9278199 w 12415554"/>
                  <a:gd name="connsiteY29" fmla="*/ 483648 h 2373523"/>
                  <a:gd name="connsiteX30" fmla="*/ 9102753 w 12415554"/>
                  <a:gd name="connsiteY30" fmla="*/ 748027 h 2373523"/>
                  <a:gd name="connsiteX0" fmla="*/ 9102753 w 12415554"/>
                  <a:gd name="connsiteY0" fmla="*/ 748027 h 2373523"/>
                  <a:gd name="connsiteX1" fmla="*/ 450606 w 12415554"/>
                  <a:gd name="connsiteY1" fmla="*/ 800852 h 2373523"/>
                  <a:gd name="connsiteX2" fmla="*/ 1307407 w 12415554"/>
                  <a:gd name="connsiteY2" fmla="*/ 708409 h 2373523"/>
                  <a:gd name="connsiteX3" fmla="*/ 2002266 w 12415554"/>
                  <a:gd name="connsiteY3" fmla="*/ 742397 h 2373523"/>
                  <a:gd name="connsiteX4" fmla="*/ 2458276 w 12415554"/>
                  <a:gd name="connsiteY4" fmla="*/ 682909 h 2373523"/>
                  <a:gd name="connsiteX5" fmla="*/ 2935998 w 12415554"/>
                  <a:gd name="connsiteY5" fmla="*/ 682909 h 2373523"/>
                  <a:gd name="connsiteX6" fmla="*/ 3706867 w 12415554"/>
                  <a:gd name="connsiteY6" fmla="*/ 725403 h 2373523"/>
                  <a:gd name="connsiteX7" fmla="*/ 4586303 w 12415554"/>
                  <a:gd name="connsiteY7" fmla="*/ 708409 h 2373523"/>
                  <a:gd name="connsiteX8" fmla="*/ 5216021 w 12415554"/>
                  <a:gd name="connsiteY8" fmla="*/ 716915 h 2373523"/>
                  <a:gd name="connsiteX9" fmla="*/ 6052031 w 12415554"/>
                  <a:gd name="connsiteY9" fmla="*/ 716915 h 2373523"/>
                  <a:gd name="connsiteX10" fmla="*/ 7116044 w 12415554"/>
                  <a:gd name="connsiteY10" fmla="*/ 742415 h 2373523"/>
                  <a:gd name="connsiteX11" fmla="*/ 7865199 w 12415554"/>
                  <a:gd name="connsiteY11" fmla="*/ 733909 h 2373523"/>
                  <a:gd name="connsiteX12" fmla="*/ 8397194 w 12415554"/>
                  <a:gd name="connsiteY12" fmla="*/ 725403 h 2373523"/>
                  <a:gd name="connsiteX13" fmla="*/ 9018211 w 12415554"/>
                  <a:gd name="connsiteY13" fmla="*/ 1128151 h 2373523"/>
                  <a:gd name="connsiteX14" fmla="*/ 9588207 w 12415554"/>
                  <a:gd name="connsiteY14" fmla="*/ 1954983 h 2373523"/>
                  <a:gd name="connsiteX15" fmla="*/ 10519607 w 12415554"/>
                  <a:gd name="connsiteY15" fmla="*/ 2373522 h 2373523"/>
                  <a:gd name="connsiteX16" fmla="*/ 11565641 w 12415554"/>
                  <a:gd name="connsiteY16" fmla="*/ 1954985 h 2373523"/>
                  <a:gd name="connsiteX17" fmla="*/ 11856572 w 12415554"/>
                  <a:gd name="connsiteY17" fmla="*/ 1309250 h 2373523"/>
                  <a:gd name="connsiteX18" fmla="*/ 12167468 w 12415554"/>
                  <a:gd name="connsiteY18" fmla="*/ 863143 h 2373523"/>
                  <a:gd name="connsiteX19" fmla="*/ 12415554 w 12415554"/>
                  <a:gd name="connsiteY19" fmla="*/ 562829 h 2373523"/>
                  <a:gd name="connsiteX20" fmla="*/ 12415554 w 12415554"/>
                  <a:gd name="connsiteY20" fmla="*/ 124447 h 2373523"/>
                  <a:gd name="connsiteX21" fmla="*/ 11809238 w 12415554"/>
                  <a:gd name="connsiteY21" fmla="*/ 299022 h 2373523"/>
                  <a:gd name="connsiteX22" fmla="*/ 11429513 w 12415554"/>
                  <a:gd name="connsiteY22" fmla="*/ 910907 h 2373523"/>
                  <a:gd name="connsiteX23" fmla="*/ 10972768 w 12415554"/>
                  <a:gd name="connsiteY23" fmla="*/ 1525068 h 2373523"/>
                  <a:gd name="connsiteX24" fmla="*/ 10404973 w 12415554"/>
                  <a:gd name="connsiteY24" fmla="*/ 1481851 h 2373523"/>
                  <a:gd name="connsiteX25" fmla="*/ 9898076 w 12415554"/>
                  <a:gd name="connsiteY25" fmla="*/ 922282 h 2373523"/>
                  <a:gd name="connsiteX26" fmla="*/ 9423421 w 12415554"/>
                  <a:gd name="connsiteY26" fmla="*/ 444601 h 2373523"/>
                  <a:gd name="connsiteX27" fmla="*/ 8820622 w 12415554"/>
                  <a:gd name="connsiteY27" fmla="*/ 20131 h 2373523"/>
                  <a:gd name="connsiteX28" fmla="*/ 7420035 w 12415554"/>
                  <a:gd name="connsiteY28" fmla="*/ 62625 h 2373523"/>
                  <a:gd name="connsiteX29" fmla="*/ 9102753 w 12415554"/>
                  <a:gd name="connsiteY29" fmla="*/ 748027 h 2373523"/>
                  <a:gd name="connsiteX0" fmla="*/ 7302823 w 12298342"/>
                  <a:gd name="connsiteY0" fmla="*/ 62625 h 2373523"/>
                  <a:gd name="connsiteX1" fmla="*/ 333394 w 12298342"/>
                  <a:gd name="connsiteY1" fmla="*/ 800852 h 2373523"/>
                  <a:gd name="connsiteX2" fmla="*/ 1190195 w 12298342"/>
                  <a:gd name="connsiteY2" fmla="*/ 708409 h 2373523"/>
                  <a:gd name="connsiteX3" fmla="*/ 1885054 w 12298342"/>
                  <a:gd name="connsiteY3" fmla="*/ 742397 h 2373523"/>
                  <a:gd name="connsiteX4" fmla="*/ 2341064 w 12298342"/>
                  <a:gd name="connsiteY4" fmla="*/ 682909 h 2373523"/>
                  <a:gd name="connsiteX5" fmla="*/ 2818786 w 12298342"/>
                  <a:gd name="connsiteY5" fmla="*/ 682909 h 2373523"/>
                  <a:gd name="connsiteX6" fmla="*/ 3589655 w 12298342"/>
                  <a:gd name="connsiteY6" fmla="*/ 725403 h 2373523"/>
                  <a:gd name="connsiteX7" fmla="*/ 4469091 w 12298342"/>
                  <a:gd name="connsiteY7" fmla="*/ 708409 h 2373523"/>
                  <a:gd name="connsiteX8" fmla="*/ 5098809 w 12298342"/>
                  <a:gd name="connsiteY8" fmla="*/ 716915 h 2373523"/>
                  <a:gd name="connsiteX9" fmla="*/ 5934819 w 12298342"/>
                  <a:gd name="connsiteY9" fmla="*/ 716915 h 2373523"/>
                  <a:gd name="connsiteX10" fmla="*/ 6998832 w 12298342"/>
                  <a:gd name="connsiteY10" fmla="*/ 742415 h 2373523"/>
                  <a:gd name="connsiteX11" fmla="*/ 7747987 w 12298342"/>
                  <a:gd name="connsiteY11" fmla="*/ 733909 h 2373523"/>
                  <a:gd name="connsiteX12" fmla="*/ 8279982 w 12298342"/>
                  <a:gd name="connsiteY12" fmla="*/ 725403 h 2373523"/>
                  <a:gd name="connsiteX13" fmla="*/ 8900999 w 12298342"/>
                  <a:gd name="connsiteY13" fmla="*/ 1128151 h 2373523"/>
                  <a:gd name="connsiteX14" fmla="*/ 9470995 w 12298342"/>
                  <a:gd name="connsiteY14" fmla="*/ 1954983 h 2373523"/>
                  <a:gd name="connsiteX15" fmla="*/ 10402395 w 12298342"/>
                  <a:gd name="connsiteY15" fmla="*/ 2373522 h 2373523"/>
                  <a:gd name="connsiteX16" fmla="*/ 11448429 w 12298342"/>
                  <a:gd name="connsiteY16" fmla="*/ 1954985 h 2373523"/>
                  <a:gd name="connsiteX17" fmla="*/ 11739360 w 12298342"/>
                  <a:gd name="connsiteY17" fmla="*/ 1309250 h 2373523"/>
                  <a:gd name="connsiteX18" fmla="*/ 12050256 w 12298342"/>
                  <a:gd name="connsiteY18" fmla="*/ 863143 h 2373523"/>
                  <a:gd name="connsiteX19" fmla="*/ 12298342 w 12298342"/>
                  <a:gd name="connsiteY19" fmla="*/ 562829 h 2373523"/>
                  <a:gd name="connsiteX20" fmla="*/ 12298342 w 12298342"/>
                  <a:gd name="connsiteY20" fmla="*/ 124447 h 2373523"/>
                  <a:gd name="connsiteX21" fmla="*/ 11692026 w 12298342"/>
                  <a:gd name="connsiteY21" fmla="*/ 299022 h 2373523"/>
                  <a:gd name="connsiteX22" fmla="*/ 11312301 w 12298342"/>
                  <a:gd name="connsiteY22" fmla="*/ 910907 h 2373523"/>
                  <a:gd name="connsiteX23" fmla="*/ 10855556 w 12298342"/>
                  <a:gd name="connsiteY23" fmla="*/ 1525068 h 2373523"/>
                  <a:gd name="connsiteX24" fmla="*/ 10287761 w 12298342"/>
                  <a:gd name="connsiteY24" fmla="*/ 1481851 h 2373523"/>
                  <a:gd name="connsiteX25" fmla="*/ 9780864 w 12298342"/>
                  <a:gd name="connsiteY25" fmla="*/ 922282 h 2373523"/>
                  <a:gd name="connsiteX26" fmla="*/ 9306209 w 12298342"/>
                  <a:gd name="connsiteY26" fmla="*/ 444601 h 2373523"/>
                  <a:gd name="connsiteX27" fmla="*/ 8703410 w 12298342"/>
                  <a:gd name="connsiteY27" fmla="*/ 20131 h 2373523"/>
                  <a:gd name="connsiteX28" fmla="*/ 7302823 w 12298342"/>
                  <a:gd name="connsiteY28" fmla="*/ 62625 h 2373523"/>
                  <a:gd name="connsiteX0" fmla="*/ 8557475 w 12379789"/>
                  <a:gd name="connsiteY0" fmla="*/ 304971 h 2354282"/>
                  <a:gd name="connsiteX1" fmla="*/ 414841 w 12379789"/>
                  <a:gd name="connsiteY1" fmla="*/ 781611 h 2354282"/>
                  <a:gd name="connsiteX2" fmla="*/ 1271642 w 12379789"/>
                  <a:gd name="connsiteY2" fmla="*/ 689168 h 2354282"/>
                  <a:gd name="connsiteX3" fmla="*/ 1966501 w 12379789"/>
                  <a:gd name="connsiteY3" fmla="*/ 723156 h 2354282"/>
                  <a:gd name="connsiteX4" fmla="*/ 2422511 w 12379789"/>
                  <a:gd name="connsiteY4" fmla="*/ 663668 h 2354282"/>
                  <a:gd name="connsiteX5" fmla="*/ 2900233 w 12379789"/>
                  <a:gd name="connsiteY5" fmla="*/ 663668 h 2354282"/>
                  <a:gd name="connsiteX6" fmla="*/ 3671102 w 12379789"/>
                  <a:gd name="connsiteY6" fmla="*/ 706162 h 2354282"/>
                  <a:gd name="connsiteX7" fmla="*/ 4550538 w 12379789"/>
                  <a:gd name="connsiteY7" fmla="*/ 689168 h 2354282"/>
                  <a:gd name="connsiteX8" fmla="*/ 5180256 w 12379789"/>
                  <a:gd name="connsiteY8" fmla="*/ 697674 h 2354282"/>
                  <a:gd name="connsiteX9" fmla="*/ 6016266 w 12379789"/>
                  <a:gd name="connsiteY9" fmla="*/ 697674 h 2354282"/>
                  <a:gd name="connsiteX10" fmla="*/ 7080279 w 12379789"/>
                  <a:gd name="connsiteY10" fmla="*/ 723174 h 2354282"/>
                  <a:gd name="connsiteX11" fmla="*/ 7829434 w 12379789"/>
                  <a:gd name="connsiteY11" fmla="*/ 714668 h 2354282"/>
                  <a:gd name="connsiteX12" fmla="*/ 8361429 w 12379789"/>
                  <a:gd name="connsiteY12" fmla="*/ 706162 h 2354282"/>
                  <a:gd name="connsiteX13" fmla="*/ 8982446 w 12379789"/>
                  <a:gd name="connsiteY13" fmla="*/ 1108910 h 2354282"/>
                  <a:gd name="connsiteX14" fmla="*/ 9552442 w 12379789"/>
                  <a:gd name="connsiteY14" fmla="*/ 1935742 h 2354282"/>
                  <a:gd name="connsiteX15" fmla="*/ 10483842 w 12379789"/>
                  <a:gd name="connsiteY15" fmla="*/ 2354281 h 2354282"/>
                  <a:gd name="connsiteX16" fmla="*/ 11529876 w 12379789"/>
                  <a:gd name="connsiteY16" fmla="*/ 1935744 h 2354282"/>
                  <a:gd name="connsiteX17" fmla="*/ 11820807 w 12379789"/>
                  <a:gd name="connsiteY17" fmla="*/ 1290009 h 2354282"/>
                  <a:gd name="connsiteX18" fmla="*/ 12131703 w 12379789"/>
                  <a:gd name="connsiteY18" fmla="*/ 843902 h 2354282"/>
                  <a:gd name="connsiteX19" fmla="*/ 12379789 w 12379789"/>
                  <a:gd name="connsiteY19" fmla="*/ 543588 h 2354282"/>
                  <a:gd name="connsiteX20" fmla="*/ 12379789 w 12379789"/>
                  <a:gd name="connsiteY20" fmla="*/ 105206 h 2354282"/>
                  <a:gd name="connsiteX21" fmla="*/ 11773473 w 12379789"/>
                  <a:gd name="connsiteY21" fmla="*/ 279781 h 2354282"/>
                  <a:gd name="connsiteX22" fmla="*/ 11393748 w 12379789"/>
                  <a:gd name="connsiteY22" fmla="*/ 891666 h 2354282"/>
                  <a:gd name="connsiteX23" fmla="*/ 10937003 w 12379789"/>
                  <a:gd name="connsiteY23" fmla="*/ 1505827 h 2354282"/>
                  <a:gd name="connsiteX24" fmla="*/ 10369208 w 12379789"/>
                  <a:gd name="connsiteY24" fmla="*/ 1462610 h 2354282"/>
                  <a:gd name="connsiteX25" fmla="*/ 9862311 w 12379789"/>
                  <a:gd name="connsiteY25" fmla="*/ 903041 h 2354282"/>
                  <a:gd name="connsiteX26" fmla="*/ 9387656 w 12379789"/>
                  <a:gd name="connsiteY26" fmla="*/ 425360 h 2354282"/>
                  <a:gd name="connsiteX27" fmla="*/ 8784857 w 12379789"/>
                  <a:gd name="connsiteY27" fmla="*/ 890 h 2354282"/>
                  <a:gd name="connsiteX28" fmla="*/ 8557475 w 12379789"/>
                  <a:gd name="connsiteY28" fmla="*/ 304971 h 2354282"/>
                  <a:gd name="connsiteX0" fmla="*/ 8557477 w 12379791"/>
                  <a:gd name="connsiteY0" fmla="*/ 212886 h 2262197"/>
                  <a:gd name="connsiteX1" fmla="*/ 414843 w 12379791"/>
                  <a:gd name="connsiteY1" fmla="*/ 689526 h 2262197"/>
                  <a:gd name="connsiteX2" fmla="*/ 1271644 w 12379791"/>
                  <a:gd name="connsiteY2" fmla="*/ 597083 h 2262197"/>
                  <a:gd name="connsiteX3" fmla="*/ 1966503 w 12379791"/>
                  <a:gd name="connsiteY3" fmla="*/ 631071 h 2262197"/>
                  <a:gd name="connsiteX4" fmla="*/ 2422513 w 12379791"/>
                  <a:gd name="connsiteY4" fmla="*/ 571583 h 2262197"/>
                  <a:gd name="connsiteX5" fmla="*/ 2900235 w 12379791"/>
                  <a:gd name="connsiteY5" fmla="*/ 571583 h 2262197"/>
                  <a:gd name="connsiteX6" fmla="*/ 3671104 w 12379791"/>
                  <a:gd name="connsiteY6" fmla="*/ 614077 h 2262197"/>
                  <a:gd name="connsiteX7" fmla="*/ 4550540 w 12379791"/>
                  <a:gd name="connsiteY7" fmla="*/ 597083 h 2262197"/>
                  <a:gd name="connsiteX8" fmla="*/ 5180258 w 12379791"/>
                  <a:gd name="connsiteY8" fmla="*/ 605589 h 2262197"/>
                  <a:gd name="connsiteX9" fmla="*/ 6016268 w 12379791"/>
                  <a:gd name="connsiteY9" fmla="*/ 605589 h 2262197"/>
                  <a:gd name="connsiteX10" fmla="*/ 7080281 w 12379791"/>
                  <a:gd name="connsiteY10" fmla="*/ 631089 h 2262197"/>
                  <a:gd name="connsiteX11" fmla="*/ 7829436 w 12379791"/>
                  <a:gd name="connsiteY11" fmla="*/ 622583 h 2262197"/>
                  <a:gd name="connsiteX12" fmla="*/ 8361431 w 12379791"/>
                  <a:gd name="connsiteY12" fmla="*/ 614077 h 2262197"/>
                  <a:gd name="connsiteX13" fmla="*/ 8982448 w 12379791"/>
                  <a:gd name="connsiteY13" fmla="*/ 1016825 h 2262197"/>
                  <a:gd name="connsiteX14" fmla="*/ 9552444 w 12379791"/>
                  <a:gd name="connsiteY14" fmla="*/ 1843657 h 2262197"/>
                  <a:gd name="connsiteX15" fmla="*/ 10483844 w 12379791"/>
                  <a:gd name="connsiteY15" fmla="*/ 2262196 h 2262197"/>
                  <a:gd name="connsiteX16" fmla="*/ 11529878 w 12379791"/>
                  <a:gd name="connsiteY16" fmla="*/ 1843659 h 2262197"/>
                  <a:gd name="connsiteX17" fmla="*/ 11820809 w 12379791"/>
                  <a:gd name="connsiteY17" fmla="*/ 1197924 h 2262197"/>
                  <a:gd name="connsiteX18" fmla="*/ 12131705 w 12379791"/>
                  <a:gd name="connsiteY18" fmla="*/ 751817 h 2262197"/>
                  <a:gd name="connsiteX19" fmla="*/ 12379791 w 12379791"/>
                  <a:gd name="connsiteY19" fmla="*/ 451503 h 2262197"/>
                  <a:gd name="connsiteX20" fmla="*/ 12379791 w 12379791"/>
                  <a:gd name="connsiteY20" fmla="*/ 13121 h 2262197"/>
                  <a:gd name="connsiteX21" fmla="*/ 11773475 w 12379791"/>
                  <a:gd name="connsiteY21" fmla="*/ 187696 h 2262197"/>
                  <a:gd name="connsiteX22" fmla="*/ 11393750 w 12379791"/>
                  <a:gd name="connsiteY22" fmla="*/ 799581 h 2262197"/>
                  <a:gd name="connsiteX23" fmla="*/ 10937005 w 12379791"/>
                  <a:gd name="connsiteY23" fmla="*/ 1413742 h 2262197"/>
                  <a:gd name="connsiteX24" fmla="*/ 10369210 w 12379791"/>
                  <a:gd name="connsiteY24" fmla="*/ 1370525 h 2262197"/>
                  <a:gd name="connsiteX25" fmla="*/ 9862313 w 12379791"/>
                  <a:gd name="connsiteY25" fmla="*/ 810956 h 2262197"/>
                  <a:gd name="connsiteX26" fmla="*/ 9387658 w 12379791"/>
                  <a:gd name="connsiteY26" fmla="*/ 333275 h 2262197"/>
                  <a:gd name="connsiteX27" fmla="*/ 8614705 w 12379791"/>
                  <a:gd name="connsiteY27" fmla="*/ 45280 h 2262197"/>
                  <a:gd name="connsiteX28" fmla="*/ 8557477 w 12379791"/>
                  <a:gd name="connsiteY28" fmla="*/ 212886 h 2262197"/>
                  <a:gd name="connsiteX0" fmla="*/ 8557477 w 12379791"/>
                  <a:gd name="connsiteY0" fmla="*/ 220165 h 2269476"/>
                  <a:gd name="connsiteX1" fmla="*/ 414843 w 12379791"/>
                  <a:gd name="connsiteY1" fmla="*/ 696805 h 2269476"/>
                  <a:gd name="connsiteX2" fmla="*/ 1271644 w 12379791"/>
                  <a:gd name="connsiteY2" fmla="*/ 604362 h 2269476"/>
                  <a:gd name="connsiteX3" fmla="*/ 1966503 w 12379791"/>
                  <a:gd name="connsiteY3" fmla="*/ 638350 h 2269476"/>
                  <a:gd name="connsiteX4" fmla="*/ 2422513 w 12379791"/>
                  <a:gd name="connsiteY4" fmla="*/ 578862 h 2269476"/>
                  <a:gd name="connsiteX5" fmla="*/ 2900235 w 12379791"/>
                  <a:gd name="connsiteY5" fmla="*/ 578862 h 2269476"/>
                  <a:gd name="connsiteX6" fmla="*/ 3671104 w 12379791"/>
                  <a:gd name="connsiteY6" fmla="*/ 621356 h 2269476"/>
                  <a:gd name="connsiteX7" fmla="*/ 4550540 w 12379791"/>
                  <a:gd name="connsiteY7" fmla="*/ 604362 h 2269476"/>
                  <a:gd name="connsiteX8" fmla="*/ 5180258 w 12379791"/>
                  <a:gd name="connsiteY8" fmla="*/ 612868 h 2269476"/>
                  <a:gd name="connsiteX9" fmla="*/ 6016268 w 12379791"/>
                  <a:gd name="connsiteY9" fmla="*/ 612868 h 2269476"/>
                  <a:gd name="connsiteX10" fmla="*/ 7080281 w 12379791"/>
                  <a:gd name="connsiteY10" fmla="*/ 638368 h 2269476"/>
                  <a:gd name="connsiteX11" fmla="*/ 7829436 w 12379791"/>
                  <a:gd name="connsiteY11" fmla="*/ 629862 h 2269476"/>
                  <a:gd name="connsiteX12" fmla="*/ 8361431 w 12379791"/>
                  <a:gd name="connsiteY12" fmla="*/ 621356 h 2269476"/>
                  <a:gd name="connsiteX13" fmla="*/ 8982448 w 12379791"/>
                  <a:gd name="connsiteY13" fmla="*/ 1024104 h 2269476"/>
                  <a:gd name="connsiteX14" fmla="*/ 9552444 w 12379791"/>
                  <a:gd name="connsiteY14" fmla="*/ 1850936 h 2269476"/>
                  <a:gd name="connsiteX15" fmla="*/ 10483844 w 12379791"/>
                  <a:gd name="connsiteY15" fmla="*/ 2269475 h 2269476"/>
                  <a:gd name="connsiteX16" fmla="*/ 11529878 w 12379791"/>
                  <a:gd name="connsiteY16" fmla="*/ 1850938 h 2269476"/>
                  <a:gd name="connsiteX17" fmla="*/ 11820809 w 12379791"/>
                  <a:gd name="connsiteY17" fmla="*/ 1205203 h 2269476"/>
                  <a:gd name="connsiteX18" fmla="*/ 12131705 w 12379791"/>
                  <a:gd name="connsiteY18" fmla="*/ 759096 h 2269476"/>
                  <a:gd name="connsiteX19" fmla="*/ 12379791 w 12379791"/>
                  <a:gd name="connsiteY19" fmla="*/ 458782 h 2269476"/>
                  <a:gd name="connsiteX20" fmla="*/ 12379791 w 12379791"/>
                  <a:gd name="connsiteY20" fmla="*/ 20400 h 2269476"/>
                  <a:gd name="connsiteX21" fmla="*/ 11773475 w 12379791"/>
                  <a:gd name="connsiteY21" fmla="*/ 194975 h 2269476"/>
                  <a:gd name="connsiteX22" fmla="*/ 11393750 w 12379791"/>
                  <a:gd name="connsiteY22" fmla="*/ 806860 h 2269476"/>
                  <a:gd name="connsiteX23" fmla="*/ 10937005 w 12379791"/>
                  <a:gd name="connsiteY23" fmla="*/ 1421021 h 2269476"/>
                  <a:gd name="connsiteX24" fmla="*/ 10369210 w 12379791"/>
                  <a:gd name="connsiteY24" fmla="*/ 1377804 h 2269476"/>
                  <a:gd name="connsiteX25" fmla="*/ 9862313 w 12379791"/>
                  <a:gd name="connsiteY25" fmla="*/ 818235 h 2269476"/>
                  <a:gd name="connsiteX26" fmla="*/ 9387658 w 12379791"/>
                  <a:gd name="connsiteY26" fmla="*/ 340554 h 2269476"/>
                  <a:gd name="connsiteX27" fmla="*/ 8614705 w 12379791"/>
                  <a:gd name="connsiteY27" fmla="*/ 52559 h 2269476"/>
                  <a:gd name="connsiteX28" fmla="*/ 8557477 w 12379791"/>
                  <a:gd name="connsiteY28" fmla="*/ 220165 h 2269476"/>
                  <a:gd name="connsiteX0" fmla="*/ 8557477 w 12379791"/>
                  <a:gd name="connsiteY0" fmla="*/ 220165 h 2269476"/>
                  <a:gd name="connsiteX1" fmla="*/ 414843 w 12379791"/>
                  <a:gd name="connsiteY1" fmla="*/ 696805 h 2269476"/>
                  <a:gd name="connsiteX2" fmla="*/ 1271644 w 12379791"/>
                  <a:gd name="connsiteY2" fmla="*/ 604362 h 2269476"/>
                  <a:gd name="connsiteX3" fmla="*/ 1966503 w 12379791"/>
                  <a:gd name="connsiteY3" fmla="*/ 638350 h 2269476"/>
                  <a:gd name="connsiteX4" fmla="*/ 2422513 w 12379791"/>
                  <a:gd name="connsiteY4" fmla="*/ 578862 h 2269476"/>
                  <a:gd name="connsiteX5" fmla="*/ 2900235 w 12379791"/>
                  <a:gd name="connsiteY5" fmla="*/ 578862 h 2269476"/>
                  <a:gd name="connsiteX6" fmla="*/ 3671104 w 12379791"/>
                  <a:gd name="connsiteY6" fmla="*/ 621356 h 2269476"/>
                  <a:gd name="connsiteX7" fmla="*/ 4550540 w 12379791"/>
                  <a:gd name="connsiteY7" fmla="*/ 604362 h 2269476"/>
                  <a:gd name="connsiteX8" fmla="*/ 5180258 w 12379791"/>
                  <a:gd name="connsiteY8" fmla="*/ 612868 h 2269476"/>
                  <a:gd name="connsiteX9" fmla="*/ 6016268 w 12379791"/>
                  <a:gd name="connsiteY9" fmla="*/ 612868 h 2269476"/>
                  <a:gd name="connsiteX10" fmla="*/ 7080281 w 12379791"/>
                  <a:gd name="connsiteY10" fmla="*/ 638368 h 2269476"/>
                  <a:gd name="connsiteX11" fmla="*/ 7829436 w 12379791"/>
                  <a:gd name="connsiteY11" fmla="*/ 629862 h 2269476"/>
                  <a:gd name="connsiteX12" fmla="*/ 8361431 w 12379791"/>
                  <a:gd name="connsiteY12" fmla="*/ 621356 h 2269476"/>
                  <a:gd name="connsiteX13" fmla="*/ 8982448 w 12379791"/>
                  <a:gd name="connsiteY13" fmla="*/ 1024104 h 2269476"/>
                  <a:gd name="connsiteX14" fmla="*/ 9552444 w 12379791"/>
                  <a:gd name="connsiteY14" fmla="*/ 1850936 h 2269476"/>
                  <a:gd name="connsiteX15" fmla="*/ 10483844 w 12379791"/>
                  <a:gd name="connsiteY15" fmla="*/ 2269475 h 2269476"/>
                  <a:gd name="connsiteX16" fmla="*/ 11529878 w 12379791"/>
                  <a:gd name="connsiteY16" fmla="*/ 1850938 h 2269476"/>
                  <a:gd name="connsiteX17" fmla="*/ 11820809 w 12379791"/>
                  <a:gd name="connsiteY17" fmla="*/ 1205203 h 2269476"/>
                  <a:gd name="connsiteX18" fmla="*/ 12131705 w 12379791"/>
                  <a:gd name="connsiteY18" fmla="*/ 759096 h 2269476"/>
                  <a:gd name="connsiteX19" fmla="*/ 12379791 w 12379791"/>
                  <a:gd name="connsiteY19" fmla="*/ 458782 h 2269476"/>
                  <a:gd name="connsiteX20" fmla="*/ 12379791 w 12379791"/>
                  <a:gd name="connsiteY20" fmla="*/ 20400 h 2269476"/>
                  <a:gd name="connsiteX21" fmla="*/ 11773475 w 12379791"/>
                  <a:gd name="connsiteY21" fmla="*/ 194975 h 2269476"/>
                  <a:gd name="connsiteX22" fmla="*/ 11393750 w 12379791"/>
                  <a:gd name="connsiteY22" fmla="*/ 806860 h 2269476"/>
                  <a:gd name="connsiteX23" fmla="*/ 10937005 w 12379791"/>
                  <a:gd name="connsiteY23" fmla="*/ 1421021 h 2269476"/>
                  <a:gd name="connsiteX24" fmla="*/ 10369210 w 12379791"/>
                  <a:gd name="connsiteY24" fmla="*/ 1377804 h 2269476"/>
                  <a:gd name="connsiteX25" fmla="*/ 9862313 w 12379791"/>
                  <a:gd name="connsiteY25" fmla="*/ 818235 h 2269476"/>
                  <a:gd name="connsiteX26" fmla="*/ 9387658 w 12379791"/>
                  <a:gd name="connsiteY26" fmla="*/ 340554 h 2269476"/>
                  <a:gd name="connsiteX27" fmla="*/ 8614705 w 12379791"/>
                  <a:gd name="connsiteY27" fmla="*/ 52559 h 2269476"/>
                  <a:gd name="connsiteX28" fmla="*/ 8557477 w 12379791"/>
                  <a:gd name="connsiteY28" fmla="*/ 220165 h 2269476"/>
                  <a:gd name="connsiteX0" fmla="*/ 8557477 w 12379791"/>
                  <a:gd name="connsiteY0" fmla="*/ 212886 h 2262197"/>
                  <a:gd name="connsiteX1" fmla="*/ 414843 w 12379791"/>
                  <a:gd name="connsiteY1" fmla="*/ 689526 h 2262197"/>
                  <a:gd name="connsiteX2" fmla="*/ 1271644 w 12379791"/>
                  <a:gd name="connsiteY2" fmla="*/ 597083 h 2262197"/>
                  <a:gd name="connsiteX3" fmla="*/ 1966503 w 12379791"/>
                  <a:gd name="connsiteY3" fmla="*/ 631071 h 2262197"/>
                  <a:gd name="connsiteX4" fmla="*/ 2422513 w 12379791"/>
                  <a:gd name="connsiteY4" fmla="*/ 571583 h 2262197"/>
                  <a:gd name="connsiteX5" fmla="*/ 2900235 w 12379791"/>
                  <a:gd name="connsiteY5" fmla="*/ 571583 h 2262197"/>
                  <a:gd name="connsiteX6" fmla="*/ 3671104 w 12379791"/>
                  <a:gd name="connsiteY6" fmla="*/ 614077 h 2262197"/>
                  <a:gd name="connsiteX7" fmla="*/ 4550540 w 12379791"/>
                  <a:gd name="connsiteY7" fmla="*/ 597083 h 2262197"/>
                  <a:gd name="connsiteX8" fmla="*/ 5180258 w 12379791"/>
                  <a:gd name="connsiteY8" fmla="*/ 605589 h 2262197"/>
                  <a:gd name="connsiteX9" fmla="*/ 6016268 w 12379791"/>
                  <a:gd name="connsiteY9" fmla="*/ 605589 h 2262197"/>
                  <a:gd name="connsiteX10" fmla="*/ 7080281 w 12379791"/>
                  <a:gd name="connsiteY10" fmla="*/ 631089 h 2262197"/>
                  <a:gd name="connsiteX11" fmla="*/ 7829436 w 12379791"/>
                  <a:gd name="connsiteY11" fmla="*/ 622583 h 2262197"/>
                  <a:gd name="connsiteX12" fmla="*/ 8361431 w 12379791"/>
                  <a:gd name="connsiteY12" fmla="*/ 614077 h 2262197"/>
                  <a:gd name="connsiteX13" fmla="*/ 8982448 w 12379791"/>
                  <a:gd name="connsiteY13" fmla="*/ 1016825 h 2262197"/>
                  <a:gd name="connsiteX14" fmla="*/ 9552444 w 12379791"/>
                  <a:gd name="connsiteY14" fmla="*/ 1843657 h 2262197"/>
                  <a:gd name="connsiteX15" fmla="*/ 10483844 w 12379791"/>
                  <a:gd name="connsiteY15" fmla="*/ 2262196 h 2262197"/>
                  <a:gd name="connsiteX16" fmla="*/ 11529878 w 12379791"/>
                  <a:gd name="connsiteY16" fmla="*/ 1843659 h 2262197"/>
                  <a:gd name="connsiteX17" fmla="*/ 11820809 w 12379791"/>
                  <a:gd name="connsiteY17" fmla="*/ 1197924 h 2262197"/>
                  <a:gd name="connsiteX18" fmla="*/ 12131705 w 12379791"/>
                  <a:gd name="connsiteY18" fmla="*/ 751817 h 2262197"/>
                  <a:gd name="connsiteX19" fmla="*/ 12379791 w 12379791"/>
                  <a:gd name="connsiteY19" fmla="*/ 451503 h 2262197"/>
                  <a:gd name="connsiteX20" fmla="*/ 12379791 w 12379791"/>
                  <a:gd name="connsiteY20" fmla="*/ 13121 h 2262197"/>
                  <a:gd name="connsiteX21" fmla="*/ 11773475 w 12379791"/>
                  <a:gd name="connsiteY21" fmla="*/ 187696 h 2262197"/>
                  <a:gd name="connsiteX22" fmla="*/ 11393750 w 12379791"/>
                  <a:gd name="connsiteY22" fmla="*/ 799581 h 2262197"/>
                  <a:gd name="connsiteX23" fmla="*/ 10937005 w 12379791"/>
                  <a:gd name="connsiteY23" fmla="*/ 1413742 h 2262197"/>
                  <a:gd name="connsiteX24" fmla="*/ 10369210 w 12379791"/>
                  <a:gd name="connsiteY24" fmla="*/ 1370525 h 2262197"/>
                  <a:gd name="connsiteX25" fmla="*/ 9862313 w 12379791"/>
                  <a:gd name="connsiteY25" fmla="*/ 810956 h 2262197"/>
                  <a:gd name="connsiteX26" fmla="*/ 9387658 w 12379791"/>
                  <a:gd name="connsiteY26" fmla="*/ 333275 h 2262197"/>
                  <a:gd name="connsiteX27" fmla="*/ 8557477 w 12379791"/>
                  <a:gd name="connsiteY27" fmla="*/ 212886 h 2262197"/>
                  <a:gd name="connsiteX0" fmla="*/ 8557477 w 12379791"/>
                  <a:gd name="connsiteY0" fmla="*/ 212886 h 2262197"/>
                  <a:gd name="connsiteX1" fmla="*/ 414843 w 12379791"/>
                  <a:gd name="connsiteY1" fmla="*/ 689526 h 2262197"/>
                  <a:gd name="connsiteX2" fmla="*/ 1271644 w 12379791"/>
                  <a:gd name="connsiteY2" fmla="*/ 597083 h 2262197"/>
                  <a:gd name="connsiteX3" fmla="*/ 1966503 w 12379791"/>
                  <a:gd name="connsiteY3" fmla="*/ 631071 h 2262197"/>
                  <a:gd name="connsiteX4" fmla="*/ 2422513 w 12379791"/>
                  <a:gd name="connsiteY4" fmla="*/ 571583 h 2262197"/>
                  <a:gd name="connsiteX5" fmla="*/ 2900235 w 12379791"/>
                  <a:gd name="connsiteY5" fmla="*/ 571583 h 2262197"/>
                  <a:gd name="connsiteX6" fmla="*/ 3671104 w 12379791"/>
                  <a:gd name="connsiteY6" fmla="*/ 614077 h 2262197"/>
                  <a:gd name="connsiteX7" fmla="*/ 4550540 w 12379791"/>
                  <a:gd name="connsiteY7" fmla="*/ 597083 h 2262197"/>
                  <a:gd name="connsiteX8" fmla="*/ 5180258 w 12379791"/>
                  <a:gd name="connsiteY8" fmla="*/ 605589 h 2262197"/>
                  <a:gd name="connsiteX9" fmla="*/ 6016268 w 12379791"/>
                  <a:gd name="connsiteY9" fmla="*/ 605589 h 2262197"/>
                  <a:gd name="connsiteX10" fmla="*/ 7080281 w 12379791"/>
                  <a:gd name="connsiteY10" fmla="*/ 631089 h 2262197"/>
                  <a:gd name="connsiteX11" fmla="*/ 7829436 w 12379791"/>
                  <a:gd name="connsiteY11" fmla="*/ 622583 h 2262197"/>
                  <a:gd name="connsiteX12" fmla="*/ 8361431 w 12379791"/>
                  <a:gd name="connsiteY12" fmla="*/ 614077 h 2262197"/>
                  <a:gd name="connsiteX13" fmla="*/ 8982448 w 12379791"/>
                  <a:gd name="connsiteY13" fmla="*/ 1016825 h 2262197"/>
                  <a:gd name="connsiteX14" fmla="*/ 9552444 w 12379791"/>
                  <a:gd name="connsiteY14" fmla="*/ 1843657 h 2262197"/>
                  <a:gd name="connsiteX15" fmla="*/ 10483844 w 12379791"/>
                  <a:gd name="connsiteY15" fmla="*/ 2262196 h 2262197"/>
                  <a:gd name="connsiteX16" fmla="*/ 11529878 w 12379791"/>
                  <a:gd name="connsiteY16" fmla="*/ 1843659 h 2262197"/>
                  <a:gd name="connsiteX17" fmla="*/ 11820809 w 12379791"/>
                  <a:gd name="connsiteY17" fmla="*/ 1197924 h 2262197"/>
                  <a:gd name="connsiteX18" fmla="*/ 12131705 w 12379791"/>
                  <a:gd name="connsiteY18" fmla="*/ 751817 h 2262197"/>
                  <a:gd name="connsiteX19" fmla="*/ 12379791 w 12379791"/>
                  <a:gd name="connsiteY19" fmla="*/ 451503 h 2262197"/>
                  <a:gd name="connsiteX20" fmla="*/ 12379791 w 12379791"/>
                  <a:gd name="connsiteY20" fmla="*/ 13121 h 2262197"/>
                  <a:gd name="connsiteX21" fmla="*/ 11773475 w 12379791"/>
                  <a:gd name="connsiteY21" fmla="*/ 187696 h 2262197"/>
                  <a:gd name="connsiteX22" fmla="*/ 11393750 w 12379791"/>
                  <a:gd name="connsiteY22" fmla="*/ 799581 h 2262197"/>
                  <a:gd name="connsiteX23" fmla="*/ 10937005 w 12379791"/>
                  <a:gd name="connsiteY23" fmla="*/ 1413742 h 2262197"/>
                  <a:gd name="connsiteX24" fmla="*/ 10369210 w 12379791"/>
                  <a:gd name="connsiteY24" fmla="*/ 1370525 h 2262197"/>
                  <a:gd name="connsiteX25" fmla="*/ 9862313 w 12379791"/>
                  <a:gd name="connsiteY25" fmla="*/ 810956 h 2262197"/>
                  <a:gd name="connsiteX26" fmla="*/ 9450348 w 12379791"/>
                  <a:gd name="connsiteY26" fmla="*/ 299156 h 2262197"/>
                  <a:gd name="connsiteX27" fmla="*/ 8557477 w 12379791"/>
                  <a:gd name="connsiteY27" fmla="*/ 212886 h 2262197"/>
                  <a:gd name="connsiteX0" fmla="*/ 8557477 w 12379791"/>
                  <a:gd name="connsiteY0" fmla="*/ 212886 h 2262197"/>
                  <a:gd name="connsiteX1" fmla="*/ 414843 w 12379791"/>
                  <a:gd name="connsiteY1" fmla="*/ 689526 h 2262197"/>
                  <a:gd name="connsiteX2" fmla="*/ 1271644 w 12379791"/>
                  <a:gd name="connsiteY2" fmla="*/ 597083 h 2262197"/>
                  <a:gd name="connsiteX3" fmla="*/ 1966503 w 12379791"/>
                  <a:gd name="connsiteY3" fmla="*/ 631071 h 2262197"/>
                  <a:gd name="connsiteX4" fmla="*/ 2422513 w 12379791"/>
                  <a:gd name="connsiteY4" fmla="*/ 571583 h 2262197"/>
                  <a:gd name="connsiteX5" fmla="*/ 2900235 w 12379791"/>
                  <a:gd name="connsiteY5" fmla="*/ 571583 h 2262197"/>
                  <a:gd name="connsiteX6" fmla="*/ 3671104 w 12379791"/>
                  <a:gd name="connsiteY6" fmla="*/ 614077 h 2262197"/>
                  <a:gd name="connsiteX7" fmla="*/ 4550540 w 12379791"/>
                  <a:gd name="connsiteY7" fmla="*/ 597083 h 2262197"/>
                  <a:gd name="connsiteX8" fmla="*/ 5180258 w 12379791"/>
                  <a:gd name="connsiteY8" fmla="*/ 605589 h 2262197"/>
                  <a:gd name="connsiteX9" fmla="*/ 6016268 w 12379791"/>
                  <a:gd name="connsiteY9" fmla="*/ 605589 h 2262197"/>
                  <a:gd name="connsiteX10" fmla="*/ 7080281 w 12379791"/>
                  <a:gd name="connsiteY10" fmla="*/ 631089 h 2262197"/>
                  <a:gd name="connsiteX11" fmla="*/ 7829436 w 12379791"/>
                  <a:gd name="connsiteY11" fmla="*/ 622583 h 2262197"/>
                  <a:gd name="connsiteX12" fmla="*/ 8361431 w 12379791"/>
                  <a:gd name="connsiteY12" fmla="*/ 614077 h 2262197"/>
                  <a:gd name="connsiteX13" fmla="*/ 8982448 w 12379791"/>
                  <a:gd name="connsiteY13" fmla="*/ 1016825 h 2262197"/>
                  <a:gd name="connsiteX14" fmla="*/ 9552444 w 12379791"/>
                  <a:gd name="connsiteY14" fmla="*/ 1843657 h 2262197"/>
                  <a:gd name="connsiteX15" fmla="*/ 10483844 w 12379791"/>
                  <a:gd name="connsiteY15" fmla="*/ 2262196 h 2262197"/>
                  <a:gd name="connsiteX16" fmla="*/ 11529878 w 12379791"/>
                  <a:gd name="connsiteY16" fmla="*/ 1843659 h 2262197"/>
                  <a:gd name="connsiteX17" fmla="*/ 11820809 w 12379791"/>
                  <a:gd name="connsiteY17" fmla="*/ 1197924 h 2262197"/>
                  <a:gd name="connsiteX18" fmla="*/ 12131705 w 12379791"/>
                  <a:gd name="connsiteY18" fmla="*/ 751817 h 2262197"/>
                  <a:gd name="connsiteX19" fmla="*/ 12379791 w 12379791"/>
                  <a:gd name="connsiteY19" fmla="*/ 451503 h 2262197"/>
                  <a:gd name="connsiteX20" fmla="*/ 12379791 w 12379791"/>
                  <a:gd name="connsiteY20" fmla="*/ 13121 h 2262197"/>
                  <a:gd name="connsiteX21" fmla="*/ 11773475 w 12379791"/>
                  <a:gd name="connsiteY21" fmla="*/ 187696 h 2262197"/>
                  <a:gd name="connsiteX22" fmla="*/ 11393750 w 12379791"/>
                  <a:gd name="connsiteY22" fmla="*/ 799581 h 2262197"/>
                  <a:gd name="connsiteX23" fmla="*/ 10937005 w 12379791"/>
                  <a:gd name="connsiteY23" fmla="*/ 1413742 h 2262197"/>
                  <a:gd name="connsiteX24" fmla="*/ 10369210 w 12379791"/>
                  <a:gd name="connsiteY24" fmla="*/ 1370525 h 2262197"/>
                  <a:gd name="connsiteX25" fmla="*/ 9862313 w 12379791"/>
                  <a:gd name="connsiteY25" fmla="*/ 810956 h 2262197"/>
                  <a:gd name="connsiteX26" fmla="*/ 9450348 w 12379791"/>
                  <a:gd name="connsiteY26" fmla="*/ 299156 h 2262197"/>
                  <a:gd name="connsiteX27" fmla="*/ 8557477 w 12379791"/>
                  <a:gd name="connsiteY27" fmla="*/ 212886 h 2262197"/>
                  <a:gd name="connsiteX0" fmla="*/ 8557477 w 12379791"/>
                  <a:gd name="connsiteY0" fmla="*/ 212886 h 2262197"/>
                  <a:gd name="connsiteX1" fmla="*/ 414843 w 12379791"/>
                  <a:gd name="connsiteY1" fmla="*/ 689526 h 2262197"/>
                  <a:gd name="connsiteX2" fmla="*/ 1271644 w 12379791"/>
                  <a:gd name="connsiteY2" fmla="*/ 597083 h 2262197"/>
                  <a:gd name="connsiteX3" fmla="*/ 1966503 w 12379791"/>
                  <a:gd name="connsiteY3" fmla="*/ 631071 h 2262197"/>
                  <a:gd name="connsiteX4" fmla="*/ 2422513 w 12379791"/>
                  <a:gd name="connsiteY4" fmla="*/ 571583 h 2262197"/>
                  <a:gd name="connsiteX5" fmla="*/ 2900235 w 12379791"/>
                  <a:gd name="connsiteY5" fmla="*/ 571583 h 2262197"/>
                  <a:gd name="connsiteX6" fmla="*/ 4550540 w 12379791"/>
                  <a:gd name="connsiteY6" fmla="*/ 597083 h 2262197"/>
                  <a:gd name="connsiteX7" fmla="*/ 5180258 w 12379791"/>
                  <a:gd name="connsiteY7" fmla="*/ 605589 h 2262197"/>
                  <a:gd name="connsiteX8" fmla="*/ 6016268 w 12379791"/>
                  <a:gd name="connsiteY8" fmla="*/ 605589 h 2262197"/>
                  <a:gd name="connsiteX9" fmla="*/ 7080281 w 12379791"/>
                  <a:gd name="connsiteY9" fmla="*/ 631089 h 2262197"/>
                  <a:gd name="connsiteX10" fmla="*/ 7829436 w 12379791"/>
                  <a:gd name="connsiteY10" fmla="*/ 622583 h 2262197"/>
                  <a:gd name="connsiteX11" fmla="*/ 8361431 w 12379791"/>
                  <a:gd name="connsiteY11" fmla="*/ 614077 h 2262197"/>
                  <a:gd name="connsiteX12" fmla="*/ 8982448 w 12379791"/>
                  <a:gd name="connsiteY12" fmla="*/ 1016825 h 2262197"/>
                  <a:gd name="connsiteX13" fmla="*/ 9552444 w 12379791"/>
                  <a:gd name="connsiteY13" fmla="*/ 1843657 h 2262197"/>
                  <a:gd name="connsiteX14" fmla="*/ 10483844 w 12379791"/>
                  <a:gd name="connsiteY14" fmla="*/ 2262196 h 2262197"/>
                  <a:gd name="connsiteX15" fmla="*/ 11529878 w 12379791"/>
                  <a:gd name="connsiteY15" fmla="*/ 1843659 h 2262197"/>
                  <a:gd name="connsiteX16" fmla="*/ 11820809 w 12379791"/>
                  <a:gd name="connsiteY16" fmla="*/ 1197924 h 2262197"/>
                  <a:gd name="connsiteX17" fmla="*/ 12131705 w 12379791"/>
                  <a:gd name="connsiteY17" fmla="*/ 751817 h 2262197"/>
                  <a:gd name="connsiteX18" fmla="*/ 12379791 w 12379791"/>
                  <a:gd name="connsiteY18" fmla="*/ 451503 h 2262197"/>
                  <a:gd name="connsiteX19" fmla="*/ 12379791 w 12379791"/>
                  <a:gd name="connsiteY19" fmla="*/ 13121 h 2262197"/>
                  <a:gd name="connsiteX20" fmla="*/ 11773475 w 12379791"/>
                  <a:gd name="connsiteY20" fmla="*/ 187696 h 2262197"/>
                  <a:gd name="connsiteX21" fmla="*/ 11393750 w 12379791"/>
                  <a:gd name="connsiteY21" fmla="*/ 799581 h 2262197"/>
                  <a:gd name="connsiteX22" fmla="*/ 10937005 w 12379791"/>
                  <a:gd name="connsiteY22" fmla="*/ 1413742 h 2262197"/>
                  <a:gd name="connsiteX23" fmla="*/ 10369210 w 12379791"/>
                  <a:gd name="connsiteY23" fmla="*/ 1370525 h 2262197"/>
                  <a:gd name="connsiteX24" fmla="*/ 9862313 w 12379791"/>
                  <a:gd name="connsiteY24" fmla="*/ 810956 h 2262197"/>
                  <a:gd name="connsiteX25" fmla="*/ 9450348 w 12379791"/>
                  <a:gd name="connsiteY25" fmla="*/ 299156 h 2262197"/>
                  <a:gd name="connsiteX26" fmla="*/ 8557477 w 12379791"/>
                  <a:gd name="connsiteY26" fmla="*/ 212886 h 2262197"/>
                  <a:gd name="connsiteX0" fmla="*/ 8557477 w 12379791"/>
                  <a:gd name="connsiteY0" fmla="*/ 212886 h 2262197"/>
                  <a:gd name="connsiteX1" fmla="*/ 414843 w 12379791"/>
                  <a:gd name="connsiteY1" fmla="*/ 689526 h 2262197"/>
                  <a:gd name="connsiteX2" fmla="*/ 1271644 w 12379791"/>
                  <a:gd name="connsiteY2" fmla="*/ 597083 h 2262197"/>
                  <a:gd name="connsiteX3" fmla="*/ 1966503 w 12379791"/>
                  <a:gd name="connsiteY3" fmla="*/ 631071 h 2262197"/>
                  <a:gd name="connsiteX4" fmla="*/ 2422513 w 12379791"/>
                  <a:gd name="connsiteY4" fmla="*/ 571583 h 2262197"/>
                  <a:gd name="connsiteX5" fmla="*/ 2900235 w 12379791"/>
                  <a:gd name="connsiteY5" fmla="*/ 571583 h 2262197"/>
                  <a:gd name="connsiteX6" fmla="*/ 5180258 w 12379791"/>
                  <a:gd name="connsiteY6" fmla="*/ 605589 h 2262197"/>
                  <a:gd name="connsiteX7" fmla="*/ 6016268 w 12379791"/>
                  <a:gd name="connsiteY7" fmla="*/ 605589 h 2262197"/>
                  <a:gd name="connsiteX8" fmla="*/ 7080281 w 12379791"/>
                  <a:gd name="connsiteY8" fmla="*/ 631089 h 2262197"/>
                  <a:gd name="connsiteX9" fmla="*/ 7829436 w 12379791"/>
                  <a:gd name="connsiteY9" fmla="*/ 622583 h 2262197"/>
                  <a:gd name="connsiteX10" fmla="*/ 8361431 w 12379791"/>
                  <a:gd name="connsiteY10" fmla="*/ 614077 h 2262197"/>
                  <a:gd name="connsiteX11" fmla="*/ 8982448 w 12379791"/>
                  <a:gd name="connsiteY11" fmla="*/ 1016825 h 2262197"/>
                  <a:gd name="connsiteX12" fmla="*/ 9552444 w 12379791"/>
                  <a:gd name="connsiteY12" fmla="*/ 1843657 h 2262197"/>
                  <a:gd name="connsiteX13" fmla="*/ 10483844 w 12379791"/>
                  <a:gd name="connsiteY13" fmla="*/ 2262196 h 2262197"/>
                  <a:gd name="connsiteX14" fmla="*/ 11529878 w 12379791"/>
                  <a:gd name="connsiteY14" fmla="*/ 1843659 h 2262197"/>
                  <a:gd name="connsiteX15" fmla="*/ 11820809 w 12379791"/>
                  <a:gd name="connsiteY15" fmla="*/ 1197924 h 2262197"/>
                  <a:gd name="connsiteX16" fmla="*/ 12131705 w 12379791"/>
                  <a:gd name="connsiteY16" fmla="*/ 751817 h 2262197"/>
                  <a:gd name="connsiteX17" fmla="*/ 12379791 w 12379791"/>
                  <a:gd name="connsiteY17" fmla="*/ 451503 h 2262197"/>
                  <a:gd name="connsiteX18" fmla="*/ 12379791 w 12379791"/>
                  <a:gd name="connsiteY18" fmla="*/ 13121 h 2262197"/>
                  <a:gd name="connsiteX19" fmla="*/ 11773475 w 12379791"/>
                  <a:gd name="connsiteY19" fmla="*/ 187696 h 2262197"/>
                  <a:gd name="connsiteX20" fmla="*/ 11393750 w 12379791"/>
                  <a:gd name="connsiteY20" fmla="*/ 799581 h 2262197"/>
                  <a:gd name="connsiteX21" fmla="*/ 10937005 w 12379791"/>
                  <a:gd name="connsiteY21" fmla="*/ 1413742 h 2262197"/>
                  <a:gd name="connsiteX22" fmla="*/ 10369210 w 12379791"/>
                  <a:gd name="connsiteY22" fmla="*/ 1370525 h 2262197"/>
                  <a:gd name="connsiteX23" fmla="*/ 9862313 w 12379791"/>
                  <a:gd name="connsiteY23" fmla="*/ 810956 h 2262197"/>
                  <a:gd name="connsiteX24" fmla="*/ 9450348 w 12379791"/>
                  <a:gd name="connsiteY24" fmla="*/ 299156 h 2262197"/>
                  <a:gd name="connsiteX25" fmla="*/ 8557477 w 12379791"/>
                  <a:gd name="connsiteY25" fmla="*/ 212886 h 2262197"/>
                  <a:gd name="connsiteX0" fmla="*/ 8557477 w 12379791"/>
                  <a:gd name="connsiteY0" fmla="*/ 212886 h 2262197"/>
                  <a:gd name="connsiteX1" fmla="*/ 414843 w 12379791"/>
                  <a:gd name="connsiteY1" fmla="*/ 689526 h 2262197"/>
                  <a:gd name="connsiteX2" fmla="*/ 1271644 w 12379791"/>
                  <a:gd name="connsiteY2" fmla="*/ 597083 h 2262197"/>
                  <a:gd name="connsiteX3" fmla="*/ 1966503 w 12379791"/>
                  <a:gd name="connsiteY3" fmla="*/ 631071 h 2262197"/>
                  <a:gd name="connsiteX4" fmla="*/ 2422513 w 12379791"/>
                  <a:gd name="connsiteY4" fmla="*/ 571583 h 2262197"/>
                  <a:gd name="connsiteX5" fmla="*/ 2900235 w 12379791"/>
                  <a:gd name="connsiteY5" fmla="*/ 571583 h 2262197"/>
                  <a:gd name="connsiteX6" fmla="*/ 6016268 w 12379791"/>
                  <a:gd name="connsiteY6" fmla="*/ 605589 h 2262197"/>
                  <a:gd name="connsiteX7" fmla="*/ 7080281 w 12379791"/>
                  <a:gd name="connsiteY7" fmla="*/ 631089 h 2262197"/>
                  <a:gd name="connsiteX8" fmla="*/ 7829436 w 12379791"/>
                  <a:gd name="connsiteY8" fmla="*/ 622583 h 2262197"/>
                  <a:gd name="connsiteX9" fmla="*/ 8361431 w 12379791"/>
                  <a:gd name="connsiteY9" fmla="*/ 614077 h 2262197"/>
                  <a:gd name="connsiteX10" fmla="*/ 8982448 w 12379791"/>
                  <a:gd name="connsiteY10" fmla="*/ 1016825 h 2262197"/>
                  <a:gd name="connsiteX11" fmla="*/ 9552444 w 12379791"/>
                  <a:gd name="connsiteY11" fmla="*/ 1843657 h 2262197"/>
                  <a:gd name="connsiteX12" fmla="*/ 10483844 w 12379791"/>
                  <a:gd name="connsiteY12" fmla="*/ 2262196 h 2262197"/>
                  <a:gd name="connsiteX13" fmla="*/ 11529878 w 12379791"/>
                  <a:gd name="connsiteY13" fmla="*/ 1843659 h 2262197"/>
                  <a:gd name="connsiteX14" fmla="*/ 11820809 w 12379791"/>
                  <a:gd name="connsiteY14" fmla="*/ 1197924 h 2262197"/>
                  <a:gd name="connsiteX15" fmla="*/ 12131705 w 12379791"/>
                  <a:gd name="connsiteY15" fmla="*/ 751817 h 2262197"/>
                  <a:gd name="connsiteX16" fmla="*/ 12379791 w 12379791"/>
                  <a:gd name="connsiteY16" fmla="*/ 451503 h 2262197"/>
                  <a:gd name="connsiteX17" fmla="*/ 12379791 w 12379791"/>
                  <a:gd name="connsiteY17" fmla="*/ 13121 h 2262197"/>
                  <a:gd name="connsiteX18" fmla="*/ 11773475 w 12379791"/>
                  <a:gd name="connsiteY18" fmla="*/ 187696 h 2262197"/>
                  <a:gd name="connsiteX19" fmla="*/ 11393750 w 12379791"/>
                  <a:gd name="connsiteY19" fmla="*/ 799581 h 2262197"/>
                  <a:gd name="connsiteX20" fmla="*/ 10937005 w 12379791"/>
                  <a:gd name="connsiteY20" fmla="*/ 1413742 h 2262197"/>
                  <a:gd name="connsiteX21" fmla="*/ 10369210 w 12379791"/>
                  <a:gd name="connsiteY21" fmla="*/ 1370525 h 2262197"/>
                  <a:gd name="connsiteX22" fmla="*/ 9862313 w 12379791"/>
                  <a:gd name="connsiteY22" fmla="*/ 810956 h 2262197"/>
                  <a:gd name="connsiteX23" fmla="*/ 9450348 w 12379791"/>
                  <a:gd name="connsiteY23" fmla="*/ 299156 h 2262197"/>
                  <a:gd name="connsiteX24" fmla="*/ 8557477 w 12379791"/>
                  <a:gd name="connsiteY24" fmla="*/ 212886 h 2262197"/>
                  <a:gd name="connsiteX0" fmla="*/ 8557477 w 12379791"/>
                  <a:gd name="connsiteY0" fmla="*/ 212886 h 2262197"/>
                  <a:gd name="connsiteX1" fmla="*/ 414843 w 12379791"/>
                  <a:gd name="connsiteY1" fmla="*/ 689526 h 2262197"/>
                  <a:gd name="connsiteX2" fmla="*/ 1271644 w 12379791"/>
                  <a:gd name="connsiteY2" fmla="*/ 597083 h 2262197"/>
                  <a:gd name="connsiteX3" fmla="*/ 1966503 w 12379791"/>
                  <a:gd name="connsiteY3" fmla="*/ 631071 h 2262197"/>
                  <a:gd name="connsiteX4" fmla="*/ 2422513 w 12379791"/>
                  <a:gd name="connsiteY4" fmla="*/ 571583 h 2262197"/>
                  <a:gd name="connsiteX5" fmla="*/ 2900235 w 12379791"/>
                  <a:gd name="connsiteY5" fmla="*/ 571583 h 2262197"/>
                  <a:gd name="connsiteX6" fmla="*/ 7080281 w 12379791"/>
                  <a:gd name="connsiteY6" fmla="*/ 631089 h 2262197"/>
                  <a:gd name="connsiteX7" fmla="*/ 7829436 w 12379791"/>
                  <a:gd name="connsiteY7" fmla="*/ 622583 h 2262197"/>
                  <a:gd name="connsiteX8" fmla="*/ 8361431 w 12379791"/>
                  <a:gd name="connsiteY8" fmla="*/ 614077 h 2262197"/>
                  <a:gd name="connsiteX9" fmla="*/ 8982448 w 12379791"/>
                  <a:gd name="connsiteY9" fmla="*/ 1016825 h 2262197"/>
                  <a:gd name="connsiteX10" fmla="*/ 9552444 w 12379791"/>
                  <a:gd name="connsiteY10" fmla="*/ 1843657 h 2262197"/>
                  <a:gd name="connsiteX11" fmla="*/ 10483844 w 12379791"/>
                  <a:gd name="connsiteY11" fmla="*/ 2262196 h 2262197"/>
                  <a:gd name="connsiteX12" fmla="*/ 11529878 w 12379791"/>
                  <a:gd name="connsiteY12" fmla="*/ 1843659 h 2262197"/>
                  <a:gd name="connsiteX13" fmla="*/ 11820809 w 12379791"/>
                  <a:gd name="connsiteY13" fmla="*/ 1197924 h 2262197"/>
                  <a:gd name="connsiteX14" fmla="*/ 12131705 w 12379791"/>
                  <a:gd name="connsiteY14" fmla="*/ 751817 h 2262197"/>
                  <a:gd name="connsiteX15" fmla="*/ 12379791 w 12379791"/>
                  <a:gd name="connsiteY15" fmla="*/ 451503 h 2262197"/>
                  <a:gd name="connsiteX16" fmla="*/ 12379791 w 12379791"/>
                  <a:gd name="connsiteY16" fmla="*/ 13121 h 2262197"/>
                  <a:gd name="connsiteX17" fmla="*/ 11773475 w 12379791"/>
                  <a:gd name="connsiteY17" fmla="*/ 187696 h 2262197"/>
                  <a:gd name="connsiteX18" fmla="*/ 11393750 w 12379791"/>
                  <a:gd name="connsiteY18" fmla="*/ 799581 h 2262197"/>
                  <a:gd name="connsiteX19" fmla="*/ 10937005 w 12379791"/>
                  <a:gd name="connsiteY19" fmla="*/ 1413742 h 2262197"/>
                  <a:gd name="connsiteX20" fmla="*/ 10369210 w 12379791"/>
                  <a:gd name="connsiteY20" fmla="*/ 1370525 h 2262197"/>
                  <a:gd name="connsiteX21" fmla="*/ 9862313 w 12379791"/>
                  <a:gd name="connsiteY21" fmla="*/ 810956 h 2262197"/>
                  <a:gd name="connsiteX22" fmla="*/ 9450348 w 12379791"/>
                  <a:gd name="connsiteY22" fmla="*/ 299156 h 2262197"/>
                  <a:gd name="connsiteX23" fmla="*/ 8557477 w 12379791"/>
                  <a:gd name="connsiteY23" fmla="*/ 212886 h 2262197"/>
                  <a:gd name="connsiteX0" fmla="*/ 8557477 w 12379791"/>
                  <a:gd name="connsiteY0" fmla="*/ 212886 h 2262197"/>
                  <a:gd name="connsiteX1" fmla="*/ 414843 w 12379791"/>
                  <a:gd name="connsiteY1" fmla="*/ 689526 h 2262197"/>
                  <a:gd name="connsiteX2" fmla="*/ 1271644 w 12379791"/>
                  <a:gd name="connsiteY2" fmla="*/ 597083 h 2262197"/>
                  <a:gd name="connsiteX3" fmla="*/ 1966503 w 12379791"/>
                  <a:gd name="connsiteY3" fmla="*/ 631071 h 2262197"/>
                  <a:gd name="connsiteX4" fmla="*/ 2422513 w 12379791"/>
                  <a:gd name="connsiteY4" fmla="*/ 571583 h 2262197"/>
                  <a:gd name="connsiteX5" fmla="*/ 2900235 w 12379791"/>
                  <a:gd name="connsiteY5" fmla="*/ 571583 h 2262197"/>
                  <a:gd name="connsiteX6" fmla="*/ 7829436 w 12379791"/>
                  <a:gd name="connsiteY6" fmla="*/ 622583 h 2262197"/>
                  <a:gd name="connsiteX7" fmla="*/ 8361431 w 12379791"/>
                  <a:gd name="connsiteY7" fmla="*/ 614077 h 2262197"/>
                  <a:gd name="connsiteX8" fmla="*/ 8982448 w 12379791"/>
                  <a:gd name="connsiteY8" fmla="*/ 1016825 h 2262197"/>
                  <a:gd name="connsiteX9" fmla="*/ 9552444 w 12379791"/>
                  <a:gd name="connsiteY9" fmla="*/ 1843657 h 2262197"/>
                  <a:gd name="connsiteX10" fmla="*/ 10483844 w 12379791"/>
                  <a:gd name="connsiteY10" fmla="*/ 2262196 h 2262197"/>
                  <a:gd name="connsiteX11" fmla="*/ 11529878 w 12379791"/>
                  <a:gd name="connsiteY11" fmla="*/ 1843659 h 2262197"/>
                  <a:gd name="connsiteX12" fmla="*/ 11820809 w 12379791"/>
                  <a:gd name="connsiteY12" fmla="*/ 1197924 h 2262197"/>
                  <a:gd name="connsiteX13" fmla="*/ 12131705 w 12379791"/>
                  <a:gd name="connsiteY13" fmla="*/ 751817 h 2262197"/>
                  <a:gd name="connsiteX14" fmla="*/ 12379791 w 12379791"/>
                  <a:gd name="connsiteY14" fmla="*/ 451503 h 2262197"/>
                  <a:gd name="connsiteX15" fmla="*/ 12379791 w 12379791"/>
                  <a:gd name="connsiteY15" fmla="*/ 13121 h 2262197"/>
                  <a:gd name="connsiteX16" fmla="*/ 11773475 w 12379791"/>
                  <a:gd name="connsiteY16" fmla="*/ 187696 h 2262197"/>
                  <a:gd name="connsiteX17" fmla="*/ 11393750 w 12379791"/>
                  <a:gd name="connsiteY17" fmla="*/ 799581 h 2262197"/>
                  <a:gd name="connsiteX18" fmla="*/ 10937005 w 12379791"/>
                  <a:gd name="connsiteY18" fmla="*/ 1413742 h 2262197"/>
                  <a:gd name="connsiteX19" fmla="*/ 10369210 w 12379791"/>
                  <a:gd name="connsiteY19" fmla="*/ 1370525 h 2262197"/>
                  <a:gd name="connsiteX20" fmla="*/ 9862313 w 12379791"/>
                  <a:gd name="connsiteY20" fmla="*/ 810956 h 2262197"/>
                  <a:gd name="connsiteX21" fmla="*/ 9450348 w 12379791"/>
                  <a:gd name="connsiteY21" fmla="*/ 299156 h 2262197"/>
                  <a:gd name="connsiteX22" fmla="*/ 8557477 w 12379791"/>
                  <a:gd name="connsiteY22" fmla="*/ 212886 h 2262197"/>
                  <a:gd name="connsiteX0" fmla="*/ 8557477 w 12379791"/>
                  <a:gd name="connsiteY0" fmla="*/ 212886 h 2262197"/>
                  <a:gd name="connsiteX1" fmla="*/ 414843 w 12379791"/>
                  <a:gd name="connsiteY1" fmla="*/ 689526 h 2262197"/>
                  <a:gd name="connsiteX2" fmla="*/ 1271644 w 12379791"/>
                  <a:gd name="connsiteY2" fmla="*/ 597083 h 2262197"/>
                  <a:gd name="connsiteX3" fmla="*/ 1966503 w 12379791"/>
                  <a:gd name="connsiteY3" fmla="*/ 631071 h 2262197"/>
                  <a:gd name="connsiteX4" fmla="*/ 2422513 w 12379791"/>
                  <a:gd name="connsiteY4" fmla="*/ 571583 h 2262197"/>
                  <a:gd name="connsiteX5" fmla="*/ 2900235 w 12379791"/>
                  <a:gd name="connsiteY5" fmla="*/ 571583 h 2262197"/>
                  <a:gd name="connsiteX6" fmla="*/ 8361431 w 12379791"/>
                  <a:gd name="connsiteY6" fmla="*/ 614077 h 2262197"/>
                  <a:gd name="connsiteX7" fmla="*/ 8982448 w 12379791"/>
                  <a:gd name="connsiteY7" fmla="*/ 1016825 h 2262197"/>
                  <a:gd name="connsiteX8" fmla="*/ 9552444 w 12379791"/>
                  <a:gd name="connsiteY8" fmla="*/ 1843657 h 2262197"/>
                  <a:gd name="connsiteX9" fmla="*/ 10483844 w 12379791"/>
                  <a:gd name="connsiteY9" fmla="*/ 2262196 h 2262197"/>
                  <a:gd name="connsiteX10" fmla="*/ 11529878 w 12379791"/>
                  <a:gd name="connsiteY10" fmla="*/ 1843659 h 2262197"/>
                  <a:gd name="connsiteX11" fmla="*/ 11820809 w 12379791"/>
                  <a:gd name="connsiteY11" fmla="*/ 1197924 h 2262197"/>
                  <a:gd name="connsiteX12" fmla="*/ 12131705 w 12379791"/>
                  <a:gd name="connsiteY12" fmla="*/ 751817 h 2262197"/>
                  <a:gd name="connsiteX13" fmla="*/ 12379791 w 12379791"/>
                  <a:gd name="connsiteY13" fmla="*/ 451503 h 2262197"/>
                  <a:gd name="connsiteX14" fmla="*/ 12379791 w 12379791"/>
                  <a:gd name="connsiteY14" fmla="*/ 13121 h 2262197"/>
                  <a:gd name="connsiteX15" fmla="*/ 11773475 w 12379791"/>
                  <a:gd name="connsiteY15" fmla="*/ 187696 h 2262197"/>
                  <a:gd name="connsiteX16" fmla="*/ 11393750 w 12379791"/>
                  <a:gd name="connsiteY16" fmla="*/ 799581 h 2262197"/>
                  <a:gd name="connsiteX17" fmla="*/ 10937005 w 12379791"/>
                  <a:gd name="connsiteY17" fmla="*/ 1413742 h 2262197"/>
                  <a:gd name="connsiteX18" fmla="*/ 10369210 w 12379791"/>
                  <a:gd name="connsiteY18" fmla="*/ 1370525 h 2262197"/>
                  <a:gd name="connsiteX19" fmla="*/ 9862313 w 12379791"/>
                  <a:gd name="connsiteY19" fmla="*/ 810956 h 2262197"/>
                  <a:gd name="connsiteX20" fmla="*/ 9450348 w 12379791"/>
                  <a:gd name="connsiteY20" fmla="*/ 299156 h 2262197"/>
                  <a:gd name="connsiteX21" fmla="*/ 8557477 w 12379791"/>
                  <a:gd name="connsiteY21" fmla="*/ 212886 h 2262197"/>
                  <a:gd name="connsiteX0" fmla="*/ 8557477 w 12379791"/>
                  <a:gd name="connsiteY0" fmla="*/ 212886 h 2262197"/>
                  <a:gd name="connsiteX1" fmla="*/ 414843 w 12379791"/>
                  <a:gd name="connsiteY1" fmla="*/ 689526 h 2262197"/>
                  <a:gd name="connsiteX2" fmla="*/ 1271644 w 12379791"/>
                  <a:gd name="connsiteY2" fmla="*/ 597083 h 2262197"/>
                  <a:gd name="connsiteX3" fmla="*/ 1966503 w 12379791"/>
                  <a:gd name="connsiteY3" fmla="*/ 631071 h 2262197"/>
                  <a:gd name="connsiteX4" fmla="*/ 2422513 w 12379791"/>
                  <a:gd name="connsiteY4" fmla="*/ 571583 h 2262197"/>
                  <a:gd name="connsiteX5" fmla="*/ 2900235 w 12379791"/>
                  <a:gd name="connsiteY5" fmla="*/ 571583 h 2262197"/>
                  <a:gd name="connsiteX6" fmla="*/ 8370387 w 12379791"/>
                  <a:gd name="connsiteY6" fmla="*/ 545838 h 2262197"/>
                  <a:gd name="connsiteX7" fmla="*/ 8982448 w 12379791"/>
                  <a:gd name="connsiteY7" fmla="*/ 1016825 h 2262197"/>
                  <a:gd name="connsiteX8" fmla="*/ 9552444 w 12379791"/>
                  <a:gd name="connsiteY8" fmla="*/ 1843657 h 2262197"/>
                  <a:gd name="connsiteX9" fmla="*/ 10483844 w 12379791"/>
                  <a:gd name="connsiteY9" fmla="*/ 2262196 h 2262197"/>
                  <a:gd name="connsiteX10" fmla="*/ 11529878 w 12379791"/>
                  <a:gd name="connsiteY10" fmla="*/ 1843659 h 2262197"/>
                  <a:gd name="connsiteX11" fmla="*/ 11820809 w 12379791"/>
                  <a:gd name="connsiteY11" fmla="*/ 1197924 h 2262197"/>
                  <a:gd name="connsiteX12" fmla="*/ 12131705 w 12379791"/>
                  <a:gd name="connsiteY12" fmla="*/ 751817 h 2262197"/>
                  <a:gd name="connsiteX13" fmla="*/ 12379791 w 12379791"/>
                  <a:gd name="connsiteY13" fmla="*/ 451503 h 2262197"/>
                  <a:gd name="connsiteX14" fmla="*/ 12379791 w 12379791"/>
                  <a:gd name="connsiteY14" fmla="*/ 13121 h 2262197"/>
                  <a:gd name="connsiteX15" fmla="*/ 11773475 w 12379791"/>
                  <a:gd name="connsiteY15" fmla="*/ 187696 h 2262197"/>
                  <a:gd name="connsiteX16" fmla="*/ 11393750 w 12379791"/>
                  <a:gd name="connsiteY16" fmla="*/ 799581 h 2262197"/>
                  <a:gd name="connsiteX17" fmla="*/ 10937005 w 12379791"/>
                  <a:gd name="connsiteY17" fmla="*/ 1413742 h 2262197"/>
                  <a:gd name="connsiteX18" fmla="*/ 10369210 w 12379791"/>
                  <a:gd name="connsiteY18" fmla="*/ 1370525 h 2262197"/>
                  <a:gd name="connsiteX19" fmla="*/ 9862313 w 12379791"/>
                  <a:gd name="connsiteY19" fmla="*/ 810956 h 2262197"/>
                  <a:gd name="connsiteX20" fmla="*/ 9450348 w 12379791"/>
                  <a:gd name="connsiteY20" fmla="*/ 299156 h 2262197"/>
                  <a:gd name="connsiteX21" fmla="*/ 8557477 w 12379791"/>
                  <a:gd name="connsiteY21" fmla="*/ 212886 h 2262197"/>
                  <a:gd name="connsiteX0" fmla="*/ 8557477 w 12379791"/>
                  <a:gd name="connsiteY0" fmla="*/ 212886 h 2262197"/>
                  <a:gd name="connsiteX1" fmla="*/ 414843 w 12379791"/>
                  <a:gd name="connsiteY1" fmla="*/ 689526 h 2262197"/>
                  <a:gd name="connsiteX2" fmla="*/ 1271644 w 12379791"/>
                  <a:gd name="connsiteY2" fmla="*/ 597083 h 2262197"/>
                  <a:gd name="connsiteX3" fmla="*/ 1966503 w 12379791"/>
                  <a:gd name="connsiteY3" fmla="*/ 631071 h 2262197"/>
                  <a:gd name="connsiteX4" fmla="*/ 2422513 w 12379791"/>
                  <a:gd name="connsiteY4" fmla="*/ 571583 h 2262197"/>
                  <a:gd name="connsiteX5" fmla="*/ 2900235 w 12379791"/>
                  <a:gd name="connsiteY5" fmla="*/ 571583 h 2262197"/>
                  <a:gd name="connsiteX6" fmla="*/ 8982448 w 12379791"/>
                  <a:gd name="connsiteY6" fmla="*/ 1016825 h 2262197"/>
                  <a:gd name="connsiteX7" fmla="*/ 9552444 w 12379791"/>
                  <a:gd name="connsiteY7" fmla="*/ 1843657 h 2262197"/>
                  <a:gd name="connsiteX8" fmla="*/ 10483844 w 12379791"/>
                  <a:gd name="connsiteY8" fmla="*/ 2262196 h 2262197"/>
                  <a:gd name="connsiteX9" fmla="*/ 11529878 w 12379791"/>
                  <a:gd name="connsiteY9" fmla="*/ 1843659 h 2262197"/>
                  <a:gd name="connsiteX10" fmla="*/ 11820809 w 12379791"/>
                  <a:gd name="connsiteY10" fmla="*/ 1197924 h 2262197"/>
                  <a:gd name="connsiteX11" fmla="*/ 12131705 w 12379791"/>
                  <a:gd name="connsiteY11" fmla="*/ 751817 h 2262197"/>
                  <a:gd name="connsiteX12" fmla="*/ 12379791 w 12379791"/>
                  <a:gd name="connsiteY12" fmla="*/ 451503 h 2262197"/>
                  <a:gd name="connsiteX13" fmla="*/ 12379791 w 12379791"/>
                  <a:gd name="connsiteY13" fmla="*/ 13121 h 2262197"/>
                  <a:gd name="connsiteX14" fmla="*/ 11773475 w 12379791"/>
                  <a:gd name="connsiteY14" fmla="*/ 187696 h 2262197"/>
                  <a:gd name="connsiteX15" fmla="*/ 11393750 w 12379791"/>
                  <a:gd name="connsiteY15" fmla="*/ 799581 h 2262197"/>
                  <a:gd name="connsiteX16" fmla="*/ 10937005 w 12379791"/>
                  <a:gd name="connsiteY16" fmla="*/ 1413742 h 2262197"/>
                  <a:gd name="connsiteX17" fmla="*/ 10369210 w 12379791"/>
                  <a:gd name="connsiteY17" fmla="*/ 1370525 h 2262197"/>
                  <a:gd name="connsiteX18" fmla="*/ 9862313 w 12379791"/>
                  <a:gd name="connsiteY18" fmla="*/ 810956 h 2262197"/>
                  <a:gd name="connsiteX19" fmla="*/ 9450348 w 12379791"/>
                  <a:gd name="connsiteY19" fmla="*/ 299156 h 2262197"/>
                  <a:gd name="connsiteX20" fmla="*/ 8557477 w 12379791"/>
                  <a:gd name="connsiteY20" fmla="*/ 212886 h 2262197"/>
                  <a:gd name="connsiteX0" fmla="*/ 8557477 w 12379791"/>
                  <a:gd name="connsiteY0" fmla="*/ 212886 h 2262197"/>
                  <a:gd name="connsiteX1" fmla="*/ 414843 w 12379791"/>
                  <a:gd name="connsiteY1" fmla="*/ 689526 h 2262197"/>
                  <a:gd name="connsiteX2" fmla="*/ 1271644 w 12379791"/>
                  <a:gd name="connsiteY2" fmla="*/ 597083 h 2262197"/>
                  <a:gd name="connsiteX3" fmla="*/ 1966503 w 12379791"/>
                  <a:gd name="connsiteY3" fmla="*/ 631071 h 2262197"/>
                  <a:gd name="connsiteX4" fmla="*/ 2422513 w 12379791"/>
                  <a:gd name="connsiteY4" fmla="*/ 571583 h 2262197"/>
                  <a:gd name="connsiteX5" fmla="*/ 8622972 w 12379791"/>
                  <a:gd name="connsiteY5" fmla="*/ 537465 h 2262197"/>
                  <a:gd name="connsiteX6" fmla="*/ 8982448 w 12379791"/>
                  <a:gd name="connsiteY6" fmla="*/ 1016825 h 2262197"/>
                  <a:gd name="connsiteX7" fmla="*/ 9552444 w 12379791"/>
                  <a:gd name="connsiteY7" fmla="*/ 1843657 h 2262197"/>
                  <a:gd name="connsiteX8" fmla="*/ 10483844 w 12379791"/>
                  <a:gd name="connsiteY8" fmla="*/ 2262196 h 2262197"/>
                  <a:gd name="connsiteX9" fmla="*/ 11529878 w 12379791"/>
                  <a:gd name="connsiteY9" fmla="*/ 1843659 h 2262197"/>
                  <a:gd name="connsiteX10" fmla="*/ 11820809 w 12379791"/>
                  <a:gd name="connsiteY10" fmla="*/ 1197924 h 2262197"/>
                  <a:gd name="connsiteX11" fmla="*/ 12131705 w 12379791"/>
                  <a:gd name="connsiteY11" fmla="*/ 751817 h 2262197"/>
                  <a:gd name="connsiteX12" fmla="*/ 12379791 w 12379791"/>
                  <a:gd name="connsiteY12" fmla="*/ 451503 h 2262197"/>
                  <a:gd name="connsiteX13" fmla="*/ 12379791 w 12379791"/>
                  <a:gd name="connsiteY13" fmla="*/ 13121 h 2262197"/>
                  <a:gd name="connsiteX14" fmla="*/ 11773475 w 12379791"/>
                  <a:gd name="connsiteY14" fmla="*/ 187696 h 2262197"/>
                  <a:gd name="connsiteX15" fmla="*/ 11393750 w 12379791"/>
                  <a:gd name="connsiteY15" fmla="*/ 799581 h 2262197"/>
                  <a:gd name="connsiteX16" fmla="*/ 10937005 w 12379791"/>
                  <a:gd name="connsiteY16" fmla="*/ 1413742 h 2262197"/>
                  <a:gd name="connsiteX17" fmla="*/ 10369210 w 12379791"/>
                  <a:gd name="connsiteY17" fmla="*/ 1370525 h 2262197"/>
                  <a:gd name="connsiteX18" fmla="*/ 9862313 w 12379791"/>
                  <a:gd name="connsiteY18" fmla="*/ 810956 h 2262197"/>
                  <a:gd name="connsiteX19" fmla="*/ 9450348 w 12379791"/>
                  <a:gd name="connsiteY19" fmla="*/ 299156 h 2262197"/>
                  <a:gd name="connsiteX20" fmla="*/ 8557477 w 12379791"/>
                  <a:gd name="connsiteY20" fmla="*/ 212886 h 2262197"/>
                  <a:gd name="connsiteX0" fmla="*/ 8568147 w 12390461"/>
                  <a:gd name="connsiteY0" fmla="*/ 212886 h 2262197"/>
                  <a:gd name="connsiteX1" fmla="*/ 425513 w 12390461"/>
                  <a:gd name="connsiteY1" fmla="*/ 689526 h 2262197"/>
                  <a:gd name="connsiteX2" fmla="*/ 1282314 w 12390461"/>
                  <a:gd name="connsiteY2" fmla="*/ 597083 h 2262197"/>
                  <a:gd name="connsiteX3" fmla="*/ 2433183 w 12390461"/>
                  <a:gd name="connsiteY3" fmla="*/ 571583 h 2262197"/>
                  <a:gd name="connsiteX4" fmla="*/ 8633642 w 12390461"/>
                  <a:gd name="connsiteY4" fmla="*/ 537465 h 2262197"/>
                  <a:gd name="connsiteX5" fmla="*/ 8993118 w 12390461"/>
                  <a:gd name="connsiteY5" fmla="*/ 1016825 h 2262197"/>
                  <a:gd name="connsiteX6" fmla="*/ 9563114 w 12390461"/>
                  <a:gd name="connsiteY6" fmla="*/ 1843657 h 2262197"/>
                  <a:gd name="connsiteX7" fmla="*/ 10494514 w 12390461"/>
                  <a:gd name="connsiteY7" fmla="*/ 2262196 h 2262197"/>
                  <a:gd name="connsiteX8" fmla="*/ 11540548 w 12390461"/>
                  <a:gd name="connsiteY8" fmla="*/ 1843659 h 2262197"/>
                  <a:gd name="connsiteX9" fmla="*/ 11831479 w 12390461"/>
                  <a:gd name="connsiteY9" fmla="*/ 1197924 h 2262197"/>
                  <a:gd name="connsiteX10" fmla="*/ 12142375 w 12390461"/>
                  <a:gd name="connsiteY10" fmla="*/ 751817 h 2262197"/>
                  <a:gd name="connsiteX11" fmla="*/ 12390461 w 12390461"/>
                  <a:gd name="connsiteY11" fmla="*/ 451503 h 2262197"/>
                  <a:gd name="connsiteX12" fmla="*/ 12390461 w 12390461"/>
                  <a:gd name="connsiteY12" fmla="*/ 13121 h 2262197"/>
                  <a:gd name="connsiteX13" fmla="*/ 11784145 w 12390461"/>
                  <a:gd name="connsiteY13" fmla="*/ 187696 h 2262197"/>
                  <a:gd name="connsiteX14" fmla="*/ 11404420 w 12390461"/>
                  <a:gd name="connsiteY14" fmla="*/ 799581 h 2262197"/>
                  <a:gd name="connsiteX15" fmla="*/ 10947675 w 12390461"/>
                  <a:gd name="connsiteY15" fmla="*/ 1413742 h 2262197"/>
                  <a:gd name="connsiteX16" fmla="*/ 10379880 w 12390461"/>
                  <a:gd name="connsiteY16" fmla="*/ 1370525 h 2262197"/>
                  <a:gd name="connsiteX17" fmla="*/ 9872983 w 12390461"/>
                  <a:gd name="connsiteY17" fmla="*/ 810956 h 2262197"/>
                  <a:gd name="connsiteX18" fmla="*/ 9461018 w 12390461"/>
                  <a:gd name="connsiteY18" fmla="*/ 299156 h 2262197"/>
                  <a:gd name="connsiteX19" fmla="*/ 8568147 w 12390461"/>
                  <a:gd name="connsiteY19" fmla="*/ 212886 h 2262197"/>
                  <a:gd name="connsiteX0" fmla="*/ 8767043 w 12589357"/>
                  <a:gd name="connsiteY0" fmla="*/ 212886 h 2262197"/>
                  <a:gd name="connsiteX1" fmla="*/ 624409 w 12589357"/>
                  <a:gd name="connsiteY1" fmla="*/ 689526 h 2262197"/>
                  <a:gd name="connsiteX2" fmla="*/ 1481210 w 12589357"/>
                  <a:gd name="connsiteY2" fmla="*/ 597083 h 2262197"/>
                  <a:gd name="connsiteX3" fmla="*/ 8832538 w 12589357"/>
                  <a:gd name="connsiteY3" fmla="*/ 537465 h 2262197"/>
                  <a:gd name="connsiteX4" fmla="*/ 9192014 w 12589357"/>
                  <a:gd name="connsiteY4" fmla="*/ 1016825 h 2262197"/>
                  <a:gd name="connsiteX5" fmla="*/ 9762010 w 12589357"/>
                  <a:gd name="connsiteY5" fmla="*/ 1843657 h 2262197"/>
                  <a:gd name="connsiteX6" fmla="*/ 10693410 w 12589357"/>
                  <a:gd name="connsiteY6" fmla="*/ 2262196 h 2262197"/>
                  <a:gd name="connsiteX7" fmla="*/ 11739444 w 12589357"/>
                  <a:gd name="connsiteY7" fmla="*/ 1843659 h 2262197"/>
                  <a:gd name="connsiteX8" fmla="*/ 12030375 w 12589357"/>
                  <a:gd name="connsiteY8" fmla="*/ 1197924 h 2262197"/>
                  <a:gd name="connsiteX9" fmla="*/ 12341271 w 12589357"/>
                  <a:gd name="connsiteY9" fmla="*/ 751817 h 2262197"/>
                  <a:gd name="connsiteX10" fmla="*/ 12589357 w 12589357"/>
                  <a:gd name="connsiteY10" fmla="*/ 451503 h 2262197"/>
                  <a:gd name="connsiteX11" fmla="*/ 12589357 w 12589357"/>
                  <a:gd name="connsiteY11" fmla="*/ 13121 h 2262197"/>
                  <a:gd name="connsiteX12" fmla="*/ 11983041 w 12589357"/>
                  <a:gd name="connsiteY12" fmla="*/ 187696 h 2262197"/>
                  <a:gd name="connsiteX13" fmla="*/ 11603316 w 12589357"/>
                  <a:gd name="connsiteY13" fmla="*/ 799581 h 2262197"/>
                  <a:gd name="connsiteX14" fmla="*/ 11146571 w 12589357"/>
                  <a:gd name="connsiteY14" fmla="*/ 1413742 h 2262197"/>
                  <a:gd name="connsiteX15" fmla="*/ 10578776 w 12589357"/>
                  <a:gd name="connsiteY15" fmla="*/ 1370525 h 2262197"/>
                  <a:gd name="connsiteX16" fmla="*/ 10071879 w 12589357"/>
                  <a:gd name="connsiteY16" fmla="*/ 810956 h 2262197"/>
                  <a:gd name="connsiteX17" fmla="*/ 9659914 w 12589357"/>
                  <a:gd name="connsiteY17" fmla="*/ 299156 h 2262197"/>
                  <a:gd name="connsiteX18" fmla="*/ 8767043 w 12589357"/>
                  <a:gd name="connsiteY18" fmla="*/ 212886 h 2262197"/>
                  <a:gd name="connsiteX0" fmla="*/ 8142648 w 11964962"/>
                  <a:gd name="connsiteY0" fmla="*/ 212886 h 2262197"/>
                  <a:gd name="connsiteX1" fmla="*/ 14 w 11964962"/>
                  <a:gd name="connsiteY1" fmla="*/ 689526 h 2262197"/>
                  <a:gd name="connsiteX2" fmla="*/ 8208143 w 11964962"/>
                  <a:gd name="connsiteY2" fmla="*/ 537465 h 2262197"/>
                  <a:gd name="connsiteX3" fmla="*/ 8567619 w 11964962"/>
                  <a:gd name="connsiteY3" fmla="*/ 1016825 h 2262197"/>
                  <a:gd name="connsiteX4" fmla="*/ 9137615 w 11964962"/>
                  <a:gd name="connsiteY4" fmla="*/ 1843657 h 2262197"/>
                  <a:gd name="connsiteX5" fmla="*/ 10069015 w 11964962"/>
                  <a:gd name="connsiteY5" fmla="*/ 2262196 h 2262197"/>
                  <a:gd name="connsiteX6" fmla="*/ 11115049 w 11964962"/>
                  <a:gd name="connsiteY6" fmla="*/ 1843659 h 2262197"/>
                  <a:gd name="connsiteX7" fmla="*/ 11405980 w 11964962"/>
                  <a:gd name="connsiteY7" fmla="*/ 1197924 h 2262197"/>
                  <a:gd name="connsiteX8" fmla="*/ 11716876 w 11964962"/>
                  <a:gd name="connsiteY8" fmla="*/ 751817 h 2262197"/>
                  <a:gd name="connsiteX9" fmla="*/ 11964962 w 11964962"/>
                  <a:gd name="connsiteY9" fmla="*/ 451503 h 2262197"/>
                  <a:gd name="connsiteX10" fmla="*/ 11964962 w 11964962"/>
                  <a:gd name="connsiteY10" fmla="*/ 13121 h 2262197"/>
                  <a:gd name="connsiteX11" fmla="*/ 11358646 w 11964962"/>
                  <a:gd name="connsiteY11" fmla="*/ 187696 h 2262197"/>
                  <a:gd name="connsiteX12" fmla="*/ 10978921 w 11964962"/>
                  <a:gd name="connsiteY12" fmla="*/ 799581 h 2262197"/>
                  <a:gd name="connsiteX13" fmla="*/ 10522176 w 11964962"/>
                  <a:gd name="connsiteY13" fmla="*/ 1413742 h 2262197"/>
                  <a:gd name="connsiteX14" fmla="*/ 9954381 w 11964962"/>
                  <a:gd name="connsiteY14" fmla="*/ 1370525 h 2262197"/>
                  <a:gd name="connsiteX15" fmla="*/ 9447484 w 11964962"/>
                  <a:gd name="connsiteY15" fmla="*/ 810956 h 2262197"/>
                  <a:gd name="connsiteX16" fmla="*/ 9035519 w 11964962"/>
                  <a:gd name="connsiteY16" fmla="*/ 299156 h 2262197"/>
                  <a:gd name="connsiteX17" fmla="*/ 8142648 w 11964962"/>
                  <a:gd name="connsiteY17" fmla="*/ 212886 h 2262197"/>
                  <a:gd name="connsiteX0" fmla="*/ 60187 w 3882501"/>
                  <a:gd name="connsiteY0" fmla="*/ 212886 h 2262197"/>
                  <a:gd name="connsiteX1" fmla="*/ 125682 w 3882501"/>
                  <a:gd name="connsiteY1" fmla="*/ 537465 h 2262197"/>
                  <a:gd name="connsiteX2" fmla="*/ 485158 w 3882501"/>
                  <a:gd name="connsiteY2" fmla="*/ 1016825 h 2262197"/>
                  <a:gd name="connsiteX3" fmla="*/ 1055154 w 3882501"/>
                  <a:gd name="connsiteY3" fmla="*/ 1843657 h 2262197"/>
                  <a:gd name="connsiteX4" fmla="*/ 1986554 w 3882501"/>
                  <a:gd name="connsiteY4" fmla="*/ 2262196 h 2262197"/>
                  <a:gd name="connsiteX5" fmla="*/ 3032588 w 3882501"/>
                  <a:gd name="connsiteY5" fmla="*/ 1843659 h 2262197"/>
                  <a:gd name="connsiteX6" fmla="*/ 3323519 w 3882501"/>
                  <a:gd name="connsiteY6" fmla="*/ 1197924 h 2262197"/>
                  <a:gd name="connsiteX7" fmla="*/ 3634415 w 3882501"/>
                  <a:gd name="connsiteY7" fmla="*/ 751817 h 2262197"/>
                  <a:gd name="connsiteX8" fmla="*/ 3882501 w 3882501"/>
                  <a:gd name="connsiteY8" fmla="*/ 451503 h 2262197"/>
                  <a:gd name="connsiteX9" fmla="*/ 3882501 w 3882501"/>
                  <a:gd name="connsiteY9" fmla="*/ 13121 h 2262197"/>
                  <a:gd name="connsiteX10" fmla="*/ 3276185 w 3882501"/>
                  <a:gd name="connsiteY10" fmla="*/ 187696 h 2262197"/>
                  <a:gd name="connsiteX11" fmla="*/ 2896460 w 3882501"/>
                  <a:gd name="connsiteY11" fmla="*/ 799581 h 2262197"/>
                  <a:gd name="connsiteX12" fmla="*/ 2439715 w 3882501"/>
                  <a:gd name="connsiteY12" fmla="*/ 1413742 h 2262197"/>
                  <a:gd name="connsiteX13" fmla="*/ 1871920 w 3882501"/>
                  <a:gd name="connsiteY13" fmla="*/ 1370525 h 2262197"/>
                  <a:gd name="connsiteX14" fmla="*/ 1365023 w 3882501"/>
                  <a:gd name="connsiteY14" fmla="*/ 810956 h 2262197"/>
                  <a:gd name="connsiteX15" fmla="*/ 953058 w 3882501"/>
                  <a:gd name="connsiteY15" fmla="*/ 299156 h 2262197"/>
                  <a:gd name="connsiteX16" fmla="*/ 60187 w 3882501"/>
                  <a:gd name="connsiteY16" fmla="*/ 212886 h 2262197"/>
                  <a:gd name="connsiteX0" fmla="*/ 60187 w 3882501"/>
                  <a:gd name="connsiteY0" fmla="*/ 212886 h 2262197"/>
                  <a:gd name="connsiteX1" fmla="*/ 125682 w 3882501"/>
                  <a:gd name="connsiteY1" fmla="*/ 537465 h 2262197"/>
                  <a:gd name="connsiteX2" fmla="*/ 485158 w 3882501"/>
                  <a:gd name="connsiteY2" fmla="*/ 1016825 h 2262197"/>
                  <a:gd name="connsiteX3" fmla="*/ 1055154 w 3882501"/>
                  <a:gd name="connsiteY3" fmla="*/ 1843657 h 2262197"/>
                  <a:gd name="connsiteX4" fmla="*/ 1986554 w 3882501"/>
                  <a:gd name="connsiteY4" fmla="*/ 2262196 h 2262197"/>
                  <a:gd name="connsiteX5" fmla="*/ 3032588 w 3882501"/>
                  <a:gd name="connsiteY5" fmla="*/ 1843659 h 2262197"/>
                  <a:gd name="connsiteX6" fmla="*/ 3323519 w 3882501"/>
                  <a:gd name="connsiteY6" fmla="*/ 1197924 h 2262197"/>
                  <a:gd name="connsiteX7" fmla="*/ 3634415 w 3882501"/>
                  <a:gd name="connsiteY7" fmla="*/ 751817 h 2262197"/>
                  <a:gd name="connsiteX8" fmla="*/ 3882501 w 3882501"/>
                  <a:gd name="connsiteY8" fmla="*/ 451503 h 2262197"/>
                  <a:gd name="connsiteX9" fmla="*/ 3882501 w 3882501"/>
                  <a:gd name="connsiteY9" fmla="*/ 13121 h 2262197"/>
                  <a:gd name="connsiteX10" fmla="*/ 3276185 w 3882501"/>
                  <a:gd name="connsiteY10" fmla="*/ 187696 h 2262197"/>
                  <a:gd name="connsiteX11" fmla="*/ 2896460 w 3882501"/>
                  <a:gd name="connsiteY11" fmla="*/ 799581 h 2262197"/>
                  <a:gd name="connsiteX12" fmla="*/ 2439715 w 3882501"/>
                  <a:gd name="connsiteY12" fmla="*/ 1413742 h 2262197"/>
                  <a:gd name="connsiteX13" fmla="*/ 1871920 w 3882501"/>
                  <a:gd name="connsiteY13" fmla="*/ 1370525 h 2262197"/>
                  <a:gd name="connsiteX14" fmla="*/ 1579966 w 3882501"/>
                  <a:gd name="connsiteY14" fmla="*/ 185419 h 2262197"/>
                  <a:gd name="connsiteX15" fmla="*/ 953058 w 3882501"/>
                  <a:gd name="connsiteY15" fmla="*/ 299156 h 2262197"/>
                  <a:gd name="connsiteX16" fmla="*/ 60187 w 3882501"/>
                  <a:gd name="connsiteY16" fmla="*/ 212886 h 2262197"/>
                  <a:gd name="connsiteX0" fmla="*/ 62173 w 3884487"/>
                  <a:gd name="connsiteY0" fmla="*/ 212886 h 2262197"/>
                  <a:gd name="connsiteX1" fmla="*/ 127668 w 3884487"/>
                  <a:gd name="connsiteY1" fmla="*/ 537465 h 2262197"/>
                  <a:gd name="connsiteX2" fmla="*/ 487144 w 3884487"/>
                  <a:gd name="connsiteY2" fmla="*/ 1016825 h 2262197"/>
                  <a:gd name="connsiteX3" fmla="*/ 1057140 w 3884487"/>
                  <a:gd name="connsiteY3" fmla="*/ 1843657 h 2262197"/>
                  <a:gd name="connsiteX4" fmla="*/ 1988540 w 3884487"/>
                  <a:gd name="connsiteY4" fmla="*/ 2262196 h 2262197"/>
                  <a:gd name="connsiteX5" fmla="*/ 3034574 w 3884487"/>
                  <a:gd name="connsiteY5" fmla="*/ 1843659 h 2262197"/>
                  <a:gd name="connsiteX6" fmla="*/ 3325505 w 3884487"/>
                  <a:gd name="connsiteY6" fmla="*/ 1197924 h 2262197"/>
                  <a:gd name="connsiteX7" fmla="*/ 3636401 w 3884487"/>
                  <a:gd name="connsiteY7" fmla="*/ 751817 h 2262197"/>
                  <a:gd name="connsiteX8" fmla="*/ 3884487 w 3884487"/>
                  <a:gd name="connsiteY8" fmla="*/ 451503 h 2262197"/>
                  <a:gd name="connsiteX9" fmla="*/ 3884487 w 3884487"/>
                  <a:gd name="connsiteY9" fmla="*/ 13121 h 2262197"/>
                  <a:gd name="connsiteX10" fmla="*/ 3278171 w 3884487"/>
                  <a:gd name="connsiteY10" fmla="*/ 187696 h 2262197"/>
                  <a:gd name="connsiteX11" fmla="*/ 2898446 w 3884487"/>
                  <a:gd name="connsiteY11" fmla="*/ 799581 h 2262197"/>
                  <a:gd name="connsiteX12" fmla="*/ 2441701 w 3884487"/>
                  <a:gd name="connsiteY12" fmla="*/ 1413742 h 2262197"/>
                  <a:gd name="connsiteX13" fmla="*/ 1873906 w 3884487"/>
                  <a:gd name="connsiteY13" fmla="*/ 1370525 h 2262197"/>
                  <a:gd name="connsiteX14" fmla="*/ 1581952 w 3884487"/>
                  <a:gd name="connsiteY14" fmla="*/ 185419 h 2262197"/>
                  <a:gd name="connsiteX15" fmla="*/ 981914 w 3884487"/>
                  <a:gd name="connsiteY15" fmla="*/ 94434 h 2262197"/>
                  <a:gd name="connsiteX16" fmla="*/ 62173 w 3884487"/>
                  <a:gd name="connsiteY16" fmla="*/ 212886 h 2262197"/>
                  <a:gd name="connsiteX0" fmla="*/ 62175 w 3884485"/>
                  <a:gd name="connsiteY0" fmla="*/ 30910 h 2262197"/>
                  <a:gd name="connsiteX1" fmla="*/ 127666 w 3884485"/>
                  <a:gd name="connsiteY1" fmla="*/ 537465 h 2262197"/>
                  <a:gd name="connsiteX2" fmla="*/ 487142 w 3884485"/>
                  <a:gd name="connsiteY2" fmla="*/ 1016825 h 2262197"/>
                  <a:gd name="connsiteX3" fmla="*/ 1057138 w 3884485"/>
                  <a:gd name="connsiteY3" fmla="*/ 1843657 h 2262197"/>
                  <a:gd name="connsiteX4" fmla="*/ 1988538 w 3884485"/>
                  <a:gd name="connsiteY4" fmla="*/ 2262196 h 2262197"/>
                  <a:gd name="connsiteX5" fmla="*/ 3034572 w 3884485"/>
                  <a:gd name="connsiteY5" fmla="*/ 1843659 h 2262197"/>
                  <a:gd name="connsiteX6" fmla="*/ 3325503 w 3884485"/>
                  <a:gd name="connsiteY6" fmla="*/ 1197924 h 2262197"/>
                  <a:gd name="connsiteX7" fmla="*/ 3636399 w 3884485"/>
                  <a:gd name="connsiteY7" fmla="*/ 751817 h 2262197"/>
                  <a:gd name="connsiteX8" fmla="*/ 3884485 w 3884485"/>
                  <a:gd name="connsiteY8" fmla="*/ 451503 h 2262197"/>
                  <a:gd name="connsiteX9" fmla="*/ 3884485 w 3884485"/>
                  <a:gd name="connsiteY9" fmla="*/ 13121 h 2262197"/>
                  <a:gd name="connsiteX10" fmla="*/ 3278169 w 3884485"/>
                  <a:gd name="connsiteY10" fmla="*/ 187696 h 2262197"/>
                  <a:gd name="connsiteX11" fmla="*/ 2898444 w 3884485"/>
                  <a:gd name="connsiteY11" fmla="*/ 799581 h 2262197"/>
                  <a:gd name="connsiteX12" fmla="*/ 2441699 w 3884485"/>
                  <a:gd name="connsiteY12" fmla="*/ 1413742 h 2262197"/>
                  <a:gd name="connsiteX13" fmla="*/ 1873904 w 3884485"/>
                  <a:gd name="connsiteY13" fmla="*/ 1370525 h 2262197"/>
                  <a:gd name="connsiteX14" fmla="*/ 1581950 w 3884485"/>
                  <a:gd name="connsiteY14" fmla="*/ 185419 h 2262197"/>
                  <a:gd name="connsiteX15" fmla="*/ 981912 w 3884485"/>
                  <a:gd name="connsiteY15" fmla="*/ 94434 h 2262197"/>
                  <a:gd name="connsiteX16" fmla="*/ 62175 w 3884485"/>
                  <a:gd name="connsiteY16" fmla="*/ 30910 h 2262197"/>
                  <a:gd name="connsiteX0" fmla="*/ 61263 w 3883573"/>
                  <a:gd name="connsiteY0" fmla="*/ 30910 h 2262197"/>
                  <a:gd name="connsiteX1" fmla="*/ 126754 w 3883573"/>
                  <a:gd name="connsiteY1" fmla="*/ 537465 h 2262197"/>
                  <a:gd name="connsiteX2" fmla="*/ 459363 w 3883573"/>
                  <a:gd name="connsiteY2" fmla="*/ 1062319 h 2262197"/>
                  <a:gd name="connsiteX3" fmla="*/ 1056226 w 3883573"/>
                  <a:gd name="connsiteY3" fmla="*/ 1843657 h 2262197"/>
                  <a:gd name="connsiteX4" fmla="*/ 1987626 w 3883573"/>
                  <a:gd name="connsiteY4" fmla="*/ 2262196 h 2262197"/>
                  <a:gd name="connsiteX5" fmla="*/ 3033660 w 3883573"/>
                  <a:gd name="connsiteY5" fmla="*/ 1843659 h 2262197"/>
                  <a:gd name="connsiteX6" fmla="*/ 3324591 w 3883573"/>
                  <a:gd name="connsiteY6" fmla="*/ 1197924 h 2262197"/>
                  <a:gd name="connsiteX7" fmla="*/ 3635487 w 3883573"/>
                  <a:gd name="connsiteY7" fmla="*/ 751817 h 2262197"/>
                  <a:gd name="connsiteX8" fmla="*/ 3883573 w 3883573"/>
                  <a:gd name="connsiteY8" fmla="*/ 451503 h 2262197"/>
                  <a:gd name="connsiteX9" fmla="*/ 3883573 w 3883573"/>
                  <a:gd name="connsiteY9" fmla="*/ 13121 h 2262197"/>
                  <a:gd name="connsiteX10" fmla="*/ 3277257 w 3883573"/>
                  <a:gd name="connsiteY10" fmla="*/ 187696 h 2262197"/>
                  <a:gd name="connsiteX11" fmla="*/ 2897532 w 3883573"/>
                  <a:gd name="connsiteY11" fmla="*/ 799581 h 2262197"/>
                  <a:gd name="connsiteX12" fmla="*/ 2440787 w 3883573"/>
                  <a:gd name="connsiteY12" fmla="*/ 1413742 h 2262197"/>
                  <a:gd name="connsiteX13" fmla="*/ 1872992 w 3883573"/>
                  <a:gd name="connsiteY13" fmla="*/ 1370525 h 2262197"/>
                  <a:gd name="connsiteX14" fmla="*/ 1581038 w 3883573"/>
                  <a:gd name="connsiteY14" fmla="*/ 185419 h 2262197"/>
                  <a:gd name="connsiteX15" fmla="*/ 981000 w 3883573"/>
                  <a:gd name="connsiteY15" fmla="*/ 94434 h 2262197"/>
                  <a:gd name="connsiteX16" fmla="*/ 61263 w 3883573"/>
                  <a:gd name="connsiteY16" fmla="*/ 30910 h 2262197"/>
                  <a:gd name="connsiteX0" fmla="*/ 61263 w 3883573"/>
                  <a:gd name="connsiteY0" fmla="*/ 30910 h 2277068"/>
                  <a:gd name="connsiteX1" fmla="*/ 126754 w 3883573"/>
                  <a:gd name="connsiteY1" fmla="*/ 537465 h 2277068"/>
                  <a:gd name="connsiteX2" fmla="*/ 459363 w 3883573"/>
                  <a:gd name="connsiteY2" fmla="*/ 1062319 h 2277068"/>
                  <a:gd name="connsiteX3" fmla="*/ 1235346 w 3883573"/>
                  <a:gd name="connsiteY3" fmla="*/ 1252241 h 2277068"/>
                  <a:gd name="connsiteX4" fmla="*/ 1987626 w 3883573"/>
                  <a:gd name="connsiteY4" fmla="*/ 2262196 h 2277068"/>
                  <a:gd name="connsiteX5" fmla="*/ 3033660 w 3883573"/>
                  <a:gd name="connsiteY5" fmla="*/ 1843659 h 2277068"/>
                  <a:gd name="connsiteX6" fmla="*/ 3324591 w 3883573"/>
                  <a:gd name="connsiteY6" fmla="*/ 1197924 h 2277068"/>
                  <a:gd name="connsiteX7" fmla="*/ 3635487 w 3883573"/>
                  <a:gd name="connsiteY7" fmla="*/ 751817 h 2277068"/>
                  <a:gd name="connsiteX8" fmla="*/ 3883573 w 3883573"/>
                  <a:gd name="connsiteY8" fmla="*/ 451503 h 2277068"/>
                  <a:gd name="connsiteX9" fmla="*/ 3883573 w 3883573"/>
                  <a:gd name="connsiteY9" fmla="*/ 13121 h 2277068"/>
                  <a:gd name="connsiteX10" fmla="*/ 3277257 w 3883573"/>
                  <a:gd name="connsiteY10" fmla="*/ 187696 h 2277068"/>
                  <a:gd name="connsiteX11" fmla="*/ 2897532 w 3883573"/>
                  <a:gd name="connsiteY11" fmla="*/ 799581 h 2277068"/>
                  <a:gd name="connsiteX12" fmla="*/ 2440787 w 3883573"/>
                  <a:gd name="connsiteY12" fmla="*/ 1413742 h 2277068"/>
                  <a:gd name="connsiteX13" fmla="*/ 1872992 w 3883573"/>
                  <a:gd name="connsiteY13" fmla="*/ 1370525 h 2277068"/>
                  <a:gd name="connsiteX14" fmla="*/ 1581038 w 3883573"/>
                  <a:gd name="connsiteY14" fmla="*/ 185419 h 2277068"/>
                  <a:gd name="connsiteX15" fmla="*/ 981000 w 3883573"/>
                  <a:gd name="connsiteY15" fmla="*/ 94434 h 2277068"/>
                  <a:gd name="connsiteX16" fmla="*/ 61263 w 3883573"/>
                  <a:gd name="connsiteY16" fmla="*/ 30910 h 2277068"/>
                  <a:gd name="connsiteX0" fmla="*/ 61263 w 3883573"/>
                  <a:gd name="connsiteY0" fmla="*/ 30910 h 2277068"/>
                  <a:gd name="connsiteX1" fmla="*/ 126754 w 3883573"/>
                  <a:gd name="connsiteY1" fmla="*/ 537465 h 2277068"/>
                  <a:gd name="connsiteX2" fmla="*/ 459363 w 3883573"/>
                  <a:gd name="connsiteY2" fmla="*/ 1062319 h 2277068"/>
                  <a:gd name="connsiteX3" fmla="*/ 1235346 w 3883573"/>
                  <a:gd name="connsiteY3" fmla="*/ 1252241 h 2277068"/>
                  <a:gd name="connsiteX4" fmla="*/ 1987626 w 3883573"/>
                  <a:gd name="connsiteY4" fmla="*/ 2262196 h 2277068"/>
                  <a:gd name="connsiteX5" fmla="*/ 3033660 w 3883573"/>
                  <a:gd name="connsiteY5" fmla="*/ 1843659 h 2277068"/>
                  <a:gd name="connsiteX6" fmla="*/ 3324591 w 3883573"/>
                  <a:gd name="connsiteY6" fmla="*/ 1197924 h 2277068"/>
                  <a:gd name="connsiteX7" fmla="*/ 3635487 w 3883573"/>
                  <a:gd name="connsiteY7" fmla="*/ 751817 h 2277068"/>
                  <a:gd name="connsiteX8" fmla="*/ 3883573 w 3883573"/>
                  <a:gd name="connsiteY8" fmla="*/ 451503 h 2277068"/>
                  <a:gd name="connsiteX9" fmla="*/ 3883573 w 3883573"/>
                  <a:gd name="connsiteY9" fmla="*/ 13121 h 2277068"/>
                  <a:gd name="connsiteX10" fmla="*/ 3277257 w 3883573"/>
                  <a:gd name="connsiteY10" fmla="*/ 187696 h 2277068"/>
                  <a:gd name="connsiteX11" fmla="*/ 2897532 w 3883573"/>
                  <a:gd name="connsiteY11" fmla="*/ 799581 h 2277068"/>
                  <a:gd name="connsiteX12" fmla="*/ 2440787 w 3883573"/>
                  <a:gd name="connsiteY12" fmla="*/ 1413742 h 2277068"/>
                  <a:gd name="connsiteX13" fmla="*/ 2320781 w 3883573"/>
                  <a:gd name="connsiteY13" fmla="*/ 210442 h 2277068"/>
                  <a:gd name="connsiteX14" fmla="*/ 1581038 w 3883573"/>
                  <a:gd name="connsiteY14" fmla="*/ 185419 h 2277068"/>
                  <a:gd name="connsiteX15" fmla="*/ 981000 w 3883573"/>
                  <a:gd name="connsiteY15" fmla="*/ 94434 h 2277068"/>
                  <a:gd name="connsiteX16" fmla="*/ 61263 w 3883573"/>
                  <a:gd name="connsiteY16" fmla="*/ 30910 h 2277068"/>
                  <a:gd name="connsiteX0" fmla="*/ 61263 w 3883573"/>
                  <a:gd name="connsiteY0" fmla="*/ 30910 h 2277068"/>
                  <a:gd name="connsiteX1" fmla="*/ 126754 w 3883573"/>
                  <a:gd name="connsiteY1" fmla="*/ 537465 h 2277068"/>
                  <a:gd name="connsiteX2" fmla="*/ 459363 w 3883573"/>
                  <a:gd name="connsiteY2" fmla="*/ 1062319 h 2277068"/>
                  <a:gd name="connsiteX3" fmla="*/ 1235346 w 3883573"/>
                  <a:gd name="connsiteY3" fmla="*/ 1252241 h 2277068"/>
                  <a:gd name="connsiteX4" fmla="*/ 1987626 w 3883573"/>
                  <a:gd name="connsiteY4" fmla="*/ 2262196 h 2277068"/>
                  <a:gd name="connsiteX5" fmla="*/ 3033660 w 3883573"/>
                  <a:gd name="connsiteY5" fmla="*/ 1843659 h 2277068"/>
                  <a:gd name="connsiteX6" fmla="*/ 3324591 w 3883573"/>
                  <a:gd name="connsiteY6" fmla="*/ 1197924 h 2277068"/>
                  <a:gd name="connsiteX7" fmla="*/ 3635487 w 3883573"/>
                  <a:gd name="connsiteY7" fmla="*/ 751817 h 2277068"/>
                  <a:gd name="connsiteX8" fmla="*/ 3883573 w 3883573"/>
                  <a:gd name="connsiteY8" fmla="*/ 451503 h 2277068"/>
                  <a:gd name="connsiteX9" fmla="*/ 3883573 w 3883573"/>
                  <a:gd name="connsiteY9" fmla="*/ 13121 h 2277068"/>
                  <a:gd name="connsiteX10" fmla="*/ 3277257 w 3883573"/>
                  <a:gd name="connsiteY10" fmla="*/ 187696 h 2277068"/>
                  <a:gd name="connsiteX11" fmla="*/ 2897532 w 3883573"/>
                  <a:gd name="connsiteY11" fmla="*/ 799581 h 2277068"/>
                  <a:gd name="connsiteX12" fmla="*/ 2320781 w 3883573"/>
                  <a:gd name="connsiteY12" fmla="*/ 210442 h 2277068"/>
                  <a:gd name="connsiteX13" fmla="*/ 1581038 w 3883573"/>
                  <a:gd name="connsiteY13" fmla="*/ 185419 h 2277068"/>
                  <a:gd name="connsiteX14" fmla="*/ 981000 w 3883573"/>
                  <a:gd name="connsiteY14" fmla="*/ 94434 h 2277068"/>
                  <a:gd name="connsiteX15" fmla="*/ 61263 w 3883573"/>
                  <a:gd name="connsiteY15" fmla="*/ 30910 h 2277068"/>
                  <a:gd name="connsiteX0" fmla="*/ 61263 w 3883573"/>
                  <a:gd name="connsiteY0" fmla="*/ 30910 h 2277068"/>
                  <a:gd name="connsiteX1" fmla="*/ 126754 w 3883573"/>
                  <a:gd name="connsiteY1" fmla="*/ 537465 h 2277068"/>
                  <a:gd name="connsiteX2" fmla="*/ 459363 w 3883573"/>
                  <a:gd name="connsiteY2" fmla="*/ 1062319 h 2277068"/>
                  <a:gd name="connsiteX3" fmla="*/ 1235346 w 3883573"/>
                  <a:gd name="connsiteY3" fmla="*/ 1252241 h 2277068"/>
                  <a:gd name="connsiteX4" fmla="*/ 1987626 w 3883573"/>
                  <a:gd name="connsiteY4" fmla="*/ 2262196 h 2277068"/>
                  <a:gd name="connsiteX5" fmla="*/ 3033660 w 3883573"/>
                  <a:gd name="connsiteY5" fmla="*/ 1843659 h 2277068"/>
                  <a:gd name="connsiteX6" fmla="*/ 3324591 w 3883573"/>
                  <a:gd name="connsiteY6" fmla="*/ 1197924 h 2277068"/>
                  <a:gd name="connsiteX7" fmla="*/ 3635487 w 3883573"/>
                  <a:gd name="connsiteY7" fmla="*/ 751817 h 2277068"/>
                  <a:gd name="connsiteX8" fmla="*/ 3883573 w 3883573"/>
                  <a:gd name="connsiteY8" fmla="*/ 451503 h 2277068"/>
                  <a:gd name="connsiteX9" fmla="*/ 3883573 w 3883573"/>
                  <a:gd name="connsiteY9" fmla="*/ 13121 h 2277068"/>
                  <a:gd name="connsiteX10" fmla="*/ 3277257 w 3883573"/>
                  <a:gd name="connsiteY10" fmla="*/ 187696 h 2277068"/>
                  <a:gd name="connsiteX11" fmla="*/ 2790063 w 3883573"/>
                  <a:gd name="connsiteY11" fmla="*/ 287779 h 2277068"/>
                  <a:gd name="connsiteX12" fmla="*/ 2320781 w 3883573"/>
                  <a:gd name="connsiteY12" fmla="*/ 210442 h 2277068"/>
                  <a:gd name="connsiteX13" fmla="*/ 1581038 w 3883573"/>
                  <a:gd name="connsiteY13" fmla="*/ 185419 h 2277068"/>
                  <a:gd name="connsiteX14" fmla="*/ 981000 w 3883573"/>
                  <a:gd name="connsiteY14" fmla="*/ 94434 h 2277068"/>
                  <a:gd name="connsiteX15" fmla="*/ 61263 w 3883573"/>
                  <a:gd name="connsiteY15" fmla="*/ 30910 h 2277068"/>
                  <a:gd name="connsiteX0" fmla="*/ 61263 w 3883573"/>
                  <a:gd name="connsiteY0" fmla="*/ 30910 h 1851428"/>
                  <a:gd name="connsiteX1" fmla="*/ 126754 w 3883573"/>
                  <a:gd name="connsiteY1" fmla="*/ 537465 h 1851428"/>
                  <a:gd name="connsiteX2" fmla="*/ 459363 w 3883573"/>
                  <a:gd name="connsiteY2" fmla="*/ 1062319 h 1851428"/>
                  <a:gd name="connsiteX3" fmla="*/ 1235346 w 3883573"/>
                  <a:gd name="connsiteY3" fmla="*/ 1252241 h 1851428"/>
                  <a:gd name="connsiteX4" fmla="*/ 2023449 w 3883573"/>
                  <a:gd name="connsiteY4" fmla="*/ 999753 h 1851428"/>
                  <a:gd name="connsiteX5" fmla="*/ 3033660 w 3883573"/>
                  <a:gd name="connsiteY5" fmla="*/ 1843659 h 1851428"/>
                  <a:gd name="connsiteX6" fmla="*/ 3324591 w 3883573"/>
                  <a:gd name="connsiteY6" fmla="*/ 1197924 h 1851428"/>
                  <a:gd name="connsiteX7" fmla="*/ 3635487 w 3883573"/>
                  <a:gd name="connsiteY7" fmla="*/ 751817 h 1851428"/>
                  <a:gd name="connsiteX8" fmla="*/ 3883573 w 3883573"/>
                  <a:gd name="connsiteY8" fmla="*/ 451503 h 1851428"/>
                  <a:gd name="connsiteX9" fmla="*/ 3883573 w 3883573"/>
                  <a:gd name="connsiteY9" fmla="*/ 13121 h 1851428"/>
                  <a:gd name="connsiteX10" fmla="*/ 3277257 w 3883573"/>
                  <a:gd name="connsiteY10" fmla="*/ 187696 h 1851428"/>
                  <a:gd name="connsiteX11" fmla="*/ 2790063 w 3883573"/>
                  <a:gd name="connsiteY11" fmla="*/ 287779 h 1851428"/>
                  <a:gd name="connsiteX12" fmla="*/ 2320781 w 3883573"/>
                  <a:gd name="connsiteY12" fmla="*/ 210442 h 1851428"/>
                  <a:gd name="connsiteX13" fmla="*/ 1581038 w 3883573"/>
                  <a:gd name="connsiteY13" fmla="*/ 185419 h 1851428"/>
                  <a:gd name="connsiteX14" fmla="*/ 981000 w 3883573"/>
                  <a:gd name="connsiteY14" fmla="*/ 94434 h 1851428"/>
                  <a:gd name="connsiteX15" fmla="*/ 61263 w 3883573"/>
                  <a:gd name="connsiteY15" fmla="*/ 30910 h 1851428"/>
                  <a:gd name="connsiteX0" fmla="*/ 61263 w 3883573"/>
                  <a:gd name="connsiteY0" fmla="*/ 30910 h 1847024"/>
                  <a:gd name="connsiteX1" fmla="*/ 126754 w 3883573"/>
                  <a:gd name="connsiteY1" fmla="*/ 537465 h 1847024"/>
                  <a:gd name="connsiteX2" fmla="*/ 459363 w 3883573"/>
                  <a:gd name="connsiteY2" fmla="*/ 1062319 h 1847024"/>
                  <a:gd name="connsiteX3" fmla="*/ 1235346 w 3883573"/>
                  <a:gd name="connsiteY3" fmla="*/ 1252241 h 1847024"/>
                  <a:gd name="connsiteX4" fmla="*/ 2023449 w 3883573"/>
                  <a:gd name="connsiteY4" fmla="*/ 999753 h 1847024"/>
                  <a:gd name="connsiteX5" fmla="*/ 2490859 w 3883573"/>
                  <a:gd name="connsiteY5" fmla="*/ 1155322 h 1847024"/>
                  <a:gd name="connsiteX6" fmla="*/ 3033660 w 3883573"/>
                  <a:gd name="connsiteY6" fmla="*/ 1843659 h 1847024"/>
                  <a:gd name="connsiteX7" fmla="*/ 3324591 w 3883573"/>
                  <a:gd name="connsiteY7" fmla="*/ 1197924 h 1847024"/>
                  <a:gd name="connsiteX8" fmla="*/ 3635487 w 3883573"/>
                  <a:gd name="connsiteY8" fmla="*/ 751817 h 1847024"/>
                  <a:gd name="connsiteX9" fmla="*/ 3883573 w 3883573"/>
                  <a:gd name="connsiteY9" fmla="*/ 451503 h 1847024"/>
                  <a:gd name="connsiteX10" fmla="*/ 3883573 w 3883573"/>
                  <a:gd name="connsiteY10" fmla="*/ 13121 h 1847024"/>
                  <a:gd name="connsiteX11" fmla="*/ 3277257 w 3883573"/>
                  <a:gd name="connsiteY11" fmla="*/ 187696 h 1847024"/>
                  <a:gd name="connsiteX12" fmla="*/ 2790063 w 3883573"/>
                  <a:gd name="connsiteY12" fmla="*/ 287779 h 1847024"/>
                  <a:gd name="connsiteX13" fmla="*/ 2320781 w 3883573"/>
                  <a:gd name="connsiteY13" fmla="*/ 210442 h 1847024"/>
                  <a:gd name="connsiteX14" fmla="*/ 1581038 w 3883573"/>
                  <a:gd name="connsiteY14" fmla="*/ 185419 h 1847024"/>
                  <a:gd name="connsiteX15" fmla="*/ 981000 w 3883573"/>
                  <a:gd name="connsiteY15" fmla="*/ 94434 h 1847024"/>
                  <a:gd name="connsiteX16" fmla="*/ 61263 w 3883573"/>
                  <a:gd name="connsiteY16" fmla="*/ 30910 h 1847024"/>
                  <a:gd name="connsiteX0" fmla="*/ 61263 w 3883573"/>
                  <a:gd name="connsiteY0" fmla="*/ 30910 h 1847024"/>
                  <a:gd name="connsiteX1" fmla="*/ 126754 w 3883573"/>
                  <a:gd name="connsiteY1" fmla="*/ 537465 h 1847024"/>
                  <a:gd name="connsiteX2" fmla="*/ 459363 w 3883573"/>
                  <a:gd name="connsiteY2" fmla="*/ 1062319 h 1847024"/>
                  <a:gd name="connsiteX3" fmla="*/ 1235346 w 3883573"/>
                  <a:gd name="connsiteY3" fmla="*/ 1252241 h 1847024"/>
                  <a:gd name="connsiteX4" fmla="*/ 1736869 w 3883573"/>
                  <a:gd name="connsiteY4" fmla="*/ 1011123 h 1847024"/>
                  <a:gd name="connsiteX5" fmla="*/ 2490859 w 3883573"/>
                  <a:gd name="connsiteY5" fmla="*/ 1155322 h 1847024"/>
                  <a:gd name="connsiteX6" fmla="*/ 3033660 w 3883573"/>
                  <a:gd name="connsiteY6" fmla="*/ 1843659 h 1847024"/>
                  <a:gd name="connsiteX7" fmla="*/ 3324591 w 3883573"/>
                  <a:gd name="connsiteY7" fmla="*/ 1197924 h 1847024"/>
                  <a:gd name="connsiteX8" fmla="*/ 3635487 w 3883573"/>
                  <a:gd name="connsiteY8" fmla="*/ 751817 h 1847024"/>
                  <a:gd name="connsiteX9" fmla="*/ 3883573 w 3883573"/>
                  <a:gd name="connsiteY9" fmla="*/ 451503 h 1847024"/>
                  <a:gd name="connsiteX10" fmla="*/ 3883573 w 3883573"/>
                  <a:gd name="connsiteY10" fmla="*/ 13121 h 1847024"/>
                  <a:gd name="connsiteX11" fmla="*/ 3277257 w 3883573"/>
                  <a:gd name="connsiteY11" fmla="*/ 187696 h 1847024"/>
                  <a:gd name="connsiteX12" fmla="*/ 2790063 w 3883573"/>
                  <a:gd name="connsiteY12" fmla="*/ 287779 h 1847024"/>
                  <a:gd name="connsiteX13" fmla="*/ 2320781 w 3883573"/>
                  <a:gd name="connsiteY13" fmla="*/ 210442 h 1847024"/>
                  <a:gd name="connsiteX14" fmla="*/ 1581038 w 3883573"/>
                  <a:gd name="connsiteY14" fmla="*/ 185419 h 1847024"/>
                  <a:gd name="connsiteX15" fmla="*/ 981000 w 3883573"/>
                  <a:gd name="connsiteY15" fmla="*/ 94434 h 1847024"/>
                  <a:gd name="connsiteX16" fmla="*/ 61263 w 3883573"/>
                  <a:gd name="connsiteY16" fmla="*/ 30910 h 1847024"/>
                  <a:gd name="connsiteX0" fmla="*/ 61263 w 3883573"/>
                  <a:gd name="connsiteY0" fmla="*/ 30910 h 1847024"/>
                  <a:gd name="connsiteX1" fmla="*/ 126754 w 3883573"/>
                  <a:gd name="connsiteY1" fmla="*/ 537465 h 1847024"/>
                  <a:gd name="connsiteX2" fmla="*/ 459363 w 3883573"/>
                  <a:gd name="connsiteY2" fmla="*/ 1062319 h 1847024"/>
                  <a:gd name="connsiteX3" fmla="*/ 903987 w 3883573"/>
                  <a:gd name="connsiteY3" fmla="*/ 1127135 h 1847024"/>
                  <a:gd name="connsiteX4" fmla="*/ 1736869 w 3883573"/>
                  <a:gd name="connsiteY4" fmla="*/ 1011123 h 1847024"/>
                  <a:gd name="connsiteX5" fmla="*/ 2490859 w 3883573"/>
                  <a:gd name="connsiteY5" fmla="*/ 1155322 h 1847024"/>
                  <a:gd name="connsiteX6" fmla="*/ 3033660 w 3883573"/>
                  <a:gd name="connsiteY6" fmla="*/ 1843659 h 1847024"/>
                  <a:gd name="connsiteX7" fmla="*/ 3324591 w 3883573"/>
                  <a:gd name="connsiteY7" fmla="*/ 1197924 h 1847024"/>
                  <a:gd name="connsiteX8" fmla="*/ 3635487 w 3883573"/>
                  <a:gd name="connsiteY8" fmla="*/ 751817 h 1847024"/>
                  <a:gd name="connsiteX9" fmla="*/ 3883573 w 3883573"/>
                  <a:gd name="connsiteY9" fmla="*/ 451503 h 1847024"/>
                  <a:gd name="connsiteX10" fmla="*/ 3883573 w 3883573"/>
                  <a:gd name="connsiteY10" fmla="*/ 13121 h 1847024"/>
                  <a:gd name="connsiteX11" fmla="*/ 3277257 w 3883573"/>
                  <a:gd name="connsiteY11" fmla="*/ 187696 h 1847024"/>
                  <a:gd name="connsiteX12" fmla="*/ 2790063 w 3883573"/>
                  <a:gd name="connsiteY12" fmla="*/ 287779 h 1847024"/>
                  <a:gd name="connsiteX13" fmla="*/ 2320781 w 3883573"/>
                  <a:gd name="connsiteY13" fmla="*/ 210442 h 1847024"/>
                  <a:gd name="connsiteX14" fmla="*/ 1581038 w 3883573"/>
                  <a:gd name="connsiteY14" fmla="*/ 185419 h 1847024"/>
                  <a:gd name="connsiteX15" fmla="*/ 981000 w 3883573"/>
                  <a:gd name="connsiteY15" fmla="*/ 94434 h 1847024"/>
                  <a:gd name="connsiteX16" fmla="*/ 61263 w 3883573"/>
                  <a:gd name="connsiteY16" fmla="*/ 30910 h 1847024"/>
                  <a:gd name="connsiteX0" fmla="*/ 61263 w 3883573"/>
                  <a:gd name="connsiteY0" fmla="*/ 30910 h 1847000"/>
                  <a:gd name="connsiteX1" fmla="*/ 126754 w 3883573"/>
                  <a:gd name="connsiteY1" fmla="*/ 537465 h 1847000"/>
                  <a:gd name="connsiteX2" fmla="*/ 459363 w 3883573"/>
                  <a:gd name="connsiteY2" fmla="*/ 1062319 h 1847000"/>
                  <a:gd name="connsiteX3" fmla="*/ 903987 w 3883573"/>
                  <a:gd name="connsiteY3" fmla="*/ 1127135 h 1847000"/>
                  <a:gd name="connsiteX4" fmla="*/ 1736869 w 3883573"/>
                  <a:gd name="connsiteY4" fmla="*/ 1011123 h 1847000"/>
                  <a:gd name="connsiteX5" fmla="*/ 2069939 w 3883573"/>
                  <a:gd name="connsiteY5" fmla="*/ 1166694 h 1847000"/>
                  <a:gd name="connsiteX6" fmla="*/ 2490859 w 3883573"/>
                  <a:gd name="connsiteY6" fmla="*/ 1155322 h 1847000"/>
                  <a:gd name="connsiteX7" fmla="*/ 3033660 w 3883573"/>
                  <a:gd name="connsiteY7" fmla="*/ 1843659 h 1847000"/>
                  <a:gd name="connsiteX8" fmla="*/ 3324591 w 3883573"/>
                  <a:gd name="connsiteY8" fmla="*/ 1197924 h 1847000"/>
                  <a:gd name="connsiteX9" fmla="*/ 3635487 w 3883573"/>
                  <a:gd name="connsiteY9" fmla="*/ 751817 h 1847000"/>
                  <a:gd name="connsiteX10" fmla="*/ 3883573 w 3883573"/>
                  <a:gd name="connsiteY10" fmla="*/ 451503 h 1847000"/>
                  <a:gd name="connsiteX11" fmla="*/ 3883573 w 3883573"/>
                  <a:gd name="connsiteY11" fmla="*/ 13121 h 1847000"/>
                  <a:gd name="connsiteX12" fmla="*/ 3277257 w 3883573"/>
                  <a:gd name="connsiteY12" fmla="*/ 187696 h 1847000"/>
                  <a:gd name="connsiteX13" fmla="*/ 2790063 w 3883573"/>
                  <a:gd name="connsiteY13" fmla="*/ 287779 h 1847000"/>
                  <a:gd name="connsiteX14" fmla="*/ 2320781 w 3883573"/>
                  <a:gd name="connsiteY14" fmla="*/ 210442 h 1847000"/>
                  <a:gd name="connsiteX15" fmla="*/ 1581038 w 3883573"/>
                  <a:gd name="connsiteY15" fmla="*/ 185419 h 1847000"/>
                  <a:gd name="connsiteX16" fmla="*/ 981000 w 3883573"/>
                  <a:gd name="connsiteY16" fmla="*/ 94434 h 1847000"/>
                  <a:gd name="connsiteX17" fmla="*/ 61263 w 3883573"/>
                  <a:gd name="connsiteY17" fmla="*/ 30910 h 1847000"/>
                  <a:gd name="connsiteX0" fmla="*/ 61263 w 3883573"/>
                  <a:gd name="connsiteY0" fmla="*/ 30910 h 1220392"/>
                  <a:gd name="connsiteX1" fmla="*/ 126754 w 3883573"/>
                  <a:gd name="connsiteY1" fmla="*/ 537465 h 1220392"/>
                  <a:gd name="connsiteX2" fmla="*/ 459363 w 3883573"/>
                  <a:gd name="connsiteY2" fmla="*/ 1062319 h 1220392"/>
                  <a:gd name="connsiteX3" fmla="*/ 903987 w 3883573"/>
                  <a:gd name="connsiteY3" fmla="*/ 1127135 h 1220392"/>
                  <a:gd name="connsiteX4" fmla="*/ 1736869 w 3883573"/>
                  <a:gd name="connsiteY4" fmla="*/ 1011123 h 1220392"/>
                  <a:gd name="connsiteX5" fmla="*/ 2069939 w 3883573"/>
                  <a:gd name="connsiteY5" fmla="*/ 1166694 h 1220392"/>
                  <a:gd name="connsiteX6" fmla="*/ 2490859 w 3883573"/>
                  <a:gd name="connsiteY6" fmla="*/ 1155322 h 1220392"/>
                  <a:gd name="connsiteX7" fmla="*/ 3324591 w 3883573"/>
                  <a:gd name="connsiteY7" fmla="*/ 1197924 h 1220392"/>
                  <a:gd name="connsiteX8" fmla="*/ 3635487 w 3883573"/>
                  <a:gd name="connsiteY8" fmla="*/ 751817 h 1220392"/>
                  <a:gd name="connsiteX9" fmla="*/ 3883573 w 3883573"/>
                  <a:gd name="connsiteY9" fmla="*/ 451503 h 1220392"/>
                  <a:gd name="connsiteX10" fmla="*/ 3883573 w 3883573"/>
                  <a:gd name="connsiteY10" fmla="*/ 13121 h 1220392"/>
                  <a:gd name="connsiteX11" fmla="*/ 3277257 w 3883573"/>
                  <a:gd name="connsiteY11" fmla="*/ 187696 h 1220392"/>
                  <a:gd name="connsiteX12" fmla="*/ 2790063 w 3883573"/>
                  <a:gd name="connsiteY12" fmla="*/ 287779 h 1220392"/>
                  <a:gd name="connsiteX13" fmla="*/ 2320781 w 3883573"/>
                  <a:gd name="connsiteY13" fmla="*/ 210442 h 1220392"/>
                  <a:gd name="connsiteX14" fmla="*/ 1581038 w 3883573"/>
                  <a:gd name="connsiteY14" fmla="*/ 185419 h 1220392"/>
                  <a:gd name="connsiteX15" fmla="*/ 981000 w 3883573"/>
                  <a:gd name="connsiteY15" fmla="*/ 94434 h 1220392"/>
                  <a:gd name="connsiteX16" fmla="*/ 61263 w 3883573"/>
                  <a:gd name="connsiteY16" fmla="*/ 30910 h 1220392"/>
                  <a:gd name="connsiteX0" fmla="*/ 61263 w 3883573"/>
                  <a:gd name="connsiteY0" fmla="*/ 30910 h 1174361"/>
                  <a:gd name="connsiteX1" fmla="*/ 126754 w 3883573"/>
                  <a:gd name="connsiteY1" fmla="*/ 537465 h 1174361"/>
                  <a:gd name="connsiteX2" fmla="*/ 459363 w 3883573"/>
                  <a:gd name="connsiteY2" fmla="*/ 1062319 h 1174361"/>
                  <a:gd name="connsiteX3" fmla="*/ 903987 w 3883573"/>
                  <a:gd name="connsiteY3" fmla="*/ 1127135 h 1174361"/>
                  <a:gd name="connsiteX4" fmla="*/ 1736869 w 3883573"/>
                  <a:gd name="connsiteY4" fmla="*/ 1011123 h 1174361"/>
                  <a:gd name="connsiteX5" fmla="*/ 2069939 w 3883573"/>
                  <a:gd name="connsiteY5" fmla="*/ 1166694 h 1174361"/>
                  <a:gd name="connsiteX6" fmla="*/ 2490859 w 3883573"/>
                  <a:gd name="connsiteY6" fmla="*/ 1155322 h 1174361"/>
                  <a:gd name="connsiteX7" fmla="*/ 3243989 w 3883573"/>
                  <a:gd name="connsiteY7" fmla="*/ 959085 h 1174361"/>
                  <a:gd name="connsiteX8" fmla="*/ 3635487 w 3883573"/>
                  <a:gd name="connsiteY8" fmla="*/ 751817 h 1174361"/>
                  <a:gd name="connsiteX9" fmla="*/ 3883573 w 3883573"/>
                  <a:gd name="connsiteY9" fmla="*/ 451503 h 1174361"/>
                  <a:gd name="connsiteX10" fmla="*/ 3883573 w 3883573"/>
                  <a:gd name="connsiteY10" fmla="*/ 13121 h 1174361"/>
                  <a:gd name="connsiteX11" fmla="*/ 3277257 w 3883573"/>
                  <a:gd name="connsiteY11" fmla="*/ 187696 h 1174361"/>
                  <a:gd name="connsiteX12" fmla="*/ 2790063 w 3883573"/>
                  <a:gd name="connsiteY12" fmla="*/ 287779 h 1174361"/>
                  <a:gd name="connsiteX13" fmla="*/ 2320781 w 3883573"/>
                  <a:gd name="connsiteY13" fmla="*/ 210442 h 1174361"/>
                  <a:gd name="connsiteX14" fmla="*/ 1581038 w 3883573"/>
                  <a:gd name="connsiteY14" fmla="*/ 185419 h 1174361"/>
                  <a:gd name="connsiteX15" fmla="*/ 981000 w 3883573"/>
                  <a:gd name="connsiteY15" fmla="*/ 94434 h 1174361"/>
                  <a:gd name="connsiteX16" fmla="*/ 61263 w 3883573"/>
                  <a:gd name="connsiteY16" fmla="*/ 30910 h 1174361"/>
                  <a:gd name="connsiteX0" fmla="*/ 61263 w 3883573"/>
                  <a:gd name="connsiteY0" fmla="*/ 30910 h 1174361"/>
                  <a:gd name="connsiteX1" fmla="*/ 126754 w 3883573"/>
                  <a:gd name="connsiteY1" fmla="*/ 537465 h 1174361"/>
                  <a:gd name="connsiteX2" fmla="*/ 459363 w 3883573"/>
                  <a:gd name="connsiteY2" fmla="*/ 1062319 h 1174361"/>
                  <a:gd name="connsiteX3" fmla="*/ 903987 w 3883573"/>
                  <a:gd name="connsiteY3" fmla="*/ 1127135 h 1174361"/>
                  <a:gd name="connsiteX4" fmla="*/ 1736869 w 3883573"/>
                  <a:gd name="connsiteY4" fmla="*/ 1011123 h 1174361"/>
                  <a:gd name="connsiteX5" fmla="*/ 2069939 w 3883573"/>
                  <a:gd name="connsiteY5" fmla="*/ 1166694 h 1174361"/>
                  <a:gd name="connsiteX6" fmla="*/ 2490859 w 3883573"/>
                  <a:gd name="connsiteY6" fmla="*/ 1155322 h 1174361"/>
                  <a:gd name="connsiteX7" fmla="*/ 3360418 w 3883573"/>
                  <a:gd name="connsiteY7" fmla="*/ 1050071 h 1174361"/>
                  <a:gd name="connsiteX8" fmla="*/ 3635487 w 3883573"/>
                  <a:gd name="connsiteY8" fmla="*/ 751817 h 1174361"/>
                  <a:gd name="connsiteX9" fmla="*/ 3883573 w 3883573"/>
                  <a:gd name="connsiteY9" fmla="*/ 451503 h 1174361"/>
                  <a:gd name="connsiteX10" fmla="*/ 3883573 w 3883573"/>
                  <a:gd name="connsiteY10" fmla="*/ 13121 h 1174361"/>
                  <a:gd name="connsiteX11" fmla="*/ 3277257 w 3883573"/>
                  <a:gd name="connsiteY11" fmla="*/ 187696 h 1174361"/>
                  <a:gd name="connsiteX12" fmla="*/ 2790063 w 3883573"/>
                  <a:gd name="connsiteY12" fmla="*/ 287779 h 1174361"/>
                  <a:gd name="connsiteX13" fmla="*/ 2320781 w 3883573"/>
                  <a:gd name="connsiteY13" fmla="*/ 210442 h 1174361"/>
                  <a:gd name="connsiteX14" fmla="*/ 1581038 w 3883573"/>
                  <a:gd name="connsiteY14" fmla="*/ 185419 h 1174361"/>
                  <a:gd name="connsiteX15" fmla="*/ 981000 w 3883573"/>
                  <a:gd name="connsiteY15" fmla="*/ 94434 h 1174361"/>
                  <a:gd name="connsiteX16" fmla="*/ 61263 w 3883573"/>
                  <a:gd name="connsiteY16" fmla="*/ 30910 h 1174361"/>
                  <a:gd name="connsiteX0" fmla="*/ 61263 w 3892533"/>
                  <a:gd name="connsiteY0" fmla="*/ 24870 h 1168321"/>
                  <a:gd name="connsiteX1" fmla="*/ 126754 w 3892533"/>
                  <a:gd name="connsiteY1" fmla="*/ 531425 h 1168321"/>
                  <a:gd name="connsiteX2" fmla="*/ 459363 w 3892533"/>
                  <a:gd name="connsiteY2" fmla="*/ 1056279 h 1168321"/>
                  <a:gd name="connsiteX3" fmla="*/ 903987 w 3892533"/>
                  <a:gd name="connsiteY3" fmla="*/ 1121095 h 1168321"/>
                  <a:gd name="connsiteX4" fmla="*/ 1736869 w 3892533"/>
                  <a:gd name="connsiteY4" fmla="*/ 1005083 h 1168321"/>
                  <a:gd name="connsiteX5" fmla="*/ 2069939 w 3892533"/>
                  <a:gd name="connsiteY5" fmla="*/ 1160654 h 1168321"/>
                  <a:gd name="connsiteX6" fmla="*/ 2490859 w 3892533"/>
                  <a:gd name="connsiteY6" fmla="*/ 1149282 h 1168321"/>
                  <a:gd name="connsiteX7" fmla="*/ 3360418 w 3892533"/>
                  <a:gd name="connsiteY7" fmla="*/ 1044031 h 1168321"/>
                  <a:gd name="connsiteX8" fmla="*/ 3635487 w 3892533"/>
                  <a:gd name="connsiteY8" fmla="*/ 745777 h 1168321"/>
                  <a:gd name="connsiteX9" fmla="*/ 3883573 w 3892533"/>
                  <a:gd name="connsiteY9" fmla="*/ 445463 h 1168321"/>
                  <a:gd name="connsiteX10" fmla="*/ 3892534 w 3892533"/>
                  <a:gd name="connsiteY10" fmla="*/ 166306 h 1168321"/>
                  <a:gd name="connsiteX11" fmla="*/ 3277257 w 3892533"/>
                  <a:gd name="connsiteY11" fmla="*/ 181656 h 1168321"/>
                  <a:gd name="connsiteX12" fmla="*/ 2790063 w 3892533"/>
                  <a:gd name="connsiteY12" fmla="*/ 281739 h 1168321"/>
                  <a:gd name="connsiteX13" fmla="*/ 2320781 w 3892533"/>
                  <a:gd name="connsiteY13" fmla="*/ 204402 h 1168321"/>
                  <a:gd name="connsiteX14" fmla="*/ 1581038 w 3892533"/>
                  <a:gd name="connsiteY14" fmla="*/ 179379 h 1168321"/>
                  <a:gd name="connsiteX15" fmla="*/ 981000 w 3892533"/>
                  <a:gd name="connsiteY15" fmla="*/ 88394 h 1168321"/>
                  <a:gd name="connsiteX16" fmla="*/ 61263 w 3892533"/>
                  <a:gd name="connsiteY16" fmla="*/ 24870 h 1168321"/>
                  <a:gd name="connsiteX0" fmla="*/ 61263 w 3892535"/>
                  <a:gd name="connsiteY0" fmla="*/ 24870 h 1280796"/>
                  <a:gd name="connsiteX1" fmla="*/ 126754 w 3892535"/>
                  <a:gd name="connsiteY1" fmla="*/ 531425 h 1280796"/>
                  <a:gd name="connsiteX2" fmla="*/ 459363 w 3892535"/>
                  <a:gd name="connsiteY2" fmla="*/ 1056279 h 1280796"/>
                  <a:gd name="connsiteX3" fmla="*/ 966682 w 3892535"/>
                  <a:gd name="connsiteY3" fmla="*/ 1280322 h 1280796"/>
                  <a:gd name="connsiteX4" fmla="*/ 1736869 w 3892535"/>
                  <a:gd name="connsiteY4" fmla="*/ 1005083 h 1280796"/>
                  <a:gd name="connsiteX5" fmla="*/ 2069939 w 3892535"/>
                  <a:gd name="connsiteY5" fmla="*/ 1160654 h 1280796"/>
                  <a:gd name="connsiteX6" fmla="*/ 2490859 w 3892535"/>
                  <a:gd name="connsiteY6" fmla="*/ 1149282 h 1280796"/>
                  <a:gd name="connsiteX7" fmla="*/ 3360418 w 3892535"/>
                  <a:gd name="connsiteY7" fmla="*/ 1044031 h 1280796"/>
                  <a:gd name="connsiteX8" fmla="*/ 3635487 w 3892535"/>
                  <a:gd name="connsiteY8" fmla="*/ 745777 h 1280796"/>
                  <a:gd name="connsiteX9" fmla="*/ 3883573 w 3892535"/>
                  <a:gd name="connsiteY9" fmla="*/ 445463 h 1280796"/>
                  <a:gd name="connsiteX10" fmla="*/ 3892534 w 3892535"/>
                  <a:gd name="connsiteY10" fmla="*/ 166306 h 1280796"/>
                  <a:gd name="connsiteX11" fmla="*/ 3277257 w 3892535"/>
                  <a:gd name="connsiteY11" fmla="*/ 181656 h 1280796"/>
                  <a:gd name="connsiteX12" fmla="*/ 2790063 w 3892535"/>
                  <a:gd name="connsiteY12" fmla="*/ 281739 h 1280796"/>
                  <a:gd name="connsiteX13" fmla="*/ 2320781 w 3892535"/>
                  <a:gd name="connsiteY13" fmla="*/ 204402 h 1280796"/>
                  <a:gd name="connsiteX14" fmla="*/ 1581038 w 3892535"/>
                  <a:gd name="connsiteY14" fmla="*/ 179379 h 1280796"/>
                  <a:gd name="connsiteX15" fmla="*/ 981000 w 3892535"/>
                  <a:gd name="connsiteY15" fmla="*/ 88394 h 1280796"/>
                  <a:gd name="connsiteX16" fmla="*/ 61263 w 3892535"/>
                  <a:gd name="connsiteY16" fmla="*/ 24870 h 1280796"/>
                  <a:gd name="connsiteX0" fmla="*/ 61263 w 3892533"/>
                  <a:gd name="connsiteY0" fmla="*/ 24870 h 1288550"/>
                  <a:gd name="connsiteX1" fmla="*/ 126754 w 3892533"/>
                  <a:gd name="connsiteY1" fmla="*/ 531425 h 1288550"/>
                  <a:gd name="connsiteX2" fmla="*/ 459363 w 3892533"/>
                  <a:gd name="connsiteY2" fmla="*/ 1056279 h 1288550"/>
                  <a:gd name="connsiteX3" fmla="*/ 966682 w 3892533"/>
                  <a:gd name="connsiteY3" fmla="*/ 1280322 h 1288550"/>
                  <a:gd name="connsiteX4" fmla="*/ 1584621 w 3892533"/>
                  <a:gd name="connsiteY4" fmla="*/ 1232549 h 1288550"/>
                  <a:gd name="connsiteX5" fmla="*/ 2069939 w 3892533"/>
                  <a:gd name="connsiteY5" fmla="*/ 1160654 h 1288550"/>
                  <a:gd name="connsiteX6" fmla="*/ 2490859 w 3892533"/>
                  <a:gd name="connsiteY6" fmla="*/ 1149282 h 1288550"/>
                  <a:gd name="connsiteX7" fmla="*/ 3360418 w 3892533"/>
                  <a:gd name="connsiteY7" fmla="*/ 1044031 h 1288550"/>
                  <a:gd name="connsiteX8" fmla="*/ 3635487 w 3892533"/>
                  <a:gd name="connsiteY8" fmla="*/ 745777 h 1288550"/>
                  <a:gd name="connsiteX9" fmla="*/ 3883573 w 3892533"/>
                  <a:gd name="connsiteY9" fmla="*/ 445463 h 1288550"/>
                  <a:gd name="connsiteX10" fmla="*/ 3892534 w 3892533"/>
                  <a:gd name="connsiteY10" fmla="*/ 166306 h 1288550"/>
                  <a:gd name="connsiteX11" fmla="*/ 3277257 w 3892533"/>
                  <a:gd name="connsiteY11" fmla="*/ 181656 h 1288550"/>
                  <a:gd name="connsiteX12" fmla="*/ 2790063 w 3892533"/>
                  <a:gd name="connsiteY12" fmla="*/ 281739 h 1288550"/>
                  <a:gd name="connsiteX13" fmla="*/ 2320781 w 3892533"/>
                  <a:gd name="connsiteY13" fmla="*/ 204402 h 1288550"/>
                  <a:gd name="connsiteX14" fmla="*/ 1581038 w 3892533"/>
                  <a:gd name="connsiteY14" fmla="*/ 179379 h 1288550"/>
                  <a:gd name="connsiteX15" fmla="*/ 981000 w 3892533"/>
                  <a:gd name="connsiteY15" fmla="*/ 88394 h 1288550"/>
                  <a:gd name="connsiteX16" fmla="*/ 61263 w 3892533"/>
                  <a:gd name="connsiteY16" fmla="*/ 24870 h 1288550"/>
                  <a:gd name="connsiteX0" fmla="*/ 61263 w 3892535"/>
                  <a:gd name="connsiteY0" fmla="*/ 24870 h 1288550"/>
                  <a:gd name="connsiteX1" fmla="*/ 126754 w 3892535"/>
                  <a:gd name="connsiteY1" fmla="*/ 531425 h 1288550"/>
                  <a:gd name="connsiteX2" fmla="*/ 459363 w 3892535"/>
                  <a:gd name="connsiteY2" fmla="*/ 1056279 h 1288550"/>
                  <a:gd name="connsiteX3" fmla="*/ 966682 w 3892535"/>
                  <a:gd name="connsiteY3" fmla="*/ 1280322 h 1288550"/>
                  <a:gd name="connsiteX4" fmla="*/ 1584621 w 3892535"/>
                  <a:gd name="connsiteY4" fmla="*/ 1232549 h 1288550"/>
                  <a:gd name="connsiteX5" fmla="*/ 2069939 w 3892535"/>
                  <a:gd name="connsiteY5" fmla="*/ 1160654 h 1288550"/>
                  <a:gd name="connsiteX6" fmla="*/ 2338605 w 3892535"/>
                  <a:gd name="connsiteY6" fmla="*/ 1285763 h 1288550"/>
                  <a:gd name="connsiteX7" fmla="*/ 2490859 w 3892535"/>
                  <a:gd name="connsiteY7" fmla="*/ 1149282 h 1288550"/>
                  <a:gd name="connsiteX8" fmla="*/ 3360418 w 3892535"/>
                  <a:gd name="connsiteY8" fmla="*/ 1044031 h 1288550"/>
                  <a:gd name="connsiteX9" fmla="*/ 3635487 w 3892535"/>
                  <a:gd name="connsiteY9" fmla="*/ 745777 h 1288550"/>
                  <a:gd name="connsiteX10" fmla="*/ 3883573 w 3892535"/>
                  <a:gd name="connsiteY10" fmla="*/ 445463 h 1288550"/>
                  <a:gd name="connsiteX11" fmla="*/ 3892534 w 3892535"/>
                  <a:gd name="connsiteY11" fmla="*/ 166306 h 1288550"/>
                  <a:gd name="connsiteX12" fmla="*/ 3277257 w 3892535"/>
                  <a:gd name="connsiteY12" fmla="*/ 181656 h 1288550"/>
                  <a:gd name="connsiteX13" fmla="*/ 2790063 w 3892535"/>
                  <a:gd name="connsiteY13" fmla="*/ 281739 h 1288550"/>
                  <a:gd name="connsiteX14" fmla="*/ 2320781 w 3892535"/>
                  <a:gd name="connsiteY14" fmla="*/ 204402 h 1288550"/>
                  <a:gd name="connsiteX15" fmla="*/ 1581038 w 3892535"/>
                  <a:gd name="connsiteY15" fmla="*/ 179379 h 1288550"/>
                  <a:gd name="connsiteX16" fmla="*/ 981000 w 3892535"/>
                  <a:gd name="connsiteY16" fmla="*/ 88394 h 1288550"/>
                  <a:gd name="connsiteX17" fmla="*/ 61263 w 3892535"/>
                  <a:gd name="connsiteY17" fmla="*/ 24870 h 1288550"/>
                  <a:gd name="connsiteX0" fmla="*/ 61263 w 3892533"/>
                  <a:gd name="connsiteY0" fmla="*/ 24870 h 1288550"/>
                  <a:gd name="connsiteX1" fmla="*/ 126754 w 3892533"/>
                  <a:gd name="connsiteY1" fmla="*/ 531425 h 1288550"/>
                  <a:gd name="connsiteX2" fmla="*/ 459363 w 3892533"/>
                  <a:gd name="connsiteY2" fmla="*/ 1056279 h 1288550"/>
                  <a:gd name="connsiteX3" fmla="*/ 966682 w 3892533"/>
                  <a:gd name="connsiteY3" fmla="*/ 1280322 h 1288550"/>
                  <a:gd name="connsiteX4" fmla="*/ 1584621 w 3892533"/>
                  <a:gd name="connsiteY4" fmla="*/ 1232549 h 1288550"/>
                  <a:gd name="connsiteX5" fmla="*/ 2069939 w 3892533"/>
                  <a:gd name="connsiteY5" fmla="*/ 1160654 h 1288550"/>
                  <a:gd name="connsiteX6" fmla="*/ 2338605 w 3892533"/>
                  <a:gd name="connsiteY6" fmla="*/ 1285763 h 1288550"/>
                  <a:gd name="connsiteX7" fmla="*/ 2490859 w 3892533"/>
                  <a:gd name="connsiteY7" fmla="*/ 1149282 h 1288550"/>
                  <a:gd name="connsiteX8" fmla="*/ 2768487 w 3892533"/>
                  <a:gd name="connsiteY8" fmla="*/ 1206147 h 1288550"/>
                  <a:gd name="connsiteX9" fmla="*/ 3360418 w 3892533"/>
                  <a:gd name="connsiteY9" fmla="*/ 1044031 h 1288550"/>
                  <a:gd name="connsiteX10" fmla="*/ 3635487 w 3892533"/>
                  <a:gd name="connsiteY10" fmla="*/ 745777 h 1288550"/>
                  <a:gd name="connsiteX11" fmla="*/ 3883573 w 3892533"/>
                  <a:gd name="connsiteY11" fmla="*/ 445463 h 1288550"/>
                  <a:gd name="connsiteX12" fmla="*/ 3892534 w 3892533"/>
                  <a:gd name="connsiteY12" fmla="*/ 166306 h 1288550"/>
                  <a:gd name="connsiteX13" fmla="*/ 3277257 w 3892533"/>
                  <a:gd name="connsiteY13" fmla="*/ 181656 h 1288550"/>
                  <a:gd name="connsiteX14" fmla="*/ 2790063 w 3892533"/>
                  <a:gd name="connsiteY14" fmla="*/ 281739 h 1288550"/>
                  <a:gd name="connsiteX15" fmla="*/ 2320781 w 3892533"/>
                  <a:gd name="connsiteY15" fmla="*/ 204402 h 1288550"/>
                  <a:gd name="connsiteX16" fmla="*/ 1581038 w 3892533"/>
                  <a:gd name="connsiteY16" fmla="*/ 179379 h 1288550"/>
                  <a:gd name="connsiteX17" fmla="*/ 981000 w 3892533"/>
                  <a:gd name="connsiteY17" fmla="*/ 88394 h 1288550"/>
                  <a:gd name="connsiteX18" fmla="*/ 61263 w 3892533"/>
                  <a:gd name="connsiteY18" fmla="*/ 24870 h 1288550"/>
                  <a:gd name="connsiteX0" fmla="*/ 61263 w 3892535"/>
                  <a:gd name="connsiteY0" fmla="*/ 24870 h 1289751"/>
                  <a:gd name="connsiteX1" fmla="*/ 126754 w 3892535"/>
                  <a:gd name="connsiteY1" fmla="*/ 531425 h 1289751"/>
                  <a:gd name="connsiteX2" fmla="*/ 459363 w 3892535"/>
                  <a:gd name="connsiteY2" fmla="*/ 1056279 h 1289751"/>
                  <a:gd name="connsiteX3" fmla="*/ 966682 w 3892535"/>
                  <a:gd name="connsiteY3" fmla="*/ 1280322 h 1289751"/>
                  <a:gd name="connsiteX4" fmla="*/ 1584621 w 3892535"/>
                  <a:gd name="connsiteY4" fmla="*/ 1232549 h 1289751"/>
                  <a:gd name="connsiteX5" fmla="*/ 1881860 w 3892535"/>
                  <a:gd name="connsiteY5" fmla="*/ 1092415 h 1289751"/>
                  <a:gd name="connsiteX6" fmla="*/ 2069939 w 3892535"/>
                  <a:gd name="connsiteY6" fmla="*/ 1160654 h 1289751"/>
                  <a:gd name="connsiteX7" fmla="*/ 2338605 w 3892535"/>
                  <a:gd name="connsiteY7" fmla="*/ 1285763 h 1289751"/>
                  <a:gd name="connsiteX8" fmla="*/ 2490859 w 3892535"/>
                  <a:gd name="connsiteY8" fmla="*/ 1149282 h 1289751"/>
                  <a:gd name="connsiteX9" fmla="*/ 2768487 w 3892535"/>
                  <a:gd name="connsiteY9" fmla="*/ 1206147 h 1289751"/>
                  <a:gd name="connsiteX10" fmla="*/ 3360418 w 3892535"/>
                  <a:gd name="connsiteY10" fmla="*/ 1044031 h 1289751"/>
                  <a:gd name="connsiteX11" fmla="*/ 3635487 w 3892535"/>
                  <a:gd name="connsiteY11" fmla="*/ 745777 h 1289751"/>
                  <a:gd name="connsiteX12" fmla="*/ 3883573 w 3892535"/>
                  <a:gd name="connsiteY12" fmla="*/ 445463 h 1289751"/>
                  <a:gd name="connsiteX13" fmla="*/ 3892534 w 3892535"/>
                  <a:gd name="connsiteY13" fmla="*/ 166306 h 1289751"/>
                  <a:gd name="connsiteX14" fmla="*/ 3277257 w 3892535"/>
                  <a:gd name="connsiteY14" fmla="*/ 181656 h 1289751"/>
                  <a:gd name="connsiteX15" fmla="*/ 2790063 w 3892535"/>
                  <a:gd name="connsiteY15" fmla="*/ 281739 h 1289751"/>
                  <a:gd name="connsiteX16" fmla="*/ 2320781 w 3892535"/>
                  <a:gd name="connsiteY16" fmla="*/ 204402 h 1289751"/>
                  <a:gd name="connsiteX17" fmla="*/ 1581038 w 3892535"/>
                  <a:gd name="connsiteY17" fmla="*/ 179379 h 1289751"/>
                  <a:gd name="connsiteX18" fmla="*/ 981000 w 3892535"/>
                  <a:gd name="connsiteY18" fmla="*/ 88394 h 1289751"/>
                  <a:gd name="connsiteX19" fmla="*/ 61263 w 3892535"/>
                  <a:gd name="connsiteY19" fmla="*/ 24870 h 1289751"/>
                  <a:gd name="connsiteX0" fmla="*/ 61263 w 3892533"/>
                  <a:gd name="connsiteY0" fmla="*/ 24870 h 1411420"/>
                  <a:gd name="connsiteX1" fmla="*/ 126754 w 3892533"/>
                  <a:gd name="connsiteY1" fmla="*/ 531425 h 1411420"/>
                  <a:gd name="connsiteX2" fmla="*/ 459363 w 3892533"/>
                  <a:gd name="connsiteY2" fmla="*/ 1056279 h 1411420"/>
                  <a:gd name="connsiteX3" fmla="*/ 966682 w 3892533"/>
                  <a:gd name="connsiteY3" fmla="*/ 1280322 h 1411420"/>
                  <a:gd name="connsiteX4" fmla="*/ 1407205 w 3892533"/>
                  <a:gd name="connsiteY4" fmla="*/ 1410866 h 1411420"/>
                  <a:gd name="connsiteX5" fmla="*/ 1584621 w 3892533"/>
                  <a:gd name="connsiteY5" fmla="*/ 1232549 h 1411420"/>
                  <a:gd name="connsiteX6" fmla="*/ 1881860 w 3892533"/>
                  <a:gd name="connsiteY6" fmla="*/ 1092415 h 1411420"/>
                  <a:gd name="connsiteX7" fmla="*/ 2069939 w 3892533"/>
                  <a:gd name="connsiteY7" fmla="*/ 1160654 h 1411420"/>
                  <a:gd name="connsiteX8" fmla="*/ 2338605 w 3892533"/>
                  <a:gd name="connsiteY8" fmla="*/ 1285763 h 1411420"/>
                  <a:gd name="connsiteX9" fmla="*/ 2490859 w 3892533"/>
                  <a:gd name="connsiteY9" fmla="*/ 1149282 h 1411420"/>
                  <a:gd name="connsiteX10" fmla="*/ 2768487 w 3892533"/>
                  <a:gd name="connsiteY10" fmla="*/ 1206147 h 1411420"/>
                  <a:gd name="connsiteX11" fmla="*/ 3360418 w 3892533"/>
                  <a:gd name="connsiteY11" fmla="*/ 1044031 h 1411420"/>
                  <a:gd name="connsiteX12" fmla="*/ 3635487 w 3892533"/>
                  <a:gd name="connsiteY12" fmla="*/ 745777 h 1411420"/>
                  <a:gd name="connsiteX13" fmla="*/ 3883573 w 3892533"/>
                  <a:gd name="connsiteY13" fmla="*/ 445463 h 1411420"/>
                  <a:gd name="connsiteX14" fmla="*/ 3892534 w 3892533"/>
                  <a:gd name="connsiteY14" fmla="*/ 166306 h 1411420"/>
                  <a:gd name="connsiteX15" fmla="*/ 3277257 w 3892533"/>
                  <a:gd name="connsiteY15" fmla="*/ 181656 h 1411420"/>
                  <a:gd name="connsiteX16" fmla="*/ 2790063 w 3892533"/>
                  <a:gd name="connsiteY16" fmla="*/ 281739 h 1411420"/>
                  <a:gd name="connsiteX17" fmla="*/ 2320781 w 3892533"/>
                  <a:gd name="connsiteY17" fmla="*/ 204402 h 1411420"/>
                  <a:gd name="connsiteX18" fmla="*/ 1581038 w 3892533"/>
                  <a:gd name="connsiteY18" fmla="*/ 179379 h 1411420"/>
                  <a:gd name="connsiteX19" fmla="*/ 981000 w 3892533"/>
                  <a:gd name="connsiteY19" fmla="*/ 88394 h 1411420"/>
                  <a:gd name="connsiteX20" fmla="*/ 61263 w 3892533"/>
                  <a:gd name="connsiteY20" fmla="*/ 24870 h 1411420"/>
                  <a:gd name="connsiteX0" fmla="*/ 61263 w 3892534"/>
                  <a:gd name="connsiteY0" fmla="*/ 24870 h 1411420"/>
                  <a:gd name="connsiteX1" fmla="*/ 126754 w 3892534"/>
                  <a:gd name="connsiteY1" fmla="*/ 531425 h 1411420"/>
                  <a:gd name="connsiteX2" fmla="*/ 459363 w 3892534"/>
                  <a:gd name="connsiteY2" fmla="*/ 1056279 h 1411420"/>
                  <a:gd name="connsiteX3" fmla="*/ 966682 w 3892534"/>
                  <a:gd name="connsiteY3" fmla="*/ 1280322 h 1411420"/>
                  <a:gd name="connsiteX4" fmla="*/ 1407205 w 3892534"/>
                  <a:gd name="connsiteY4" fmla="*/ 1410866 h 1411420"/>
                  <a:gd name="connsiteX5" fmla="*/ 1584621 w 3892534"/>
                  <a:gd name="connsiteY5" fmla="*/ 1232549 h 1411420"/>
                  <a:gd name="connsiteX6" fmla="*/ 1881860 w 3892534"/>
                  <a:gd name="connsiteY6" fmla="*/ 1092415 h 1411420"/>
                  <a:gd name="connsiteX7" fmla="*/ 2069939 w 3892534"/>
                  <a:gd name="connsiteY7" fmla="*/ 1160654 h 1411420"/>
                  <a:gd name="connsiteX8" fmla="*/ 2338605 w 3892534"/>
                  <a:gd name="connsiteY8" fmla="*/ 1285763 h 1411420"/>
                  <a:gd name="connsiteX9" fmla="*/ 2490859 w 3892534"/>
                  <a:gd name="connsiteY9" fmla="*/ 1149282 h 1411420"/>
                  <a:gd name="connsiteX10" fmla="*/ 2768487 w 3892534"/>
                  <a:gd name="connsiteY10" fmla="*/ 1206147 h 1411420"/>
                  <a:gd name="connsiteX11" fmla="*/ 3360418 w 3892534"/>
                  <a:gd name="connsiteY11" fmla="*/ 1044031 h 1411420"/>
                  <a:gd name="connsiteX12" fmla="*/ 3635487 w 3892534"/>
                  <a:gd name="connsiteY12" fmla="*/ 745777 h 1411420"/>
                  <a:gd name="connsiteX13" fmla="*/ 3892534 w 3892534"/>
                  <a:gd name="connsiteY13" fmla="*/ 166306 h 1411420"/>
                  <a:gd name="connsiteX14" fmla="*/ 3277257 w 3892534"/>
                  <a:gd name="connsiteY14" fmla="*/ 181656 h 1411420"/>
                  <a:gd name="connsiteX15" fmla="*/ 2790063 w 3892534"/>
                  <a:gd name="connsiteY15" fmla="*/ 281739 h 1411420"/>
                  <a:gd name="connsiteX16" fmla="*/ 2320781 w 3892534"/>
                  <a:gd name="connsiteY16" fmla="*/ 204402 h 1411420"/>
                  <a:gd name="connsiteX17" fmla="*/ 1581038 w 3892534"/>
                  <a:gd name="connsiteY17" fmla="*/ 179379 h 1411420"/>
                  <a:gd name="connsiteX18" fmla="*/ 981000 w 3892534"/>
                  <a:gd name="connsiteY18" fmla="*/ 88394 h 1411420"/>
                  <a:gd name="connsiteX19" fmla="*/ 61263 w 3892534"/>
                  <a:gd name="connsiteY19" fmla="*/ 24870 h 1411420"/>
                  <a:gd name="connsiteX0" fmla="*/ 61263 w 3635487"/>
                  <a:gd name="connsiteY0" fmla="*/ 24870 h 1411420"/>
                  <a:gd name="connsiteX1" fmla="*/ 126754 w 3635487"/>
                  <a:gd name="connsiteY1" fmla="*/ 531425 h 1411420"/>
                  <a:gd name="connsiteX2" fmla="*/ 459363 w 3635487"/>
                  <a:gd name="connsiteY2" fmla="*/ 1056279 h 1411420"/>
                  <a:gd name="connsiteX3" fmla="*/ 966682 w 3635487"/>
                  <a:gd name="connsiteY3" fmla="*/ 1280322 h 1411420"/>
                  <a:gd name="connsiteX4" fmla="*/ 1407205 w 3635487"/>
                  <a:gd name="connsiteY4" fmla="*/ 1410866 h 1411420"/>
                  <a:gd name="connsiteX5" fmla="*/ 1584621 w 3635487"/>
                  <a:gd name="connsiteY5" fmla="*/ 1232549 h 1411420"/>
                  <a:gd name="connsiteX6" fmla="*/ 1881860 w 3635487"/>
                  <a:gd name="connsiteY6" fmla="*/ 1092415 h 1411420"/>
                  <a:gd name="connsiteX7" fmla="*/ 2069939 w 3635487"/>
                  <a:gd name="connsiteY7" fmla="*/ 1160654 h 1411420"/>
                  <a:gd name="connsiteX8" fmla="*/ 2338605 w 3635487"/>
                  <a:gd name="connsiteY8" fmla="*/ 1285763 h 1411420"/>
                  <a:gd name="connsiteX9" fmla="*/ 2490859 w 3635487"/>
                  <a:gd name="connsiteY9" fmla="*/ 1149282 h 1411420"/>
                  <a:gd name="connsiteX10" fmla="*/ 2768487 w 3635487"/>
                  <a:gd name="connsiteY10" fmla="*/ 1206147 h 1411420"/>
                  <a:gd name="connsiteX11" fmla="*/ 3360418 w 3635487"/>
                  <a:gd name="connsiteY11" fmla="*/ 1044031 h 1411420"/>
                  <a:gd name="connsiteX12" fmla="*/ 3635487 w 3635487"/>
                  <a:gd name="connsiteY12" fmla="*/ 745777 h 1411420"/>
                  <a:gd name="connsiteX13" fmla="*/ 3585596 w 3635487"/>
                  <a:gd name="connsiteY13" fmla="*/ 222686 h 1411420"/>
                  <a:gd name="connsiteX14" fmla="*/ 3277257 w 3635487"/>
                  <a:gd name="connsiteY14" fmla="*/ 181656 h 1411420"/>
                  <a:gd name="connsiteX15" fmla="*/ 2790063 w 3635487"/>
                  <a:gd name="connsiteY15" fmla="*/ 281739 h 1411420"/>
                  <a:gd name="connsiteX16" fmla="*/ 2320781 w 3635487"/>
                  <a:gd name="connsiteY16" fmla="*/ 204402 h 1411420"/>
                  <a:gd name="connsiteX17" fmla="*/ 1581038 w 3635487"/>
                  <a:gd name="connsiteY17" fmla="*/ 179379 h 1411420"/>
                  <a:gd name="connsiteX18" fmla="*/ 981000 w 3635487"/>
                  <a:gd name="connsiteY18" fmla="*/ 88394 h 1411420"/>
                  <a:gd name="connsiteX19" fmla="*/ 61263 w 3635487"/>
                  <a:gd name="connsiteY19" fmla="*/ 24870 h 1411420"/>
                  <a:gd name="connsiteX0" fmla="*/ 94360 w 3556971"/>
                  <a:gd name="connsiteY0" fmla="*/ 63653 h 1326168"/>
                  <a:gd name="connsiteX1" fmla="*/ 48238 w 3556971"/>
                  <a:gd name="connsiteY1" fmla="*/ 446173 h 1326168"/>
                  <a:gd name="connsiteX2" fmla="*/ 380847 w 3556971"/>
                  <a:gd name="connsiteY2" fmla="*/ 971027 h 1326168"/>
                  <a:gd name="connsiteX3" fmla="*/ 888166 w 3556971"/>
                  <a:gd name="connsiteY3" fmla="*/ 1195070 h 1326168"/>
                  <a:gd name="connsiteX4" fmla="*/ 1328689 w 3556971"/>
                  <a:gd name="connsiteY4" fmla="*/ 1325614 h 1326168"/>
                  <a:gd name="connsiteX5" fmla="*/ 1506105 w 3556971"/>
                  <a:gd name="connsiteY5" fmla="*/ 1147297 h 1326168"/>
                  <a:gd name="connsiteX6" fmla="*/ 1803344 w 3556971"/>
                  <a:gd name="connsiteY6" fmla="*/ 1007163 h 1326168"/>
                  <a:gd name="connsiteX7" fmla="*/ 1991423 w 3556971"/>
                  <a:gd name="connsiteY7" fmla="*/ 1075402 h 1326168"/>
                  <a:gd name="connsiteX8" fmla="*/ 2260089 w 3556971"/>
                  <a:gd name="connsiteY8" fmla="*/ 1200511 h 1326168"/>
                  <a:gd name="connsiteX9" fmla="*/ 2412343 w 3556971"/>
                  <a:gd name="connsiteY9" fmla="*/ 1064030 h 1326168"/>
                  <a:gd name="connsiteX10" fmla="*/ 2689971 w 3556971"/>
                  <a:gd name="connsiteY10" fmla="*/ 1120895 h 1326168"/>
                  <a:gd name="connsiteX11" fmla="*/ 3281902 w 3556971"/>
                  <a:gd name="connsiteY11" fmla="*/ 958779 h 1326168"/>
                  <a:gd name="connsiteX12" fmla="*/ 3556971 w 3556971"/>
                  <a:gd name="connsiteY12" fmla="*/ 660525 h 1326168"/>
                  <a:gd name="connsiteX13" fmla="*/ 3507080 w 3556971"/>
                  <a:gd name="connsiteY13" fmla="*/ 137434 h 1326168"/>
                  <a:gd name="connsiteX14" fmla="*/ 3198741 w 3556971"/>
                  <a:gd name="connsiteY14" fmla="*/ 96404 h 1326168"/>
                  <a:gd name="connsiteX15" fmla="*/ 2711547 w 3556971"/>
                  <a:gd name="connsiteY15" fmla="*/ 196487 h 1326168"/>
                  <a:gd name="connsiteX16" fmla="*/ 2242265 w 3556971"/>
                  <a:gd name="connsiteY16" fmla="*/ 119150 h 1326168"/>
                  <a:gd name="connsiteX17" fmla="*/ 1502522 w 3556971"/>
                  <a:gd name="connsiteY17" fmla="*/ 94127 h 1326168"/>
                  <a:gd name="connsiteX18" fmla="*/ 902484 w 3556971"/>
                  <a:gd name="connsiteY18" fmla="*/ 3142 h 1326168"/>
                  <a:gd name="connsiteX19" fmla="*/ 94360 w 3556971"/>
                  <a:gd name="connsiteY19" fmla="*/ 63653 h 1326168"/>
                  <a:gd name="connsiteX0" fmla="*/ 57946 w 3520557"/>
                  <a:gd name="connsiteY0" fmla="*/ 61876 h 1324391"/>
                  <a:gd name="connsiteX1" fmla="*/ 95534 w 3520557"/>
                  <a:gd name="connsiteY1" fmla="*/ 354189 h 1324391"/>
                  <a:gd name="connsiteX2" fmla="*/ 344433 w 3520557"/>
                  <a:gd name="connsiteY2" fmla="*/ 969250 h 1324391"/>
                  <a:gd name="connsiteX3" fmla="*/ 851752 w 3520557"/>
                  <a:gd name="connsiteY3" fmla="*/ 1193293 h 1324391"/>
                  <a:gd name="connsiteX4" fmla="*/ 1292275 w 3520557"/>
                  <a:gd name="connsiteY4" fmla="*/ 1323837 h 1324391"/>
                  <a:gd name="connsiteX5" fmla="*/ 1469691 w 3520557"/>
                  <a:gd name="connsiteY5" fmla="*/ 1145520 h 1324391"/>
                  <a:gd name="connsiteX6" fmla="*/ 1766930 w 3520557"/>
                  <a:gd name="connsiteY6" fmla="*/ 1005386 h 1324391"/>
                  <a:gd name="connsiteX7" fmla="*/ 1955009 w 3520557"/>
                  <a:gd name="connsiteY7" fmla="*/ 1073625 h 1324391"/>
                  <a:gd name="connsiteX8" fmla="*/ 2223675 w 3520557"/>
                  <a:gd name="connsiteY8" fmla="*/ 1198734 h 1324391"/>
                  <a:gd name="connsiteX9" fmla="*/ 2375929 w 3520557"/>
                  <a:gd name="connsiteY9" fmla="*/ 1062253 h 1324391"/>
                  <a:gd name="connsiteX10" fmla="*/ 2653557 w 3520557"/>
                  <a:gd name="connsiteY10" fmla="*/ 1119118 h 1324391"/>
                  <a:gd name="connsiteX11" fmla="*/ 3245488 w 3520557"/>
                  <a:gd name="connsiteY11" fmla="*/ 957002 h 1324391"/>
                  <a:gd name="connsiteX12" fmla="*/ 3520557 w 3520557"/>
                  <a:gd name="connsiteY12" fmla="*/ 658748 h 1324391"/>
                  <a:gd name="connsiteX13" fmla="*/ 3470666 w 3520557"/>
                  <a:gd name="connsiteY13" fmla="*/ 135657 h 1324391"/>
                  <a:gd name="connsiteX14" fmla="*/ 3162327 w 3520557"/>
                  <a:gd name="connsiteY14" fmla="*/ 94627 h 1324391"/>
                  <a:gd name="connsiteX15" fmla="*/ 2675133 w 3520557"/>
                  <a:gd name="connsiteY15" fmla="*/ 194710 h 1324391"/>
                  <a:gd name="connsiteX16" fmla="*/ 2205851 w 3520557"/>
                  <a:gd name="connsiteY16" fmla="*/ 117373 h 1324391"/>
                  <a:gd name="connsiteX17" fmla="*/ 1466108 w 3520557"/>
                  <a:gd name="connsiteY17" fmla="*/ 92350 h 1324391"/>
                  <a:gd name="connsiteX18" fmla="*/ 866070 w 3520557"/>
                  <a:gd name="connsiteY18" fmla="*/ 1365 h 1324391"/>
                  <a:gd name="connsiteX19" fmla="*/ 57946 w 3520557"/>
                  <a:gd name="connsiteY19" fmla="*/ 61876 h 1324391"/>
                  <a:gd name="connsiteX0" fmla="*/ 119984 w 3436101"/>
                  <a:gd name="connsiteY0" fmla="*/ 39450 h 1335792"/>
                  <a:gd name="connsiteX1" fmla="*/ 11078 w 3436101"/>
                  <a:gd name="connsiteY1" fmla="*/ 365590 h 1335792"/>
                  <a:gd name="connsiteX2" fmla="*/ 259977 w 3436101"/>
                  <a:gd name="connsiteY2" fmla="*/ 980651 h 1335792"/>
                  <a:gd name="connsiteX3" fmla="*/ 767296 w 3436101"/>
                  <a:gd name="connsiteY3" fmla="*/ 1204694 h 1335792"/>
                  <a:gd name="connsiteX4" fmla="*/ 1207819 w 3436101"/>
                  <a:gd name="connsiteY4" fmla="*/ 1335238 h 1335792"/>
                  <a:gd name="connsiteX5" fmla="*/ 1385235 w 3436101"/>
                  <a:gd name="connsiteY5" fmla="*/ 1156921 h 1335792"/>
                  <a:gd name="connsiteX6" fmla="*/ 1682474 w 3436101"/>
                  <a:gd name="connsiteY6" fmla="*/ 1016787 h 1335792"/>
                  <a:gd name="connsiteX7" fmla="*/ 1870553 w 3436101"/>
                  <a:gd name="connsiteY7" fmla="*/ 1085026 h 1335792"/>
                  <a:gd name="connsiteX8" fmla="*/ 2139219 w 3436101"/>
                  <a:gd name="connsiteY8" fmla="*/ 1210135 h 1335792"/>
                  <a:gd name="connsiteX9" fmla="*/ 2291473 w 3436101"/>
                  <a:gd name="connsiteY9" fmla="*/ 1073654 h 1335792"/>
                  <a:gd name="connsiteX10" fmla="*/ 2569101 w 3436101"/>
                  <a:gd name="connsiteY10" fmla="*/ 1130519 h 1335792"/>
                  <a:gd name="connsiteX11" fmla="*/ 3161032 w 3436101"/>
                  <a:gd name="connsiteY11" fmla="*/ 968403 h 1335792"/>
                  <a:gd name="connsiteX12" fmla="*/ 3436101 w 3436101"/>
                  <a:gd name="connsiteY12" fmla="*/ 670149 h 1335792"/>
                  <a:gd name="connsiteX13" fmla="*/ 3386210 w 3436101"/>
                  <a:gd name="connsiteY13" fmla="*/ 147058 h 1335792"/>
                  <a:gd name="connsiteX14" fmla="*/ 3077871 w 3436101"/>
                  <a:gd name="connsiteY14" fmla="*/ 106028 h 1335792"/>
                  <a:gd name="connsiteX15" fmla="*/ 2590677 w 3436101"/>
                  <a:gd name="connsiteY15" fmla="*/ 206111 h 1335792"/>
                  <a:gd name="connsiteX16" fmla="*/ 2121395 w 3436101"/>
                  <a:gd name="connsiteY16" fmla="*/ 128774 h 1335792"/>
                  <a:gd name="connsiteX17" fmla="*/ 1381652 w 3436101"/>
                  <a:gd name="connsiteY17" fmla="*/ 103751 h 1335792"/>
                  <a:gd name="connsiteX18" fmla="*/ 781614 w 3436101"/>
                  <a:gd name="connsiteY18" fmla="*/ 12766 h 1335792"/>
                  <a:gd name="connsiteX19" fmla="*/ 119984 w 3436101"/>
                  <a:gd name="connsiteY19" fmla="*/ 39450 h 1335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436101" h="1335792">
                    <a:moveTo>
                      <a:pt x="119984" y="39450"/>
                    </a:moveTo>
                    <a:cubicBezTo>
                      <a:pt x="-8439" y="98254"/>
                      <a:pt x="-12254" y="208723"/>
                      <a:pt x="11078" y="365590"/>
                    </a:cubicBezTo>
                    <a:cubicBezTo>
                      <a:pt x="34410" y="522457"/>
                      <a:pt x="133941" y="840800"/>
                      <a:pt x="259977" y="980651"/>
                    </a:cubicBezTo>
                    <a:cubicBezTo>
                      <a:pt x="386013" y="1120502"/>
                      <a:pt x="609322" y="1145596"/>
                      <a:pt x="767296" y="1204694"/>
                    </a:cubicBezTo>
                    <a:cubicBezTo>
                      <a:pt x="925270" y="1263792"/>
                      <a:pt x="1104829" y="1343200"/>
                      <a:pt x="1207819" y="1335238"/>
                    </a:cubicBezTo>
                    <a:cubicBezTo>
                      <a:pt x="1310809" y="1327276"/>
                      <a:pt x="1306126" y="1209996"/>
                      <a:pt x="1385235" y="1156921"/>
                    </a:cubicBezTo>
                    <a:cubicBezTo>
                      <a:pt x="1464344" y="1103846"/>
                      <a:pt x="1601588" y="1028769"/>
                      <a:pt x="1682474" y="1016787"/>
                    </a:cubicBezTo>
                    <a:cubicBezTo>
                      <a:pt x="1763360" y="1004805"/>
                      <a:pt x="1794429" y="1069862"/>
                      <a:pt x="1870553" y="1085026"/>
                    </a:cubicBezTo>
                    <a:cubicBezTo>
                      <a:pt x="1946677" y="1100191"/>
                      <a:pt x="2069066" y="1212030"/>
                      <a:pt x="2139219" y="1210135"/>
                    </a:cubicBezTo>
                    <a:cubicBezTo>
                      <a:pt x="2209372" y="1208240"/>
                      <a:pt x="2219827" y="1102087"/>
                      <a:pt x="2291473" y="1073654"/>
                    </a:cubicBezTo>
                    <a:cubicBezTo>
                      <a:pt x="2363119" y="1045221"/>
                      <a:pt x="2424175" y="1148061"/>
                      <a:pt x="2569101" y="1130519"/>
                    </a:cubicBezTo>
                    <a:cubicBezTo>
                      <a:pt x="2714027" y="1112977"/>
                      <a:pt x="3016531" y="1029967"/>
                      <a:pt x="3161032" y="968403"/>
                    </a:cubicBezTo>
                    <a:cubicBezTo>
                      <a:pt x="3273278" y="807660"/>
                      <a:pt x="3339825" y="850615"/>
                      <a:pt x="3436101" y="670149"/>
                    </a:cubicBezTo>
                    <a:lnTo>
                      <a:pt x="3386210" y="147058"/>
                    </a:lnTo>
                    <a:cubicBezTo>
                      <a:pt x="3289934" y="72761"/>
                      <a:pt x="3677026" y="123414"/>
                      <a:pt x="3077871" y="106028"/>
                    </a:cubicBezTo>
                    <a:cubicBezTo>
                      <a:pt x="2867259" y="170760"/>
                      <a:pt x="2909204" y="102234"/>
                      <a:pt x="2590677" y="206111"/>
                    </a:cubicBezTo>
                    <a:cubicBezTo>
                      <a:pt x="2431264" y="209902"/>
                      <a:pt x="2322899" y="145834"/>
                      <a:pt x="2121395" y="128774"/>
                    </a:cubicBezTo>
                    <a:cubicBezTo>
                      <a:pt x="1919891" y="111714"/>
                      <a:pt x="1604949" y="123086"/>
                      <a:pt x="1381652" y="103751"/>
                    </a:cubicBezTo>
                    <a:cubicBezTo>
                      <a:pt x="1158355" y="84416"/>
                      <a:pt x="991892" y="23483"/>
                      <a:pt x="781614" y="12766"/>
                    </a:cubicBezTo>
                    <a:cubicBezTo>
                      <a:pt x="571336" y="2049"/>
                      <a:pt x="248407" y="-19354"/>
                      <a:pt x="119984" y="39450"/>
                    </a:cubicBezTo>
                    <a:close/>
                  </a:path>
                </a:pathLst>
              </a:custGeom>
              <a:solidFill>
                <a:srgbClr val="E3D16D">
                  <a:alpha val="80000"/>
                </a:srgbClr>
              </a:solidFill>
              <a:ln w="127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600"/>
              </a:p>
            </p:txBody>
          </p:sp>
          <p:sp>
            <p:nvSpPr>
              <p:cNvPr id="3359" name="!!mucus">
                <a:extLst>
                  <a:ext uri="{FF2B5EF4-FFF2-40B4-BE49-F238E27FC236}">
                    <a16:creationId xmlns:a16="http://schemas.microsoft.com/office/drawing/2014/main" id="{1DB54D36-DCF2-9407-FD43-D0779B4D4228}"/>
                  </a:ext>
                </a:extLst>
              </p:cNvPr>
              <p:cNvSpPr/>
              <p:nvPr/>
            </p:nvSpPr>
            <p:spPr>
              <a:xfrm rot="6218604">
                <a:off x="1747151" y="2733992"/>
                <a:ext cx="1095186" cy="568739"/>
              </a:xfrm>
              <a:custGeom>
                <a:avLst/>
                <a:gdLst>
                  <a:gd name="connsiteX0" fmla="*/ 0 w 11280654"/>
                  <a:gd name="connsiteY0" fmla="*/ 91352 h 1986246"/>
                  <a:gd name="connsiteX1" fmla="*/ 10868 w 11280654"/>
                  <a:gd name="connsiteY1" fmla="*/ 745642 h 1986246"/>
                  <a:gd name="connsiteX2" fmla="*/ 260587 w 11280654"/>
                  <a:gd name="connsiteY2" fmla="*/ 915580 h 1986246"/>
                  <a:gd name="connsiteX3" fmla="*/ 282300 w 11280654"/>
                  <a:gd name="connsiteY3" fmla="*/ 1077031 h 1986246"/>
                  <a:gd name="connsiteX4" fmla="*/ 510305 w 11280654"/>
                  <a:gd name="connsiteY4" fmla="*/ 1416926 h 1986246"/>
                  <a:gd name="connsiteX5" fmla="*/ 640587 w 11280654"/>
                  <a:gd name="connsiteY5" fmla="*/ 1595370 h 1986246"/>
                  <a:gd name="connsiteX6" fmla="*/ 694882 w 11280654"/>
                  <a:gd name="connsiteY6" fmla="*/ 1790808 h 1986246"/>
                  <a:gd name="connsiteX7" fmla="*/ 857746 w 11280654"/>
                  <a:gd name="connsiteY7" fmla="*/ 1986246 h 1986246"/>
                  <a:gd name="connsiteX8" fmla="*/ 1020610 w 11280654"/>
                  <a:gd name="connsiteY8" fmla="*/ 1858784 h 1986246"/>
                  <a:gd name="connsiteX9" fmla="*/ 1042324 w 11280654"/>
                  <a:gd name="connsiteY9" fmla="*/ 1595370 h 1986246"/>
                  <a:gd name="connsiteX10" fmla="*/ 1194319 w 11280654"/>
                  <a:gd name="connsiteY10" fmla="*/ 1510401 h 1986246"/>
                  <a:gd name="connsiteX11" fmla="*/ 1302887 w 11280654"/>
                  <a:gd name="connsiteY11" fmla="*/ 1229994 h 1986246"/>
                  <a:gd name="connsiteX12" fmla="*/ 1411455 w 11280654"/>
                  <a:gd name="connsiteY12" fmla="*/ 873105 h 1986246"/>
                  <a:gd name="connsiteX13" fmla="*/ 1563450 w 11280654"/>
                  <a:gd name="connsiteY13" fmla="*/ 737154 h 1986246"/>
                  <a:gd name="connsiteX14" fmla="*/ 1867441 w 11280654"/>
                  <a:gd name="connsiteY14" fmla="*/ 737154 h 1986246"/>
                  <a:gd name="connsiteX15" fmla="*/ 2442864 w 11280654"/>
                  <a:gd name="connsiteY15" fmla="*/ 754148 h 1986246"/>
                  <a:gd name="connsiteX16" fmla="*/ 3582863 w 11280654"/>
                  <a:gd name="connsiteY16" fmla="*/ 754148 h 1986246"/>
                  <a:gd name="connsiteX17" fmla="*/ 4277722 w 11280654"/>
                  <a:gd name="connsiteY17" fmla="*/ 788136 h 1986246"/>
                  <a:gd name="connsiteX18" fmla="*/ 4733732 w 11280654"/>
                  <a:gd name="connsiteY18" fmla="*/ 728648 h 1986246"/>
                  <a:gd name="connsiteX19" fmla="*/ 5211454 w 11280654"/>
                  <a:gd name="connsiteY19" fmla="*/ 728648 h 1986246"/>
                  <a:gd name="connsiteX20" fmla="*/ 5982323 w 11280654"/>
                  <a:gd name="connsiteY20" fmla="*/ 771142 h 1986246"/>
                  <a:gd name="connsiteX21" fmla="*/ 6861759 w 11280654"/>
                  <a:gd name="connsiteY21" fmla="*/ 754148 h 1986246"/>
                  <a:gd name="connsiteX22" fmla="*/ 7491477 w 11280654"/>
                  <a:gd name="connsiteY22" fmla="*/ 762654 h 1986246"/>
                  <a:gd name="connsiteX23" fmla="*/ 8327487 w 11280654"/>
                  <a:gd name="connsiteY23" fmla="*/ 762654 h 1986246"/>
                  <a:gd name="connsiteX24" fmla="*/ 9391500 w 11280654"/>
                  <a:gd name="connsiteY24" fmla="*/ 788154 h 1986246"/>
                  <a:gd name="connsiteX25" fmla="*/ 10140655 w 11280654"/>
                  <a:gd name="connsiteY25" fmla="*/ 779648 h 1986246"/>
                  <a:gd name="connsiteX26" fmla="*/ 10672650 w 11280654"/>
                  <a:gd name="connsiteY26" fmla="*/ 771142 h 1986246"/>
                  <a:gd name="connsiteX27" fmla="*/ 11150373 w 11280654"/>
                  <a:gd name="connsiteY27" fmla="*/ 737154 h 1986246"/>
                  <a:gd name="connsiteX28" fmla="*/ 11280654 w 11280654"/>
                  <a:gd name="connsiteY28" fmla="*/ 754148 h 1986246"/>
                  <a:gd name="connsiteX29" fmla="*/ 11280654 w 11280654"/>
                  <a:gd name="connsiteY29" fmla="*/ 133791 h 1986246"/>
                  <a:gd name="connsiteX30" fmla="*/ 11096078 w 11280654"/>
                  <a:gd name="connsiteY30" fmla="*/ 65870 h 1986246"/>
                  <a:gd name="connsiteX31" fmla="*/ 10281782 w 11280654"/>
                  <a:gd name="connsiteY31" fmla="*/ 14889 h 1986246"/>
                  <a:gd name="connsiteX32" fmla="*/ 9695491 w 11280654"/>
                  <a:gd name="connsiteY32" fmla="*/ 108364 h 1986246"/>
                  <a:gd name="connsiteX33" fmla="*/ 8794341 w 11280654"/>
                  <a:gd name="connsiteY33" fmla="*/ 201839 h 1986246"/>
                  <a:gd name="connsiteX34" fmla="*/ 7828050 w 11280654"/>
                  <a:gd name="connsiteY34" fmla="*/ 201839 h 1986246"/>
                  <a:gd name="connsiteX35" fmla="*/ 6101760 w 11280654"/>
                  <a:gd name="connsiteY35" fmla="*/ 193333 h 1986246"/>
                  <a:gd name="connsiteX36" fmla="*/ 5016032 w 11280654"/>
                  <a:gd name="connsiteY36" fmla="*/ 65870 h 1986246"/>
                  <a:gd name="connsiteX37" fmla="*/ 3224600 w 11280654"/>
                  <a:gd name="connsiteY37" fmla="*/ 57364 h 1986246"/>
                  <a:gd name="connsiteX38" fmla="*/ 2171455 w 11280654"/>
                  <a:gd name="connsiteY38" fmla="*/ 82864 h 1986246"/>
                  <a:gd name="connsiteX39" fmla="*/ 760023 w 11280654"/>
                  <a:gd name="connsiteY39" fmla="*/ 116852 h 1986246"/>
                  <a:gd name="connsiteX40" fmla="*/ 0 w 11280654"/>
                  <a:gd name="connsiteY40" fmla="*/ 91352 h 1986246"/>
                  <a:gd name="connsiteX0" fmla="*/ 0 w 11280654"/>
                  <a:gd name="connsiteY0" fmla="*/ 91352 h 1994638"/>
                  <a:gd name="connsiteX1" fmla="*/ 10868 w 11280654"/>
                  <a:gd name="connsiteY1" fmla="*/ 745642 h 1994638"/>
                  <a:gd name="connsiteX2" fmla="*/ 260587 w 11280654"/>
                  <a:gd name="connsiteY2" fmla="*/ 915580 h 1994638"/>
                  <a:gd name="connsiteX3" fmla="*/ 282300 w 11280654"/>
                  <a:gd name="connsiteY3" fmla="*/ 1077031 h 1994638"/>
                  <a:gd name="connsiteX4" fmla="*/ 510305 w 11280654"/>
                  <a:gd name="connsiteY4" fmla="*/ 1416926 h 1994638"/>
                  <a:gd name="connsiteX5" fmla="*/ 640587 w 11280654"/>
                  <a:gd name="connsiteY5" fmla="*/ 1595370 h 1994638"/>
                  <a:gd name="connsiteX6" fmla="*/ 694882 w 11280654"/>
                  <a:gd name="connsiteY6" fmla="*/ 1790808 h 1994638"/>
                  <a:gd name="connsiteX7" fmla="*/ 857746 w 11280654"/>
                  <a:gd name="connsiteY7" fmla="*/ 1986246 h 1994638"/>
                  <a:gd name="connsiteX8" fmla="*/ 1020610 w 11280654"/>
                  <a:gd name="connsiteY8" fmla="*/ 1858784 h 1994638"/>
                  <a:gd name="connsiteX9" fmla="*/ 1042324 w 11280654"/>
                  <a:gd name="connsiteY9" fmla="*/ 1595370 h 1994638"/>
                  <a:gd name="connsiteX10" fmla="*/ 1194319 w 11280654"/>
                  <a:gd name="connsiteY10" fmla="*/ 1510401 h 1994638"/>
                  <a:gd name="connsiteX11" fmla="*/ 1302887 w 11280654"/>
                  <a:gd name="connsiteY11" fmla="*/ 1229994 h 1994638"/>
                  <a:gd name="connsiteX12" fmla="*/ 1411455 w 11280654"/>
                  <a:gd name="connsiteY12" fmla="*/ 873105 h 1994638"/>
                  <a:gd name="connsiteX13" fmla="*/ 1563450 w 11280654"/>
                  <a:gd name="connsiteY13" fmla="*/ 737154 h 1994638"/>
                  <a:gd name="connsiteX14" fmla="*/ 1867441 w 11280654"/>
                  <a:gd name="connsiteY14" fmla="*/ 737154 h 1994638"/>
                  <a:gd name="connsiteX15" fmla="*/ 2442864 w 11280654"/>
                  <a:gd name="connsiteY15" fmla="*/ 754148 h 1994638"/>
                  <a:gd name="connsiteX16" fmla="*/ 3582863 w 11280654"/>
                  <a:gd name="connsiteY16" fmla="*/ 754148 h 1994638"/>
                  <a:gd name="connsiteX17" fmla="*/ 4277722 w 11280654"/>
                  <a:gd name="connsiteY17" fmla="*/ 788136 h 1994638"/>
                  <a:gd name="connsiteX18" fmla="*/ 4733732 w 11280654"/>
                  <a:gd name="connsiteY18" fmla="*/ 728648 h 1994638"/>
                  <a:gd name="connsiteX19" fmla="*/ 5211454 w 11280654"/>
                  <a:gd name="connsiteY19" fmla="*/ 728648 h 1994638"/>
                  <a:gd name="connsiteX20" fmla="*/ 5982323 w 11280654"/>
                  <a:gd name="connsiteY20" fmla="*/ 771142 h 1994638"/>
                  <a:gd name="connsiteX21" fmla="*/ 6861759 w 11280654"/>
                  <a:gd name="connsiteY21" fmla="*/ 754148 h 1994638"/>
                  <a:gd name="connsiteX22" fmla="*/ 7491477 w 11280654"/>
                  <a:gd name="connsiteY22" fmla="*/ 762654 h 1994638"/>
                  <a:gd name="connsiteX23" fmla="*/ 8327487 w 11280654"/>
                  <a:gd name="connsiteY23" fmla="*/ 762654 h 1994638"/>
                  <a:gd name="connsiteX24" fmla="*/ 9391500 w 11280654"/>
                  <a:gd name="connsiteY24" fmla="*/ 788154 h 1994638"/>
                  <a:gd name="connsiteX25" fmla="*/ 10140655 w 11280654"/>
                  <a:gd name="connsiteY25" fmla="*/ 779648 h 1994638"/>
                  <a:gd name="connsiteX26" fmla="*/ 10672650 w 11280654"/>
                  <a:gd name="connsiteY26" fmla="*/ 771142 h 1994638"/>
                  <a:gd name="connsiteX27" fmla="*/ 11150373 w 11280654"/>
                  <a:gd name="connsiteY27" fmla="*/ 737154 h 1994638"/>
                  <a:gd name="connsiteX28" fmla="*/ 11280654 w 11280654"/>
                  <a:gd name="connsiteY28" fmla="*/ 754148 h 1994638"/>
                  <a:gd name="connsiteX29" fmla="*/ 11280654 w 11280654"/>
                  <a:gd name="connsiteY29" fmla="*/ 133791 h 1994638"/>
                  <a:gd name="connsiteX30" fmla="*/ 11096078 w 11280654"/>
                  <a:gd name="connsiteY30" fmla="*/ 65870 h 1994638"/>
                  <a:gd name="connsiteX31" fmla="*/ 10281782 w 11280654"/>
                  <a:gd name="connsiteY31" fmla="*/ 14889 h 1994638"/>
                  <a:gd name="connsiteX32" fmla="*/ 9695491 w 11280654"/>
                  <a:gd name="connsiteY32" fmla="*/ 108364 h 1994638"/>
                  <a:gd name="connsiteX33" fmla="*/ 8794341 w 11280654"/>
                  <a:gd name="connsiteY33" fmla="*/ 201839 h 1994638"/>
                  <a:gd name="connsiteX34" fmla="*/ 7828050 w 11280654"/>
                  <a:gd name="connsiteY34" fmla="*/ 201839 h 1994638"/>
                  <a:gd name="connsiteX35" fmla="*/ 6101760 w 11280654"/>
                  <a:gd name="connsiteY35" fmla="*/ 193333 h 1994638"/>
                  <a:gd name="connsiteX36" fmla="*/ 5016032 w 11280654"/>
                  <a:gd name="connsiteY36" fmla="*/ 65870 h 1994638"/>
                  <a:gd name="connsiteX37" fmla="*/ 3224600 w 11280654"/>
                  <a:gd name="connsiteY37" fmla="*/ 57364 h 1994638"/>
                  <a:gd name="connsiteX38" fmla="*/ 2171455 w 11280654"/>
                  <a:gd name="connsiteY38" fmla="*/ 82864 h 1994638"/>
                  <a:gd name="connsiteX39" fmla="*/ 760023 w 11280654"/>
                  <a:gd name="connsiteY39" fmla="*/ 116852 h 1994638"/>
                  <a:gd name="connsiteX40" fmla="*/ 0 w 11280654"/>
                  <a:gd name="connsiteY40" fmla="*/ 91352 h 1994638"/>
                  <a:gd name="connsiteX0" fmla="*/ 2673914 w 11269790"/>
                  <a:gd name="connsiteY0" fmla="*/ 66415 h 1994638"/>
                  <a:gd name="connsiteX1" fmla="*/ 4 w 11269790"/>
                  <a:gd name="connsiteY1" fmla="*/ 745642 h 1994638"/>
                  <a:gd name="connsiteX2" fmla="*/ 249723 w 11269790"/>
                  <a:gd name="connsiteY2" fmla="*/ 915580 h 1994638"/>
                  <a:gd name="connsiteX3" fmla="*/ 271436 w 11269790"/>
                  <a:gd name="connsiteY3" fmla="*/ 1077031 h 1994638"/>
                  <a:gd name="connsiteX4" fmla="*/ 499441 w 11269790"/>
                  <a:gd name="connsiteY4" fmla="*/ 1416926 h 1994638"/>
                  <a:gd name="connsiteX5" fmla="*/ 629723 w 11269790"/>
                  <a:gd name="connsiteY5" fmla="*/ 1595370 h 1994638"/>
                  <a:gd name="connsiteX6" fmla="*/ 684018 w 11269790"/>
                  <a:gd name="connsiteY6" fmla="*/ 1790808 h 1994638"/>
                  <a:gd name="connsiteX7" fmla="*/ 846882 w 11269790"/>
                  <a:gd name="connsiteY7" fmla="*/ 1986246 h 1994638"/>
                  <a:gd name="connsiteX8" fmla="*/ 1009746 w 11269790"/>
                  <a:gd name="connsiteY8" fmla="*/ 1858784 h 1994638"/>
                  <a:gd name="connsiteX9" fmla="*/ 1031460 w 11269790"/>
                  <a:gd name="connsiteY9" fmla="*/ 1595370 h 1994638"/>
                  <a:gd name="connsiteX10" fmla="*/ 1183455 w 11269790"/>
                  <a:gd name="connsiteY10" fmla="*/ 1510401 h 1994638"/>
                  <a:gd name="connsiteX11" fmla="*/ 1292023 w 11269790"/>
                  <a:gd name="connsiteY11" fmla="*/ 1229994 h 1994638"/>
                  <a:gd name="connsiteX12" fmla="*/ 1400591 w 11269790"/>
                  <a:gd name="connsiteY12" fmla="*/ 873105 h 1994638"/>
                  <a:gd name="connsiteX13" fmla="*/ 1552586 w 11269790"/>
                  <a:gd name="connsiteY13" fmla="*/ 737154 h 1994638"/>
                  <a:gd name="connsiteX14" fmla="*/ 1856577 w 11269790"/>
                  <a:gd name="connsiteY14" fmla="*/ 737154 h 1994638"/>
                  <a:gd name="connsiteX15" fmla="*/ 2432000 w 11269790"/>
                  <a:gd name="connsiteY15" fmla="*/ 754148 h 1994638"/>
                  <a:gd name="connsiteX16" fmla="*/ 3571999 w 11269790"/>
                  <a:gd name="connsiteY16" fmla="*/ 754148 h 1994638"/>
                  <a:gd name="connsiteX17" fmla="*/ 4266858 w 11269790"/>
                  <a:gd name="connsiteY17" fmla="*/ 788136 h 1994638"/>
                  <a:gd name="connsiteX18" fmla="*/ 4722868 w 11269790"/>
                  <a:gd name="connsiteY18" fmla="*/ 728648 h 1994638"/>
                  <a:gd name="connsiteX19" fmla="*/ 5200590 w 11269790"/>
                  <a:gd name="connsiteY19" fmla="*/ 728648 h 1994638"/>
                  <a:gd name="connsiteX20" fmla="*/ 5971459 w 11269790"/>
                  <a:gd name="connsiteY20" fmla="*/ 771142 h 1994638"/>
                  <a:gd name="connsiteX21" fmla="*/ 6850895 w 11269790"/>
                  <a:gd name="connsiteY21" fmla="*/ 754148 h 1994638"/>
                  <a:gd name="connsiteX22" fmla="*/ 7480613 w 11269790"/>
                  <a:gd name="connsiteY22" fmla="*/ 762654 h 1994638"/>
                  <a:gd name="connsiteX23" fmla="*/ 8316623 w 11269790"/>
                  <a:gd name="connsiteY23" fmla="*/ 762654 h 1994638"/>
                  <a:gd name="connsiteX24" fmla="*/ 9380636 w 11269790"/>
                  <a:gd name="connsiteY24" fmla="*/ 788154 h 1994638"/>
                  <a:gd name="connsiteX25" fmla="*/ 10129791 w 11269790"/>
                  <a:gd name="connsiteY25" fmla="*/ 779648 h 1994638"/>
                  <a:gd name="connsiteX26" fmla="*/ 10661786 w 11269790"/>
                  <a:gd name="connsiteY26" fmla="*/ 771142 h 1994638"/>
                  <a:gd name="connsiteX27" fmla="*/ 11139509 w 11269790"/>
                  <a:gd name="connsiteY27" fmla="*/ 737154 h 1994638"/>
                  <a:gd name="connsiteX28" fmla="*/ 11269790 w 11269790"/>
                  <a:gd name="connsiteY28" fmla="*/ 754148 h 1994638"/>
                  <a:gd name="connsiteX29" fmla="*/ 11269790 w 11269790"/>
                  <a:gd name="connsiteY29" fmla="*/ 133791 h 1994638"/>
                  <a:gd name="connsiteX30" fmla="*/ 11085214 w 11269790"/>
                  <a:gd name="connsiteY30" fmla="*/ 65870 h 1994638"/>
                  <a:gd name="connsiteX31" fmla="*/ 10270918 w 11269790"/>
                  <a:gd name="connsiteY31" fmla="*/ 14889 h 1994638"/>
                  <a:gd name="connsiteX32" fmla="*/ 9684627 w 11269790"/>
                  <a:gd name="connsiteY32" fmla="*/ 108364 h 1994638"/>
                  <a:gd name="connsiteX33" fmla="*/ 8783477 w 11269790"/>
                  <a:gd name="connsiteY33" fmla="*/ 201839 h 1994638"/>
                  <a:gd name="connsiteX34" fmla="*/ 7817186 w 11269790"/>
                  <a:gd name="connsiteY34" fmla="*/ 201839 h 1994638"/>
                  <a:gd name="connsiteX35" fmla="*/ 6090896 w 11269790"/>
                  <a:gd name="connsiteY35" fmla="*/ 193333 h 1994638"/>
                  <a:gd name="connsiteX36" fmla="*/ 5005168 w 11269790"/>
                  <a:gd name="connsiteY36" fmla="*/ 65870 h 1994638"/>
                  <a:gd name="connsiteX37" fmla="*/ 3213736 w 11269790"/>
                  <a:gd name="connsiteY37" fmla="*/ 57364 h 1994638"/>
                  <a:gd name="connsiteX38" fmla="*/ 2160591 w 11269790"/>
                  <a:gd name="connsiteY38" fmla="*/ 82864 h 1994638"/>
                  <a:gd name="connsiteX39" fmla="*/ 749159 w 11269790"/>
                  <a:gd name="connsiteY39" fmla="*/ 116852 h 1994638"/>
                  <a:gd name="connsiteX40" fmla="*/ 2673914 w 11269790"/>
                  <a:gd name="connsiteY40" fmla="*/ 66415 h 1994638"/>
                  <a:gd name="connsiteX0" fmla="*/ 2673914 w 11269790"/>
                  <a:gd name="connsiteY0" fmla="*/ 66415 h 1994638"/>
                  <a:gd name="connsiteX1" fmla="*/ 4 w 11269790"/>
                  <a:gd name="connsiteY1" fmla="*/ 745642 h 1994638"/>
                  <a:gd name="connsiteX2" fmla="*/ 249723 w 11269790"/>
                  <a:gd name="connsiteY2" fmla="*/ 915580 h 1994638"/>
                  <a:gd name="connsiteX3" fmla="*/ 271436 w 11269790"/>
                  <a:gd name="connsiteY3" fmla="*/ 1077031 h 1994638"/>
                  <a:gd name="connsiteX4" fmla="*/ 499441 w 11269790"/>
                  <a:gd name="connsiteY4" fmla="*/ 1416926 h 1994638"/>
                  <a:gd name="connsiteX5" fmla="*/ 629723 w 11269790"/>
                  <a:gd name="connsiteY5" fmla="*/ 1595370 h 1994638"/>
                  <a:gd name="connsiteX6" fmla="*/ 684018 w 11269790"/>
                  <a:gd name="connsiteY6" fmla="*/ 1790808 h 1994638"/>
                  <a:gd name="connsiteX7" fmla="*/ 846882 w 11269790"/>
                  <a:gd name="connsiteY7" fmla="*/ 1986246 h 1994638"/>
                  <a:gd name="connsiteX8" fmla="*/ 1009746 w 11269790"/>
                  <a:gd name="connsiteY8" fmla="*/ 1858784 h 1994638"/>
                  <a:gd name="connsiteX9" fmla="*/ 1031460 w 11269790"/>
                  <a:gd name="connsiteY9" fmla="*/ 1595370 h 1994638"/>
                  <a:gd name="connsiteX10" fmla="*/ 1183455 w 11269790"/>
                  <a:gd name="connsiteY10" fmla="*/ 1510401 h 1994638"/>
                  <a:gd name="connsiteX11" fmla="*/ 1292023 w 11269790"/>
                  <a:gd name="connsiteY11" fmla="*/ 1229994 h 1994638"/>
                  <a:gd name="connsiteX12" fmla="*/ 1400591 w 11269790"/>
                  <a:gd name="connsiteY12" fmla="*/ 873105 h 1994638"/>
                  <a:gd name="connsiteX13" fmla="*/ 1552586 w 11269790"/>
                  <a:gd name="connsiteY13" fmla="*/ 737154 h 1994638"/>
                  <a:gd name="connsiteX14" fmla="*/ 1856577 w 11269790"/>
                  <a:gd name="connsiteY14" fmla="*/ 737154 h 1994638"/>
                  <a:gd name="connsiteX15" fmla="*/ 2432000 w 11269790"/>
                  <a:gd name="connsiteY15" fmla="*/ 754148 h 1994638"/>
                  <a:gd name="connsiteX16" fmla="*/ 3571999 w 11269790"/>
                  <a:gd name="connsiteY16" fmla="*/ 754148 h 1994638"/>
                  <a:gd name="connsiteX17" fmla="*/ 4266858 w 11269790"/>
                  <a:gd name="connsiteY17" fmla="*/ 788136 h 1994638"/>
                  <a:gd name="connsiteX18" fmla="*/ 4722868 w 11269790"/>
                  <a:gd name="connsiteY18" fmla="*/ 728648 h 1994638"/>
                  <a:gd name="connsiteX19" fmla="*/ 5200590 w 11269790"/>
                  <a:gd name="connsiteY19" fmla="*/ 728648 h 1994638"/>
                  <a:gd name="connsiteX20" fmla="*/ 5971459 w 11269790"/>
                  <a:gd name="connsiteY20" fmla="*/ 771142 h 1994638"/>
                  <a:gd name="connsiteX21" fmla="*/ 6850895 w 11269790"/>
                  <a:gd name="connsiteY21" fmla="*/ 754148 h 1994638"/>
                  <a:gd name="connsiteX22" fmla="*/ 7480613 w 11269790"/>
                  <a:gd name="connsiteY22" fmla="*/ 762654 h 1994638"/>
                  <a:gd name="connsiteX23" fmla="*/ 8316623 w 11269790"/>
                  <a:gd name="connsiteY23" fmla="*/ 762654 h 1994638"/>
                  <a:gd name="connsiteX24" fmla="*/ 9380636 w 11269790"/>
                  <a:gd name="connsiteY24" fmla="*/ 788154 h 1994638"/>
                  <a:gd name="connsiteX25" fmla="*/ 10129791 w 11269790"/>
                  <a:gd name="connsiteY25" fmla="*/ 779648 h 1994638"/>
                  <a:gd name="connsiteX26" fmla="*/ 10661786 w 11269790"/>
                  <a:gd name="connsiteY26" fmla="*/ 771142 h 1994638"/>
                  <a:gd name="connsiteX27" fmla="*/ 11139509 w 11269790"/>
                  <a:gd name="connsiteY27" fmla="*/ 737154 h 1994638"/>
                  <a:gd name="connsiteX28" fmla="*/ 11269790 w 11269790"/>
                  <a:gd name="connsiteY28" fmla="*/ 754148 h 1994638"/>
                  <a:gd name="connsiteX29" fmla="*/ 11269790 w 11269790"/>
                  <a:gd name="connsiteY29" fmla="*/ 133791 h 1994638"/>
                  <a:gd name="connsiteX30" fmla="*/ 11085214 w 11269790"/>
                  <a:gd name="connsiteY30" fmla="*/ 65870 h 1994638"/>
                  <a:gd name="connsiteX31" fmla="*/ 10270918 w 11269790"/>
                  <a:gd name="connsiteY31" fmla="*/ 14889 h 1994638"/>
                  <a:gd name="connsiteX32" fmla="*/ 9684627 w 11269790"/>
                  <a:gd name="connsiteY32" fmla="*/ 108364 h 1994638"/>
                  <a:gd name="connsiteX33" fmla="*/ 8783477 w 11269790"/>
                  <a:gd name="connsiteY33" fmla="*/ 201839 h 1994638"/>
                  <a:gd name="connsiteX34" fmla="*/ 7817186 w 11269790"/>
                  <a:gd name="connsiteY34" fmla="*/ 201839 h 1994638"/>
                  <a:gd name="connsiteX35" fmla="*/ 6090896 w 11269790"/>
                  <a:gd name="connsiteY35" fmla="*/ 193333 h 1994638"/>
                  <a:gd name="connsiteX36" fmla="*/ 5005168 w 11269790"/>
                  <a:gd name="connsiteY36" fmla="*/ 65870 h 1994638"/>
                  <a:gd name="connsiteX37" fmla="*/ 3213736 w 11269790"/>
                  <a:gd name="connsiteY37" fmla="*/ 57364 h 1994638"/>
                  <a:gd name="connsiteX38" fmla="*/ 2160591 w 11269790"/>
                  <a:gd name="connsiteY38" fmla="*/ 82864 h 1994638"/>
                  <a:gd name="connsiteX39" fmla="*/ 2673914 w 11269790"/>
                  <a:gd name="connsiteY39" fmla="*/ 66415 h 1994638"/>
                  <a:gd name="connsiteX0" fmla="*/ 2673914 w 11269790"/>
                  <a:gd name="connsiteY0" fmla="*/ 66415 h 1994638"/>
                  <a:gd name="connsiteX1" fmla="*/ 4 w 11269790"/>
                  <a:gd name="connsiteY1" fmla="*/ 745642 h 1994638"/>
                  <a:gd name="connsiteX2" fmla="*/ 249723 w 11269790"/>
                  <a:gd name="connsiteY2" fmla="*/ 915580 h 1994638"/>
                  <a:gd name="connsiteX3" fmla="*/ 271436 w 11269790"/>
                  <a:gd name="connsiteY3" fmla="*/ 1077031 h 1994638"/>
                  <a:gd name="connsiteX4" fmla="*/ 499441 w 11269790"/>
                  <a:gd name="connsiteY4" fmla="*/ 1416926 h 1994638"/>
                  <a:gd name="connsiteX5" fmla="*/ 629723 w 11269790"/>
                  <a:gd name="connsiteY5" fmla="*/ 1595370 h 1994638"/>
                  <a:gd name="connsiteX6" fmla="*/ 684018 w 11269790"/>
                  <a:gd name="connsiteY6" fmla="*/ 1790808 h 1994638"/>
                  <a:gd name="connsiteX7" fmla="*/ 846882 w 11269790"/>
                  <a:gd name="connsiteY7" fmla="*/ 1986246 h 1994638"/>
                  <a:gd name="connsiteX8" fmla="*/ 1009746 w 11269790"/>
                  <a:gd name="connsiteY8" fmla="*/ 1858784 h 1994638"/>
                  <a:gd name="connsiteX9" fmla="*/ 1031460 w 11269790"/>
                  <a:gd name="connsiteY9" fmla="*/ 1595370 h 1994638"/>
                  <a:gd name="connsiteX10" fmla="*/ 1183455 w 11269790"/>
                  <a:gd name="connsiteY10" fmla="*/ 1510401 h 1994638"/>
                  <a:gd name="connsiteX11" fmla="*/ 1292023 w 11269790"/>
                  <a:gd name="connsiteY11" fmla="*/ 1229994 h 1994638"/>
                  <a:gd name="connsiteX12" fmla="*/ 1400591 w 11269790"/>
                  <a:gd name="connsiteY12" fmla="*/ 873105 h 1994638"/>
                  <a:gd name="connsiteX13" fmla="*/ 1552586 w 11269790"/>
                  <a:gd name="connsiteY13" fmla="*/ 737154 h 1994638"/>
                  <a:gd name="connsiteX14" fmla="*/ 1856577 w 11269790"/>
                  <a:gd name="connsiteY14" fmla="*/ 737154 h 1994638"/>
                  <a:gd name="connsiteX15" fmla="*/ 2432000 w 11269790"/>
                  <a:gd name="connsiteY15" fmla="*/ 754148 h 1994638"/>
                  <a:gd name="connsiteX16" fmla="*/ 3571999 w 11269790"/>
                  <a:gd name="connsiteY16" fmla="*/ 754148 h 1994638"/>
                  <a:gd name="connsiteX17" fmla="*/ 4266858 w 11269790"/>
                  <a:gd name="connsiteY17" fmla="*/ 788136 h 1994638"/>
                  <a:gd name="connsiteX18" fmla="*/ 4722868 w 11269790"/>
                  <a:gd name="connsiteY18" fmla="*/ 728648 h 1994638"/>
                  <a:gd name="connsiteX19" fmla="*/ 5200590 w 11269790"/>
                  <a:gd name="connsiteY19" fmla="*/ 728648 h 1994638"/>
                  <a:gd name="connsiteX20" fmla="*/ 5971459 w 11269790"/>
                  <a:gd name="connsiteY20" fmla="*/ 771142 h 1994638"/>
                  <a:gd name="connsiteX21" fmla="*/ 6850895 w 11269790"/>
                  <a:gd name="connsiteY21" fmla="*/ 754148 h 1994638"/>
                  <a:gd name="connsiteX22" fmla="*/ 7480613 w 11269790"/>
                  <a:gd name="connsiteY22" fmla="*/ 762654 h 1994638"/>
                  <a:gd name="connsiteX23" fmla="*/ 8316623 w 11269790"/>
                  <a:gd name="connsiteY23" fmla="*/ 762654 h 1994638"/>
                  <a:gd name="connsiteX24" fmla="*/ 9380636 w 11269790"/>
                  <a:gd name="connsiteY24" fmla="*/ 788154 h 1994638"/>
                  <a:gd name="connsiteX25" fmla="*/ 10129791 w 11269790"/>
                  <a:gd name="connsiteY25" fmla="*/ 779648 h 1994638"/>
                  <a:gd name="connsiteX26" fmla="*/ 10661786 w 11269790"/>
                  <a:gd name="connsiteY26" fmla="*/ 771142 h 1994638"/>
                  <a:gd name="connsiteX27" fmla="*/ 11139509 w 11269790"/>
                  <a:gd name="connsiteY27" fmla="*/ 737154 h 1994638"/>
                  <a:gd name="connsiteX28" fmla="*/ 11269790 w 11269790"/>
                  <a:gd name="connsiteY28" fmla="*/ 754148 h 1994638"/>
                  <a:gd name="connsiteX29" fmla="*/ 11269790 w 11269790"/>
                  <a:gd name="connsiteY29" fmla="*/ 133791 h 1994638"/>
                  <a:gd name="connsiteX30" fmla="*/ 11085214 w 11269790"/>
                  <a:gd name="connsiteY30" fmla="*/ 65870 h 1994638"/>
                  <a:gd name="connsiteX31" fmla="*/ 10270918 w 11269790"/>
                  <a:gd name="connsiteY31" fmla="*/ 14889 h 1994638"/>
                  <a:gd name="connsiteX32" fmla="*/ 9684627 w 11269790"/>
                  <a:gd name="connsiteY32" fmla="*/ 108364 h 1994638"/>
                  <a:gd name="connsiteX33" fmla="*/ 8783477 w 11269790"/>
                  <a:gd name="connsiteY33" fmla="*/ 201839 h 1994638"/>
                  <a:gd name="connsiteX34" fmla="*/ 7817186 w 11269790"/>
                  <a:gd name="connsiteY34" fmla="*/ 201839 h 1994638"/>
                  <a:gd name="connsiteX35" fmla="*/ 6090896 w 11269790"/>
                  <a:gd name="connsiteY35" fmla="*/ 193333 h 1994638"/>
                  <a:gd name="connsiteX36" fmla="*/ 5005168 w 11269790"/>
                  <a:gd name="connsiteY36" fmla="*/ 65870 h 1994638"/>
                  <a:gd name="connsiteX37" fmla="*/ 3213736 w 11269790"/>
                  <a:gd name="connsiteY37" fmla="*/ 57364 h 1994638"/>
                  <a:gd name="connsiteX38" fmla="*/ 2673914 w 11269790"/>
                  <a:gd name="connsiteY38" fmla="*/ 66415 h 1994638"/>
                  <a:gd name="connsiteX0" fmla="*/ 2598674 w 11194550"/>
                  <a:gd name="connsiteY0" fmla="*/ 66415 h 1994638"/>
                  <a:gd name="connsiteX1" fmla="*/ 174483 w 11194550"/>
                  <a:gd name="connsiteY1" fmla="*/ 915580 h 1994638"/>
                  <a:gd name="connsiteX2" fmla="*/ 196196 w 11194550"/>
                  <a:gd name="connsiteY2" fmla="*/ 1077031 h 1994638"/>
                  <a:gd name="connsiteX3" fmla="*/ 424201 w 11194550"/>
                  <a:gd name="connsiteY3" fmla="*/ 1416926 h 1994638"/>
                  <a:gd name="connsiteX4" fmla="*/ 554483 w 11194550"/>
                  <a:gd name="connsiteY4" fmla="*/ 1595370 h 1994638"/>
                  <a:gd name="connsiteX5" fmla="*/ 608778 w 11194550"/>
                  <a:gd name="connsiteY5" fmla="*/ 1790808 h 1994638"/>
                  <a:gd name="connsiteX6" fmla="*/ 771642 w 11194550"/>
                  <a:gd name="connsiteY6" fmla="*/ 1986246 h 1994638"/>
                  <a:gd name="connsiteX7" fmla="*/ 934506 w 11194550"/>
                  <a:gd name="connsiteY7" fmla="*/ 1858784 h 1994638"/>
                  <a:gd name="connsiteX8" fmla="*/ 956220 w 11194550"/>
                  <a:gd name="connsiteY8" fmla="*/ 1595370 h 1994638"/>
                  <a:gd name="connsiteX9" fmla="*/ 1108215 w 11194550"/>
                  <a:gd name="connsiteY9" fmla="*/ 1510401 h 1994638"/>
                  <a:gd name="connsiteX10" fmla="*/ 1216783 w 11194550"/>
                  <a:gd name="connsiteY10" fmla="*/ 1229994 h 1994638"/>
                  <a:gd name="connsiteX11" fmla="*/ 1325351 w 11194550"/>
                  <a:gd name="connsiteY11" fmla="*/ 873105 h 1994638"/>
                  <a:gd name="connsiteX12" fmla="*/ 1477346 w 11194550"/>
                  <a:gd name="connsiteY12" fmla="*/ 737154 h 1994638"/>
                  <a:gd name="connsiteX13" fmla="*/ 1781337 w 11194550"/>
                  <a:gd name="connsiteY13" fmla="*/ 737154 h 1994638"/>
                  <a:gd name="connsiteX14" fmla="*/ 2356760 w 11194550"/>
                  <a:gd name="connsiteY14" fmla="*/ 754148 h 1994638"/>
                  <a:gd name="connsiteX15" fmla="*/ 3496759 w 11194550"/>
                  <a:gd name="connsiteY15" fmla="*/ 754148 h 1994638"/>
                  <a:gd name="connsiteX16" fmla="*/ 4191618 w 11194550"/>
                  <a:gd name="connsiteY16" fmla="*/ 788136 h 1994638"/>
                  <a:gd name="connsiteX17" fmla="*/ 4647628 w 11194550"/>
                  <a:gd name="connsiteY17" fmla="*/ 728648 h 1994638"/>
                  <a:gd name="connsiteX18" fmla="*/ 5125350 w 11194550"/>
                  <a:gd name="connsiteY18" fmla="*/ 728648 h 1994638"/>
                  <a:gd name="connsiteX19" fmla="*/ 5896219 w 11194550"/>
                  <a:gd name="connsiteY19" fmla="*/ 771142 h 1994638"/>
                  <a:gd name="connsiteX20" fmla="*/ 6775655 w 11194550"/>
                  <a:gd name="connsiteY20" fmla="*/ 754148 h 1994638"/>
                  <a:gd name="connsiteX21" fmla="*/ 7405373 w 11194550"/>
                  <a:gd name="connsiteY21" fmla="*/ 762654 h 1994638"/>
                  <a:gd name="connsiteX22" fmla="*/ 8241383 w 11194550"/>
                  <a:gd name="connsiteY22" fmla="*/ 762654 h 1994638"/>
                  <a:gd name="connsiteX23" fmla="*/ 9305396 w 11194550"/>
                  <a:gd name="connsiteY23" fmla="*/ 788154 h 1994638"/>
                  <a:gd name="connsiteX24" fmla="*/ 10054551 w 11194550"/>
                  <a:gd name="connsiteY24" fmla="*/ 779648 h 1994638"/>
                  <a:gd name="connsiteX25" fmla="*/ 10586546 w 11194550"/>
                  <a:gd name="connsiteY25" fmla="*/ 771142 h 1994638"/>
                  <a:gd name="connsiteX26" fmla="*/ 11064269 w 11194550"/>
                  <a:gd name="connsiteY26" fmla="*/ 737154 h 1994638"/>
                  <a:gd name="connsiteX27" fmla="*/ 11194550 w 11194550"/>
                  <a:gd name="connsiteY27" fmla="*/ 754148 h 1994638"/>
                  <a:gd name="connsiteX28" fmla="*/ 11194550 w 11194550"/>
                  <a:gd name="connsiteY28" fmla="*/ 133791 h 1994638"/>
                  <a:gd name="connsiteX29" fmla="*/ 11009974 w 11194550"/>
                  <a:gd name="connsiteY29" fmla="*/ 65870 h 1994638"/>
                  <a:gd name="connsiteX30" fmla="*/ 10195678 w 11194550"/>
                  <a:gd name="connsiteY30" fmla="*/ 14889 h 1994638"/>
                  <a:gd name="connsiteX31" fmla="*/ 9609387 w 11194550"/>
                  <a:gd name="connsiteY31" fmla="*/ 108364 h 1994638"/>
                  <a:gd name="connsiteX32" fmla="*/ 8708237 w 11194550"/>
                  <a:gd name="connsiteY32" fmla="*/ 201839 h 1994638"/>
                  <a:gd name="connsiteX33" fmla="*/ 7741946 w 11194550"/>
                  <a:gd name="connsiteY33" fmla="*/ 201839 h 1994638"/>
                  <a:gd name="connsiteX34" fmla="*/ 6015656 w 11194550"/>
                  <a:gd name="connsiteY34" fmla="*/ 193333 h 1994638"/>
                  <a:gd name="connsiteX35" fmla="*/ 4929928 w 11194550"/>
                  <a:gd name="connsiteY35" fmla="*/ 65870 h 1994638"/>
                  <a:gd name="connsiteX36" fmla="*/ 3138496 w 11194550"/>
                  <a:gd name="connsiteY36" fmla="*/ 57364 h 1994638"/>
                  <a:gd name="connsiteX37" fmla="*/ 2598674 w 11194550"/>
                  <a:gd name="connsiteY37" fmla="*/ 66415 h 1994638"/>
                  <a:gd name="connsiteX0" fmla="*/ 2523012 w 11118888"/>
                  <a:gd name="connsiteY0" fmla="*/ 66415 h 1994638"/>
                  <a:gd name="connsiteX1" fmla="*/ 2391070 w 11118888"/>
                  <a:gd name="connsiteY1" fmla="*/ 622730 h 1994638"/>
                  <a:gd name="connsiteX2" fmla="*/ 120534 w 11118888"/>
                  <a:gd name="connsiteY2" fmla="*/ 1077031 h 1994638"/>
                  <a:gd name="connsiteX3" fmla="*/ 348539 w 11118888"/>
                  <a:gd name="connsiteY3" fmla="*/ 1416926 h 1994638"/>
                  <a:gd name="connsiteX4" fmla="*/ 478821 w 11118888"/>
                  <a:gd name="connsiteY4" fmla="*/ 1595370 h 1994638"/>
                  <a:gd name="connsiteX5" fmla="*/ 533116 w 11118888"/>
                  <a:gd name="connsiteY5" fmla="*/ 1790808 h 1994638"/>
                  <a:gd name="connsiteX6" fmla="*/ 695980 w 11118888"/>
                  <a:gd name="connsiteY6" fmla="*/ 1986246 h 1994638"/>
                  <a:gd name="connsiteX7" fmla="*/ 858844 w 11118888"/>
                  <a:gd name="connsiteY7" fmla="*/ 1858784 h 1994638"/>
                  <a:gd name="connsiteX8" fmla="*/ 880558 w 11118888"/>
                  <a:gd name="connsiteY8" fmla="*/ 1595370 h 1994638"/>
                  <a:gd name="connsiteX9" fmla="*/ 1032553 w 11118888"/>
                  <a:gd name="connsiteY9" fmla="*/ 1510401 h 1994638"/>
                  <a:gd name="connsiteX10" fmla="*/ 1141121 w 11118888"/>
                  <a:gd name="connsiteY10" fmla="*/ 1229994 h 1994638"/>
                  <a:gd name="connsiteX11" fmla="*/ 1249689 w 11118888"/>
                  <a:gd name="connsiteY11" fmla="*/ 873105 h 1994638"/>
                  <a:gd name="connsiteX12" fmla="*/ 1401684 w 11118888"/>
                  <a:gd name="connsiteY12" fmla="*/ 737154 h 1994638"/>
                  <a:gd name="connsiteX13" fmla="*/ 1705675 w 11118888"/>
                  <a:gd name="connsiteY13" fmla="*/ 737154 h 1994638"/>
                  <a:gd name="connsiteX14" fmla="*/ 2281098 w 11118888"/>
                  <a:gd name="connsiteY14" fmla="*/ 754148 h 1994638"/>
                  <a:gd name="connsiteX15" fmla="*/ 3421097 w 11118888"/>
                  <a:gd name="connsiteY15" fmla="*/ 754148 h 1994638"/>
                  <a:gd name="connsiteX16" fmla="*/ 4115956 w 11118888"/>
                  <a:gd name="connsiteY16" fmla="*/ 788136 h 1994638"/>
                  <a:gd name="connsiteX17" fmla="*/ 4571966 w 11118888"/>
                  <a:gd name="connsiteY17" fmla="*/ 728648 h 1994638"/>
                  <a:gd name="connsiteX18" fmla="*/ 5049688 w 11118888"/>
                  <a:gd name="connsiteY18" fmla="*/ 728648 h 1994638"/>
                  <a:gd name="connsiteX19" fmla="*/ 5820557 w 11118888"/>
                  <a:gd name="connsiteY19" fmla="*/ 771142 h 1994638"/>
                  <a:gd name="connsiteX20" fmla="*/ 6699993 w 11118888"/>
                  <a:gd name="connsiteY20" fmla="*/ 754148 h 1994638"/>
                  <a:gd name="connsiteX21" fmla="*/ 7329711 w 11118888"/>
                  <a:gd name="connsiteY21" fmla="*/ 762654 h 1994638"/>
                  <a:gd name="connsiteX22" fmla="*/ 8165721 w 11118888"/>
                  <a:gd name="connsiteY22" fmla="*/ 762654 h 1994638"/>
                  <a:gd name="connsiteX23" fmla="*/ 9229734 w 11118888"/>
                  <a:gd name="connsiteY23" fmla="*/ 788154 h 1994638"/>
                  <a:gd name="connsiteX24" fmla="*/ 9978889 w 11118888"/>
                  <a:gd name="connsiteY24" fmla="*/ 779648 h 1994638"/>
                  <a:gd name="connsiteX25" fmla="*/ 10510884 w 11118888"/>
                  <a:gd name="connsiteY25" fmla="*/ 771142 h 1994638"/>
                  <a:gd name="connsiteX26" fmla="*/ 10988607 w 11118888"/>
                  <a:gd name="connsiteY26" fmla="*/ 737154 h 1994638"/>
                  <a:gd name="connsiteX27" fmla="*/ 11118888 w 11118888"/>
                  <a:gd name="connsiteY27" fmla="*/ 754148 h 1994638"/>
                  <a:gd name="connsiteX28" fmla="*/ 11118888 w 11118888"/>
                  <a:gd name="connsiteY28" fmla="*/ 133791 h 1994638"/>
                  <a:gd name="connsiteX29" fmla="*/ 10934312 w 11118888"/>
                  <a:gd name="connsiteY29" fmla="*/ 65870 h 1994638"/>
                  <a:gd name="connsiteX30" fmla="*/ 10120016 w 11118888"/>
                  <a:gd name="connsiteY30" fmla="*/ 14889 h 1994638"/>
                  <a:gd name="connsiteX31" fmla="*/ 9533725 w 11118888"/>
                  <a:gd name="connsiteY31" fmla="*/ 108364 h 1994638"/>
                  <a:gd name="connsiteX32" fmla="*/ 8632575 w 11118888"/>
                  <a:gd name="connsiteY32" fmla="*/ 201839 h 1994638"/>
                  <a:gd name="connsiteX33" fmla="*/ 7666284 w 11118888"/>
                  <a:gd name="connsiteY33" fmla="*/ 201839 h 1994638"/>
                  <a:gd name="connsiteX34" fmla="*/ 5939994 w 11118888"/>
                  <a:gd name="connsiteY34" fmla="*/ 193333 h 1994638"/>
                  <a:gd name="connsiteX35" fmla="*/ 4854266 w 11118888"/>
                  <a:gd name="connsiteY35" fmla="*/ 65870 h 1994638"/>
                  <a:gd name="connsiteX36" fmla="*/ 3062834 w 11118888"/>
                  <a:gd name="connsiteY36" fmla="*/ 57364 h 1994638"/>
                  <a:gd name="connsiteX37" fmla="*/ 2523012 w 11118888"/>
                  <a:gd name="connsiteY37" fmla="*/ 66415 h 1994638"/>
                  <a:gd name="connsiteX0" fmla="*/ 2523012 w 11118888"/>
                  <a:gd name="connsiteY0" fmla="*/ 66415 h 1994638"/>
                  <a:gd name="connsiteX1" fmla="*/ 2391070 w 11118888"/>
                  <a:gd name="connsiteY1" fmla="*/ 622730 h 1994638"/>
                  <a:gd name="connsiteX2" fmla="*/ 120534 w 11118888"/>
                  <a:gd name="connsiteY2" fmla="*/ 1077031 h 1994638"/>
                  <a:gd name="connsiteX3" fmla="*/ 348539 w 11118888"/>
                  <a:gd name="connsiteY3" fmla="*/ 1416926 h 1994638"/>
                  <a:gd name="connsiteX4" fmla="*/ 478821 w 11118888"/>
                  <a:gd name="connsiteY4" fmla="*/ 1595370 h 1994638"/>
                  <a:gd name="connsiteX5" fmla="*/ 533116 w 11118888"/>
                  <a:gd name="connsiteY5" fmla="*/ 1790808 h 1994638"/>
                  <a:gd name="connsiteX6" fmla="*/ 695980 w 11118888"/>
                  <a:gd name="connsiteY6" fmla="*/ 1986246 h 1994638"/>
                  <a:gd name="connsiteX7" fmla="*/ 858844 w 11118888"/>
                  <a:gd name="connsiteY7" fmla="*/ 1858784 h 1994638"/>
                  <a:gd name="connsiteX8" fmla="*/ 880558 w 11118888"/>
                  <a:gd name="connsiteY8" fmla="*/ 1595370 h 1994638"/>
                  <a:gd name="connsiteX9" fmla="*/ 1032553 w 11118888"/>
                  <a:gd name="connsiteY9" fmla="*/ 1510401 h 1994638"/>
                  <a:gd name="connsiteX10" fmla="*/ 1141121 w 11118888"/>
                  <a:gd name="connsiteY10" fmla="*/ 1229994 h 1994638"/>
                  <a:gd name="connsiteX11" fmla="*/ 1249689 w 11118888"/>
                  <a:gd name="connsiteY11" fmla="*/ 873105 h 1994638"/>
                  <a:gd name="connsiteX12" fmla="*/ 1401684 w 11118888"/>
                  <a:gd name="connsiteY12" fmla="*/ 737154 h 1994638"/>
                  <a:gd name="connsiteX13" fmla="*/ 1705675 w 11118888"/>
                  <a:gd name="connsiteY13" fmla="*/ 737154 h 1994638"/>
                  <a:gd name="connsiteX14" fmla="*/ 2281098 w 11118888"/>
                  <a:gd name="connsiteY14" fmla="*/ 754148 h 1994638"/>
                  <a:gd name="connsiteX15" fmla="*/ 3421097 w 11118888"/>
                  <a:gd name="connsiteY15" fmla="*/ 754148 h 1994638"/>
                  <a:gd name="connsiteX16" fmla="*/ 4115956 w 11118888"/>
                  <a:gd name="connsiteY16" fmla="*/ 788136 h 1994638"/>
                  <a:gd name="connsiteX17" fmla="*/ 4571966 w 11118888"/>
                  <a:gd name="connsiteY17" fmla="*/ 728648 h 1994638"/>
                  <a:gd name="connsiteX18" fmla="*/ 5049688 w 11118888"/>
                  <a:gd name="connsiteY18" fmla="*/ 728648 h 1994638"/>
                  <a:gd name="connsiteX19" fmla="*/ 5820557 w 11118888"/>
                  <a:gd name="connsiteY19" fmla="*/ 771142 h 1994638"/>
                  <a:gd name="connsiteX20" fmla="*/ 6699993 w 11118888"/>
                  <a:gd name="connsiteY20" fmla="*/ 754148 h 1994638"/>
                  <a:gd name="connsiteX21" fmla="*/ 7329711 w 11118888"/>
                  <a:gd name="connsiteY21" fmla="*/ 762654 h 1994638"/>
                  <a:gd name="connsiteX22" fmla="*/ 8165721 w 11118888"/>
                  <a:gd name="connsiteY22" fmla="*/ 762654 h 1994638"/>
                  <a:gd name="connsiteX23" fmla="*/ 9229734 w 11118888"/>
                  <a:gd name="connsiteY23" fmla="*/ 788154 h 1994638"/>
                  <a:gd name="connsiteX24" fmla="*/ 9978889 w 11118888"/>
                  <a:gd name="connsiteY24" fmla="*/ 779648 h 1994638"/>
                  <a:gd name="connsiteX25" fmla="*/ 10510884 w 11118888"/>
                  <a:gd name="connsiteY25" fmla="*/ 771142 h 1994638"/>
                  <a:gd name="connsiteX26" fmla="*/ 10988607 w 11118888"/>
                  <a:gd name="connsiteY26" fmla="*/ 737154 h 1994638"/>
                  <a:gd name="connsiteX27" fmla="*/ 11118888 w 11118888"/>
                  <a:gd name="connsiteY27" fmla="*/ 754148 h 1994638"/>
                  <a:gd name="connsiteX28" fmla="*/ 11118888 w 11118888"/>
                  <a:gd name="connsiteY28" fmla="*/ 133791 h 1994638"/>
                  <a:gd name="connsiteX29" fmla="*/ 10934312 w 11118888"/>
                  <a:gd name="connsiteY29" fmla="*/ 65870 h 1994638"/>
                  <a:gd name="connsiteX30" fmla="*/ 10120016 w 11118888"/>
                  <a:gd name="connsiteY30" fmla="*/ 14889 h 1994638"/>
                  <a:gd name="connsiteX31" fmla="*/ 9533725 w 11118888"/>
                  <a:gd name="connsiteY31" fmla="*/ 108364 h 1994638"/>
                  <a:gd name="connsiteX32" fmla="*/ 8632575 w 11118888"/>
                  <a:gd name="connsiteY32" fmla="*/ 201839 h 1994638"/>
                  <a:gd name="connsiteX33" fmla="*/ 7666284 w 11118888"/>
                  <a:gd name="connsiteY33" fmla="*/ 201839 h 1994638"/>
                  <a:gd name="connsiteX34" fmla="*/ 5939994 w 11118888"/>
                  <a:gd name="connsiteY34" fmla="*/ 193333 h 1994638"/>
                  <a:gd name="connsiteX35" fmla="*/ 4854266 w 11118888"/>
                  <a:gd name="connsiteY35" fmla="*/ 65870 h 1994638"/>
                  <a:gd name="connsiteX36" fmla="*/ 3062834 w 11118888"/>
                  <a:gd name="connsiteY36" fmla="*/ 57364 h 1994638"/>
                  <a:gd name="connsiteX37" fmla="*/ 2523012 w 11118888"/>
                  <a:gd name="connsiteY37" fmla="*/ 66415 h 1994638"/>
                  <a:gd name="connsiteX0" fmla="*/ 2532379 w 11128255"/>
                  <a:gd name="connsiteY0" fmla="*/ 66415 h 1994638"/>
                  <a:gd name="connsiteX1" fmla="*/ 129901 w 11128255"/>
                  <a:gd name="connsiteY1" fmla="*/ 1077031 h 1994638"/>
                  <a:gd name="connsiteX2" fmla="*/ 357906 w 11128255"/>
                  <a:gd name="connsiteY2" fmla="*/ 1416926 h 1994638"/>
                  <a:gd name="connsiteX3" fmla="*/ 488188 w 11128255"/>
                  <a:gd name="connsiteY3" fmla="*/ 1595370 h 1994638"/>
                  <a:gd name="connsiteX4" fmla="*/ 542483 w 11128255"/>
                  <a:gd name="connsiteY4" fmla="*/ 1790808 h 1994638"/>
                  <a:gd name="connsiteX5" fmla="*/ 705347 w 11128255"/>
                  <a:gd name="connsiteY5" fmla="*/ 1986246 h 1994638"/>
                  <a:gd name="connsiteX6" fmla="*/ 868211 w 11128255"/>
                  <a:gd name="connsiteY6" fmla="*/ 1858784 h 1994638"/>
                  <a:gd name="connsiteX7" fmla="*/ 889925 w 11128255"/>
                  <a:gd name="connsiteY7" fmla="*/ 1595370 h 1994638"/>
                  <a:gd name="connsiteX8" fmla="*/ 1041920 w 11128255"/>
                  <a:gd name="connsiteY8" fmla="*/ 1510401 h 1994638"/>
                  <a:gd name="connsiteX9" fmla="*/ 1150488 w 11128255"/>
                  <a:gd name="connsiteY9" fmla="*/ 1229994 h 1994638"/>
                  <a:gd name="connsiteX10" fmla="*/ 1259056 w 11128255"/>
                  <a:gd name="connsiteY10" fmla="*/ 873105 h 1994638"/>
                  <a:gd name="connsiteX11" fmla="*/ 1411051 w 11128255"/>
                  <a:gd name="connsiteY11" fmla="*/ 737154 h 1994638"/>
                  <a:gd name="connsiteX12" fmla="*/ 1715042 w 11128255"/>
                  <a:gd name="connsiteY12" fmla="*/ 737154 h 1994638"/>
                  <a:gd name="connsiteX13" fmla="*/ 2290465 w 11128255"/>
                  <a:gd name="connsiteY13" fmla="*/ 754148 h 1994638"/>
                  <a:gd name="connsiteX14" fmla="*/ 3430464 w 11128255"/>
                  <a:gd name="connsiteY14" fmla="*/ 754148 h 1994638"/>
                  <a:gd name="connsiteX15" fmla="*/ 4125323 w 11128255"/>
                  <a:gd name="connsiteY15" fmla="*/ 788136 h 1994638"/>
                  <a:gd name="connsiteX16" fmla="*/ 4581333 w 11128255"/>
                  <a:gd name="connsiteY16" fmla="*/ 728648 h 1994638"/>
                  <a:gd name="connsiteX17" fmla="*/ 5059055 w 11128255"/>
                  <a:gd name="connsiteY17" fmla="*/ 728648 h 1994638"/>
                  <a:gd name="connsiteX18" fmla="*/ 5829924 w 11128255"/>
                  <a:gd name="connsiteY18" fmla="*/ 771142 h 1994638"/>
                  <a:gd name="connsiteX19" fmla="*/ 6709360 w 11128255"/>
                  <a:gd name="connsiteY19" fmla="*/ 754148 h 1994638"/>
                  <a:gd name="connsiteX20" fmla="*/ 7339078 w 11128255"/>
                  <a:gd name="connsiteY20" fmla="*/ 762654 h 1994638"/>
                  <a:gd name="connsiteX21" fmla="*/ 8175088 w 11128255"/>
                  <a:gd name="connsiteY21" fmla="*/ 762654 h 1994638"/>
                  <a:gd name="connsiteX22" fmla="*/ 9239101 w 11128255"/>
                  <a:gd name="connsiteY22" fmla="*/ 788154 h 1994638"/>
                  <a:gd name="connsiteX23" fmla="*/ 9988256 w 11128255"/>
                  <a:gd name="connsiteY23" fmla="*/ 779648 h 1994638"/>
                  <a:gd name="connsiteX24" fmla="*/ 10520251 w 11128255"/>
                  <a:gd name="connsiteY24" fmla="*/ 771142 h 1994638"/>
                  <a:gd name="connsiteX25" fmla="*/ 10997974 w 11128255"/>
                  <a:gd name="connsiteY25" fmla="*/ 737154 h 1994638"/>
                  <a:gd name="connsiteX26" fmla="*/ 11128255 w 11128255"/>
                  <a:gd name="connsiteY26" fmla="*/ 754148 h 1994638"/>
                  <a:gd name="connsiteX27" fmla="*/ 11128255 w 11128255"/>
                  <a:gd name="connsiteY27" fmla="*/ 133791 h 1994638"/>
                  <a:gd name="connsiteX28" fmla="*/ 10943679 w 11128255"/>
                  <a:gd name="connsiteY28" fmla="*/ 65870 h 1994638"/>
                  <a:gd name="connsiteX29" fmla="*/ 10129383 w 11128255"/>
                  <a:gd name="connsiteY29" fmla="*/ 14889 h 1994638"/>
                  <a:gd name="connsiteX30" fmla="*/ 9543092 w 11128255"/>
                  <a:gd name="connsiteY30" fmla="*/ 108364 h 1994638"/>
                  <a:gd name="connsiteX31" fmla="*/ 8641942 w 11128255"/>
                  <a:gd name="connsiteY31" fmla="*/ 201839 h 1994638"/>
                  <a:gd name="connsiteX32" fmla="*/ 7675651 w 11128255"/>
                  <a:gd name="connsiteY32" fmla="*/ 201839 h 1994638"/>
                  <a:gd name="connsiteX33" fmla="*/ 5949361 w 11128255"/>
                  <a:gd name="connsiteY33" fmla="*/ 193333 h 1994638"/>
                  <a:gd name="connsiteX34" fmla="*/ 4863633 w 11128255"/>
                  <a:gd name="connsiteY34" fmla="*/ 65870 h 1994638"/>
                  <a:gd name="connsiteX35" fmla="*/ 3072201 w 11128255"/>
                  <a:gd name="connsiteY35" fmla="*/ 57364 h 1994638"/>
                  <a:gd name="connsiteX36" fmla="*/ 2532379 w 11128255"/>
                  <a:gd name="connsiteY36" fmla="*/ 66415 h 1994638"/>
                  <a:gd name="connsiteX0" fmla="*/ 2290884 w 10886760"/>
                  <a:gd name="connsiteY0" fmla="*/ 66415 h 1994638"/>
                  <a:gd name="connsiteX1" fmla="*/ 2173324 w 10886760"/>
                  <a:gd name="connsiteY1" fmla="*/ 625754 h 1994638"/>
                  <a:gd name="connsiteX2" fmla="*/ 116411 w 10886760"/>
                  <a:gd name="connsiteY2" fmla="*/ 1416926 h 1994638"/>
                  <a:gd name="connsiteX3" fmla="*/ 246693 w 10886760"/>
                  <a:gd name="connsiteY3" fmla="*/ 1595370 h 1994638"/>
                  <a:gd name="connsiteX4" fmla="*/ 300988 w 10886760"/>
                  <a:gd name="connsiteY4" fmla="*/ 1790808 h 1994638"/>
                  <a:gd name="connsiteX5" fmla="*/ 463852 w 10886760"/>
                  <a:gd name="connsiteY5" fmla="*/ 1986246 h 1994638"/>
                  <a:gd name="connsiteX6" fmla="*/ 626716 w 10886760"/>
                  <a:gd name="connsiteY6" fmla="*/ 1858784 h 1994638"/>
                  <a:gd name="connsiteX7" fmla="*/ 648430 w 10886760"/>
                  <a:gd name="connsiteY7" fmla="*/ 1595370 h 1994638"/>
                  <a:gd name="connsiteX8" fmla="*/ 800425 w 10886760"/>
                  <a:gd name="connsiteY8" fmla="*/ 1510401 h 1994638"/>
                  <a:gd name="connsiteX9" fmla="*/ 908993 w 10886760"/>
                  <a:gd name="connsiteY9" fmla="*/ 1229994 h 1994638"/>
                  <a:gd name="connsiteX10" fmla="*/ 1017561 w 10886760"/>
                  <a:gd name="connsiteY10" fmla="*/ 873105 h 1994638"/>
                  <a:gd name="connsiteX11" fmla="*/ 1169556 w 10886760"/>
                  <a:gd name="connsiteY11" fmla="*/ 737154 h 1994638"/>
                  <a:gd name="connsiteX12" fmla="*/ 1473547 w 10886760"/>
                  <a:gd name="connsiteY12" fmla="*/ 737154 h 1994638"/>
                  <a:gd name="connsiteX13" fmla="*/ 2048970 w 10886760"/>
                  <a:gd name="connsiteY13" fmla="*/ 754148 h 1994638"/>
                  <a:gd name="connsiteX14" fmla="*/ 3188969 w 10886760"/>
                  <a:gd name="connsiteY14" fmla="*/ 754148 h 1994638"/>
                  <a:gd name="connsiteX15" fmla="*/ 3883828 w 10886760"/>
                  <a:gd name="connsiteY15" fmla="*/ 788136 h 1994638"/>
                  <a:gd name="connsiteX16" fmla="*/ 4339838 w 10886760"/>
                  <a:gd name="connsiteY16" fmla="*/ 728648 h 1994638"/>
                  <a:gd name="connsiteX17" fmla="*/ 4817560 w 10886760"/>
                  <a:gd name="connsiteY17" fmla="*/ 728648 h 1994638"/>
                  <a:gd name="connsiteX18" fmla="*/ 5588429 w 10886760"/>
                  <a:gd name="connsiteY18" fmla="*/ 771142 h 1994638"/>
                  <a:gd name="connsiteX19" fmla="*/ 6467865 w 10886760"/>
                  <a:gd name="connsiteY19" fmla="*/ 754148 h 1994638"/>
                  <a:gd name="connsiteX20" fmla="*/ 7097583 w 10886760"/>
                  <a:gd name="connsiteY20" fmla="*/ 762654 h 1994638"/>
                  <a:gd name="connsiteX21" fmla="*/ 7933593 w 10886760"/>
                  <a:gd name="connsiteY21" fmla="*/ 762654 h 1994638"/>
                  <a:gd name="connsiteX22" fmla="*/ 8997606 w 10886760"/>
                  <a:gd name="connsiteY22" fmla="*/ 788154 h 1994638"/>
                  <a:gd name="connsiteX23" fmla="*/ 9746761 w 10886760"/>
                  <a:gd name="connsiteY23" fmla="*/ 779648 h 1994638"/>
                  <a:gd name="connsiteX24" fmla="*/ 10278756 w 10886760"/>
                  <a:gd name="connsiteY24" fmla="*/ 771142 h 1994638"/>
                  <a:gd name="connsiteX25" fmla="*/ 10756479 w 10886760"/>
                  <a:gd name="connsiteY25" fmla="*/ 737154 h 1994638"/>
                  <a:gd name="connsiteX26" fmla="*/ 10886760 w 10886760"/>
                  <a:gd name="connsiteY26" fmla="*/ 754148 h 1994638"/>
                  <a:gd name="connsiteX27" fmla="*/ 10886760 w 10886760"/>
                  <a:gd name="connsiteY27" fmla="*/ 133791 h 1994638"/>
                  <a:gd name="connsiteX28" fmla="*/ 10702184 w 10886760"/>
                  <a:gd name="connsiteY28" fmla="*/ 65870 h 1994638"/>
                  <a:gd name="connsiteX29" fmla="*/ 9887888 w 10886760"/>
                  <a:gd name="connsiteY29" fmla="*/ 14889 h 1994638"/>
                  <a:gd name="connsiteX30" fmla="*/ 9301597 w 10886760"/>
                  <a:gd name="connsiteY30" fmla="*/ 108364 h 1994638"/>
                  <a:gd name="connsiteX31" fmla="*/ 8400447 w 10886760"/>
                  <a:gd name="connsiteY31" fmla="*/ 201839 h 1994638"/>
                  <a:gd name="connsiteX32" fmla="*/ 7434156 w 10886760"/>
                  <a:gd name="connsiteY32" fmla="*/ 201839 h 1994638"/>
                  <a:gd name="connsiteX33" fmla="*/ 5707866 w 10886760"/>
                  <a:gd name="connsiteY33" fmla="*/ 193333 h 1994638"/>
                  <a:gd name="connsiteX34" fmla="*/ 4622138 w 10886760"/>
                  <a:gd name="connsiteY34" fmla="*/ 65870 h 1994638"/>
                  <a:gd name="connsiteX35" fmla="*/ 2830706 w 10886760"/>
                  <a:gd name="connsiteY35" fmla="*/ 57364 h 1994638"/>
                  <a:gd name="connsiteX36" fmla="*/ 2290884 w 10886760"/>
                  <a:gd name="connsiteY36" fmla="*/ 66415 h 1994638"/>
                  <a:gd name="connsiteX0" fmla="*/ 2179017 w 10774893"/>
                  <a:gd name="connsiteY0" fmla="*/ 66415 h 1994638"/>
                  <a:gd name="connsiteX1" fmla="*/ 2061457 w 10774893"/>
                  <a:gd name="connsiteY1" fmla="*/ 625754 h 1994638"/>
                  <a:gd name="connsiteX2" fmla="*/ 134826 w 10774893"/>
                  <a:gd name="connsiteY2" fmla="*/ 1595370 h 1994638"/>
                  <a:gd name="connsiteX3" fmla="*/ 189121 w 10774893"/>
                  <a:gd name="connsiteY3" fmla="*/ 1790808 h 1994638"/>
                  <a:gd name="connsiteX4" fmla="*/ 351985 w 10774893"/>
                  <a:gd name="connsiteY4" fmla="*/ 1986246 h 1994638"/>
                  <a:gd name="connsiteX5" fmla="*/ 514849 w 10774893"/>
                  <a:gd name="connsiteY5" fmla="*/ 1858784 h 1994638"/>
                  <a:gd name="connsiteX6" fmla="*/ 536563 w 10774893"/>
                  <a:gd name="connsiteY6" fmla="*/ 1595370 h 1994638"/>
                  <a:gd name="connsiteX7" fmla="*/ 688558 w 10774893"/>
                  <a:gd name="connsiteY7" fmla="*/ 1510401 h 1994638"/>
                  <a:gd name="connsiteX8" fmla="*/ 797126 w 10774893"/>
                  <a:gd name="connsiteY8" fmla="*/ 1229994 h 1994638"/>
                  <a:gd name="connsiteX9" fmla="*/ 905694 w 10774893"/>
                  <a:gd name="connsiteY9" fmla="*/ 873105 h 1994638"/>
                  <a:gd name="connsiteX10" fmla="*/ 1057689 w 10774893"/>
                  <a:gd name="connsiteY10" fmla="*/ 737154 h 1994638"/>
                  <a:gd name="connsiteX11" fmla="*/ 1361680 w 10774893"/>
                  <a:gd name="connsiteY11" fmla="*/ 737154 h 1994638"/>
                  <a:gd name="connsiteX12" fmla="*/ 1937103 w 10774893"/>
                  <a:gd name="connsiteY12" fmla="*/ 754148 h 1994638"/>
                  <a:gd name="connsiteX13" fmla="*/ 3077102 w 10774893"/>
                  <a:gd name="connsiteY13" fmla="*/ 754148 h 1994638"/>
                  <a:gd name="connsiteX14" fmla="*/ 3771961 w 10774893"/>
                  <a:gd name="connsiteY14" fmla="*/ 788136 h 1994638"/>
                  <a:gd name="connsiteX15" fmla="*/ 4227971 w 10774893"/>
                  <a:gd name="connsiteY15" fmla="*/ 728648 h 1994638"/>
                  <a:gd name="connsiteX16" fmla="*/ 4705693 w 10774893"/>
                  <a:gd name="connsiteY16" fmla="*/ 728648 h 1994638"/>
                  <a:gd name="connsiteX17" fmla="*/ 5476562 w 10774893"/>
                  <a:gd name="connsiteY17" fmla="*/ 771142 h 1994638"/>
                  <a:gd name="connsiteX18" fmla="*/ 6355998 w 10774893"/>
                  <a:gd name="connsiteY18" fmla="*/ 754148 h 1994638"/>
                  <a:gd name="connsiteX19" fmla="*/ 6985716 w 10774893"/>
                  <a:gd name="connsiteY19" fmla="*/ 762654 h 1994638"/>
                  <a:gd name="connsiteX20" fmla="*/ 7821726 w 10774893"/>
                  <a:gd name="connsiteY20" fmla="*/ 762654 h 1994638"/>
                  <a:gd name="connsiteX21" fmla="*/ 8885739 w 10774893"/>
                  <a:gd name="connsiteY21" fmla="*/ 788154 h 1994638"/>
                  <a:gd name="connsiteX22" fmla="*/ 9634894 w 10774893"/>
                  <a:gd name="connsiteY22" fmla="*/ 779648 h 1994638"/>
                  <a:gd name="connsiteX23" fmla="*/ 10166889 w 10774893"/>
                  <a:gd name="connsiteY23" fmla="*/ 771142 h 1994638"/>
                  <a:gd name="connsiteX24" fmla="*/ 10644612 w 10774893"/>
                  <a:gd name="connsiteY24" fmla="*/ 737154 h 1994638"/>
                  <a:gd name="connsiteX25" fmla="*/ 10774893 w 10774893"/>
                  <a:gd name="connsiteY25" fmla="*/ 754148 h 1994638"/>
                  <a:gd name="connsiteX26" fmla="*/ 10774893 w 10774893"/>
                  <a:gd name="connsiteY26" fmla="*/ 133791 h 1994638"/>
                  <a:gd name="connsiteX27" fmla="*/ 10590317 w 10774893"/>
                  <a:gd name="connsiteY27" fmla="*/ 65870 h 1994638"/>
                  <a:gd name="connsiteX28" fmla="*/ 9776021 w 10774893"/>
                  <a:gd name="connsiteY28" fmla="*/ 14889 h 1994638"/>
                  <a:gd name="connsiteX29" fmla="*/ 9189730 w 10774893"/>
                  <a:gd name="connsiteY29" fmla="*/ 108364 h 1994638"/>
                  <a:gd name="connsiteX30" fmla="*/ 8288580 w 10774893"/>
                  <a:gd name="connsiteY30" fmla="*/ 201839 h 1994638"/>
                  <a:gd name="connsiteX31" fmla="*/ 7322289 w 10774893"/>
                  <a:gd name="connsiteY31" fmla="*/ 201839 h 1994638"/>
                  <a:gd name="connsiteX32" fmla="*/ 5595999 w 10774893"/>
                  <a:gd name="connsiteY32" fmla="*/ 193333 h 1994638"/>
                  <a:gd name="connsiteX33" fmla="*/ 4510271 w 10774893"/>
                  <a:gd name="connsiteY33" fmla="*/ 65870 h 1994638"/>
                  <a:gd name="connsiteX34" fmla="*/ 2718839 w 10774893"/>
                  <a:gd name="connsiteY34" fmla="*/ 57364 h 1994638"/>
                  <a:gd name="connsiteX35" fmla="*/ 2179017 w 10774893"/>
                  <a:gd name="connsiteY35" fmla="*/ 66415 h 1994638"/>
                  <a:gd name="connsiteX0" fmla="*/ 2100767 w 10696643"/>
                  <a:gd name="connsiteY0" fmla="*/ 66415 h 2006207"/>
                  <a:gd name="connsiteX1" fmla="*/ 1983207 w 10696643"/>
                  <a:gd name="connsiteY1" fmla="*/ 625754 h 2006207"/>
                  <a:gd name="connsiteX2" fmla="*/ 110871 w 10696643"/>
                  <a:gd name="connsiteY2" fmla="*/ 1790808 h 2006207"/>
                  <a:gd name="connsiteX3" fmla="*/ 273735 w 10696643"/>
                  <a:gd name="connsiteY3" fmla="*/ 1986246 h 2006207"/>
                  <a:gd name="connsiteX4" fmla="*/ 436599 w 10696643"/>
                  <a:gd name="connsiteY4" fmla="*/ 1858784 h 2006207"/>
                  <a:gd name="connsiteX5" fmla="*/ 458313 w 10696643"/>
                  <a:gd name="connsiteY5" fmla="*/ 1595370 h 2006207"/>
                  <a:gd name="connsiteX6" fmla="*/ 610308 w 10696643"/>
                  <a:gd name="connsiteY6" fmla="*/ 1510401 h 2006207"/>
                  <a:gd name="connsiteX7" fmla="*/ 718876 w 10696643"/>
                  <a:gd name="connsiteY7" fmla="*/ 1229994 h 2006207"/>
                  <a:gd name="connsiteX8" fmla="*/ 827444 w 10696643"/>
                  <a:gd name="connsiteY8" fmla="*/ 873105 h 2006207"/>
                  <a:gd name="connsiteX9" fmla="*/ 979439 w 10696643"/>
                  <a:gd name="connsiteY9" fmla="*/ 737154 h 2006207"/>
                  <a:gd name="connsiteX10" fmla="*/ 1283430 w 10696643"/>
                  <a:gd name="connsiteY10" fmla="*/ 737154 h 2006207"/>
                  <a:gd name="connsiteX11" fmla="*/ 1858853 w 10696643"/>
                  <a:gd name="connsiteY11" fmla="*/ 754148 h 2006207"/>
                  <a:gd name="connsiteX12" fmla="*/ 2998852 w 10696643"/>
                  <a:gd name="connsiteY12" fmla="*/ 754148 h 2006207"/>
                  <a:gd name="connsiteX13" fmla="*/ 3693711 w 10696643"/>
                  <a:gd name="connsiteY13" fmla="*/ 788136 h 2006207"/>
                  <a:gd name="connsiteX14" fmla="*/ 4149721 w 10696643"/>
                  <a:gd name="connsiteY14" fmla="*/ 728648 h 2006207"/>
                  <a:gd name="connsiteX15" fmla="*/ 4627443 w 10696643"/>
                  <a:gd name="connsiteY15" fmla="*/ 728648 h 2006207"/>
                  <a:gd name="connsiteX16" fmla="*/ 5398312 w 10696643"/>
                  <a:gd name="connsiteY16" fmla="*/ 771142 h 2006207"/>
                  <a:gd name="connsiteX17" fmla="*/ 6277748 w 10696643"/>
                  <a:gd name="connsiteY17" fmla="*/ 754148 h 2006207"/>
                  <a:gd name="connsiteX18" fmla="*/ 6907466 w 10696643"/>
                  <a:gd name="connsiteY18" fmla="*/ 762654 h 2006207"/>
                  <a:gd name="connsiteX19" fmla="*/ 7743476 w 10696643"/>
                  <a:gd name="connsiteY19" fmla="*/ 762654 h 2006207"/>
                  <a:gd name="connsiteX20" fmla="*/ 8807489 w 10696643"/>
                  <a:gd name="connsiteY20" fmla="*/ 788154 h 2006207"/>
                  <a:gd name="connsiteX21" fmla="*/ 9556644 w 10696643"/>
                  <a:gd name="connsiteY21" fmla="*/ 779648 h 2006207"/>
                  <a:gd name="connsiteX22" fmla="*/ 10088639 w 10696643"/>
                  <a:gd name="connsiteY22" fmla="*/ 771142 h 2006207"/>
                  <a:gd name="connsiteX23" fmla="*/ 10566362 w 10696643"/>
                  <a:gd name="connsiteY23" fmla="*/ 737154 h 2006207"/>
                  <a:gd name="connsiteX24" fmla="*/ 10696643 w 10696643"/>
                  <a:gd name="connsiteY24" fmla="*/ 754148 h 2006207"/>
                  <a:gd name="connsiteX25" fmla="*/ 10696643 w 10696643"/>
                  <a:gd name="connsiteY25" fmla="*/ 133791 h 2006207"/>
                  <a:gd name="connsiteX26" fmla="*/ 10512067 w 10696643"/>
                  <a:gd name="connsiteY26" fmla="*/ 65870 h 2006207"/>
                  <a:gd name="connsiteX27" fmla="*/ 9697771 w 10696643"/>
                  <a:gd name="connsiteY27" fmla="*/ 14889 h 2006207"/>
                  <a:gd name="connsiteX28" fmla="*/ 9111480 w 10696643"/>
                  <a:gd name="connsiteY28" fmla="*/ 108364 h 2006207"/>
                  <a:gd name="connsiteX29" fmla="*/ 8210330 w 10696643"/>
                  <a:gd name="connsiteY29" fmla="*/ 201839 h 2006207"/>
                  <a:gd name="connsiteX30" fmla="*/ 7244039 w 10696643"/>
                  <a:gd name="connsiteY30" fmla="*/ 201839 h 2006207"/>
                  <a:gd name="connsiteX31" fmla="*/ 5517749 w 10696643"/>
                  <a:gd name="connsiteY31" fmla="*/ 193333 h 2006207"/>
                  <a:gd name="connsiteX32" fmla="*/ 4432021 w 10696643"/>
                  <a:gd name="connsiteY32" fmla="*/ 65870 h 2006207"/>
                  <a:gd name="connsiteX33" fmla="*/ 2640589 w 10696643"/>
                  <a:gd name="connsiteY33" fmla="*/ 57364 h 2006207"/>
                  <a:gd name="connsiteX34" fmla="*/ 2100767 w 10696643"/>
                  <a:gd name="connsiteY34" fmla="*/ 66415 h 2006207"/>
                  <a:gd name="connsiteX0" fmla="*/ 1827032 w 10422908"/>
                  <a:gd name="connsiteY0" fmla="*/ 66415 h 1986245"/>
                  <a:gd name="connsiteX1" fmla="*/ 1709472 w 10422908"/>
                  <a:gd name="connsiteY1" fmla="*/ 625754 h 1986245"/>
                  <a:gd name="connsiteX2" fmla="*/ 0 w 10422908"/>
                  <a:gd name="connsiteY2" fmla="*/ 1986246 h 1986245"/>
                  <a:gd name="connsiteX3" fmla="*/ 162864 w 10422908"/>
                  <a:gd name="connsiteY3" fmla="*/ 1858784 h 1986245"/>
                  <a:gd name="connsiteX4" fmla="*/ 184578 w 10422908"/>
                  <a:gd name="connsiteY4" fmla="*/ 1595370 h 1986245"/>
                  <a:gd name="connsiteX5" fmla="*/ 336573 w 10422908"/>
                  <a:gd name="connsiteY5" fmla="*/ 1510401 h 1986245"/>
                  <a:gd name="connsiteX6" fmla="*/ 445141 w 10422908"/>
                  <a:gd name="connsiteY6" fmla="*/ 1229994 h 1986245"/>
                  <a:gd name="connsiteX7" fmla="*/ 553709 w 10422908"/>
                  <a:gd name="connsiteY7" fmla="*/ 873105 h 1986245"/>
                  <a:gd name="connsiteX8" fmla="*/ 705704 w 10422908"/>
                  <a:gd name="connsiteY8" fmla="*/ 737154 h 1986245"/>
                  <a:gd name="connsiteX9" fmla="*/ 1009695 w 10422908"/>
                  <a:gd name="connsiteY9" fmla="*/ 737154 h 1986245"/>
                  <a:gd name="connsiteX10" fmla="*/ 1585118 w 10422908"/>
                  <a:gd name="connsiteY10" fmla="*/ 754148 h 1986245"/>
                  <a:gd name="connsiteX11" fmla="*/ 2725117 w 10422908"/>
                  <a:gd name="connsiteY11" fmla="*/ 754148 h 1986245"/>
                  <a:gd name="connsiteX12" fmla="*/ 3419976 w 10422908"/>
                  <a:gd name="connsiteY12" fmla="*/ 788136 h 1986245"/>
                  <a:gd name="connsiteX13" fmla="*/ 3875986 w 10422908"/>
                  <a:gd name="connsiteY13" fmla="*/ 728648 h 1986245"/>
                  <a:gd name="connsiteX14" fmla="*/ 4353708 w 10422908"/>
                  <a:gd name="connsiteY14" fmla="*/ 728648 h 1986245"/>
                  <a:gd name="connsiteX15" fmla="*/ 5124577 w 10422908"/>
                  <a:gd name="connsiteY15" fmla="*/ 771142 h 1986245"/>
                  <a:gd name="connsiteX16" fmla="*/ 6004013 w 10422908"/>
                  <a:gd name="connsiteY16" fmla="*/ 754148 h 1986245"/>
                  <a:gd name="connsiteX17" fmla="*/ 6633731 w 10422908"/>
                  <a:gd name="connsiteY17" fmla="*/ 762654 h 1986245"/>
                  <a:gd name="connsiteX18" fmla="*/ 7469741 w 10422908"/>
                  <a:gd name="connsiteY18" fmla="*/ 762654 h 1986245"/>
                  <a:gd name="connsiteX19" fmla="*/ 8533754 w 10422908"/>
                  <a:gd name="connsiteY19" fmla="*/ 788154 h 1986245"/>
                  <a:gd name="connsiteX20" fmla="*/ 9282909 w 10422908"/>
                  <a:gd name="connsiteY20" fmla="*/ 779648 h 1986245"/>
                  <a:gd name="connsiteX21" fmla="*/ 9814904 w 10422908"/>
                  <a:gd name="connsiteY21" fmla="*/ 771142 h 1986245"/>
                  <a:gd name="connsiteX22" fmla="*/ 10292627 w 10422908"/>
                  <a:gd name="connsiteY22" fmla="*/ 737154 h 1986245"/>
                  <a:gd name="connsiteX23" fmla="*/ 10422908 w 10422908"/>
                  <a:gd name="connsiteY23" fmla="*/ 754148 h 1986245"/>
                  <a:gd name="connsiteX24" fmla="*/ 10422908 w 10422908"/>
                  <a:gd name="connsiteY24" fmla="*/ 133791 h 1986245"/>
                  <a:gd name="connsiteX25" fmla="*/ 10238332 w 10422908"/>
                  <a:gd name="connsiteY25" fmla="*/ 65870 h 1986245"/>
                  <a:gd name="connsiteX26" fmla="*/ 9424036 w 10422908"/>
                  <a:gd name="connsiteY26" fmla="*/ 14889 h 1986245"/>
                  <a:gd name="connsiteX27" fmla="*/ 8837745 w 10422908"/>
                  <a:gd name="connsiteY27" fmla="*/ 108364 h 1986245"/>
                  <a:gd name="connsiteX28" fmla="*/ 7936595 w 10422908"/>
                  <a:gd name="connsiteY28" fmla="*/ 201839 h 1986245"/>
                  <a:gd name="connsiteX29" fmla="*/ 6970304 w 10422908"/>
                  <a:gd name="connsiteY29" fmla="*/ 201839 h 1986245"/>
                  <a:gd name="connsiteX30" fmla="*/ 5244014 w 10422908"/>
                  <a:gd name="connsiteY30" fmla="*/ 193333 h 1986245"/>
                  <a:gd name="connsiteX31" fmla="*/ 4158286 w 10422908"/>
                  <a:gd name="connsiteY31" fmla="*/ 65870 h 1986245"/>
                  <a:gd name="connsiteX32" fmla="*/ 2366854 w 10422908"/>
                  <a:gd name="connsiteY32" fmla="*/ 57364 h 1986245"/>
                  <a:gd name="connsiteX33" fmla="*/ 1827032 w 10422908"/>
                  <a:gd name="connsiteY33" fmla="*/ 66415 h 1986245"/>
                  <a:gd name="connsiteX0" fmla="*/ 1786453 w 10382329"/>
                  <a:gd name="connsiteY0" fmla="*/ 66415 h 1901488"/>
                  <a:gd name="connsiteX1" fmla="*/ 1668893 w 10382329"/>
                  <a:gd name="connsiteY1" fmla="*/ 625754 h 1901488"/>
                  <a:gd name="connsiteX2" fmla="*/ 122285 w 10382329"/>
                  <a:gd name="connsiteY2" fmla="*/ 1858784 h 1901488"/>
                  <a:gd name="connsiteX3" fmla="*/ 143999 w 10382329"/>
                  <a:gd name="connsiteY3" fmla="*/ 1595370 h 1901488"/>
                  <a:gd name="connsiteX4" fmla="*/ 295994 w 10382329"/>
                  <a:gd name="connsiteY4" fmla="*/ 1510401 h 1901488"/>
                  <a:gd name="connsiteX5" fmla="*/ 404562 w 10382329"/>
                  <a:gd name="connsiteY5" fmla="*/ 1229994 h 1901488"/>
                  <a:gd name="connsiteX6" fmla="*/ 513130 w 10382329"/>
                  <a:gd name="connsiteY6" fmla="*/ 873105 h 1901488"/>
                  <a:gd name="connsiteX7" fmla="*/ 665125 w 10382329"/>
                  <a:gd name="connsiteY7" fmla="*/ 737154 h 1901488"/>
                  <a:gd name="connsiteX8" fmla="*/ 969116 w 10382329"/>
                  <a:gd name="connsiteY8" fmla="*/ 737154 h 1901488"/>
                  <a:gd name="connsiteX9" fmla="*/ 1544539 w 10382329"/>
                  <a:gd name="connsiteY9" fmla="*/ 754148 h 1901488"/>
                  <a:gd name="connsiteX10" fmla="*/ 2684538 w 10382329"/>
                  <a:gd name="connsiteY10" fmla="*/ 754148 h 1901488"/>
                  <a:gd name="connsiteX11" fmla="*/ 3379397 w 10382329"/>
                  <a:gd name="connsiteY11" fmla="*/ 788136 h 1901488"/>
                  <a:gd name="connsiteX12" fmla="*/ 3835407 w 10382329"/>
                  <a:gd name="connsiteY12" fmla="*/ 728648 h 1901488"/>
                  <a:gd name="connsiteX13" fmla="*/ 4313129 w 10382329"/>
                  <a:gd name="connsiteY13" fmla="*/ 728648 h 1901488"/>
                  <a:gd name="connsiteX14" fmla="*/ 5083998 w 10382329"/>
                  <a:gd name="connsiteY14" fmla="*/ 771142 h 1901488"/>
                  <a:gd name="connsiteX15" fmla="*/ 5963434 w 10382329"/>
                  <a:gd name="connsiteY15" fmla="*/ 754148 h 1901488"/>
                  <a:gd name="connsiteX16" fmla="*/ 6593152 w 10382329"/>
                  <a:gd name="connsiteY16" fmla="*/ 762654 h 1901488"/>
                  <a:gd name="connsiteX17" fmla="*/ 7429162 w 10382329"/>
                  <a:gd name="connsiteY17" fmla="*/ 762654 h 1901488"/>
                  <a:gd name="connsiteX18" fmla="*/ 8493175 w 10382329"/>
                  <a:gd name="connsiteY18" fmla="*/ 788154 h 1901488"/>
                  <a:gd name="connsiteX19" fmla="*/ 9242330 w 10382329"/>
                  <a:gd name="connsiteY19" fmla="*/ 779648 h 1901488"/>
                  <a:gd name="connsiteX20" fmla="*/ 9774325 w 10382329"/>
                  <a:gd name="connsiteY20" fmla="*/ 771142 h 1901488"/>
                  <a:gd name="connsiteX21" fmla="*/ 10252048 w 10382329"/>
                  <a:gd name="connsiteY21" fmla="*/ 737154 h 1901488"/>
                  <a:gd name="connsiteX22" fmla="*/ 10382329 w 10382329"/>
                  <a:gd name="connsiteY22" fmla="*/ 754148 h 1901488"/>
                  <a:gd name="connsiteX23" fmla="*/ 10382329 w 10382329"/>
                  <a:gd name="connsiteY23" fmla="*/ 133791 h 1901488"/>
                  <a:gd name="connsiteX24" fmla="*/ 10197753 w 10382329"/>
                  <a:gd name="connsiteY24" fmla="*/ 65870 h 1901488"/>
                  <a:gd name="connsiteX25" fmla="*/ 9383457 w 10382329"/>
                  <a:gd name="connsiteY25" fmla="*/ 14889 h 1901488"/>
                  <a:gd name="connsiteX26" fmla="*/ 8797166 w 10382329"/>
                  <a:gd name="connsiteY26" fmla="*/ 108364 h 1901488"/>
                  <a:gd name="connsiteX27" fmla="*/ 7896016 w 10382329"/>
                  <a:gd name="connsiteY27" fmla="*/ 201839 h 1901488"/>
                  <a:gd name="connsiteX28" fmla="*/ 6929725 w 10382329"/>
                  <a:gd name="connsiteY28" fmla="*/ 201839 h 1901488"/>
                  <a:gd name="connsiteX29" fmla="*/ 5203435 w 10382329"/>
                  <a:gd name="connsiteY29" fmla="*/ 193333 h 1901488"/>
                  <a:gd name="connsiteX30" fmla="*/ 4117707 w 10382329"/>
                  <a:gd name="connsiteY30" fmla="*/ 65870 h 1901488"/>
                  <a:gd name="connsiteX31" fmla="*/ 2326275 w 10382329"/>
                  <a:gd name="connsiteY31" fmla="*/ 57364 h 1901488"/>
                  <a:gd name="connsiteX32" fmla="*/ 1786453 w 10382329"/>
                  <a:gd name="connsiteY32" fmla="*/ 66415 h 1901488"/>
                  <a:gd name="connsiteX0" fmla="*/ 1724759 w 10320635"/>
                  <a:gd name="connsiteY0" fmla="*/ 66415 h 1652063"/>
                  <a:gd name="connsiteX1" fmla="*/ 1607199 w 10320635"/>
                  <a:gd name="connsiteY1" fmla="*/ 625754 h 1652063"/>
                  <a:gd name="connsiteX2" fmla="*/ 82305 w 10320635"/>
                  <a:gd name="connsiteY2" fmla="*/ 1595370 h 1652063"/>
                  <a:gd name="connsiteX3" fmla="*/ 234300 w 10320635"/>
                  <a:gd name="connsiteY3" fmla="*/ 1510401 h 1652063"/>
                  <a:gd name="connsiteX4" fmla="*/ 342868 w 10320635"/>
                  <a:gd name="connsiteY4" fmla="*/ 1229994 h 1652063"/>
                  <a:gd name="connsiteX5" fmla="*/ 451436 w 10320635"/>
                  <a:gd name="connsiteY5" fmla="*/ 873105 h 1652063"/>
                  <a:gd name="connsiteX6" fmla="*/ 603431 w 10320635"/>
                  <a:gd name="connsiteY6" fmla="*/ 737154 h 1652063"/>
                  <a:gd name="connsiteX7" fmla="*/ 907422 w 10320635"/>
                  <a:gd name="connsiteY7" fmla="*/ 737154 h 1652063"/>
                  <a:gd name="connsiteX8" fmla="*/ 1482845 w 10320635"/>
                  <a:gd name="connsiteY8" fmla="*/ 754148 h 1652063"/>
                  <a:gd name="connsiteX9" fmla="*/ 2622844 w 10320635"/>
                  <a:gd name="connsiteY9" fmla="*/ 754148 h 1652063"/>
                  <a:gd name="connsiteX10" fmla="*/ 3317703 w 10320635"/>
                  <a:gd name="connsiteY10" fmla="*/ 788136 h 1652063"/>
                  <a:gd name="connsiteX11" fmla="*/ 3773713 w 10320635"/>
                  <a:gd name="connsiteY11" fmla="*/ 728648 h 1652063"/>
                  <a:gd name="connsiteX12" fmla="*/ 4251435 w 10320635"/>
                  <a:gd name="connsiteY12" fmla="*/ 728648 h 1652063"/>
                  <a:gd name="connsiteX13" fmla="*/ 5022304 w 10320635"/>
                  <a:gd name="connsiteY13" fmla="*/ 771142 h 1652063"/>
                  <a:gd name="connsiteX14" fmla="*/ 5901740 w 10320635"/>
                  <a:gd name="connsiteY14" fmla="*/ 754148 h 1652063"/>
                  <a:gd name="connsiteX15" fmla="*/ 6531458 w 10320635"/>
                  <a:gd name="connsiteY15" fmla="*/ 762654 h 1652063"/>
                  <a:gd name="connsiteX16" fmla="*/ 7367468 w 10320635"/>
                  <a:gd name="connsiteY16" fmla="*/ 762654 h 1652063"/>
                  <a:gd name="connsiteX17" fmla="*/ 8431481 w 10320635"/>
                  <a:gd name="connsiteY17" fmla="*/ 788154 h 1652063"/>
                  <a:gd name="connsiteX18" fmla="*/ 9180636 w 10320635"/>
                  <a:gd name="connsiteY18" fmla="*/ 779648 h 1652063"/>
                  <a:gd name="connsiteX19" fmla="*/ 9712631 w 10320635"/>
                  <a:gd name="connsiteY19" fmla="*/ 771142 h 1652063"/>
                  <a:gd name="connsiteX20" fmla="*/ 10190354 w 10320635"/>
                  <a:gd name="connsiteY20" fmla="*/ 737154 h 1652063"/>
                  <a:gd name="connsiteX21" fmla="*/ 10320635 w 10320635"/>
                  <a:gd name="connsiteY21" fmla="*/ 754148 h 1652063"/>
                  <a:gd name="connsiteX22" fmla="*/ 10320635 w 10320635"/>
                  <a:gd name="connsiteY22" fmla="*/ 133791 h 1652063"/>
                  <a:gd name="connsiteX23" fmla="*/ 10136059 w 10320635"/>
                  <a:gd name="connsiteY23" fmla="*/ 65870 h 1652063"/>
                  <a:gd name="connsiteX24" fmla="*/ 9321763 w 10320635"/>
                  <a:gd name="connsiteY24" fmla="*/ 14889 h 1652063"/>
                  <a:gd name="connsiteX25" fmla="*/ 8735472 w 10320635"/>
                  <a:gd name="connsiteY25" fmla="*/ 108364 h 1652063"/>
                  <a:gd name="connsiteX26" fmla="*/ 7834322 w 10320635"/>
                  <a:gd name="connsiteY26" fmla="*/ 201839 h 1652063"/>
                  <a:gd name="connsiteX27" fmla="*/ 6868031 w 10320635"/>
                  <a:gd name="connsiteY27" fmla="*/ 201839 h 1652063"/>
                  <a:gd name="connsiteX28" fmla="*/ 5141741 w 10320635"/>
                  <a:gd name="connsiteY28" fmla="*/ 193333 h 1652063"/>
                  <a:gd name="connsiteX29" fmla="*/ 4056013 w 10320635"/>
                  <a:gd name="connsiteY29" fmla="*/ 65870 h 1652063"/>
                  <a:gd name="connsiteX30" fmla="*/ 2264581 w 10320635"/>
                  <a:gd name="connsiteY30" fmla="*/ 57364 h 1652063"/>
                  <a:gd name="connsiteX31" fmla="*/ 1724759 w 10320635"/>
                  <a:gd name="connsiteY31" fmla="*/ 66415 h 1652063"/>
                  <a:gd name="connsiteX0" fmla="*/ 1567192 w 10163068"/>
                  <a:gd name="connsiteY0" fmla="*/ 66415 h 1535484"/>
                  <a:gd name="connsiteX1" fmla="*/ 1449632 w 10163068"/>
                  <a:gd name="connsiteY1" fmla="*/ 625754 h 1535484"/>
                  <a:gd name="connsiteX2" fmla="*/ 76733 w 10163068"/>
                  <a:gd name="connsiteY2" fmla="*/ 1510401 h 1535484"/>
                  <a:gd name="connsiteX3" fmla="*/ 185301 w 10163068"/>
                  <a:gd name="connsiteY3" fmla="*/ 1229994 h 1535484"/>
                  <a:gd name="connsiteX4" fmla="*/ 293869 w 10163068"/>
                  <a:gd name="connsiteY4" fmla="*/ 873105 h 1535484"/>
                  <a:gd name="connsiteX5" fmla="*/ 445864 w 10163068"/>
                  <a:gd name="connsiteY5" fmla="*/ 737154 h 1535484"/>
                  <a:gd name="connsiteX6" fmla="*/ 749855 w 10163068"/>
                  <a:gd name="connsiteY6" fmla="*/ 737154 h 1535484"/>
                  <a:gd name="connsiteX7" fmla="*/ 1325278 w 10163068"/>
                  <a:gd name="connsiteY7" fmla="*/ 754148 h 1535484"/>
                  <a:gd name="connsiteX8" fmla="*/ 2465277 w 10163068"/>
                  <a:gd name="connsiteY8" fmla="*/ 754148 h 1535484"/>
                  <a:gd name="connsiteX9" fmla="*/ 3160136 w 10163068"/>
                  <a:gd name="connsiteY9" fmla="*/ 788136 h 1535484"/>
                  <a:gd name="connsiteX10" fmla="*/ 3616146 w 10163068"/>
                  <a:gd name="connsiteY10" fmla="*/ 728648 h 1535484"/>
                  <a:gd name="connsiteX11" fmla="*/ 4093868 w 10163068"/>
                  <a:gd name="connsiteY11" fmla="*/ 728648 h 1535484"/>
                  <a:gd name="connsiteX12" fmla="*/ 4864737 w 10163068"/>
                  <a:gd name="connsiteY12" fmla="*/ 771142 h 1535484"/>
                  <a:gd name="connsiteX13" fmla="*/ 5744173 w 10163068"/>
                  <a:gd name="connsiteY13" fmla="*/ 754148 h 1535484"/>
                  <a:gd name="connsiteX14" fmla="*/ 6373891 w 10163068"/>
                  <a:gd name="connsiteY14" fmla="*/ 762654 h 1535484"/>
                  <a:gd name="connsiteX15" fmla="*/ 7209901 w 10163068"/>
                  <a:gd name="connsiteY15" fmla="*/ 762654 h 1535484"/>
                  <a:gd name="connsiteX16" fmla="*/ 8273914 w 10163068"/>
                  <a:gd name="connsiteY16" fmla="*/ 788154 h 1535484"/>
                  <a:gd name="connsiteX17" fmla="*/ 9023069 w 10163068"/>
                  <a:gd name="connsiteY17" fmla="*/ 779648 h 1535484"/>
                  <a:gd name="connsiteX18" fmla="*/ 9555064 w 10163068"/>
                  <a:gd name="connsiteY18" fmla="*/ 771142 h 1535484"/>
                  <a:gd name="connsiteX19" fmla="*/ 10032787 w 10163068"/>
                  <a:gd name="connsiteY19" fmla="*/ 737154 h 1535484"/>
                  <a:gd name="connsiteX20" fmla="*/ 10163068 w 10163068"/>
                  <a:gd name="connsiteY20" fmla="*/ 754148 h 1535484"/>
                  <a:gd name="connsiteX21" fmla="*/ 10163068 w 10163068"/>
                  <a:gd name="connsiteY21" fmla="*/ 133791 h 1535484"/>
                  <a:gd name="connsiteX22" fmla="*/ 9978492 w 10163068"/>
                  <a:gd name="connsiteY22" fmla="*/ 65870 h 1535484"/>
                  <a:gd name="connsiteX23" fmla="*/ 9164196 w 10163068"/>
                  <a:gd name="connsiteY23" fmla="*/ 14889 h 1535484"/>
                  <a:gd name="connsiteX24" fmla="*/ 8577905 w 10163068"/>
                  <a:gd name="connsiteY24" fmla="*/ 108364 h 1535484"/>
                  <a:gd name="connsiteX25" fmla="*/ 7676755 w 10163068"/>
                  <a:gd name="connsiteY25" fmla="*/ 201839 h 1535484"/>
                  <a:gd name="connsiteX26" fmla="*/ 6710464 w 10163068"/>
                  <a:gd name="connsiteY26" fmla="*/ 201839 h 1535484"/>
                  <a:gd name="connsiteX27" fmla="*/ 4984174 w 10163068"/>
                  <a:gd name="connsiteY27" fmla="*/ 193333 h 1535484"/>
                  <a:gd name="connsiteX28" fmla="*/ 3898446 w 10163068"/>
                  <a:gd name="connsiteY28" fmla="*/ 65870 h 1535484"/>
                  <a:gd name="connsiteX29" fmla="*/ 2107014 w 10163068"/>
                  <a:gd name="connsiteY29" fmla="*/ 57364 h 1535484"/>
                  <a:gd name="connsiteX30" fmla="*/ 1567192 w 10163068"/>
                  <a:gd name="connsiteY30" fmla="*/ 66415 h 1535484"/>
                  <a:gd name="connsiteX0" fmla="*/ 1453651 w 10049527"/>
                  <a:gd name="connsiteY0" fmla="*/ 66415 h 1233597"/>
                  <a:gd name="connsiteX1" fmla="*/ 1336091 w 10049527"/>
                  <a:gd name="connsiteY1" fmla="*/ 625754 h 1233597"/>
                  <a:gd name="connsiteX2" fmla="*/ 71760 w 10049527"/>
                  <a:gd name="connsiteY2" fmla="*/ 1229994 h 1233597"/>
                  <a:gd name="connsiteX3" fmla="*/ 180328 w 10049527"/>
                  <a:gd name="connsiteY3" fmla="*/ 873105 h 1233597"/>
                  <a:gd name="connsiteX4" fmla="*/ 332323 w 10049527"/>
                  <a:gd name="connsiteY4" fmla="*/ 737154 h 1233597"/>
                  <a:gd name="connsiteX5" fmla="*/ 636314 w 10049527"/>
                  <a:gd name="connsiteY5" fmla="*/ 737154 h 1233597"/>
                  <a:gd name="connsiteX6" fmla="*/ 1211737 w 10049527"/>
                  <a:gd name="connsiteY6" fmla="*/ 754148 h 1233597"/>
                  <a:gd name="connsiteX7" fmla="*/ 2351736 w 10049527"/>
                  <a:gd name="connsiteY7" fmla="*/ 754148 h 1233597"/>
                  <a:gd name="connsiteX8" fmla="*/ 3046595 w 10049527"/>
                  <a:gd name="connsiteY8" fmla="*/ 788136 h 1233597"/>
                  <a:gd name="connsiteX9" fmla="*/ 3502605 w 10049527"/>
                  <a:gd name="connsiteY9" fmla="*/ 728648 h 1233597"/>
                  <a:gd name="connsiteX10" fmla="*/ 3980327 w 10049527"/>
                  <a:gd name="connsiteY10" fmla="*/ 728648 h 1233597"/>
                  <a:gd name="connsiteX11" fmla="*/ 4751196 w 10049527"/>
                  <a:gd name="connsiteY11" fmla="*/ 771142 h 1233597"/>
                  <a:gd name="connsiteX12" fmla="*/ 5630632 w 10049527"/>
                  <a:gd name="connsiteY12" fmla="*/ 754148 h 1233597"/>
                  <a:gd name="connsiteX13" fmla="*/ 6260350 w 10049527"/>
                  <a:gd name="connsiteY13" fmla="*/ 762654 h 1233597"/>
                  <a:gd name="connsiteX14" fmla="*/ 7096360 w 10049527"/>
                  <a:gd name="connsiteY14" fmla="*/ 762654 h 1233597"/>
                  <a:gd name="connsiteX15" fmla="*/ 8160373 w 10049527"/>
                  <a:gd name="connsiteY15" fmla="*/ 788154 h 1233597"/>
                  <a:gd name="connsiteX16" fmla="*/ 8909528 w 10049527"/>
                  <a:gd name="connsiteY16" fmla="*/ 779648 h 1233597"/>
                  <a:gd name="connsiteX17" fmla="*/ 9441523 w 10049527"/>
                  <a:gd name="connsiteY17" fmla="*/ 771142 h 1233597"/>
                  <a:gd name="connsiteX18" fmla="*/ 9919246 w 10049527"/>
                  <a:gd name="connsiteY18" fmla="*/ 737154 h 1233597"/>
                  <a:gd name="connsiteX19" fmla="*/ 10049527 w 10049527"/>
                  <a:gd name="connsiteY19" fmla="*/ 754148 h 1233597"/>
                  <a:gd name="connsiteX20" fmla="*/ 10049527 w 10049527"/>
                  <a:gd name="connsiteY20" fmla="*/ 133791 h 1233597"/>
                  <a:gd name="connsiteX21" fmla="*/ 9864951 w 10049527"/>
                  <a:gd name="connsiteY21" fmla="*/ 65870 h 1233597"/>
                  <a:gd name="connsiteX22" fmla="*/ 9050655 w 10049527"/>
                  <a:gd name="connsiteY22" fmla="*/ 14889 h 1233597"/>
                  <a:gd name="connsiteX23" fmla="*/ 8464364 w 10049527"/>
                  <a:gd name="connsiteY23" fmla="*/ 108364 h 1233597"/>
                  <a:gd name="connsiteX24" fmla="*/ 7563214 w 10049527"/>
                  <a:gd name="connsiteY24" fmla="*/ 201839 h 1233597"/>
                  <a:gd name="connsiteX25" fmla="*/ 6596923 w 10049527"/>
                  <a:gd name="connsiteY25" fmla="*/ 201839 h 1233597"/>
                  <a:gd name="connsiteX26" fmla="*/ 4870633 w 10049527"/>
                  <a:gd name="connsiteY26" fmla="*/ 193333 h 1233597"/>
                  <a:gd name="connsiteX27" fmla="*/ 3784905 w 10049527"/>
                  <a:gd name="connsiteY27" fmla="*/ 65870 h 1233597"/>
                  <a:gd name="connsiteX28" fmla="*/ 1993473 w 10049527"/>
                  <a:gd name="connsiteY28" fmla="*/ 57364 h 1233597"/>
                  <a:gd name="connsiteX29" fmla="*/ 1453651 w 10049527"/>
                  <a:gd name="connsiteY29" fmla="*/ 66415 h 1233597"/>
                  <a:gd name="connsiteX0" fmla="*/ 1428093 w 10023969"/>
                  <a:gd name="connsiteY0" fmla="*/ 66415 h 1230579"/>
                  <a:gd name="connsiteX1" fmla="*/ 1310533 w 10023969"/>
                  <a:gd name="connsiteY1" fmla="*/ 625754 h 1230579"/>
                  <a:gd name="connsiteX2" fmla="*/ 46202 w 10023969"/>
                  <a:gd name="connsiteY2" fmla="*/ 1229994 h 1230579"/>
                  <a:gd name="connsiteX3" fmla="*/ 306765 w 10023969"/>
                  <a:gd name="connsiteY3" fmla="*/ 737154 h 1230579"/>
                  <a:gd name="connsiteX4" fmla="*/ 610756 w 10023969"/>
                  <a:gd name="connsiteY4" fmla="*/ 737154 h 1230579"/>
                  <a:gd name="connsiteX5" fmla="*/ 1186179 w 10023969"/>
                  <a:gd name="connsiteY5" fmla="*/ 754148 h 1230579"/>
                  <a:gd name="connsiteX6" fmla="*/ 2326178 w 10023969"/>
                  <a:gd name="connsiteY6" fmla="*/ 754148 h 1230579"/>
                  <a:gd name="connsiteX7" fmla="*/ 3021037 w 10023969"/>
                  <a:gd name="connsiteY7" fmla="*/ 788136 h 1230579"/>
                  <a:gd name="connsiteX8" fmla="*/ 3477047 w 10023969"/>
                  <a:gd name="connsiteY8" fmla="*/ 728648 h 1230579"/>
                  <a:gd name="connsiteX9" fmla="*/ 3954769 w 10023969"/>
                  <a:gd name="connsiteY9" fmla="*/ 728648 h 1230579"/>
                  <a:gd name="connsiteX10" fmla="*/ 4725638 w 10023969"/>
                  <a:gd name="connsiteY10" fmla="*/ 771142 h 1230579"/>
                  <a:gd name="connsiteX11" fmla="*/ 5605074 w 10023969"/>
                  <a:gd name="connsiteY11" fmla="*/ 754148 h 1230579"/>
                  <a:gd name="connsiteX12" fmla="*/ 6234792 w 10023969"/>
                  <a:gd name="connsiteY12" fmla="*/ 762654 h 1230579"/>
                  <a:gd name="connsiteX13" fmla="*/ 7070802 w 10023969"/>
                  <a:gd name="connsiteY13" fmla="*/ 762654 h 1230579"/>
                  <a:gd name="connsiteX14" fmla="*/ 8134815 w 10023969"/>
                  <a:gd name="connsiteY14" fmla="*/ 788154 h 1230579"/>
                  <a:gd name="connsiteX15" fmla="*/ 8883970 w 10023969"/>
                  <a:gd name="connsiteY15" fmla="*/ 779648 h 1230579"/>
                  <a:gd name="connsiteX16" fmla="*/ 9415965 w 10023969"/>
                  <a:gd name="connsiteY16" fmla="*/ 771142 h 1230579"/>
                  <a:gd name="connsiteX17" fmla="*/ 9893688 w 10023969"/>
                  <a:gd name="connsiteY17" fmla="*/ 737154 h 1230579"/>
                  <a:gd name="connsiteX18" fmla="*/ 10023969 w 10023969"/>
                  <a:gd name="connsiteY18" fmla="*/ 754148 h 1230579"/>
                  <a:gd name="connsiteX19" fmla="*/ 10023969 w 10023969"/>
                  <a:gd name="connsiteY19" fmla="*/ 133791 h 1230579"/>
                  <a:gd name="connsiteX20" fmla="*/ 9839393 w 10023969"/>
                  <a:gd name="connsiteY20" fmla="*/ 65870 h 1230579"/>
                  <a:gd name="connsiteX21" fmla="*/ 9025097 w 10023969"/>
                  <a:gd name="connsiteY21" fmla="*/ 14889 h 1230579"/>
                  <a:gd name="connsiteX22" fmla="*/ 8438806 w 10023969"/>
                  <a:gd name="connsiteY22" fmla="*/ 108364 h 1230579"/>
                  <a:gd name="connsiteX23" fmla="*/ 7537656 w 10023969"/>
                  <a:gd name="connsiteY23" fmla="*/ 201839 h 1230579"/>
                  <a:gd name="connsiteX24" fmla="*/ 6571365 w 10023969"/>
                  <a:gd name="connsiteY24" fmla="*/ 201839 h 1230579"/>
                  <a:gd name="connsiteX25" fmla="*/ 4845075 w 10023969"/>
                  <a:gd name="connsiteY25" fmla="*/ 193333 h 1230579"/>
                  <a:gd name="connsiteX26" fmla="*/ 3759347 w 10023969"/>
                  <a:gd name="connsiteY26" fmla="*/ 65870 h 1230579"/>
                  <a:gd name="connsiteX27" fmla="*/ 1967915 w 10023969"/>
                  <a:gd name="connsiteY27" fmla="*/ 57364 h 1230579"/>
                  <a:gd name="connsiteX28" fmla="*/ 1428093 w 10023969"/>
                  <a:gd name="connsiteY28" fmla="*/ 66415 h 1230579"/>
                  <a:gd name="connsiteX0" fmla="*/ 1143230 w 9739106"/>
                  <a:gd name="connsiteY0" fmla="*/ 66415 h 797578"/>
                  <a:gd name="connsiteX1" fmla="*/ 1025670 w 9739106"/>
                  <a:gd name="connsiteY1" fmla="*/ 625754 h 797578"/>
                  <a:gd name="connsiteX2" fmla="*/ 21902 w 9739106"/>
                  <a:gd name="connsiteY2" fmla="*/ 737154 h 797578"/>
                  <a:gd name="connsiteX3" fmla="*/ 325893 w 9739106"/>
                  <a:gd name="connsiteY3" fmla="*/ 737154 h 797578"/>
                  <a:gd name="connsiteX4" fmla="*/ 901316 w 9739106"/>
                  <a:gd name="connsiteY4" fmla="*/ 754148 h 797578"/>
                  <a:gd name="connsiteX5" fmla="*/ 2041315 w 9739106"/>
                  <a:gd name="connsiteY5" fmla="*/ 754148 h 797578"/>
                  <a:gd name="connsiteX6" fmla="*/ 2736174 w 9739106"/>
                  <a:gd name="connsiteY6" fmla="*/ 788136 h 797578"/>
                  <a:gd name="connsiteX7" fmla="*/ 3192184 w 9739106"/>
                  <a:gd name="connsiteY7" fmla="*/ 728648 h 797578"/>
                  <a:gd name="connsiteX8" fmla="*/ 3669906 w 9739106"/>
                  <a:gd name="connsiteY8" fmla="*/ 728648 h 797578"/>
                  <a:gd name="connsiteX9" fmla="*/ 4440775 w 9739106"/>
                  <a:gd name="connsiteY9" fmla="*/ 771142 h 797578"/>
                  <a:gd name="connsiteX10" fmla="*/ 5320211 w 9739106"/>
                  <a:gd name="connsiteY10" fmla="*/ 754148 h 797578"/>
                  <a:gd name="connsiteX11" fmla="*/ 5949929 w 9739106"/>
                  <a:gd name="connsiteY11" fmla="*/ 762654 h 797578"/>
                  <a:gd name="connsiteX12" fmla="*/ 6785939 w 9739106"/>
                  <a:gd name="connsiteY12" fmla="*/ 762654 h 797578"/>
                  <a:gd name="connsiteX13" fmla="*/ 7849952 w 9739106"/>
                  <a:gd name="connsiteY13" fmla="*/ 788154 h 797578"/>
                  <a:gd name="connsiteX14" fmla="*/ 8599107 w 9739106"/>
                  <a:gd name="connsiteY14" fmla="*/ 779648 h 797578"/>
                  <a:gd name="connsiteX15" fmla="*/ 9131102 w 9739106"/>
                  <a:gd name="connsiteY15" fmla="*/ 771142 h 797578"/>
                  <a:gd name="connsiteX16" fmla="*/ 9608825 w 9739106"/>
                  <a:gd name="connsiteY16" fmla="*/ 737154 h 797578"/>
                  <a:gd name="connsiteX17" fmla="*/ 9739106 w 9739106"/>
                  <a:gd name="connsiteY17" fmla="*/ 754148 h 797578"/>
                  <a:gd name="connsiteX18" fmla="*/ 9739106 w 9739106"/>
                  <a:gd name="connsiteY18" fmla="*/ 133791 h 797578"/>
                  <a:gd name="connsiteX19" fmla="*/ 9554530 w 9739106"/>
                  <a:gd name="connsiteY19" fmla="*/ 65870 h 797578"/>
                  <a:gd name="connsiteX20" fmla="*/ 8740234 w 9739106"/>
                  <a:gd name="connsiteY20" fmla="*/ 14889 h 797578"/>
                  <a:gd name="connsiteX21" fmla="*/ 8153943 w 9739106"/>
                  <a:gd name="connsiteY21" fmla="*/ 108364 h 797578"/>
                  <a:gd name="connsiteX22" fmla="*/ 7252793 w 9739106"/>
                  <a:gd name="connsiteY22" fmla="*/ 201839 h 797578"/>
                  <a:gd name="connsiteX23" fmla="*/ 6286502 w 9739106"/>
                  <a:gd name="connsiteY23" fmla="*/ 201839 h 797578"/>
                  <a:gd name="connsiteX24" fmla="*/ 4560212 w 9739106"/>
                  <a:gd name="connsiteY24" fmla="*/ 193333 h 797578"/>
                  <a:gd name="connsiteX25" fmla="*/ 3474484 w 9739106"/>
                  <a:gd name="connsiteY25" fmla="*/ 65870 h 797578"/>
                  <a:gd name="connsiteX26" fmla="*/ 1683052 w 9739106"/>
                  <a:gd name="connsiteY26" fmla="*/ 57364 h 797578"/>
                  <a:gd name="connsiteX27" fmla="*/ 1143230 w 9739106"/>
                  <a:gd name="connsiteY27" fmla="*/ 66415 h 797578"/>
                  <a:gd name="connsiteX0" fmla="*/ 817337 w 9413213"/>
                  <a:gd name="connsiteY0" fmla="*/ 66415 h 797576"/>
                  <a:gd name="connsiteX1" fmla="*/ 699777 w 9413213"/>
                  <a:gd name="connsiteY1" fmla="*/ 625754 h 797576"/>
                  <a:gd name="connsiteX2" fmla="*/ 0 w 9413213"/>
                  <a:gd name="connsiteY2" fmla="*/ 737154 h 797576"/>
                  <a:gd name="connsiteX3" fmla="*/ 575423 w 9413213"/>
                  <a:gd name="connsiteY3" fmla="*/ 754148 h 797576"/>
                  <a:gd name="connsiteX4" fmla="*/ 1715422 w 9413213"/>
                  <a:gd name="connsiteY4" fmla="*/ 754148 h 797576"/>
                  <a:gd name="connsiteX5" fmla="*/ 2410281 w 9413213"/>
                  <a:gd name="connsiteY5" fmla="*/ 788136 h 797576"/>
                  <a:gd name="connsiteX6" fmla="*/ 2866291 w 9413213"/>
                  <a:gd name="connsiteY6" fmla="*/ 728648 h 797576"/>
                  <a:gd name="connsiteX7" fmla="*/ 3344013 w 9413213"/>
                  <a:gd name="connsiteY7" fmla="*/ 728648 h 797576"/>
                  <a:gd name="connsiteX8" fmla="*/ 4114882 w 9413213"/>
                  <a:gd name="connsiteY8" fmla="*/ 771142 h 797576"/>
                  <a:gd name="connsiteX9" fmla="*/ 4994318 w 9413213"/>
                  <a:gd name="connsiteY9" fmla="*/ 754148 h 797576"/>
                  <a:gd name="connsiteX10" fmla="*/ 5624036 w 9413213"/>
                  <a:gd name="connsiteY10" fmla="*/ 762654 h 797576"/>
                  <a:gd name="connsiteX11" fmla="*/ 6460046 w 9413213"/>
                  <a:gd name="connsiteY11" fmla="*/ 762654 h 797576"/>
                  <a:gd name="connsiteX12" fmla="*/ 7524059 w 9413213"/>
                  <a:gd name="connsiteY12" fmla="*/ 788154 h 797576"/>
                  <a:gd name="connsiteX13" fmla="*/ 8273214 w 9413213"/>
                  <a:gd name="connsiteY13" fmla="*/ 779648 h 797576"/>
                  <a:gd name="connsiteX14" fmla="*/ 8805209 w 9413213"/>
                  <a:gd name="connsiteY14" fmla="*/ 771142 h 797576"/>
                  <a:gd name="connsiteX15" fmla="*/ 9282932 w 9413213"/>
                  <a:gd name="connsiteY15" fmla="*/ 737154 h 797576"/>
                  <a:gd name="connsiteX16" fmla="*/ 9413213 w 9413213"/>
                  <a:gd name="connsiteY16" fmla="*/ 754148 h 797576"/>
                  <a:gd name="connsiteX17" fmla="*/ 9413213 w 9413213"/>
                  <a:gd name="connsiteY17" fmla="*/ 133791 h 797576"/>
                  <a:gd name="connsiteX18" fmla="*/ 9228637 w 9413213"/>
                  <a:gd name="connsiteY18" fmla="*/ 65870 h 797576"/>
                  <a:gd name="connsiteX19" fmla="*/ 8414341 w 9413213"/>
                  <a:gd name="connsiteY19" fmla="*/ 14889 h 797576"/>
                  <a:gd name="connsiteX20" fmla="*/ 7828050 w 9413213"/>
                  <a:gd name="connsiteY20" fmla="*/ 108364 h 797576"/>
                  <a:gd name="connsiteX21" fmla="*/ 6926900 w 9413213"/>
                  <a:gd name="connsiteY21" fmla="*/ 201839 h 797576"/>
                  <a:gd name="connsiteX22" fmla="*/ 5960609 w 9413213"/>
                  <a:gd name="connsiteY22" fmla="*/ 201839 h 797576"/>
                  <a:gd name="connsiteX23" fmla="*/ 4234319 w 9413213"/>
                  <a:gd name="connsiteY23" fmla="*/ 193333 h 797576"/>
                  <a:gd name="connsiteX24" fmla="*/ 3148591 w 9413213"/>
                  <a:gd name="connsiteY24" fmla="*/ 65870 h 797576"/>
                  <a:gd name="connsiteX25" fmla="*/ 1357159 w 9413213"/>
                  <a:gd name="connsiteY25" fmla="*/ 57364 h 797576"/>
                  <a:gd name="connsiteX26" fmla="*/ 817337 w 9413213"/>
                  <a:gd name="connsiteY26" fmla="*/ 66415 h 797576"/>
                  <a:gd name="connsiteX0" fmla="*/ 299581 w 8895457"/>
                  <a:gd name="connsiteY0" fmla="*/ 66415 h 797578"/>
                  <a:gd name="connsiteX1" fmla="*/ 182021 w 8895457"/>
                  <a:gd name="connsiteY1" fmla="*/ 625754 h 797578"/>
                  <a:gd name="connsiteX2" fmla="*/ 57667 w 8895457"/>
                  <a:gd name="connsiteY2" fmla="*/ 754148 h 797578"/>
                  <a:gd name="connsiteX3" fmla="*/ 1197666 w 8895457"/>
                  <a:gd name="connsiteY3" fmla="*/ 754148 h 797578"/>
                  <a:gd name="connsiteX4" fmla="*/ 1892525 w 8895457"/>
                  <a:gd name="connsiteY4" fmla="*/ 788136 h 797578"/>
                  <a:gd name="connsiteX5" fmla="*/ 2348535 w 8895457"/>
                  <a:gd name="connsiteY5" fmla="*/ 728648 h 797578"/>
                  <a:gd name="connsiteX6" fmla="*/ 2826257 w 8895457"/>
                  <a:gd name="connsiteY6" fmla="*/ 728648 h 797578"/>
                  <a:gd name="connsiteX7" fmla="*/ 3597126 w 8895457"/>
                  <a:gd name="connsiteY7" fmla="*/ 771142 h 797578"/>
                  <a:gd name="connsiteX8" fmla="*/ 4476562 w 8895457"/>
                  <a:gd name="connsiteY8" fmla="*/ 754148 h 797578"/>
                  <a:gd name="connsiteX9" fmla="*/ 5106280 w 8895457"/>
                  <a:gd name="connsiteY9" fmla="*/ 762654 h 797578"/>
                  <a:gd name="connsiteX10" fmla="*/ 5942290 w 8895457"/>
                  <a:gd name="connsiteY10" fmla="*/ 762654 h 797578"/>
                  <a:gd name="connsiteX11" fmla="*/ 7006303 w 8895457"/>
                  <a:gd name="connsiteY11" fmla="*/ 788154 h 797578"/>
                  <a:gd name="connsiteX12" fmla="*/ 7755458 w 8895457"/>
                  <a:gd name="connsiteY12" fmla="*/ 779648 h 797578"/>
                  <a:gd name="connsiteX13" fmla="*/ 8287453 w 8895457"/>
                  <a:gd name="connsiteY13" fmla="*/ 771142 h 797578"/>
                  <a:gd name="connsiteX14" fmla="*/ 8765176 w 8895457"/>
                  <a:gd name="connsiteY14" fmla="*/ 737154 h 797578"/>
                  <a:gd name="connsiteX15" fmla="*/ 8895457 w 8895457"/>
                  <a:gd name="connsiteY15" fmla="*/ 754148 h 797578"/>
                  <a:gd name="connsiteX16" fmla="*/ 8895457 w 8895457"/>
                  <a:gd name="connsiteY16" fmla="*/ 133791 h 797578"/>
                  <a:gd name="connsiteX17" fmla="*/ 8710881 w 8895457"/>
                  <a:gd name="connsiteY17" fmla="*/ 65870 h 797578"/>
                  <a:gd name="connsiteX18" fmla="*/ 7896585 w 8895457"/>
                  <a:gd name="connsiteY18" fmla="*/ 14889 h 797578"/>
                  <a:gd name="connsiteX19" fmla="*/ 7310294 w 8895457"/>
                  <a:gd name="connsiteY19" fmla="*/ 108364 h 797578"/>
                  <a:gd name="connsiteX20" fmla="*/ 6409144 w 8895457"/>
                  <a:gd name="connsiteY20" fmla="*/ 201839 h 797578"/>
                  <a:gd name="connsiteX21" fmla="*/ 5442853 w 8895457"/>
                  <a:gd name="connsiteY21" fmla="*/ 201839 h 797578"/>
                  <a:gd name="connsiteX22" fmla="*/ 3716563 w 8895457"/>
                  <a:gd name="connsiteY22" fmla="*/ 193333 h 797578"/>
                  <a:gd name="connsiteX23" fmla="*/ 2630835 w 8895457"/>
                  <a:gd name="connsiteY23" fmla="*/ 65870 h 797578"/>
                  <a:gd name="connsiteX24" fmla="*/ 839403 w 8895457"/>
                  <a:gd name="connsiteY24" fmla="*/ 57364 h 797578"/>
                  <a:gd name="connsiteX25" fmla="*/ 299581 w 8895457"/>
                  <a:gd name="connsiteY25" fmla="*/ 66415 h 797578"/>
                  <a:gd name="connsiteX0" fmla="*/ 300385 w 8896261"/>
                  <a:gd name="connsiteY0" fmla="*/ 66415 h 797969"/>
                  <a:gd name="connsiteX1" fmla="*/ 182825 w 8896261"/>
                  <a:gd name="connsiteY1" fmla="*/ 625754 h 797969"/>
                  <a:gd name="connsiteX2" fmla="*/ 1198470 w 8896261"/>
                  <a:gd name="connsiteY2" fmla="*/ 754148 h 797969"/>
                  <a:gd name="connsiteX3" fmla="*/ 1893329 w 8896261"/>
                  <a:gd name="connsiteY3" fmla="*/ 788136 h 797969"/>
                  <a:gd name="connsiteX4" fmla="*/ 2349339 w 8896261"/>
                  <a:gd name="connsiteY4" fmla="*/ 728648 h 797969"/>
                  <a:gd name="connsiteX5" fmla="*/ 2827061 w 8896261"/>
                  <a:gd name="connsiteY5" fmla="*/ 728648 h 797969"/>
                  <a:gd name="connsiteX6" fmla="*/ 3597930 w 8896261"/>
                  <a:gd name="connsiteY6" fmla="*/ 771142 h 797969"/>
                  <a:gd name="connsiteX7" fmla="*/ 4477366 w 8896261"/>
                  <a:gd name="connsiteY7" fmla="*/ 754148 h 797969"/>
                  <a:gd name="connsiteX8" fmla="*/ 5107084 w 8896261"/>
                  <a:gd name="connsiteY8" fmla="*/ 762654 h 797969"/>
                  <a:gd name="connsiteX9" fmla="*/ 5943094 w 8896261"/>
                  <a:gd name="connsiteY9" fmla="*/ 762654 h 797969"/>
                  <a:gd name="connsiteX10" fmla="*/ 7007107 w 8896261"/>
                  <a:gd name="connsiteY10" fmla="*/ 788154 h 797969"/>
                  <a:gd name="connsiteX11" fmla="*/ 7756262 w 8896261"/>
                  <a:gd name="connsiteY11" fmla="*/ 779648 h 797969"/>
                  <a:gd name="connsiteX12" fmla="*/ 8288257 w 8896261"/>
                  <a:gd name="connsiteY12" fmla="*/ 771142 h 797969"/>
                  <a:gd name="connsiteX13" fmla="*/ 8765980 w 8896261"/>
                  <a:gd name="connsiteY13" fmla="*/ 737154 h 797969"/>
                  <a:gd name="connsiteX14" fmla="*/ 8896261 w 8896261"/>
                  <a:gd name="connsiteY14" fmla="*/ 754148 h 797969"/>
                  <a:gd name="connsiteX15" fmla="*/ 8896261 w 8896261"/>
                  <a:gd name="connsiteY15" fmla="*/ 133791 h 797969"/>
                  <a:gd name="connsiteX16" fmla="*/ 8711685 w 8896261"/>
                  <a:gd name="connsiteY16" fmla="*/ 65870 h 797969"/>
                  <a:gd name="connsiteX17" fmla="*/ 7897389 w 8896261"/>
                  <a:gd name="connsiteY17" fmla="*/ 14889 h 797969"/>
                  <a:gd name="connsiteX18" fmla="*/ 7311098 w 8896261"/>
                  <a:gd name="connsiteY18" fmla="*/ 108364 h 797969"/>
                  <a:gd name="connsiteX19" fmla="*/ 6409948 w 8896261"/>
                  <a:gd name="connsiteY19" fmla="*/ 201839 h 797969"/>
                  <a:gd name="connsiteX20" fmla="*/ 5443657 w 8896261"/>
                  <a:gd name="connsiteY20" fmla="*/ 201839 h 797969"/>
                  <a:gd name="connsiteX21" fmla="*/ 3717367 w 8896261"/>
                  <a:gd name="connsiteY21" fmla="*/ 193333 h 797969"/>
                  <a:gd name="connsiteX22" fmla="*/ 2631639 w 8896261"/>
                  <a:gd name="connsiteY22" fmla="*/ 65870 h 797969"/>
                  <a:gd name="connsiteX23" fmla="*/ 840207 w 8896261"/>
                  <a:gd name="connsiteY23" fmla="*/ 57364 h 797969"/>
                  <a:gd name="connsiteX24" fmla="*/ 300385 w 8896261"/>
                  <a:gd name="connsiteY24" fmla="*/ 66415 h 797969"/>
                  <a:gd name="connsiteX0" fmla="*/ 263649 w 8859525"/>
                  <a:gd name="connsiteY0" fmla="*/ 66415 h 795901"/>
                  <a:gd name="connsiteX1" fmla="*/ 238952 w 8859525"/>
                  <a:gd name="connsiteY1" fmla="*/ 726571 h 795901"/>
                  <a:gd name="connsiteX2" fmla="*/ 1161734 w 8859525"/>
                  <a:gd name="connsiteY2" fmla="*/ 754148 h 795901"/>
                  <a:gd name="connsiteX3" fmla="*/ 1856593 w 8859525"/>
                  <a:gd name="connsiteY3" fmla="*/ 788136 h 795901"/>
                  <a:gd name="connsiteX4" fmla="*/ 2312603 w 8859525"/>
                  <a:gd name="connsiteY4" fmla="*/ 728648 h 795901"/>
                  <a:gd name="connsiteX5" fmla="*/ 2790325 w 8859525"/>
                  <a:gd name="connsiteY5" fmla="*/ 728648 h 795901"/>
                  <a:gd name="connsiteX6" fmla="*/ 3561194 w 8859525"/>
                  <a:gd name="connsiteY6" fmla="*/ 771142 h 795901"/>
                  <a:gd name="connsiteX7" fmla="*/ 4440630 w 8859525"/>
                  <a:gd name="connsiteY7" fmla="*/ 754148 h 795901"/>
                  <a:gd name="connsiteX8" fmla="*/ 5070348 w 8859525"/>
                  <a:gd name="connsiteY8" fmla="*/ 762654 h 795901"/>
                  <a:gd name="connsiteX9" fmla="*/ 5906358 w 8859525"/>
                  <a:gd name="connsiteY9" fmla="*/ 762654 h 795901"/>
                  <a:gd name="connsiteX10" fmla="*/ 6970371 w 8859525"/>
                  <a:gd name="connsiteY10" fmla="*/ 788154 h 795901"/>
                  <a:gd name="connsiteX11" fmla="*/ 7719526 w 8859525"/>
                  <a:gd name="connsiteY11" fmla="*/ 779648 h 795901"/>
                  <a:gd name="connsiteX12" fmla="*/ 8251521 w 8859525"/>
                  <a:gd name="connsiteY12" fmla="*/ 771142 h 795901"/>
                  <a:gd name="connsiteX13" fmla="*/ 8729244 w 8859525"/>
                  <a:gd name="connsiteY13" fmla="*/ 737154 h 795901"/>
                  <a:gd name="connsiteX14" fmla="*/ 8859525 w 8859525"/>
                  <a:gd name="connsiteY14" fmla="*/ 754148 h 795901"/>
                  <a:gd name="connsiteX15" fmla="*/ 8859525 w 8859525"/>
                  <a:gd name="connsiteY15" fmla="*/ 133791 h 795901"/>
                  <a:gd name="connsiteX16" fmla="*/ 8674949 w 8859525"/>
                  <a:gd name="connsiteY16" fmla="*/ 65870 h 795901"/>
                  <a:gd name="connsiteX17" fmla="*/ 7860653 w 8859525"/>
                  <a:gd name="connsiteY17" fmla="*/ 14889 h 795901"/>
                  <a:gd name="connsiteX18" fmla="*/ 7274362 w 8859525"/>
                  <a:gd name="connsiteY18" fmla="*/ 108364 h 795901"/>
                  <a:gd name="connsiteX19" fmla="*/ 6373212 w 8859525"/>
                  <a:gd name="connsiteY19" fmla="*/ 201839 h 795901"/>
                  <a:gd name="connsiteX20" fmla="*/ 5406921 w 8859525"/>
                  <a:gd name="connsiteY20" fmla="*/ 201839 h 795901"/>
                  <a:gd name="connsiteX21" fmla="*/ 3680631 w 8859525"/>
                  <a:gd name="connsiteY21" fmla="*/ 193333 h 795901"/>
                  <a:gd name="connsiteX22" fmla="*/ 2594903 w 8859525"/>
                  <a:gd name="connsiteY22" fmla="*/ 65870 h 795901"/>
                  <a:gd name="connsiteX23" fmla="*/ 803471 w 8859525"/>
                  <a:gd name="connsiteY23" fmla="*/ 57364 h 795901"/>
                  <a:gd name="connsiteX24" fmla="*/ 263649 w 8859525"/>
                  <a:gd name="connsiteY24" fmla="*/ 66415 h 795901"/>
                  <a:gd name="connsiteX0" fmla="*/ 224684 w 8820560"/>
                  <a:gd name="connsiteY0" fmla="*/ 66415 h 815564"/>
                  <a:gd name="connsiteX1" fmla="*/ 199987 w 8820560"/>
                  <a:gd name="connsiteY1" fmla="*/ 726571 h 815564"/>
                  <a:gd name="connsiteX2" fmla="*/ 1122769 w 8820560"/>
                  <a:gd name="connsiteY2" fmla="*/ 754148 h 815564"/>
                  <a:gd name="connsiteX3" fmla="*/ 1817628 w 8820560"/>
                  <a:gd name="connsiteY3" fmla="*/ 788136 h 815564"/>
                  <a:gd name="connsiteX4" fmla="*/ 2273638 w 8820560"/>
                  <a:gd name="connsiteY4" fmla="*/ 728648 h 815564"/>
                  <a:gd name="connsiteX5" fmla="*/ 2751360 w 8820560"/>
                  <a:gd name="connsiteY5" fmla="*/ 728648 h 815564"/>
                  <a:gd name="connsiteX6" fmla="*/ 3522229 w 8820560"/>
                  <a:gd name="connsiteY6" fmla="*/ 771142 h 815564"/>
                  <a:gd name="connsiteX7" fmla="*/ 4401665 w 8820560"/>
                  <a:gd name="connsiteY7" fmla="*/ 754148 h 815564"/>
                  <a:gd name="connsiteX8" fmla="*/ 5031383 w 8820560"/>
                  <a:gd name="connsiteY8" fmla="*/ 762654 h 815564"/>
                  <a:gd name="connsiteX9" fmla="*/ 5867393 w 8820560"/>
                  <a:gd name="connsiteY9" fmla="*/ 762654 h 815564"/>
                  <a:gd name="connsiteX10" fmla="*/ 6931406 w 8820560"/>
                  <a:gd name="connsiteY10" fmla="*/ 788154 h 815564"/>
                  <a:gd name="connsiteX11" fmla="*/ 7680561 w 8820560"/>
                  <a:gd name="connsiteY11" fmla="*/ 779648 h 815564"/>
                  <a:gd name="connsiteX12" fmla="*/ 8212556 w 8820560"/>
                  <a:gd name="connsiteY12" fmla="*/ 771142 h 815564"/>
                  <a:gd name="connsiteX13" fmla="*/ 8690279 w 8820560"/>
                  <a:gd name="connsiteY13" fmla="*/ 737154 h 815564"/>
                  <a:gd name="connsiteX14" fmla="*/ 8820560 w 8820560"/>
                  <a:gd name="connsiteY14" fmla="*/ 754148 h 815564"/>
                  <a:gd name="connsiteX15" fmla="*/ 8820560 w 8820560"/>
                  <a:gd name="connsiteY15" fmla="*/ 133791 h 815564"/>
                  <a:gd name="connsiteX16" fmla="*/ 8635984 w 8820560"/>
                  <a:gd name="connsiteY16" fmla="*/ 65870 h 815564"/>
                  <a:gd name="connsiteX17" fmla="*/ 7821688 w 8820560"/>
                  <a:gd name="connsiteY17" fmla="*/ 14889 h 815564"/>
                  <a:gd name="connsiteX18" fmla="*/ 7235397 w 8820560"/>
                  <a:gd name="connsiteY18" fmla="*/ 108364 h 815564"/>
                  <a:gd name="connsiteX19" fmla="*/ 6334247 w 8820560"/>
                  <a:gd name="connsiteY19" fmla="*/ 201839 h 815564"/>
                  <a:gd name="connsiteX20" fmla="*/ 5367956 w 8820560"/>
                  <a:gd name="connsiteY20" fmla="*/ 201839 h 815564"/>
                  <a:gd name="connsiteX21" fmla="*/ 3641666 w 8820560"/>
                  <a:gd name="connsiteY21" fmla="*/ 193333 h 815564"/>
                  <a:gd name="connsiteX22" fmla="*/ 2555938 w 8820560"/>
                  <a:gd name="connsiteY22" fmla="*/ 65870 h 815564"/>
                  <a:gd name="connsiteX23" fmla="*/ 764506 w 8820560"/>
                  <a:gd name="connsiteY23" fmla="*/ 57364 h 815564"/>
                  <a:gd name="connsiteX24" fmla="*/ 224684 w 8820560"/>
                  <a:gd name="connsiteY24" fmla="*/ 66415 h 815564"/>
                  <a:gd name="connsiteX0" fmla="*/ 93047 w 8688923"/>
                  <a:gd name="connsiteY0" fmla="*/ 66415 h 795903"/>
                  <a:gd name="connsiteX1" fmla="*/ 71109 w 8688923"/>
                  <a:gd name="connsiteY1" fmla="*/ 350379 h 795903"/>
                  <a:gd name="connsiteX2" fmla="*/ 68350 w 8688923"/>
                  <a:gd name="connsiteY2" fmla="*/ 726571 h 795903"/>
                  <a:gd name="connsiteX3" fmla="*/ 991132 w 8688923"/>
                  <a:gd name="connsiteY3" fmla="*/ 754148 h 795903"/>
                  <a:gd name="connsiteX4" fmla="*/ 1685991 w 8688923"/>
                  <a:gd name="connsiteY4" fmla="*/ 788136 h 795903"/>
                  <a:gd name="connsiteX5" fmla="*/ 2142001 w 8688923"/>
                  <a:gd name="connsiteY5" fmla="*/ 728648 h 795903"/>
                  <a:gd name="connsiteX6" fmla="*/ 2619723 w 8688923"/>
                  <a:gd name="connsiteY6" fmla="*/ 728648 h 795903"/>
                  <a:gd name="connsiteX7" fmla="*/ 3390592 w 8688923"/>
                  <a:gd name="connsiteY7" fmla="*/ 771142 h 795903"/>
                  <a:gd name="connsiteX8" fmla="*/ 4270028 w 8688923"/>
                  <a:gd name="connsiteY8" fmla="*/ 754148 h 795903"/>
                  <a:gd name="connsiteX9" fmla="*/ 4899746 w 8688923"/>
                  <a:gd name="connsiteY9" fmla="*/ 762654 h 795903"/>
                  <a:gd name="connsiteX10" fmla="*/ 5735756 w 8688923"/>
                  <a:gd name="connsiteY10" fmla="*/ 762654 h 795903"/>
                  <a:gd name="connsiteX11" fmla="*/ 6799769 w 8688923"/>
                  <a:gd name="connsiteY11" fmla="*/ 788154 h 795903"/>
                  <a:gd name="connsiteX12" fmla="*/ 7548924 w 8688923"/>
                  <a:gd name="connsiteY12" fmla="*/ 779648 h 795903"/>
                  <a:gd name="connsiteX13" fmla="*/ 8080919 w 8688923"/>
                  <a:gd name="connsiteY13" fmla="*/ 771142 h 795903"/>
                  <a:gd name="connsiteX14" fmla="*/ 8558642 w 8688923"/>
                  <a:gd name="connsiteY14" fmla="*/ 737154 h 795903"/>
                  <a:gd name="connsiteX15" fmla="*/ 8688923 w 8688923"/>
                  <a:gd name="connsiteY15" fmla="*/ 754148 h 795903"/>
                  <a:gd name="connsiteX16" fmla="*/ 8688923 w 8688923"/>
                  <a:gd name="connsiteY16" fmla="*/ 133791 h 795903"/>
                  <a:gd name="connsiteX17" fmla="*/ 8504347 w 8688923"/>
                  <a:gd name="connsiteY17" fmla="*/ 65870 h 795903"/>
                  <a:gd name="connsiteX18" fmla="*/ 7690051 w 8688923"/>
                  <a:gd name="connsiteY18" fmla="*/ 14889 h 795903"/>
                  <a:gd name="connsiteX19" fmla="*/ 7103760 w 8688923"/>
                  <a:gd name="connsiteY19" fmla="*/ 108364 h 795903"/>
                  <a:gd name="connsiteX20" fmla="*/ 6202610 w 8688923"/>
                  <a:gd name="connsiteY20" fmla="*/ 201839 h 795903"/>
                  <a:gd name="connsiteX21" fmla="*/ 5236319 w 8688923"/>
                  <a:gd name="connsiteY21" fmla="*/ 201839 h 795903"/>
                  <a:gd name="connsiteX22" fmla="*/ 3510029 w 8688923"/>
                  <a:gd name="connsiteY22" fmla="*/ 193333 h 795903"/>
                  <a:gd name="connsiteX23" fmla="*/ 2424301 w 8688923"/>
                  <a:gd name="connsiteY23" fmla="*/ 65870 h 795903"/>
                  <a:gd name="connsiteX24" fmla="*/ 632869 w 8688923"/>
                  <a:gd name="connsiteY24" fmla="*/ 57364 h 795903"/>
                  <a:gd name="connsiteX25" fmla="*/ 93047 w 8688923"/>
                  <a:gd name="connsiteY25" fmla="*/ 66415 h 795903"/>
                  <a:gd name="connsiteX0" fmla="*/ 91443 w 8687319"/>
                  <a:gd name="connsiteY0" fmla="*/ 66415 h 795901"/>
                  <a:gd name="connsiteX1" fmla="*/ 69505 w 8687319"/>
                  <a:gd name="connsiteY1" fmla="*/ 350379 h 795901"/>
                  <a:gd name="connsiteX2" fmla="*/ 66746 w 8687319"/>
                  <a:gd name="connsiteY2" fmla="*/ 726571 h 795901"/>
                  <a:gd name="connsiteX3" fmla="*/ 989528 w 8687319"/>
                  <a:gd name="connsiteY3" fmla="*/ 754148 h 795901"/>
                  <a:gd name="connsiteX4" fmla="*/ 1684387 w 8687319"/>
                  <a:gd name="connsiteY4" fmla="*/ 788136 h 795901"/>
                  <a:gd name="connsiteX5" fmla="*/ 2140397 w 8687319"/>
                  <a:gd name="connsiteY5" fmla="*/ 728648 h 795901"/>
                  <a:gd name="connsiteX6" fmla="*/ 2618119 w 8687319"/>
                  <a:gd name="connsiteY6" fmla="*/ 728648 h 795901"/>
                  <a:gd name="connsiteX7" fmla="*/ 3388988 w 8687319"/>
                  <a:gd name="connsiteY7" fmla="*/ 771142 h 795901"/>
                  <a:gd name="connsiteX8" fmla="*/ 4268424 w 8687319"/>
                  <a:gd name="connsiteY8" fmla="*/ 754148 h 795901"/>
                  <a:gd name="connsiteX9" fmla="*/ 4898142 w 8687319"/>
                  <a:gd name="connsiteY9" fmla="*/ 762654 h 795901"/>
                  <a:gd name="connsiteX10" fmla="*/ 5734152 w 8687319"/>
                  <a:gd name="connsiteY10" fmla="*/ 762654 h 795901"/>
                  <a:gd name="connsiteX11" fmla="*/ 6798165 w 8687319"/>
                  <a:gd name="connsiteY11" fmla="*/ 788154 h 795901"/>
                  <a:gd name="connsiteX12" fmla="*/ 7547320 w 8687319"/>
                  <a:gd name="connsiteY12" fmla="*/ 779648 h 795901"/>
                  <a:gd name="connsiteX13" fmla="*/ 8079315 w 8687319"/>
                  <a:gd name="connsiteY13" fmla="*/ 771142 h 795901"/>
                  <a:gd name="connsiteX14" fmla="*/ 8557038 w 8687319"/>
                  <a:gd name="connsiteY14" fmla="*/ 737154 h 795901"/>
                  <a:gd name="connsiteX15" fmla="*/ 8687319 w 8687319"/>
                  <a:gd name="connsiteY15" fmla="*/ 754148 h 795901"/>
                  <a:gd name="connsiteX16" fmla="*/ 8687319 w 8687319"/>
                  <a:gd name="connsiteY16" fmla="*/ 133791 h 795901"/>
                  <a:gd name="connsiteX17" fmla="*/ 8502743 w 8687319"/>
                  <a:gd name="connsiteY17" fmla="*/ 65870 h 795901"/>
                  <a:gd name="connsiteX18" fmla="*/ 7688447 w 8687319"/>
                  <a:gd name="connsiteY18" fmla="*/ 14889 h 795901"/>
                  <a:gd name="connsiteX19" fmla="*/ 7102156 w 8687319"/>
                  <a:gd name="connsiteY19" fmla="*/ 108364 h 795901"/>
                  <a:gd name="connsiteX20" fmla="*/ 6201006 w 8687319"/>
                  <a:gd name="connsiteY20" fmla="*/ 201839 h 795901"/>
                  <a:gd name="connsiteX21" fmla="*/ 5234715 w 8687319"/>
                  <a:gd name="connsiteY21" fmla="*/ 201839 h 795901"/>
                  <a:gd name="connsiteX22" fmla="*/ 3508425 w 8687319"/>
                  <a:gd name="connsiteY22" fmla="*/ 193333 h 795901"/>
                  <a:gd name="connsiteX23" fmla="*/ 2422697 w 8687319"/>
                  <a:gd name="connsiteY23" fmla="*/ 65870 h 795901"/>
                  <a:gd name="connsiteX24" fmla="*/ 631265 w 8687319"/>
                  <a:gd name="connsiteY24" fmla="*/ 57364 h 795901"/>
                  <a:gd name="connsiteX25" fmla="*/ 91443 w 8687319"/>
                  <a:gd name="connsiteY25" fmla="*/ 66415 h 795901"/>
                  <a:gd name="connsiteX0" fmla="*/ 91443 w 8687319"/>
                  <a:gd name="connsiteY0" fmla="*/ 66415 h 795903"/>
                  <a:gd name="connsiteX1" fmla="*/ 69505 w 8687319"/>
                  <a:gd name="connsiteY1" fmla="*/ 350379 h 795903"/>
                  <a:gd name="connsiteX2" fmla="*/ 66746 w 8687319"/>
                  <a:gd name="connsiteY2" fmla="*/ 726571 h 795903"/>
                  <a:gd name="connsiteX3" fmla="*/ 989528 w 8687319"/>
                  <a:gd name="connsiteY3" fmla="*/ 754148 h 795903"/>
                  <a:gd name="connsiteX4" fmla="*/ 1684387 w 8687319"/>
                  <a:gd name="connsiteY4" fmla="*/ 788136 h 795903"/>
                  <a:gd name="connsiteX5" fmla="*/ 2140397 w 8687319"/>
                  <a:gd name="connsiteY5" fmla="*/ 728648 h 795903"/>
                  <a:gd name="connsiteX6" fmla="*/ 2618119 w 8687319"/>
                  <a:gd name="connsiteY6" fmla="*/ 728648 h 795903"/>
                  <a:gd name="connsiteX7" fmla="*/ 3388988 w 8687319"/>
                  <a:gd name="connsiteY7" fmla="*/ 771142 h 795903"/>
                  <a:gd name="connsiteX8" fmla="*/ 4268424 w 8687319"/>
                  <a:gd name="connsiteY8" fmla="*/ 754148 h 795903"/>
                  <a:gd name="connsiteX9" fmla="*/ 4898142 w 8687319"/>
                  <a:gd name="connsiteY9" fmla="*/ 762654 h 795903"/>
                  <a:gd name="connsiteX10" fmla="*/ 5734152 w 8687319"/>
                  <a:gd name="connsiteY10" fmla="*/ 762654 h 795903"/>
                  <a:gd name="connsiteX11" fmla="*/ 6798165 w 8687319"/>
                  <a:gd name="connsiteY11" fmla="*/ 788154 h 795903"/>
                  <a:gd name="connsiteX12" fmla="*/ 7547320 w 8687319"/>
                  <a:gd name="connsiteY12" fmla="*/ 779648 h 795903"/>
                  <a:gd name="connsiteX13" fmla="*/ 8079315 w 8687319"/>
                  <a:gd name="connsiteY13" fmla="*/ 771142 h 795903"/>
                  <a:gd name="connsiteX14" fmla="*/ 8557038 w 8687319"/>
                  <a:gd name="connsiteY14" fmla="*/ 737154 h 795903"/>
                  <a:gd name="connsiteX15" fmla="*/ 8687319 w 8687319"/>
                  <a:gd name="connsiteY15" fmla="*/ 754148 h 795903"/>
                  <a:gd name="connsiteX16" fmla="*/ 8687319 w 8687319"/>
                  <a:gd name="connsiteY16" fmla="*/ 133791 h 795903"/>
                  <a:gd name="connsiteX17" fmla="*/ 8502743 w 8687319"/>
                  <a:gd name="connsiteY17" fmla="*/ 65870 h 795903"/>
                  <a:gd name="connsiteX18" fmla="*/ 7688447 w 8687319"/>
                  <a:gd name="connsiteY18" fmla="*/ 14889 h 795903"/>
                  <a:gd name="connsiteX19" fmla="*/ 7102156 w 8687319"/>
                  <a:gd name="connsiteY19" fmla="*/ 108364 h 795903"/>
                  <a:gd name="connsiteX20" fmla="*/ 6201006 w 8687319"/>
                  <a:gd name="connsiteY20" fmla="*/ 201839 h 795903"/>
                  <a:gd name="connsiteX21" fmla="*/ 5234715 w 8687319"/>
                  <a:gd name="connsiteY21" fmla="*/ 201839 h 795903"/>
                  <a:gd name="connsiteX22" fmla="*/ 3508425 w 8687319"/>
                  <a:gd name="connsiteY22" fmla="*/ 193333 h 795903"/>
                  <a:gd name="connsiteX23" fmla="*/ 2422697 w 8687319"/>
                  <a:gd name="connsiteY23" fmla="*/ 65870 h 795903"/>
                  <a:gd name="connsiteX24" fmla="*/ 631265 w 8687319"/>
                  <a:gd name="connsiteY24" fmla="*/ 57364 h 795903"/>
                  <a:gd name="connsiteX25" fmla="*/ 91443 w 8687319"/>
                  <a:gd name="connsiteY25" fmla="*/ 66415 h 795903"/>
                  <a:gd name="connsiteX0" fmla="*/ 87616 w 8683492"/>
                  <a:gd name="connsiteY0" fmla="*/ 66415 h 795901"/>
                  <a:gd name="connsiteX1" fmla="*/ 65678 w 8683492"/>
                  <a:gd name="connsiteY1" fmla="*/ 350379 h 795901"/>
                  <a:gd name="connsiteX2" fmla="*/ 80340 w 8683492"/>
                  <a:gd name="connsiteY2" fmla="*/ 609625 h 795901"/>
                  <a:gd name="connsiteX3" fmla="*/ 62919 w 8683492"/>
                  <a:gd name="connsiteY3" fmla="*/ 726571 h 795901"/>
                  <a:gd name="connsiteX4" fmla="*/ 985701 w 8683492"/>
                  <a:gd name="connsiteY4" fmla="*/ 754148 h 795901"/>
                  <a:gd name="connsiteX5" fmla="*/ 1680560 w 8683492"/>
                  <a:gd name="connsiteY5" fmla="*/ 788136 h 795901"/>
                  <a:gd name="connsiteX6" fmla="*/ 2136570 w 8683492"/>
                  <a:gd name="connsiteY6" fmla="*/ 728648 h 795901"/>
                  <a:gd name="connsiteX7" fmla="*/ 2614292 w 8683492"/>
                  <a:gd name="connsiteY7" fmla="*/ 728648 h 795901"/>
                  <a:gd name="connsiteX8" fmla="*/ 3385161 w 8683492"/>
                  <a:gd name="connsiteY8" fmla="*/ 771142 h 795901"/>
                  <a:gd name="connsiteX9" fmla="*/ 4264597 w 8683492"/>
                  <a:gd name="connsiteY9" fmla="*/ 754148 h 795901"/>
                  <a:gd name="connsiteX10" fmla="*/ 4894315 w 8683492"/>
                  <a:gd name="connsiteY10" fmla="*/ 762654 h 795901"/>
                  <a:gd name="connsiteX11" fmla="*/ 5730325 w 8683492"/>
                  <a:gd name="connsiteY11" fmla="*/ 762654 h 795901"/>
                  <a:gd name="connsiteX12" fmla="*/ 6794338 w 8683492"/>
                  <a:gd name="connsiteY12" fmla="*/ 788154 h 795901"/>
                  <a:gd name="connsiteX13" fmla="*/ 7543493 w 8683492"/>
                  <a:gd name="connsiteY13" fmla="*/ 779648 h 795901"/>
                  <a:gd name="connsiteX14" fmla="*/ 8075488 w 8683492"/>
                  <a:gd name="connsiteY14" fmla="*/ 771142 h 795901"/>
                  <a:gd name="connsiteX15" fmla="*/ 8553211 w 8683492"/>
                  <a:gd name="connsiteY15" fmla="*/ 737154 h 795901"/>
                  <a:gd name="connsiteX16" fmla="*/ 8683492 w 8683492"/>
                  <a:gd name="connsiteY16" fmla="*/ 754148 h 795901"/>
                  <a:gd name="connsiteX17" fmla="*/ 8683492 w 8683492"/>
                  <a:gd name="connsiteY17" fmla="*/ 133791 h 795901"/>
                  <a:gd name="connsiteX18" fmla="*/ 8498916 w 8683492"/>
                  <a:gd name="connsiteY18" fmla="*/ 65870 h 795901"/>
                  <a:gd name="connsiteX19" fmla="*/ 7684620 w 8683492"/>
                  <a:gd name="connsiteY19" fmla="*/ 14889 h 795901"/>
                  <a:gd name="connsiteX20" fmla="*/ 7098329 w 8683492"/>
                  <a:gd name="connsiteY20" fmla="*/ 108364 h 795901"/>
                  <a:gd name="connsiteX21" fmla="*/ 6197179 w 8683492"/>
                  <a:gd name="connsiteY21" fmla="*/ 201839 h 795901"/>
                  <a:gd name="connsiteX22" fmla="*/ 5230888 w 8683492"/>
                  <a:gd name="connsiteY22" fmla="*/ 201839 h 795901"/>
                  <a:gd name="connsiteX23" fmla="*/ 3504598 w 8683492"/>
                  <a:gd name="connsiteY23" fmla="*/ 193333 h 795901"/>
                  <a:gd name="connsiteX24" fmla="*/ 2418870 w 8683492"/>
                  <a:gd name="connsiteY24" fmla="*/ 65870 h 795901"/>
                  <a:gd name="connsiteX25" fmla="*/ 627438 w 8683492"/>
                  <a:gd name="connsiteY25" fmla="*/ 57364 h 795901"/>
                  <a:gd name="connsiteX26" fmla="*/ 87616 w 8683492"/>
                  <a:gd name="connsiteY26" fmla="*/ 66415 h 795901"/>
                  <a:gd name="connsiteX0" fmla="*/ 84495 w 8680371"/>
                  <a:gd name="connsiteY0" fmla="*/ 66415 h 795903"/>
                  <a:gd name="connsiteX1" fmla="*/ 62557 w 8680371"/>
                  <a:gd name="connsiteY1" fmla="*/ 350379 h 795903"/>
                  <a:gd name="connsiteX2" fmla="*/ 77219 w 8680371"/>
                  <a:gd name="connsiteY2" fmla="*/ 609625 h 795903"/>
                  <a:gd name="connsiteX3" fmla="*/ 89436 w 8680371"/>
                  <a:gd name="connsiteY3" fmla="*/ 686441 h 795903"/>
                  <a:gd name="connsiteX4" fmla="*/ 59798 w 8680371"/>
                  <a:gd name="connsiteY4" fmla="*/ 726571 h 795903"/>
                  <a:gd name="connsiteX5" fmla="*/ 982580 w 8680371"/>
                  <a:gd name="connsiteY5" fmla="*/ 754148 h 795903"/>
                  <a:gd name="connsiteX6" fmla="*/ 1677439 w 8680371"/>
                  <a:gd name="connsiteY6" fmla="*/ 788136 h 795903"/>
                  <a:gd name="connsiteX7" fmla="*/ 2133449 w 8680371"/>
                  <a:gd name="connsiteY7" fmla="*/ 728648 h 795903"/>
                  <a:gd name="connsiteX8" fmla="*/ 2611171 w 8680371"/>
                  <a:gd name="connsiteY8" fmla="*/ 728648 h 795903"/>
                  <a:gd name="connsiteX9" fmla="*/ 3382040 w 8680371"/>
                  <a:gd name="connsiteY9" fmla="*/ 771142 h 795903"/>
                  <a:gd name="connsiteX10" fmla="*/ 4261476 w 8680371"/>
                  <a:gd name="connsiteY10" fmla="*/ 754148 h 795903"/>
                  <a:gd name="connsiteX11" fmla="*/ 4891194 w 8680371"/>
                  <a:gd name="connsiteY11" fmla="*/ 762654 h 795903"/>
                  <a:gd name="connsiteX12" fmla="*/ 5727204 w 8680371"/>
                  <a:gd name="connsiteY12" fmla="*/ 762654 h 795903"/>
                  <a:gd name="connsiteX13" fmla="*/ 6791217 w 8680371"/>
                  <a:gd name="connsiteY13" fmla="*/ 788154 h 795903"/>
                  <a:gd name="connsiteX14" fmla="*/ 7540372 w 8680371"/>
                  <a:gd name="connsiteY14" fmla="*/ 779648 h 795903"/>
                  <a:gd name="connsiteX15" fmla="*/ 8072367 w 8680371"/>
                  <a:gd name="connsiteY15" fmla="*/ 771142 h 795903"/>
                  <a:gd name="connsiteX16" fmla="*/ 8550090 w 8680371"/>
                  <a:gd name="connsiteY16" fmla="*/ 737154 h 795903"/>
                  <a:gd name="connsiteX17" fmla="*/ 8680371 w 8680371"/>
                  <a:gd name="connsiteY17" fmla="*/ 754148 h 795903"/>
                  <a:gd name="connsiteX18" fmla="*/ 8680371 w 8680371"/>
                  <a:gd name="connsiteY18" fmla="*/ 133791 h 795903"/>
                  <a:gd name="connsiteX19" fmla="*/ 8495795 w 8680371"/>
                  <a:gd name="connsiteY19" fmla="*/ 65870 h 795903"/>
                  <a:gd name="connsiteX20" fmla="*/ 7681499 w 8680371"/>
                  <a:gd name="connsiteY20" fmla="*/ 14889 h 795903"/>
                  <a:gd name="connsiteX21" fmla="*/ 7095208 w 8680371"/>
                  <a:gd name="connsiteY21" fmla="*/ 108364 h 795903"/>
                  <a:gd name="connsiteX22" fmla="*/ 6194058 w 8680371"/>
                  <a:gd name="connsiteY22" fmla="*/ 201839 h 795903"/>
                  <a:gd name="connsiteX23" fmla="*/ 5227767 w 8680371"/>
                  <a:gd name="connsiteY23" fmla="*/ 201839 h 795903"/>
                  <a:gd name="connsiteX24" fmla="*/ 3501477 w 8680371"/>
                  <a:gd name="connsiteY24" fmla="*/ 193333 h 795903"/>
                  <a:gd name="connsiteX25" fmla="*/ 2415749 w 8680371"/>
                  <a:gd name="connsiteY25" fmla="*/ 65870 h 795903"/>
                  <a:gd name="connsiteX26" fmla="*/ 624317 w 8680371"/>
                  <a:gd name="connsiteY26" fmla="*/ 57364 h 795903"/>
                  <a:gd name="connsiteX27" fmla="*/ 84495 w 8680371"/>
                  <a:gd name="connsiteY27" fmla="*/ 66415 h 795903"/>
                  <a:gd name="connsiteX0" fmla="*/ 58632 w 8654508"/>
                  <a:gd name="connsiteY0" fmla="*/ 66415 h 847530"/>
                  <a:gd name="connsiteX1" fmla="*/ 36694 w 8654508"/>
                  <a:gd name="connsiteY1" fmla="*/ 350379 h 847530"/>
                  <a:gd name="connsiteX2" fmla="*/ 51356 w 8654508"/>
                  <a:gd name="connsiteY2" fmla="*/ 609625 h 847530"/>
                  <a:gd name="connsiteX3" fmla="*/ 63573 w 8654508"/>
                  <a:gd name="connsiteY3" fmla="*/ 686441 h 847530"/>
                  <a:gd name="connsiteX4" fmla="*/ 99916 w 8654508"/>
                  <a:gd name="connsiteY4" fmla="*/ 846591 h 847530"/>
                  <a:gd name="connsiteX5" fmla="*/ 956717 w 8654508"/>
                  <a:gd name="connsiteY5" fmla="*/ 754148 h 847530"/>
                  <a:gd name="connsiteX6" fmla="*/ 1651576 w 8654508"/>
                  <a:gd name="connsiteY6" fmla="*/ 788136 h 847530"/>
                  <a:gd name="connsiteX7" fmla="*/ 2107586 w 8654508"/>
                  <a:gd name="connsiteY7" fmla="*/ 728648 h 847530"/>
                  <a:gd name="connsiteX8" fmla="*/ 2585308 w 8654508"/>
                  <a:gd name="connsiteY8" fmla="*/ 728648 h 847530"/>
                  <a:gd name="connsiteX9" fmla="*/ 3356177 w 8654508"/>
                  <a:gd name="connsiteY9" fmla="*/ 771142 h 847530"/>
                  <a:gd name="connsiteX10" fmla="*/ 4235613 w 8654508"/>
                  <a:gd name="connsiteY10" fmla="*/ 754148 h 847530"/>
                  <a:gd name="connsiteX11" fmla="*/ 4865331 w 8654508"/>
                  <a:gd name="connsiteY11" fmla="*/ 762654 h 847530"/>
                  <a:gd name="connsiteX12" fmla="*/ 5701341 w 8654508"/>
                  <a:gd name="connsiteY12" fmla="*/ 762654 h 847530"/>
                  <a:gd name="connsiteX13" fmla="*/ 6765354 w 8654508"/>
                  <a:gd name="connsiteY13" fmla="*/ 788154 h 847530"/>
                  <a:gd name="connsiteX14" fmla="*/ 7514509 w 8654508"/>
                  <a:gd name="connsiteY14" fmla="*/ 779648 h 847530"/>
                  <a:gd name="connsiteX15" fmla="*/ 8046504 w 8654508"/>
                  <a:gd name="connsiteY15" fmla="*/ 771142 h 847530"/>
                  <a:gd name="connsiteX16" fmla="*/ 8524227 w 8654508"/>
                  <a:gd name="connsiteY16" fmla="*/ 737154 h 847530"/>
                  <a:gd name="connsiteX17" fmla="*/ 8654508 w 8654508"/>
                  <a:gd name="connsiteY17" fmla="*/ 754148 h 847530"/>
                  <a:gd name="connsiteX18" fmla="*/ 8654508 w 8654508"/>
                  <a:gd name="connsiteY18" fmla="*/ 133791 h 847530"/>
                  <a:gd name="connsiteX19" fmla="*/ 8469932 w 8654508"/>
                  <a:gd name="connsiteY19" fmla="*/ 65870 h 847530"/>
                  <a:gd name="connsiteX20" fmla="*/ 7655636 w 8654508"/>
                  <a:gd name="connsiteY20" fmla="*/ 14889 h 847530"/>
                  <a:gd name="connsiteX21" fmla="*/ 7069345 w 8654508"/>
                  <a:gd name="connsiteY21" fmla="*/ 108364 h 847530"/>
                  <a:gd name="connsiteX22" fmla="*/ 6168195 w 8654508"/>
                  <a:gd name="connsiteY22" fmla="*/ 201839 h 847530"/>
                  <a:gd name="connsiteX23" fmla="*/ 5201904 w 8654508"/>
                  <a:gd name="connsiteY23" fmla="*/ 201839 h 847530"/>
                  <a:gd name="connsiteX24" fmla="*/ 3475614 w 8654508"/>
                  <a:gd name="connsiteY24" fmla="*/ 193333 h 847530"/>
                  <a:gd name="connsiteX25" fmla="*/ 2389886 w 8654508"/>
                  <a:gd name="connsiteY25" fmla="*/ 65870 h 847530"/>
                  <a:gd name="connsiteX26" fmla="*/ 598454 w 8654508"/>
                  <a:gd name="connsiteY26" fmla="*/ 57364 h 847530"/>
                  <a:gd name="connsiteX27" fmla="*/ 58632 w 8654508"/>
                  <a:gd name="connsiteY27" fmla="*/ 66415 h 847530"/>
                  <a:gd name="connsiteX0" fmla="*/ 54170 w 8650046"/>
                  <a:gd name="connsiteY0" fmla="*/ 66415 h 847528"/>
                  <a:gd name="connsiteX1" fmla="*/ 20012 w 8650046"/>
                  <a:gd name="connsiteY1" fmla="*/ 139144 h 847528"/>
                  <a:gd name="connsiteX2" fmla="*/ 32232 w 8650046"/>
                  <a:gd name="connsiteY2" fmla="*/ 350379 h 847528"/>
                  <a:gd name="connsiteX3" fmla="*/ 46894 w 8650046"/>
                  <a:gd name="connsiteY3" fmla="*/ 609625 h 847528"/>
                  <a:gd name="connsiteX4" fmla="*/ 59111 w 8650046"/>
                  <a:gd name="connsiteY4" fmla="*/ 686441 h 847528"/>
                  <a:gd name="connsiteX5" fmla="*/ 95454 w 8650046"/>
                  <a:gd name="connsiteY5" fmla="*/ 846591 h 847528"/>
                  <a:gd name="connsiteX6" fmla="*/ 952255 w 8650046"/>
                  <a:gd name="connsiteY6" fmla="*/ 754148 h 847528"/>
                  <a:gd name="connsiteX7" fmla="*/ 1647114 w 8650046"/>
                  <a:gd name="connsiteY7" fmla="*/ 788136 h 847528"/>
                  <a:gd name="connsiteX8" fmla="*/ 2103124 w 8650046"/>
                  <a:gd name="connsiteY8" fmla="*/ 728648 h 847528"/>
                  <a:gd name="connsiteX9" fmla="*/ 2580846 w 8650046"/>
                  <a:gd name="connsiteY9" fmla="*/ 728648 h 847528"/>
                  <a:gd name="connsiteX10" fmla="*/ 3351715 w 8650046"/>
                  <a:gd name="connsiteY10" fmla="*/ 771142 h 847528"/>
                  <a:gd name="connsiteX11" fmla="*/ 4231151 w 8650046"/>
                  <a:gd name="connsiteY11" fmla="*/ 754148 h 847528"/>
                  <a:gd name="connsiteX12" fmla="*/ 4860869 w 8650046"/>
                  <a:gd name="connsiteY12" fmla="*/ 762654 h 847528"/>
                  <a:gd name="connsiteX13" fmla="*/ 5696879 w 8650046"/>
                  <a:gd name="connsiteY13" fmla="*/ 762654 h 847528"/>
                  <a:gd name="connsiteX14" fmla="*/ 6760892 w 8650046"/>
                  <a:gd name="connsiteY14" fmla="*/ 788154 h 847528"/>
                  <a:gd name="connsiteX15" fmla="*/ 7510047 w 8650046"/>
                  <a:gd name="connsiteY15" fmla="*/ 779648 h 847528"/>
                  <a:gd name="connsiteX16" fmla="*/ 8042042 w 8650046"/>
                  <a:gd name="connsiteY16" fmla="*/ 771142 h 847528"/>
                  <a:gd name="connsiteX17" fmla="*/ 8519765 w 8650046"/>
                  <a:gd name="connsiteY17" fmla="*/ 737154 h 847528"/>
                  <a:gd name="connsiteX18" fmla="*/ 8650046 w 8650046"/>
                  <a:gd name="connsiteY18" fmla="*/ 754148 h 847528"/>
                  <a:gd name="connsiteX19" fmla="*/ 8650046 w 8650046"/>
                  <a:gd name="connsiteY19" fmla="*/ 133791 h 847528"/>
                  <a:gd name="connsiteX20" fmla="*/ 8465470 w 8650046"/>
                  <a:gd name="connsiteY20" fmla="*/ 65870 h 847528"/>
                  <a:gd name="connsiteX21" fmla="*/ 7651174 w 8650046"/>
                  <a:gd name="connsiteY21" fmla="*/ 14889 h 847528"/>
                  <a:gd name="connsiteX22" fmla="*/ 7064883 w 8650046"/>
                  <a:gd name="connsiteY22" fmla="*/ 108364 h 847528"/>
                  <a:gd name="connsiteX23" fmla="*/ 6163733 w 8650046"/>
                  <a:gd name="connsiteY23" fmla="*/ 201839 h 847528"/>
                  <a:gd name="connsiteX24" fmla="*/ 5197442 w 8650046"/>
                  <a:gd name="connsiteY24" fmla="*/ 201839 h 847528"/>
                  <a:gd name="connsiteX25" fmla="*/ 3471152 w 8650046"/>
                  <a:gd name="connsiteY25" fmla="*/ 193333 h 847528"/>
                  <a:gd name="connsiteX26" fmla="*/ 2385424 w 8650046"/>
                  <a:gd name="connsiteY26" fmla="*/ 65870 h 847528"/>
                  <a:gd name="connsiteX27" fmla="*/ 593992 w 8650046"/>
                  <a:gd name="connsiteY27" fmla="*/ 57364 h 847528"/>
                  <a:gd name="connsiteX28" fmla="*/ 54170 w 8650046"/>
                  <a:gd name="connsiteY28" fmla="*/ 66415 h 847528"/>
                  <a:gd name="connsiteX0" fmla="*/ 54170 w 8650046"/>
                  <a:gd name="connsiteY0" fmla="*/ 66415 h 847530"/>
                  <a:gd name="connsiteX1" fmla="*/ 20012 w 8650046"/>
                  <a:gd name="connsiteY1" fmla="*/ 139144 h 847530"/>
                  <a:gd name="connsiteX2" fmla="*/ 32232 w 8650046"/>
                  <a:gd name="connsiteY2" fmla="*/ 350379 h 847530"/>
                  <a:gd name="connsiteX3" fmla="*/ 46894 w 8650046"/>
                  <a:gd name="connsiteY3" fmla="*/ 609625 h 847530"/>
                  <a:gd name="connsiteX4" fmla="*/ 59111 w 8650046"/>
                  <a:gd name="connsiteY4" fmla="*/ 686441 h 847530"/>
                  <a:gd name="connsiteX5" fmla="*/ 95454 w 8650046"/>
                  <a:gd name="connsiteY5" fmla="*/ 846591 h 847530"/>
                  <a:gd name="connsiteX6" fmla="*/ 952255 w 8650046"/>
                  <a:gd name="connsiteY6" fmla="*/ 754148 h 847530"/>
                  <a:gd name="connsiteX7" fmla="*/ 1647114 w 8650046"/>
                  <a:gd name="connsiteY7" fmla="*/ 788136 h 847530"/>
                  <a:gd name="connsiteX8" fmla="*/ 2103124 w 8650046"/>
                  <a:gd name="connsiteY8" fmla="*/ 728648 h 847530"/>
                  <a:gd name="connsiteX9" fmla="*/ 2580846 w 8650046"/>
                  <a:gd name="connsiteY9" fmla="*/ 728648 h 847530"/>
                  <a:gd name="connsiteX10" fmla="*/ 3351715 w 8650046"/>
                  <a:gd name="connsiteY10" fmla="*/ 771142 h 847530"/>
                  <a:gd name="connsiteX11" fmla="*/ 4231151 w 8650046"/>
                  <a:gd name="connsiteY11" fmla="*/ 754148 h 847530"/>
                  <a:gd name="connsiteX12" fmla="*/ 4860869 w 8650046"/>
                  <a:gd name="connsiteY12" fmla="*/ 762654 h 847530"/>
                  <a:gd name="connsiteX13" fmla="*/ 5696879 w 8650046"/>
                  <a:gd name="connsiteY13" fmla="*/ 762654 h 847530"/>
                  <a:gd name="connsiteX14" fmla="*/ 6760892 w 8650046"/>
                  <a:gd name="connsiteY14" fmla="*/ 788154 h 847530"/>
                  <a:gd name="connsiteX15" fmla="*/ 7510047 w 8650046"/>
                  <a:gd name="connsiteY15" fmla="*/ 779648 h 847530"/>
                  <a:gd name="connsiteX16" fmla="*/ 8042042 w 8650046"/>
                  <a:gd name="connsiteY16" fmla="*/ 771142 h 847530"/>
                  <a:gd name="connsiteX17" fmla="*/ 8519765 w 8650046"/>
                  <a:gd name="connsiteY17" fmla="*/ 737154 h 847530"/>
                  <a:gd name="connsiteX18" fmla="*/ 8650046 w 8650046"/>
                  <a:gd name="connsiteY18" fmla="*/ 754148 h 847530"/>
                  <a:gd name="connsiteX19" fmla="*/ 8650046 w 8650046"/>
                  <a:gd name="connsiteY19" fmla="*/ 133791 h 847530"/>
                  <a:gd name="connsiteX20" fmla="*/ 8465470 w 8650046"/>
                  <a:gd name="connsiteY20" fmla="*/ 65870 h 847530"/>
                  <a:gd name="connsiteX21" fmla="*/ 7651174 w 8650046"/>
                  <a:gd name="connsiteY21" fmla="*/ 14889 h 847530"/>
                  <a:gd name="connsiteX22" fmla="*/ 7064883 w 8650046"/>
                  <a:gd name="connsiteY22" fmla="*/ 108364 h 847530"/>
                  <a:gd name="connsiteX23" fmla="*/ 6163733 w 8650046"/>
                  <a:gd name="connsiteY23" fmla="*/ 201839 h 847530"/>
                  <a:gd name="connsiteX24" fmla="*/ 5197442 w 8650046"/>
                  <a:gd name="connsiteY24" fmla="*/ 201839 h 847530"/>
                  <a:gd name="connsiteX25" fmla="*/ 3471152 w 8650046"/>
                  <a:gd name="connsiteY25" fmla="*/ 193333 h 847530"/>
                  <a:gd name="connsiteX26" fmla="*/ 2385424 w 8650046"/>
                  <a:gd name="connsiteY26" fmla="*/ 65870 h 847530"/>
                  <a:gd name="connsiteX27" fmla="*/ 593992 w 8650046"/>
                  <a:gd name="connsiteY27" fmla="*/ 57364 h 847530"/>
                  <a:gd name="connsiteX28" fmla="*/ 54170 w 8650046"/>
                  <a:gd name="connsiteY28" fmla="*/ 66415 h 847530"/>
                  <a:gd name="connsiteX0" fmla="*/ 48208 w 8644084"/>
                  <a:gd name="connsiteY0" fmla="*/ 66415 h 847528"/>
                  <a:gd name="connsiteX1" fmla="*/ 14050 w 8644084"/>
                  <a:gd name="connsiteY1" fmla="*/ 139144 h 847528"/>
                  <a:gd name="connsiteX2" fmla="*/ 26270 w 8644084"/>
                  <a:gd name="connsiteY2" fmla="*/ 350379 h 847528"/>
                  <a:gd name="connsiteX3" fmla="*/ 40932 w 8644084"/>
                  <a:gd name="connsiteY3" fmla="*/ 609625 h 847528"/>
                  <a:gd name="connsiteX4" fmla="*/ 53149 w 8644084"/>
                  <a:gd name="connsiteY4" fmla="*/ 686441 h 847528"/>
                  <a:gd name="connsiteX5" fmla="*/ 89492 w 8644084"/>
                  <a:gd name="connsiteY5" fmla="*/ 846591 h 847528"/>
                  <a:gd name="connsiteX6" fmla="*/ 946293 w 8644084"/>
                  <a:gd name="connsiteY6" fmla="*/ 754148 h 847528"/>
                  <a:gd name="connsiteX7" fmla="*/ 1641152 w 8644084"/>
                  <a:gd name="connsiteY7" fmla="*/ 788136 h 847528"/>
                  <a:gd name="connsiteX8" fmla="*/ 2097162 w 8644084"/>
                  <a:gd name="connsiteY8" fmla="*/ 728648 h 847528"/>
                  <a:gd name="connsiteX9" fmla="*/ 2574884 w 8644084"/>
                  <a:gd name="connsiteY9" fmla="*/ 728648 h 847528"/>
                  <a:gd name="connsiteX10" fmla="*/ 3345753 w 8644084"/>
                  <a:gd name="connsiteY10" fmla="*/ 771142 h 847528"/>
                  <a:gd name="connsiteX11" fmla="*/ 4225189 w 8644084"/>
                  <a:gd name="connsiteY11" fmla="*/ 754148 h 847528"/>
                  <a:gd name="connsiteX12" fmla="*/ 4854907 w 8644084"/>
                  <a:gd name="connsiteY12" fmla="*/ 762654 h 847528"/>
                  <a:gd name="connsiteX13" fmla="*/ 5690917 w 8644084"/>
                  <a:gd name="connsiteY13" fmla="*/ 762654 h 847528"/>
                  <a:gd name="connsiteX14" fmla="*/ 6754930 w 8644084"/>
                  <a:gd name="connsiteY14" fmla="*/ 788154 h 847528"/>
                  <a:gd name="connsiteX15" fmla="*/ 7504085 w 8644084"/>
                  <a:gd name="connsiteY15" fmla="*/ 779648 h 847528"/>
                  <a:gd name="connsiteX16" fmla="*/ 8036080 w 8644084"/>
                  <a:gd name="connsiteY16" fmla="*/ 771142 h 847528"/>
                  <a:gd name="connsiteX17" fmla="*/ 8513803 w 8644084"/>
                  <a:gd name="connsiteY17" fmla="*/ 737154 h 847528"/>
                  <a:gd name="connsiteX18" fmla="*/ 8644084 w 8644084"/>
                  <a:gd name="connsiteY18" fmla="*/ 754148 h 847528"/>
                  <a:gd name="connsiteX19" fmla="*/ 8644084 w 8644084"/>
                  <a:gd name="connsiteY19" fmla="*/ 133791 h 847528"/>
                  <a:gd name="connsiteX20" fmla="*/ 8459508 w 8644084"/>
                  <a:gd name="connsiteY20" fmla="*/ 65870 h 847528"/>
                  <a:gd name="connsiteX21" fmla="*/ 7645212 w 8644084"/>
                  <a:gd name="connsiteY21" fmla="*/ 14889 h 847528"/>
                  <a:gd name="connsiteX22" fmla="*/ 7058921 w 8644084"/>
                  <a:gd name="connsiteY22" fmla="*/ 108364 h 847528"/>
                  <a:gd name="connsiteX23" fmla="*/ 6157771 w 8644084"/>
                  <a:gd name="connsiteY23" fmla="*/ 201839 h 847528"/>
                  <a:gd name="connsiteX24" fmla="*/ 5191480 w 8644084"/>
                  <a:gd name="connsiteY24" fmla="*/ 201839 h 847528"/>
                  <a:gd name="connsiteX25" fmla="*/ 3465190 w 8644084"/>
                  <a:gd name="connsiteY25" fmla="*/ 193333 h 847528"/>
                  <a:gd name="connsiteX26" fmla="*/ 2379462 w 8644084"/>
                  <a:gd name="connsiteY26" fmla="*/ 65870 h 847528"/>
                  <a:gd name="connsiteX27" fmla="*/ 588030 w 8644084"/>
                  <a:gd name="connsiteY27" fmla="*/ 57364 h 847528"/>
                  <a:gd name="connsiteX28" fmla="*/ 48208 w 8644084"/>
                  <a:gd name="connsiteY28" fmla="*/ 66415 h 847528"/>
                  <a:gd name="connsiteX0" fmla="*/ 39893 w 8635769"/>
                  <a:gd name="connsiteY0" fmla="*/ 66415 h 847530"/>
                  <a:gd name="connsiteX1" fmla="*/ 5735 w 8635769"/>
                  <a:gd name="connsiteY1" fmla="*/ 139144 h 847530"/>
                  <a:gd name="connsiteX2" fmla="*/ 17955 w 8635769"/>
                  <a:gd name="connsiteY2" fmla="*/ 350379 h 847530"/>
                  <a:gd name="connsiteX3" fmla="*/ 32617 w 8635769"/>
                  <a:gd name="connsiteY3" fmla="*/ 609625 h 847530"/>
                  <a:gd name="connsiteX4" fmla="*/ 44834 w 8635769"/>
                  <a:gd name="connsiteY4" fmla="*/ 686441 h 847530"/>
                  <a:gd name="connsiteX5" fmla="*/ 81177 w 8635769"/>
                  <a:gd name="connsiteY5" fmla="*/ 846591 h 847530"/>
                  <a:gd name="connsiteX6" fmla="*/ 937978 w 8635769"/>
                  <a:gd name="connsiteY6" fmla="*/ 754148 h 847530"/>
                  <a:gd name="connsiteX7" fmla="*/ 1632837 w 8635769"/>
                  <a:gd name="connsiteY7" fmla="*/ 788136 h 847530"/>
                  <a:gd name="connsiteX8" fmla="*/ 2088847 w 8635769"/>
                  <a:gd name="connsiteY8" fmla="*/ 728648 h 847530"/>
                  <a:gd name="connsiteX9" fmla="*/ 2566569 w 8635769"/>
                  <a:gd name="connsiteY9" fmla="*/ 728648 h 847530"/>
                  <a:gd name="connsiteX10" fmla="*/ 3337438 w 8635769"/>
                  <a:gd name="connsiteY10" fmla="*/ 771142 h 847530"/>
                  <a:gd name="connsiteX11" fmla="*/ 4216874 w 8635769"/>
                  <a:gd name="connsiteY11" fmla="*/ 754148 h 847530"/>
                  <a:gd name="connsiteX12" fmla="*/ 4846592 w 8635769"/>
                  <a:gd name="connsiteY12" fmla="*/ 762654 h 847530"/>
                  <a:gd name="connsiteX13" fmla="*/ 5682602 w 8635769"/>
                  <a:gd name="connsiteY13" fmla="*/ 762654 h 847530"/>
                  <a:gd name="connsiteX14" fmla="*/ 6746615 w 8635769"/>
                  <a:gd name="connsiteY14" fmla="*/ 788154 h 847530"/>
                  <a:gd name="connsiteX15" fmla="*/ 7495770 w 8635769"/>
                  <a:gd name="connsiteY15" fmla="*/ 779648 h 847530"/>
                  <a:gd name="connsiteX16" fmla="*/ 8027765 w 8635769"/>
                  <a:gd name="connsiteY16" fmla="*/ 771142 h 847530"/>
                  <a:gd name="connsiteX17" fmla="*/ 8505488 w 8635769"/>
                  <a:gd name="connsiteY17" fmla="*/ 737154 h 847530"/>
                  <a:gd name="connsiteX18" fmla="*/ 8635769 w 8635769"/>
                  <a:gd name="connsiteY18" fmla="*/ 754148 h 847530"/>
                  <a:gd name="connsiteX19" fmla="*/ 8635769 w 8635769"/>
                  <a:gd name="connsiteY19" fmla="*/ 133791 h 847530"/>
                  <a:gd name="connsiteX20" fmla="*/ 8451193 w 8635769"/>
                  <a:gd name="connsiteY20" fmla="*/ 65870 h 847530"/>
                  <a:gd name="connsiteX21" fmla="*/ 7636897 w 8635769"/>
                  <a:gd name="connsiteY21" fmla="*/ 14889 h 847530"/>
                  <a:gd name="connsiteX22" fmla="*/ 7050606 w 8635769"/>
                  <a:gd name="connsiteY22" fmla="*/ 108364 h 847530"/>
                  <a:gd name="connsiteX23" fmla="*/ 6149456 w 8635769"/>
                  <a:gd name="connsiteY23" fmla="*/ 201839 h 847530"/>
                  <a:gd name="connsiteX24" fmla="*/ 5183165 w 8635769"/>
                  <a:gd name="connsiteY24" fmla="*/ 201839 h 847530"/>
                  <a:gd name="connsiteX25" fmla="*/ 3456875 w 8635769"/>
                  <a:gd name="connsiteY25" fmla="*/ 193333 h 847530"/>
                  <a:gd name="connsiteX26" fmla="*/ 2371147 w 8635769"/>
                  <a:gd name="connsiteY26" fmla="*/ 65870 h 847530"/>
                  <a:gd name="connsiteX27" fmla="*/ 579715 w 8635769"/>
                  <a:gd name="connsiteY27" fmla="*/ 57364 h 847530"/>
                  <a:gd name="connsiteX28" fmla="*/ 39893 w 8635769"/>
                  <a:gd name="connsiteY28" fmla="*/ 66415 h 847530"/>
                  <a:gd name="connsiteX0" fmla="*/ 39893 w 8635769"/>
                  <a:gd name="connsiteY0" fmla="*/ 66415 h 847528"/>
                  <a:gd name="connsiteX1" fmla="*/ 5735 w 8635769"/>
                  <a:gd name="connsiteY1" fmla="*/ 139144 h 847528"/>
                  <a:gd name="connsiteX2" fmla="*/ 17955 w 8635769"/>
                  <a:gd name="connsiteY2" fmla="*/ 350379 h 847528"/>
                  <a:gd name="connsiteX3" fmla="*/ 32617 w 8635769"/>
                  <a:gd name="connsiteY3" fmla="*/ 609625 h 847528"/>
                  <a:gd name="connsiteX4" fmla="*/ 44834 w 8635769"/>
                  <a:gd name="connsiteY4" fmla="*/ 686441 h 847528"/>
                  <a:gd name="connsiteX5" fmla="*/ 81177 w 8635769"/>
                  <a:gd name="connsiteY5" fmla="*/ 846591 h 847528"/>
                  <a:gd name="connsiteX6" fmla="*/ 937978 w 8635769"/>
                  <a:gd name="connsiteY6" fmla="*/ 754148 h 847528"/>
                  <a:gd name="connsiteX7" fmla="*/ 1632837 w 8635769"/>
                  <a:gd name="connsiteY7" fmla="*/ 788136 h 847528"/>
                  <a:gd name="connsiteX8" fmla="*/ 2088847 w 8635769"/>
                  <a:gd name="connsiteY8" fmla="*/ 728648 h 847528"/>
                  <a:gd name="connsiteX9" fmla="*/ 2566569 w 8635769"/>
                  <a:gd name="connsiteY9" fmla="*/ 728648 h 847528"/>
                  <a:gd name="connsiteX10" fmla="*/ 3337438 w 8635769"/>
                  <a:gd name="connsiteY10" fmla="*/ 771142 h 847528"/>
                  <a:gd name="connsiteX11" fmla="*/ 4216874 w 8635769"/>
                  <a:gd name="connsiteY11" fmla="*/ 754148 h 847528"/>
                  <a:gd name="connsiteX12" fmla="*/ 4846592 w 8635769"/>
                  <a:gd name="connsiteY12" fmla="*/ 762654 h 847528"/>
                  <a:gd name="connsiteX13" fmla="*/ 5682602 w 8635769"/>
                  <a:gd name="connsiteY13" fmla="*/ 762654 h 847528"/>
                  <a:gd name="connsiteX14" fmla="*/ 6746615 w 8635769"/>
                  <a:gd name="connsiteY14" fmla="*/ 788154 h 847528"/>
                  <a:gd name="connsiteX15" fmla="*/ 7495770 w 8635769"/>
                  <a:gd name="connsiteY15" fmla="*/ 779648 h 847528"/>
                  <a:gd name="connsiteX16" fmla="*/ 8027765 w 8635769"/>
                  <a:gd name="connsiteY16" fmla="*/ 771142 h 847528"/>
                  <a:gd name="connsiteX17" fmla="*/ 8505488 w 8635769"/>
                  <a:gd name="connsiteY17" fmla="*/ 737154 h 847528"/>
                  <a:gd name="connsiteX18" fmla="*/ 8635769 w 8635769"/>
                  <a:gd name="connsiteY18" fmla="*/ 754148 h 847528"/>
                  <a:gd name="connsiteX19" fmla="*/ 8635769 w 8635769"/>
                  <a:gd name="connsiteY19" fmla="*/ 133791 h 847528"/>
                  <a:gd name="connsiteX20" fmla="*/ 8451193 w 8635769"/>
                  <a:gd name="connsiteY20" fmla="*/ 65870 h 847528"/>
                  <a:gd name="connsiteX21" fmla="*/ 7636897 w 8635769"/>
                  <a:gd name="connsiteY21" fmla="*/ 14889 h 847528"/>
                  <a:gd name="connsiteX22" fmla="*/ 7050606 w 8635769"/>
                  <a:gd name="connsiteY22" fmla="*/ 108364 h 847528"/>
                  <a:gd name="connsiteX23" fmla="*/ 6149456 w 8635769"/>
                  <a:gd name="connsiteY23" fmla="*/ 201839 h 847528"/>
                  <a:gd name="connsiteX24" fmla="*/ 5183165 w 8635769"/>
                  <a:gd name="connsiteY24" fmla="*/ 201839 h 847528"/>
                  <a:gd name="connsiteX25" fmla="*/ 3456875 w 8635769"/>
                  <a:gd name="connsiteY25" fmla="*/ 193333 h 847528"/>
                  <a:gd name="connsiteX26" fmla="*/ 2371147 w 8635769"/>
                  <a:gd name="connsiteY26" fmla="*/ 65870 h 847528"/>
                  <a:gd name="connsiteX27" fmla="*/ 579715 w 8635769"/>
                  <a:gd name="connsiteY27" fmla="*/ 57364 h 847528"/>
                  <a:gd name="connsiteX28" fmla="*/ 39893 w 8635769"/>
                  <a:gd name="connsiteY28" fmla="*/ 66415 h 847528"/>
                  <a:gd name="connsiteX0" fmla="*/ 36653 w 8632529"/>
                  <a:gd name="connsiteY0" fmla="*/ 66415 h 847530"/>
                  <a:gd name="connsiteX1" fmla="*/ 2495 w 8632529"/>
                  <a:gd name="connsiteY1" fmla="*/ 139144 h 847530"/>
                  <a:gd name="connsiteX2" fmla="*/ 14715 w 8632529"/>
                  <a:gd name="connsiteY2" fmla="*/ 350379 h 847530"/>
                  <a:gd name="connsiteX3" fmla="*/ 29377 w 8632529"/>
                  <a:gd name="connsiteY3" fmla="*/ 609625 h 847530"/>
                  <a:gd name="connsiteX4" fmla="*/ 41594 w 8632529"/>
                  <a:gd name="connsiteY4" fmla="*/ 686441 h 847530"/>
                  <a:gd name="connsiteX5" fmla="*/ 77937 w 8632529"/>
                  <a:gd name="connsiteY5" fmla="*/ 846591 h 847530"/>
                  <a:gd name="connsiteX6" fmla="*/ 934738 w 8632529"/>
                  <a:gd name="connsiteY6" fmla="*/ 754148 h 847530"/>
                  <a:gd name="connsiteX7" fmla="*/ 1629597 w 8632529"/>
                  <a:gd name="connsiteY7" fmla="*/ 788136 h 847530"/>
                  <a:gd name="connsiteX8" fmla="*/ 2085607 w 8632529"/>
                  <a:gd name="connsiteY8" fmla="*/ 728648 h 847530"/>
                  <a:gd name="connsiteX9" fmla="*/ 2563329 w 8632529"/>
                  <a:gd name="connsiteY9" fmla="*/ 728648 h 847530"/>
                  <a:gd name="connsiteX10" fmla="*/ 3334198 w 8632529"/>
                  <a:gd name="connsiteY10" fmla="*/ 771142 h 847530"/>
                  <a:gd name="connsiteX11" fmla="*/ 4213634 w 8632529"/>
                  <a:gd name="connsiteY11" fmla="*/ 754148 h 847530"/>
                  <a:gd name="connsiteX12" fmla="*/ 4843352 w 8632529"/>
                  <a:gd name="connsiteY12" fmla="*/ 762654 h 847530"/>
                  <a:gd name="connsiteX13" fmla="*/ 5679362 w 8632529"/>
                  <a:gd name="connsiteY13" fmla="*/ 762654 h 847530"/>
                  <a:gd name="connsiteX14" fmla="*/ 6743375 w 8632529"/>
                  <a:gd name="connsiteY14" fmla="*/ 788154 h 847530"/>
                  <a:gd name="connsiteX15" fmla="*/ 7492530 w 8632529"/>
                  <a:gd name="connsiteY15" fmla="*/ 779648 h 847530"/>
                  <a:gd name="connsiteX16" fmla="*/ 8024525 w 8632529"/>
                  <a:gd name="connsiteY16" fmla="*/ 771142 h 847530"/>
                  <a:gd name="connsiteX17" fmla="*/ 8502248 w 8632529"/>
                  <a:gd name="connsiteY17" fmla="*/ 737154 h 847530"/>
                  <a:gd name="connsiteX18" fmla="*/ 8632529 w 8632529"/>
                  <a:gd name="connsiteY18" fmla="*/ 754148 h 847530"/>
                  <a:gd name="connsiteX19" fmla="*/ 8632529 w 8632529"/>
                  <a:gd name="connsiteY19" fmla="*/ 133791 h 847530"/>
                  <a:gd name="connsiteX20" fmla="*/ 8447953 w 8632529"/>
                  <a:gd name="connsiteY20" fmla="*/ 65870 h 847530"/>
                  <a:gd name="connsiteX21" fmla="*/ 7633657 w 8632529"/>
                  <a:gd name="connsiteY21" fmla="*/ 14889 h 847530"/>
                  <a:gd name="connsiteX22" fmla="*/ 7047366 w 8632529"/>
                  <a:gd name="connsiteY22" fmla="*/ 108364 h 847530"/>
                  <a:gd name="connsiteX23" fmla="*/ 6146216 w 8632529"/>
                  <a:gd name="connsiteY23" fmla="*/ 201839 h 847530"/>
                  <a:gd name="connsiteX24" fmla="*/ 5179925 w 8632529"/>
                  <a:gd name="connsiteY24" fmla="*/ 201839 h 847530"/>
                  <a:gd name="connsiteX25" fmla="*/ 3453635 w 8632529"/>
                  <a:gd name="connsiteY25" fmla="*/ 193333 h 847530"/>
                  <a:gd name="connsiteX26" fmla="*/ 2367907 w 8632529"/>
                  <a:gd name="connsiteY26" fmla="*/ 65870 h 847530"/>
                  <a:gd name="connsiteX27" fmla="*/ 576475 w 8632529"/>
                  <a:gd name="connsiteY27" fmla="*/ 57364 h 847530"/>
                  <a:gd name="connsiteX28" fmla="*/ 36653 w 8632529"/>
                  <a:gd name="connsiteY28" fmla="*/ 66415 h 847530"/>
                  <a:gd name="connsiteX0" fmla="*/ 38923 w 8634799"/>
                  <a:gd name="connsiteY0" fmla="*/ 66415 h 847528"/>
                  <a:gd name="connsiteX1" fmla="*/ 4765 w 8634799"/>
                  <a:gd name="connsiteY1" fmla="*/ 139144 h 847528"/>
                  <a:gd name="connsiteX2" fmla="*/ 16985 w 8634799"/>
                  <a:gd name="connsiteY2" fmla="*/ 350379 h 847528"/>
                  <a:gd name="connsiteX3" fmla="*/ 31647 w 8634799"/>
                  <a:gd name="connsiteY3" fmla="*/ 609625 h 847528"/>
                  <a:gd name="connsiteX4" fmla="*/ 43864 w 8634799"/>
                  <a:gd name="connsiteY4" fmla="*/ 686441 h 847528"/>
                  <a:gd name="connsiteX5" fmla="*/ 80207 w 8634799"/>
                  <a:gd name="connsiteY5" fmla="*/ 846591 h 847528"/>
                  <a:gd name="connsiteX6" fmla="*/ 937008 w 8634799"/>
                  <a:gd name="connsiteY6" fmla="*/ 754148 h 847528"/>
                  <a:gd name="connsiteX7" fmla="*/ 1631867 w 8634799"/>
                  <a:gd name="connsiteY7" fmla="*/ 788136 h 847528"/>
                  <a:gd name="connsiteX8" fmla="*/ 2087877 w 8634799"/>
                  <a:gd name="connsiteY8" fmla="*/ 728648 h 847528"/>
                  <a:gd name="connsiteX9" fmla="*/ 2565599 w 8634799"/>
                  <a:gd name="connsiteY9" fmla="*/ 728648 h 847528"/>
                  <a:gd name="connsiteX10" fmla="*/ 3336468 w 8634799"/>
                  <a:gd name="connsiteY10" fmla="*/ 771142 h 847528"/>
                  <a:gd name="connsiteX11" fmla="*/ 4215904 w 8634799"/>
                  <a:gd name="connsiteY11" fmla="*/ 754148 h 847528"/>
                  <a:gd name="connsiteX12" fmla="*/ 4845622 w 8634799"/>
                  <a:gd name="connsiteY12" fmla="*/ 762654 h 847528"/>
                  <a:gd name="connsiteX13" fmla="*/ 5681632 w 8634799"/>
                  <a:gd name="connsiteY13" fmla="*/ 762654 h 847528"/>
                  <a:gd name="connsiteX14" fmla="*/ 6745645 w 8634799"/>
                  <a:gd name="connsiteY14" fmla="*/ 788154 h 847528"/>
                  <a:gd name="connsiteX15" fmla="*/ 7494800 w 8634799"/>
                  <a:gd name="connsiteY15" fmla="*/ 779648 h 847528"/>
                  <a:gd name="connsiteX16" fmla="*/ 8026795 w 8634799"/>
                  <a:gd name="connsiteY16" fmla="*/ 771142 h 847528"/>
                  <a:gd name="connsiteX17" fmla="*/ 8504518 w 8634799"/>
                  <a:gd name="connsiteY17" fmla="*/ 737154 h 847528"/>
                  <a:gd name="connsiteX18" fmla="*/ 8634799 w 8634799"/>
                  <a:gd name="connsiteY18" fmla="*/ 754148 h 847528"/>
                  <a:gd name="connsiteX19" fmla="*/ 8634799 w 8634799"/>
                  <a:gd name="connsiteY19" fmla="*/ 133791 h 847528"/>
                  <a:gd name="connsiteX20" fmla="*/ 8450223 w 8634799"/>
                  <a:gd name="connsiteY20" fmla="*/ 65870 h 847528"/>
                  <a:gd name="connsiteX21" fmla="*/ 7635927 w 8634799"/>
                  <a:gd name="connsiteY21" fmla="*/ 14889 h 847528"/>
                  <a:gd name="connsiteX22" fmla="*/ 7049636 w 8634799"/>
                  <a:gd name="connsiteY22" fmla="*/ 108364 h 847528"/>
                  <a:gd name="connsiteX23" fmla="*/ 6148486 w 8634799"/>
                  <a:gd name="connsiteY23" fmla="*/ 201839 h 847528"/>
                  <a:gd name="connsiteX24" fmla="*/ 5182195 w 8634799"/>
                  <a:gd name="connsiteY24" fmla="*/ 201839 h 847528"/>
                  <a:gd name="connsiteX25" fmla="*/ 3455905 w 8634799"/>
                  <a:gd name="connsiteY25" fmla="*/ 193333 h 847528"/>
                  <a:gd name="connsiteX26" fmla="*/ 2370177 w 8634799"/>
                  <a:gd name="connsiteY26" fmla="*/ 65870 h 847528"/>
                  <a:gd name="connsiteX27" fmla="*/ 578745 w 8634799"/>
                  <a:gd name="connsiteY27" fmla="*/ 57364 h 847528"/>
                  <a:gd name="connsiteX28" fmla="*/ 38923 w 8634799"/>
                  <a:gd name="connsiteY28" fmla="*/ 66415 h 847528"/>
                  <a:gd name="connsiteX0" fmla="*/ 38923 w 8634799"/>
                  <a:gd name="connsiteY0" fmla="*/ 66415 h 847530"/>
                  <a:gd name="connsiteX1" fmla="*/ 4765 w 8634799"/>
                  <a:gd name="connsiteY1" fmla="*/ 139144 h 847530"/>
                  <a:gd name="connsiteX2" fmla="*/ 16985 w 8634799"/>
                  <a:gd name="connsiteY2" fmla="*/ 350379 h 847530"/>
                  <a:gd name="connsiteX3" fmla="*/ 31647 w 8634799"/>
                  <a:gd name="connsiteY3" fmla="*/ 609625 h 847530"/>
                  <a:gd name="connsiteX4" fmla="*/ 43864 w 8634799"/>
                  <a:gd name="connsiteY4" fmla="*/ 686441 h 847530"/>
                  <a:gd name="connsiteX5" fmla="*/ 80207 w 8634799"/>
                  <a:gd name="connsiteY5" fmla="*/ 846591 h 847530"/>
                  <a:gd name="connsiteX6" fmla="*/ 937008 w 8634799"/>
                  <a:gd name="connsiteY6" fmla="*/ 754148 h 847530"/>
                  <a:gd name="connsiteX7" fmla="*/ 1631867 w 8634799"/>
                  <a:gd name="connsiteY7" fmla="*/ 788136 h 847530"/>
                  <a:gd name="connsiteX8" fmla="*/ 2087877 w 8634799"/>
                  <a:gd name="connsiteY8" fmla="*/ 728648 h 847530"/>
                  <a:gd name="connsiteX9" fmla="*/ 2565599 w 8634799"/>
                  <a:gd name="connsiteY9" fmla="*/ 728648 h 847530"/>
                  <a:gd name="connsiteX10" fmla="*/ 3336468 w 8634799"/>
                  <a:gd name="connsiteY10" fmla="*/ 771142 h 847530"/>
                  <a:gd name="connsiteX11" fmla="*/ 4215904 w 8634799"/>
                  <a:gd name="connsiteY11" fmla="*/ 754148 h 847530"/>
                  <a:gd name="connsiteX12" fmla="*/ 4845622 w 8634799"/>
                  <a:gd name="connsiteY12" fmla="*/ 762654 h 847530"/>
                  <a:gd name="connsiteX13" fmla="*/ 5681632 w 8634799"/>
                  <a:gd name="connsiteY13" fmla="*/ 762654 h 847530"/>
                  <a:gd name="connsiteX14" fmla="*/ 6745645 w 8634799"/>
                  <a:gd name="connsiteY14" fmla="*/ 788154 h 847530"/>
                  <a:gd name="connsiteX15" fmla="*/ 7494800 w 8634799"/>
                  <a:gd name="connsiteY15" fmla="*/ 779648 h 847530"/>
                  <a:gd name="connsiteX16" fmla="*/ 8026795 w 8634799"/>
                  <a:gd name="connsiteY16" fmla="*/ 771142 h 847530"/>
                  <a:gd name="connsiteX17" fmla="*/ 8504518 w 8634799"/>
                  <a:gd name="connsiteY17" fmla="*/ 737154 h 847530"/>
                  <a:gd name="connsiteX18" fmla="*/ 8634799 w 8634799"/>
                  <a:gd name="connsiteY18" fmla="*/ 754148 h 847530"/>
                  <a:gd name="connsiteX19" fmla="*/ 8634799 w 8634799"/>
                  <a:gd name="connsiteY19" fmla="*/ 133791 h 847530"/>
                  <a:gd name="connsiteX20" fmla="*/ 8450223 w 8634799"/>
                  <a:gd name="connsiteY20" fmla="*/ 65870 h 847530"/>
                  <a:gd name="connsiteX21" fmla="*/ 7635927 w 8634799"/>
                  <a:gd name="connsiteY21" fmla="*/ 14889 h 847530"/>
                  <a:gd name="connsiteX22" fmla="*/ 7049636 w 8634799"/>
                  <a:gd name="connsiteY22" fmla="*/ 108364 h 847530"/>
                  <a:gd name="connsiteX23" fmla="*/ 6132068 w 8634799"/>
                  <a:gd name="connsiteY23" fmla="*/ 131955 h 847530"/>
                  <a:gd name="connsiteX24" fmla="*/ 5182195 w 8634799"/>
                  <a:gd name="connsiteY24" fmla="*/ 201839 h 847530"/>
                  <a:gd name="connsiteX25" fmla="*/ 3455905 w 8634799"/>
                  <a:gd name="connsiteY25" fmla="*/ 193333 h 847530"/>
                  <a:gd name="connsiteX26" fmla="*/ 2370177 w 8634799"/>
                  <a:gd name="connsiteY26" fmla="*/ 65870 h 847530"/>
                  <a:gd name="connsiteX27" fmla="*/ 578745 w 8634799"/>
                  <a:gd name="connsiteY27" fmla="*/ 57364 h 847530"/>
                  <a:gd name="connsiteX28" fmla="*/ 38923 w 8634799"/>
                  <a:gd name="connsiteY28" fmla="*/ 66415 h 847530"/>
                  <a:gd name="connsiteX0" fmla="*/ 38923 w 8634799"/>
                  <a:gd name="connsiteY0" fmla="*/ 66415 h 847528"/>
                  <a:gd name="connsiteX1" fmla="*/ 4765 w 8634799"/>
                  <a:gd name="connsiteY1" fmla="*/ 139144 h 847528"/>
                  <a:gd name="connsiteX2" fmla="*/ 16985 w 8634799"/>
                  <a:gd name="connsiteY2" fmla="*/ 350379 h 847528"/>
                  <a:gd name="connsiteX3" fmla="*/ 31647 w 8634799"/>
                  <a:gd name="connsiteY3" fmla="*/ 609625 h 847528"/>
                  <a:gd name="connsiteX4" fmla="*/ 43864 w 8634799"/>
                  <a:gd name="connsiteY4" fmla="*/ 686441 h 847528"/>
                  <a:gd name="connsiteX5" fmla="*/ 80207 w 8634799"/>
                  <a:gd name="connsiteY5" fmla="*/ 846591 h 847528"/>
                  <a:gd name="connsiteX6" fmla="*/ 937008 w 8634799"/>
                  <a:gd name="connsiteY6" fmla="*/ 754148 h 847528"/>
                  <a:gd name="connsiteX7" fmla="*/ 1631867 w 8634799"/>
                  <a:gd name="connsiteY7" fmla="*/ 788136 h 847528"/>
                  <a:gd name="connsiteX8" fmla="*/ 2087877 w 8634799"/>
                  <a:gd name="connsiteY8" fmla="*/ 728648 h 847528"/>
                  <a:gd name="connsiteX9" fmla="*/ 2565599 w 8634799"/>
                  <a:gd name="connsiteY9" fmla="*/ 728648 h 847528"/>
                  <a:gd name="connsiteX10" fmla="*/ 3336468 w 8634799"/>
                  <a:gd name="connsiteY10" fmla="*/ 771142 h 847528"/>
                  <a:gd name="connsiteX11" fmla="*/ 4215904 w 8634799"/>
                  <a:gd name="connsiteY11" fmla="*/ 754148 h 847528"/>
                  <a:gd name="connsiteX12" fmla="*/ 4845622 w 8634799"/>
                  <a:gd name="connsiteY12" fmla="*/ 762654 h 847528"/>
                  <a:gd name="connsiteX13" fmla="*/ 5681632 w 8634799"/>
                  <a:gd name="connsiteY13" fmla="*/ 762654 h 847528"/>
                  <a:gd name="connsiteX14" fmla="*/ 6745645 w 8634799"/>
                  <a:gd name="connsiteY14" fmla="*/ 788154 h 847528"/>
                  <a:gd name="connsiteX15" fmla="*/ 7494800 w 8634799"/>
                  <a:gd name="connsiteY15" fmla="*/ 779648 h 847528"/>
                  <a:gd name="connsiteX16" fmla="*/ 8026795 w 8634799"/>
                  <a:gd name="connsiteY16" fmla="*/ 771142 h 847528"/>
                  <a:gd name="connsiteX17" fmla="*/ 8504518 w 8634799"/>
                  <a:gd name="connsiteY17" fmla="*/ 737154 h 847528"/>
                  <a:gd name="connsiteX18" fmla="*/ 8634799 w 8634799"/>
                  <a:gd name="connsiteY18" fmla="*/ 754148 h 847528"/>
                  <a:gd name="connsiteX19" fmla="*/ 8634799 w 8634799"/>
                  <a:gd name="connsiteY19" fmla="*/ 133791 h 847528"/>
                  <a:gd name="connsiteX20" fmla="*/ 8450223 w 8634799"/>
                  <a:gd name="connsiteY20" fmla="*/ 65870 h 847528"/>
                  <a:gd name="connsiteX21" fmla="*/ 7635927 w 8634799"/>
                  <a:gd name="connsiteY21" fmla="*/ 14889 h 847528"/>
                  <a:gd name="connsiteX22" fmla="*/ 7049636 w 8634799"/>
                  <a:gd name="connsiteY22" fmla="*/ 108364 h 847528"/>
                  <a:gd name="connsiteX23" fmla="*/ 6132068 w 8634799"/>
                  <a:gd name="connsiteY23" fmla="*/ 131955 h 847528"/>
                  <a:gd name="connsiteX24" fmla="*/ 5182195 w 8634799"/>
                  <a:gd name="connsiteY24" fmla="*/ 201839 h 847528"/>
                  <a:gd name="connsiteX25" fmla="*/ 3455905 w 8634799"/>
                  <a:gd name="connsiteY25" fmla="*/ 193333 h 847528"/>
                  <a:gd name="connsiteX26" fmla="*/ 2370177 w 8634799"/>
                  <a:gd name="connsiteY26" fmla="*/ 65870 h 847528"/>
                  <a:gd name="connsiteX27" fmla="*/ 578745 w 8634799"/>
                  <a:gd name="connsiteY27" fmla="*/ 57364 h 847528"/>
                  <a:gd name="connsiteX28" fmla="*/ 38923 w 8634799"/>
                  <a:gd name="connsiteY28" fmla="*/ 66415 h 847528"/>
                  <a:gd name="connsiteX0" fmla="*/ 38923 w 8634799"/>
                  <a:gd name="connsiteY0" fmla="*/ 66415 h 847530"/>
                  <a:gd name="connsiteX1" fmla="*/ 4765 w 8634799"/>
                  <a:gd name="connsiteY1" fmla="*/ 139144 h 847530"/>
                  <a:gd name="connsiteX2" fmla="*/ 16985 w 8634799"/>
                  <a:gd name="connsiteY2" fmla="*/ 350379 h 847530"/>
                  <a:gd name="connsiteX3" fmla="*/ 31647 w 8634799"/>
                  <a:gd name="connsiteY3" fmla="*/ 609625 h 847530"/>
                  <a:gd name="connsiteX4" fmla="*/ 43864 w 8634799"/>
                  <a:gd name="connsiteY4" fmla="*/ 686441 h 847530"/>
                  <a:gd name="connsiteX5" fmla="*/ 80207 w 8634799"/>
                  <a:gd name="connsiteY5" fmla="*/ 846591 h 847530"/>
                  <a:gd name="connsiteX6" fmla="*/ 937008 w 8634799"/>
                  <a:gd name="connsiteY6" fmla="*/ 754148 h 847530"/>
                  <a:gd name="connsiteX7" fmla="*/ 1631867 w 8634799"/>
                  <a:gd name="connsiteY7" fmla="*/ 788136 h 847530"/>
                  <a:gd name="connsiteX8" fmla="*/ 2087877 w 8634799"/>
                  <a:gd name="connsiteY8" fmla="*/ 728648 h 847530"/>
                  <a:gd name="connsiteX9" fmla="*/ 2565599 w 8634799"/>
                  <a:gd name="connsiteY9" fmla="*/ 728648 h 847530"/>
                  <a:gd name="connsiteX10" fmla="*/ 3336468 w 8634799"/>
                  <a:gd name="connsiteY10" fmla="*/ 771142 h 847530"/>
                  <a:gd name="connsiteX11" fmla="*/ 4215904 w 8634799"/>
                  <a:gd name="connsiteY11" fmla="*/ 754148 h 847530"/>
                  <a:gd name="connsiteX12" fmla="*/ 4845622 w 8634799"/>
                  <a:gd name="connsiteY12" fmla="*/ 762654 h 847530"/>
                  <a:gd name="connsiteX13" fmla="*/ 5681632 w 8634799"/>
                  <a:gd name="connsiteY13" fmla="*/ 762654 h 847530"/>
                  <a:gd name="connsiteX14" fmla="*/ 6745645 w 8634799"/>
                  <a:gd name="connsiteY14" fmla="*/ 788154 h 847530"/>
                  <a:gd name="connsiteX15" fmla="*/ 7494800 w 8634799"/>
                  <a:gd name="connsiteY15" fmla="*/ 779648 h 847530"/>
                  <a:gd name="connsiteX16" fmla="*/ 8026795 w 8634799"/>
                  <a:gd name="connsiteY16" fmla="*/ 771142 h 847530"/>
                  <a:gd name="connsiteX17" fmla="*/ 8504518 w 8634799"/>
                  <a:gd name="connsiteY17" fmla="*/ 737154 h 847530"/>
                  <a:gd name="connsiteX18" fmla="*/ 8634799 w 8634799"/>
                  <a:gd name="connsiteY18" fmla="*/ 754148 h 847530"/>
                  <a:gd name="connsiteX19" fmla="*/ 8634799 w 8634799"/>
                  <a:gd name="connsiteY19" fmla="*/ 133791 h 847530"/>
                  <a:gd name="connsiteX20" fmla="*/ 8450223 w 8634799"/>
                  <a:gd name="connsiteY20" fmla="*/ 65870 h 847530"/>
                  <a:gd name="connsiteX21" fmla="*/ 7635927 w 8634799"/>
                  <a:gd name="connsiteY21" fmla="*/ 14889 h 847530"/>
                  <a:gd name="connsiteX22" fmla="*/ 7049636 w 8634799"/>
                  <a:gd name="connsiteY22" fmla="*/ 108364 h 847530"/>
                  <a:gd name="connsiteX23" fmla="*/ 6132068 w 8634799"/>
                  <a:gd name="connsiteY23" fmla="*/ 131955 h 847530"/>
                  <a:gd name="connsiteX24" fmla="*/ 5182195 w 8634799"/>
                  <a:gd name="connsiteY24" fmla="*/ 201839 h 847530"/>
                  <a:gd name="connsiteX25" fmla="*/ 3455905 w 8634799"/>
                  <a:gd name="connsiteY25" fmla="*/ 193333 h 847530"/>
                  <a:gd name="connsiteX26" fmla="*/ 2370177 w 8634799"/>
                  <a:gd name="connsiteY26" fmla="*/ 65870 h 847530"/>
                  <a:gd name="connsiteX27" fmla="*/ 578745 w 8634799"/>
                  <a:gd name="connsiteY27" fmla="*/ 57364 h 847530"/>
                  <a:gd name="connsiteX28" fmla="*/ 38923 w 8634799"/>
                  <a:gd name="connsiteY28" fmla="*/ 66415 h 847530"/>
                  <a:gd name="connsiteX0" fmla="*/ 38923 w 8634799"/>
                  <a:gd name="connsiteY0" fmla="*/ 66415 h 847528"/>
                  <a:gd name="connsiteX1" fmla="*/ 4765 w 8634799"/>
                  <a:gd name="connsiteY1" fmla="*/ 139144 h 847528"/>
                  <a:gd name="connsiteX2" fmla="*/ 16985 w 8634799"/>
                  <a:gd name="connsiteY2" fmla="*/ 350379 h 847528"/>
                  <a:gd name="connsiteX3" fmla="*/ 31647 w 8634799"/>
                  <a:gd name="connsiteY3" fmla="*/ 609625 h 847528"/>
                  <a:gd name="connsiteX4" fmla="*/ 43864 w 8634799"/>
                  <a:gd name="connsiteY4" fmla="*/ 686441 h 847528"/>
                  <a:gd name="connsiteX5" fmla="*/ 80207 w 8634799"/>
                  <a:gd name="connsiteY5" fmla="*/ 846591 h 847528"/>
                  <a:gd name="connsiteX6" fmla="*/ 937008 w 8634799"/>
                  <a:gd name="connsiteY6" fmla="*/ 754148 h 847528"/>
                  <a:gd name="connsiteX7" fmla="*/ 1631867 w 8634799"/>
                  <a:gd name="connsiteY7" fmla="*/ 788136 h 847528"/>
                  <a:gd name="connsiteX8" fmla="*/ 2087877 w 8634799"/>
                  <a:gd name="connsiteY8" fmla="*/ 728648 h 847528"/>
                  <a:gd name="connsiteX9" fmla="*/ 2565599 w 8634799"/>
                  <a:gd name="connsiteY9" fmla="*/ 728648 h 847528"/>
                  <a:gd name="connsiteX10" fmla="*/ 3336468 w 8634799"/>
                  <a:gd name="connsiteY10" fmla="*/ 771142 h 847528"/>
                  <a:gd name="connsiteX11" fmla="*/ 4215904 w 8634799"/>
                  <a:gd name="connsiteY11" fmla="*/ 754148 h 847528"/>
                  <a:gd name="connsiteX12" fmla="*/ 4845622 w 8634799"/>
                  <a:gd name="connsiteY12" fmla="*/ 762654 h 847528"/>
                  <a:gd name="connsiteX13" fmla="*/ 5681632 w 8634799"/>
                  <a:gd name="connsiteY13" fmla="*/ 762654 h 847528"/>
                  <a:gd name="connsiteX14" fmla="*/ 6745645 w 8634799"/>
                  <a:gd name="connsiteY14" fmla="*/ 788154 h 847528"/>
                  <a:gd name="connsiteX15" fmla="*/ 7494800 w 8634799"/>
                  <a:gd name="connsiteY15" fmla="*/ 779648 h 847528"/>
                  <a:gd name="connsiteX16" fmla="*/ 8026795 w 8634799"/>
                  <a:gd name="connsiteY16" fmla="*/ 771142 h 847528"/>
                  <a:gd name="connsiteX17" fmla="*/ 8504518 w 8634799"/>
                  <a:gd name="connsiteY17" fmla="*/ 737154 h 847528"/>
                  <a:gd name="connsiteX18" fmla="*/ 8634799 w 8634799"/>
                  <a:gd name="connsiteY18" fmla="*/ 754148 h 847528"/>
                  <a:gd name="connsiteX19" fmla="*/ 8634799 w 8634799"/>
                  <a:gd name="connsiteY19" fmla="*/ 133791 h 847528"/>
                  <a:gd name="connsiteX20" fmla="*/ 8450223 w 8634799"/>
                  <a:gd name="connsiteY20" fmla="*/ 65870 h 847528"/>
                  <a:gd name="connsiteX21" fmla="*/ 7635927 w 8634799"/>
                  <a:gd name="connsiteY21" fmla="*/ 14889 h 847528"/>
                  <a:gd name="connsiteX22" fmla="*/ 7049636 w 8634799"/>
                  <a:gd name="connsiteY22" fmla="*/ 108364 h 847528"/>
                  <a:gd name="connsiteX23" fmla="*/ 6342549 w 8634799"/>
                  <a:gd name="connsiteY23" fmla="*/ 55805 h 847528"/>
                  <a:gd name="connsiteX24" fmla="*/ 6132068 w 8634799"/>
                  <a:gd name="connsiteY24" fmla="*/ 131955 h 847528"/>
                  <a:gd name="connsiteX25" fmla="*/ 5182195 w 8634799"/>
                  <a:gd name="connsiteY25" fmla="*/ 201839 h 847528"/>
                  <a:gd name="connsiteX26" fmla="*/ 3455905 w 8634799"/>
                  <a:gd name="connsiteY26" fmla="*/ 193333 h 847528"/>
                  <a:gd name="connsiteX27" fmla="*/ 2370177 w 8634799"/>
                  <a:gd name="connsiteY27" fmla="*/ 65870 h 847528"/>
                  <a:gd name="connsiteX28" fmla="*/ 578745 w 8634799"/>
                  <a:gd name="connsiteY28" fmla="*/ 57364 h 847528"/>
                  <a:gd name="connsiteX29" fmla="*/ 38923 w 8634799"/>
                  <a:gd name="connsiteY29" fmla="*/ 66415 h 847528"/>
                  <a:gd name="connsiteX0" fmla="*/ 38923 w 8634799"/>
                  <a:gd name="connsiteY0" fmla="*/ 66415 h 847530"/>
                  <a:gd name="connsiteX1" fmla="*/ 4765 w 8634799"/>
                  <a:gd name="connsiteY1" fmla="*/ 139144 h 847530"/>
                  <a:gd name="connsiteX2" fmla="*/ 16985 w 8634799"/>
                  <a:gd name="connsiteY2" fmla="*/ 350379 h 847530"/>
                  <a:gd name="connsiteX3" fmla="*/ 31647 w 8634799"/>
                  <a:gd name="connsiteY3" fmla="*/ 609625 h 847530"/>
                  <a:gd name="connsiteX4" fmla="*/ 43864 w 8634799"/>
                  <a:gd name="connsiteY4" fmla="*/ 686441 h 847530"/>
                  <a:gd name="connsiteX5" fmla="*/ 80207 w 8634799"/>
                  <a:gd name="connsiteY5" fmla="*/ 846591 h 847530"/>
                  <a:gd name="connsiteX6" fmla="*/ 937008 w 8634799"/>
                  <a:gd name="connsiteY6" fmla="*/ 754148 h 847530"/>
                  <a:gd name="connsiteX7" fmla="*/ 1631867 w 8634799"/>
                  <a:gd name="connsiteY7" fmla="*/ 788136 h 847530"/>
                  <a:gd name="connsiteX8" fmla="*/ 2087877 w 8634799"/>
                  <a:gd name="connsiteY8" fmla="*/ 728648 h 847530"/>
                  <a:gd name="connsiteX9" fmla="*/ 2565599 w 8634799"/>
                  <a:gd name="connsiteY9" fmla="*/ 728648 h 847530"/>
                  <a:gd name="connsiteX10" fmla="*/ 3336468 w 8634799"/>
                  <a:gd name="connsiteY10" fmla="*/ 771142 h 847530"/>
                  <a:gd name="connsiteX11" fmla="*/ 4215904 w 8634799"/>
                  <a:gd name="connsiteY11" fmla="*/ 754148 h 847530"/>
                  <a:gd name="connsiteX12" fmla="*/ 4845622 w 8634799"/>
                  <a:gd name="connsiteY12" fmla="*/ 762654 h 847530"/>
                  <a:gd name="connsiteX13" fmla="*/ 5681632 w 8634799"/>
                  <a:gd name="connsiteY13" fmla="*/ 762654 h 847530"/>
                  <a:gd name="connsiteX14" fmla="*/ 6745645 w 8634799"/>
                  <a:gd name="connsiteY14" fmla="*/ 788154 h 847530"/>
                  <a:gd name="connsiteX15" fmla="*/ 7494800 w 8634799"/>
                  <a:gd name="connsiteY15" fmla="*/ 779648 h 847530"/>
                  <a:gd name="connsiteX16" fmla="*/ 8026795 w 8634799"/>
                  <a:gd name="connsiteY16" fmla="*/ 771142 h 847530"/>
                  <a:gd name="connsiteX17" fmla="*/ 8504518 w 8634799"/>
                  <a:gd name="connsiteY17" fmla="*/ 737154 h 847530"/>
                  <a:gd name="connsiteX18" fmla="*/ 8634799 w 8634799"/>
                  <a:gd name="connsiteY18" fmla="*/ 754148 h 847530"/>
                  <a:gd name="connsiteX19" fmla="*/ 8634799 w 8634799"/>
                  <a:gd name="connsiteY19" fmla="*/ 133791 h 847530"/>
                  <a:gd name="connsiteX20" fmla="*/ 8450223 w 8634799"/>
                  <a:gd name="connsiteY20" fmla="*/ 65870 h 847530"/>
                  <a:gd name="connsiteX21" fmla="*/ 7635927 w 8634799"/>
                  <a:gd name="connsiteY21" fmla="*/ 14889 h 847530"/>
                  <a:gd name="connsiteX22" fmla="*/ 7049636 w 8634799"/>
                  <a:gd name="connsiteY22" fmla="*/ 108364 h 847530"/>
                  <a:gd name="connsiteX23" fmla="*/ 6342549 w 8634799"/>
                  <a:gd name="connsiteY23" fmla="*/ 55805 h 847530"/>
                  <a:gd name="connsiteX24" fmla="*/ 6132068 w 8634799"/>
                  <a:gd name="connsiteY24" fmla="*/ 131955 h 847530"/>
                  <a:gd name="connsiteX25" fmla="*/ 5182195 w 8634799"/>
                  <a:gd name="connsiteY25" fmla="*/ 201839 h 847530"/>
                  <a:gd name="connsiteX26" fmla="*/ 3455905 w 8634799"/>
                  <a:gd name="connsiteY26" fmla="*/ 193333 h 847530"/>
                  <a:gd name="connsiteX27" fmla="*/ 2370177 w 8634799"/>
                  <a:gd name="connsiteY27" fmla="*/ 65870 h 847530"/>
                  <a:gd name="connsiteX28" fmla="*/ 578745 w 8634799"/>
                  <a:gd name="connsiteY28" fmla="*/ 57364 h 847530"/>
                  <a:gd name="connsiteX29" fmla="*/ 38923 w 8634799"/>
                  <a:gd name="connsiteY29" fmla="*/ 66415 h 847530"/>
                  <a:gd name="connsiteX0" fmla="*/ 38923 w 8634799"/>
                  <a:gd name="connsiteY0" fmla="*/ 66415 h 847528"/>
                  <a:gd name="connsiteX1" fmla="*/ 4765 w 8634799"/>
                  <a:gd name="connsiteY1" fmla="*/ 139144 h 847528"/>
                  <a:gd name="connsiteX2" fmla="*/ 16985 w 8634799"/>
                  <a:gd name="connsiteY2" fmla="*/ 350379 h 847528"/>
                  <a:gd name="connsiteX3" fmla="*/ 31647 w 8634799"/>
                  <a:gd name="connsiteY3" fmla="*/ 609625 h 847528"/>
                  <a:gd name="connsiteX4" fmla="*/ 43864 w 8634799"/>
                  <a:gd name="connsiteY4" fmla="*/ 686441 h 847528"/>
                  <a:gd name="connsiteX5" fmla="*/ 80207 w 8634799"/>
                  <a:gd name="connsiteY5" fmla="*/ 846591 h 847528"/>
                  <a:gd name="connsiteX6" fmla="*/ 937008 w 8634799"/>
                  <a:gd name="connsiteY6" fmla="*/ 754148 h 847528"/>
                  <a:gd name="connsiteX7" fmla="*/ 1631867 w 8634799"/>
                  <a:gd name="connsiteY7" fmla="*/ 788136 h 847528"/>
                  <a:gd name="connsiteX8" fmla="*/ 2087877 w 8634799"/>
                  <a:gd name="connsiteY8" fmla="*/ 728648 h 847528"/>
                  <a:gd name="connsiteX9" fmla="*/ 2565599 w 8634799"/>
                  <a:gd name="connsiteY9" fmla="*/ 728648 h 847528"/>
                  <a:gd name="connsiteX10" fmla="*/ 3336468 w 8634799"/>
                  <a:gd name="connsiteY10" fmla="*/ 771142 h 847528"/>
                  <a:gd name="connsiteX11" fmla="*/ 4215904 w 8634799"/>
                  <a:gd name="connsiteY11" fmla="*/ 754148 h 847528"/>
                  <a:gd name="connsiteX12" fmla="*/ 4845622 w 8634799"/>
                  <a:gd name="connsiteY12" fmla="*/ 762654 h 847528"/>
                  <a:gd name="connsiteX13" fmla="*/ 5681632 w 8634799"/>
                  <a:gd name="connsiteY13" fmla="*/ 762654 h 847528"/>
                  <a:gd name="connsiteX14" fmla="*/ 6745645 w 8634799"/>
                  <a:gd name="connsiteY14" fmla="*/ 788154 h 847528"/>
                  <a:gd name="connsiteX15" fmla="*/ 7494800 w 8634799"/>
                  <a:gd name="connsiteY15" fmla="*/ 779648 h 847528"/>
                  <a:gd name="connsiteX16" fmla="*/ 8026795 w 8634799"/>
                  <a:gd name="connsiteY16" fmla="*/ 771142 h 847528"/>
                  <a:gd name="connsiteX17" fmla="*/ 8504518 w 8634799"/>
                  <a:gd name="connsiteY17" fmla="*/ 737154 h 847528"/>
                  <a:gd name="connsiteX18" fmla="*/ 8634799 w 8634799"/>
                  <a:gd name="connsiteY18" fmla="*/ 754148 h 847528"/>
                  <a:gd name="connsiteX19" fmla="*/ 8634799 w 8634799"/>
                  <a:gd name="connsiteY19" fmla="*/ 133791 h 847528"/>
                  <a:gd name="connsiteX20" fmla="*/ 8450223 w 8634799"/>
                  <a:gd name="connsiteY20" fmla="*/ 65870 h 847528"/>
                  <a:gd name="connsiteX21" fmla="*/ 7635927 w 8634799"/>
                  <a:gd name="connsiteY21" fmla="*/ 14889 h 847528"/>
                  <a:gd name="connsiteX22" fmla="*/ 7049636 w 8634799"/>
                  <a:gd name="connsiteY22" fmla="*/ 108364 h 847528"/>
                  <a:gd name="connsiteX23" fmla="*/ 6342549 w 8634799"/>
                  <a:gd name="connsiteY23" fmla="*/ 55805 h 847528"/>
                  <a:gd name="connsiteX24" fmla="*/ 5902209 w 8634799"/>
                  <a:gd name="connsiteY24" fmla="*/ 158833 h 847528"/>
                  <a:gd name="connsiteX25" fmla="*/ 5182195 w 8634799"/>
                  <a:gd name="connsiteY25" fmla="*/ 201839 h 847528"/>
                  <a:gd name="connsiteX26" fmla="*/ 3455905 w 8634799"/>
                  <a:gd name="connsiteY26" fmla="*/ 193333 h 847528"/>
                  <a:gd name="connsiteX27" fmla="*/ 2370177 w 8634799"/>
                  <a:gd name="connsiteY27" fmla="*/ 65870 h 847528"/>
                  <a:gd name="connsiteX28" fmla="*/ 578745 w 8634799"/>
                  <a:gd name="connsiteY28" fmla="*/ 57364 h 847528"/>
                  <a:gd name="connsiteX29" fmla="*/ 38923 w 8634799"/>
                  <a:gd name="connsiteY29" fmla="*/ 66415 h 847528"/>
                  <a:gd name="connsiteX0" fmla="*/ 38923 w 8634799"/>
                  <a:gd name="connsiteY0" fmla="*/ 111866 h 892981"/>
                  <a:gd name="connsiteX1" fmla="*/ 4765 w 8634799"/>
                  <a:gd name="connsiteY1" fmla="*/ 184595 h 892981"/>
                  <a:gd name="connsiteX2" fmla="*/ 16985 w 8634799"/>
                  <a:gd name="connsiteY2" fmla="*/ 395830 h 892981"/>
                  <a:gd name="connsiteX3" fmla="*/ 31647 w 8634799"/>
                  <a:gd name="connsiteY3" fmla="*/ 655076 h 892981"/>
                  <a:gd name="connsiteX4" fmla="*/ 43864 w 8634799"/>
                  <a:gd name="connsiteY4" fmla="*/ 731892 h 892981"/>
                  <a:gd name="connsiteX5" fmla="*/ 80207 w 8634799"/>
                  <a:gd name="connsiteY5" fmla="*/ 892042 h 892981"/>
                  <a:gd name="connsiteX6" fmla="*/ 937008 w 8634799"/>
                  <a:gd name="connsiteY6" fmla="*/ 799599 h 892981"/>
                  <a:gd name="connsiteX7" fmla="*/ 1631867 w 8634799"/>
                  <a:gd name="connsiteY7" fmla="*/ 833587 h 892981"/>
                  <a:gd name="connsiteX8" fmla="*/ 2087877 w 8634799"/>
                  <a:gd name="connsiteY8" fmla="*/ 774099 h 892981"/>
                  <a:gd name="connsiteX9" fmla="*/ 2565599 w 8634799"/>
                  <a:gd name="connsiteY9" fmla="*/ 774099 h 892981"/>
                  <a:gd name="connsiteX10" fmla="*/ 3336468 w 8634799"/>
                  <a:gd name="connsiteY10" fmla="*/ 816593 h 892981"/>
                  <a:gd name="connsiteX11" fmla="*/ 4215904 w 8634799"/>
                  <a:gd name="connsiteY11" fmla="*/ 799599 h 892981"/>
                  <a:gd name="connsiteX12" fmla="*/ 4845622 w 8634799"/>
                  <a:gd name="connsiteY12" fmla="*/ 808105 h 892981"/>
                  <a:gd name="connsiteX13" fmla="*/ 5681632 w 8634799"/>
                  <a:gd name="connsiteY13" fmla="*/ 808105 h 892981"/>
                  <a:gd name="connsiteX14" fmla="*/ 6745645 w 8634799"/>
                  <a:gd name="connsiteY14" fmla="*/ 833605 h 892981"/>
                  <a:gd name="connsiteX15" fmla="*/ 7494800 w 8634799"/>
                  <a:gd name="connsiteY15" fmla="*/ 825099 h 892981"/>
                  <a:gd name="connsiteX16" fmla="*/ 8026795 w 8634799"/>
                  <a:gd name="connsiteY16" fmla="*/ 816593 h 892981"/>
                  <a:gd name="connsiteX17" fmla="*/ 8504518 w 8634799"/>
                  <a:gd name="connsiteY17" fmla="*/ 782605 h 892981"/>
                  <a:gd name="connsiteX18" fmla="*/ 8634799 w 8634799"/>
                  <a:gd name="connsiteY18" fmla="*/ 799599 h 892981"/>
                  <a:gd name="connsiteX19" fmla="*/ 8634799 w 8634799"/>
                  <a:gd name="connsiteY19" fmla="*/ 179242 h 892981"/>
                  <a:gd name="connsiteX20" fmla="*/ 8450223 w 8634799"/>
                  <a:gd name="connsiteY20" fmla="*/ 111321 h 892981"/>
                  <a:gd name="connsiteX21" fmla="*/ 7635927 w 8634799"/>
                  <a:gd name="connsiteY21" fmla="*/ 60340 h 892981"/>
                  <a:gd name="connsiteX22" fmla="*/ 7049636 w 8634799"/>
                  <a:gd name="connsiteY22" fmla="*/ 153815 h 892981"/>
                  <a:gd name="connsiteX23" fmla="*/ 6342549 w 8634799"/>
                  <a:gd name="connsiteY23" fmla="*/ 101256 h 892981"/>
                  <a:gd name="connsiteX24" fmla="*/ 5902209 w 8634799"/>
                  <a:gd name="connsiteY24" fmla="*/ 204284 h 892981"/>
                  <a:gd name="connsiteX25" fmla="*/ 5182195 w 8634799"/>
                  <a:gd name="connsiteY25" fmla="*/ 247290 h 892981"/>
                  <a:gd name="connsiteX26" fmla="*/ 3469826 w 8634799"/>
                  <a:gd name="connsiteY26" fmla="*/ 5421 h 892981"/>
                  <a:gd name="connsiteX27" fmla="*/ 2370177 w 8634799"/>
                  <a:gd name="connsiteY27" fmla="*/ 111321 h 892981"/>
                  <a:gd name="connsiteX28" fmla="*/ 578745 w 8634799"/>
                  <a:gd name="connsiteY28" fmla="*/ 102815 h 892981"/>
                  <a:gd name="connsiteX29" fmla="*/ 38923 w 8634799"/>
                  <a:gd name="connsiteY29" fmla="*/ 111866 h 892981"/>
                  <a:gd name="connsiteX0" fmla="*/ 38923 w 8634799"/>
                  <a:gd name="connsiteY0" fmla="*/ 135210 h 916324"/>
                  <a:gd name="connsiteX1" fmla="*/ 4765 w 8634799"/>
                  <a:gd name="connsiteY1" fmla="*/ 207939 h 916324"/>
                  <a:gd name="connsiteX2" fmla="*/ 16985 w 8634799"/>
                  <a:gd name="connsiteY2" fmla="*/ 419174 h 916324"/>
                  <a:gd name="connsiteX3" fmla="*/ 31647 w 8634799"/>
                  <a:gd name="connsiteY3" fmla="*/ 678420 h 916324"/>
                  <a:gd name="connsiteX4" fmla="*/ 43864 w 8634799"/>
                  <a:gd name="connsiteY4" fmla="*/ 755236 h 916324"/>
                  <a:gd name="connsiteX5" fmla="*/ 80207 w 8634799"/>
                  <a:gd name="connsiteY5" fmla="*/ 915386 h 916324"/>
                  <a:gd name="connsiteX6" fmla="*/ 937008 w 8634799"/>
                  <a:gd name="connsiteY6" fmla="*/ 822943 h 916324"/>
                  <a:gd name="connsiteX7" fmla="*/ 1631867 w 8634799"/>
                  <a:gd name="connsiteY7" fmla="*/ 856931 h 916324"/>
                  <a:gd name="connsiteX8" fmla="*/ 2087877 w 8634799"/>
                  <a:gd name="connsiteY8" fmla="*/ 797443 h 916324"/>
                  <a:gd name="connsiteX9" fmla="*/ 2565599 w 8634799"/>
                  <a:gd name="connsiteY9" fmla="*/ 797443 h 916324"/>
                  <a:gd name="connsiteX10" fmla="*/ 3336468 w 8634799"/>
                  <a:gd name="connsiteY10" fmla="*/ 839937 h 916324"/>
                  <a:gd name="connsiteX11" fmla="*/ 4215904 w 8634799"/>
                  <a:gd name="connsiteY11" fmla="*/ 822943 h 916324"/>
                  <a:gd name="connsiteX12" fmla="*/ 4845622 w 8634799"/>
                  <a:gd name="connsiteY12" fmla="*/ 831449 h 916324"/>
                  <a:gd name="connsiteX13" fmla="*/ 5681632 w 8634799"/>
                  <a:gd name="connsiteY13" fmla="*/ 831449 h 916324"/>
                  <a:gd name="connsiteX14" fmla="*/ 6745645 w 8634799"/>
                  <a:gd name="connsiteY14" fmla="*/ 856949 h 916324"/>
                  <a:gd name="connsiteX15" fmla="*/ 7494800 w 8634799"/>
                  <a:gd name="connsiteY15" fmla="*/ 848443 h 916324"/>
                  <a:gd name="connsiteX16" fmla="*/ 8026795 w 8634799"/>
                  <a:gd name="connsiteY16" fmla="*/ 839937 h 916324"/>
                  <a:gd name="connsiteX17" fmla="*/ 8504518 w 8634799"/>
                  <a:gd name="connsiteY17" fmla="*/ 805949 h 916324"/>
                  <a:gd name="connsiteX18" fmla="*/ 8634799 w 8634799"/>
                  <a:gd name="connsiteY18" fmla="*/ 822943 h 916324"/>
                  <a:gd name="connsiteX19" fmla="*/ 8634799 w 8634799"/>
                  <a:gd name="connsiteY19" fmla="*/ 202586 h 916324"/>
                  <a:gd name="connsiteX20" fmla="*/ 8450223 w 8634799"/>
                  <a:gd name="connsiteY20" fmla="*/ 134665 h 916324"/>
                  <a:gd name="connsiteX21" fmla="*/ 7635927 w 8634799"/>
                  <a:gd name="connsiteY21" fmla="*/ 83684 h 916324"/>
                  <a:gd name="connsiteX22" fmla="*/ 7049636 w 8634799"/>
                  <a:gd name="connsiteY22" fmla="*/ 177159 h 916324"/>
                  <a:gd name="connsiteX23" fmla="*/ 6342549 w 8634799"/>
                  <a:gd name="connsiteY23" fmla="*/ 124600 h 916324"/>
                  <a:gd name="connsiteX24" fmla="*/ 5902209 w 8634799"/>
                  <a:gd name="connsiteY24" fmla="*/ 227628 h 916324"/>
                  <a:gd name="connsiteX25" fmla="*/ 5182195 w 8634799"/>
                  <a:gd name="connsiteY25" fmla="*/ 270634 h 916324"/>
                  <a:gd name="connsiteX26" fmla="*/ 3469826 w 8634799"/>
                  <a:gd name="connsiteY26" fmla="*/ 28765 h 916324"/>
                  <a:gd name="connsiteX27" fmla="*/ 2370177 w 8634799"/>
                  <a:gd name="connsiteY27" fmla="*/ 134665 h 916324"/>
                  <a:gd name="connsiteX28" fmla="*/ 578745 w 8634799"/>
                  <a:gd name="connsiteY28" fmla="*/ 126159 h 916324"/>
                  <a:gd name="connsiteX29" fmla="*/ 38923 w 8634799"/>
                  <a:gd name="connsiteY29" fmla="*/ 135210 h 916324"/>
                  <a:gd name="connsiteX0" fmla="*/ 38923 w 8634799"/>
                  <a:gd name="connsiteY0" fmla="*/ 128131 h 909245"/>
                  <a:gd name="connsiteX1" fmla="*/ 4765 w 8634799"/>
                  <a:gd name="connsiteY1" fmla="*/ 200860 h 909245"/>
                  <a:gd name="connsiteX2" fmla="*/ 16985 w 8634799"/>
                  <a:gd name="connsiteY2" fmla="*/ 412095 h 909245"/>
                  <a:gd name="connsiteX3" fmla="*/ 31647 w 8634799"/>
                  <a:gd name="connsiteY3" fmla="*/ 671341 h 909245"/>
                  <a:gd name="connsiteX4" fmla="*/ 43864 w 8634799"/>
                  <a:gd name="connsiteY4" fmla="*/ 748157 h 909245"/>
                  <a:gd name="connsiteX5" fmla="*/ 80207 w 8634799"/>
                  <a:gd name="connsiteY5" fmla="*/ 908307 h 909245"/>
                  <a:gd name="connsiteX6" fmla="*/ 937008 w 8634799"/>
                  <a:gd name="connsiteY6" fmla="*/ 815864 h 909245"/>
                  <a:gd name="connsiteX7" fmla="*/ 1631867 w 8634799"/>
                  <a:gd name="connsiteY7" fmla="*/ 849852 h 909245"/>
                  <a:gd name="connsiteX8" fmla="*/ 2087877 w 8634799"/>
                  <a:gd name="connsiteY8" fmla="*/ 790364 h 909245"/>
                  <a:gd name="connsiteX9" fmla="*/ 2565599 w 8634799"/>
                  <a:gd name="connsiteY9" fmla="*/ 790364 h 909245"/>
                  <a:gd name="connsiteX10" fmla="*/ 3336468 w 8634799"/>
                  <a:gd name="connsiteY10" fmla="*/ 832858 h 909245"/>
                  <a:gd name="connsiteX11" fmla="*/ 4215904 w 8634799"/>
                  <a:gd name="connsiteY11" fmla="*/ 815864 h 909245"/>
                  <a:gd name="connsiteX12" fmla="*/ 4845622 w 8634799"/>
                  <a:gd name="connsiteY12" fmla="*/ 824370 h 909245"/>
                  <a:gd name="connsiteX13" fmla="*/ 5681632 w 8634799"/>
                  <a:gd name="connsiteY13" fmla="*/ 824370 h 909245"/>
                  <a:gd name="connsiteX14" fmla="*/ 6745645 w 8634799"/>
                  <a:gd name="connsiteY14" fmla="*/ 849870 h 909245"/>
                  <a:gd name="connsiteX15" fmla="*/ 7494800 w 8634799"/>
                  <a:gd name="connsiteY15" fmla="*/ 841364 h 909245"/>
                  <a:gd name="connsiteX16" fmla="*/ 8026795 w 8634799"/>
                  <a:gd name="connsiteY16" fmla="*/ 832858 h 909245"/>
                  <a:gd name="connsiteX17" fmla="*/ 8504518 w 8634799"/>
                  <a:gd name="connsiteY17" fmla="*/ 798870 h 909245"/>
                  <a:gd name="connsiteX18" fmla="*/ 8634799 w 8634799"/>
                  <a:gd name="connsiteY18" fmla="*/ 815864 h 909245"/>
                  <a:gd name="connsiteX19" fmla="*/ 8634799 w 8634799"/>
                  <a:gd name="connsiteY19" fmla="*/ 195507 h 909245"/>
                  <a:gd name="connsiteX20" fmla="*/ 8450223 w 8634799"/>
                  <a:gd name="connsiteY20" fmla="*/ 127586 h 909245"/>
                  <a:gd name="connsiteX21" fmla="*/ 7635927 w 8634799"/>
                  <a:gd name="connsiteY21" fmla="*/ 76605 h 909245"/>
                  <a:gd name="connsiteX22" fmla="*/ 7049636 w 8634799"/>
                  <a:gd name="connsiteY22" fmla="*/ 170080 h 909245"/>
                  <a:gd name="connsiteX23" fmla="*/ 6342549 w 8634799"/>
                  <a:gd name="connsiteY23" fmla="*/ 117521 h 909245"/>
                  <a:gd name="connsiteX24" fmla="*/ 5902209 w 8634799"/>
                  <a:gd name="connsiteY24" fmla="*/ 220549 h 909245"/>
                  <a:gd name="connsiteX25" fmla="*/ 5182195 w 8634799"/>
                  <a:gd name="connsiteY25" fmla="*/ 263555 h 909245"/>
                  <a:gd name="connsiteX26" fmla="*/ 3469826 w 8634799"/>
                  <a:gd name="connsiteY26" fmla="*/ 21686 h 909245"/>
                  <a:gd name="connsiteX27" fmla="*/ 2370177 w 8634799"/>
                  <a:gd name="connsiteY27" fmla="*/ 127586 h 909245"/>
                  <a:gd name="connsiteX28" fmla="*/ 578745 w 8634799"/>
                  <a:gd name="connsiteY28" fmla="*/ 119080 h 909245"/>
                  <a:gd name="connsiteX29" fmla="*/ 38923 w 8634799"/>
                  <a:gd name="connsiteY29" fmla="*/ 128131 h 909245"/>
                  <a:gd name="connsiteX0" fmla="*/ 38923 w 8634799"/>
                  <a:gd name="connsiteY0" fmla="*/ 134331 h 915445"/>
                  <a:gd name="connsiteX1" fmla="*/ 4765 w 8634799"/>
                  <a:gd name="connsiteY1" fmla="*/ 207060 h 915445"/>
                  <a:gd name="connsiteX2" fmla="*/ 16985 w 8634799"/>
                  <a:gd name="connsiteY2" fmla="*/ 418295 h 915445"/>
                  <a:gd name="connsiteX3" fmla="*/ 31647 w 8634799"/>
                  <a:gd name="connsiteY3" fmla="*/ 677541 h 915445"/>
                  <a:gd name="connsiteX4" fmla="*/ 43864 w 8634799"/>
                  <a:gd name="connsiteY4" fmla="*/ 754357 h 915445"/>
                  <a:gd name="connsiteX5" fmla="*/ 80207 w 8634799"/>
                  <a:gd name="connsiteY5" fmla="*/ 914507 h 915445"/>
                  <a:gd name="connsiteX6" fmla="*/ 937008 w 8634799"/>
                  <a:gd name="connsiteY6" fmla="*/ 822064 h 915445"/>
                  <a:gd name="connsiteX7" fmla="*/ 1631867 w 8634799"/>
                  <a:gd name="connsiteY7" fmla="*/ 856052 h 915445"/>
                  <a:gd name="connsiteX8" fmla="*/ 2087877 w 8634799"/>
                  <a:gd name="connsiteY8" fmla="*/ 796564 h 915445"/>
                  <a:gd name="connsiteX9" fmla="*/ 2565599 w 8634799"/>
                  <a:gd name="connsiteY9" fmla="*/ 796564 h 915445"/>
                  <a:gd name="connsiteX10" fmla="*/ 3336468 w 8634799"/>
                  <a:gd name="connsiteY10" fmla="*/ 839058 h 915445"/>
                  <a:gd name="connsiteX11" fmla="*/ 4215904 w 8634799"/>
                  <a:gd name="connsiteY11" fmla="*/ 822064 h 915445"/>
                  <a:gd name="connsiteX12" fmla="*/ 4845622 w 8634799"/>
                  <a:gd name="connsiteY12" fmla="*/ 830570 h 915445"/>
                  <a:gd name="connsiteX13" fmla="*/ 5681632 w 8634799"/>
                  <a:gd name="connsiteY13" fmla="*/ 830570 h 915445"/>
                  <a:gd name="connsiteX14" fmla="*/ 6745645 w 8634799"/>
                  <a:gd name="connsiteY14" fmla="*/ 856070 h 915445"/>
                  <a:gd name="connsiteX15" fmla="*/ 7494800 w 8634799"/>
                  <a:gd name="connsiteY15" fmla="*/ 847564 h 915445"/>
                  <a:gd name="connsiteX16" fmla="*/ 8026795 w 8634799"/>
                  <a:gd name="connsiteY16" fmla="*/ 839058 h 915445"/>
                  <a:gd name="connsiteX17" fmla="*/ 8504518 w 8634799"/>
                  <a:gd name="connsiteY17" fmla="*/ 805070 h 915445"/>
                  <a:gd name="connsiteX18" fmla="*/ 8634799 w 8634799"/>
                  <a:gd name="connsiteY18" fmla="*/ 822064 h 915445"/>
                  <a:gd name="connsiteX19" fmla="*/ 8634799 w 8634799"/>
                  <a:gd name="connsiteY19" fmla="*/ 201707 h 915445"/>
                  <a:gd name="connsiteX20" fmla="*/ 8450223 w 8634799"/>
                  <a:gd name="connsiteY20" fmla="*/ 133786 h 915445"/>
                  <a:gd name="connsiteX21" fmla="*/ 7635927 w 8634799"/>
                  <a:gd name="connsiteY21" fmla="*/ 82805 h 915445"/>
                  <a:gd name="connsiteX22" fmla="*/ 7049636 w 8634799"/>
                  <a:gd name="connsiteY22" fmla="*/ 176280 h 915445"/>
                  <a:gd name="connsiteX23" fmla="*/ 6342549 w 8634799"/>
                  <a:gd name="connsiteY23" fmla="*/ 123721 h 915445"/>
                  <a:gd name="connsiteX24" fmla="*/ 5902209 w 8634799"/>
                  <a:gd name="connsiteY24" fmla="*/ 226749 h 915445"/>
                  <a:gd name="connsiteX25" fmla="*/ 5182195 w 8634799"/>
                  <a:gd name="connsiteY25" fmla="*/ 269755 h 915445"/>
                  <a:gd name="connsiteX26" fmla="*/ 3618314 w 8634799"/>
                  <a:gd name="connsiteY26" fmla="*/ 21218 h 915445"/>
                  <a:gd name="connsiteX27" fmla="*/ 2370177 w 8634799"/>
                  <a:gd name="connsiteY27" fmla="*/ 133786 h 915445"/>
                  <a:gd name="connsiteX28" fmla="*/ 578745 w 8634799"/>
                  <a:gd name="connsiteY28" fmla="*/ 125280 h 915445"/>
                  <a:gd name="connsiteX29" fmla="*/ 38923 w 8634799"/>
                  <a:gd name="connsiteY29" fmla="*/ 134331 h 915445"/>
                  <a:gd name="connsiteX0" fmla="*/ 38923 w 8634799"/>
                  <a:gd name="connsiteY0" fmla="*/ 153045 h 934159"/>
                  <a:gd name="connsiteX1" fmla="*/ 4765 w 8634799"/>
                  <a:gd name="connsiteY1" fmla="*/ 225774 h 934159"/>
                  <a:gd name="connsiteX2" fmla="*/ 16985 w 8634799"/>
                  <a:gd name="connsiteY2" fmla="*/ 437009 h 934159"/>
                  <a:gd name="connsiteX3" fmla="*/ 31647 w 8634799"/>
                  <a:gd name="connsiteY3" fmla="*/ 696255 h 934159"/>
                  <a:gd name="connsiteX4" fmla="*/ 43864 w 8634799"/>
                  <a:gd name="connsiteY4" fmla="*/ 773071 h 934159"/>
                  <a:gd name="connsiteX5" fmla="*/ 80207 w 8634799"/>
                  <a:gd name="connsiteY5" fmla="*/ 933221 h 934159"/>
                  <a:gd name="connsiteX6" fmla="*/ 937008 w 8634799"/>
                  <a:gd name="connsiteY6" fmla="*/ 840778 h 934159"/>
                  <a:gd name="connsiteX7" fmla="*/ 1631867 w 8634799"/>
                  <a:gd name="connsiteY7" fmla="*/ 874766 h 934159"/>
                  <a:gd name="connsiteX8" fmla="*/ 2087877 w 8634799"/>
                  <a:gd name="connsiteY8" fmla="*/ 815278 h 934159"/>
                  <a:gd name="connsiteX9" fmla="*/ 2565599 w 8634799"/>
                  <a:gd name="connsiteY9" fmla="*/ 815278 h 934159"/>
                  <a:gd name="connsiteX10" fmla="*/ 3336468 w 8634799"/>
                  <a:gd name="connsiteY10" fmla="*/ 857772 h 934159"/>
                  <a:gd name="connsiteX11" fmla="*/ 4215904 w 8634799"/>
                  <a:gd name="connsiteY11" fmla="*/ 840778 h 934159"/>
                  <a:gd name="connsiteX12" fmla="*/ 4845622 w 8634799"/>
                  <a:gd name="connsiteY12" fmla="*/ 849284 h 934159"/>
                  <a:gd name="connsiteX13" fmla="*/ 5681632 w 8634799"/>
                  <a:gd name="connsiteY13" fmla="*/ 849284 h 934159"/>
                  <a:gd name="connsiteX14" fmla="*/ 6745645 w 8634799"/>
                  <a:gd name="connsiteY14" fmla="*/ 874784 h 934159"/>
                  <a:gd name="connsiteX15" fmla="*/ 7494800 w 8634799"/>
                  <a:gd name="connsiteY15" fmla="*/ 866278 h 934159"/>
                  <a:gd name="connsiteX16" fmla="*/ 8026795 w 8634799"/>
                  <a:gd name="connsiteY16" fmla="*/ 857772 h 934159"/>
                  <a:gd name="connsiteX17" fmla="*/ 8504518 w 8634799"/>
                  <a:gd name="connsiteY17" fmla="*/ 823784 h 934159"/>
                  <a:gd name="connsiteX18" fmla="*/ 8634799 w 8634799"/>
                  <a:gd name="connsiteY18" fmla="*/ 840778 h 934159"/>
                  <a:gd name="connsiteX19" fmla="*/ 8634799 w 8634799"/>
                  <a:gd name="connsiteY19" fmla="*/ 220421 h 934159"/>
                  <a:gd name="connsiteX20" fmla="*/ 8450223 w 8634799"/>
                  <a:gd name="connsiteY20" fmla="*/ 152500 h 934159"/>
                  <a:gd name="connsiteX21" fmla="*/ 7635927 w 8634799"/>
                  <a:gd name="connsiteY21" fmla="*/ 101519 h 934159"/>
                  <a:gd name="connsiteX22" fmla="*/ 7049636 w 8634799"/>
                  <a:gd name="connsiteY22" fmla="*/ 194994 h 934159"/>
                  <a:gd name="connsiteX23" fmla="*/ 6342549 w 8634799"/>
                  <a:gd name="connsiteY23" fmla="*/ 142435 h 934159"/>
                  <a:gd name="connsiteX24" fmla="*/ 5902209 w 8634799"/>
                  <a:gd name="connsiteY24" fmla="*/ 245463 h 934159"/>
                  <a:gd name="connsiteX25" fmla="*/ 5182195 w 8634799"/>
                  <a:gd name="connsiteY25" fmla="*/ 288469 h 934159"/>
                  <a:gd name="connsiteX26" fmla="*/ 3655437 w 8634799"/>
                  <a:gd name="connsiteY26" fmla="*/ 19929 h 934159"/>
                  <a:gd name="connsiteX27" fmla="*/ 2370177 w 8634799"/>
                  <a:gd name="connsiteY27" fmla="*/ 152500 h 934159"/>
                  <a:gd name="connsiteX28" fmla="*/ 578745 w 8634799"/>
                  <a:gd name="connsiteY28" fmla="*/ 143994 h 934159"/>
                  <a:gd name="connsiteX29" fmla="*/ 38923 w 8634799"/>
                  <a:gd name="connsiteY29" fmla="*/ 153045 h 934159"/>
                  <a:gd name="connsiteX0" fmla="*/ 38923 w 8634799"/>
                  <a:gd name="connsiteY0" fmla="*/ 203294 h 984408"/>
                  <a:gd name="connsiteX1" fmla="*/ 4765 w 8634799"/>
                  <a:gd name="connsiteY1" fmla="*/ 276023 h 984408"/>
                  <a:gd name="connsiteX2" fmla="*/ 16985 w 8634799"/>
                  <a:gd name="connsiteY2" fmla="*/ 487258 h 984408"/>
                  <a:gd name="connsiteX3" fmla="*/ 31647 w 8634799"/>
                  <a:gd name="connsiteY3" fmla="*/ 746504 h 984408"/>
                  <a:gd name="connsiteX4" fmla="*/ 43864 w 8634799"/>
                  <a:gd name="connsiteY4" fmla="*/ 823320 h 984408"/>
                  <a:gd name="connsiteX5" fmla="*/ 80207 w 8634799"/>
                  <a:gd name="connsiteY5" fmla="*/ 983470 h 984408"/>
                  <a:gd name="connsiteX6" fmla="*/ 937008 w 8634799"/>
                  <a:gd name="connsiteY6" fmla="*/ 891027 h 984408"/>
                  <a:gd name="connsiteX7" fmla="*/ 1631867 w 8634799"/>
                  <a:gd name="connsiteY7" fmla="*/ 925015 h 984408"/>
                  <a:gd name="connsiteX8" fmla="*/ 2087877 w 8634799"/>
                  <a:gd name="connsiteY8" fmla="*/ 865527 h 984408"/>
                  <a:gd name="connsiteX9" fmla="*/ 2565599 w 8634799"/>
                  <a:gd name="connsiteY9" fmla="*/ 865527 h 984408"/>
                  <a:gd name="connsiteX10" fmla="*/ 3336468 w 8634799"/>
                  <a:gd name="connsiteY10" fmla="*/ 908021 h 984408"/>
                  <a:gd name="connsiteX11" fmla="*/ 4215904 w 8634799"/>
                  <a:gd name="connsiteY11" fmla="*/ 891027 h 984408"/>
                  <a:gd name="connsiteX12" fmla="*/ 4845622 w 8634799"/>
                  <a:gd name="connsiteY12" fmla="*/ 899533 h 984408"/>
                  <a:gd name="connsiteX13" fmla="*/ 5681632 w 8634799"/>
                  <a:gd name="connsiteY13" fmla="*/ 899533 h 984408"/>
                  <a:gd name="connsiteX14" fmla="*/ 6745645 w 8634799"/>
                  <a:gd name="connsiteY14" fmla="*/ 925033 h 984408"/>
                  <a:gd name="connsiteX15" fmla="*/ 7494800 w 8634799"/>
                  <a:gd name="connsiteY15" fmla="*/ 916527 h 984408"/>
                  <a:gd name="connsiteX16" fmla="*/ 8026795 w 8634799"/>
                  <a:gd name="connsiteY16" fmla="*/ 908021 h 984408"/>
                  <a:gd name="connsiteX17" fmla="*/ 8504518 w 8634799"/>
                  <a:gd name="connsiteY17" fmla="*/ 874033 h 984408"/>
                  <a:gd name="connsiteX18" fmla="*/ 8634799 w 8634799"/>
                  <a:gd name="connsiteY18" fmla="*/ 891027 h 984408"/>
                  <a:gd name="connsiteX19" fmla="*/ 8634799 w 8634799"/>
                  <a:gd name="connsiteY19" fmla="*/ 270670 h 984408"/>
                  <a:gd name="connsiteX20" fmla="*/ 8450223 w 8634799"/>
                  <a:gd name="connsiteY20" fmla="*/ 202749 h 984408"/>
                  <a:gd name="connsiteX21" fmla="*/ 7635927 w 8634799"/>
                  <a:gd name="connsiteY21" fmla="*/ 151768 h 984408"/>
                  <a:gd name="connsiteX22" fmla="*/ 7049636 w 8634799"/>
                  <a:gd name="connsiteY22" fmla="*/ 245243 h 984408"/>
                  <a:gd name="connsiteX23" fmla="*/ 6342549 w 8634799"/>
                  <a:gd name="connsiteY23" fmla="*/ 192684 h 984408"/>
                  <a:gd name="connsiteX24" fmla="*/ 5902209 w 8634799"/>
                  <a:gd name="connsiteY24" fmla="*/ 295712 h 984408"/>
                  <a:gd name="connsiteX25" fmla="*/ 5182195 w 8634799"/>
                  <a:gd name="connsiteY25" fmla="*/ 338718 h 984408"/>
                  <a:gd name="connsiteX26" fmla="*/ 3655437 w 8634799"/>
                  <a:gd name="connsiteY26" fmla="*/ 70178 h 984408"/>
                  <a:gd name="connsiteX27" fmla="*/ 2370177 w 8634799"/>
                  <a:gd name="connsiteY27" fmla="*/ 202749 h 984408"/>
                  <a:gd name="connsiteX28" fmla="*/ 578745 w 8634799"/>
                  <a:gd name="connsiteY28" fmla="*/ 194243 h 984408"/>
                  <a:gd name="connsiteX29" fmla="*/ 38923 w 8634799"/>
                  <a:gd name="connsiteY29" fmla="*/ 203294 h 984408"/>
                  <a:gd name="connsiteX0" fmla="*/ 38923 w 8634799"/>
                  <a:gd name="connsiteY0" fmla="*/ 146213 h 927327"/>
                  <a:gd name="connsiteX1" fmla="*/ 4765 w 8634799"/>
                  <a:gd name="connsiteY1" fmla="*/ 218942 h 927327"/>
                  <a:gd name="connsiteX2" fmla="*/ 16985 w 8634799"/>
                  <a:gd name="connsiteY2" fmla="*/ 430177 h 927327"/>
                  <a:gd name="connsiteX3" fmla="*/ 31647 w 8634799"/>
                  <a:gd name="connsiteY3" fmla="*/ 689423 h 927327"/>
                  <a:gd name="connsiteX4" fmla="*/ 43864 w 8634799"/>
                  <a:gd name="connsiteY4" fmla="*/ 766239 h 927327"/>
                  <a:gd name="connsiteX5" fmla="*/ 80207 w 8634799"/>
                  <a:gd name="connsiteY5" fmla="*/ 926389 h 927327"/>
                  <a:gd name="connsiteX6" fmla="*/ 937008 w 8634799"/>
                  <a:gd name="connsiteY6" fmla="*/ 833946 h 927327"/>
                  <a:gd name="connsiteX7" fmla="*/ 1631867 w 8634799"/>
                  <a:gd name="connsiteY7" fmla="*/ 867934 h 927327"/>
                  <a:gd name="connsiteX8" fmla="*/ 2087877 w 8634799"/>
                  <a:gd name="connsiteY8" fmla="*/ 808446 h 927327"/>
                  <a:gd name="connsiteX9" fmla="*/ 2565599 w 8634799"/>
                  <a:gd name="connsiteY9" fmla="*/ 808446 h 927327"/>
                  <a:gd name="connsiteX10" fmla="*/ 3336468 w 8634799"/>
                  <a:gd name="connsiteY10" fmla="*/ 850940 h 927327"/>
                  <a:gd name="connsiteX11" fmla="*/ 4215904 w 8634799"/>
                  <a:gd name="connsiteY11" fmla="*/ 833946 h 927327"/>
                  <a:gd name="connsiteX12" fmla="*/ 4845622 w 8634799"/>
                  <a:gd name="connsiteY12" fmla="*/ 842452 h 927327"/>
                  <a:gd name="connsiteX13" fmla="*/ 5681632 w 8634799"/>
                  <a:gd name="connsiteY13" fmla="*/ 842452 h 927327"/>
                  <a:gd name="connsiteX14" fmla="*/ 6745645 w 8634799"/>
                  <a:gd name="connsiteY14" fmla="*/ 867952 h 927327"/>
                  <a:gd name="connsiteX15" fmla="*/ 7494800 w 8634799"/>
                  <a:gd name="connsiteY15" fmla="*/ 859446 h 927327"/>
                  <a:gd name="connsiteX16" fmla="*/ 8026795 w 8634799"/>
                  <a:gd name="connsiteY16" fmla="*/ 850940 h 927327"/>
                  <a:gd name="connsiteX17" fmla="*/ 8504518 w 8634799"/>
                  <a:gd name="connsiteY17" fmla="*/ 816952 h 927327"/>
                  <a:gd name="connsiteX18" fmla="*/ 8634799 w 8634799"/>
                  <a:gd name="connsiteY18" fmla="*/ 833946 h 927327"/>
                  <a:gd name="connsiteX19" fmla="*/ 8634799 w 8634799"/>
                  <a:gd name="connsiteY19" fmla="*/ 213589 h 927327"/>
                  <a:gd name="connsiteX20" fmla="*/ 8450223 w 8634799"/>
                  <a:gd name="connsiteY20" fmla="*/ 145668 h 927327"/>
                  <a:gd name="connsiteX21" fmla="*/ 7635927 w 8634799"/>
                  <a:gd name="connsiteY21" fmla="*/ 94687 h 927327"/>
                  <a:gd name="connsiteX22" fmla="*/ 7049636 w 8634799"/>
                  <a:gd name="connsiteY22" fmla="*/ 188162 h 927327"/>
                  <a:gd name="connsiteX23" fmla="*/ 6342549 w 8634799"/>
                  <a:gd name="connsiteY23" fmla="*/ 135603 h 927327"/>
                  <a:gd name="connsiteX24" fmla="*/ 5902209 w 8634799"/>
                  <a:gd name="connsiteY24" fmla="*/ 238631 h 927327"/>
                  <a:gd name="connsiteX25" fmla="*/ 5182195 w 8634799"/>
                  <a:gd name="connsiteY25" fmla="*/ 281637 h 927327"/>
                  <a:gd name="connsiteX26" fmla="*/ 3822487 w 8634799"/>
                  <a:gd name="connsiteY26" fmla="*/ 79772 h 927327"/>
                  <a:gd name="connsiteX27" fmla="*/ 2370177 w 8634799"/>
                  <a:gd name="connsiteY27" fmla="*/ 145668 h 927327"/>
                  <a:gd name="connsiteX28" fmla="*/ 578745 w 8634799"/>
                  <a:gd name="connsiteY28" fmla="*/ 137162 h 927327"/>
                  <a:gd name="connsiteX29" fmla="*/ 38923 w 8634799"/>
                  <a:gd name="connsiteY29" fmla="*/ 146213 h 927327"/>
                  <a:gd name="connsiteX0" fmla="*/ 38923 w 8634799"/>
                  <a:gd name="connsiteY0" fmla="*/ 157240 h 938354"/>
                  <a:gd name="connsiteX1" fmla="*/ 4765 w 8634799"/>
                  <a:gd name="connsiteY1" fmla="*/ 229969 h 938354"/>
                  <a:gd name="connsiteX2" fmla="*/ 16985 w 8634799"/>
                  <a:gd name="connsiteY2" fmla="*/ 441204 h 938354"/>
                  <a:gd name="connsiteX3" fmla="*/ 31647 w 8634799"/>
                  <a:gd name="connsiteY3" fmla="*/ 700450 h 938354"/>
                  <a:gd name="connsiteX4" fmla="*/ 43864 w 8634799"/>
                  <a:gd name="connsiteY4" fmla="*/ 777266 h 938354"/>
                  <a:gd name="connsiteX5" fmla="*/ 80207 w 8634799"/>
                  <a:gd name="connsiteY5" fmla="*/ 937416 h 938354"/>
                  <a:gd name="connsiteX6" fmla="*/ 937008 w 8634799"/>
                  <a:gd name="connsiteY6" fmla="*/ 844973 h 938354"/>
                  <a:gd name="connsiteX7" fmla="*/ 1631867 w 8634799"/>
                  <a:gd name="connsiteY7" fmla="*/ 878961 h 938354"/>
                  <a:gd name="connsiteX8" fmla="*/ 2087877 w 8634799"/>
                  <a:gd name="connsiteY8" fmla="*/ 819473 h 938354"/>
                  <a:gd name="connsiteX9" fmla="*/ 2565599 w 8634799"/>
                  <a:gd name="connsiteY9" fmla="*/ 819473 h 938354"/>
                  <a:gd name="connsiteX10" fmla="*/ 3336468 w 8634799"/>
                  <a:gd name="connsiteY10" fmla="*/ 861967 h 938354"/>
                  <a:gd name="connsiteX11" fmla="*/ 4215904 w 8634799"/>
                  <a:gd name="connsiteY11" fmla="*/ 844973 h 938354"/>
                  <a:gd name="connsiteX12" fmla="*/ 4845622 w 8634799"/>
                  <a:gd name="connsiteY12" fmla="*/ 853479 h 938354"/>
                  <a:gd name="connsiteX13" fmla="*/ 5681632 w 8634799"/>
                  <a:gd name="connsiteY13" fmla="*/ 853479 h 938354"/>
                  <a:gd name="connsiteX14" fmla="*/ 6745645 w 8634799"/>
                  <a:gd name="connsiteY14" fmla="*/ 878979 h 938354"/>
                  <a:gd name="connsiteX15" fmla="*/ 7494800 w 8634799"/>
                  <a:gd name="connsiteY15" fmla="*/ 870473 h 938354"/>
                  <a:gd name="connsiteX16" fmla="*/ 8026795 w 8634799"/>
                  <a:gd name="connsiteY16" fmla="*/ 861967 h 938354"/>
                  <a:gd name="connsiteX17" fmla="*/ 8504518 w 8634799"/>
                  <a:gd name="connsiteY17" fmla="*/ 827979 h 938354"/>
                  <a:gd name="connsiteX18" fmla="*/ 8634799 w 8634799"/>
                  <a:gd name="connsiteY18" fmla="*/ 844973 h 938354"/>
                  <a:gd name="connsiteX19" fmla="*/ 8634799 w 8634799"/>
                  <a:gd name="connsiteY19" fmla="*/ 224616 h 938354"/>
                  <a:gd name="connsiteX20" fmla="*/ 8450223 w 8634799"/>
                  <a:gd name="connsiteY20" fmla="*/ 156695 h 938354"/>
                  <a:gd name="connsiteX21" fmla="*/ 7635927 w 8634799"/>
                  <a:gd name="connsiteY21" fmla="*/ 105714 h 938354"/>
                  <a:gd name="connsiteX22" fmla="*/ 7049636 w 8634799"/>
                  <a:gd name="connsiteY22" fmla="*/ 199189 h 938354"/>
                  <a:gd name="connsiteX23" fmla="*/ 6342549 w 8634799"/>
                  <a:gd name="connsiteY23" fmla="*/ 146630 h 938354"/>
                  <a:gd name="connsiteX24" fmla="*/ 5902209 w 8634799"/>
                  <a:gd name="connsiteY24" fmla="*/ 249658 h 938354"/>
                  <a:gd name="connsiteX25" fmla="*/ 5182195 w 8634799"/>
                  <a:gd name="connsiteY25" fmla="*/ 292664 h 938354"/>
                  <a:gd name="connsiteX26" fmla="*/ 3822487 w 8634799"/>
                  <a:gd name="connsiteY26" fmla="*/ 90799 h 938354"/>
                  <a:gd name="connsiteX27" fmla="*/ 2370177 w 8634799"/>
                  <a:gd name="connsiteY27" fmla="*/ 156695 h 938354"/>
                  <a:gd name="connsiteX28" fmla="*/ 578745 w 8634799"/>
                  <a:gd name="connsiteY28" fmla="*/ 148189 h 938354"/>
                  <a:gd name="connsiteX29" fmla="*/ 38923 w 8634799"/>
                  <a:gd name="connsiteY29" fmla="*/ 157240 h 938354"/>
                  <a:gd name="connsiteX0" fmla="*/ 38923 w 12045155"/>
                  <a:gd name="connsiteY0" fmla="*/ 157240 h 938354"/>
                  <a:gd name="connsiteX1" fmla="*/ 4765 w 12045155"/>
                  <a:gd name="connsiteY1" fmla="*/ 229969 h 938354"/>
                  <a:gd name="connsiteX2" fmla="*/ 16985 w 12045155"/>
                  <a:gd name="connsiteY2" fmla="*/ 441204 h 938354"/>
                  <a:gd name="connsiteX3" fmla="*/ 31647 w 12045155"/>
                  <a:gd name="connsiteY3" fmla="*/ 700450 h 938354"/>
                  <a:gd name="connsiteX4" fmla="*/ 43864 w 12045155"/>
                  <a:gd name="connsiteY4" fmla="*/ 777266 h 938354"/>
                  <a:gd name="connsiteX5" fmla="*/ 80207 w 12045155"/>
                  <a:gd name="connsiteY5" fmla="*/ 937416 h 938354"/>
                  <a:gd name="connsiteX6" fmla="*/ 937008 w 12045155"/>
                  <a:gd name="connsiteY6" fmla="*/ 844973 h 938354"/>
                  <a:gd name="connsiteX7" fmla="*/ 1631867 w 12045155"/>
                  <a:gd name="connsiteY7" fmla="*/ 878961 h 938354"/>
                  <a:gd name="connsiteX8" fmla="*/ 2087877 w 12045155"/>
                  <a:gd name="connsiteY8" fmla="*/ 819473 h 938354"/>
                  <a:gd name="connsiteX9" fmla="*/ 2565599 w 12045155"/>
                  <a:gd name="connsiteY9" fmla="*/ 819473 h 938354"/>
                  <a:gd name="connsiteX10" fmla="*/ 3336468 w 12045155"/>
                  <a:gd name="connsiteY10" fmla="*/ 861967 h 938354"/>
                  <a:gd name="connsiteX11" fmla="*/ 4215904 w 12045155"/>
                  <a:gd name="connsiteY11" fmla="*/ 844973 h 938354"/>
                  <a:gd name="connsiteX12" fmla="*/ 4845622 w 12045155"/>
                  <a:gd name="connsiteY12" fmla="*/ 853479 h 938354"/>
                  <a:gd name="connsiteX13" fmla="*/ 5681632 w 12045155"/>
                  <a:gd name="connsiteY13" fmla="*/ 853479 h 938354"/>
                  <a:gd name="connsiteX14" fmla="*/ 6745645 w 12045155"/>
                  <a:gd name="connsiteY14" fmla="*/ 878979 h 938354"/>
                  <a:gd name="connsiteX15" fmla="*/ 7494800 w 12045155"/>
                  <a:gd name="connsiteY15" fmla="*/ 870473 h 938354"/>
                  <a:gd name="connsiteX16" fmla="*/ 8026795 w 12045155"/>
                  <a:gd name="connsiteY16" fmla="*/ 861967 h 938354"/>
                  <a:gd name="connsiteX17" fmla="*/ 8504518 w 12045155"/>
                  <a:gd name="connsiteY17" fmla="*/ 827979 h 938354"/>
                  <a:gd name="connsiteX18" fmla="*/ 12045155 w 12045155"/>
                  <a:gd name="connsiteY18" fmla="*/ 699393 h 938354"/>
                  <a:gd name="connsiteX19" fmla="*/ 8634799 w 12045155"/>
                  <a:gd name="connsiteY19" fmla="*/ 224616 h 938354"/>
                  <a:gd name="connsiteX20" fmla="*/ 8450223 w 12045155"/>
                  <a:gd name="connsiteY20" fmla="*/ 156695 h 938354"/>
                  <a:gd name="connsiteX21" fmla="*/ 7635927 w 12045155"/>
                  <a:gd name="connsiteY21" fmla="*/ 105714 h 938354"/>
                  <a:gd name="connsiteX22" fmla="*/ 7049636 w 12045155"/>
                  <a:gd name="connsiteY22" fmla="*/ 199189 h 938354"/>
                  <a:gd name="connsiteX23" fmla="*/ 6342549 w 12045155"/>
                  <a:gd name="connsiteY23" fmla="*/ 146630 h 938354"/>
                  <a:gd name="connsiteX24" fmla="*/ 5902209 w 12045155"/>
                  <a:gd name="connsiteY24" fmla="*/ 249658 h 938354"/>
                  <a:gd name="connsiteX25" fmla="*/ 5182195 w 12045155"/>
                  <a:gd name="connsiteY25" fmla="*/ 292664 h 938354"/>
                  <a:gd name="connsiteX26" fmla="*/ 3822487 w 12045155"/>
                  <a:gd name="connsiteY26" fmla="*/ 90799 h 938354"/>
                  <a:gd name="connsiteX27" fmla="*/ 2370177 w 12045155"/>
                  <a:gd name="connsiteY27" fmla="*/ 156695 h 938354"/>
                  <a:gd name="connsiteX28" fmla="*/ 578745 w 12045155"/>
                  <a:gd name="connsiteY28" fmla="*/ 148189 h 938354"/>
                  <a:gd name="connsiteX29" fmla="*/ 38923 w 12045155"/>
                  <a:gd name="connsiteY29" fmla="*/ 157240 h 938354"/>
                  <a:gd name="connsiteX0" fmla="*/ 38923 w 12045155"/>
                  <a:gd name="connsiteY0" fmla="*/ 157240 h 938354"/>
                  <a:gd name="connsiteX1" fmla="*/ 4765 w 12045155"/>
                  <a:gd name="connsiteY1" fmla="*/ 229969 h 938354"/>
                  <a:gd name="connsiteX2" fmla="*/ 16985 w 12045155"/>
                  <a:gd name="connsiteY2" fmla="*/ 441204 h 938354"/>
                  <a:gd name="connsiteX3" fmla="*/ 31647 w 12045155"/>
                  <a:gd name="connsiteY3" fmla="*/ 700450 h 938354"/>
                  <a:gd name="connsiteX4" fmla="*/ 43864 w 12045155"/>
                  <a:gd name="connsiteY4" fmla="*/ 777266 h 938354"/>
                  <a:gd name="connsiteX5" fmla="*/ 80207 w 12045155"/>
                  <a:gd name="connsiteY5" fmla="*/ 937416 h 938354"/>
                  <a:gd name="connsiteX6" fmla="*/ 937008 w 12045155"/>
                  <a:gd name="connsiteY6" fmla="*/ 844973 h 938354"/>
                  <a:gd name="connsiteX7" fmla="*/ 1631867 w 12045155"/>
                  <a:gd name="connsiteY7" fmla="*/ 878961 h 938354"/>
                  <a:gd name="connsiteX8" fmla="*/ 2087877 w 12045155"/>
                  <a:gd name="connsiteY8" fmla="*/ 819473 h 938354"/>
                  <a:gd name="connsiteX9" fmla="*/ 2565599 w 12045155"/>
                  <a:gd name="connsiteY9" fmla="*/ 819473 h 938354"/>
                  <a:gd name="connsiteX10" fmla="*/ 3336468 w 12045155"/>
                  <a:gd name="connsiteY10" fmla="*/ 861967 h 938354"/>
                  <a:gd name="connsiteX11" fmla="*/ 4215904 w 12045155"/>
                  <a:gd name="connsiteY11" fmla="*/ 844973 h 938354"/>
                  <a:gd name="connsiteX12" fmla="*/ 4845622 w 12045155"/>
                  <a:gd name="connsiteY12" fmla="*/ 853479 h 938354"/>
                  <a:gd name="connsiteX13" fmla="*/ 5681632 w 12045155"/>
                  <a:gd name="connsiteY13" fmla="*/ 853479 h 938354"/>
                  <a:gd name="connsiteX14" fmla="*/ 6745645 w 12045155"/>
                  <a:gd name="connsiteY14" fmla="*/ 878979 h 938354"/>
                  <a:gd name="connsiteX15" fmla="*/ 7494800 w 12045155"/>
                  <a:gd name="connsiteY15" fmla="*/ 870473 h 938354"/>
                  <a:gd name="connsiteX16" fmla="*/ 8026795 w 12045155"/>
                  <a:gd name="connsiteY16" fmla="*/ 861967 h 938354"/>
                  <a:gd name="connsiteX17" fmla="*/ 8504518 w 12045155"/>
                  <a:gd name="connsiteY17" fmla="*/ 827979 h 938354"/>
                  <a:gd name="connsiteX18" fmla="*/ 12045155 w 12045155"/>
                  <a:gd name="connsiteY18" fmla="*/ 699393 h 938354"/>
                  <a:gd name="connsiteX19" fmla="*/ 12045155 w 12045155"/>
                  <a:gd name="connsiteY19" fmla="*/ 261011 h 938354"/>
                  <a:gd name="connsiteX20" fmla="*/ 8450223 w 12045155"/>
                  <a:gd name="connsiteY20" fmla="*/ 156695 h 938354"/>
                  <a:gd name="connsiteX21" fmla="*/ 7635927 w 12045155"/>
                  <a:gd name="connsiteY21" fmla="*/ 105714 h 938354"/>
                  <a:gd name="connsiteX22" fmla="*/ 7049636 w 12045155"/>
                  <a:gd name="connsiteY22" fmla="*/ 199189 h 938354"/>
                  <a:gd name="connsiteX23" fmla="*/ 6342549 w 12045155"/>
                  <a:gd name="connsiteY23" fmla="*/ 146630 h 938354"/>
                  <a:gd name="connsiteX24" fmla="*/ 5902209 w 12045155"/>
                  <a:gd name="connsiteY24" fmla="*/ 249658 h 938354"/>
                  <a:gd name="connsiteX25" fmla="*/ 5182195 w 12045155"/>
                  <a:gd name="connsiteY25" fmla="*/ 292664 h 938354"/>
                  <a:gd name="connsiteX26" fmla="*/ 3822487 w 12045155"/>
                  <a:gd name="connsiteY26" fmla="*/ 90799 h 938354"/>
                  <a:gd name="connsiteX27" fmla="*/ 2370177 w 12045155"/>
                  <a:gd name="connsiteY27" fmla="*/ 156695 h 938354"/>
                  <a:gd name="connsiteX28" fmla="*/ 578745 w 12045155"/>
                  <a:gd name="connsiteY28" fmla="*/ 148189 h 938354"/>
                  <a:gd name="connsiteX29" fmla="*/ 38923 w 12045155"/>
                  <a:gd name="connsiteY29" fmla="*/ 157240 h 938354"/>
                  <a:gd name="connsiteX0" fmla="*/ 38923 w 12045155"/>
                  <a:gd name="connsiteY0" fmla="*/ 157240 h 1129823"/>
                  <a:gd name="connsiteX1" fmla="*/ 4765 w 12045155"/>
                  <a:gd name="connsiteY1" fmla="*/ 229969 h 1129823"/>
                  <a:gd name="connsiteX2" fmla="*/ 16985 w 12045155"/>
                  <a:gd name="connsiteY2" fmla="*/ 441204 h 1129823"/>
                  <a:gd name="connsiteX3" fmla="*/ 31647 w 12045155"/>
                  <a:gd name="connsiteY3" fmla="*/ 700450 h 1129823"/>
                  <a:gd name="connsiteX4" fmla="*/ 43864 w 12045155"/>
                  <a:gd name="connsiteY4" fmla="*/ 777266 h 1129823"/>
                  <a:gd name="connsiteX5" fmla="*/ 80207 w 12045155"/>
                  <a:gd name="connsiteY5" fmla="*/ 937416 h 1129823"/>
                  <a:gd name="connsiteX6" fmla="*/ 937008 w 12045155"/>
                  <a:gd name="connsiteY6" fmla="*/ 844973 h 1129823"/>
                  <a:gd name="connsiteX7" fmla="*/ 1631867 w 12045155"/>
                  <a:gd name="connsiteY7" fmla="*/ 878961 h 1129823"/>
                  <a:gd name="connsiteX8" fmla="*/ 2087877 w 12045155"/>
                  <a:gd name="connsiteY8" fmla="*/ 819473 h 1129823"/>
                  <a:gd name="connsiteX9" fmla="*/ 2565599 w 12045155"/>
                  <a:gd name="connsiteY9" fmla="*/ 819473 h 1129823"/>
                  <a:gd name="connsiteX10" fmla="*/ 3336468 w 12045155"/>
                  <a:gd name="connsiteY10" fmla="*/ 861967 h 1129823"/>
                  <a:gd name="connsiteX11" fmla="*/ 4215904 w 12045155"/>
                  <a:gd name="connsiteY11" fmla="*/ 844973 h 1129823"/>
                  <a:gd name="connsiteX12" fmla="*/ 4845622 w 12045155"/>
                  <a:gd name="connsiteY12" fmla="*/ 853479 h 1129823"/>
                  <a:gd name="connsiteX13" fmla="*/ 5681632 w 12045155"/>
                  <a:gd name="connsiteY13" fmla="*/ 853479 h 1129823"/>
                  <a:gd name="connsiteX14" fmla="*/ 6745645 w 12045155"/>
                  <a:gd name="connsiteY14" fmla="*/ 878979 h 1129823"/>
                  <a:gd name="connsiteX15" fmla="*/ 7494800 w 12045155"/>
                  <a:gd name="connsiteY15" fmla="*/ 870473 h 1129823"/>
                  <a:gd name="connsiteX16" fmla="*/ 8026795 w 12045155"/>
                  <a:gd name="connsiteY16" fmla="*/ 861967 h 1129823"/>
                  <a:gd name="connsiteX17" fmla="*/ 8504518 w 12045155"/>
                  <a:gd name="connsiteY17" fmla="*/ 827979 h 1129823"/>
                  <a:gd name="connsiteX18" fmla="*/ 11481826 w 12045155"/>
                  <a:gd name="connsiteY18" fmla="*/ 1127088 h 1129823"/>
                  <a:gd name="connsiteX19" fmla="*/ 12045155 w 12045155"/>
                  <a:gd name="connsiteY19" fmla="*/ 699393 h 1129823"/>
                  <a:gd name="connsiteX20" fmla="*/ 12045155 w 12045155"/>
                  <a:gd name="connsiteY20" fmla="*/ 261011 h 1129823"/>
                  <a:gd name="connsiteX21" fmla="*/ 8450223 w 12045155"/>
                  <a:gd name="connsiteY21" fmla="*/ 156695 h 1129823"/>
                  <a:gd name="connsiteX22" fmla="*/ 7635927 w 12045155"/>
                  <a:gd name="connsiteY22" fmla="*/ 105714 h 1129823"/>
                  <a:gd name="connsiteX23" fmla="*/ 7049636 w 12045155"/>
                  <a:gd name="connsiteY23" fmla="*/ 199189 h 1129823"/>
                  <a:gd name="connsiteX24" fmla="*/ 6342549 w 12045155"/>
                  <a:gd name="connsiteY24" fmla="*/ 146630 h 1129823"/>
                  <a:gd name="connsiteX25" fmla="*/ 5902209 w 12045155"/>
                  <a:gd name="connsiteY25" fmla="*/ 249658 h 1129823"/>
                  <a:gd name="connsiteX26" fmla="*/ 5182195 w 12045155"/>
                  <a:gd name="connsiteY26" fmla="*/ 292664 h 1129823"/>
                  <a:gd name="connsiteX27" fmla="*/ 3822487 w 12045155"/>
                  <a:gd name="connsiteY27" fmla="*/ 90799 h 1129823"/>
                  <a:gd name="connsiteX28" fmla="*/ 2370177 w 12045155"/>
                  <a:gd name="connsiteY28" fmla="*/ 156695 h 1129823"/>
                  <a:gd name="connsiteX29" fmla="*/ 578745 w 12045155"/>
                  <a:gd name="connsiteY29" fmla="*/ 148189 h 1129823"/>
                  <a:gd name="connsiteX30" fmla="*/ 38923 w 12045155"/>
                  <a:gd name="connsiteY30" fmla="*/ 157240 h 1129823"/>
                  <a:gd name="connsiteX0" fmla="*/ 38923 w 12045155"/>
                  <a:gd name="connsiteY0" fmla="*/ 157240 h 1784983"/>
                  <a:gd name="connsiteX1" fmla="*/ 4765 w 12045155"/>
                  <a:gd name="connsiteY1" fmla="*/ 229969 h 1784983"/>
                  <a:gd name="connsiteX2" fmla="*/ 16985 w 12045155"/>
                  <a:gd name="connsiteY2" fmla="*/ 441204 h 1784983"/>
                  <a:gd name="connsiteX3" fmla="*/ 31647 w 12045155"/>
                  <a:gd name="connsiteY3" fmla="*/ 700450 h 1784983"/>
                  <a:gd name="connsiteX4" fmla="*/ 43864 w 12045155"/>
                  <a:gd name="connsiteY4" fmla="*/ 777266 h 1784983"/>
                  <a:gd name="connsiteX5" fmla="*/ 80207 w 12045155"/>
                  <a:gd name="connsiteY5" fmla="*/ 937416 h 1784983"/>
                  <a:gd name="connsiteX6" fmla="*/ 937008 w 12045155"/>
                  <a:gd name="connsiteY6" fmla="*/ 844973 h 1784983"/>
                  <a:gd name="connsiteX7" fmla="*/ 1631867 w 12045155"/>
                  <a:gd name="connsiteY7" fmla="*/ 878961 h 1784983"/>
                  <a:gd name="connsiteX8" fmla="*/ 2087877 w 12045155"/>
                  <a:gd name="connsiteY8" fmla="*/ 819473 h 1784983"/>
                  <a:gd name="connsiteX9" fmla="*/ 2565599 w 12045155"/>
                  <a:gd name="connsiteY9" fmla="*/ 819473 h 1784983"/>
                  <a:gd name="connsiteX10" fmla="*/ 3336468 w 12045155"/>
                  <a:gd name="connsiteY10" fmla="*/ 861967 h 1784983"/>
                  <a:gd name="connsiteX11" fmla="*/ 4215904 w 12045155"/>
                  <a:gd name="connsiteY11" fmla="*/ 844973 h 1784983"/>
                  <a:gd name="connsiteX12" fmla="*/ 4845622 w 12045155"/>
                  <a:gd name="connsiteY12" fmla="*/ 853479 h 1784983"/>
                  <a:gd name="connsiteX13" fmla="*/ 5681632 w 12045155"/>
                  <a:gd name="connsiteY13" fmla="*/ 853479 h 1784983"/>
                  <a:gd name="connsiteX14" fmla="*/ 6745645 w 12045155"/>
                  <a:gd name="connsiteY14" fmla="*/ 878979 h 1784983"/>
                  <a:gd name="connsiteX15" fmla="*/ 7494800 w 12045155"/>
                  <a:gd name="connsiteY15" fmla="*/ 870473 h 1784983"/>
                  <a:gd name="connsiteX16" fmla="*/ 8026795 w 12045155"/>
                  <a:gd name="connsiteY16" fmla="*/ 861967 h 1784983"/>
                  <a:gd name="connsiteX17" fmla="*/ 8504518 w 12045155"/>
                  <a:gd name="connsiteY17" fmla="*/ 827979 h 1784983"/>
                  <a:gd name="connsiteX18" fmla="*/ 10922986 w 12045155"/>
                  <a:gd name="connsiteY18" fmla="*/ 1782194 h 1784983"/>
                  <a:gd name="connsiteX19" fmla="*/ 11481826 w 12045155"/>
                  <a:gd name="connsiteY19" fmla="*/ 1127088 h 1784983"/>
                  <a:gd name="connsiteX20" fmla="*/ 12045155 w 12045155"/>
                  <a:gd name="connsiteY20" fmla="*/ 699393 h 1784983"/>
                  <a:gd name="connsiteX21" fmla="*/ 12045155 w 12045155"/>
                  <a:gd name="connsiteY21" fmla="*/ 261011 h 1784983"/>
                  <a:gd name="connsiteX22" fmla="*/ 8450223 w 12045155"/>
                  <a:gd name="connsiteY22" fmla="*/ 156695 h 1784983"/>
                  <a:gd name="connsiteX23" fmla="*/ 7635927 w 12045155"/>
                  <a:gd name="connsiteY23" fmla="*/ 105714 h 1784983"/>
                  <a:gd name="connsiteX24" fmla="*/ 7049636 w 12045155"/>
                  <a:gd name="connsiteY24" fmla="*/ 199189 h 1784983"/>
                  <a:gd name="connsiteX25" fmla="*/ 6342549 w 12045155"/>
                  <a:gd name="connsiteY25" fmla="*/ 146630 h 1784983"/>
                  <a:gd name="connsiteX26" fmla="*/ 5902209 w 12045155"/>
                  <a:gd name="connsiteY26" fmla="*/ 249658 h 1784983"/>
                  <a:gd name="connsiteX27" fmla="*/ 5182195 w 12045155"/>
                  <a:gd name="connsiteY27" fmla="*/ 292664 h 1784983"/>
                  <a:gd name="connsiteX28" fmla="*/ 3822487 w 12045155"/>
                  <a:gd name="connsiteY28" fmla="*/ 90799 h 1784983"/>
                  <a:gd name="connsiteX29" fmla="*/ 2370177 w 12045155"/>
                  <a:gd name="connsiteY29" fmla="*/ 156695 h 1784983"/>
                  <a:gd name="connsiteX30" fmla="*/ 578745 w 12045155"/>
                  <a:gd name="connsiteY30" fmla="*/ 148189 h 1784983"/>
                  <a:gd name="connsiteX31" fmla="*/ 38923 w 12045155"/>
                  <a:gd name="connsiteY31" fmla="*/ 157240 h 1784983"/>
                  <a:gd name="connsiteX0" fmla="*/ 38923 w 12045155"/>
                  <a:gd name="connsiteY0" fmla="*/ 157240 h 1848237"/>
                  <a:gd name="connsiteX1" fmla="*/ 4765 w 12045155"/>
                  <a:gd name="connsiteY1" fmla="*/ 229969 h 1848237"/>
                  <a:gd name="connsiteX2" fmla="*/ 16985 w 12045155"/>
                  <a:gd name="connsiteY2" fmla="*/ 441204 h 1848237"/>
                  <a:gd name="connsiteX3" fmla="*/ 31647 w 12045155"/>
                  <a:gd name="connsiteY3" fmla="*/ 700450 h 1848237"/>
                  <a:gd name="connsiteX4" fmla="*/ 43864 w 12045155"/>
                  <a:gd name="connsiteY4" fmla="*/ 777266 h 1848237"/>
                  <a:gd name="connsiteX5" fmla="*/ 80207 w 12045155"/>
                  <a:gd name="connsiteY5" fmla="*/ 937416 h 1848237"/>
                  <a:gd name="connsiteX6" fmla="*/ 937008 w 12045155"/>
                  <a:gd name="connsiteY6" fmla="*/ 844973 h 1848237"/>
                  <a:gd name="connsiteX7" fmla="*/ 1631867 w 12045155"/>
                  <a:gd name="connsiteY7" fmla="*/ 878961 h 1848237"/>
                  <a:gd name="connsiteX8" fmla="*/ 2087877 w 12045155"/>
                  <a:gd name="connsiteY8" fmla="*/ 819473 h 1848237"/>
                  <a:gd name="connsiteX9" fmla="*/ 2565599 w 12045155"/>
                  <a:gd name="connsiteY9" fmla="*/ 819473 h 1848237"/>
                  <a:gd name="connsiteX10" fmla="*/ 3336468 w 12045155"/>
                  <a:gd name="connsiteY10" fmla="*/ 861967 h 1848237"/>
                  <a:gd name="connsiteX11" fmla="*/ 4215904 w 12045155"/>
                  <a:gd name="connsiteY11" fmla="*/ 844973 h 1848237"/>
                  <a:gd name="connsiteX12" fmla="*/ 4845622 w 12045155"/>
                  <a:gd name="connsiteY12" fmla="*/ 853479 h 1848237"/>
                  <a:gd name="connsiteX13" fmla="*/ 5681632 w 12045155"/>
                  <a:gd name="connsiteY13" fmla="*/ 853479 h 1848237"/>
                  <a:gd name="connsiteX14" fmla="*/ 6745645 w 12045155"/>
                  <a:gd name="connsiteY14" fmla="*/ 878979 h 1848237"/>
                  <a:gd name="connsiteX15" fmla="*/ 7494800 w 12045155"/>
                  <a:gd name="connsiteY15" fmla="*/ 870473 h 1848237"/>
                  <a:gd name="connsiteX16" fmla="*/ 8026795 w 12045155"/>
                  <a:gd name="connsiteY16" fmla="*/ 861967 h 1848237"/>
                  <a:gd name="connsiteX17" fmla="*/ 8504518 w 12045155"/>
                  <a:gd name="connsiteY17" fmla="*/ 827979 h 1848237"/>
                  <a:gd name="connsiteX18" fmla="*/ 10922986 w 12045155"/>
                  <a:gd name="connsiteY18" fmla="*/ 1782194 h 1848237"/>
                  <a:gd name="connsiteX19" fmla="*/ 11481826 w 12045155"/>
                  <a:gd name="connsiteY19" fmla="*/ 1127088 h 1848237"/>
                  <a:gd name="connsiteX20" fmla="*/ 12045155 w 12045155"/>
                  <a:gd name="connsiteY20" fmla="*/ 699393 h 1848237"/>
                  <a:gd name="connsiteX21" fmla="*/ 12045155 w 12045155"/>
                  <a:gd name="connsiteY21" fmla="*/ 261011 h 1848237"/>
                  <a:gd name="connsiteX22" fmla="*/ 8450223 w 12045155"/>
                  <a:gd name="connsiteY22" fmla="*/ 156695 h 1848237"/>
                  <a:gd name="connsiteX23" fmla="*/ 7635927 w 12045155"/>
                  <a:gd name="connsiteY23" fmla="*/ 105714 h 1848237"/>
                  <a:gd name="connsiteX24" fmla="*/ 7049636 w 12045155"/>
                  <a:gd name="connsiteY24" fmla="*/ 199189 h 1848237"/>
                  <a:gd name="connsiteX25" fmla="*/ 6342549 w 12045155"/>
                  <a:gd name="connsiteY25" fmla="*/ 146630 h 1848237"/>
                  <a:gd name="connsiteX26" fmla="*/ 5902209 w 12045155"/>
                  <a:gd name="connsiteY26" fmla="*/ 249658 h 1848237"/>
                  <a:gd name="connsiteX27" fmla="*/ 5182195 w 12045155"/>
                  <a:gd name="connsiteY27" fmla="*/ 292664 h 1848237"/>
                  <a:gd name="connsiteX28" fmla="*/ 3822487 w 12045155"/>
                  <a:gd name="connsiteY28" fmla="*/ 90799 h 1848237"/>
                  <a:gd name="connsiteX29" fmla="*/ 2370177 w 12045155"/>
                  <a:gd name="connsiteY29" fmla="*/ 156695 h 1848237"/>
                  <a:gd name="connsiteX30" fmla="*/ 578745 w 12045155"/>
                  <a:gd name="connsiteY30" fmla="*/ 148189 h 1848237"/>
                  <a:gd name="connsiteX31" fmla="*/ 38923 w 12045155"/>
                  <a:gd name="connsiteY31" fmla="*/ 157240 h 1848237"/>
                  <a:gd name="connsiteX0" fmla="*/ 38923 w 12045155"/>
                  <a:gd name="connsiteY0" fmla="*/ 157240 h 2147863"/>
                  <a:gd name="connsiteX1" fmla="*/ 4765 w 12045155"/>
                  <a:gd name="connsiteY1" fmla="*/ 229969 h 2147863"/>
                  <a:gd name="connsiteX2" fmla="*/ 16985 w 12045155"/>
                  <a:gd name="connsiteY2" fmla="*/ 441204 h 2147863"/>
                  <a:gd name="connsiteX3" fmla="*/ 31647 w 12045155"/>
                  <a:gd name="connsiteY3" fmla="*/ 700450 h 2147863"/>
                  <a:gd name="connsiteX4" fmla="*/ 43864 w 12045155"/>
                  <a:gd name="connsiteY4" fmla="*/ 777266 h 2147863"/>
                  <a:gd name="connsiteX5" fmla="*/ 80207 w 12045155"/>
                  <a:gd name="connsiteY5" fmla="*/ 937416 h 2147863"/>
                  <a:gd name="connsiteX6" fmla="*/ 937008 w 12045155"/>
                  <a:gd name="connsiteY6" fmla="*/ 844973 h 2147863"/>
                  <a:gd name="connsiteX7" fmla="*/ 1631867 w 12045155"/>
                  <a:gd name="connsiteY7" fmla="*/ 878961 h 2147863"/>
                  <a:gd name="connsiteX8" fmla="*/ 2087877 w 12045155"/>
                  <a:gd name="connsiteY8" fmla="*/ 819473 h 2147863"/>
                  <a:gd name="connsiteX9" fmla="*/ 2565599 w 12045155"/>
                  <a:gd name="connsiteY9" fmla="*/ 819473 h 2147863"/>
                  <a:gd name="connsiteX10" fmla="*/ 3336468 w 12045155"/>
                  <a:gd name="connsiteY10" fmla="*/ 861967 h 2147863"/>
                  <a:gd name="connsiteX11" fmla="*/ 4215904 w 12045155"/>
                  <a:gd name="connsiteY11" fmla="*/ 844973 h 2147863"/>
                  <a:gd name="connsiteX12" fmla="*/ 4845622 w 12045155"/>
                  <a:gd name="connsiteY12" fmla="*/ 853479 h 2147863"/>
                  <a:gd name="connsiteX13" fmla="*/ 5681632 w 12045155"/>
                  <a:gd name="connsiteY13" fmla="*/ 853479 h 2147863"/>
                  <a:gd name="connsiteX14" fmla="*/ 6745645 w 12045155"/>
                  <a:gd name="connsiteY14" fmla="*/ 878979 h 2147863"/>
                  <a:gd name="connsiteX15" fmla="*/ 7494800 w 12045155"/>
                  <a:gd name="connsiteY15" fmla="*/ 870473 h 2147863"/>
                  <a:gd name="connsiteX16" fmla="*/ 8026795 w 12045155"/>
                  <a:gd name="connsiteY16" fmla="*/ 861967 h 2147863"/>
                  <a:gd name="connsiteX17" fmla="*/ 8504518 w 12045155"/>
                  <a:gd name="connsiteY17" fmla="*/ 827979 h 2147863"/>
                  <a:gd name="connsiteX18" fmla="*/ 10177867 w 12045155"/>
                  <a:gd name="connsiteY18" fmla="*/ 2109744 h 2147863"/>
                  <a:gd name="connsiteX19" fmla="*/ 10922986 w 12045155"/>
                  <a:gd name="connsiteY19" fmla="*/ 1782194 h 2147863"/>
                  <a:gd name="connsiteX20" fmla="*/ 11481826 w 12045155"/>
                  <a:gd name="connsiteY20" fmla="*/ 1127088 h 2147863"/>
                  <a:gd name="connsiteX21" fmla="*/ 12045155 w 12045155"/>
                  <a:gd name="connsiteY21" fmla="*/ 699393 h 2147863"/>
                  <a:gd name="connsiteX22" fmla="*/ 12045155 w 12045155"/>
                  <a:gd name="connsiteY22" fmla="*/ 261011 h 2147863"/>
                  <a:gd name="connsiteX23" fmla="*/ 8450223 w 12045155"/>
                  <a:gd name="connsiteY23" fmla="*/ 156695 h 2147863"/>
                  <a:gd name="connsiteX24" fmla="*/ 7635927 w 12045155"/>
                  <a:gd name="connsiteY24" fmla="*/ 105714 h 2147863"/>
                  <a:gd name="connsiteX25" fmla="*/ 7049636 w 12045155"/>
                  <a:gd name="connsiteY25" fmla="*/ 199189 h 2147863"/>
                  <a:gd name="connsiteX26" fmla="*/ 6342549 w 12045155"/>
                  <a:gd name="connsiteY26" fmla="*/ 146630 h 2147863"/>
                  <a:gd name="connsiteX27" fmla="*/ 5902209 w 12045155"/>
                  <a:gd name="connsiteY27" fmla="*/ 249658 h 2147863"/>
                  <a:gd name="connsiteX28" fmla="*/ 5182195 w 12045155"/>
                  <a:gd name="connsiteY28" fmla="*/ 292664 h 2147863"/>
                  <a:gd name="connsiteX29" fmla="*/ 3822487 w 12045155"/>
                  <a:gd name="connsiteY29" fmla="*/ 90799 h 2147863"/>
                  <a:gd name="connsiteX30" fmla="*/ 2370177 w 12045155"/>
                  <a:gd name="connsiteY30" fmla="*/ 156695 h 2147863"/>
                  <a:gd name="connsiteX31" fmla="*/ 578745 w 12045155"/>
                  <a:gd name="connsiteY31" fmla="*/ 148189 h 2147863"/>
                  <a:gd name="connsiteX32" fmla="*/ 38923 w 12045155"/>
                  <a:gd name="connsiteY32" fmla="*/ 157240 h 2147863"/>
                  <a:gd name="connsiteX0" fmla="*/ 38923 w 12045155"/>
                  <a:gd name="connsiteY0" fmla="*/ 157240 h 2112232"/>
                  <a:gd name="connsiteX1" fmla="*/ 4765 w 12045155"/>
                  <a:gd name="connsiteY1" fmla="*/ 229969 h 2112232"/>
                  <a:gd name="connsiteX2" fmla="*/ 16985 w 12045155"/>
                  <a:gd name="connsiteY2" fmla="*/ 441204 h 2112232"/>
                  <a:gd name="connsiteX3" fmla="*/ 31647 w 12045155"/>
                  <a:gd name="connsiteY3" fmla="*/ 700450 h 2112232"/>
                  <a:gd name="connsiteX4" fmla="*/ 43864 w 12045155"/>
                  <a:gd name="connsiteY4" fmla="*/ 777266 h 2112232"/>
                  <a:gd name="connsiteX5" fmla="*/ 80207 w 12045155"/>
                  <a:gd name="connsiteY5" fmla="*/ 937416 h 2112232"/>
                  <a:gd name="connsiteX6" fmla="*/ 937008 w 12045155"/>
                  <a:gd name="connsiteY6" fmla="*/ 844973 h 2112232"/>
                  <a:gd name="connsiteX7" fmla="*/ 1631867 w 12045155"/>
                  <a:gd name="connsiteY7" fmla="*/ 878961 h 2112232"/>
                  <a:gd name="connsiteX8" fmla="*/ 2087877 w 12045155"/>
                  <a:gd name="connsiteY8" fmla="*/ 819473 h 2112232"/>
                  <a:gd name="connsiteX9" fmla="*/ 2565599 w 12045155"/>
                  <a:gd name="connsiteY9" fmla="*/ 819473 h 2112232"/>
                  <a:gd name="connsiteX10" fmla="*/ 3336468 w 12045155"/>
                  <a:gd name="connsiteY10" fmla="*/ 861967 h 2112232"/>
                  <a:gd name="connsiteX11" fmla="*/ 4215904 w 12045155"/>
                  <a:gd name="connsiteY11" fmla="*/ 844973 h 2112232"/>
                  <a:gd name="connsiteX12" fmla="*/ 4845622 w 12045155"/>
                  <a:gd name="connsiteY12" fmla="*/ 853479 h 2112232"/>
                  <a:gd name="connsiteX13" fmla="*/ 5681632 w 12045155"/>
                  <a:gd name="connsiteY13" fmla="*/ 853479 h 2112232"/>
                  <a:gd name="connsiteX14" fmla="*/ 6745645 w 12045155"/>
                  <a:gd name="connsiteY14" fmla="*/ 878979 h 2112232"/>
                  <a:gd name="connsiteX15" fmla="*/ 7494800 w 12045155"/>
                  <a:gd name="connsiteY15" fmla="*/ 870473 h 2112232"/>
                  <a:gd name="connsiteX16" fmla="*/ 8026795 w 12045155"/>
                  <a:gd name="connsiteY16" fmla="*/ 861967 h 2112232"/>
                  <a:gd name="connsiteX17" fmla="*/ 8504518 w 12045155"/>
                  <a:gd name="connsiteY17" fmla="*/ 827979 h 2112232"/>
                  <a:gd name="connsiteX18" fmla="*/ 9490064 w 12045155"/>
                  <a:gd name="connsiteY18" fmla="*/ 1654810 h 2112232"/>
                  <a:gd name="connsiteX19" fmla="*/ 10177867 w 12045155"/>
                  <a:gd name="connsiteY19" fmla="*/ 2109744 h 2112232"/>
                  <a:gd name="connsiteX20" fmla="*/ 10922986 w 12045155"/>
                  <a:gd name="connsiteY20" fmla="*/ 1782194 h 2112232"/>
                  <a:gd name="connsiteX21" fmla="*/ 11481826 w 12045155"/>
                  <a:gd name="connsiteY21" fmla="*/ 1127088 h 2112232"/>
                  <a:gd name="connsiteX22" fmla="*/ 12045155 w 12045155"/>
                  <a:gd name="connsiteY22" fmla="*/ 699393 h 2112232"/>
                  <a:gd name="connsiteX23" fmla="*/ 12045155 w 12045155"/>
                  <a:gd name="connsiteY23" fmla="*/ 261011 h 2112232"/>
                  <a:gd name="connsiteX24" fmla="*/ 8450223 w 12045155"/>
                  <a:gd name="connsiteY24" fmla="*/ 156695 h 2112232"/>
                  <a:gd name="connsiteX25" fmla="*/ 7635927 w 12045155"/>
                  <a:gd name="connsiteY25" fmla="*/ 105714 h 2112232"/>
                  <a:gd name="connsiteX26" fmla="*/ 7049636 w 12045155"/>
                  <a:gd name="connsiteY26" fmla="*/ 199189 h 2112232"/>
                  <a:gd name="connsiteX27" fmla="*/ 6342549 w 12045155"/>
                  <a:gd name="connsiteY27" fmla="*/ 146630 h 2112232"/>
                  <a:gd name="connsiteX28" fmla="*/ 5902209 w 12045155"/>
                  <a:gd name="connsiteY28" fmla="*/ 249658 h 2112232"/>
                  <a:gd name="connsiteX29" fmla="*/ 5182195 w 12045155"/>
                  <a:gd name="connsiteY29" fmla="*/ 292664 h 2112232"/>
                  <a:gd name="connsiteX30" fmla="*/ 3822487 w 12045155"/>
                  <a:gd name="connsiteY30" fmla="*/ 90799 h 2112232"/>
                  <a:gd name="connsiteX31" fmla="*/ 2370177 w 12045155"/>
                  <a:gd name="connsiteY31" fmla="*/ 156695 h 2112232"/>
                  <a:gd name="connsiteX32" fmla="*/ 578745 w 12045155"/>
                  <a:gd name="connsiteY32" fmla="*/ 148189 h 2112232"/>
                  <a:gd name="connsiteX33" fmla="*/ 38923 w 12045155"/>
                  <a:gd name="connsiteY33" fmla="*/ 157240 h 2112232"/>
                  <a:gd name="connsiteX0" fmla="*/ 38923 w 12045155"/>
                  <a:gd name="connsiteY0" fmla="*/ 157240 h 2112232"/>
                  <a:gd name="connsiteX1" fmla="*/ 4765 w 12045155"/>
                  <a:gd name="connsiteY1" fmla="*/ 229969 h 2112232"/>
                  <a:gd name="connsiteX2" fmla="*/ 16985 w 12045155"/>
                  <a:gd name="connsiteY2" fmla="*/ 441204 h 2112232"/>
                  <a:gd name="connsiteX3" fmla="*/ 31647 w 12045155"/>
                  <a:gd name="connsiteY3" fmla="*/ 700450 h 2112232"/>
                  <a:gd name="connsiteX4" fmla="*/ 43864 w 12045155"/>
                  <a:gd name="connsiteY4" fmla="*/ 777266 h 2112232"/>
                  <a:gd name="connsiteX5" fmla="*/ 80207 w 12045155"/>
                  <a:gd name="connsiteY5" fmla="*/ 937416 h 2112232"/>
                  <a:gd name="connsiteX6" fmla="*/ 937008 w 12045155"/>
                  <a:gd name="connsiteY6" fmla="*/ 844973 h 2112232"/>
                  <a:gd name="connsiteX7" fmla="*/ 1631867 w 12045155"/>
                  <a:gd name="connsiteY7" fmla="*/ 878961 h 2112232"/>
                  <a:gd name="connsiteX8" fmla="*/ 2087877 w 12045155"/>
                  <a:gd name="connsiteY8" fmla="*/ 819473 h 2112232"/>
                  <a:gd name="connsiteX9" fmla="*/ 2565599 w 12045155"/>
                  <a:gd name="connsiteY9" fmla="*/ 819473 h 2112232"/>
                  <a:gd name="connsiteX10" fmla="*/ 3336468 w 12045155"/>
                  <a:gd name="connsiteY10" fmla="*/ 861967 h 2112232"/>
                  <a:gd name="connsiteX11" fmla="*/ 4215904 w 12045155"/>
                  <a:gd name="connsiteY11" fmla="*/ 844973 h 2112232"/>
                  <a:gd name="connsiteX12" fmla="*/ 4845622 w 12045155"/>
                  <a:gd name="connsiteY12" fmla="*/ 853479 h 2112232"/>
                  <a:gd name="connsiteX13" fmla="*/ 5681632 w 12045155"/>
                  <a:gd name="connsiteY13" fmla="*/ 853479 h 2112232"/>
                  <a:gd name="connsiteX14" fmla="*/ 6745645 w 12045155"/>
                  <a:gd name="connsiteY14" fmla="*/ 878979 h 2112232"/>
                  <a:gd name="connsiteX15" fmla="*/ 7494800 w 12045155"/>
                  <a:gd name="connsiteY15" fmla="*/ 870473 h 2112232"/>
                  <a:gd name="connsiteX16" fmla="*/ 8026795 w 12045155"/>
                  <a:gd name="connsiteY16" fmla="*/ 861967 h 2112232"/>
                  <a:gd name="connsiteX17" fmla="*/ 8504518 w 12045155"/>
                  <a:gd name="connsiteY17" fmla="*/ 827979 h 2112232"/>
                  <a:gd name="connsiteX18" fmla="*/ 9490064 w 12045155"/>
                  <a:gd name="connsiteY18" fmla="*/ 1654810 h 2112232"/>
                  <a:gd name="connsiteX19" fmla="*/ 10177867 w 12045155"/>
                  <a:gd name="connsiteY19" fmla="*/ 2109744 h 2112232"/>
                  <a:gd name="connsiteX20" fmla="*/ 10922986 w 12045155"/>
                  <a:gd name="connsiteY20" fmla="*/ 1782194 h 2112232"/>
                  <a:gd name="connsiteX21" fmla="*/ 11481826 w 12045155"/>
                  <a:gd name="connsiteY21" fmla="*/ 1127088 h 2112232"/>
                  <a:gd name="connsiteX22" fmla="*/ 12045155 w 12045155"/>
                  <a:gd name="connsiteY22" fmla="*/ 699393 h 2112232"/>
                  <a:gd name="connsiteX23" fmla="*/ 12045155 w 12045155"/>
                  <a:gd name="connsiteY23" fmla="*/ 261011 h 2112232"/>
                  <a:gd name="connsiteX24" fmla="*/ 11438839 w 12045155"/>
                  <a:gd name="connsiteY24" fmla="*/ 435586 h 2112232"/>
                  <a:gd name="connsiteX25" fmla="*/ 8450223 w 12045155"/>
                  <a:gd name="connsiteY25" fmla="*/ 156695 h 2112232"/>
                  <a:gd name="connsiteX26" fmla="*/ 7635927 w 12045155"/>
                  <a:gd name="connsiteY26" fmla="*/ 105714 h 2112232"/>
                  <a:gd name="connsiteX27" fmla="*/ 7049636 w 12045155"/>
                  <a:gd name="connsiteY27" fmla="*/ 199189 h 2112232"/>
                  <a:gd name="connsiteX28" fmla="*/ 6342549 w 12045155"/>
                  <a:gd name="connsiteY28" fmla="*/ 146630 h 2112232"/>
                  <a:gd name="connsiteX29" fmla="*/ 5902209 w 12045155"/>
                  <a:gd name="connsiteY29" fmla="*/ 249658 h 2112232"/>
                  <a:gd name="connsiteX30" fmla="*/ 5182195 w 12045155"/>
                  <a:gd name="connsiteY30" fmla="*/ 292664 h 2112232"/>
                  <a:gd name="connsiteX31" fmla="*/ 3822487 w 12045155"/>
                  <a:gd name="connsiteY31" fmla="*/ 90799 h 2112232"/>
                  <a:gd name="connsiteX32" fmla="*/ 2370177 w 12045155"/>
                  <a:gd name="connsiteY32" fmla="*/ 156695 h 2112232"/>
                  <a:gd name="connsiteX33" fmla="*/ 578745 w 12045155"/>
                  <a:gd name="connsiteY33" fmla="*/ 148189 h 2112232"/>
                  <a:gd name="connsiteX34" fmla="*/ 38923 w 12045155"/>
                  <a:gd name="connsiteY34" fmla="*/ 157240 h 2112232"/>
                  <a:gd name="connsiteX0" fmla="*/ 38923 w 12045155"/>
                  <a:gd name="connsiteY0" fmla="*/ 157240 h 2112232"/>
                  <a:gd name="connsiteX1" fmla="*/ 4765 w 12045155"/>
                  <a:gd name="connsiteY1" fmla="*/ 229969 h 2112232"/>
                  <a:gd name="connsiteX2" fmla="*/ 16985 w 12045155"/>
                  <a:gd name="connsiteY2" fmla="*/ 441204 h 2112232"/>
                  <a:gd name="connsiteX3" fmla="*/ 31647 w 12045155"/>
                  <a:gd name="connsiteY3" fmla="*/ 700450 h 2112232"/>
                  <a:gd name="connsiteX4" fmla="*/ 43864 w 12045155"/>
                  <a:gd name="connsiteY4" fmla="*/ 777266 h 2112232"/>
                  <a:gd name="connsiteX5" fmla="*/ 80207 w 12045155"/>
                  <a:gd name="connsiteY5" fmla="*/ 937416 h 2112232"/>
                  <a:gd name="connsiteX6" fmla="*/ 937008 w 12045155"/>
                  <a:gd name="connsiteY6" fmla="*/ 844973 h 2112232"/>
                  <a:gd name="connsiteX7" fmla="*/ 1631867 w 12045155"/>
                  <a:gd name="connsiteY7" fmla="*/ 878961 h 2112232"/>
                  <a:gd name="connsiteX8" fmla="*/ 2087877 w 12045155"/>
                  <a:gd name="connsiteY8" fmla="*/ 819473 h 2112232"/>
                  <a:gd name="connsiteX9" fmla="*/ 2565599 w 12045155"/>
                  <a:gd name="connsiteY9" fmla="*/ 819473 h 2112232"/>
                  <a:gd name="connsiteX10" fmla="*/ 3336468 w 12045155"/>
                  <a:gd name="connsiteY10" fmla="*/ 861967 h 2112232"/>
                  <a:gd name="connsiteX11" fmla="*/ 4215904 w 12045155"/>
                  <a:gd name="connsiteY11" fmla="*/ 844973 h 2112232"/>
                  <a:gd name="connsiteX12" fmla="*/ 4845622 w 12045155"/>
                  <a:gd name="connsiteY12" fmla="*/ 853479 h 2112232"/>
                  <a:gd name="connsiteX13" fmla="*/ 5681632 w 12045155"/>
                  <a:gd name="connsiteY13" fmla="*/ 853479 h 2112232"/>
                  <a:gd name="connsiteX14" fmla="*/ 6745645 w 12045155"/>
                  <a:gd name="connsiteY14" fmla="*/ 878979 h 2112232"/>
                  <a:gd name="connsiteX15" fmla="*/ 7494800 w 12045155"/>
                  <a:gd name="connsiteY15" fmla="*/ 870473 h 2112232"/>
                  <a:gd name="connsiteX16" fmla="*/ 8026795 w 12045155"/>
                  <a:gd name="connsiteY16" fmla="*/ 861967 h 2112232"/>
                  <a:gd name="connsiteX17" fmla="*/ 8504518 w 12045155"/>
                  <a:gd name="connsiteY17" fmla="*/ 827979 h 2112232"/>
                  <a:gd name="connsiteX18" fmla="*/ 9490064 w 12045155"/>
                  <a:gd name="connsiteY18" fmla="*/ 1654810 h 2112232"/>
                  <a:gd name="connsiteX19" fmla="*/ 10177867 w 12045155"/>
                  <a:gd name="connsiteY19" fmla="*/ 2109744 h 2112232"/>
                  <a:gd name="connsiteX20" fmla="*/ 10922986 w 12045155"/>
                  <a:gd name="connsiteY20" fmla="*/ 1782194 h 2112232"/>
                  <a:gd name="connsiteX21" fmla="*/ 11481826 w 12045155"/>
                  <a:gd name="connsiteY21" fmla="*/ 1127088 h 2112232"/>
                  <a:gd name="connsiteX22" fmla="*/ 12045155 w 12045155"/>
                  <a:gd name="connsiteY22" fmla="*/ 699393 h 2112232"/>
                  <a:gd name="connsiteX23" fmla="*/ 12045155 w 12045155"/>
                  <a:gd name="connsiteY23" fmla="*/ 261011 h 2112232"/>
                  <a:gd name="connsiteX24" fmla="*/ 11438839 w 12045155"/>
                  <a:gd name="connsiteY24" fmla="*/ 435586 h 2112232"/>
                  <a:gd name="connsiteX25" fmla="*/ 8450223 w 12045155"/>
                  <a:gd name="connsiteY25" fmla="*/ 156695 h 2112232"/>
                  <a:gd name="connsiteX26" fmla="*/ 7635927 w 12045155"/>
                  <a:gd name="connsiteY26" fmla="*/ 105714 h 2112232"/>
                  <a:gd name="connsiteX27" fmla="*/ 7049636 w 12045155"/>
                  <a:gd name="connsiteY27" fmla="*/ 199189 h 2112232"/>
                  <a:gd name="connsiteX28" fmla="*/ 6342549 w 12045155"/>
                  <a:gd name="connsiteY28" fmla="*/ 146630 h 2112232"/>
                  <a:gd name="connsiteX29" fmla="*/ 5902209 w 12045155"/>
                  <a:gd name="connsiteY29" fmla="*/ 249658 h 2112232"/>
                  <a:gd name="connsiteX30" fmla="*/ 5182195 w 12045155"/>
                  <a:gd name="connsiteY30" fmla="*/ 292664 h 2112232"/>
                  <a:gd name="connsiteX31" fmla="*/ 3822487 w 12045155"/>
                  <a:gd name="connsiteY31" fmla="*/ 90799 h 2112232"/>
                  <a:gd name="connsiteX32" fmla="*/ 2370177 w 12045155"/>
                  <a:gd name="connsiteY32" fmla="*/ 156695 h 2112232"/>
                  <a:gd name="connsiteX33" fmla="*/ 578745 w 12045155"/>
                  <a:gd name="connsiteY33" fmla="*/ 148189 h 2112232"/>
                  <a:gd name="connsiteX34" fmla="*/ 38923 w 12045155"/>
                  <a:gd name="connsiteY34" fmla="*/ 157240 h 2112232"/>
                  <a:gd name="connsiteX0" fmla="*/ 38923 w 12045155"/>
                  <a:gd name="connsiteY0" fmla="*/ 157240 h 2112232"/>
                  <a:gd name="connsiteX1" fmla="*/ 4765 w 12045155"/>
                  <a:gd name="connsiteY1" fmla="*/ 229969 h 2112232"/>
                  <a:gd name="connsiteX2" fmla="*/ 16985 w 12045155"/>
                  <a:gd name="connsiteY2" fmla="*/ 441204 h 2112232"/>
                  <a:gd name="connsiteX3" fmla="*/ 31647 w 12045155"/>
                  <a:gd name="connsiteY3" fmla="*/ 700450 h 2112232"/>
                  <a:gd name="connsiteX4" fmla="*/ 43864 w 12045155"/>
                  <a:gd name="connsiteY4" fmla="*/ 777266 h 2112232"/>
                  <a:gd name="connsiteX5" fmla="*/ 80207 w 12045155"/>
                  <a:gd name="connsiteY5" fmla="*/ 937416 h 2112232"/>
                  <a:gd name="connsiteX6" fmla="*/ 937008 w 12045155"/>
                  <a:gd name="connsiteY6" fmla="*/ 844973 h 2112232"/>
                  <a:gd name="connsiteX7" fmla="*/ 1631867 w 12045155"/>
                  <a:gd name="connsiteY7" fmla="*/ 878961 h 2112232"/>
                  <a:gd name="connsiteX8" fmla="*/ 2087877 w 12045155"/>
                  <a:gd name="connsiteY8" fmla="*/ 819473 h 2112232"/>
                  <a:gd name="connsiteX9" fmla="*/ 2565599 w 12045155"/>
                  <a:gd name="connsiteY9" fmla="*/ 819473 h 2112232"/>
                  <a:gd name="connsiteX10" fmla="*/ 3336468 w 12045155"/>
                  <a:gd name="connsiteY10" fmla="*/ 861967 h 2112232"/>
                  <a:gd name="connsiteX11" fmla="*/ 4215904 w 12045155"/>
                  <a:gd name="connsiteY11" fmla="*/ 844973 h 2112232"/>
                  <a:gd name="connsiteX12" fmla="*/ 4845622 w 12045155"/>
                  <a:gd name="connsiteY12" fmla="*/ 853479 h 2112232"/>
                  <a:gd name="connsiteX13" fmla="*/ 5681632 w 12045155"/>
                  <a:gd name="connsiteY13" fmla="*/ 853479 h 2112232"/>
                  <a:gd name="connsiteX14" fmla="*/ 6745645 w 12045155"/>
                  <a:gd name="connsiteY14" fmla="*/ 878979 h 2112232"/>
                  <a:gd name="connsiteX15" fmla="*/ 7494800 w 12045155"/>
                  <a:gd name="connsiteY15" fmla="*/ 870473 h 2112232"/>
                  <a:gd name="connsiteX16" fmla="*/ 8026795 w 12045155"/>
                  <a:gd name="connsiteY16" fmla="*/ 861967 h 2112232"/>
                  <a:gd name="connsiteX17" fmla="*/ 8504518 w 12045155"/>
                  <a:gd name="connsiteY17" fmla="*/ 827979 h 2112232"/>
                  <a:gd name="connsiteX18" fmla="*/ 9490064 w 12045155"/>
                  <a:gd name="connsiteY18" fmla="*/ 1654810 h 2112232"/>
                  <a:gd name="connsiteX19" fmla="*/ 10177867 w 12045155"/>
                  <a:gd name="connsiteY19" fmla="*/ 2109744 h 2112232"/>
                  <a:gd name="connsiteX20" fmla="*/ 10922986 w 12045155"/>
                  <a:gd name="connsiteY20" fmla="*/ 1782194 h 2112232"/>
                  <a:gd name="connsiteX21" fmla="*/ 11481826 w 12045155"/>
                  <a:gd name="connsiteY21" fmla="*/ 1127088 h 2112232"/>
                  <a:gd name="connsiteX22" fmla="*/ 12045155 w 12045155"/>
                  <a:gd name="connsiteY22" fmla="*/ 699393 h 2112232"/>
                  <a:gd name="connsiteX23" fmla="*/ 12045155 w 12045155"/>
                  <a:gd name="connsiteY23" fmla="*/ 261011 h 2112232"/>
                  <a:gd name="connsiteX24" fmla="*/ 11438839 w 12045155"/>
                  <a:gd name="connsiteY24" fmla="*/ 435586 h 2112232"/>
                  <a:gd name="connsiteX25" fmla="*/ 9053022 w 12045155"/>
                  <a:gd name="connsiteY25" fmla="*/ 581165 h 2112232"/>
                  <a:gd name="connsiteX26" fmla="*/ 8450223 w 12045155"/>
                  <a:gd name="connsiteY26" fmla="*/ 156695 h 2112232"/>
                  <a:gd name="connsiteX27" fmla="*/ 7635927 w 12045155"/>
                  <a:gd name="connsiteY27" fmla="*/ 105714 h 2112232"/>
                  <a:gd name="connsiteX28" fmla="*/ 7049636 w 12045155"/>
                  <a:gd name="connsiteY28" fmla="*/ 199189 h 2112232"/>
                  <a:gd name="connsiteX29" fmla="*/ 6342549 w 12045155"/>
                  <a:gd name="connsiteY29" fmla="*/ 146630 h 2112232"/>
                  <a:gd name="connsiteX30" fmla="*/ 5902209 w 12045155"/>
                  <a:gd name="connsiteY30" fmla="*/ 249658 h 2112232"/>
                  <a:gd name="connsiteX31" fmla="*/ 5182195 w 12045155"/>
                  <a:gd name="connsiteY31" fmla="*/ 292664 h 2112232"/>
                  <a:gd name="connsiteX32" fmla="*/ 3822487 w 12045155"/>
                  <a:gd name="connsiteY32" fmla="*/ 90799 h 2112232"/>
                  <a:gd name="connsiteX33" fmla="*/ 2370177 w 12045155"/>
                  <a:gd name="connsiteY33" fmla="*/ 156695 h 2112232"/>
                  <a:gd name="connsiteX34" fmla="*/ 578745 w 12045155"/>
                  <a:gd name="connsiteY34" fmla="*/ 148189 h 2112232"/>
                  <a:gd name="connsiteX35" fmla="*/ 38923 w 12045155"/>
                  <a:gd name="connsiteY35" fmla="*/ 157240 h 2112232"/>
                  <a:gd name="connsiteX0" fmla="*/ 38923 w 12045155"/>
                  <a:gd name="connsiteY0" fmla="*/ 157240 h 2112232"/>
                  <a:gd name="connsiteX1" fmla="*/ 4765 w 12045155"/>
                  <a:gd name="connsiteY1" fmla="*/ 229969 h 2112232"/>
                  <a:gd name="connsiteX2" fmla="*/ 16985 w 12045155"/>
                  <a:gd name="connsiteY2" fmla="*/ 441204 h 2112232"/>
                  <a:gd name="connsiteX3" fmla="*/ 31647 w 12045155"/>
                  <a:gd name="connsiteY3" fmla="*/ 700450 h 2112232"/>
                  <a:gd name="connsiteX4" fmla="*/ 43864 w 12045155"/>
                  <a:gd name="connsiteY4" fmla="*/ 777266 h 2112232"/>
                  <a:gd name="connsiteX5" fmla="*/ 80207 w 12045155"/>
                  <a:gd name="connsiteY5" fmla="*/ 937416 h 2112232"/>
                  <a:gd name="connsiteX6" fmla="*/ 937008 w 12045155"/>
                  <a:gd name="connsiteY6" fmla="*/ 844973 h 2112232"/>
                  <a:gd name="connsiteX7" fmla="*/ 1631867 w 12045155"/>
                  <a:gd name="connsiteY7" fmla="*/ 878961 h 2112232"/>
                  <a:gd name="connsiteX8" fmla="*/ 2087877 w 12045155"/>
                  <a:gd name="connsiteY8" fmla="*/ 819473 h 2112232"/>
                  <a:gd name="connsiteX9" fmla="*/ 2565599 w 12045155"/>
                  <a:gd name="connsiteY9" fmla="*/ 819473 h 2112232"/>
                  <a:gd name="connsiteX10" fmla="*/ 3336468 w 12045155"/>
                  <a:gd name="connsiteY10" fmla="*/ 861967 h 2112232"/>
                  <a:gd name="connsiteX11" fmla="*/ 4215904 w 12045155"/>
                  <a:gd name="connsiteY11" fmla="*/ 844973 h 2112232"/>
                  <a:gd name="connsiteX12" fmla="*/ 4845622 w 12045155"/>
                  <a:gd name="connsiteY12" fmla="*/ 853479 h 2112232"/>
                  <a:gd name="connsiteX13" fmla="*/ 5681632 w 12045155"/>
                  <a:gd name="connsiteY13" fmla="*/ 853479 h 2112232"/>
                  <a:gd name="connsiteX14" fmla="*/ 6745645 w 12045155"/>
                  <a:gd name="connsiteY14" fmla="*/ 878979 h 2112232"/>
                  <a:gd name="connsiteX15" fmla="*/ 7494800 w 12045155"/>
                  <a:gd name="connsiteY15" fmla="*/ 870473 h 2112232"/>
                  <a:gd name="connsiteX16" fmla="*/ 8026795 w 12045155"/>
                  <a:gd name="connsiteY16" fmla="*/ 861967 h 2112232"/>
                  <a:gd name="connsiteX17" fmla="*/ 8504518 w 12045155"/>
                  <a:gd name="connsiteY17" fmla="*/ 827979 h 2112232"/>
                  <a:gd name="connsiteX18" fmla="*/ 9490064 w 12045155"/>
                  <a:gd name="connsiteY18" fmla="*/ 1654810 h 2112232"/>
                  <a:gd name="connsiteX19" fmla="*/ 10177867 w 12045155"/>
                  <a:gd name="connsiteY19" fmla="*/ 2109744 h 2112232"/>
                  <a:gd name="connsiteX20" fmla="*/ 10922986 w 12045155"/>
                  <a:gd name="connsiteY20" fmla="*/ 1782194 h 2112232"/>
                  <a:gd name="connsiteX21" fmla="*/ 11481826 w 12045155"/>
                  <a:gd name="connsiteY21" fmla="*/ 1127088 h 2112232"/>
                  <a:gd name="connsiteX22" fmla="*/ 12045155 w 12045155"/>
                  <a:gd name="connsiteY22" fmla="*/ 699393 h 2112232"/>
                  <a:gd name="connsiteX23" fmla="*/ 12045155 w 12045155"/>
                  <a:gd name="connsiteY23" fmla="*/ 261011 h 2112232"/>
                  <a:gd name="connsiteX24" fmla="*/ 11438839 w 12045155"/>
                  <a:gd name="connsiteY24" fmla="*/ 435586 h 2112232"/>
                  <a:gd name="connsiteX25" fmla="*/ 9527677 w 12045155"/>
                  <a:gd name="connsiteY25" fmla="*/ 1058846 h 2112232"/>
                  <a:gd name="connsiteX26" fmla="*/ 9053022 w 12045155"/>
                  <a:gd name="connsiteY26" fmla="*/ 581165 h 2112232"/>
                  <a:gd name="connsiteX27" fmla="*/ 8450223 w 12045155"/>
                  <a:gd name="connsiteY27" fmla="*/ 156695 h 2112232"/>
                  <a:gd name="connsiteX28" fmla="*/ 7635927 w 12045155"/>
                  <a:gd name="connsiteY28" fmla="*/ 105714 h 2112232"/>
                  <a:gd name="connsiteX29" fmla="*/ 7049636 w 12045155"/>
                  <a:gd name="connsiteY29" fmla="*/ 199189 h 2112232"/>
                  <a:gd name="connsiteX30" fmla="*/ 6342549 w 12045155"/>
                  <a:gd name="connsiteY30" fmla="*/ 146630 h 2112232"/>
                  <a:gd name="connsiteX31" fmla="*/ 5902209 w 12045155"/>
                  <a:gd name="connsiteY31" fmla="*/ 249658 h 2112232"/>
                  <a:gd name="connsiteX32" fmla="*/ 5182195 w 12045155"/>
                  <a:gd name="connsiteY32" fmla="*/ 292664 h 2112232"/>
                  <a:gd name="connsiteX33" fmla="*/ 3822487 w 12045155"/>
                  <a:gd name="connsiteY33" fmla="*/ 90799 h 2112232"/>
                  <a:gd name="connsiteX34" fmla="*/ 2370177 w 12045155"/>
                  <a:gd name="connsiteY34" fmla="*/ 156695 h 2112232"/>
                  <a:gd name="connsiteX35" fmla="*/ 578745 w 12045155"/>
                  <a:gd name="connsiteY35" fmla="*/ 148189 h 2112232"/>
                  <a:gd name="connsiteX36" fmla="*/ 38923 w 12045155"/>
                  <a:gd name="connsiteY36" fmla="*/ 157240 h 2112232"/>
                  <a:gd name="connsiteX0" fmla="*/ 38923 w 12045155"/>
                  <a:gd name="connsiteY0" fmla="*/ 157240 h 2112232"/>
                  <a:gd name="connsiteX1" fmla="*/ 4765 w 12045155"/>
                  <a:gd name="connsiteY1" fmla="*/ 229969 h 2112232"/>
                  <a:gd name="connsiteX2" fmla="*/ 16985 w 12045155"/>
                  <a:gd name="connsiteY2" fmla="*/ 441204 h 2112232"/>
                  <a:gd name="connsiteX3" fmla="*/ 31647 w 12045155"/>
                  <a:gd name="connsiteY3" fmla="*/ 700450 h 2112232"/>
                  <a:gd name="connsiteX4" fmla="*/ 43864 w 12045155"/>
                  <a:gd name="connsiteY4" fmla="*/ 777266 h 2112232"/>
                  <a:gd name="connsiteX5" fmla="*/ 80207 w 12045155"/>
                  <a:gd name="connsiteY5" fmla="*/ 937416 h 2112232"/>
                  <a:gd name="connsiteX6" fmla="*/ 937008 w 12045155"/>
                  <a:gd name="connsiteY6" fmla="*/ 844973 h 2112232"/>
                  <a:gd name="connsiteX7" fmla="*/ 1631867 w 12045155"/>
                  <a:gd name="connsiteY7" fmla="*/ 878961 h 2112232"/>
                  <a:gd name="connsiteX8" fmla="*/ 2087877 w 12045155"/>
                  <a:gd name="connsiteY8" fmla="*/ 819473 h 2112232"/>
                  <a:gd name="connsiteX9" fmla="*/ 2565599 w 12045155"/>
                  <a:gd name="connsiteY9" fmla="*/ 819473 h 2112232"/>
                  <a:gd name="connsiteX10" fmla="*/ 3336468 w 12045155"/>
                  <a:gd name="connsiteY10" fmla="*/ 861967 h 2112232"/>
                  <a:gd name="connsiteX11" fmla="*/ 4215904 w 12045155"/>
                  <a:gd name="connsiteY11" fmla="*/ 844973 h 2112232"/>
                  <a:gd name="connsiteX12" fmla="*/ 4845622 w 12045155"/>
                  <a:gd name="connsiteY12" fmla="*/ 853479 h 2112232"/>
                  <a:gd name="connsiteX13" fmla="*/ 5681632 w 12045155"/>
                  <a:gd name="connsiteY13" fmla="*/ 853479 h 2112232"/>
                  <a:gd name="connsiteX14" fmla="*/ 6745645 w 12045155"/>
                  <a:gd name="connsiteY14" fmla="*/ 878979 h 2112232"/>
                  <a:gd name="connsiteX15" fmla="*/ 7494800 w 12045155"/>
                  <a:gd name="connsiteY15" fmla="*/ 870473 h 2112232"/>
                  <a:gd name="connsiteX16" fmla="*/ 8026795 w 12045155"/>
                  <a:gd name="connsiteY16" fmla="*/ 861967 h 2112232"/>
                  <a:gd name="connsiteX17" fmla="*/ 8504518 w 12045155"/>
                  <a:gd name="connsiteY17" fmla="*/ 827979 h 2112232"/>
                  <a:gd name="connsiteX18" fmla="*/ 9490064 w 12045155"/>
                  <a:gd name="connsiteY18" fmla="*/ 1654810 h 2112232"/>
                  <a:gd name="connsiteX19" fmla="*/ 10177867 w 12045155"/>
                  <a:gd name="connsiteY19" fmla="*/ 2109744 h 2112232"/>
                  <a:gd name="connsiteX20" fmla="*/ 10922986 w 12045155"/>
                  <a:gd name="connsiteY20" fmla="*/ 1782194 h 2112232"/>
                  <a:gd name="connsiteX21" fmla="*/ 11481826 w 12045155"/>
                  <a:gd name="connsiteY21" fmla="*/ 1127088 h 2112232"/>
                  <a:gd name="connsiteX22" fmla="*/ 12045155 w 12045155"/>
                  <a:gd name="connsiteY22" fmla="*/ 699393 h 2112232"/>
                  <a:gd name="connsiteX23" fmla="*/ 12045155 w 12045155"/>
                  <a:gd name="connsiteY23" fmla="*/ 261011 h 2112232"/>
                  <a:gd name="connsiteX24" fmla="*/ 11438839 w 12045155"/>
                  <a:gd name="connsiteY24" fmla="*/ 435586 h 2112232"/>
                  <a:gd name="connsiteX25" fmla="*/ 11059114 w 12045155"/>
                  <a:gd name="connsiteY25" fmla="*/ 1047471 h 2112232"/>
                  <a:gd name="connsiteX26" fmla="*/ 9527677 w 12045155"/>
                  <a:gd name="connsiteY26" fmla="*/ 1058846 h 2112232"/>
                  <a:gd name="connsiteX27" fmla="*/ 9053022 w 12045155"/>
                  <a:gd name="connsiteY27" fmla="*/ 581165 h 2112232"/>
                  <a:gd name="connsiteX28" fmla="*/ 8450223 w 12045155"/>
                  <a:gd name="connsiteY28" fmla="*/ 156695 h 2112232"/>
                  <a:gd name="connsiteX29" fmla="*/ 7635927 w 12045155"/>
                  <a:gd name="connsiteY29" fmla="*/ 105714 h 2112232"/>
                  <a:gd name="connsiteX30" fmla="*/ 7049636 w 12045155"/>
                  <a:gd name="connsiteY30" fmla="*/ 199189 h 2112232"/>
                  <a:gd name="connsiteX31" fmla="*/ 6342549 w 12045155"/>
                  <a:gd name="connsiteY31" fmla="*/ 146630 h 2112232"/>
                  <a:gd name="connsiteX32" fmla="*/ 5902209 w 12045155"/>
                  <a:gd name="connsiteY32" fmla="*/ 249658 h 2112232"/>
                  <a:gd name="connsiteX33" fmla="*/ 5182195 w 12045155"/>
                  <a:gd name="connsiteY33" fmla="*/ 292664 h 2112232"/>
                  <a:gd name="connsiteX34" fmla="*/ 3822487 w 12045155"/>
                  <a:gd name="connsiteY34" fmla="*/ 90799 h 2112232"/>
                  <a:gd name="connsiteX35" fmla="*/ 2370177 w 12045155"/>
                  <a:gd name="connsiteY35" fmla="*/ 156695 h 2112232"/>
                  <a:gd name="connsiteX36" fmla="*/ 578745 w 12045155"/>
                  <a:gd name="connsiteY36" fmla="*/ 148189 h 2112232"/>
                  <a:gd name="connsiteX37" fmla="*/ 38923 w 12045155"/>
                  <a:gd name="connsiteY37" fmla="*/ 157240 h 2112232"/>
                  <a:gd name="connsiteX0" fmla="*/ 38923 w 12045155"/>
                  <a:gd name="connsiteY0" fmla="*/ 157240 h 2112232"/>
                  <a:gd name="connsiteX1" fmla="*/ 4765 w 12045155"/>
                  <a:gd name="connsiteY1" fmla="*/ 229969 h 2112232"/>
                  <a:gd name="connsiteX2" fmla="*/ 16985 w 12045155"/>
                  <a:gd name="connsiteY2" fmla="*/ 441204 h 2112232"/>
                  <a:gd name="connsiteX3" fmla="*/ 31647 w 12045155"/>
                  <a:gd name="connsiteY3" fmla="*/ 700450 h 2112232"/>
                  <a:gd name="connsiteX4" fmla="*/ 43864 w 12045155"/>
                  <a:gd name="connsiteY4" fmla="*/ 777266 h 2112232"/>
                  <a:gd name="connsiteX5" fmla="*/ 80207 w 12045155"/>
                  <a:gd name="connsiteY5" fmla="*/ 937416 h 2112232"/>
                  <a:gd name="connsiteX6" fmla="*/ 937008 w 12045155"/>
                  <a:gd name="connsiteY6" fmla="*/ 844973 h 2112232"/>
                  <a:gd name="connsiteX7" fmla="*/ 1631867 w 12045155"/>
                  <a:gd name="connsiteY7" fmla="*/ 878961 h 2112232"/>
                  <a:gd name="connsiteX8" fmla="*/ 2087877 w 12045155"/>
                  <a:gd name="connsiteY8" fmla="*/ 819473 h 2112232"/>
                  <a:gd name="connsiteX9" fmla="*/ 2565599 w 12045155"/>
                  <a:gd name="connsiteY9" fmla="*/ 819473 h 2112232"/>
                  <a:gd name="connsiteX10" fmla="*/ 3336468 w 12045155"/>
                  <a:gd name="connsiteY10" fmla="*/ 861967 h 2112232"/>
                  <a:gd name="connsiteX11" fmla="*/ 4215904 w 12045155"/>
                  <a:gd name="connsiteY11" fmla="*/ 844973 h 2112232"/>
                  <a:gd name="connsiteX12" fmla="*/ 4845622 w 12045155"/>
                  <a:gd name="connsiteY12" fmla="*/ 853479 h 2112232"/>
                  <a:gd name="connsiteX13" fmla="*/ 5681632 w 12045155"/>
                  <a:gd name="connsiteY13" fmla="*/ 853479 h 2112232"/>
                  <a:gd name="connsiteX14" fmla="*/ 6745645 w 12045155"/>
                  <a:gd name="connsiteY14" fmla="*/ 878979 h 2112232"/>
                  <a:gd name="connsiteX15" fmla="*/ 7494800 w 12045155"/>
                  <a:gd name="connsiteY15" fmla="*/ 870473 h 2112232"/>
                  <a:gd name="connsiteX16" fmla="*/ 8026795 w 12045155"/>
                  <a:gd name="connsiteY16" fmla="*/ 861967 h 2112232"/>
                  <a:gd name="connsiteX17" fmla="*/ 8504518 w 12045155"/>
                  <a:gd name="connsiteY17" fmla="*/ 827979 h 2112232"/>
                  <a:gd name="connsiteX18" fmla="*/ 9490064 w 12045155"/>
                  <a:gd name="connsiteY18" fmla="*/ 1654810 h 2112232"/>
                  <a:gd name="connsiteX19" fmla="*/ 10177867 w 12045155"/>
                  <a:gd name="connsiteY19" fmla="*/ 2109744 h 2112232"/>
                  <a:gd name="connsiteX20" fmla="*/ 10922986 w 12045155"/>
                  <a:gd name="connsiteY20" fmla="*/ 1782194 h 2112232"/>
                  <a:gd name="connsiteX21" fmla="*/ 11481826 w 12045155"/>
                  <a:gd name="connsiteY21" fmla="*/ 1127088 h 2112232"/>
                  <a:gd name="connsiteX22" fmla="*/ 12045155 w 12045155"/>
                  <a:gd name="connsiteY22" fmla="*/ 699393 h 2112232"/>
                  <a:gd name="connsiteX23" fmla="*/ 12045155 w 12045155"/>
                  <a:gd name="connsiteY23" fmla="*/ 261011 h 2112232"/>
                  <a:gd name="connsiteX24" fmla="*/ 11438839 w 12045155"/>
                  <a:gd name="connsiteY24" fmla="*/ 435586 h 2112232"/>
                  <a:gd name="connsiteX25" fmla="*/ 11059114 w 12045155"/>
                  <a:gd name="connsiteY25" fmla="*/ 1047471 h 2112232"/>
                  <a:gd name="connsiteX26" fmla="*/ 10602369 w 12045155"/>
                  <a:gd name="connsiteY26" fmla="*/ 1661632 h 2112232"/>
                  <a:gd name="connsiteX27" fmla="*/ 9527677 w 12045155"/>
                  <a:gd name="connsiteY27" fmla="*/ 1058846 h 2112232"/>
                  <a:gd name="connsiteX28" fmla="*/ 9053022 w 12045155"/>
                  <a:gd name="connsiteY28" fmla="*/ 581165 h 2112232"/>
                  <a:gd name="connsiteX29" fmla="*/ 8450223 w 12045155"/>
                  <a:gd name="connsiteY29" fmla="*/ 156695 h 2112232"/>
                  <a:gd name="connsiteX30" fmla="*/ 7635927 w 12045155"/>
                  <a:gd name="connsiteY30" fmla="*/ 105714 h 2112232"/>
                  <a:gd name="connsiteX31" fmla="*/ 7049636 w 12045155"/>
                  <a:gd name="connsiteY31" fmla="*/ 199189 h 2112232"/>
                  <a:gd name="connsiteX32" fmla="*/ 6342549 w 12045155"/>
                  <a:gd name="connsiteY32" fmla="*/ 146630 h 2112232"/>
                  <a:gd name="connsiteX33" fmla="*/ 5902209 w 12045155"/>
                  <a:gd name="connsiteY33" fmla="*/ 249658 h 2112232"/>
                  <a:gd name="connsiteX34" fmla="*/ 5182195 w 12045155"/>
                  <a:gd name="connsiteY34" fmla="*/ 292664 h 2112232"/>
                  <a:gd name="connsiteX35" fmla="*/ 3822487 w 12045155"/>
                  <a:gd name="connsiteY35" fmla="*/ 90799 h 2112232"/>
                  <a:gd name="connsiteX36" fmla="*/ 2370177 w 12045155"/>
                  <a:gd name="connsiteY36" fmla="*/ 156695 h 2112232"/>
                  <a:gd name="connsiteX37" fmla="*/ 578745 w 12045155"/>
                  <a:gd name="connsiteY37" fmla="*/ 148189 h 2112232"/>
                  <a:gd name="connsiteX38" fmla="*/ 38923 w 12045155"/>
                  <a:gd name="connsiteY38" fmla="*/ 157240 h 2112232"/>
                  <a:gd name="connsiteX0" fmla="*/ 38923 w 12045155"/>
                  <a:gd name="connsiteY0" fmla="*/ 157240 h 2112232"/>
                  <a:gd name="connsiteX1" fmla="*/ 4765 w 12045155"/>
                  <a:gd name="connsiteY1" fmla="*/ 229969 h 2112232"/>
                  <a:gd name="connsiteX2" fmla="*/ 16985 w 12045155"/>
                  <a:gd name="connsiteY2" fmla="*/ 441204 h 2112232"/>
                  <a:gd name="connsiteX3" fmla="*/ 31647 w 12045155"/>
                  <a:gd name="connsiteY3" fmla="*/ 700450 h 2112232"/>
                  <a:gd name="connsiteX4" fmla="*/ 43864 w 12045155"/>
                  <a:gd name="connsiteY4" fmla="*/ 777266 h 2112232"/>
                  <a:gd name="connsiteX5" fmla="*/ 80207 w 12045155"/>
                  <a:gd name="connsiteY5" fmla="*/ 937416 h 2112232"/>
                  <a:gd name="connsiteX6" fmla="*/ 937008 w 12045155"/>
                  <a:gd name="connsiteY6" fmla="*/ 844973 h 2112232"/>
                  <a:gd name="connsiteX7" fmla="*/ 1631867 w 12045155"/>
                  <a:gd name="connsiteY7" fmla="*/ 878961 h 2112232"/>
                  <a:gd name="connsiteX8" fmla="*/ 2087877 w 12045155"/>
                  <a:gd name="connsiteY8" fmla="*/ 819473 h 2112232"/>
                  <a:gd name="connsiteX9" fmla="*/ 2565599 w 12045155"/>
                  <a:gd name="connsiteY9" fmla="*/ 819473 h 2112232"/>
                  <a:gd name="connsiteX10" fmla="*/ 3336468 w 12045155"/>
                  <a:gd name="connsiteY10" fmla="*/ 861967 h 2112232"/>
                  <a:gd name="connsiteX11" fmla="*/ 4215904 w 12045155"/>
                  <a:gd name="connsiteY11" fmla="*/ 844973 h 2112232"/>
                  <a:gd name="connsiteX12" fmla="*/ 4845622 w 12045155"/>
                  <a:gd name="connsiteY12" fmla="*/ 853479 h 2112232"/>
                  <a:gd name="connsiteX13" fmla="*/ 5681632 w 12045155"/>
                  <a:gd name="connsiteY13" fmla="*/ 853479 h 2112232"/>
                  <a:gd name="connsiteX14" fmla="*/ 6745645 w 12045155"/>
                  <a:gd name="connsiteY14" fmla="*/ 878979 h 2112232"/>
                  <a:gd name="connsiteX15" fmla="*/ 7494800 w 12045155"/>
                  <a:gd name="connsiteY15" fmla="*/ 870473 h 2112232"/>
                  <a:gd name="connsiteX16" fmla="*/ 8026795 w 12045155"/>
                  <a:gd name="connsiteY16" fmla="*/ 861967 h 2112232"/>
                  <a:gd name="connsiteX17" fmla="*/ 8504518 w 12045155"/>
                  <a:gd name="connsiteY17" fmla="*/ 827979 h 2112232"/>
                  <a:gd name="connsiteX18" fmla="*/ 9490064 w 12045155"/>
                  <a:gd name="connsiteY18" fmla="*/ 1654810 h 2112232"/>
                  <a:gd name="connsiteX19" fmla="*/ 10177867 w 12045155"/>
                  <a:gd name="connsiteY19" fmla="*/ 2109744 h 2112232"/>
                  <a:gd name="connsiteX20" fmla="*/ 10922986 w 12045155"/>
                  <a:gd name="connsiteY20" fmla="*/ 1782194 h 2112232"/>
                  <a:gd name="connsiteX21" fmla="*/ 11481826 w 12045155"/>
                  <a:gd name="connsiteY21" fmla="*/ 1127088 h 2112232"/>
                  <a:gd name="connsiteX22" fmla="*/ 12045155 w 12045155"/>
                  <a:gd name="connsiteY22" fmla="*/ 699393 h 2112232"/>
                  <a:gd name="connsiteX23" fmla="*/ 12045155 w 12045155"/>
                  <a:gd name="connsiteY23" fmla="*/ 261011 h 2112232"/>
                  <a:gd name="connsiteX24" fmla="*/ 11438839 w 12045155"/>
                  <a:gd name="connsiteY24" fmla="*/ 435586 h 2112232"/>
                  <a:gd name="connsiteX25" fmla="*/ 11059114 w 12045155"/>
                  <a:gd name="connsiteY25" fmla="*/ 1047471 h 2112232"/>
                  <a:gd name="connsiteX26" fmla="*/ 10602369 w 12045155"/>
                  <a:gd name="connsiteY26" fmla="*/ 1661632 h 2112232"/>
                  <a:gd name="connsiteX27" fmla="*/ 9948599 w 12045155"/>
                  <a:gd name="connsiteY27" fmla="*/ 1673007 h 2112232"/>
                  <a:gd name="connsiteX28" fmla="*/ 9527677 w 12045155"/>
                  <a:gd name="connsiteY28" fmla="*/ 1058846 h 2112232"/>
                  <a:gd name="connsiteX29" fmla="*/ 9053022 w 12045155"/>
                  <a:gd name="connsiteY29" fmla="*/ 581165 h 2112232"/>
                  <a:gd name="connsiteX30" fmla="*/ 8450223 w 12045155"/>
                  <a:gd name="connsiteY30" fmla="*/ 156695 h 2112232"/>
                  <a:gd name="connsiteX31" fmla="*/ 7635927 w 12045155"/>
                  <a:gd name="connsiteY31" fmla="*/ 105714 h 2112232"/>
                  <a:gd name="connsiteX32" fmla="*/ 7049636 w 12045155"/>
                  <a:gd name="connsiteY32" fmla="*/ 199189 h 2112232"/>
                  <a:gd name="connsiteX33" fmla="*/ 6342549 w 12045155"/>
                  <a:gd name="connsiteY33" fmla="*/ 146630 h 2112232"/>
                  <a:gd name="connsiteX34" fmla="*/ 5902209 w 12045155"/>
                  <a:gd name="connsiteY34" fmla="*/ 249658 h 2112232"/>
                  <a:gd name="connsiteX35" fmla="*/ 5182195 w 12045155"/>
                  <a:gd name="connsiteY35" fmla="*/ 292664 h 2112232"/>
                  <a:gd name="connsiteX36" fmla="*/ 3822487 w 12045155"/>
                  <a:gd name="connsiteY36" fmla="*/ 90799 h 2112232"/>
                  <a:gd name="connsiteX37" fmla="*/ 2370177 w 12045155"/>
                  <a:gd name="connsiteY37" fmla="*/ 156695 h 2112232"/>
                  <a:gd name="connsiteX38" fmla="*/ 578745 w 12045155"/>
                  <a:gd name="connsiteY38" fmla="*/ 148189 h 2112232"/>
                  <a:gd name="connsiteX39" fmla="*/ 38923 w 12045155"/>
                  <a:gd name="connsiteY39" fmla="*/ 157240 h 2112232"/>
                  <a:gd name="connsiteX0" fmla="*/ 38923 w 12045155"/>
                  <a:gd name="connsiteY0" fmla="*/ 157240 h 2112232"/>
                  <a:gd name="connsiteX1" fmla="*/ 4765 w 12045155"/>
                  <a:gd name="connsiteY1" fmla="*/ 229969 h 2112232"/>
                  <a:gd name="connsiteX2" fmla="*/ 16985 w 12045155"/>
                  <a:gd name="connsiteY2" fmla="*/ 441204 h 2112232"/>
                  <a:gd name="connsiteX3" fmla="*/ 31647 w 12045155"/>
                  <a:gd name="connsiteY3" fmla="*/ 700450 h 2112232"/>
                  <a:gd name="connsiteX4" fmla="*/ 43864 w 12045155"/>
                  <a:gd name="connsiteY4" fmla="*/ 777266 h 2112232"/>
                  <a:gd name="connsiteX5" fmla="*/ 80207 w 12045155"/>
                  <a:gd name="connsiteY5" fmla="*/ 937416 h 2112232"/>
                  <a:gd name="connsiteX6" fmla="*/ 937008 w 12045155"/>
                  <a:gd name="connsiteY6" fmla="*/ 844973 h 2112232"/>
                  <a:gd name="connsiteX7" fmla="*/ 1631867 w 12045155"/>
                  <a:gd name="connsiteY7" fmla="*/ 878961 h 2112232"/>
                  <a:gd name="connsiteX8" fmla="*/ 2087877 w 12045155"/>
                  <a:gd name="connsiteY8" fmla="*/ 819473 h 2112232"/>
                  <a:gd name="connsiteX9" fmla="*/ 2565599 w 12045155"/>
                  <a:gd name="connsiteY9" fmla="*/ 819473 h 2112232"/>
                  <a:gd name="connsiteX10" fmla="*/ 3336468 w 12045155"/>
                  <a:gd name="connsiteY10" fmla="*/ 861967 h 2112232"/>
                  <a:gd name="connsiteX11" fmla="*/ 4215904 w 12045155"/>
                  <a:gd name="connsiteY11" fmla="*/ 844973 h 2112232"/>
                  <a:gd name="connsiteX12" fmla="*/ 4845622 w 12045155"/>
                  <a:gd name="connsiteY12" fmla="*/ 853479 h 2112232"/>
                  <a:gd name="connsiteX13" fmla="*/ 5681632 w 12045155"/>
                  <a:gd name="connsiteY13" fmla="*/ 853479 h 2112232"/>
                  <a:gd name="connsiteX14" fmla="*/ 6745645 w 12045155"/>
                  <a:gd name="connsiteY14" fmla="*/ 878979 h 2112232"/>
                  <a:gd name="connsiteX15" fmla="*/ 7494800 w 12045155"/>
                  <a:gd name="connsiteY15" fmla="*/ 870473 h 2112232"/>
                  <a:gd name="connsiteX16" fmla="*/ 8026795 w 12045155"/>
                  <a:gd name="connsiteY16" fmla="*/ 861967 h 2112232"/>
                  <a:gd name="connsiteX17" fmla="*/ 8504518 w 12045155"/>
                  <a:gd name="connsiteY17" fmla="*/ 827979 h 2112232"/>
                  <a:gd name="connsiteX18" fmla="*/ 9490064 w 12045155"/>
                  <a:gd name="connsiteY18" fmla="*/ 1654810 h 2112232"/>
                  <a:gd name="connsiteX19" fmla="*/ 10177867 w 12045155"/>
                  <a:gd name="connsiteY19" fmla="*/ 2109744 h 2112232"/>
                  <a:gd name="connsiteX20" fmla="*/ 10922986 w 12045155"/>
                  <a:gd name="connsiteY20" fmla="*/ 1782194 h 2112232"/>
                  <a:gd name="connsiteX21" fmla="*/ 11481826 w 12045155"/>
                  <a:gd name="connsiteY21" fmla="*/ 1127088 h 2112232"/>
                  <a:gd name="connsiteX22" fmla="*/ 12045155 w 12045155"/>
                  <a:gd name="connsiteY22" fmla="*/ 699393 h 2112232"/>
                  <a:gd name="connsiteX23" fmla="*/ 12045155 w 12045155"/>
                  <a:gd name="connsiteY23" fmla="*/ 261011 h 2112232"/>
                  <a:gd name="connsiteX24" fmla="*/ 11438839 w 12045155"/>
                  <a:gd name="connsiteY24" fmla="*/ 435586 h 2112232"/>
                  <a:gd name="connsiteX25" fmla="*/ 11059114 w 12045155"/>
                  <a:gd name="connsiteY25" fmla="*/ 1047471 h 2112232"/>
                  <a:gd name="connsiteX26" fmla="*/ 10602369 w 12045155"/>
                  <a:gd name="connsiteY26" fmla="*/ 1661632 h 2112232"/>
                  <a:gd name="connsiteX27" fmla="*/ 10034574 w 12045155"/>
                  <a:gd name="connsiteY27" fmla="*/ 1618415 h 2112232"/>
                  <a:gd name="connsiteX28" fmla="*/ 9527677 w 12045155"/>
                  <a:gd name="connsiteY28" fmla="*/ 1058846 h 2112232"/>
                  <a:gd name="connsiteX29" fmla="*/ 9053022 w 12045155"/>
                  <a:gd name="connsiteY29" fmla="*/ 581165 h 2112232"/>
                  <a:gd name="connsiteX30" fmla="*/ 8450223 w 12045155"/>
                  <a:gd name="connsiteY30" fmla="*/ 156695 h 2112232"/>
                  <a:gd name="connsiteX31" fmla="*/ 7635927 w 12045155"/>
                  <a:gd name="connsiteY31" fmla="*/ 105714 h 2112232"/>
                  <a:gd name="connsiteX32" fmla="*/ 7049636 w 12045155"/>
                  <a:gd name="connsiteY32" fmla="*/ 199189 h 2112232"/>
                  <a:gd name="connsiteX33" fmla="*/ 6342549 w 12045155"/>
                  <a:gd name="connsiteY33" fmla="*/ 146630 h 2112232"/>
                  <a:gd name="connsiteX34" fmla="*/ 5902209 w 12045155"/>
                  <a:gd name="connsiteY34" fmla="*/ 249658 h 2112232"/>
                  <a:gd name="connsiteX35" fmla="*/ 5182195 w 12045155"/>
                  <a:gd name="connsiteY35" fmla="*/ 292664 h 2112232"/>
                  <a:gd name="connsiteX36" fmla="*/ 3822487 w 12045155"/>
                  <a:gd name="connsiteY36" fmla="*/ 90799 h 2112232"/>
                  <a:gd name="connsiteX37" fmla="*/ 2370177 w 12045155"/>
                  <a:gd name="connsiteY37" fmla="*/ 156695 h 2112232"/>
                  <a:gd name="connsiteX38" fmla="*/ 578745 w 12045155"/>
                  <a:gd name="connsiteY38" fmla="*/ 148189 h 2112232"/>
                  <a:gd name="connsiteX39" fmla="*/ 38923 w 12045155"/>
                  <a:gd name="connsiteY39" fmla="*/ 157240 h 2112232"/>
                  <a:gd name="connsiteX0" fmla="*/ 38923 w 12045155"/>
                  <a:gd name="connsiteY0" fmla="*/ 157240 h 2159168"/>
                  <a:gd name="connsiteX1" fmla="*/ 4765 w 12045155"/>
                  <a:gd name="connsiteY1" fmla="*/ 229969 h 2159168"/>
                  <a:gd name="connsiteX2" fmla="*/ 16985 w 12045155"/>
                  <a:gd name="connsiteY2" fmla="*/ 441204 h 2159168"/>
                  <a:gd name="connsiteX3" fmla="*/ 31647 w 12045155"/>
                  <a:gd name="connsiteY3" fmla="*/ 700450 h 2159168"/>
                  <a:gd name="connsiteX4" fmla="*/ 43864 w 12045155"/>
                  <a:gd name="connsiteY4" fmla="*/ 777266 h 2159168"/>
                  <a:gd name="connsiteX5" fmla="*/ 80207 w 12045155"/>
                  <a:gd name="connsiteY5" fmla="*/ 937416 h 2159168"/>
                  <a:gd name="connsiteX6" fmla="*/ 937008 w 12045155"/>
                  <a:gd name="connsiteY6" fmla="*/ 844973 h 2159168"/>
                  <a:gd name="connsiteX7" fmla="*/ 1631867 w 12045155"/>
                  <a:gd name="connsiteY7" fmla="*/ 878961 h 2159168"/>
                  <a:gd name="connsiteX8" fmla="*/ 2087877 w 12045155"/>
                  <a:gd name="connsiteY8" fmla="*/ 819473 h 2159168"/>
                  <a:gd name="connsiteX9" fmla="*/ 2565599 w 12045155"/>
                  <a:gd name="connsiteY9" fmla="*/ 819473 h 2159168"/>
                  <a:gd name="connsiteX10" fmla="*/ 3336468 w 12045155"/>
                  <a:gd name="connsiteY10" fmla="*/ 861967 h 2159168"/>
                  <a:gd name="connsiteX11" fmla="*/ 4215904 w 12045155"/>
                  <a:gd name="connsiteY11" fmla="*/ 844973 h 2159168"/>
                  <a:gd name="connsiteX12" fmla="*/ 4845622 w 12045155"/>
                  <a:gd name="connsiteY12" fmla="*/ 853479 h 2159168"/>
                  <a:gd name="connsiteX13" fmla="*/ 5681632 w 12045155"/>
                  <a:gd name="connsiteY13" fmla="*/ 853479 h 2159168"/>
                  <a:gd name="connsiteX14" fmla="*/ 6745645 w 12045155"/>
                  <a:gd name="connsiteY14" fmla="*/ 878979 h 2159168"/>
                  <a:gd name="connsiteX15" fmla="*/ 7494800 w 12045155"/>
                  <a:gd name="connsiteY15" fmla="*/ 870473 h 2159168"/>
                  <a:gd name="connsiteX16" fmla="*/ 8026795 w 12045155"/>
                  <a:gd name="connsiteY16" fmla="*/ 861967 h 2159168"/>
                  <a:gd name="connsiteX17" fmla="*/ 8504518 w 12045155"/>
                  <a:gd name="connsiteY17" fmla="*/ 827979 h 2159168"/>
                  <a:gd name="connsiteX18" fmla="*/ 9361101 w 12045155"/>
                  <a:gd name="connsiteY18" fmla="*/ 2018757 h 2159168"/>
                  <a:gd name="connsiteX19" fmla="*/ 10177867 w 12045155"/>
                  <a:gd name="connsiteY19" fmla="*/ 2109744 h 2159168"/>
                  <a:gd name="connsiteX20" fmla="*/ 10922986 w 12045155"/>
                  <a:gd name="connsiteY20" fmla="*/ 1782194 h 2159168"/>
                  <a:gd name="connsiteX21" fmla="*/ 11481826 w 12045155"/>
                  <a:gd name="connsiteY21" fmla="*/ 1127088 h 2159168"/>
                  <a:gd name="connsiteX22" fmla="*/ 12045155 w 12045155"/>
                  <a:gd name="connsiteY22" fmla="*/ 699393 h 2159168"/>
                  <a:gd name="connsiteX23" fmla="*/ 12045155 w 12045155"/>
                  <a:gd name="connsiteY23" fmla="*/ 261011 h 2159168"/>
                  <a:gd name="connsiteX24" fmla="*/ 11438839 w 12045155"/>
                  <a:gd name="connsiteY24" fmla="*/ 435586 h 2159168"/>
                  <a:gd name="connsiteX25" fmla="*/ 11059114 w 12045155"/>
                  <a:gd name="connsiteY25" fmla="*/ 1047471 h 2159168"/>
                  <a:gd name="connsiteX26" fmla="*/ 10602369 w 12045155"/>
                  <a:gd name="connsiteY26" fmla="*/ 1661632 h 2159168"/>
                  <a:gd name="connsiteX27" fmla="*/ 10034574 w 12045155"/>
                  <a:gd name="connsiteY27" fmla="*/ 1618415 h 2159168"/>
                  <a:gd name="connsiteX28" fmla="*/ 9527677 w 12045155"/>
                  <a:gd name="connsiteY28" fmla="*/ 1058846 h 2159168"/>
                  <a:gd name="connsiteX29" fmla="*/ 9053022 w 12045155"/>
                  <a:gd name="connsiteY29" fmla="*/ 581165 h 2159168"/>
                  <a:gd name="connsiteX30" fmla="*/ 8450223 w 12045155"/>
                  <a:gd name="connsiteY30" fmla="*/ 156695 h 2159168"/>
                  <a:gd name="connsiteX31" fmla="*/ 7635927 w 12045155"/>
                  <a:gd name="connsiteY31" fmla="*/ 105714 h 2159168"/>
                  <a:gd name="connsiteX32" fmla="*/ 7049636 w 12045155"/>
                  <a:gd name="connsiteY32" fmla="*/ 199189 h 2159168"/>
                  <a:gd name="connsiteX33" fmla="*/ 6342549 w 12045155"/>
                  <a:gd name="connsiteY33" fmla="*/ 146630 h 2159168"/>
                  <a:gd name="connsiteX34" fmla="*/ 5902209 w 12045155"/>
                  <a:gd name="connsiteY34" fmla="*/ 249658 h 2159168"/>
                  <a:gd name="connsiteX35" fmla="*/ 5182195 w 12045155"/>
                  <a:gd name="connsiteY35" fmla="*/ 292664 h 2159168"/>
                  <a:gd name="connsiteX36" fmla="*/ 3822487 w 12045155"/>
                  <a:gd name="connsiteY36" fmla="*/ 90799 h 2159168"/>
                  <a:gd name="connsiteX37" fmla="*/ 2370177 w 12045155"/>
                  <a:gd name="connsiteY37" fmla="*/ 156695 h 2159168"/>
                  <a:gd name="connsiteX38" fmla="*/ 578745 w 12045155"/>
                  <a:gd name="connsiteY38" fmla="*/ 148189 h 2159168"/>
                  <a:gd name="connsiteX39" fmla="*/ 38923 w 12045155"/>
                  <a:gd name="connsiteY39" fmla="*/ 157240 h 2159168"/>
                  <a:gd name="connsiteX0" fmla="*/ 38923 w 12045155"/>
                  <a:gd name="connsiteY0" fmla="*/ 157240 h 2371492"/>
                  <a:gd name="connsiteX1" fmla="*/ 4765 w 12045155"/>
                  <a:gd name="connsiteY1" fmla="*/ 229969 h 2371492"/>
                  <a:gd name="connsiteX2" fmla="*/ 16985 w 12045155"/>
                  <a:gd name="connsiteY2" fmla="*/ 441204 h 2371492"/>
                  <a:gd name="connsiteX3" fmla="*/ 31647 w 12045155"/>
                  <a:gd name="connsiteY3" fmla="*/ 700450 h 2371492"/>
                  <a:gd name="connsiteX4" fmla="*/ 43864 w 12045155"/>
                  <a:gd name="connsiteY4" fmla="*/ 777266 h 2371492"/>
                  <a:gd name="connsiteX5" fmla="*/ 80207 w 12045155"/>
                  <a:gd name="connsiteY5" fmla="*/ 937416 h 2371492"/>
                  <a:gd name="connsiteX6" fmla="*/ 937008 w 12045155"/>
                  <a:gd name="connsiteY6" fmla="*/ 844973 h 2371492"/>
                  <a:gd name="connsiteX7" fmla="*/ 1631867 w 12045155"/>
                  <a:gd name="connsiteY7" fmla="*/ 878961 h 2371492"/>
                  <a:gd name="connsiteX8" fmla="*/ 2087877 w 12045155"/>
                  <a:gd name="connsiteY8" fmla="*/ 819473 h 2371492"/>
                  <a:gd name="connsiteX9" fmla="*/ 2565599 w 12045155"/>
                  <a:gd name="connsiteY9" fmla="*/ 819473 h 2371492"/>
                  <a:gd name="connsiteX10" fmla="*/ 3336468 w 12045155"/>
                  <a:gd name="connsiteY10" fmla="*/ 861967 h 2371492"/>
                  <a:gd name="connsiteX11" fmla="*/ 4215904 w 12045155"/>
                  <a:gd name="connsiteY11" fmla="*/ 844973 h 2371492"/>
                  <a:gd name="connsiteX12" fmla="*/ 4845622 w 12045155"/>
                  <a:gd name="connsiteY12" fmla="*/ 853479 h 2371492"/>
                  <a:gd name="connsiteX13" fmla="*/ 5681632 w 12045155"/>
                  <a:gd name="connsiteY13" fmla="*/ 853479 h 2371492"/>
                  <a:gd name="connsiteX14" fmla="*/ 6745645 w 12045155"/>
                  <a:gd name="connsiteY14" fmla="*/ 878979 h 2371492"/>
                  <a:gd name="connsiteX15" fmla="*/ 7494800 w 12045155"/>
                  <a:gd name="connsiteY15" fmla="*/ 870473 h 2371492"/>
                  <a:gd name="connsiteX16" fmla="*/ 8026795 w 12045155"/>
                  <a:gd name="connsiteY16" fmla="*/ 861967 h 2371492"/>
                  <a:gd name="connsiteX17" fmla="*/ 8504518 w 12045155"/>
                  <a:gd name="connsiteY17" fmla="*/ 827979 h 2371492"/>
                  <a:gd name="connsiteX18" fmla="*/ 9361101 w 12045155"/>
                  <a:gd name="connsiteY18" fmla="*/ 2018757 h 2371492"/>
                  <a:gd name="connsiteX19" fmla="*/ 10249513 w 12045155"/>
                  <a:gd name="connsiteY19" fmla="*/ 2364507 h 2371492"/>
                  <a:gd name="connsiteX20" fmla="*/ 10922986 w 12045155"/>
                  <a:gd name="connsiteY20" fmla="*/ 1782194 h 2371492"/>
                  <a:gd name="connsiteX21" fmla="*/ 11481826 w 12045155"/>
                  <a:gd name="connsiteY21" fmla="*/ 1127088 h 2371492"/>
                  <a:gd name="connsiteX22" fmla="*/ 12045155 w 12045155"/>
                  <a:gd name="connsiteY22" fmla="*/ 699393 h 2371492"/>
                  <a:gd name="connsiteX23" fmla="*/ 12045155 w 12045155"/>
                  <a:gd name="connsiteY23" fmla="*/ 261011 h 2371492"/>
                  <a:gd name="connsiteX24" fmla="*/ 11438839 w 12045155"/>
                  <a:gd name="connsiteY24" fmla="*/ 435586 h 2371492"/>
                  <a:gd name="connsiteX25" fmla="*/ 11059114 w 12045155"/>
                  <a:gd name="connsiteY25" fmla="*/ 1047471 h 2371492"/>
                  <a:gd name="connsiteX26" fmla="*/ 10602369 w 12045155"/>
                  <a:gd name="connsiteY26" fmla="*/ 1661632 h 2371492"/>
                  <a:gd name="connsiteX27" fmla="*/ 10034574 w 12045155"/>
                  <a:gd name="connsiteY27" fmla="*/ 1618415 h 2371492"/>
                  <a:gd name="connsiteX28" fmla="*/ 9527677 w 12045155"/>
                  <a:gd name="connsiteY28" fmla="*/ 1058846 h 2371492"/>
                  <a:gd name="connsiteX29" fmla="*/ 9053022 w 12045155"/>
                  <a:gd name="connsiteY29" fmla="*/ 581165 h 2371492"/>
                  <a:gd name="connsiteX30" fmla="*/ 8450223 w 12045155"/>
                  <a:gd name="connsiteY30" fmla="*/ 156695 h 2371492"/>
                  <a:gd name="connsiteX31" fmla="*/ 7635927 w 12045155"/>
                  <a:gd name="connsiteY31" fmla="*/ 105714 h 2371492"/>
                  <a:gd name="connsiteX32" fmla="*/ 7049636 w 12045155"/>
                  <a:gd name="connsiteY32" fmla="*/ 199189 h 2371492"/>
                  <a:gd name="connsiteX33" fmla="*/ 6342549 w 12045155"/>
                  <a:gd name="connsiteY33" fmla="*/ 146630 h 2371492"/>
                  <a:gd name="connsiteX34" fmla="*/ 5902209 w 12045155"/>
                  <a:gd name="connsiteY34" fmla="*/ 249658 h 2371492"/>
                  <a:gd name="connsiteX35" fmla="*/ 5182195 w 12045155"/>
                  <a:gd name="connsiteY35" fmla="*/ 292664 h 2371492"/>
                  <a:gd name="connsiteX36" fmla="*/ 3822487 w 12045155"/>
                  <a:gd name="connsiteY36" fmla="*/ 90799 h 2371492"/>
                  <a:gd name="connsiteX37" fmla="*/ 2370177 w 12045155"/>
                  <a:gd name="connsiteY37" fmla="*/ 156695 h 2371492"/>
                  <a:gd name="connsiteX38" fmla="*/ 578745 w 12045155"/>
                  <a:gd name="connsiteY38" fmla="*/ 148189 h 2371492"/>
                  <a:gd name="connsiteX39" fmla="*/ 38923 w 12045155"/>
                  <a:gd name="connsiteY39" fmla="*/ 157240 h 2371492"/>
                  <a:gd name="connsiteX0" fmla="*/ 38923 w 12045155"/>
                  <a:gd name="connsiteY0" fmla="*/ 157240 h 2365078"/>
                  <a:gd name="connsiteX1" fmla="*/ 4765 w 12045155"/>
                  <a:gd name="connsiteY1" fmla="*/ 229969 h 2365078"/>
                  <a:gd name="connsiteX2" fmla="*/ 16985 w 12045155"/>
                  <a:gd name="connsiteY2" fmla="*/ 441204 h 2365078"/>
                  <a:gd name="connsiteX3" fmla="*/ 31647 w 12045155"/>
                  <a:gd name="connsiteY3" fmla="*/ 700450 h 2365078"/>
                  <a:gd name="connsiteX4" fmla="*/ 43864 w 12045155"/>
                  <a:gd name="connsiteY4" fmla="*/ 777266 h 2365078"/>
                  <a:gd name="connsiteX5" fmla="*/ 80207 w 12045155"/>
                  <a:gd name="connsiteY5" fmla="*/ 937416 h 2365078"/>
                  <a:gd name="connsiteX6" fmla="*/ 937008 w 12045155"/>
                  <a:gd name="connsiteY6" fmla="*/ 844973 h 2365078"/>
                  <a:gd name="connsiteX7" fmla="*/ 1631867 w 12045155"/>
                  <a:gd name="connsiteY7" fmla="*/ 878961 h 2365078"/>
                  <a:gd name="connsiteX8" fmla="*/ 2087877 w 12045155"/>
                  <a:gd name="connsiteY8" fmla="*/ 819473 h 2365078"/>
                  <a:gd name="connsiteX9" fmla="*/ 2565599 w 12045155"/>
                  <a:gd name="connsiteY9" fmla="*/ 819473 h 2365078"/>
                  <a:gd name="connsiteX10" fmla="*/ 3336468 w 12045155"/>
                  <a:gd name="connsiteY10" fmla="*/ 861967 h 2365078"/>
                  <a:gd name="connsiteX11" fmla="*/ 4215904 w 12045155"/>
                  <a:gd name="connsiteY11" fmla="*/ 844973 h 2365078"/>
                  <a:gd name="connsiteX12" fmla="*/ 4845622 w 12045155"/>
                  <a:gd name="connsiteY12" fmla="*/ 853479 h 2365078"/>
                  <a:gd name="connsiteX13" fmla="*/ 5681632 w 12045155"/>
                  <a:gd name="connsiteY13" fmla="*/ 853479 h 2365078"/>
                  <a:gd name="connsiteX14" fmla="*/ 6745645 w 12045155"/>
                  <a:gd name="connsiteY14" fmla="*/ 878979 h 2365078"/>
                  <a:gd name="connsiteX15" fmla="*/ 7494800 w 12045155"/>
                  <a:gd name="connsiteY15" fmla="*/ 870473 h 2365078"/>
                  <a:gd name="connsiteX16" fmla="*/ 8026795 w 12045155"/>
                  <a:gd name="connsiteY16" fmla="*/ 861967 h 2365078"/>
                  <a:gd name="connsiteX17" fmla="*/ 8504518 w 12045155"/>
                  <a:gd name="connsiteY17" fmla="*/ 827979 h 2365078"/>
                  <a:gd name="connsiteX18" fmla="*/ 9361101 w 12045155"/>
                  <a:gd name="connsiteY18" fmla="*/ 2018757 h 2365078"/>
                  <a:gd name="connsiteX19" fmla="*/ 10249513 w 12045155"/>
                  <a:gd name="connsiteY19" fmla="*/ 2364507 h 2365078"/>
                  <a:gd name="connsiteX20" fmla="*/ 11123596 w 12045155"/>
                  <a:gd name="connsiteY20" fmla="*/ 1964167 h 2365078"/>
                  <a:gd name="connsiteX21" fmla="*/ 11481826 w 12045155"/>
                  <a:gd name="connsiteY21" fmla="*/ 1127088 h 2365078"/>
                  <a:gd name="connsiteX22" fmla="*/ 12045155 w 12045155"/>
                  <a:gd name="connsiteY22" fmla="*/ 699393 h 2365078"/>
                  <a:gd name="connsiteX23" fmla="*/ 12045155 w 12045155"/>
                  <a:gd name="connsiteY23" fmla="*/ 261011 h 2365078"/>
                  <a:gd name="connsiteX24" fmla="*/ 11438839 w 12045155"/>
                  <a:gd name="connsiteY24" fmla="*/ 435586 h 2365078"/>
                  <a:gd name="connsiteX25" fmla="*/ 11059114 w 12045155"/>
                  <a:gd name="connsiteY25" fmla="*/ 1047471 h 2365078"/>
                  <a:gd name="connsiteX26" fmla="*/ 10602369 w 12045155"/>
                  <a:gd name="connsiteY26" fmla="*/ 1661632 h 2365078"/>
                  <a:gd name="connsiteX27" fmla="*/ 10034574 w 12045155"/>
                  <a:gd name="connsiteY27" fmla="*/ 1618415 h 2365078"/>
                  <a:gd name="connsiteX28" fmla="*/ 9527677 w 12045155"/>
                  <a:gd name="connsiteY28" fmla="*/ 1058846 h 2365078"/>
                  <a:gd name="connsiteX29" fmla="*/ 9053022 w 12045155"/>
                  <a:gd name="connsiteY29" fmla="*/ 581165 h 2365078"/>
                  <a:gd name="connsiteX30" fmla="*/ 8450223 w 12045155"/>
                  <a:gd name="connsiteY30" fmla="*/ 156695 h 2365078"/>
                  <a:gd name="connsiteX31" fmla="*/ 7635927 w 12045155"/>
                  <a:gd name="connsiteY31" fmla="*/ 105714 h 2365078"/>
                  <a:gd name="connsiteX32" fmla="*/ 7049636 w 12045155"/>
                  <a:gd name="connsiteY32" fmla="*/ 199189 h 2365078"/>
                  <a:gd name="connsiteX33" fmla="*/ 6342549 w 12045155"/>
                  <a:gd name="connsiteY33" fmla="*/ 146630 h 2365078"/>
                  <a:gd name="connsiteX34" fmla="*/ 5902209 w 12045155"/>
                  <a:gd name="connsiteY34" fmla="*/ 249658 h 2365078"/>
                  <a:gd name="connsiteX35" fmla="*/ 5182195 w 12045155"/>
                  <a:gd name="connsiteY35" fmla="*/ 292664 h 2365078"/>
                  <a:gd name="connsiteX36" fmla="*/ 3822487 w 12045155"/>
                  <a:gd name="connsiteY36" fmla="*/ 90799 h 2365078"/>
                  <a:gd name="connsiteX37" fmla="*/ 2370177 w 12045155"/>
                  <a:gd name="connsiteY37" fmla="*/ 156695 h 2365078"/>
                  <a:gd name="connsiteX38" fmla="*/ 578745 w 12045155"/>
                  <a:gd name="connsiteY38" fmla="*/ 148189 h 2365078"/>
                  <a:gd name="connsiteX39" fmla="*/ 38923 w 12045155"/>
                  <a:gd name="connsiteY39" fmla="*/ 157240 h 2365078"/>
                  <a:gd name="connsiteX0" fmla="*/ 38923 w 12045155"/>
                  <a:gd name="connsiteY0" fmla="*/ 157240 h 2365078"/>
                  <a:gd name="connsiteX1" fmla="*/ 4765 w 12045155"/>
                  <a:gd name="connsiteY1" fmla="*/ 229969 h 2365078"/>
                  <a:gd name="connsiteX2" fmla="*/ 16985 w 12045155"/>
                  <a:gd name="connsiteY2" fmla="*/ 441204 h 2365078"/>
                  <a:gd name="connsiteX3" fmla="*/ 31647 w 12045155"/>
                  <a:gd name="connsiteY3" fmla="*/ 700450 h 2365078"/>
                  <a:gd name="connsiteX4" fmla="*/ 43864 w 12045155"/>
                  <a:gd name="connsiteY4" fmla="*/ 777266 h 2365078"/>
                  <a:gd name="connsiteX5" fmla="*/ 80207 w 12045155"/>
                  <a:gd name="connsiteY5" fmla="*/ 937416 h 2365078"/>
                  <a:gd name="connsiteX6" fmla="*/ 937008 w 12045155"/>
                  <a:gd name="connsiteY6" fmla="*/ 844973 h 2365078"/>
                  <a:gd name="connsiteX7" fmla="*/ 1631867 w 12045155"/>
                  <a:gd name="connsiteY7" fmla="*/ 878961 h 2365078"/>
                  <a:gd name="connsiteX8" fmla="*/ 2087877 w 12045155"/>
                  <a:gd name="connsiteY8" fmla="*/ 819473 h 2365078"/>
                  <a:gd name="connsiteX9" fmla="*/ 2565599 w 12045155"/>
                  <a:gd name="connsiteY9" fmla="*/ 819473 h 2365078"/>
                  <a:gd name="connsiteX10" fmla="*/ 3336468 w 12045155"/>
                  <a:gd name="connsiteY10" fmla="*/ 861967 h 2365078"/>
                  <a:gd name="connsiteX11" fmla="*/ 4215904 w 12045155"/>
                  <a:gd name="connsiteY11" fmla="*/ 844973 h 2365078"/>
                  <a:gd name="connsiteX12" fmla="*/ 4845622 w 12045155"/>
                  <a:gd name="connsiteY12" fmla="*/ 853479 h 2365078"/>
                  <a:gd name="connsiteX13" fmla="*/ 5681632 w 12045155"/>
                  <a:gd name="connsiteY13" fmla="*/ 853479 h 2365078"/>
                  <a:gd name="connsiteX14" fmla="*/ 6745645 w 12045155"/>
                  <a:gd name="connsiteY14" fmla="*/ 878979 h 2365078"/>
                  <a:gd name="connsiteX15" fmla="*/ 7494800 w 12045155"/>
                  <a:gd name="connsiteY15" fmla="*/ 870473 h 2365078"/>
                  <a:gd name="connsiteX16" fmla="*/ 8026795 w 12045155"/>
                  <a:gd name="connsiteY16" fmla="*/ 861967 h 2365078"/>
                  <a:gd name="connsiteX17" fmla="*/ 8504518 w 12045155"/>
                  <a:gd name="connsiteY17" fmla="*/ 827979 h 2365078"/>
                  <a:gd name="connsiteX18" fmla="*/ 9361101 w 12045155"/>
                  <a:gd name="connsiteY18" fmla="*/ 2018757 h 2365078"/>
                  <a:gd name="connsiteX19" fmla="*/ 10249513 w 12045155"/>
                  <a:gd name="connsiteY19" fmla="*/ 2364507 h 2365078"/>
                  <a:gd name="connsiteX20" fmla="*/ 11123596 w 12045155"/>
                  <a:gd name="connsiteY20" fmla="*/ 1964167 h 2365078"/>
                  <a:gd name="connsiteX21" fmla="*/ 11797069 w 12045155"/>
                  <a:gd name="connsiteY21" fmla="*/ 999707 h 2365078"/>
                  <a:gd name="connsiteX22" fmla="*/ 12045155 w 12045155"/>
                  <a:gd name="connsiteY22" fmla="*/ 699393 h 2365078"/>
                  <a:gd name="connsiteX23" fmla="*/ 12045155 w 12045155"/>
                  <a:gd name="connsiteY23" fmla="*/ 261011 h 2365078"/>
                  <a:gd name="connsiteX24" fmla="*/ 11438839 w 12045155"/>
                  <a:gd name="connsiteY24" fmla="*/ 435586 h 2365078"/>
                  <a:gd name="connsiteX25" fmla="*/ 11059114 w 12045155"/>
                  <a:gd name="connsiteY25" fmla="*/ 1047471 h 2365078"/>
                  <a:gd name="connsiteX26" fmla="*/ 10602369 w 12045155"/>
                  <a:gd name="connsiteY26" fmla="*/ 1661632 h 2365078"/>
                  <a:gd name="connsiteX27" fmla="*/ 10034574 w 12045155"/>
                  <a:gd name="connsiteY27" fmla="*/ 1618415 h 2365078"/>
                  <a:gd name="connsiteX28" fmla="*/ 9527677 w 12045155"/>
                  <a:gd name="connsiteY28" fmla="*/ 1058846 h 2365078"/>
                  <a:gd name="connsiteX29" fmla="*/ 9053022 w 12045155"/>
                  <a:gd name="connsiteY29" fmla="*/ 581165 h 2365078"/>
                  <a:gd name="connsiteX30" fmla="*/ 8450223 w 12045155"/>
                  <a:gd name="connsiteY30" fmla="*/ 156695 h 2365078"/>
                  <a:gd name="connsiteX31" fmla="*/ 7635927 w 12045155"/>
                  <a:gd name="connsiteY31" fmla="*/ 105714 h 2365078"/>
                  <a:gd name="connsiteX32" fmla="*/ 7049636 w 12045155"/>
                  <a:gd name="connsiteY32" fmla="*/ 199189 h 2365078"/>
                  <a:gd name="connsiteX33" fmla="*/ 6342549 w 12045155"/>
                  <a:gd name="connsiteY33" fmla="*/ 146630 h 2365078"/>
                  <a:gd name="connsiteX34" fmla="*/ 5902209 w 12045155"/>
                  <a:gd name="connsiteY34" fmla="*/ 249658 h 2365078"/>
                  <a:gd name="connsiteX35" fmla="*/ 5182195 w 12045155"/>
                  <a:gd name="connsiteY35" fmla="*/ 292664 h 2365078"/>
                  <a:gd name="connsiteX36" fmla="*/ 3822487 w 12045155"/>
                  <a:gd name="connsiteY36" fmla="*/ 90799 h 2365078"/>
                  <a:gd name="connsiteX37" fmla="*/ 2370177 w 12045155"/>
                  <a:gd name="connsiteY37" fmla="*/ 156695 h 2365078"/>
                  <a:gd name="connsiteX38" fmla="*/ 578745 w 12045155"/>
                  <a:gd name="connsiteY38" fmla="*/ 148189 h 2365078"/>
                  <a:gd name="connsiteX39" fmla="*/ 38923 w 12045155"/>
                  <a:gd name="connsiteY39" fmla="*/ 157240 h 2365078"/>
                  <a:gd name="connsiteX0" fmla="*/ 38923 w 12045155"/>
                  <a:gd name="connsiteY0" fmla="*/ 157240 h 2365078"/>
                  <a:gd name="connsiteX1" fmla="*/ 4765 w 12045155"/>
                  <a:gd name="connsiteY1" fmla="*/ 229969 h 2365078"/>
                  <a:gd name="connsiteX2" fmla="*/ 16985 w 12045155"/>
                  <a:gd name="connsiteY2" fmla="*/ 441204 h 2365078"/>
                  <a:gd name="connsiteX3" fmla="*/ 31647 w 12045155"/>
                  <a:gd name="connsiteY3" fmla="*/ 700450 h 2365078"/>
                  <a:gd name="connsiteX4" fmla="*/ 43864 w 12045155"/>
                  <a:gd name="connsiteY4" fmla="*/ 777266 h 2365078"/>
                  <a:gd name="connsiteX5" fmla="*/ 80207 w 12045155"/>
                  <a:gd name="connsiteY5" fmla="*/ 937416 h 2365078"/>
                  <a:gd name="connsiteX6" fmla="*/ 937008 w 12045155"/>
                  <a:gd name="connsiteY6" fmla="*/ 844973 h 2365078"/>
                  <a:gd name="connsiteX7" fmla="*/ 1631867 w 12045155"/>
                  <a:gd name="connsiteY7" fmla="*/ 878961 h 2365078"/>
                  <a:gd name="connsiteX8" fmla="*/ 2087877 w 12045155"/>
                  <a:gd name="connsiteY8" fmla="*/ 819473 h 2365078"/>
                  <a:gd name="connsiteX9" fmla="*/ 2565599 w 12045155"/>
                  <a:gd name="connsiteY9" fmla="*/ 819473 h 2365078"/>
                  <a:gd name="connsiteX10" fmla="*/ 3336468 w 12045155"/>
                  <a:gd name="connsiteY10" fmla="*/ 861967 h 2365078"/>
                  <a:gd name="connsiteX11" fmla="*/ 4215904 w 12045155"/>
                  <a:gd name="connsiteY11" fmla="*/ 844973 h 2365078"/>
                  <a:gd name="connsiteX12" fmla="*/ 4845622 w 12045155"/>
                  <a:gd name="connsiteY12" fmla="*/ 853479 h 2365078"/>
                  <a:gd name="connsiteX13" fmla="*/ 5681632 w 12045155"/>
                  <a:gd name="connsiteY13" fmla="*/ 853479 h 2365078"/>
                  <a:gd name="connsiteX14" fmla="*/ 6745645 w 12045155"/>
                  <a:gd name="connsiteY14" fmla="*/ 878979 h 2365078"/>
                  <a:gd name="connsiteX15" fmla="*/ 7494800 w 12045155"/>
                  <a:gd name="connsiteY15" fmla="*/ 870473 h 2365078"/>
                  <a:gd name="connsiteX16" fmla="*/ 8026795 w 12045155"/>
                  <a:gd name="connsiteY16" fmla="*/ 861967 h 2365078"/>
                  <a:gd name="connsiteX17" fmla="*/ 8504518 w 12045155"/>
                  <a:gd name="connsiteY17" fmla="*/ 827979 h 2365078"/>
                  <a:gd name="connsiteX18" fmla="*/ 9361101 w 12045155"/>
                  <a:gd name="connsiteY18" fmla="*/ 2018757 h 2365078"/>
                  <a:gd name="connsiteX19" fmla="*/ 10249513 w 12045155"/>
                  <a:gd name="connsiteY19" fmla="*/ 2364507 h 2365078"/>
                  <a:gd name="connsiteX20" fmla="*/ 11123596 w 12045155"/>
                  <a:gd name="connsiteY20" fmla="*/ 1964167 h 2365078"/>
                  <a:gd name="connsiteX21" fmla="*/ 11266888 w 12045155"/>
                  <a:gd name="connsiteY21" fmla="*/ 1582018 h 2365078"/>
                  <a:gd name="connsiteX22" fmla="*/ 11797069 w 12045155"/>
                  <a:gd name="connsiteY22" fmla="*/ 999707 h 2365078"/>
                  <a:gd name="connsiteX23" fmla="*/ 12045155 w 12045155"/>
                  <a:gd name="connsiteY23" fmla="*/ 699393 h 2365078"/>
                  <a:gd name="connsiteX24" fmla="*/ 12045155 w 12045155"/>
                  <a:gd name="connsiteY24" fmla="*/ 261011 h 2365078"/>
                  <a:gd name="connsiteX25" fmla="*/ 11438839 w 12045155"/>
                  <a:gd name="connsiteY25" fmla="*/ 435586 h 2365078"/>
                  <a:gd name="connsiteX26" fmla="*/ 11059114 w 12045155"/>
                  <a:gd name="connsiteY26" fmla="*/ 1047471 h 2365078"/>
                  <a:gd name="connsiteX27" fmla="*/ 10602369 w 12045155"/>
                  <a:gd name="connsiteY27" fmla="*/ 1661632 h 2365078"/>
                  <a:gd name="connsiteX28" fmla="*/ 10034574 w 12045155"/>
                  <a:gd name="connsiteY28" fmla="*/ 1618415 h 2365078"/>
                  <a:gd name="connsiteX29" fmla="*/ 9527677 w 12045155"/>
                  <a:gd name="connsiteY29" fmla="*/ 1058846 h 2365078"/>
                  <a:gd name="connsiteX30" fmla="*/ 9053022 w 12045155"/>
                  <a:gd name="connsiteY30" fmla="*/ 581165 h 2365078"/>
                  <a:gd name="connsiteX31" fmla="*/ 8450223 w 12045155"/>
                  <a:gd name="connsiteY31" fmla="*/ 156695 h 2365078"/>
                  <a:gd name="connsiteX32" fmla="*/ 7635927 w 12045155"/>
                  <a:gd name="connsiteY32" fmla="*/ 105714 h 2365078"/>
                  <a:gd name="connsiteX33" fmla="*/ 7049636 w 12045155"/>
                  <a:gd name="connsiteY33" fmla="*/ 199189 h 2365078"/>
                  <a:gd name="connsiteX34" fmla="*/ 6342549 w 12045155"/>
                  <a:gd name="connsiteY34" fmla="*/ 146630 h 2365078"/>
                  <a:gd name="connsiteX35" fmla="*/ 5902209 w 12045155"/>
                  <a:gd name="connsiteY35" fmla="*/ 249658 h 2365078"/>
                  <a:gd name="connsiteX36" fmla="*/ 5182195 w 12045155"/>
                  <a:gd name="connsiteY36" fmla="*/ 292664 h 2365078"/>
                  <a:gd name="connsiteX37" fmla="*/ 3822487 w 12045155"/>
                  <a:gd name="connsiteY37" fmla="*/ 90799 h 2365078"/>
                  <a:gd name="connsiteX38" fmla="*/ 2370177 w 12045155"/>
                  <a:gd name="connsiteY38" fmla="*/ 156695 h 2365078"/>
                  <a:gd name="connsiteX39" fmla="*/ 578745 w 12045155"/>
                  <a:gd name="connsiteY39" fmla="*/ 148189 h 2365078"/>
                  <a:gd name="connsiteX40" fmla="*/ 38923 w 12045155"/>
                  <a:gd name="connsiteY40" fmla="*/ 157240 h 2365078"/>
                  <a:gd name="connsiteX0" fmla="*/ 38923 w 12045155"/>
                  <a:gd name="connsiteY0" fmla="*/ 157240 h 2365078"/>
                  <a:gd name="connsiteX1" fmla="*/ 4765 w 12045155"/>
                  <a:gd name="connsiteY1" fmla="*/ 229969 h 2365078"/>
                  <a:gd name="connsiteX2" fmla="*/ 16985 w 12045155"/>
                  <a:gd name="connsiteY2" fmla="*/ 441204 h 2365078"/>
                  <a:gd name="connsiteX3" fmla="*/ 31647 w 12045155"/>
                  <a:gd name="connsiteY3" fmla="*/ 700450 h 2365078"/>
                  <a:gd name="connsiteX4" fmla="*/ 43864 w 12045155"/>
                  <a:gd name="connsiteY4" fmla="*/ 777266 h 2365078"/>
                  <a:gd name="connsiteX5" fmla="*/ 80207 w 12045155"/>
                  <a:gd name="connsiteY5" fmla="*/ 937416 h 2365078"/>
                  <a:gd name="connsiteX6" fmla="*/ 937008 w 12045155"/>
                  <a:gd name="connsiteY6" fmla="*/ 844973 h 2365078"/>
                  <a:gd name="connsiteX7" fmla="*/ 1631867 w 12045155"/>
                  <a:gd name="connsiteY7" fmla="*/ 878961 h 2365078"/>
                  <a:gd name="connsiteX8" fmla="*/ 2087877 w 12045155"/>
                  <a:gd name="connsiteY8" fmla="*/ 819473 h 2365078"/>
                  <a:gd name="connsiteX9" fmla="*/ 2565599 w 12045155"/>
                  <a:gd name="connsiteY9" fmla="*/ 819473 h 2365078"/>
                  <a:gd name="connsiteX10" fmla="*/ 3336468 w 12045155"/>
                  <a:gd name="connsiteY10" fmla="*/ 861967 h 2365078"/>
                  <a:gd name="connsiteX11" fmla="*/ 4215904 w 12045155"/>
                  <a:gd name="connsiteY11" fmla="*/ 844973 h 2365078"/>
                  <a:gd name="connsiteX12" fmla="*/ 4845622 w 12045155"/>
                  <a:gd name="connsiteY12" fmla="*/ 853479 h 2365078"/>
                  <a:gd name="connsiteX13" fmla="*/ 5681632 w 12045155"/>
                  <a:gd name="connsiteY13" fmla="*/ 853479 h 2365078"/>
                  <a:gd name="connsiteX14" fmla="*/ 6745645 w 12045155"/>
                  <a:gd name="connsiteY14" fmla="*/ 878979 h 2365078"/>
                  <a:gd name="connsiteX15" fmla="*/ 7494800 w 12045155"/>
                  <a:gd name="connsiteY15" fmla="*/ 870473 h 2365078"/>
                  <a:gd name="connsiteX16" fmla="*/ 8026795 w 12045155"/>
                  <a:gd name="connsiteY16" fmla="*/ 861967 h 2365078"/>
                  <a:gd name="connsiteX17" fmla="*/ 8504518 w 12045155"/>
                  <a:gd name="connsiteY17" fmla="*/ 827979 h 2365078"/>
                  <a:gd name="connsiteX18" fmla="*/ 9361101 w 12045155"/>
                  <a:gd name="connsiteY18" fmla="*/ 2018757 h 2365078"/>
                  <a:gd name="connsiteX19" fmla="*/ 10249513 w 12045155"/>
                  <a:gd name="connsiteY19" fmla="*/ 2364507 h 2365078"/>
                  <a:gd name="connsiteX20" fmla="*/ 11123596 w 12045155"/>
                  <a:gd name="connsiteY20" fmla="*/ 1964167 h 2365078"/>
                  <a:gd name="connsiteX21" fmla="*/ 11309876 w 12045155"/>
                  <a:gd name="connsiteY21" fmla="*/ 1618413 h 2365078"/>
                  <a:gd name="connsiteX22" fmla="*/ 11797069 w 12045155"/>
                  <a:gd name="connsiteY22" fmla="*/ 999707 h 2365078"/>
                  <a:gd name="connsiteX23" fmla="*/ 12045155 w 12045155"/>
                  <a:gd name="connsiteY23" fmla="*/ 699393 h 2365078"/>
                  <a:gd name="connsiteX24" fmla="*/ 12045155 w 12045155"/>
                  <a:gd name="connsiteY24" fmla="*/ 261011 h 2365078"/>
                  <a:gd name="connsiteX25" fmla="*/ 11438839 w 12045155"/>
                  <a:gd name="connsiteY25" fmla="*/ 435586 h 2365078"/>
                  <a:gd name="connsiteX26" fmla="*/ 11059114 w 12045155"/>
                  <a:gd name="connsiteY26" fmla="*/ 1047471 h 2365078"/>
                  <a:gd name="connsiteX27" fmla="*/ 10602369 w 12045155"/>
                  <a:gd name="connsiteY27" fmla="*/ 1661632 h 2365078"/>
                  <a:gd name="connsiteX28" fmla="*/ 10034574 w 12045155"/>
                  <a:gd name="connsiteY28" fmla="*/ 1618415 h 2365078"/>
                  <a:gd name="connsiteX29" fmla="*/ 9527677 w 12045155"/>
                  <a:gd name="connsiteY29" fmla="*/ 1058846 h 2365078"/>
                  <a:gd name="connsiteX30" fmla="*/ 9053022 w 12045155"/>
                  <a:gd name="connsiteY30" fmla="*/ 581165 h 2365078"/>
                  <a:gd name="connsiteX31" fmla="*/ 8450223 w 12045155"/>
                  <a:gd name="connsiteY31" fmla="*/ 156695 h 2365078"/>
                  <a:gd name="connsiteX32" fmla="*/ 7635927 w 12045155"/>
                  <a:gd name="connsiteY32" fmla="*/ 105714 h 2365078"/>
                  <a:gd name="connsiteX33" fmla="*/ 7049636 w 12045155"/>
                  <a:gd name="connsiteY33" fmla="*/ 199189 h 2365078"/>
                  <a:gd name="connsiteX34" fmla="*/ 6342549 w 12045155"/>
                  <a:gd name="connsiteY34" fmla="*/ 146630 h 2365078"/>
                  <a:gd name="connsiteX35" fmla="*/ 5902209 w 12045155"/>
                  <a:gd name="connsiteY35" fmla="*/ 249658 h 2365078"/>
                  <a:gd name="connsiteX36" fmla="*/ 5182195 w 12045155"/>
                  <a:gd name="connsiteY36" fmla="*/ 292664 h 2365078"/>
                  <a:gd name="connsiteX37" fmla="*/ 3822487 w 12045155"/>
                  <a:gd name="connsiteY37" fmla="*/ 90799 h 2365078"/>
                  <a:gd name="connsiteX38" fmla="*/ 2370177 w 12045155"/>
                  <a:gd name="connsiteY38" fmla="*/ 156695 h 2365078"/>
                  <a:gd name="connsiteX39" fmla="*/ 578745 w 12045155"/>
                  <a:gd name="connsiteY39" fmla="*/ 148189 h 2365078"/>
                  <a:gd name="connsiteX40" fmla="*/ 38923 w 12045155"/>
                  <a:gd name="connsiteY40" fmla="*/ 157240 h 2365078"/>
                  <a:gd name="connsiteX0" fmla="*/ 38923 w 12045155"/>
                  <a:gd name="connsiteY0" fmla="*/ 157240 h 2365066"/>
                  <a:gd name="connsiteX1" fmla="*/ 4765 w 12045155"/>
                  <a:gd name="connsiteY1" fmla="*/ 229969 h 2365066"/>
                  <a:gd name="connsiteX2" fmla="*/ 16985 w 12045155"/>
                  <a:gd name="connsiteY2" fmla="*/ 441204 h 2365066"/>
                  <a:gd name="connsiteX3" fmla="*/ 31647 w 12045155"/>
                  <a:gd name="connsiteY3" fmla="*/ 700450 h 2365066"/>
                  <a:gd name="connsiteX4" fmla="*/ 43864 w 12045155"/>
                  <a:gd name="connsiteY4" fmla="*/ 777266 h 2365066"/>
                  <a:gd name="connsiteX5" fmla="*/ 80207 w 12045155"/>
                  <a:gd name="connsiteY5" fmla="*/ 937416 h 2365066"/>
                  <a:gd name="connsiteX6" fmla="*/ 937008 w 12045155"/>
                  <a:gd name="connsiteY6" fmla="*/ 844973 h 2365066"/>
                  <a:gd name="connsiteX7" fmla="*/ 1631867 w 12045155"/>
                  <a:gd name="connsiteY7" fmla="*/ 878961 h 2365066"/>
                  <a:gd name="connsiteX8" fmla="*/ 2087877 w 12045155"/>
                  <a:gd name="connsiteY8" fmla="*/ 819473 h 2365066"/>
                  <a:gd name="connsiteX9" fmla="*/ 2565599 w 12045155"/>
                  <a:gd name="connsiteY9" fmla="*/ 819473 h 2365066"/>
                  <a:gd name="connsiteX10" fmla="*/ 3336468 w 12045155"/>
                  <a:gd name="connsiteY10" fmla="*/ 861967 h 2365066"/>
                  <a:gd name="connsiteX11" fmla="*/ 4215904 w 12045155"/>
                  <a:gd name="connsiteY11" fmla="*/ 844973 h 2365066"/>
                  <a:gd name="connsiteX12" fmla="*/ 4845622 w 12045155"/>
                  <a:gd name="connsiteY12" fmla="*/ 853479 h 2365066"/>
                  <a:gd name="connsiteX13" fmla="*/ 5681632 w 12045155"/>
                  <a:gd name="connsiteY13" fmla="*/ 853479 h 2365066"/>
                  <a:gd name="connsiteX14" fmla="*/ 6745645 w 12045155"/>
                  <a:gd name="connsiteY14" fmla="*/ 878979 h 2365066"/>
                  <a:gd name="connsiteX15" fmla="*/ 7494800 w 12045155"/>
                  <a:gd name="connsiteY15" fmla="*/ 870473 h 2365066"/>
                  <a:gd name="connsiteX16" fmla="*/ 8026795 w 12045155"/>
                  <a:gd name="connsiteY16" fmla="*/ 861967 h 2365066"/>
                  <a:gd name="connsiteX17" fmla="*/ 8504518 w 12045155"/>
                  <a:gd name="connsiteY17" fmla="*/ 827979 h 2365066"/>
                  <a:gd name="connsiteX18" fmla="*/ 9361101 w 12045155"/>
                  <a:gd name="connsiteY18" fmla="*/ 2018757 h 2365066"/>
                  <a:gd name="connsiteX19" fmla="*/ 10249513 w 12045155"/>
                  <a:gd name="connsiteY19" fmla="*/ 2364507 h 2365066"/>
                  <a:gd name="connsiteX20" fmla="*/ 11195242 w 12045155"/>
                  <a:gd name="connsiteY20" fmla="*/ 2091549 h 2365066"/>
                  <a:gd name="connsiteX21" fmla="*/ 11309876 w 12045155"/>
                  <a:gd name="connsiteY21" fmla="*/ 1618413 h 2365066"/>
                  <a:gd name="connsiteX22" fmla="*/ 11797069 w 12045155"/>
                  <a:gd name="connsiteY22" fmla="*/ 999707 h 2365066"/>
                  <a:gd name="connsiteX23" fmla="*/ 12045155 w 12045155"/>
                  <a:gd name="connsiteY23" fmla="*/ 699393 h 2365066"/>
                  <a:gd name="connsiteX24" fmla="*/ 12045155 w 12045155"/>
                  <a:gd name="connsiteY24" fmla="*/ 261011 h 2365066"/>
                  <a:gd name="connsiteX25" fmla="*/ 11438839 w 12045155"/>
                  <a:gd name="connsiteY25" fmla="*/ 435586 h 2365066"/>
                  <a:gd name="connsiteX26" fmla="*/ 11059114 w 12045155"/>
                  <a:gd name="connsiteY26" fmla="*/ 1047471 h 2365066"/>
                  <a:gd name="connsiteX27" fmla="*/ 10602369 w 12045155"/>
                  <a:gd name="connsiteY27" fmla="*/ 1661632 h 2365066"/>
                  <a:gd name="connsiteX28" fmla="*/ 10034574 w 12045155"/>
                  <a:gd name="connsiteY28" fmla="*/ 1618415 h 2365066"/>
                  <a:gd name="connsiteX29" fmla="*/ 9527677 w 12045155"/>
                  <a:gd name="connsiteY29" fmla="*/ 1058846 h 2365066"/>
                  <a:gd name="connsiteX30" fmla="*/ 9053022 w 12045155"/>
                  <a:gd name="connsiteY30" fmla="*/ 581165 h 2365066"/>
                  <a:gd name="connsiteX31" fmla="*/ 8450223 w 12045155"/>
                  <a:gd name="connsiteY31" fmla="*/ 156695 h 2365066"/>
                  <a:gd name="connsiteX32" fmla="*/ 7635927 w 12045155"/>
                  <a:gd name="connsiteY32" fmla="*/ 105714 h 2365066"/>
                  <a:gd name="connsiteX33" fmla="*/ 7049636 w 12045155"/>
                  <a:gd name="connsiteY33" fmla="*/ 199189 h 2365066"/>
                  <a:gd name="connsiteX34" fmla="*/ 6342549 w 12045155"/>
                  <a:gd name="connsiteY34" fmla="*/ 146630 h 2365066"/>
                  <a:gd name="connsiteX35" fmla="*/ 5902209 w 12045155"/>
                  <a:gd name="connsiteY35" fmla="*/ 249658 h 2365066"/>
                  <a:gd name="connsiteX36" fmla="*/ 5182195 w 12045155"/>
                  <a:gd name="connsiteY36" fmla="*/ 292664 h 2365066"/>
                  <a:gd name="connsiteX37" fmla="*/ 3822487 w 12045155"/>
                  <a:gd name="connsiteY37" fmla="*/ 90799 h 2365066"/>
                  <a:gd name="connsiteX38" fmla="*/ 2370177 w 12045155"/>
                  <a:gd name="connsiteY38" fmla="*/ 156695 h 2365066"/>
                  <a:gd name="connsiteX39" fmla="*/ 578745 w 12045155"/>
                  <a:gd name="connsiteY39" fmla="*/ 148189 h 2365066"/>
                  <a:gd name="connsiteX40" fmla="*/ 38923 w 12045155"/>
                  <a:gd name="connsiteY40" fmla="*/ 157240 h 2365066"/>
                  <a:gd name="connsiteX0" fmla="*/ 38923 w 12045155"/>
                  <a:gd name="connsiteY0" fmla="*/ 157240 h 2510409"/>
                  <a:gd name="connsiteX1" fmla="*/ 4765 w 12045155"/>
                  <a:gd name="connsiteY1" fmla="*/ 229969 h 2510409"/>
                  <a:gd name="connsiteX2" fmla="*/ 16985 w 12045155"/>
                  <a:gd name="connsiteY2" fmla="*/ 441204 h 2510409"/>
                  <a:gd name="connsiteX3" fmla="*/ 31647 w 12045155"/>
                  <a:gd name="connsiteY3" fmla="*/ 700450 h 2510409"/>
                  <a:gd name="connsiteX4" fmla="*/ 43864 w 12045155"/>
                  <a:gd name="connsiteY4" fmla="*/ 777266 h 2510409"/>
                  <a:gd name="connsiteX5" fmla="*/ 80207 w 12045155"/>
                  <a:gd name="connsiteY5" fmla="*/ 937416 h 2510409"/>
                  <a:gd name="connsiteX6" fmla="*/ 937008 w 12045155"/>
                  <a:gd name="connsiteY6" fmla="*/ 844973 h 2510409"/>
                  <a:gd name="connsiteX7" fmla="*/ 1631867 w 12045155"/>
                  <a:gd name="connsiteY7" fmla="*/ 878961 h 2510409"/>
                  <a:gd name="connsiteX8" fmla="*/ 2087877 w 12045155"/>
                  <a:gd name="connsiteY8" fmla="*/ 819473 h 2510409"/>
                  <a:gd name="connsiteX9" fmla="*/ 2565599 w 12045155"/>
                  <a:gd name="connsiteY9" fmla="*/ 819473 h 2510409"/>
                  <a:gd name="connsiteX10" fmla="*/ 3336468 w 12045155"/>
                  <a:gd name="connsiteY10" fmla="*/ 861967 h 2510409"/>
                  <a:gd name="connsiteX11" fmla="*/ 4215904 w 12045155"/>
                  <a:gd name="connsiteY11" fmla="*/ 844973 h 2510409"/>
                  <a:gd name="connsiteX12" fmla="*/ 4845622 w 12045155"/>
                  <a:gd name="connsiteY12" fmla="*/ 853479 h 2510409"/>
                  <a:gd name="connsiteX13" fmla="*/ 5681632 w 12045155"/>
                  <a:gd name="connsiteY13" fmla="*/ 853479 h 2510409"/>
                  <a:gd name="connsiteX14" fmla="*/ 6745645 w 12045155"/>
                  <a:gd name="connsiteY14" fmla="*/ 878979 h 2510409"/>
                  <a:gd name="connsiteX15" fmla="*/ 7494800 w 12045155"/>
                  <a:gd name="connsiteY15" fmla="*/ 870473 h 2510409"/>
                  <a:gd name="connsiteX16" fmla="*/ 8026795 w 12045155"/>
                  <a:gd name="connsiteY16" fmla="*/ 861967 h 2510409"/>
                  <a:gd name="connsiteX17" fmla="*/ 8504518 w 12045155"/>
                  <a:gd name="connsiteY17" fmla="*/ 827979 h 2510409"/>
                  <a:gd name="connsiteX18" fmla="*/ 9361101 w 12045155"/>
                  <a:gd name="connsiteY18" fmla="*/ 2018757 h 2510409"/>
                  <a:gd name="connsiteX19" fmla="*/ 10149208 w 12045155"/>
                  <a:gd name="connsiteY19" fmla="*/ 2510086 h 2510409"/>
                  <a:gd name="connsiteX20" fmla="*/ 11195242 w 12045155"/>
                  <a:gd name="connsiteY20" fmla="*/ 2091549 h 2510409"/>
                  <a:gd name="connsiteX21" fmla="*/ 11309876 w 12045155"/>
                  <a:gd name="connsiteY21" fmla="*/ 1618413 h 2510409"/>
                  <a:gd name="connsiteX22" fmla="*/ 11797069 w 12045155"/>
                  <a:gd name="connsiteY22" fmla="*/ 999707 h 2510409"/>
                  <a:gd name="connsiteX23" fmla="*/ 12045155 w 12045155"/>
                  <a:gd name="connsiteY23" fmla="*/ 699393 h 2510409"/>
                  <a:gd name="connsiteX24" fmla="*/ 12045155 w 12045155"/>
                  <a:gd name="connsiteY24" fmla="*/ 261011 h 2510409"/>
                  <a:gd name="connsiteX25" fmla="*/ 11438839 w 12045155"/>
                  <a:gd name="connsiteY25" fmla="*/ 435586 h 2510409"/>
                  <a:gd name="connsiteX26" fmla="*/ 11059114 w 12045155"/>
                  <a:gd name="connsiteY26" fmla="*/ 1047471 h 2510409"/>
                  <a:gd name="connsiteX27" fmla="*/ 10602369 w 12045155"/>
                  <a:gd name="connsiteY27" fmla="*/ 1661632 h 2510409"/>
                  <a:gd name="connsiteX28" fmla="*/ 10034574 w 12045155"/>
                  <a:gd name="connsiteY28" fmla="*/ 1618415 h 2510409"/>
                  <a:gd name="connsiteX29" fmla="*/ 9527677 w 12045155"/>
                  <a:gd name="connsiteY29" fmla="*/ 1058846 h 2510409"/>
                  <a:gd name="connsiteX30" fmla="*/ 9053022 w 12045155"/>
                  <a:gd name="connsiteY30" fmla="*/ 581165 h 2510409"/>
                  <a:gd name="connsiteX31" fmla="*/ 8450223 w 12045155"/>
                  <a:gd name="connsiteY31" fmla="*/ 156695 h 2510409"/>
                  <a:gd name="connsiteX32" fmla="*/ 7635927 w 12045155"/>
                  <a:gd name="connsiteY32" fmla="*/ 105714 h 2510409"/>
                  <a:gd name="connsiteX33" fmla="*/ 7049636 w 12045155"/>
                  <a:gd name="connsiteY33" fmla="*/ 199189 h 2510409"/>
                  <a:gd name="connsiteX34" fmla="*/ 6342549 w 12045155"/>
                  <a:gd name="connsiteY34" fmla="*/ 146630 h 2510409"/>
                  <a:gd name="connsiteX35" fmla="*/ 5902209 w 12045155"/>
                  <a:gd name="connsiteY35" fmla="*/ 249658 h 2510409"/>
                  <a:gd name="connsiteX36" fmla="*/ 5182195 w 12045155"/>
                  <a:gd name="connsiteY36" fmla="*/ 292664 h 2510409"/>
                  <a:gd name="connsiteX37" fmla="*/ 3822487 w 12045155"/>
                  <a:gd name="connsiteY37" fmla="*/ 90799 h 2510409"/>
                  <a:gd name="connsiteX38" fmla="*/ 2370177 w 12045155"/>
                  <a:gd name="connsiteY38" fmla="*/ 156695 h 2510409"/>
                  <a:gd name="connsiteX39" fmla="*/ 578745 w 12045155"/>
                  <a:gd name="connsiteY39" fmla="*/ 148189 h 2510409"/>
                  <a:gd name="connsiteX40" fmla="*/ 38923 w 12045155"/>
                  <a:gd name="connsiteY40" fmla="*/ 157240 h 2510409"/>
                  <a:gd name="connsiteX0" fmla="*/ 38923 w 12045155"/>
                  <a:gd name="connsiteY0" fmla="*/ 157240 h 2510087"/>
                  <a:gd name="connsiteX1" fmla="*/ 4765 w 12045155"/>
                  <a:gd name="connsiteY1" fmla="*/ 229969 h 2510087"/>
                  <a:gd name="connsiteX2" fmla="*/ 16985 w 12045155"/>
                  <a:gd name="connsiteY2" fmla="*/ 441204 h 2510087"/>
                  <a:gd name="connsiteX3" fmla="*/ 31647 w 12045155"/>
                  <a:gd name="connsiteY3" fmla="*/ 700450 h 2510087"/>
                  <a:gd name="connsiteX4" fmla="*/ 43864 w 12045155"/>
                  <a:gd name="connsiteY4" fmla="*/ 777266 h 2510087"/>
                  <a:gd name="connsiteX5" fmla="*/ 80207 w 12045155"/>
                  <a:gd name="connsiteY5" fmla="*/ 937416 h 2510087"/>
                  <a:gd name="connsiteX6" fmla="*/ 937008 w 12045155"/>
                  <a:gd name="connsiteY6" fmla="*/ 844973 h 2510087"/>
                  <a:gd name="connsiteX7" fmla="*/ 1631867 w 12045155"/>
                  <a:gd name="connsiteY7" fmla="*/ 878961 h 2510087"/>
                  <a:gd name="connsiteX8" fmla="*/ 2087877 w 12045155"/>
                  <a:gd name="connsiteY8" fmla="*/ 819473 h 2510087"/>
                  <a:gd name="connsiteX9" fmla="*/ 2565599 w 12045155"/>
                  <a:gd name="connsiteY9" fmla="*/ 819473 h 2510087"/>
                  <a:gd name="connsiteX10" fmla="*/ 3336468 w 12045155"/>
                  <a:gd name="connsiteY10" fmla="*/ 861967 h 2510087"/>
                  <a:gd name="connsiteX11" fmla="*/ 4215904 w 12045155"/>
                  <a:gd name="connsiteY11" fmla="*/ 844973 h 2510087"/>
                  <a:gd name="connsiteX12" fmla="*/ 4845622 w 12045155"/>
                  <a:gd name="connsiteY12" fmla="*/ 853479 h 2510087"/>
                  <a:gd name="connsiteX13" fmla="*/ 5681632 w 12045155"/>
                  <a:gd name="connsiteY13" fmla="*/ 853479 h 2510087"/>
                  <a:gd name="connsiteX14" fmla="*/ 6745645 w 12045155"/>
                  <a:gd name="connsiteY14" fmla="*/ 878979 h 2510087"/>
                  <a:gd name="connsiteX15" fmla="*/ 7494800 w 12045155"/>
                  <a:gd name="connsiteY15" fmla="*/ 870473 h 2510087"/>
                  <a:gd name="connsiteX16" fmla="*/ 8026795 w 12045155"/>
                  <a:gd name="connsiteY16" fmla="*/ 861967 h 2510087"/>
                  <a:gd name="connsiteX17" fmla="*/ 8504518 w 12045155"/>
                  <a:gd name="connsiteY17" fmla="*/ 827979 h 2510087"/>
                  <a:gd name="connsiteX18" fmla="*/ 9217808 w 12045155"/>
                  <a:gd name="connsiteY18" fmla="*/ 2091547 h 2510087"/>
                  <a:gd name="connsiteX19" fmla="*/ 10149208 w 12045155"/>
                  <a:gd name="connsiteY19" fmla="*/ 2510086 h 2510087"/>
                  <a:gd name="connsiteX20" fmla="*/ 11195242 w 12045155"/>
                  <a:gd name="connsiteY20" fmla="*/ 2091549 h 2510087"/>
                  <a:gd name="connsiteX21" fmla="*/ 11309876 w 12045155"/>
                  <a:gd name="connsiteY21" fmla="*/ 1618413 h 2510087"/>
                  <a:gd name="connsiteX22" fmla="*/ 11797069 w 12045155"/>
                  <a:gd name="connsiteY22" fmla="*/ 999707 h 2510087"/>
                  <a:gd name="connsiteX23" fmla="*/ 12045155 w 12045155"/>
                  <a:gd name="connsiteY23" fmla="*/ 699393 h 2510087"/>
                  <a:gd name="connsiteX24" fmla="*/ 12045155 w 12045155"/>
                  <a:gd name="connsiteY24" fmla="*/ 261011 h 2510087"/>
                  <a:gd name="connsiteX25" fmla="*/ 11438839 w 12045155"/>
                  <a:gd name="connsiteY25" fmla="*/ 435586 h 2510087"/>
                  <a:gd name="connsiteX26" fmla="*/ 11059114 w 12045155"/>
                  <a:gd name="connsiteY26" fmla="*/ 1047471 h 2510087"/>
                  <a:gd name="connsiteX27" fmla="*/ 10602369 w 12045155"/>
                  <a:gd name="connsiteY27" fmla="*/ 1661632 h 2510087"/>
                  <a:gd name="connsiteX28" fmla="*/ 10034574 w 12045155"/>
                  <a:gd name="connsiteY28" fmla="*/ 1618415 h 2510087"/>
                  <a:gd name="connsiteX29" fmla="*/ 9527677 w 12045155"/>
                  <a:gd name="connsiteY29" fmla="*/ 1058846 h 2510087"/>
                  <a:gd name="connsiteX30" fmla="*/ 9053022 w 12045155"/>
                  <a:gd name="connsiteY30" fmla="*/ 581165 h 2510087"/>
                  <a:gd name="connsiteX31" fmla="*/ 8450223 w 12045155"/>
                  <a:gd name="connsiteY31" fmla="*/ 156695 h 2510087"/>
                  <a:gd name="connsiteX32" fmla="*/ 7635927 w 12045155"/>
                  <a:gd name="connsiteY32" fmla="*/ 105714 h 2510087"/>
                  <a:gd name="connsiteX33" fmla="*/ 7049636 w 12045155"/>
                  <a:gd name="connsiteY33" fmla="*/ 199189 h 2510087"/>
                  <a:gd name="connsiteX34" fmla="*/ 6342549 w 12045155"/>
                  <a:gd name="connsiteY34" fmla="*/ 146630 h 2510087"/>
                  <a:gd name="connsiteX35" fmla="*/ 5902209 w 12045155"/>
                  <a:gd name="connsiteY35" fmla="*/ 249658 h 2510087"/>
                  <a:gd name="connsiteX36" fmla="*/ 5182195 w 12045155"/>
                  <a:gd name="connsiteY36" fmla="*/ 292664 h 2510087"/>
                  <a:gd name="connsiteX37" fmla="*/ 3822487 w 12045155"/>
                  <a:gd name="connsiteY37" fmla="*/ 90799 h 2510087"/>
                  <a:gd name="connsiteX38" fmla="*/ 2370177 w 12045155"/>
                  <a:gd name="connsiteY38" fmla="*/ 156695 h 2510087"/>
                  <a:gd name="connsiteX39" fmla="*/ 578745 w 12045155"/>
                  <a:gd name="connsiteY39" fmla="*/ 148189 h 2510087"/>
                  <a:gd name="connsiteX40" fmla="*/ 38923 w 12045155"/>
                  <a:gd name="connsiteY40" fmla="*/ 157240 h 2510087"/>
                  <a:gd name="connsiteX0" fmla="*/ 38923 w 12045155"/>
                  <a:gd name="connsiteY0" fmla="*/ 157240 h 2510087"/>
                  <a:gd name="connsiteX1" fmla="*/ 4765 w 12045155"/>
                  <a:gd name="connsiteY1" fmla="*/ 229969 h 2510087"/>
                  <a:gd name="connsiteX2" fmla="*/ 16985 w 12045155"/>
                  <a:gd name="connsiteY2" fmla="*/ 441204 h 2510087"/>
                  <a:gd name="connsiteX3" fmla="*/ 31647 w 12045155"/>
                  <a:gd name="connsiteY3" fmla="*/ 700450 h 2510087"/>
                  <a:gd name="connsiteX4" fmla="*/ 43864 w 12045155"/>
                  <a:gd name="connsiteY4" fmla="*/ 777266 h 2510087"/>
                  <a:gd name="connsiteX5" fmla="*/ 80207 w 12045155"/>
                  <a:gd name="connsiteY5" fmla="*/ 937416 h 2510087"/>
                  <a:gd name="connsiteX6" fmla="*/ 937008 w 12045155"/>
                  <a:gd name="connsiteY6" fmla="*/ 844973 h 2510087"/>
                  <a:gd name="connsiteX7" fmla="*/ 1631867 w 12045155"/>
                  <a:gd name="connsiteY7" fmla="*/ 878961 h 2510087"/>
                  <a:gd name="connsiteX8" fmla="*/ 2087877 w 12045155"/>
                  <a:gd name="connsiteY8" fmla="*/ 819473 h 2510087"/>
                  <a:gd name="connsiteX9" fmla="*/ 2565599 w 12045155"/>
                  <a:gd name="connsiteY9" fmla="*/ 819473 h 2510087"/>
                  <a:gd name="connsiteX10" fmla="*/ 3336468 w 12045155"/>
                  <a:gd name="connsiteY10" fmla="*/ 861967 h 2510087"/>
                  <a:gd name="connsiteX11" fmla="*/ 4215904 w 12045155"/>
                  <a:gd name="connsiteY11" fmla="*/ 844973 h 2510087"/>
                  <a:gd name="connsiteX12" fmla="*/ 4845622 w 12045155"/>
                  <a:gd name="connsiteY12" fmla="*/ 853479 h 2510087"/>
                  <a:gd name="connsiteX13" fmla="*/ 5681632 w 12045155"/>
                  <a:gd name="connsiteY13" fmla="*/ 853479 h 2510087"/>
                  <a:gd name="connsiteX14" fmla="*/ 6745645 w 12045155"/>
                  <a:gd name="connsiteY14" fmla="*/ 878979 h 2510087"/>
                  <a:gd name="connsiteX15" fmla="*/ 7494800 w 12045155"/>
                  <a:gd name="connsiteY15" fmla="*/ 870473 h 2510087"/>
                  <a:gd name="connsiteX16" fmla="*/ 8026795 w 12045155"/>
                  <a:gd name="connsiteY16" fmla="*/ 861967 h 2510087"/>
                  <a:gd name="connsiteX17" fmla="*/ 8504518 w 12045155"/>
                  <a:gd name="connsiteY17" fmla="*/ 827979 h 2510087"/>
                  <a:gd name="connsiteX18" fmla="*/ 9217808 w 12045155"/>
                  <a:gd name="connsiteY18" fmla="*/ 2091547 h 2510087"/>
                  <a:gd name="connsiteX19" fmla="*/ 10149208 w 12045155"/>
                  <a:gd name="connsiteY19" fmla="*/ 2510086 h 2510087"/>
                  <a:gd name="connsiteX20" fmla="*/ 11195242 w 12045155"/>
                  <a:gd name="connsiteY20" fmla="*/ 2091549 h 2510087"/>
                  <a:gd name="connsiteX21" fmla="*/ 11625119 w 12045155"/>
                  <a:gd name="connsiteY21" fmla="*/ 1600216 h 2510087"/>
                  <a:gd name="connsiteX22" fmla="*/ 11797069 w 12045155"/>
                  <a:gd name="connsiteY22" fmla="*/ 999707 h 2510087"/>
                  <a:gd name="connsiteX23" fmla="*/ 12045155 w 12045155"/>
                  <a:gd name="connsiteY23" fmla="*/ 699393 h 2510087"/>
                  <a:gd name="connsiteX24" fmla="*/ 12045155 w 12045155"/>
                  <a:gd name="connsiteY24" fmla="*/ 261011 h 2510087"/>
                  <a:gd name="connsiteX25" fmla="*/ 11438839 w 12045155"/>
                  <a:gd name="connsiteY25" fmla="*/ 435586 h 2510087"/>
                  <a:gd name="connsiteX26" fmla="*/ 11059114 w 12045155"/>
                  <a:gd name="connsiteY26" fmla="*/ 1047471 h 2510087"/>
                  <a:gd name="connsiteX27" fmla="*/ 10602369 w 12045155"/>
                  <a:gd name="connsiteY27" fmla="*/ 1661632 h 2510087"/>
                  <a:gd name="connsiteX28" fmla="*/ 10034574 w 12045155"/>
                  <a:gd name="connsiteY28" fmla="*/ 1618415 h 2510087"/>
                  <a:gd name="connsiteX29" fmla="*/ 9527677 w 12045155"/>
                  <a:gd name="connsiteY29" fmla="*/ 1058846 h 2510087"/>
                  <a:gd name="connsiteX30" fmla="*/ 9053022 w 12045155"/>
                  <a:gd name="connsiteY30" fmla="*/ 581165 h 2510087"/>
                  <a:gd name="connsiteX31" fmla="*/ 8450223 w 12045155"/>
                  <a:gd name="connsiteY31" fmla="*/ 156695 h 2510087"/>
                  <a:gd name="connsiteX32" fmla="*/ 7635927 w 12045155"/>
                  <a:gd name="connsiteY32" fmla="*/ 105714 h 2510087"/>
                  <a:gd name="connsiteX33" fmla="*/ 7049636 w 12045155"/>
                  <a:gd name="connsiteY33" fmla="*/ 199189 h 2510087"/>
                  <a:gd name="connsiteX34" fmla="*/ 6342549 w 12045155"/>
                  <a:gd name="connsiteY34" fmla="*/ 146630 h 2510087"/>
                  <a:gd name="connsiteX35" fmla="*/ 5902209 w 12045155"/>
                  <a:gd name="connsiteY35" fmla="*/ 249658 h 2510087"/>
                  <a:gd name="connsiteX36" fmla="*/ 5182195 w 12045155"/>
                  <a:gd name="connsiteY36" fmla="*/ 292664 h 2510087"/>
                  <a:gd name="connsiteX37" fmla="*/ 3822487 w 12045155"/>
                  <a:gd name="connsiteY37" fmla="*/ 90799 h 2510087"/>
                  <a:gd name="connsiteX38" fmla="*/ 2370177 w 12045155"/>
                  <a:gd name="connsiteY38" fmla="*/ 156695 h 2510087"/>
                  <a:gd name="connsiteX39" fmla="*/ 578745 w 12045155"/>
                  <a:gd name="connsiteY39" fmla="*/ 148189 h 2510087"/>
                  <a:gd name="connsiteX40" fmla="*/ 38923 w 12045155"/>
                  <a:gd name="connsiteY40" fmla="*/ 157240 h 2510087"/>
                  <a:gd name="connsiteX0" fmla="*/ 38923 w 12045155"/>
                  <a:gd name="connsiteY0" fmla="*/ 157240 h 2510087"/>
                  <a:gd name="connsiteX1" fmla="*/ 4765 w 12045155"/>
                  <a:gd name="connsiteY1" fmla="*/ 229969 h 2510087"/>
                  <a:gd name="connsiteX2" fmla="*/ 16985 w 12045155"/>
                  <a:gd name="connsiteY2" fmla="*/ 441204 h 2510087"/>
                  <a:gd name="connsiteX3" fmla="*/ 31647 w 12045155"/>
                  <a:gd name="connsiteY3" fmla="*/ 700450 h 2510087"/>
                  <a:gd name="connsiteX4" fmla="*/ 43864 w 12045155"/>
                  <a:gd name="connsiteY4" fmla="*/ 777266 h 2510087"/>
                  <a:gd name="connsiteX5" fmla="*/ 80207 w 12045155"/>
                  <a:gd name="connsiteY5" fmla="*/ 937416 h 2510087"/>
                  <a:gd name="connsiteX6" fmla="*/ 937008 w 12045155"/>
                  <a:gd name="connsiteY6" fmla="*/ 844973 h 2510087"/>
                  <a:gd name="connsiteX7" fmla="*/ 1631867 w 12045155"/>
                  <a:gd name="connsiteY7" fmla="*/ 878961 h 2510087"/>
                  <a:gd name="connsiteX8" fmla="*/ 2087877 w 12045155"/>
                  <a:gd name="connsiteY8" fmla="*/ 819473 h 2510087"/>
                  <a:gd name="connsiteX9" fmla="*/ 2565599 w 12045155"/>
                  <a:gd name="connsiteY9" fmla="*/ 819473 h 2510087"/>
                  <a:gd name="connsiteX10" fmla="*/ 3336468 w 12045155"/>
                  <a:gd name="connsiteY10" fmla="*/ 861967 h 2510087"/>
                  <a:gd name="connsiteX11" fmla="*/ 4215904 w 12045155"/>
                  <a:gd name="connsiteY11" fmla="*/ 844973 h 2510087"/>
                  <a:gd name="connsiteX12" fmla="*/ 4845622 w 12045155"/>
                  <a:gd name="connsiteY12" fmla="*/ 853479 h 2510087"/>
                  <a:gd name="connsiteX13" fmla="*/ 5681632 w 12045155"/>
                  <a:gd name="connsiteY13" fmla="*/ 853479 h 2510087"/>
                  <a:gd name="connsiteX14" fmla="*/ 6745645 w 12045155"/>
                  <a:gd name="connsiteY14" fmla="*/ 878979 h 2510087"/>
                  <a:gd name="connsiteX15" fmla="*/ 7494800 w 12045155"/>
                  <a:gd name="connsiteY15" fmla="*/ 870473 h 2510087"/>
                  <a:gd name="connsiteX16" fmla="*/ 8026795 w 12045155"/>
                  <a:gd name="connsiteY16" fmla="*/ 861967 h 2510087"/>
                  <a:gd name="connsiteX17" fmla="*/ 8647812 w 12045155"/>
                  <a:gd name="connsiteY17" fmla="*/ 1264715 h 2510087"/>
                  <a:gd name="connsiteX18" fmla="*/ 9217808 w 12045155"/>
                  <a:gd name="connsiteY18" fmla="*/ 2091547 h 2510087"/>
                  <a:gd name="connsiteX19" fmla="*/ 10149208 w 12045155"/>
                  <a:gd name="connsiteY19" fmla="*/ 2510086 h 2510087"/>
                  <a:gd name="connsiteX20" fmla="*/ 11195242 w 12045155"/>
                  <a:gd name="connsiteY20" fmla="*/ 2091549 h 2510087"/>
                  <a:gd name="connsiteX21" fmla="*/ 11625119 w 12045155"/>
                  <a:gd name="connsiteY21" fmla="*/ 1600216 h 2510087"/>
                  <a:gd name="connsiteX22" fmla="*/ 11797069 w 12045155"/>
                  <a:gd name="connsiteY22" fmla="*/ 999707 h 2510087"/>
                  <a:gd name="connsiteX23" fmla="*/ 12045155 w 12045155"/>
                  <a:gd name="connsiteY23" fmla="*/ 699393 h 2510087"/>
                  <a:gd name="connsiteX24" fmla="*/ 12045155 w 12045155"/>
                  <a:gd name="connsiteY24" fmla="*/ 261011 h 2510087"/>
                  <a:gd name="connsiteX25" fmla="*/ 11438839 w 12045155"/>
                  <a:gd name="connsiteY25" fmla="*/ 435586 h 2510087"/>
                  <a:gd name="connsiteX26" fmla="*/ 11059114 w 12045155"/>
                  <a:gd name="connsiteY26" fmla="*/ 1047471 h 2510087"/>
                  <a:gd name="connsiteX27" fmla="*/ 10602369 w 12045155"/>
                  <a:gd name="connsiteY27" fmla="*/ 1661632 h 2510087"/>
                  <a:gd name="connsiteX28" fmla="*/ 10034574 w 12045155"/>
                  <a:gd name="connsiteY28" fmla="*/ 1618415 h 2510087"/>
                  <a:gd name="connsiteX29" fmla="*/ 9527677 w 12045155"/>
                  <a:gd name="connsiteY29" fmla="*/ 1058846 h 2510087"/>
                  <a:gd name="connsiteX30" fmla="*/ 9053022 w 12045155"/>
                  <a:gd name="connsiteY30" fmla="*/ 581165 h 2510087"/>
                  <a:gd name="connsiteX31" fmla="*/ 8450223 w 12045155"/>
                  <a:gd name="connsiteY31" fmla="*/ 156695 h 2510087"/>
                  <a:gd name="connsiteX32" fmla="*/ 7635927 w 12045155"/>
                  <a:gd name="connsiteY32" fmla="*/ 105714 h 2510087"/>
                  <a:gd name="connsiteX33" fmla="*/ 7049636 w 12045155"/>
                  <a:gd name="connsiteY33" fmla="*/ 199189 h 2510087"/>
                  <a:gd name="connsiteX34" fmla="*/ 6342549 w 12045155"/>
                  <a:gd name="connsiteY34" fmla="*/ 146630 h 2510087"/>
                  <a:gd name="connsiteX35" fmla="*/ 5902209 w 12045155"/>
                  <a:gd name="connsiteY35" fmla="*/ 249658 h 2510087"/>
                  <a:gd name="connsiteX36" fmla="*/ 5182195 w 12045155"/>
                  <a:gd name="connsiteY36" fmla="*/ 292664 h 2510087"/>
                  <a:gd name="connsiteX37" fmla="*/ 3822487 w 12045155"/>
                  <a:gd name="connsiteY37" fmla="*/ 90799 h 2510087"/>
                  <a:gd name="connsiteX38" fmla="*/ 2370177 w 12045155"/>
                  <a:gd name="connsiteY38" fmla="*/ 156695 h 2510087"/>
                  <a:gd name="connsiteX39" fmla="*/ 578745 w 12045155"/>
                  <a:gd name="connsiteY39" fmla="*/ 148189 h 2510087"/>
                  <a:gd name="connsiteX40" fmla="*/ 38923 w 12045155"/>
                  <a:gd name="connsiteY40" fmla="*/ 157240 h 2510087"/>
                  <a:gd name="connsiteX0" fmla="*/ 38923 w 12045155"/>
                  <a:gd name="connsiteY0" fmla="*/ 157240 h 2510087"/>
                  <a:gd name="connsiteX1" fmla="*/ 4765 w 12045155"/>
                  <a:gd name="connsiteY1" fmla="*/ 229969 h 2510087"/>
                  <a:gd name="connsiteX2" fmla="*/ 16985 w 12045155"/>
                  <a:gd name="connsiteY2" fmla="*/ 441204 h 2510087"/>
                  <a:gd name="connsiteX3" fmla="*/ 31647 w 12045155"/>
                  <a:gd name="connsiteY3" fmla="*/ 700450 h 2510087"/>
                  <a:gd name="connsiteX4" fmla="*/ 43864 w 12045155"/>
                  <a:gd name="connsiteY4" fmla="*/ 777266 h 2510087"/>
                  <a:gd name="connsiteX5" fmla="*/ 80207 w 12045155"/>
                  <a:gd name="connsiteY5" fmla="*/ 937416 h 2510087"/>
                  <a:gd name="connsiteX6" fmla="*/ 937008 w 12045155"/>
                  <a:gd name="connsiteY6" fmla="*/ 844973 h 2510087"/>
                  <a:gd name="connsiteX7" fmla="*/ 1631867 w 12045155"/>
                  <a:gd name="connsiteY7" fmla="*/ 878961 h 2510087"/>
                  <a:gd name="connsiteX8" fmla="*/ 2087877 w 12045155"/>
                  <a:gd name="connsiteY8" fmla="*/ 819473 h 2510087"/>
                  <a:gd name="connsiteX9" fmla="*/ 2565599 w 12045155"/>
                  <a:gd name="connsiteY9" fmla="*/ 819473 h 2510087"/>
                  <a:gd name="connsiteX10" fmla="*/ 3336468 w 12045155"/>
                  <a:gd name="connsiteY10" fmla="*/ 861967 h 2510087"/>
                  <a:gd name="connsiteX11" fmla="*/ 4215904 w 12045155"/>
                  <a:gd name="connsiteY11" fmla="*/ 844973 h 2510087"/>
                  <a:gd name="connsiteX12" fmla="*/ 4845622 w 12045155"/>
                  <a:gd name="connsiteY12" fmla="*/ 853479 h 2510087"/>
                  <a:gd name="connsiteX13" fmla="*/ 5681632 w 12045155"/>
                  <a:gd name="connsiteY13" fmla="*/ 853479 h 2510087"/>
                  <a:gd name="connsiteX14" fmla="*/ 6745645 w 12045155"/>
                  <a:gd name="connsiteY14" fmla="*/ 878979 h 2510087"/>
                  <a:gd name="connsiteX15" fmla="*/ 7494800 w 12045155"/>
                  <a:gd name="connsiteY15" fmla="*/ 870473 h 2510087"/>
                  <a:gd name="connsiteX16" fmla="*/ 8026795 w 12045155"/>
                  <a:gd name="connsiteY16" fmla="*/ 861967 h 2510087"/>
                  <a:gd name="connsiteX17" fmla="*/ 8647812 w 12045155"/>
                  <a:gd name="connsiteY17" fmla="*/ 1264715 h 2510087"/>
                  <a:gd name="connsiteX18" fmla="*/ 9217808 w 12045155"/>
                  <a:gd name="connsiteY18" fmla="*/ 2091547 h 2510087"/>
                  <a:gd name="connsiteX19" fmla="*/ 10149208 w 12045155"/>
                  <a:gd name="connsiteY19" fmla="*/ 2510086 h 2510087"/>
                  <a:gd name="connsiteX20" fmla="*/ 11195242 w 12045155"/>
                  <a:gd name="connsiteY20" fmla="*/ 2091549 h 2510087"/>
                  <a:gd name="connsiteX21" fmla="*/ 11486173 w 12045155"/>
                  <a:gd name="connsiteY21" fmla="*/ 1445814 h 2510087"/>
                  <a:gd name="connsiteX22" fmla="*/ 11797069 w 12045155"/>
                  <a:gd name="connsiteY22" fmla="*/ 999707 h 2510087"/>
                  <a:gd name="connsiteX23" fmla="*/ 12045155 w 12045155"/>
                  <a:gd name="connsiteY23" fmla="*/ 699393 h 2510087"/>
                  <a:gd name="connsiteX24" fmla="*/ 12045155 w 12045155"/>
                  <a:gd name="connsiteY24" fmla="*/ 261011 h 2510087"/>
                  <a:gd name="connsiteX25" fmla="*/ 11438839 w 12045155"/>
                  <a:gd name="connsiteY25" fmla="*/ 435586 h 2510087"/>
                  <a:gd name="connsiteX26" fmla="*/ 11059114 w 12045155"/>
                  <a:gd name="connsiteY26" fmla="*/ 1047471 h 2510087"/>
                  <a:gd name="connsiteX27" fmla="*/ 10602369 w 12045155"/>
                  <a:gd name="connsiteY27" fmla="*/ 1661632 h 2510087"/>
                  <a:gd name="connsiteX28" fmla="*/ 10034574 w 12045155"/>
                  <a:gd name="connsiteY28" fmla="*/ 1618415 h 2510087"/>
                  <a:gd name="connsiteX29" fmla="*/ 9527677 w 12045155"/>
                  <a:gd name="connsiteY29" fmla="*/ 1058846 h 2510087"/>
                  <a:gd name="connsiteX30" fmla="*/ 9053022 w 12045155"/>
                  <a:gd name="connsiteY30" fmla="*/ 581165 h 2510087"/>
                  <a:gd name="connsiteX31" fmla="*/ 8450223 w 12045155"/>
                  <a:gd name="connsiteY31" fmla="*/ 156695 h 2510087"/>
                  <a:gd name="connsiteX32" fmla="*/ 7635927 w 12045155"/>
                  <a:gd name="connsiteY32" fmla="*/ 105714 h 2510087"/>
                  <a:gd name="connsiteX33" fmla="*/ 7049636 w 12045155"/>
                  <a:gd name="connsiteY33" fmla="*/ 199189 h 2510087"/>
                  <a:gd name="connsiteX34" fmla="*/ 6342549 w 12045155"/>
                  <a:gd name="connsiteY34" fmla="*/ 146630 h 2510087"/>
                  <a:gd name="connsiteX35" fmla="*/ 5902209 w 12045155"/>
                  <a:gd name="connsiteY35" fmla="*/ 249658 h 2510087"/>
                  <a:gd name="connsiteX36" fmla="*/ 5182195 w 12045155"/>
                  <a:gd name="connsiteY36" fmla="*/ 292664 h 2510087"/>
                  <a:gd name="connsiteX37" fmla="*/ 3822487 w 12045155"/>
                  <a:gd name="connsiteY37" fmla="*/ 90799 h 2510087"/>
                  <a:gd name="connsiteX38" fmla="*/ 2370177 w 12045155"/>
                  <a:gd name="connsiteY38" fmla="*/ 156695 h 2510087"/>
                  <a:gd name="connsiteX39" fmla="*/ 578745 w 12045155"/>
                  <a:gd name="connsiteY39" fmla="*/ 148189 h 2510087"/>
                  <a:gd name="connsiteX40" fmla="*/ 38923 w 12045155"/>
                  <a:gd name="connsiteY40" fmla="*/ 157240 h 2510087"/>
                  <a:gd name="connsiteX0" fmla="*/ 38923 w 12045155"/>
                  <a:gd name="connsiteY0" fmla="*/ 157240 h 2510087"/>
                  <a:gd name="connsiteX1" fmla="*/ 4765 w 12045155"/>
                  <a:gd name="connsiteY1" fmla="*/ 229969 h 2510087"/>
                  <a:gd name="connsiteX2" fmla="*/ 8249783 w 12045155"/>
                  <a:gd name="connsiteY2" fmla="*/ 507371 h 2510087"/>
                  <a:gd name="connsiteX3" fmla="*/ 31647 w 12045155"/>
                  <a:gd name="connsiteY3" fmla="*/ 700450 h 2510087"/>
                  <a:gd name="connsiteX4" fmla="*/ 43864 w 12045155"/>
                  <a:gd name="connsiteY4" fmla="*/ 777266 h 2510087"/>
                  <a:gd name="connsiteX5" fmla="*/ 80207 w 12045155"/>
                  <a:gd name="connsiteY5" fmla="*/ 937416 h 2510087"/>
                  <a:gd name="connsiteX6" fmla="*/ 937008 w 12045155"/>
                  <a:gd name="connsiteY6" fmla="*/ 844973 h 2510087"/>
                  <a:gd name="connsiteX7" fmla="*/ 1631867 w 12045155"/>
                  <a:gd name="connsiteY7" fmla="*/ 878961 h 2510087"/>
                  <a:gd name="connsiteX8" fmla="*/ 2087877 w 12045155"/>
                  <a:gd name="connsiteY8" fmla="*/ 819473 h 2510087"/>
                  <a:gd name="connsiteX9" fmla="*/ 2565599 w 12045155"/>
                  <a:gd name="connsiteY9" fmla="*/ 819473 h 2510087"/>
                  <a:gd name="connsiteX10" fmla="*/ 3336468 w 12045155"/>
                  <a:gd name="connsiteY10" fmla="*/ 861967 h 2510087"/>
                  <a:gd name="connsiteX11" fmla="*/ 4215904 w 12045155"/>
                  <a:gd name="connsiteY11" fmla="*/ 844973 h 2510087"/>
                  <a:gd name="connsiteX12" fmla="*/ 4845622 w 12045155"/>
                  <a:gd name="connsiteY12" fmla="*/ 853479 h 2510087"/>
                  <a:gd name="connsiteX13" fmla="*/ 5681632 w 12045155"/>
                  <a:gd name="connsiteY13" fmla="*/ 853479 h 2510087"/>
                  <a:gd name="connsiteX14" fmla="*/ 6745645 w 12045155"/>
                  <a:gd name="connsiteY14" fmla="*/ 878979 h 2510087"/>
                  <a:gd name="connsiteX15" fmla="*/ 7494800 w 12045155"/>
                  <a:gd name="connsiteY15" fmla="*/ 870473 h 2510087"/>
                  <a:gd name="connsiteX16" fmla="*/ 8026795 w 12045155"/>
                  <a:gd name="connsiteY16" fmla="*/ 861967 h 2510087"/>
                  <a:gd name="connsiteX17" fmla="*/ 8647812 w 12045155"/>
                  <a:gd name="connsiteY17" fmla="*/ 1264715 h 2510087"/>
                  <a:gd name="connsiteX18" fmla="*/ 9217808 w 12045155"/>
                  <a:gd name="connsiteY18" fmla="*/ 2091547 h 2510087"/>
                  <a:gd name="connsiteX19" fmla="*/ 10149208 w 12045155"/>
                  <a:gd name="connsiteY19" fmla="*/ 2510086 h 2510087"/>
                  <a:gd name="connsiteX20" fmla="*/ 11195242 w 12045155"/>
                  <a:gd name="connsiteY20" fmla="*/ 2091549 h 2510087"/>
                  <a:gd name="connsiteX21" fmla="*/ 11486173 w 12045155"/>
                  <a:gd name="connsiteY21" fmla="*/ 1445814 h 2510087"/>
                  <a:gd name="connsiteX22" fmla="*/ 11797069 w 12045155"/>
                  <a:gd name="connsiteY22" fmla="*/ 999707 h 2510087"/>
                  <a:gd name="connsiteX23" fmla="*/ 12045155 w 12045155"/>
                  <a:gd name="connsiteY23" fmla="*/ 699393 h 2510087"/>
                  <a:gd name="connsiteX24" fmla="*/ 12045155 w 12045155"/>
                  <a:gd name="connsiteY24" fmla="*/ 261011 h 2510087"/>
                  <a:gd name="connsiteX25" fmla="*/ 11438839 w 12045155"/>
                  <a:gd name="connsiteY25" fmla="*/ 435586 h 2510087"/>
                  <a:gd name="connsiteX26" fmla="*/ 11059114 w 12045155"/>
                  <a:gd name="connsiteY26" fmla="*/ 1047471 h 2510087"/>
                  <a:gd name="connsiteX27" fmla="*/ 10602369 w 12045155"/>
                  <a:gd name="connsiteY27" fmla="*/ 1661632 h 2510087"/>
                  <a:gd name="connsiteX28" fmla="*/ 10034574 w 12045155"/>
                  <a:gd name="connsiteY28" fmla="*/ 1618415 h 2510087"/>
                  <a:gd name="connsiteX29" fmla="*/ 9527677 w 12045155"/>
                  <a:gd name="connsiteY29" fmla="*/ 1058846 h 2510087"/>
                  <a:gd name="connsiteX30" fmla="*/ 9053022 w 12045155"/>
                  <a:gd name="connsiteY30" fmla="*/ 581165 h 2510087"/>
                  <a:gd name="connsiteX31" fmla="*/ 8450223 w 12045155"/>
                  <a:gd name="connsiteY31" fmla="*/ 156695 h 2510087"/>
                  <a:gd name="connsiteX32" fmla="*/ 7635927 w 12045155"/>
                  <a:gd name="connsiteY32" fmla="*/ 105714 h 2510087"/>
                  <a:gd name="connsiteX33" fmla="*/ 7049636 w 12045155"/>
                  <a:gd name="connsiteY33" fmla="*/ 199189 h 2510087"/>
                  <a:gd name="connsiteX34" fmla="*/ 6342549 w 12045155"/>
                  <a:gd name="connsiteY34" fmla="*/ 146630 h 2510087"/>
                  <a:gd name="connsiteX35" fmla="*/ 5902209 w 12045155"/>
                  <a:gd name="connsiteY35" fmla="*/ 249658 h 2510087"/>
                  <a:gd name="connsiteX36" fmla="*/ 5182195 w 12045155"/>
                  <a:gd name="connsiteY36" fmla="*/ 292664 h 2510087"/>
                  <a:gd name="connsiteX37" fmla="*/ 3822487 w 12045155"/>
                  <a:gd name="connsiteY37" fmla="*/ 90799 h 2510087"/>
                  <a:gd name="connsiteX38" fmla="*/ 2370177 w 12045155"/>
                  <a:gd name="connsiteY38" fmla="*/ 156695 h 2510087"/>
                  <a:gd name="connsiteX39" fmla="*/ 578745 w 12045155"/>
                  <a:gd name="connsiteY39" fmla="*/ 148189 h 2510087"/>
                  <a:gd name="connsiteX40" fmla="*/ 38923 w 12045155"/>
                  <a:gd name="connsiteY40" fmla="*/ 157240 h 2510087"/>
                  <a:gd name="connsiteX0" fmla="*/ 38923 w 12045155"/>
                  <a:gd name="connsiteY0" fmla="*/ 157240 h 2510087"/>
                  <a:gd name="connsiteX1" fmla="*/ 4765 w 12045155"/>
                  <a:gd name="connsiteY1" fmla="*/ 229969 h 2510087"/>
                  <a:gd name="connsiteX2" fmla="*/ 8249783 w 12045155"/>
                  <a:gd name="connsiteY2" fmla="*/ 507371 h 2510087"/>
                  <a:gd name="connsiteX3" fmla="*/ 31647 w 12045155"/>
                  <a:gd name="connsiteY3" fmla="*/ 700450 h 2510087"/>
                  <a:gd name="connsiteX4" fmla="*/ 43864 w 12045155"/>
                  <a:gd name="connsiteY4" fmla="*/ 777266 h 2510087"/>
                  <a:gd name="connsiteX5" fmla="*/ 80207 w 12045155"/>
                  <a:gd name="connsiteY5" fmla="*/ 937416 h 2510087"/>
                  <a:gd name="connsiteX6" fmla="*/ 937008 w 12045155"/>
                  <a:gd name="connsiteY6" fmla="*/ 844973 h 2510087"/>
                  <a:gd name="connsiteX7" fmla="*/ 1631867 w 12045155"/>
                  <a:gd name="connsiteY7" fmla="*/ 878961 h 2510087"/>
                  <a:gd name="connsiteX8" fmla="*/ 2087877 w 12045155"/>
                  <a:gd name="connsiteY8" fmla="*/ 819473 h 2510087"/>
                  <a:gd name="connsiteX9" fmla="*/ 2565599 w 12045155"/>
                  <a:gd name="connsiteY9" fmla="*/ 819473 h 2510087"/>
                  <a:gd name="connsiteX10" fmla="*/ 3336468 w 12045155"/>
                  <a:gd name="connsiteY10" fmla="*/ 861967 h 2510087"/>
                  <a:gd name="connsiteX11" fmla="*/ 4215904 w 12045155"/>
                  <a:gd name="connsiteY11" fmla="*/ 844973 h 2510087"/>
                  <a:gd name="connsiteX12" fmla="*/ 4845622 w 12045155"/>
                  <a:gd name="connsiteY12" fmla="*/ 853479 h 2510087"/>
                  <a:gd name="connsiteX13" fmla="*/ 5681632 w 12045155"/>
                  <a:gd name="connsiteY13" fmla="*/ 853479 h 2510087"/>
                  <a:gd name="connsiteX14" fmla="*/ 6745645 w 12045155"/>
                  <a:gd name="connsiteY14" fmla="*/ 878979 h 2510087"/>
                  <a:gd name="connsiteX15" fmla="*/ 7494800 w 12045155"/>
                  <a:gd name="connsiteY15" fmla="*/ 870473 h 2510087"/>
                  <a:gd name="connsiteX16" fmla="*/ 8026795 w 12045155"/>
                  <a:gd name="connsiteY16" fmla="*/ 861967 h 2510087"/>
                  <a:gd name="connsiteX17" fmla="*/ 8647812 w 12045155"/>
                  <a:gd name="connsiteY17" fmla="*/ 1264715 h 2510087"/>
                  <a:gd name="connsiteX18" fmla="*/ 9217808 w 12045155"/>
                  <a:gd name="connsiteY18" fmla="*/ 2091547 h 2510087"/>
                  <a:gd name="connsiteX19" fmla="*/ 10149208 w 12045155"/>
                  <a:gd name="connsiteY19" fmla="*/ 2510086 h 2510087"/>
                  <a:gd name="connsiteX20" fmla="*/ 11195242 w 12045155"/>
                  <a:gd name="connsiteY20" fmla="*/ 2091549 h 2510087"/>
                  <a:gd name="connsiteX21" fmla="*/ 11486173 w 12045155"/>
                  <a:gd name="connsiteY21" fmla="*/ 1445814 h 2510087"/>
                  <a:gd name="connsiteX22" fmla="*/ 11797069 w 12045155"/>
                  <a:gd name="connsiteY22" fmla="*/ 999707 h 2510087"/>
                  <a:gd name="connsiteX23" fmla="*/ 12045155 w 12045155"/>
                  <a:gd name="connsiteY23" fmla="*/ 699393 h 2510087"/>
                  <a:gd name="connsiteX24" fmla="*/ 12045155 w 12045155"/>
                  <a:gd name="connsiteY24" fmla="*/ 261011 h 2510087"/>
                  <a:gd name="connsiteX25" fmla="*/ 11438839 w 12045155"/>
                  <a:gd name="connsiteY25" fmla="*/ 435586 h 2510087"/>
                  <a:gd name="connsiteX26" fmla="*/ 11059114 w 12045155"/>
                  <a:gd name="connsiteY26" fmla="*/ 1047471 h 2510087"/>
                  <a:gd name="connsiteX27" fmla="*/ 10602369 w 12045155"/>
                  <a:gd name="connsiteY27" fmla="*/ 1661632 h 2510087"/>
                  <a:gd name="connsiteX28" fmla="*/ 10034574 w 12045155"/>
                  <a:gd name="connsiteY28" fmla="*/ 1618415 h 2510087"/>
                  <a:gd name="connsiteX29" fmla="*/ 9527677 w 12045155"/>
                  <a:gd name="connsiteY29" fmla="*/ 1058846 h 2510087"/>
                  <a:gd name="connsiteX30" fmla="*/ 9053022 w 12045155"/>
                  <a:gd name="connsiteY30" fmla="*/ 581165 h 2510087"/>
                  <a:gd name="connsiteX31" fmla="*/ 8450223 w 12045155"/>
                  <a:gd name="connsiteY31" fmla="*/ 156695 h 2510087"/>
                  <a:gd name="connsiteX32" fmla="*/ 7635927 w 12045155"/>
                  <a:gd name="connsiteY32" fmla="*/ 105714 h 2510087"/>
                  <a:gd name="connsiteX33" fmla="*/ 7049636 w 12045155"/>
                  <a:gd name="connsiteY33" fmla="*/ 199189 h 2510087"/>
                  <a:gd name="connsiteX34" fmla="*/ 6342549 w 12045155"/>
                  <a:gd name="connsiteY34" fmla="*/ 146630 h 2510087"/>
                  <a:gd name="connsiteX35" fmla="*/ 5902209 w 12045155"/>
                  <a:gd name="connsiteY35" fmla="*/ 249658 h 2510087"/>
                  <a:gd name="connsiteX36" fmla="*/ 5182195 w 12045155"/>
                  <a:gd name="connsiteY36" fmla="*/ 292664 h 2510087"/>
                  <a:gd name="connsiteX37" fmla="*/ 3822487 w 12045155"/>
                  <a:gd name="connsiteY37" fmla="*/ 90799 h 2510087"/>
                  <a:gd name="connsiteX38" fmla="*/ 2370177 w 12045155"/>
                  <a:gd name="connsiteY38" fmla="*/ 156695 h 2510087"/>
                  <a:gd name="connsiteX39" fmla="*/ 578745 w 12045155"/>
                  <a:gd name="connsiteY39" fmla="*/ 148189 h 2510087"/>
                  <a:gd name="connsiteX40" fmla="*/ 38923 w 12045155"/>
                  <a:gd name="connsiteY40" fmla="*/ 157240 h 2510087"/>
                  <a:gd name="connsiteX0" fmla="*/ 379789 w 12386021"/>
                  <a:gd name="connsiteY0" fmla="*/ 157240 h 2510087"/>
                  <a:gd name="connsiteX1" fmla="*/ 345631 w 12386021"/>
                  <a:gd name="connsiteY1" fmla="*/ 229969 h 2510087"/>
                  <a:gd name="connsiteX2" fmla="*/ 8590649 w 12386021"/>
                  <a:gd name="connsiteY2" fmla="*/ 507371 h 2510087"/>
                  <a:gd name="connsiteX3" fmla="*/ 372513 w 12386021"/>
                  <a:gd name="connsiteY3" fmla="*/ 700450 h 2510087"/>
                  <a:gd name="connsiteX4" fmla="*/ 8652699 w 12386021"/>
                  <a:gd name="connsiteY4" fmla="*/ 777261 h 2510087"/>
                  <a:gd name="connsiteX5" fmla="*/ 421073 w 12386021"/>
                  <a:gd name="connsiteY5" fmla="*/ 937416 h 2510087"/>
                  <a:gd name="connsiteX6" fmla="*/ 1277874 w 12386021"/>
                  <a:gd name="connsiteY6" fmla="*/ 844973 h 2510087"/>
                  <a:gd name="connsiteX7" fmla="*/ 1972733 w 12386021"/>
                  <a:gd name="connsiteY7" fmla="*/ 878961 h 2510087"/>
                  <a:gd name="connsiteX8" fmla="*/ 2428743 w 12386021"/>
                  <a:gd name="connsiteY8" fmla="*/ 819473 h 2510087"/>
                  <a:gd name="connsiteX9" fmla="*/ 2906465 w 12386021"/>
                  <a:gd name="connsiteY9" fmla="*/ 819473 h 2510087"/>
                  <a:gd name="connsiteX10" fmla="*/ 3677334 w 12386021"/>
                  <a:gd name="connsiteY10" fmla="*/ 861967 h 2510087"/>
                  <a:gd name="connsiteX11" fmla="*/ 4556770 w 12386021"/>
                  <a:gd name="connsiteY11" fmla="*/ 844973 h 2510087"/>
                  <a:gd name="connsiteX12" fmla="*/ 5186488 w 12386021"/>
                  <a:gd name="connsiteY12" fmla="*/ 853479 h 2510087"/>
                  <a:gd name="connsiteX13" fmla="*/ 6022498 w 12386021"/>
                  <a:gd name="connsiteY13" fmla="*/ 853479 h 2510087"/>
                  <a:gd name="connsiteX14" fmla="*/ 7086511 w 12386021"/>
                  <a:gd name="connsiteY14" fmla="*/ 878979 h 2510087"/>
                  <a:gd name="connsiteX15" fmla="*/ 7835666 w 12386021"/>
                  <a:gd name="connsiteY15" fmla="*/ 870473 h 2510087"/>
                  <a:gd name="connsiteX16" fmla="*/ 8367661 w 12386021"/>
                  <a:gd name="connsiteY16" fmla="*/ 861967 h 2510087"/>
                  <a:gd name="connsiteX17" fmla="*/ 8988678 w 12386021"/>
                  <a:gd name="connsiteY17" fmla="*/ 1264715 h 2510087"/>
                  <a:gd name="connsiteX18" fmla="*/ 9558674 w 12386021"/>
                  <a:gd name="connsiteY18" fmla="*/ 2091547 h 2510087"/>
                  <a:gd name="connsiteX19" fmla="*/ 10490074 w 12386021"/>
                  <a:gd name="connsiteY19" fmla="*/ 2510086 h 2510087"/>
                  <a:gd name="connsiteX20" fmla="*/ 11536108 w 12386021"/>
                  <a:gd name="connsiteY20" fmla="*/ 2091549 h 2510087"/>
                  <a:gd name="connsiteX21" fmla="*/ 11827039 w 12386021"/>
                  <a:gd name="connsiteY21" fmla="*/ 1445814 h 2510087"/>
                  <a:gd name="connsiteX22" fmla="*/ 12137935 w 12386021"/>
                  <a:gd name="connsiteY22" fmla="*/ 999707 h 2510087"/>
                  <a:gd name="connsiteX23" fmla="*/ 12386021 w 12386021"/>
                  <a:gd name="connsiteY23" fmla="*/ 699393 h 2510087"/>
                  <a:gd name="connsiteX24" fmla="*/ 12386021 w 12386021"/>
                  <a:gd name="connsiteY24" fmla="*/ 261011 h 2510087"/>
                  <a:gd name="connsiteX25" fmla="*/ 11779705 w 12386021"/>
                  <a:gd name="connsiteY25" fmla="*/ 435586 h 2510087"/>
                  <a:gd name="connsiteX26" fmla="*/ 11399980 w 12386021"/>
                  <a:gd name="connsiteY26" fmla="*/ 1047471 h 2510087"/>
                  <a:gd name="connsiteX27" fmla="*/ 10943235 w 12386021"/>
                  <a:gd name="connsiteY27" fmla="*/ 1661632 h 2510087"/>
                  <a:gd name="connsiteX28" fmla="*/ 10375440 w 12386021"/>
                  <a:gd name="connsiteY28" fmla="*/ 1618415 h 2510087"/>
                  <a:gd name="connsiteX29" fmla="*/ 9868543 w 12386021"/>
                  <a:gd name="connsiteY29" fmla="*/ 1058846 h 2510087"/>
                  <a:gd name="connsiteX30" fmla="*/ 9393888 w 12386021"/>
                  <a:gd name="connsiteY30" fmla="*/ 581165 h 2510087"/>
                  <a:gd name="connsiteX31" fmla="*/ 8791089 w 12386021"/>
                  <a:gd name="connsiteY31" fmla="*/ 156695 h 2510087"/>
                  <a:gd name="connsiteX32" fmla="*/ 7976793 w 12386021"/>
                  <a:gd name="connsiteY32" fmla="*/ 105714 h 2510087"/>
                  <a:gd name="connsiteX33" fmla="*/ 7390502 w 12386021"/>
                  <a:gd name="connsiteY33" fmla="*/ 199189 h 2510087"/>
                  <a:gd name="connsiteX34" fmla="*/ 6683415 w 12386021"/>
                  <a:gd name="connsiteY34" fmla="*/ 146630 h 2510087"/>
                  <a:gd name="connsiteX35" fmla="*/ 6243075 w 12386021"/>
                  <a:gd name="connsiteY35" fmla="*/ 249658 h 2510087"/>
                  <a:gd name="connsiteX36" fmla="*/ 5523061 w 12386021"/>
                  <a:gd name="connsiteY36" fmla="*/ 292664 h 2510087"/>
                  <a:gd name="connsiteX37" fmla="*/ 4163353 w 12386021"/>
                  <a:gd name="connsiteY37" fmla="*/ 90799 h 2510087"/>
                  <a:gd name="connsiteX38" fmla="*/ 2711043 w 12386021"/>
                  <a:gd name="connsiteY38" fmla="*/ 156695 h 2510087"/>
                  <a:gd name="connsiteX39" fmla="*/ 919611 w 12386021"/>
                  <a:gd name="connsiteY39" fmla="*/ 148189 h 2510087"/>
                  <a:gd name="connsiteX40" fmla="*/ 379789 w 12386021"/>
                  <a:gd name="connsiteY40" fmla="*/ 157240 h 2510087"/>
                  <a:gd name="connsiteX0" fmla="*/ 379791 w 12386023"/>
                  <a:gd name="connsiteY0" fmla="*/ 157240 h 2510087"/>
                  <a:gd name="connsiteX1" fmla="*/ 345633 w 12386023"/>
                  <a:gd name="connsiteY1" fmla="*/ 229969 h 2510087"/>
                  <a:gd name="connsiteX2" fmla="*/ 8590651 w 12386023"/>
                  <a:gd name="connsiteY2" fmla="*/ 507371 h 2510087"/>
                  <a:gd name="connsiteX3" fmla="*/ 8697801 w 12386023"/>
                  <a:gd name="connsiteY3" fmla="*/ 591261 h 2510087"/>
                  <a:gd name="connsiteX4" fmla="*/ 8652701 w 12386023"/>
                  <a:gd name="connsiteY4" fmla="*/ 777261 h 2510087"/>
                  <a:gd name="connsiteX5" fmla="*/ 421075 w 12386023"/>
                  <a:gd name="connsiteY5" fmla="*/ 937416 h 2510087"/>
                  <a:gd name="connsiteX6" fmla="*/ 1277876 w 12386023"/>
                  <a:gd name="connsiteY6" fmla="*/ 844973 h 2510087"/>
                  <a:gd name="connsiteX7" fmla="*/ 1972735 w 12386023"/>
                  <a:gd name="connsiteY7" fmla="*/ 878961 h 2510087"/>
                  <a:gd name="connsiteX8" fmla="*/ 2428745 w 12386023"/>
                  <a:gd name="connsiteY8" fmla="*/ 819473 h 2510087"/>
                  <a:gd name="connsiteX9" fmla="*/ 2906467 w 12386023"/>
                  <a:gd name="connsiteY9" fmla="*/ 819473 h 2510087"/>
                  <a:gd name="connsiteX10" fmla="*/ 3677336 w 12386023"/>
                  <a:gd name="connsiteY10" fmla="*/ 861967 h 2510087"/>
                  <a:gd name="connsiteX11" fmla="*/ 4556772 w 12386023"/>
                  <a:gd name="connsiteY11" fmla="*/ 844973 h 2510087"/>
                  <a:gd name="connsiteX12" fmla="*/ 5186490 w 12386023"/>
                  <a:gd name="connsiteY12" fmla="*/ 853479 h 2510087"/>
                  <a:gd name="connsiteX13" fmla="*/ 6022500 w 12386023"/>
                  <a:gd name="connsiteY13" fmla="*/ 853479 h 2510087"/>
                  <a:gd name="connsiteX14" fmla="*/ 7086513 w 12386023"/>
                  <a:gd name="connsiteY14" fmla="*/ 878979 h 2510087"/>
                  <a:gd name="connsiteX15" fmla="*/ 7835668 w 12386023"/>
                  <a:gd name="connsiteY15" fmla="*/ 870473 h 2510087"/>
                  <a:gd name="connsiteX16" fmla="*/ 8367663 w 12386023"/>
                  <a:gd name="connsiteY16" fmla="*/ 861967 h 2510087"/>
                  <a:gd name="connsiteX17" fmla="*/ 8988680 w 12386023"/>
                  <a:gd name="connsiteY17" fmla="*/ 1264715 h 2510087"/>
                  <a:gd name="connsiteX18" fmla="*/ 9558676 w 12386023"/>
                  <a:gd name="connsiteY18" fmla="*/ 2091547 h 2510087"/>
                  <a:gd name="connsiteX19" fmla="*/ 10490076 w 12386023"/>
                  <a:gd name="connsiteY19" fmla="*/ 2510086 h 2510087"/>
                  <a:gd name="connsiteX20" fmla="*/ 11536110 w 12386023"/>
                  <a:gd name="connsiteY20" fmla="*/ 2091549 h 2510087"/>
                  <a:gd name="connsiteX21" fmla="*/ 11827041 w 12386023"/>
                  <a:gd name="connsiteY21" fmla="*/ 1445814 h 2510087"/>
                  <a:gd name="connsiteX22" fmla="*/ 12137937 w 12386023"/>
                  <a:gd name="connsiteY22" fmla="*/ 999707 h 2510087"/>
                  <a:gd name="connsiteX23" fmla="*/ 12386023 w 12386023"/>
                  <a:gd name="connsiteY23" fmla="*/ 699393 h 2510087"/>
                  <a:gd name="connsiteX24" fmla="*/ 12386023 w 12386023"/>
                  <a:gd name="connsiteY24" fmla="*/ 261011 h 2510087"/>
                  <a:gd name="connsiteX25" fmla="*/ 11779707 w 12386023"/>
                  <a:gd name="connsiteY25" fmla="*/ 435586 h 2510087"/>
                  <a:gd name="connsiteX26" fmla="*/ 11399982 w 12386023"/>
                  <a:gd name="connsiteY26" fmla="*/ 1047471 h 2510087"/>
                  <a:gd name="connsiteX27" fmla="*/ 10943237 w 12386023"/>
                  <a:gd name="connsiteY27" fmla="*/ 1661632 h 2510087"/>
                  <a:gd name="connsiteX28" fmla="*/ 10375442 w 12386023"/>
                  <a:gd name="connsiteY28" fmla="*/ 1618415 h 2510087"/>
                  <a:gd name="connsiteX29" fmla="*/ 9868545 w 12386023"/>
                  <a:gd name="connsiteY29" fmla="*/ 1058846 h 2510087"/>
                  <a:gd name="connsiteX30" fmla="*/ 9393890 w 12386023"/>
                  <a:gd name="connsiteY30" fmla="*/ 581165 h 2510087"/>
                  <a:gd name="connsiteX31" fmla="*/ 8791091 w 12386023"/>
                  <a:gd name="connsiteY31" fmla="*/ 156695 h 2510087"/>
                  <a:gd name="connsiteX32" fmla="*/ 7976795 w 12386023"/>
                  <a:gd name="connsiteY32" fmla="*/ 105714 h 2510087"/>
                  <a:gd name="connsiteX33" fmla="*/ 7390504 w 12386023"/>
                  <a:gd name="connsiteY33" fmla="*/ 199189 h 2510087"/>
                  <a:gd name="connsiteX34" fmla="*/ 6683417 w 12386023"/>
                  <a:gd name="connsiteY34" fmla="*/ 146630 h 2510087"/>
                  <a:gd name="connsiteX35" fmla="*/ 6243077 w 12386023"/>
                  <a:gd name="connsiteY35" fmla="*/ 249658 h 2510087"/>
                  <a:gd name="connsiteX36" fmla="*/ 5523063 w 12386023"/>
                  <a:gd name="connsiteY36" fmla="*/ 292664 h 2510087"/>
                  <a:gd name="connsiteX37" fmla="*/ 4163355 w 12386023"/>
                  <a:gd name="connsiteY37" fmla="*/ 90799 h 2510087"/>
                  <a:gd name="connsiteX38" fmla="*/ 2711045 w 12386023"/>
                  <a:gd name="connsiteY38" fmla="*/ 156695 h 2510087"/>
                  <a:gd name="connsiteX39" fmla="*/ 919613 w 12386023"/>
                  <a:gd name="connsiteY39" fmla="*/ 148189 h 2510087"/>
                  <a:gd name="connsiteX40" fmla="*/ 379791 w 12386023"/>
                  <a:gd name="connsiteY40" fmla="*/ 157240 h 2510087"/>
                  <a:gd name="connsiteX0" fmla="*/ 379791 w 12386023"/>
                  <a:gd name="connsiteY0" fmla="*/ 157240 h 2510087"/>
                  <a:gd name="connsiteX1" fmla="*/ 345633 w 12386023"/>
                  <a:gd name="connsiteY1" fmla="*/ 229969 h 2510087"/>
                  <a:gd name="connsiteX2" fmla="*/ 8676628 w 12386023"/>
                  <a:gd name="connsiteY2" fmla="*/ 434581 h 2510087"/>
                  <a:gd name="connsiteX3" fmla="*/ 8697801 w 12386023"/>
                  <a:gd name="connsiteY3" fmla="*/ 591261 h 2510087"/>
                  <a:gd name="connsiteX4" fmla="*/ 8652701 w 12386023"/>
                  <a:gd name="connsiteY4" fmla="*/ 777261 h 2510087"/>
                  <a:gd name="connsiteX5" fmla="*/ 421075 w 12386023"/>
                  <a:gd name="connsiteY5" fmla="*/ 937416 h 2510087"/>
                  <a:gd name="connsiteX6" fmla="*/ 1277876 w 12386023"/>
                  <a:gd name="connsiteY6" fmla="*/ 844973 h 2510087"/>
                  <a:gd name="connsiteX7" fmla="*/ 1972735 w 12386023"/>
                  <a:gd name="connsiteY7" fmla="*/ 878961 h 2510087"/>
                  <a:gd name="connsiteX8" fmla="*/ 2428745 w 12386023"/>
                  <a:gd name="connsiteY8" fmla="*/ 819473 h 2510087"/>
                  <a:gd name="connsiteX9" fmla="*/ 2906467 w 12386023"/>
                  <a:gd name="connsiteY9" fmla="*/ 819473 h 2510087"/>
                  <a:gd name="connsiteX10" fmla="*/ 3677336 w 12386023"/>
                  <a:gd name="connsiteY10" fmla="*/ 861967 h 2510087"/>
                  <a:gd name="connsiteX11" fmla="*/ 4556772 w 12386023"/>
                  <a:gd name="connsiteY11" fmla="*/ 844973 h 2510087"/>
                  <a:gd name="connsiteX12" fmla="*/ 5186490 w 12386023"/>
                  <a:gd name="connsiteY12" fmla="*/ 853479 h 2510087"/>
                  <a:gd name="connsiteX13" fmla="*/ 6022500 w 12386023"/>
                  <a:gd name="connsiteY13" fmla="*/ 853479 h 2510087"/>
                  <a:gd name="connsiteX14" fmla="*/ 7086513 w 12386023"/>
                  <a:gd name="connsiteY14" fmla="*/ 878979 h 2510087"/>
                  <a:gd name="connsiteX15" fmla="*/ 7835668 w 12386023"/>
                  <a:gd name="connsiteY15" fmla="*/ 870473 h 2510087"/>
                  <a:gd name="connsiteX16" fmla="*/ 8367663 w 12386023"/>
                  <a:gd name="connsiteY16" fmla="*/ 861967 h 2510087"/>
                  <a:gd name="connsiteX17" fmla="*/ 8988680 w 12386023"/>
                  <a:gd name="connsiteY17" fmla="*/ 1264715 h 2510087"/>
                  <a:gd name="connsiteX18" fmla="*/ 9558676 w 12386023"/>
                  <a:gd name="connsiteY18" fmla="*/ 2091547 h 2510087"/>
                  <a:gd name="connsiteX19" fmla="*/ 10490076 w 12386023"/>
                  <a:gd name="connsiteY19" fmla="*/ 2510086 h 2510087"/>
                  <a:gd name="connsiteX20" fmla="*/ 11536110 w 12386023"/>
                  <a:gd name="connsiteY20" fmla="*/ 2091549 h 2510087"/>
                  <a:gd name="connsiteX21" fmla="*/ 11827041 w 12386023"/>
                  <a:gd name="connsiteY21" fmla="*/ 1445814 h 2510087"/>
                  <a:gd name="connsiteX22" fmla="*/ 12137937 w 12386023"/>
                  <a:gd name="connsiteY22" fmla="*/ 999707 h 2510087"/>
                  <a:gd name="connsiteX23" fmla="*/ 12386023 w 12386023"/>
                  <a:gd name="connsiteY23" fmla="*/ 699393 h 2510087"/>
                  <a:gd name="connsiteX24" fmla="*/ 12386023 w 12386023"/>
                  <a:gd name="connsiteY24" fmla="*/ 261011 h 2510087"/>
                  <a:gd name="connsiteX25" fmla="*/ 11779707 w 12386023"/>
                  <a:gd name="connsiteY25" fmla="*/ 435586 h 2510087"/>
                  <a:gd name="connsiteX26" fmla="*/ 11399982 w 12386023"/>
                  <a:gd name="connsiteY26" fmla="*/ 1047471 h 2510087"/>
                  <a:gd name="connsiteX27" fmla="*/ 10943237 w 12386023"/>
                  <a:gd name="connsiteY27" fmla="*/ 1661632 h 2510087"/>
                  <a:gd name="connsiteX28" fmla="*/ 10375442 w 12386023"/>
                  <a:gd name="connsiteY28" fmla="*/ 1618415 h 2510087"/>
                  <a:gd name="connsiteX29" fmla="*/ 9868545 w 12386023"/>
                  <a:gd name="connsiteY29" fmla="*/ 1058846 h 2510087"/>
                  <a:gd name="connsiteX30" fmla="*/ 9393890 w 12386023"/>
                  <a:gd name="connsiteY30" fmla="*/ 581165 h 2510087"/>
                  <a:gd name="connsiteX31" fmla="*/ 8791091 w 12386023"/>
                  <a:gd name="connsiteY31" fmla="*/ 156695 h 2510087"/>
                  <a:gd name="connsiteX32" fmla="*/ 7976795 w 12386023"/>
                  <a:gd name="connsiteY32" fmla="*/ 105714 h 2510087"/>
                  <a:gd name="connsiteX33" fmla="*/ 7390504 w 12386023"/>
                  <a:gd name="connsiteY33" fmla="*/ 199189 h 2510087"/>
                  <a:gd name="connsiteX34" fmla="*/ 6683417 w 12386023"/>
                  <a:gd name="connsiteY34" fmla="*/ 146630 h 2510087"/>
                  <a:gd name="connsiteX35" fmla="*/ 6243077 w 12386023"/>
                  <a:gd name="connsiteY35" fmla="*/ 249658 h 2510087"/>
                  <a:gd name="connsiteX36" fmla="*/ 5523063 w 12386023"/>
                  <a:gd name="connsiteY36" fmla="*/ 292664 h 2510087"/>
                  <a:gd name="connsiteX37" fmla="*/ 4163355 w 12386023"/>
                  <a:gd name="connsiteY37" fmla="*/ 90799 h 2510087"/>
                  <a:gd name="connsiteX38" fmla="*/ 2711045 w 12386023"/>
                  <a:gd name="connsiteY38" fmla="*/ 156695 h 2510087"/>
                  <a:gd name="connsiteX39" fmla="*/ 919613 w 12386023"/>
                  <a:gd name="connsiteY39" fmla="*/ 148189 h 2510087"/>
                  <a:gd name="connsiteX40" fmla="*/ 379791 w 12386023"/>
                  <a:gd name="connsiteY40" fmla="*/ 157240 h 2510087"/>
                  <a:gd name="connsiteX0" fmla="*/ 8705072 w 12386023"/>
                  <a:gd name="connsiteY0" fmla="*/ 284622 h 2510087"/>
                  <a:gd name="connsiteX1" fmla="*/ 345633 w 12386023"/>
                  <a:gd name="connsiteY1" fmla="*/ 229969 h 2510087"/>
                  <a:gd name="connsiteX2" fmla="*/ 8676628 w 12386023"/>
                  <a:gd name="connsiteY2" fmla="*/ 434581 h 2510087"/>
                  <a:gd name="connsiteX3" fmla="*/ 8697801 w 12386023"/>
                  <a:gd name="connsiteY3" fmla="*/ 591261 h 2510087"/>
                  <a:gd name="connsiteX4" fmla="*/ 8652701 w 12386023"/>
                  <a:gd name="connsiteY4" fmla="*/ 777261 h 2510087"/>
                  <a:gd name="connsiteX5" fmla="*/ 421075 w 12386023"/>
                  <a:gd name="connsiteY5" fmla="*/ 937416 h 2510087"/>
                  <a:gd name="connsiteX6" fmla="*/ 1277876 w 12386023"/>
                  <a:gd name="connsiteY6" fmla="*/ 844973 h 2510087"/>
                  <a:gd name="connsiteX7" fmla="*/ 1972735 w 12386023"/>
                  <a:gd name="connsiteY7" fmla="*/ 878961 h 2510087"/>
                  <a:gd name="connsiteX8" fmla="*/ 2428745 w 12386023"/>
                  <a:gd name="connsiteY8" fmla="*/ 819473 h 2510087"/>
                  <a:gd name="connsiteX9" fmla="*/ 2906467 w 12386023"/>
                  <a:gd name="connsiteY9" fmla="*/ 819473 h 2510087"/>
                  <a:gd name="connsiteX10" fmla="*/ 3677336 w 12386023"/>
                  <a:gd name="connsiteY10" fmla="*/ 861967 h 2510087"/>
                  <a:gd name="connsiteX11" fmla="*/ 4556772 w 12386023"/>
                  <a:gd name="connsiteY11" fmla="*/ 844973 h 2510087"/>
                  <a:gd name="connsiteX12" fmla="*/ 5186490 w 12386023"/>
                  <a:gd name="connsiteY12" fmla="*/ 853479 h 2510087"/>
                  <a:gd name="connsiteX13" fmla="*/ 6022500 w 12386023"/>
                  <a:gd name="connsiteY13" fmla="*/ 853479 h 2510087"/>
                  <a:gd name="connsiteX14" fmla="*/ 7086513 w 12386023"/>
                  <a:gd name="connsiteY14" fmla="*/ 878979 h 2510087"/>
                  <a:gd name="connsiteX15" fmla="*/ 7835668 w 12386023"/>
                  <a:gd name="connsiteY15" fmla="*/ 870473 h 2510087"/>
                  <a:gd name="connsiteX16" fmla="*/ 8367663 w 12386023"/>
                  <a:gd name="connsiteY16" fmla="*/ 861967 h 2510087"/>
                  <a:gd name="connsiteX17" fmla="*/ 8988680 w 12386023"/>
                  <a:gd name="connsiteY17" fmla="*/ 1264715 h 2510087"/>
                  <a:gd name="connsiteX18" fmla="*/ 9558676 w 12386023"/>
                  <a:gd name="connsiteY18" fmla="*/ 2091547 h 2510087"/>
                  <a:gd name="connsiteX19" fmla="*/ 10490076 w 12386023"/>
                  <a:gd name="connsiteY19" fmla="*/ 2510086 h 2510087"/>
                  <a:gd name="connsiteX20" fmla="*/ 11536110 w 12386023"/>
                  <a:gd name="connsiteY20" fmla="*/ 2091549 h 2510087"/>
                  <a:gd name="connsiteX21" fmla="*/ 11827041 w 12386023"/>
                  <a:gd name="connsiteY21" fmla="*/ 1445814 h 2510087"/>
                  <a:gd name="connsiteX22" fmla="*/ 12137937 w 12386023"/>
                  <a:gd name="connsiteY22" fmla="*/ 999707 h 2510087"/>
                  <a:gd name="connsiteX23" fmla="*/ 12386023 w 12386023"/>
                  <a:gd name="connsiteY23" fmla="*/ 699393 h 2510087"/>
                  <a:gd name="connsiteX24" fmla="*/ 12386023 w 12386023"/>
                  <a:gd name="connsiteY24" fmla="*/ 261011 h 2510087"/>
                  <a:gd name="connsiteX25" fmla="*/ 11779707 w 12386023"/>
                  <a:gd name="connsiteY25" fmla="*/ 435586 h 2510087"/>
                  <a:gd name="connsiteX26" fmla="*/ 11399982 w 12386023"/>
                  <a:gd name="connsiteY26" fmla="*/ 1047471 h 2510087"/>
                  <a:gd name="connsiteX27" fmla="*/ 10943237 w 12386023"/>
                  <a:gd name="connsiteY27" fmla="*/ 1661632 h 2510087"/>
                  <a:gd name="connsiteX28" fmla="*/ 10375442 w 12386023"/>
                  <a:gd name="connsiteY28" fmla="*/ 1618415 h 2510087"/>
                  <a:gd name="connsiteX29" fmla="*/ 9868545 w 12386023"/>
                  <a:gd name="connsiteY29" fmla="*/ 1058846 h 2510087"/>
                  <a:gd name="connsiteX30" fmla="*/ 9393890 w 12386023"/>
                  <a:gd name="connsiteY30" fmla="*/ 581165 h 2510087"/>
                  <a:gd name="connsiteX31" fmla="*/ 8791091 w 12386023"/>
                  <a:gd name="connsiteY31" fmla="*/ 156695 h 2510087"/>
                  <a:gd name="connsiteX32" fmla="*/ 7976795 w 12386023"/>
                  <a:gd name="connsiteY32" fmla="*/ 105714 h 2510087"/>
                  <a:gd name="connsiteX33" fmla="*/ 7390504 w 12386023"/>
                  <a:gd name="connsiteY33" fmla="*/ 199189 h 2510087"/>
                  <a:gd name="connsiteX34" fmla="*/ 6683417 w 12386023"/>
                  <a:gd name="connsiteY34" fmla="*/ 146630 h 2510087"/>
                  <a:gd name="connsiteX35" fmla="*/ 6243077 w 12386023"/>
                  <a:gd name="connsiteY35" fmla="*/ 249658 h 2510087"/>
                  <a:gd name="connsiteX36" fmla="*/ 5523063 w 12386023"/>
                  <a:gd name="connsiteY36" fmla="*/ 292664 h 2510087"/>
                  <a:gd name="connsiteX37" fmla="*/ 4163355 w 12386023"/>
                  <a:gd name="connsiteY37" fmla="*/ 90799 h 2510087"/>
                  <a:gd name="connsiteX38" fmla="*/ 2711045 w 12386023"/>
                  <a:gd name="connsiteY38" fmla="*/ 156695 h 2510087"/>
                  <a:gd name="connsiteX39" fmla="*/ 919613 w 12386023"/>
                  <a:gd name="connsiteY39" fmla="*/ 148189 h 2510087"/>
                  <a:gd name="connsiteX40" fmla="*/ 8705072 w 12386023"/>
                  <a:gd name="connsiteY40" fmla="*/ 284622 h 2510087"/>
                  <a:gd name="connsiteX0" fmla="*/ 8705072 w 12386023"/>
                  <a:gd name="connsiteY0" fmla="*/ 284622 h 2510087"/>
                  <a:gd name="connsiteX1" fmla="*/ 8742561 w 12386023"/>
                  <a:gd name="connsiteY1" fmla="*/ 521128 h 2510087"/>
                  <a:gd name="connsiteX2" fmla="*/ 8676628 w 12386023"/>
                  <a:gd name="connsiteY2" fmla="*/ 434581 h 2510087"/>
                  <a:gd name="connsiteX3" fmla="*/ 8697801 w 12386023"/>
                  <a:gd name="connsiteY3" fmla="*/ 591261 h 2510087"/>
                  <a:gd name="connsiteX4" fmla="*/ 8652701 w 12386023"/>
                  <a:gd name="connsiteY4" fmla="*/ 777261 h 2510087"/>
                  <a:gd name="connsiteX5" fmla="*/ 421075 w 12386023"/>
                  <a:gd name="connsiteY5" fmla="*/ 937416 h 2510087"/>
                  <a:gd name="connsiteX6" fmla="*/ 1277876 w 12386023"/>
                  <a:gd name="connsiteY6" fmla="*/ 844973 h 2510087"/>
                  <a:gd name="connsiteX7" fmla="*/ 1972735 w 12386023"/>
                  <a:gd name="connsiteY7" fmla="*/ 878961 h 2510087"/>
                  <a:gd name="connsiteX8" fmla="*/ 2428745 w 12386023"/>
                  <a:gd name="connsiteY8" fmla="*/ 819473 h 2510087"/>
                  <a:gd name="connsiteX9" fmla="*/ 2906467 w 12386023"/>
                  <a:gd name="connsiteY9" fmla="*/ 819473 h 2510087"/>
                  <a:gd name="connsiteX10" fmla="*/ 3677336 w 12386023"/>
                  <a:gd name="connsiteY10" fmla="*/ 861967 h 2510087"/>
                  <a:gd name="connsiteX11" fmla="*/ 4556772 w 12386023"/>
                  <a:gd name="connsiteY11" fmla="*/ 844973 h 2510087"/>
                  <a:gd name="connsiteX12" fmla="*/ 5186490 w 12386023"/>
                  <a:gd name="connsiteY12" fmla="*/ 853479 h 2510087"/>
                  <a:gd name="connsiteX13" fmla="*/ 6022500 w 12386023"/>
                  <a:gd name="connsiteY13" fmla="*/ 853479 h 2510087"/>
                  <a:gd name="connsiteX14" fmla="*/ 7086513 w 12386023"/>
                  <a:gd name="connsiteY14" fmla="*/ 878979 h 2510087"/>
                  <a:gd name="connsiteX15" fmla="*/ 7835668 w 12386023"/>
                  <a:gd name="connsiteY15" fmla="*/ 870473 h 2510087"/>
                  <a:gd name="connsiteX16" fmla="*/ 8367663 w 12386023"/>
                  <a:gd name="connsiteY16" fmla="*/ 861967 h 2510087"/>
                  <a:gd name="connsiteX17" fmla="*/ 8988680 w 12386023"/>
                  <a:gd name="connsiteY17" fmla="*/ 1264715 h 2510087"/>
                  <a:gd name="connsiteX18" fmla="*/ 9558676 w 12386023"/>
                  <a:gd name="connsiteY18" fmla="*/ 2091547 h 2510087"/>
                  <a:gd name="connsiteX19" fmla="*/ 10490076 w 12386023"/>
                  <a:gd name="connsiteY19" fmla="*/ 2510086 h 2510087"/>
                  <a:gd name="connsiteX20" fmla="*/ 11536110 w 12386023"/>
                  <a:gd name="connsiteY20" fmla="*/ 2091549 h 2510087"/>
                  <a:gd name="connsiteX21" fmla="*/ 11827041 w 12386023"/>
                  <a:gd name="connsiteY21" fmla="*/ 1445814 h 2510087"/>
                  <a:gd name="connsiteX22" fmla="*/ 12137937 w 12386023"/>
                  <a:gd name="connsiteY22" fmla="*/ 999707 h 2510087"/>
                  <a:gd name="connsiteX23" fmla="*/ 12386023 w 12386023"/>
                  <a:gd name="connsiteY23" fmla="*/ 699393 h 2510087"/>
                  <a:gd name="connsiteX24" fmla="*/ 12386023 w 12386023"/>
                  <a:gd name="connsiteY24" fmla="*/ 261011 h 2510087"/>
                  <a:gd name="connsiteX25" fmla="*/ 11779707 w 12386023"/>
                  <a:gd name="connsiteY25" fmla="*/ 435586 h 2510087"/>
                  <a:gd name="connsiteX26" fmla="*/ 11399982 w 12386023"/>
                  <a:gd name="connsiteY26" fmla="*/ 1047471 h 2510087"/>
                  <a:gd name="connsiteX27" fmla="*/ 10943237 w 12386023"/>
                  <a:gd name="connsiteY27" fmla="*/ 1661632 h 2510087"/>
                  <a:gd name="connsiteX28" fmla="*/ 10375442 w 12386023"/>
                  <a:gd name="connsiteY28" fmla="*/ 1618415 h 2510087"/>
                  <a:gd name="connsiteX29" fmla="*/ 9868545 w 12386023"/>
                  <a:gd name="connsiteY29" fmla="*/ 1058846 h 2510087"/>
                  <a:gd name="connsiteX30" fmla="*/ 9393890 w 12386023"/>
                  <a:gd name="connsiteY30" fmla="*/ 581165 h 2510087"/>
                  <a:gd name="connsiteX31" fmla="*/ 8791091 w 12386023"/>
                  <a:gd name="connsiteY31" fmla="*/ 156695 h 2510087"/>
                  <a:gd name="connsiteX32" fmla="*/ 7976795 w 12386023"/>
                  <a:gd name="connsiteY32" fmla="*/ 105714 h 2510087"/>
                  <a:gd name="connsiteX33" fmla="*/ 7390504 w 12386023"/>
                  <a:gd name="connsiteY33" fmla="*/ 199189 h 2510087"/>
                  <a:gd name="connsiteX34" fmla="*/ 6683417 w 12386023"/>
                  <a:gd name="connsiteY34" fmla="*/ 146630 h 2510087"/>
                  <a:gd name="connsiteX35" fmla="*/ 6243077 w 12386023"/>
                  <a:gd name="connsiteY35" fmla="*/ 249658 h 2510087"/>
                  <a:gd name="connsiteX36" fmla="*/ 5523063 w 12386023"/>
                  <a:gd name="connsiteY36" fmla="*/ 292664 h 2510087"/>
                  <a:gd name="connsiteX37" fmla="*/ 4163355 w 12386023"/>
                  <a:gd name="connsiteY37" fmla="*/ 90799 h 2510087"/>
                  <a:gd name="connsiteX38" fmla="*/ 2711045 w 12386023"/>
                  <a:gd name="connsiteY38" fmla="*/ 156695 h 2510087"/>
                  <a:gd name="connsiteX39" fmla="*/ 919613 w 12386023"/>
                  <a:gd name="connsiteY39" fmla="*/ 148189 h 2510087"/>
                  <a:gd name="connsiteX40" fmla="*/ 8705072 w 12386023"/>
                  <a:gd name="connsiteY40" fmla="*/ 284622 h 2510087"/>
                  <a:gd name="connsiteX0" fmla="*/ 8705072 w 12386023"/>
                  <a:gd name="connsiteY0" fmla="*/ 284622 h 2510087"/>
                  <a:gd name="connsiteX1" fmla="*/ 8742561 w 12386023"/>
                  <a:gd name="connsiteY1" fmla="*/ 521128 h 2510087"/>
                  <a:gd name="connsiteX2" fmla="*/ 8676628 w 12386023"/>
                  <a:gd name="connsiteY2" fmla="*/ 434581 h 2510087"/>
                  <a:gd name="connsiteX3" fmla="*/ 8697801 w 12386023"/>
                  <a:gd name="connsiteY3" fmla="*/ 591261 h 2510087"/>
                  <a:gd name="connsiteX4" fmla="*/ 8652701 w 12386023"/>
                  <a:gd name="connsiteY4" fmla="*/ 777261 h 2510087"/>
                  <a:gd name="connsiteX5" fmla="*/ 421075 w 12386023"/>
                  <a:gd name="connsiteY5" fmla="*/ 937416 h 2510087"/>
                  <a:gd name="connsiteX6" fmla="*/ 1277876 w 12386023"/>
                  <a:gd name="connsiteY6" fmla="*/ 844973 h 2510087"/>
                  <a:gd name="connsiteX7" fmla="*/ 1972735 w 12386023"/>
                  <a:gd name="connsiteY7" fmla="*/ 878961 h 2510087"/>
                  <a:gd name="connsiteX8" fmla="*/ 2428745 w 12386023"/>
                  <a:gd name="connsiteY8" fmla="*/ 819473 h 2510087"/>
                  <a:gd name="connsiteX9" fmla="*/ 2906467 w 12386023"/>
                  <a:gd name="connsiteY9" fmla="*/ 819473 h 2510087"/>
                  <a:gd name="connsiteX10" fmla="*/ 3677336 w 12386023"/>
                  <a:gd name="connsiteY10" fmla="*/ 861967 h 2510087"/>
                  <a:gd name="connsiteX11" fmla="*/ 4556772 w 12386023"/>
                  <a:gd name="connsiteY11" fmla="*/ 844973 h 2510087"/>
                  <a:gd name="connsiteX12" fmla="*/ 5186490 w 12386023"/>
                  <a:gd name="connsiteY12" fmla="*/ 853479 h 2510087"/>
                  <a:gd name="connsiteX13" fmla="*/ 6022500 w 12386023"/>
                  <a:gd name="connsiteY13" fmla="*/ 853479 h 2510087"/>
                  <a:gd name="connsiteX14" fmla="*/ 7086513 w 12386023"/>
                  <a:gd name="connsiteY14" fmla="*/ 878979 h 2510087"/>
                  <a:gd name="connsiteX15" fmla="*/ 7835668 w 12386023"/>
                  <a:gd name="connsiteY15" fmla="*/ 870473 h 2510087"/>
                  <a:gd name="connsiteX16" fmla="*/ 8367663 w 12386023"/>
                  <a:gd name="connsiteY16" fmla="*/ 861967 h 2510087"/>
                  <a:gd name="connsiteX17" fmla="*/ 8988680 w 12386023"/>
                  <a:gd name="connsiteY17" fmla="*/ 1264715 h 2510087"/>
                  <a:gd name="connsiteX18" fmla="*/ 9558676 w 12386023"/>
                  <a:gd name="connsiteY18" fmla="*/ 2091547 h 2510087"/>
                  <a:gd name="connsiteX19" fmla="*/ 10490076 w 12386023"/>
                  <a:gd name="connsiteY19" fmla="*/ 2510086 h 2510087"/>
                  <a:gd name="connsiteX20" fmla="*/ 11536110 w 12386023"/>
                  <a:gd name="connsiteY20" fmla="*/ 2091549 h 2510087"/>
                  <a:gd name="connsiteX21" fmla="*/ 11827041 w 12386023"/>
                  <a:gd name="connsiteY21" fmla="*/ 1445814 h 2510087"/>
                  <a:gd name="connsiteX22" fmla="*/ 12137937 w 12386023"/>
                  <a:gd name="connsiteY22" fmla="*/ 999707 h 2510087"/>
                  <a:gd name="connsiteX23" fmla="*/ 12386023 w 12386023"/>
                  <a:gd name="connsiteY23" fmla="*/ 699393 h 2510087"/>
                  <a:gd name="connsiteX24" fmla="*/ 12386023 w 12386023"/>
                  <a:gd name="connsiteY24" fmla="*/ 261011 h 2510087"/>
                  <a:gd name="connsiteX25" fmla="*/ 11779707 w 12386023"/>
                  <a:gd name="connsiteY25" fmla="*/ 435586 h 2510087"/>
                  <a:gd name="connsiteX26" fmla="*/ 11399982 w 12386023"/>
                  <a:gd name="connsiteY26" fmla="*/ 1047471 h 2510087"/>
                  <a:gd name="connsiteX27" fmla="*/ 10943237 w 12386023"/>
                  <a:gd name="connsiteY27" fmla="*/ 1661632 h 2510087"/>
                  <a:gd name="connsiteX28" fmla="*/ 10375442 w 12386023"/>
                  <a:gd name="connsiteY28" fmla="*/ 1618415 h 2510087"/>
                  <a:gd name="connsiteX29" fmla="*/ 9868545 w 12386023"/>
                  <a:gd name="connsiteY29" fmla="*/ 1058846 h 2510087"/>
                  <a:gd name="connsiteX30" fmla="*/ 9393890 w 12386023"/>
                  <a:gd name="connsiteY30" fmla="*/ 581165 h 2510087"/>
                  <a:gd name="connsiteX31" fmla="*/ 8791091 w 12386023"/>
                  <a:gd name="connsiteY31" fmla="*/ 156695 h 2510087"/>
                  <a:gd name="connsiteX32" fmla="*/ 7976795 w 12386023"/>
                  <a:gd name="connsiteY32" fmla="*/ 105714 h 2510087"/>
                  <a:gd name="connsiteX33" fmla="*/ 7390504 w 12386023"/>
                  <a:gd name="connsiteY33" fmla="*/ 199189 h 2510087"/>
                  <a:gd name="connsiteX34" fmla="*/ 6683417 w 12386023"/>
                  <a:gd name="connsiteY34" fmla="*/ 146630 h 2510087"/>
                  <a:gd name="connsiteX35" fmla="*/ 6243077 w 12386023"/>
                  <a:gd name="connsiteY35" fmla="*/ 249658 h 2510087"/>
                  <a:gd name="connsiteX36" fmla="*/ 5523063 w 12386023"/>
                  <a:gd name="connsiteY36" fmla="*/ 292664 h 2510087"/>
                  <a:gd name="connsiteX37" fmla="*/ 4163355 w 12386023"/>
                  <a:gd name="connsiteY37" fmla="*/ 90799 h 2510087"/>
                  <a:gd name="connsiteX38" fmla="*/ 2711045 w 12386023"/>
                  <a:gd name="connsiteY38" fmla="*/ 156695 h 2510087"/>
                  <a:gd name="connsiteX39" fmla="*/ 8714713 w 12386023"/>
                  <a:gd name="connsiteY39" fmla="*/ 457545 h 2510087"/>
                  <a:gd name="connsiteX40" fmla="*/ 8705072 w 12386023"/>
                  <a:gd name="connsiteY40" fmla="*/ 284622 h 2510087"/>
                  <a:gd name="connsiteX0" fmla="*/ 8705072 w 12386023"/>
                  <a:gd name="connsiteY0" fmla="*/ 215157 h 2440622"/>
                  <a:gd name="connsiteX1" fmla="*/ 8742561 w 12386023"/>
                  <a:gd name="connsiteY1" fmla="*/ 451663 h 2440622"/>
                  <a:gd name="connsiteX2" fmla="*/ 8676628 w 12386023"/>
                  <a:gd name="connsiteY2" fmla="*/ 365116 h 2440622"/>
                  <a:gd name="connsiteX3" fmla="*/ 8697801 w 12386023"/>
                  <a:gd name="connsiteY3" fmla="*/ 521796 h 2440622"/>
                  <a:gd name="connsiteX4" fmla="*/ 8652701 w 12386023"/>
                  <a:gd name="connsiteY4" fmla="*/ 707796 h 2440622"/>
                  <a:gd name="connsiteX5" fmla="*/ 421075 w 12386023"/>
                  <a:gd name="connsiteY5" fmla="*/ 867951 h 2440622"/>
                  <a:gd name="connsiteX6" fmla="*/ 1277876 w 12386023"/>
                  <a:gd name="connsiteY6" fmla="*/ 775508 h 2440622"/>
                  <a:gd name="connsiteX7" fmla="*/ 1972735 w 12386023"/>
                  <a:gd name="connsiteY7" fmla="*/ 809496 h 2440622"/>
                  <a:gd name="connsiteX8" fmla="*/ 2428745 w 12386023"/>
                  <a:gd name="connsiteY8" fmla="*/ 750008 h 2440622"/>
                  <a:gd name="connsiteX9" fmla="*/ 2906467 w 12386023"/>
                  <a:gd name="connsiteY9" fmla="*/ 750008 h 2440622"/>
                  <a:gd name="connsiteX10" fmla="*/ 3677336 w 12386023"/>
                  <a:gd name="connsiteY10" fmla="*/ 792502 h 2440622"/>
                  <a:gd name="connsiteX11" fmla="*/ 4556772 w 12386023"/>
                  <a:gd name="connsiteY11" fmla="*/ 775508 h 2440622"/>
                  <a:gd name="connsiteX12" fmla="*/ 5186490 w 12386023"/>
                  <a:gd name="connsiteY12" fmla="*/ 784014 h 2440622"/>
                  <a:gd name="connsiteX13" fmla="*/ 6022500 w 12386023"/>
                  <a:gd name="connsiteY13" fmla="*/ 784014 h 2440622"/>
                  <a:gd name="connsiteX14" fmla="*/ 7086513 w 12386023"/>
                  <a:gd name="connsiteY14" fmla="*/ 809514 h 2440622"/>
                  <a:gd name="connsiteX15" fmla="*/ 7835668 w 12386023"/>
                  <a:gd name="connsiteY15" fmla="*/ 801008 h 2440622"/>
                  <a:gd name="connsiteX16" fmla="*/ 8367663 w 12386023"/>
                  <a:gd name="connsiteY16" fmla="*/ 792502 h 2440622"/>
                  <a:gd name="connsiteX17" fmla="*/ 8988680 w 12386023"/>
                  <a:gd name="connsiteY17" fmla="*/ 1195250 h 2440622"/>
                  <a:gd name="connsiteX18" fmla="*/ 9558676 w 12386023"/>
                  <a:gd name="connsiteY18" fmla="*/ 2022082 h 2440622"/>
                  <a:gd name="connsiteX19" fmla="*/ 10490076 w 12386023"/>
                  <a:gd name="connsiteY19" fmla="*/ 2440621 h 2440622"/>
                  <a:gd name="connsiteX20" fmla="*/ 11536110 w 12386023"/>
                  <a:gd name="connsiteY20" fmla="*/ 2022084 h 2440622"/>
                  <a:gd name="connsiteX21" fmla="*/ 11827041 w 12386023"/>
                  <a:gd name="connsiteY21" fmla="*/ 1376349 h 2440622"/>
                  <a:gd name="connsiteX22" fmla="*/ 12137937 w 12386023"/>
                  <a:gd name="connsiteY22" fmla="*/ 930242 h 2440622"/>
                  <a:gd name="connsiteX23" fmla="*/ 12386023 w 12386023"/>
                  <a:gd name="connsiteY23" fmla="*/ 629928 h 2440622"/>
                  <a:gd name="connsiteX24" fmla="*/ 12386023 w 12386023"/>
                  <a:gd name="connsiteY24" fmla="*/ 191546 h 2440622"/>
                  <a:gd name="connsiteX25" fmla="*/ 11779707 w 12386023"/>
                  <a:gd name="connsiteY25" fmla="*/ 366121 h 2440622"/>
                  <a:gd name="connsiteX26" fmla="*/ 11399982 w 12386023"/>
                  <a:gd name="connsiteY26" fmla="*/ 978006 h 2440622"/>
                  <a:gd name="connsiteX27" fmla="*/ 10943237 w 12386023"/>
                  <a:gd name="connsiteY27" fmla="*/ 1592167 h 2440622"/>
                  <a:gd name="connsiteX28" fmla="*/ 10375442 w 12386023"/>
                  <a:gd name="connsiteY28" fmla="*/ 1548950 h 2440622"/>
                  <a:gd name="connsiteX29" fmla="*/ 9868545 w 12386023"/>
                  <a:gd name="connsiteY29" fmla="*/ 989381 h 2440622"/>
                  <a:gd name="connsiteX30" fmla="*/ 9393890 w 12386023"/>
                  <a:gd name="connsiteY30" fmla="*/ 511700 h 2440622"/>
                  <a:gd name="connsiteX31" fmla="*/ 8791091 w 12386023"/>
                  <a:gd name="connsiteY31" fmla="*/ 87230 h 2440622"/>
                  <a:gd name="connsiteX32" fmla="*/ 7976795 w 12386023"/>
                  <a:gd name="connsiteY32" fmla="*/ 36249 h 2440622"/>
                  <a:gd name="connsiteX33" fmla="*/ 7390504 w 12386023"/>
                  <a:gd name="connsiteY33" fmla="*/ 129724 h 2440622"/>
                  <a:gd name="connsiteX34" fmla="*/ 6683417 w 12386023"/>
                  <a:gd name="connsiteY34" fmla="*/ 77165 h 2440622"/>
                  <a:gd name="connsiteX35" fmla="*/ 6243077 w 12386023"/>
                  <a:gd name="connsiteY35" fmla="*/ 180193 h 2440622"/>
                  <a:gd name="connsiteX36" fmla="*/ 5523063 w 12386023"/>
                  <a:gd name="connsiteY36" fmla="*/ 223199 h 2440622"/>
                  <a:gd name="connsiteX37" fmla="*/ 4163355 w 12386023"/>
                  <a:gd name="connsiteY37" fmla="*/ 21334 h 2440622"/>
                  <a:gd name="connsiteX38" fmla="*/ 9073222 w 12386023"/>
                  <a:gd name="connsiteY38" fmla="*/ 815126 h 2440622"/>
                  <a:gd name="connsiteX39" fmla="*/ 8714713 w 12386023"/>
                  <a:gd name="connsiteY39" fmla="*/ 388080 h 2440622"/>
                  <a:gd name="connsiteX40" fmla="*/ 8705072 w 12386023"/>
                  <a:gd name="connsiteY40" fmla="*/ 215157 h 2440622"/>
                  <a:gd name="connsiteX0" fmla="*/ 8705072 w 12386023"/>
                  <a:gd name="connsiteY0" fmla="*/ 200377 h 2425842"/>
                  <a:gd name="connsiteX1" fmla="*/ 8742561 w 12386023"/>
                  <a:gd name="connsiteY1" fmla="*/ 436883 h 2425842"/>
                  <a:gd name="connsiteX2" fmla="*/ 8676628 w 12386023"/>
                  <a:gd name="connsiteY2" fmla="*/ 350336 h 2425842"/>
                  <a:gd name="connsiteX3" fmla="*/ 8697801 w 12386023"/>
                  <a:gd name="connsiteY3" fmla="*/ 507016 h 2425842"/>
                  <a:gd name="connsiteX4" fmla="*/ 8652701 w 12386023"/>
                  <a:gd name="connsiteY4" fmla="*/ 693016 h 2425842"/>
                  <a:gd name="connsiteX5" fmla="*/ 421075 w 12386023"/>
                  <a:gd name="connsiteY5" fmla="*/ 853171 h 2425842"/>
                  <a:gd name="connsiteX6" fmla="*/ 1277876 w 12386023"/>
                  <a:gd name="connsiteY6" fmla="*/ 760728 h 2425842"/>
                  <a:gd name="connsiteX7" fmla="*/ 1972735 w 12386023"/>
                  <a:gd name="connsiteY7" fmla="*/ 794716 h 2425842"/>
                  <a:gd name="connsiteX8" fmla="*/ 2428745 w 12386023"/>
                  <a:gd name="connsiteY8" fmla="*/ 735228 h 2425842"/>
                  <a:gd name="connsiteX9" fmla="*/ 2906467 w 12386023"/>
                  <a:gd name="connsiteY9" fmla="*/ 735228 h 2425842"/>
                  <a:gd name="connsiteX10" fmla="*/ 3677336 w 12386023"/>
                  <a:gd name="connsiteY10" fmla="*/ 777722 h 2425842"/>
                  <a:gd name="connsiteX11" fmla="*/ 4556772 w 12386023"/>
                  <a:gd name="connsiteY11" fmla="*/ 760728 h 2425842"/>
                  <a:gd name="connsiteX12" fmla="*/ 5186490 w 12386023"/>
                  <a:gd name="connsiteY12" fmla="*/ 769234 h 2425842"/>
                  <a:gd name="connsiteX13" fmla="*/ 6022500 w 12386023"/>
                  <a:gd name="connsiteY13" fmla="*/ 769234 h 2425842"/>
                  <a:gd name="connsiteX14" fmla="*/ 7086513 w 12386023"/>
                  <a:gd name="connsiteY14" fmla="*/ 794734 h 2425842"/>
                  <a:gd name="connsiteX15" fmla="*/ 7835668 w 12386023"/>
                  <a:gd name="connsiteY15" fmla="*/ 786228 h 2425842"/>
                  <a:gd name="connsiteX16" fmla="*/ 8367663 w 12386023"/>
                  <a:gd name="connsiteY16" fmla="*/ 777722 h 2425842"/>
                  <a:gd name="connsiteX17" fmla="*/ 8988680 w 12386023"/>
                  <a:gd name="connsiteY17" fmla="*/ 1180470 h 2425842"/>
                  <a:gd name="connsiteX18" fmla="*/ 9558676 w 12386023"/>
                  <a:gd name="connsiteY18" fmla="*/ 2007302 h 2425842"/>
                  <a:gd name="connsiteX19" fmla="*/ 10490076 w 12386023"/>
                  <a:gd name="connsiteY19" fmla="*/ 2425841 h 2425842"/>
                  <a:gd name="connsiteX20" fmla="*/ 11536110 w 12386023"/>
                  <a:gd name="connsiteY20" fmla="*/ 2007304 h 2425842"/>
                  <a:gd name="connsiteX21" fmla="*/ 11827041 w 12386023"/>
                  <a:gd name="connsiteY21" fmla="*/ 1361569 h 2425842"/>
                  <a:gd name="connsiteX22" fmla="*/ 12137937 w 12386023"/>
                  <a:gd name="connsiteY22" fmla="*/ 915462 h 2425842"/>
                  <a:gd name="connsiteX23" fmla="*/ 12386023 w 12386023"/>
                  <a:gd name="connsiteY23" fmla="*/ 615148 h 2425842"/>
                  <a:gd name="connsiteX24" fmla="*/ 12386023 w 12386023"/>
                  <a:gd name="connsiteY24" fmla="*/ 176766 h 2425842"/>
                  <a:gd name="connsiteX25" fmla="*/ 11779707 w 12386023"/>
                  <a:gd name="connsiteY25" fmla="*/ 351341 h 2425842"/>
                  <a:gd name="connsiteX26" fmla="*/ 11399982 w 12386023"/>
                  <a:gd name="connsiteY26" fmla="*/ 963226 h 2425842"/>
                  <a:gd name="connsiteX27" fmla="*/ 10943237 w 12386023"/>
                  <a:gd name="connsiteY27" fmla="*/ 1577387 h 2425842"/>
                  <a:gd name="connsiteX28" fmla="*/ 10375442 w 12386023"/>
                  <a:gd name="connsiteY28" fmla="*/ 1534170 h 2425842"/>
                  <a:gd name="connsiteX29" fmla="*/ 9868545 w 12386023"/>
                  <a:gd name="connsiteY29" fmla="*/ 974601 h 2425842"/>
                  <a:gd name="connsiteX30" fmla="*/ 9393890 w 12386023"/>
                  <a:gd name="connsiteY30" fmla="*/ 496920 h 2425842"/>
                  <a:gd name="connsiteX31" fmla="*/ 8791091 w 12386023"/>
                  <a:gd name="connsiteY31" fmla="*/ 72450 h 2425842"/>
                  <a:gd name="connsiteX32" fmla="*/ 7976795 w 12386023"/>
                  <a:gd name="connsiteY32" fmla="*/ 21469 h 2425842"/>
                  <a:gd name="connsiteX33" fmla="*/ 7390504 w 12386023"/>
                  <a:gd name="connsiteY33" fmla="*/ 114944 h 2425842"/>
                  <a:gd name="connsiteX34" fmla="*/ 6683417 w 12386023"/>
                  <a:gd name="connsiteY34" fmla="*/ 62385 h 2425842"/>
                  <a:gd name="connsiteX35" fmla="*/ 6243077 w 12386023"/>
                  <a:gd name="connsiteY35" fmla="*/ 165413 h 2425842"/>
                  <a:gd name="connsiteX36" fmla="*/ 5523063 w 12386023"/>
                  <a:gd name="connsiteY36" fmla="*/ 208419 h 2425842"/>
                  <a:gd name="connsiteX37" fmla="*/ 8892001 w 12386023"/>
                  <a:gd name="connsiteY37" fmla="*/ 497882 h 2425842"/>
                  <a:gd name="connsiteX38" fmla="*/ 9073222 w 12386023"/>
                  <a:gd name="connsiteY38" fmla="*/ 800346 h 2425842"/>
                  <a:gd name="connsiteX39" fmla="*/ 8714713 w 12386023"/>
                  <a:gd name="connsiteY39" fmla="*/ 373300 h 2425842"/>
                  <a:gd name="connsiteX40" fmla="*/ 8705072 w 12386023"/>
                  <a:gd name="connsiteY40" fmla="*/ 200377 h 2425842"/>
                  <a:gd name="connsiteX0" fmla="*/ 8705072 w 12386023"/>
                  <a:gd name="connsiteY0" fmla="*/ 200377 h 2425842"/>
                  <a:gd name="connsiteX1" fmla="*/ 8742561 w 12386023"/>
                  <a:gd name="connsiteY1" fmla="*/ 436883 h 2425842"/>
                  <a:gd name="connsiteX2" fmla="*/ 8676628 w 12386023"/>
                  <a:gd name="connsiteY2" fmla="*/ 350336 h 2425842"/>
                  <a:gd name="connsiteX3" fmla="*/ 8697801 w 12386023"/>
                  <a:gd name="connsiteY3" fmla="*/ 507016 h 2425842"/>
                  <a:gd name="connsiteX4" fmla="*/ 8652701 w 12386023"/>
                  <a:gd name="connsiteY4" fmla="*/ 693016 h 2425842"/>
                  <a:gd name="connsiteX5" fmla="*/ 421075 w 12386023"/>
                  <a:gd name="connsiteY5" fmla="*/ 853171 h 2425842"/>
                  <a:gd name="connsiteX6" fmla="*/ 1277876 w 12386023"/>
                  <a:gd name="connsiteY6" fmla="*/ 760728 h 2425842"/>
                  <a:gd name="connsiteX7" fmla="*/ 1972735 w 12386023"/>
                  <a:gd name="connsiteY7" fmla="*/ 794716 h 2425842"/>
                  <a:gd name="connsiteX8" fmla="*/ 2428745 w 12386023"/>
                  <a:gd name="connsiteY8" fmla="*/ 735228 h 2425842"/>
                  <a:gd name="connsiteX9" fmla="*/ 2906467 w 12386023"/>
                  <a:gd name="connsiteY9" fmla="*/ 735228 h 2425842"/>
                  <a:gd name="connsiteX10" fmla="*/ 3677336 w 12386023"/>
                  <a:gd name="connsiteY10" fmla="*/ 777722 h 2425842"/>
                  <a:gd name="connsiteX11" fmla="*/ 4556772 w 12386023"/>
                  <a:gd name="connsiteY11" fmla="*/ 760728 h 2425842"/>
                  <a:gd name="connsiteX12" fmla="*/ 5186490 w 12386023"/>
                  <a:gd name="connsiteY12" fmla="*/ 769234 h 2425842"/>
                  <a:gd name="connsiteX13" fmla="*/ 6022500 w 12386023"/>
                  <a:gd name="connsiteY13" fmla="*/ 769234 h 2425842"/>
                  <a:gd name="connsiteX14" fmla="*/ 7086513 w 12386023"/>
                  <a:gd name="connsiteY14" fmla="*/ 794734 h 2425842"/>
                  <a:gd name="connsiteX15" fmla="*/ 7835668 w 12386023"/>
                  <a:gd name="connsiteY15" fmla="*/ 786228 h 2425842"/>
                  <a:gd name="connsiteX16" fmla="*/ 8367663 w 12386023"/>
                  <a:gd name="connsiteY16" fmla="*/ 777722 h 2425842"/>
                  <a:gd name="connsiteX17" fmla="*/ 8988680 w 12386023"/>
                  <a:gd name="connsiteY17" fmla="*/ 1180470 h 2425842"/>
                  <a:gd name="connsiteX18" fmla="*/ 9558676 w 12386023"/>
                  <a:gd name="connsiteY18" fmla="*/ 2007302 h 2425842"/>
                  <a:gd name="connsiteX19" fmla="*/ 10490076 w 12386023"/>
                  <a:gd name="connsiteY19" fmla="*/ 2425841 h 2425842"/>
                  <a:gd name="connsiteX20" fmla="*/ 11536110 w 12386023"/>
                  <a:gd name="connsiteY20" fmla="*/ 2007304 h 2425842"/>
                  <a:gd name="connsiteX21" fmla="*/ 11827041 w 12386023"/>
                  <a:gd name="connsiteY21" fmla="*/ 1361569 h 2425842"/>
                  <a:gd name="connsiteX22" fmla="*/ 12137937 w 12386023"/>
                  <a:gd name="connsiteY22" fmla="*/ 915462 h 2425842"/>
                  <a:gd name="connsiteX23" fmla="*/ 12386023 w 12386023"/>
                  <a:gd name="connsiteY23" fmla="*/ 615148 h 2425842"/>
                  <a:gd name="connsiteX24" fmla="*/ 12386023 w 12386023"/>
                  <a:gd name="connsiteY24" fmla="*/ 176766 h 2425842"/>
                  <a:gd name="connsiteX25" fmla="*/ 11779707 w 12386023"/>
                  <a:gd name="connsiteY25" fmla="*/ 351341 h 2425842"/>
                  <a:gd name="connsiteX26" fmla="*/ 11399982 w 12386023"/>
                  <a:gd name="connsiteY26" fmla="*/ 963226 h 2425842"/>
                  <a:gd name="connsiteX27" fmla="*/ 10943237 w 12386023"/>
                  <a:gd name="connsiteY27" fmla="*/ 1577387 h 2425842"/>
                  <a:gd name="connsiteX28" fmla="*/ 10375442 w 12386023"/>
                  <a:gd name="connsiteY28" fmla="*/ 1534170 h 2425842"/>
                  <a:gd name="connsiteX29" fmla="*/ 9868545 w 12386023"/>
                  <a:gd name="connsiteY29" fmla="*/ 974601 h 2425842"/>
                  <a:gd name="connsiteX30" fmla="*/ 9393890 w 12386023"/>
                  <a:gd name="connsiteY30" fmla="*/ 496920 h 2425842"/>
                  <a:gd name="connsiteX31" fmla="*/ 8791091 w 12386023"/>
                  <a:gd name="connsiteY31" fmla="*/ 72450 h 2425842"/>
                  <a:gd name="connsiteX32" fmla="*/ 7976795 w 12386023"/>
                  <a:gd name="connsiteY32" fmla="*/ 21469 h 2425842"/>
                  <a:gd name="connsiteX33" fmla="*/ 7390504 w 12386023"/>
                  <a:gd name="connsiteY33" fmla="*/ 114944 h 2425842"/>
                  <a:gd name="connsiteX34" fmla="*/ 6683417 w 12386023"/>
                  <a:gd name="connsiteY34" fmla="*/ 62385 h 2425842"/>
                  <a:gd name="connsiteX35" fmla="*/ 6243077 w 12386023"/>
                  <a:gd name="connsiteY35" fmla="*/ 165413 h 2425842"/>
                  <a:gd name="connsiteX36" fmla="*/ 9248668 w 12386023"/>
                  <a:gd name="connsiteY36" fmla="*/ 535967 h 2425842"/>
                  <a:gd name="connsiteX37" fmla="*/ 8892001 w 12386023"/>
                  <a:gd name="connsiteY37" fmla="*/ 497882 h 2425842"/>
                  <a:gd name="connsiteX38" fmla="*/ 9073222 w 12386023"/>
                  <a:gd name="connsiteY38" fmla="*/ 800346 h 2425842"/>
                  <a:gd name="connsiteX39" fmla="*/ 8714713 w 12386023"/>
                  <a:gd name="connsiteY39" fmla="*/ 373300 h 2425842"/>
                  <a:gd name="connsiteX40" fmla="*/ 8705072 w 12386023"/>
                  <a:gd name="connsiteY40" fmla="*/ 200377 h 2425842"/>
                  <a:gd name="connsiteX0" fmla="*/ 8705072 w 12386023"/>
                  <a:gd name="connsiteY0" fmla="*/ 148058 h 2373523"/>
                  <a:gd name="connsiteX1" fmla="*/ 8742561 w 12386023"/>
                  <a:gd name="connsiteY1" fmla="*/ 384564 h 2373523"/>
                  <a:gd name="connsiteX2" fmla="*/ 8676628 w 12386023"/>
                  <a:gd name="connsiteY2" fmla="*/ 298017 h 2373523"/>
                  <a:gd name="connsiteX3" fmla="*/ 8697801 w 12386023"/>
                  <a:gd name="connsiteY3" fmla="*/ 454697 h 2373523"/>
                  <a:gd name="connsiteX4" fmla="*/ 8652701 w 12386023"/>
                  <a:gd name="connsiteY4" fmla="*/ 640697 h 2373523"/>
                  <a:gd name="connsiteX5" fmla="*/ 421075 w 12386023"/>
                  <a:gd name="connsiteY5" fmla="*/ 800852 h 2373523"/>
                  <a:gd name="connsiteX6" fmla="*/ 1277876 w 12386023"/>
                  <a:gd name="connsiteY6" fmla="*/ 708409 h 2373523"/>
                  <a:gd name="connsiteX7" fmla="*/ 1972735 w 12386023"/>
                  <a:gd name="connsiteY7" fmla="*/ 742397 h 2373523"/>
                  <a:gd name="connsiteX8" fmla="*/ 2428745 w 12386023"/>
                  <a:gd name="connsiteY8" fmla="*/ 682909 h 2373523"/>
                  <a:gd name="connsiteX9" fmla="*/ 2906467 w 12386023"/>
                  <a:gd name="connsiteY9" fmla="*/ 682909 h 2373523"/>
                  <a:gd name="connsiteX10" fmla="*/ 3677336 w 12386023"/>
                  <a:gd name="connsiteY10" fmla="*/ 725403 h 2373523"/>
                  <a:gd name="connsiteX11" fmla="*/ 4556772 w 12386023"/>
                  <a:gd name="connsiteY11" fmla="*/ 708409 h 2373523"/>
                  <a:gd name="connsiteX12" fmla="*/ 5186490 w 12386023"/>
                  <a:gd name="connsiteY12" fmla="*/ 716915 h 2373523"/>
                  <a:gd name="connsiteX13" fmla="*/ 6022500 w 12386023"/>
                  <a:gd name="connsiteY13" fmla="*/ 716915 h 2373523"/>
                  <a:gd name="connsiteX14" fmla="*/ 7086513 w 12386023"/>
                  <a:gd name="connsiteY14" fmla="*/ 742415 h 2373523"/>
                  <a:gd name="connsiteX15" fmla="*/ 7835668 w 12386023"/>
                  <a:gd name="connsiteY15" fmla="*/ 733909 h 2373523"/>
                  <a:gd name="connsiteX16" fmla="*/ 8367663 w 12386023"/>
                  <a:gd name="connsiteY16" fmla="*/ 725403 h 2373523"/>
                  <a:gd name="connsiteX17" fmla="*/ 8988680 w 12386023"/>
                  <a:gd name="connsiteY17" fmla="*/ 1128151 h 2373523"/>
                  <a:gd name="connsiteX18" fmla="*/ 9558676 w 12386023"/>
                  <a:gd name="connsiteY18" fmla="*/ 1954983 h 2373523"/>
                  <a:gd name="connsiteX19" fmla="*/ 10490076 w 12386023"/>
                  <a:gd name="connsiteY19" fmla="*/ 2373522 h 2373523"/>
                  <a:gd name="connsiteX20" fmla="*/ 11536110 w 12386023"/>
                  <a:gd name="connsiteY20" fmla="*/ 1954985 h 2373523"/>
                  <a:gd name="connsiteX21" fmla="*/ 11827041 w 12386023"/>
                  <a:gd name="connsiteY21" fmla="*/ 1309250 h 2373523"/>
                  <a:gd name="connsiteX22" fmla="*/ 12137937 w 12386023"/>
                  <a:gd name="connsiteY22" fmla="*/ 863143 h 2373523"/>
                  <a:gd name="connsiteX23" fmla="*/ 12386023 w 12386023"/>
                  <a:gd name="connsiteY23" fmla="*/ 562829 h 2373523"/>
                  <a:gd name="connsiteX24" fmla="*/ 12386023 w 12386023"/>
                  <a:gd name="connsiteY24" fmla="*/ 124447 h 2373523"/>
                  <a:gd name="connsiteX25" fmla="*/ 11779707 w 12386023"/>
                  <a:gd name="connsiteY25" fmla="*/ 299022 h 2373523"/>
                  <a:gd name="connsiteX26" fmla="*/ 11399982 w 12386023"/>
                  <a:gd name="connsiteY26" fmla="*/ 910907 h 2373523"/>
                  <a:gd name="connsiteX27" fmla="*/ 10943237 w 12386023"/>
                  <a:gd name="connsiteY27" fmla="*/ 1525068 h 2373523"/>
                  <a:gd name="connsiteX28" fmla="*/ 10375442 w 12386023"/>
                  <a:gd name="connsiteY28" fmla="*/ 1481851 h 2373523"/>
                  <a:gd name="connsiteX29" fmla="*/ 9868545 w 12386023"/>
                  <a:gd name="connsiteY29" fmla="*/ 922282 h 2373523"/>
                  <a:gd name="connsiteX30" fmla="*/ 9393890 w 12386023"/>
                  <a:gd name="connsiteY30" fmla="*/ 444601 h 2373523"/>
                  <a:gd name="connsiteX31" fmla="*/ 8791091 w 12386023"/>
                  <a:gd name="connsiteY31" fmla="*/ 20131 h 2373523"/>
                  <a:gd name="connsiteX32" fmla="*/ 7390504 w 12386023"/>
                  <a:gd name="connsiteY32" fmla="*/ 62625 h 2373523"/>
                  <a:gd name="connsiteX33" fmla="*/ 6683417 w 12386023"/>
                  <a:gd name="connsiteY33" fmla="*/ 10066 h 2373523"/>
                  <a:gd name="connsiteX34" fmla="*/ 6243077 w 12386023"/>
                  <a:gd name="connsiteY34" fmla="*/ 113094 h 2373523"/>
                  <a:gd name="connsiteX35" fmla="*/ 9248668 w 12386023"/>
                  <a:gd name="connsiteY35" fmla="*/ 483648 h 2373523"/>
                  <a:gd name="connsiteX36" fmla="*/ 8892001 w 12386023"/>
                  <a:gd name="connsiteY36" fmla="*/ 445563 h 2373523"/>
                  <a:gd name="connsiteX37" fmla="*/ 9073222 w 12386023"/>
                  <a:gd name="connsiteY37" fmla="*/ 748027 h 2373523"/>
                  <a:gd name="connsiteX38" fmla="*/ 8714713 w 12386023"/>
                  <a:gd name="connsiteY38" fmla="*/ 320981 h 2373523"/>
                  <a:gd name="connsiteX39" fmla="*/ 8705072 w 12386023"/>
                  <a:gd name="connsiteY39" fmla="*/ 148058 h 2373523"/>
                  <a:gd name="connsiteX0" fmla="*/ 8705072 w 12386023"/>
                  <a:gd name="connsiteY0" fmla="*/ 148058 h 2373523"/>
                  <a:gd name="connsiteX1" fmla="*/ 8742561 w 12386023"/>
                  <a:gd name="connsiteY1" fmla="*/ 384564 h 2373523"/>
                  <a:gd name="connsiteX2" fmla="*/ 8676628 w 12386023"/>
                  <a:gd name="connsiteY2" fmla="*/ 298017 h 2373523"/>
                  <a:gd name="connsiteX3" fmla="*/ 8697801 w 12386023"/>
                  <a:gd name="connsiteY3" fmla="*/ 454697 h 2373523"/>
                  <a:gd name="connsiteX4" fmla="*/ 8652701 w 12386023"/>
                  <a:gd name="connsiteY4" fmla="*/ 640697 h 2373523"/>
                  <a:gd name="connsiteX5" fmla="*/ 421075 w 12386023"/>
                  <a:gd name="connsiteY5" fmla="*/ 800852 h 2373523"/>
                  <a:gd name="connsiteX6" fmla="*/ 1277876 w 12386023"/>
                  <a:gd name="connsiteY6" fmla="*/ 708409 h 2373523"/>
                  <a:gd name="connsiteX7" fmla="*/ 1972735 w 12386023"/>
                  <a:gd name="connsiteY7" fmla="*/ 742397 h 2373523"/>
                  <a:gd name="connsiteX8" fmla="*/ 2428745 w 12386023"/>
                  <a:gd name="connsiteY8" fmla="*/ 682909 h 2373523"/>
                  <a:gd name="connsiteX9" fmla="*/ 2906467 w 12386023"/>
                  <a:gd name="connsiteY9" fmla="*/ 682909 h 2373523"/>
                  <a:gd name="connsiteX10" fmla="*/ 3677336 w 12386023"/>
                  <a:gd name="connsiteY10" fmla="*/ 725403 h 2373523"/>
                  <a:gd name="connsiteX11" fmla="*/ 4556772 w 12386023"/>
                  <a:gd name="connsiteY11" fmla="*/ 708409 h 2373523"/>
                  <a:gd name="connsiteX12" fmla="*/ 5186490 w 12386023"/>
                  <a:gd name="connsiteY12" fmla="*/ 716915 h 2373523"/>
                  <a:gd name="connsiteX13" fmla="*/ 6022500 w 12386023"/>
                  <a:gd name="connsiteY13" fmla="*/ 716915 h 2373523"/>
                  <a:gd name="connsiteX14" fmla="*/ 7086513 w 12386023"/>
                  <a:gd name="connsiteY14" fmla="*/ 742415 h 2373523"/>
                  <a:gd name="connsiteX15" fmla="*/ 7835668 w 12386023"/>
                  <a:gd name="connsiteY15" fmla="*/ 733909 h 2373523"/>
                  <a:gd name="connsiteX16" fmla="*/ 8367663 w 12386023"/>
                  <a:gd name="connsiteY16" fmla="*/ 725403 h 2373523"/>
                  <a:gd name="connsiteX17" fmla="*/ 8988680 w 12386023"/>
                  <a:gd name="connsiteY17" fmla="*/ 1128151 h 2373523"/>
                  <a:gd name="connsiteX18" fmla="*/ 9558676 w 12386023"/>
                  <a:gd name="connsiteY18" fmla="*/ 1954983 h 2373523"/>
                  <a:gd name="connsiteX19" fmla="*/ 10490076 w 12386023"/>
                  <a:gd name="connsiteY19" fmla="*/ 2373522 h 2373523"/>
                  <a:gd name="connsiteX20" fmla="*/ 11536110 w 12386023"/>
                  <a:gd name="connsiteY20" fmla="*/ 1954985 h 2373523"/>
                  <a:gd name="connsiteX21" fmla="*/ 11827041 w 12386023"/>
                  <a:gd name="connsiteY21" fmla="*/ 1309250 h 2373523"/>
                  <a:gd name="connsiteX22" fmla="*/ 12137937 w 12386023"/>
                  <a:gd name="connsiteY22" fmla="*/ 863143 h 2373523"/>
                  <a:gd name="connsiteX23" fmla="*/ 12386023 w 12386023"/>
                  <a:gd name="connsiteY23" fmla="*/ 562829 h 2373523"/>
                  <a:gd name="connsiteX24" fmla="*/ 12386023 w 12386023"/>
                  <a:gd name="connsiteY24" fmla="*/ 124447 h 2373523"/>
                  <a:gd name="connsiteX25" fmla="*/ 11779707 w 12386023"/>
                  <a:gd name="connsiteY25" fmla="*/ 299022 h 2373523"/>
                  <a:gd name="connsiteX26" fmla="*/ 11399982 w 12386023"/>
                  <a:gd name="connsiteY26" fmla="*/ 910907 h 2373523"/>
                  <a:gd name="connsiteX27" fmla="*/ 10943237 w 12386023"/>
                  <a:gd name="connsiteY27" fmla="*/ 1525068 h 2373523"/>
                  <a:gd name="connsiteX28" fmla="*/ 10375442 w 12386023"/>
                  <a:gd name="connsiteY28" fmla="*/ 1481851 h 2373523"/>
                  <a:gd name="connsiteX29" fmla="*/ 9868545 w 12386023"/>
                  <a:gd name="connsiteY29" fmla="*/ 922282 h 2373523"/>
                  <a:gd name="connsiteX30" fmla="*/ 9393890 w 12386023"/>
                  <a:gd name="connsiteY30" fmla="*/ 444601 h 2373523"/>
                  <a:gd name="connsiteX31" fmla="*/ 8791091 w 12386023"/>
                  <a:gd name="connsiteY31" fmla="*/ 20131 h 2373523"/>
                  <a:gd name="connsiteX32" fmla="*/ 7390504 w 12386023"/>
                  <a:gd name="connsiteY32" fmla="*/ 62625 h 2373523"/>
                  <a:gd name="connsiteX33" fmla="*/ 6243077 w 12386023"/>
                  <a:gd name="connsiteY33" fmla="*/ 113094 h 2373523"/>
                  <a:gd name="connsiteX34" fmla="*/ 9248668 w 12386023"/>
                  <a:gd name="connsiteY34" fmla="*/ 483648 h 2373523"/>
                  <a:gd name="connsiteX35" fmla="*/ 8892001 w 12386023"/>
                  <a:gd name="connsiteY35" fmla="*/ 445563 h 2373523"/>
                  <a:gd name="connsiteX36" fmla="*/ 9073222 w 12386023"/>
                  <a:gd name="connsiteY36" fmla="*/ 748027 h 2373523"/>
                  <a:gd name="connsiteX37" fmla="*/ 8714713 w 12386023"/>
                  <a:gd name="connsiteY37" fmla="*/ 320981 h 2373523"/>
                  <a:gd name="connsiteX38" fmla="*/ 8705072 w 12386023"/>
                  <a:gd name="connsiteY38" fmla="*/ 148058 h 2373523"/>
                  <a:gd name="connsiteX0" fmla="*/ 8705072 w 12386023"/>
                  <a:gd name="connsiteY0" fmla="*/ 148058 h 2373523"/>
                  <a:gd name="connsiteX1" fmla="*/ 8742561 w 12386023"/>
                  <a:gd name="connsiteY1" fmla="*/ 384564 h 2373523"/>
                  <a:gd name="connsiteX2" fmla="*/ 8676628 w 12386023"/>
                  <a:gd name="connsiteY2" fmla="*/ 298017 h 2373523"/>
                  <a:gd name="connsiteX3" fmla="*/ 8697801 w 12386023"/>
                  <a:gd name="connsiteY3" fmla="*/ 454697 h 2373523"/>
                  <a:gd name="connsiteX4" fmla="*/ 8652701 w 12386023"/>
                  <a:gd name="connsiteY4" fmla="*/ 640697 h 2373523"/>
                  <a:gd name="connsiteX5" fmla="*/ 421075 w 12386023"/>
                  <a:gd name="connsiteY5" fmla="*/ 800852 h 2373523"/>
                  <a:gd name="connsiteX6" fmla="*/ 1277876 w 12386023"/>
                  <a:gd name="connsiteY6" fmla="*/ 708409 h 2373523"/>
                  <a:gd name="connsiteX7" fmla="*/ 1972735 w 12386023"/>
                  <a:gd name="connsiteY7" fmla="*/ 742397 h 2373523"/>
                  <a:gd name="connsiteX8" fmla="*/ 2428745 w 12386023"/>
                  <a:gd name="connsiteY8" fmla="*/ 682909 h 2373523"/>
                  <a:gd name="connsiteX9" fmla="*/ 2906467 w 12386023"/>
                  <a:gd name="connsiteY9" fmla="*/ 682909 h 2373523"/>
                  <a:gd name="connsiteX10" fmla="*/ 3677336 w 12386023"/>
                  <a:gd name="connsiteY10" fmla="*/ 725403 h 2373523"/>
                  <a:gd name="connsiteX11" fmla="*/ 4556772 w 12386023"/>
                  <a:gd name="connsiteY11" fmla="*/ 708409 h 2373523"/>
                  <a:gd name="connsiteX12" fmla="*/ 5186490 w 12386023"/>
                  <a:gd name="connsiteY12" fmla="*/ 716915 h 2373523"/>
                  <a:gd name="connsiteX13" fmla="*/ 6022500 w 12386023"/>
                  <a:gd name="connsiteY13" fmla="*/ 716915 h 2373523"/>
                  <a:gd name="connsiteX14" fmla="*/ 7086513 w 12386023"/>
                  <a:gd name="connsiteY14" fmla="*/ 742415 h 2373523"/>
                  <a:gd name="connsiteX15" fmla="*/ 7835668 w 12386023"/>
                  <a:gd name="connsiteY15" fmla="*/ 733909 h 2373523"/>
                  <a:gd name="connsiteX16" fmla="*/ 8367663 w 12386023"/>
                  <a:gd name="connsiteY16" fmla="*/ 725403 h 2373523"/>
                  <a:gd name="connsiteX17" fmla="*/ 8988680 w 12386023"/>
                  <a:gd name="connsiteY17" fmla="*/ 1128151 h 2373523"/>
                  <a:gd name="connsiteX18" fmla="*/ 9558676 w 12386023"/>
                  <a:gd name="connsiteY18" fmla="*/ 1954983 h 2373523"/>
                  <a:gd name="connsiteX19" fmla="*/ 10490076 w 12386023"/>
                  <a:gd name="connsiteY19" fmla="*/ 2373522 h 2373523"/>
                  <a:gd name="connsiteX20" fmla="*/ 11536110 w 12386023"/>
                  <a:gd name="connsiteY20" fmla="*/ 1954985 h 2373523"/>
                  <a:gd name="connsiteX21" fmla="*/ 11827041 w 12386023"/>
                  <a:gd name="connsiteY21" fmla="*/ 1309250 h 2373523"/>
                  <a:gd name="connsiteX22" fmla="*/ 12137937 w 12386023"/>
                  <a:gd name="connsiteY22" fmla="*/ 863143 h 2373523"/>
                  <a:gd name="connsiteX23" fmla="*/ 12386023 w 12386023"/>
                  <a:gd name="connsiteY23" fmla="*/ 562829 h 2373523"/>
                  <a:gd name="connsiteX24" fmla="*/ 12386023 w 12386023"/>
                  <a:gd name="connsiteY24" fmla="*/ 124447 h 2373523"/>
                  <a:gd name="connsiteX25" fmla="*/ 11779707 w 12386023"/>
                  <a:gd name="connsiteY25" fmla="*/ 299022 h 2373523"/>
                  <a:gd name="connsiteX26" fmla="*/ 11399982 w 12386023"/>
                  <a:gd name="connsiteY26" fmla="*/ 910907 h 2373523"/>
                  <a:gd name="connsiteX27" fmla="*/ 10943237 w 12386023"/>
                  <a:gd name="connsiteY27" fmla="*/ 1525068 h 2373523"/>
                  <a:gd name="connsiteX28" fmla="*/ 10375442 w 12386023"/>
                  <a:gd name="connsiteY28" fmla="*/ 1481851 h 2373523"/>
                  <a:gd name="connsiteX29" fmla="*/ 9868545 w 12386023"/>
                  <a:gd name="connsiteY29" fmla="*/ 922282 h 2373523"/>
                  <a:gd name="connsiteX30" fmla="*/ 9393890 w 12386023"/>
                  <a:gd name="connsiteY30" fmla="*/ 444601 h 2373523"/>
                  <a:gd name="connsiteX31" fmla="*/ 8791091 w 12386023"/>
                  <a:gd name="connsiteY31" fmla="*/ 20131 h 2373523"/>
                  <a:gd name="connsiteX32" fmla="*/ 7390504 w 12386023"/>
                  <a:gd name="connsiteY32" fmla="*/ 62625 h 2373523"/>
                  <a:gd name="connsiteX33" fmla="*/ 9248668 w 12386023"/>
                  <a:gd name="connsiteY33" fmla="*/ 483648 h 2373523"/>
                  <a:gd name="connsiteX34" fmla="*/ 8892001 w 12386023"/>
                  <a:gd name="connsiteY34" fmla="*/ 445563 h 2373523"/>
                  <a:gd name="connsiteX35" fmla="*/ 9073222 w 12386023"/>
                  <a:gd name="connsiteY35" fmla="*/ 748027 h 2373523"/>
                  <a:gd name="connsiteX36" fmla="*/ 8714713 w 12386023"/>
                  <a:gd name="connsiteY36" fmla="*/ 320981 h 2373523"/>
                  <a:gd name="connsiteX37" fmla="*/ 8705072 w 12386023"/>
                  <a:gd name="connsiteY37" fmla="*/ 148058 h 2373523"/>
                  <a:gd name="connsiteX0" fmla="*/ 8705072 w 12386023"/>
                  <a:gd name="connsiteY0" fmla="*/ 148058 h 2373523"/>
                  <a:gd name="connsiteX1" fmla="*/ 8742561 w 12386023"/>
                  <a:gd name="connsiteY1" fmla="*/ 384564 h 2373523"/>
                  <a:gd name="connsiteX2" fmla="*/ 8676628 w 12386023"/>
                  <a:gd name="connsiteY2" fmla="*/ 298017 h 2373523"/>
                  <a:gd name="connsiteX3" fmla="*/ 8697801 w 12386023"/>
                  <a:gd name="connsiteY3" fmla="*/ 454697 h 2373523"/>
                  <a:gd name="connsiteX4" fmla="*/ 8652701 w 12386023"/>
                  <a:gd name="connsiteY4" fmla="*/ 640697 h 2373523"/>
                  <a:gd name="connsiteX5" fmla="*/ 421075 w 12386023"/>
                  <a:gd name="connsiteY5" fmla="*/ 800852 h 2373523"/>
                  <a:gd name="connsiteX6" fmla="*/ 1277876 w 12386023"/>
                  <a:gd name="connsiteY6" fmla="*/ 708409 h 2373523"/>
                  <a:gd name="connsiteX7" fmla="*/ 1972735 w 12386023"/>
                  <a:gd name="connsiteY7" fmla="*/ 742397 h 2373523"/>
                  <a:gd name="connsiteX8" fmla="*/ 2428745 w 12386023"/>
                  <a:gd name="connsiteY8" fmla="*/ 682909 h 2373523"/>
                  <a:gd name="connsiteX9" fmla="*/ 2906467 w 12386023"/>
                  <a:gd name="connsiteY9" fmla="*/ 682909 h 2373523"/>
                  <a:gd name="connsiteX10" fmla="*/ 3677336 w 12386023"/>
                  <a:gd name="connsiteY10" fmla="*/ 725403 h 2373523"/>
                  <a:gd name="connsiteX11" fmla="*/ 4556772 w 12386023"/>
                  <a:gd name="connsiteY11" fmla="*/ 708409 h 2373523"/>
                  <a:gd name="connsiteX12" fmla="*/ 5186490 w 12386023"/>
                  <a:gd name="connsiteY12" fmla="*/ 716915 h 2373523"/>
                  <a:gd name="connsiteX13" fmla="*/ 6022500 w 12386023"/>
                  <a:gd name="connsiteY13" fmla="*/ 716915 h 2373523"/>
                  <a:gd name="connsiteX14" fmla="*/ 7086513 w 12386023"/>
                  <a:gd name="connsiteY14" fmla="*/ 742415 h 2373523"/>
                  <a:gd name="connsiteX15" fmla="*/ 7835668 w 12386023"/>
                  <a:gd name="connsiteY15" fmla="*/ 733909 h 2373523"/>
                  <a:gd name="connsiteX16" fmla="*/ 8367663 w 12386023"/>
                  <a:gd name="connsiteY16" fmla="*/ 725403 h 2373523"/>
                  <a:gd name="connsiteX17" fmla="*/ 8988680 w 12386023"/>
                  <a:gd name="connsiteY17" fmla="*/ 1128151 h 2373523"/>
                  <a:gd name="connsiteX18" fmla="*/ 9558676 w 12386023"/>
                  <a:gd name="connsiteY18" fmla="*/ 1954983 h 2373523"/>
                  <a:gd name="connsiteX19" fmla="*/ 10490076 w 12386023"/>
                  <a:gd name="connsiteY19" fmla="*/ 2373522 h 2373523"/>
                  <a:gd name="connsiteX20" fmla="*/ 11536110 w 12386023"/>
                  <a:gd name="connsiteY20" fmla="*/ 1954985 h 2373523"/>
                  <a:gd name="connsiteX21" fmla="*/ 11827041 w 12386023"/>
                  <a:gd name="connsiteY21" fmla="*/ 1309250 h 2373523"/>
                  <a:gd name="connsiteX22" fmla="*/ 12137937 w 12386023"/>
                  <a:gd name="connsiteY22" fmla="*/ 863143 h 2373523"/>
                  <a:gd name="connsiteX23" fmla="*/ 12386023 w 12386023"/>
                  <a:gd name="connsiteY23" fmla="*/ 562829 h 2373523"/>
                  <a:gd name="connsiteX24" fmla="*/ 12386023 w 12386023"/>
                  <a:gd name="connsiteY24" fmla="*/ 124447 h 2373523"/>
                  <a:gd name="connsiteX25" fmla="*/ 11779707 w 12386023"/>
                  <a:gd name="connsiteY25" fmla="*/ 299022 h 2373523"/>
                  <a:gd name="connsiteX26" fmla="*/ 11399982 w 12386023"/>
                  <a:gd name="connsiteY26" fmla="*/ 910907 h 2373523"/>
                  <a:gd name="connsiteX27" fmla="*/ 10943237 w 12386023"/>
                  <a:gd name="connsiteY27" fmla="*/ 1525068 h 2373523"/>
                  <a:gd name="connsiteX28" fmla="*/ 10375442 w 12386023"/>
                  <a:gd name="connsiteY28" fmla="*/ 1481851 h 2373523"/>
                  <a:gd name="connsiteX29" fmla="*/ 9868545 w 12386023"/>
                  <a:gd name="connsiteY29" fmla="*/ 922282 h 2373523"/>
                  <a:gd name="connsiteX30" fmla="*/ 9393890 w 12386023"/>
                  <a:gd name="connsiteY30" fmla="*/ 444601 h 2373523"/>
                  <a:gd name="connsiteX31" fmla="*/ 8791091 w 12386023"/>
                  <a:gd name="connsiteY31" fmla="*/ 20131 h 2373523"/>
                  <a:gd name="connsiteX32" fmla="*/ 7390504 w 12386023"/>
                  <a:gd name="connsiteY32" fmla="*/ 62625 h 2373523"/>
                  <a:gd name="connsiteX33" fmla="*/ 9248668 w 12386023"/>
                  <a:gd name="connsiteY33" fmla="*/ 483648 h 2373523"/>
                  <a:gd name="connsiteX34" fmla="*/ 8892001 w 12386023"/>
                  <a:gd name="connsiteY34" fmla="*/ 445563 h 2373523"/>
                  <a:gd name="connsiteX35" fmla="*/ 9073222 w 12386023"/>
                  <a:gd name="connsiteY35" fmla="*/ 748027 h 2373523"/>
                  <a:gd name="connsiteX36" fmla="*/ 8705072 w 12386023"/>
                  <a:gd name="connsiteY36" fmla="*/ 148058 h 2373523"/>
                  <a:gd name="connsiteX0" fmla="*/ 8705072 w 12386023"/>
                  <a:gd name="connsiteY0" fmla="*/ 148058 h 2373523"/>
                  <a:gd name="connsiteX1" fmla="*/ 8742561 w 12386023"/>
                  <a:gd name="connsiteY1" fmla="*/ 384564 h 2373523"/>
                  <a:gd name="connsiteX2" fmla="*/ 8697801 w 12386023"/>
                  <a:gd name="connsiteY2" fmla="*/ 454697 h 2373523"/>
                  <a:gd name="connsiteX3" fmla="*/ 8652701 w 12386023"/>
                  <a:gd name="connsiteY3" fmla="*/ 640697 h 2373523"/>
                  <a:gd name="connsiteX4" fmla="*/ 421075 w 12386023"/>
                  <a:gd name="connsiteY4" fmla="*/ 800852 h 2373523"/>
                  <a:gd name="connsiteX5" fmla="*/ 1277876 w 12386023"/>
                  <a:gd name="connsiteY5" fmla="*/ 708409 h 2373523"/>
                  <a:gd name="connsiteX6" fmla="*/ 1972735 w 12386023"/>
                  <a:gd name="connsiteY6" fmla="*/ 742397 h 2373523"/>
                  <a:gd name="connsiteX7" fmla="*/ 2428745 w 12386023"/>
                  <a:gd name="connsiteY7" fmla="*/ 682909 h 2373523"/>
                  <a:gd name="connsiteX8" fmla="*/ 2906467 w 12386023"/>
                  <a:gd name="connsiteY8" fmla="*/ 682909 h 2373523"/>
                  <a:gd name="connsiteX9" fmla="*/ 3677336 w 12386023"/>
                  <a:gd name="connsiteY9" fmla="*/ 725403 h 2373523"/>
                  <a:gd name="connsiteX10" fmla="*/ 4556772 w 12386023"/>
                  <a:gd name="connsiteY10" fmla="*/ 708409 h 2373523"/>
                  <a:gd name="connsiteX11" fmla="*/ 5186490 w 12386023"/>
                  <a:gd name="connsiteY11" fmla="*/ 716915 h 2373523"/>
                  <a:gd name="connsiteX12" fmla="*/ 6022500 w 12386023"/>
                  <a:gd name="connsiteY12" fmla="*/ 716915 h 2373523"/>
                  <a:gd name="connsiteX13" fmla="*/ 7086513 w 12386023"/>
                  <a:gd name="connsiteY13" fmla="*/ 742415 h 2373523"/>
                  <a:gd name="connsiteX14" fmla="*/ 7835668 w 12386023"/>
                  <a:gd name="connsiteY14" fmla="*/ 733909 h 2373523"/>
                  <a:gd name="connsiteX15" fmla="*/ 8367663 w 12386023"/>
                  <a:gd name="connsiteY15" fmla="*/ 725403 h 2373523"/>
                  <a:gd name="connsiteX16" fmla="*/ 8988680 w 12386023"/>
                  <a:gd name="connsiteY16" fmla="*/ 1128151 h 2373523"/>
                  <a:gd name="connsiteX17" fmla="*/ 9558676 w 12386023"/>
                  <a:gd name="connsiteY17" fmla="*/ 1954983 h 2373523"/>
                  <a:gd name="connsiteX18" fmla="*/ 10490076 w 12386023"/>
                  <a:gd name="connsiteY18" fmla="*/ 2373522 h 2373523"/>
                  <a:gd name="connsiteX19" fmla="*/ 11536110 w 12386023"/>
                  <a:gd name="connsiteY19" fmla="*/ 1954985 h 2373523"/>
                  <a:gd name="connsiteX20" fmla="*/ 11827041 w 12386023"/>
                  <a:gd name="connsiteY20" fmla="*/ 1309250 h 2373523"/>
                  <a:gd name="connsiteX21" fmla="*/ 12137937 w 12386023"/>
                  <a:gd name="connsiteY21" fmla="*/ 863143 h 2373523"/>
                  <a:gd name="connsiteX22" fmla="*/ 12386023 w 12386023"/>
                  <a:gd name="connsiteY22" fmla="*/ 562829 h 2373523"/>
                  <a:gd name="connsiteX23" fmla="*/ 12386023 w 12386023"/>
                  <a:gd name="connsiteY23" fmla="*/ 124447 h 2373523"/>
                  <a:gd name="connsiteX24" fmla="*/ 11779707 w 12386023"/>
                  <a:gd name="connsiteY24" fmla="*/ 299022 h 2373523"/>
                  <a:gd name="connsiteX25" fmla="*/ 11399982 w 12386023"/>
                  <a:gd name="connsiteY25" fmla="*/ 910907 h 2373523"/>
                  <a:gd name="connsiteX26" fmla="*/ 10943237 w 12386023"/>
                  <a:gd name="connsiteY26" fmla="*/ 1525068 h 2373523"/>
                  <a:gd name="connsiteX27" fmla="*/ 10375442 w 12386023"/>
                  <a:gd name="connsiteY27" fmla="*/ 1481851 h 2373523"/>
                  <a:gd name="connsiteX28" fmla="*/ 9868545 w 12386023"/>
                  <a:gd name="connsiteY28" fmla="*/ 922282 h 2373523"/>
                  <a:gd name="connsiteX29" fmla="*/ 9393890 w 12386023"/>
                  <a:gd name="connsiteY29" fmla="*/ 444601 h 2373523"/>
                  <a:gd name="connsiteX30" fmla="*/ 8791091 w 12386023"/>
                  <a:gd name="connsiteY30" fmla="*/ 20131 h 2373523"/>
                  <a:gd name="connsiteX31" fmla="*/ 7390504 w 12386023"/>
                  <a:gd name="connsiteY31" fmla="*/ 62625 h 2373523"/>
                  <a:gd name="connsiteX32" fmla="*/ 9248668 w 12386023"/>
                  <a:gd name="connsiteY32" fmla="*/ 483648 h 2373523"/>
                  <a:gd name="connsiteX33" fmla="*/ 8892001 w 12386023"/>
                  <a:gd name="connsiteY33" fmla="*/ 445563 h 2373523"/>
                  <a:gd name="connsiteX34" fmla="*/ 9073222 w 12386023"/>
                  <a:gd name="connsiteY34" fmla="*/ 748027 h 2373523"/>
                  <a:gd name="connsiteX35" fmla="*/ 8705072 w 12386023"/>
                  <a:gd name="connsiteY35" fmla="*/ 148058 h 2373523"/>
                  <a:gd name="connsiteX0" fmla="*/ 8705072 w 12386023"/>
                  <a:gd name="connsiteY0" fmla="*/ 148058 h 2373523"/>
                  <a:gd name="connsiteX1" fmla="*/ 8697801 w 12386023"/>
                  <a:gd name="connsiteY1" fmla="*/ 454697 h 2373523"/>
                  <a:gd name="connsiteX2" fmla="*/ 8652701 w 12386023"/>
                  <a:gd name="connsiteY2" fmla="*/ 640697 h 2373523"/>
                  <a:gd name="connsiteX3" fmla="*/ 421075 w 12386023"/>
                  <a:gd name="connsiteY3" fmla="*/ 800852 h 2373523"/>
                  <a:gd name="connsiteX4" fmla="*/ 1277876 w 12386023"/>
                  <a:gd name="connsiteY4" fmla="*/ 708409 h 2373523"/>
                  <a:gd name="connsiteX5" fmla="*/ 1972735 w 12386023"/>
                  <a:gd name="connsiteY5" fmla="*/ 742397 h 2373523"/>
                  <a:gd name="connsiteX6" fmla="*/ 2428745 w 12386023"/>
                  <a:gd name="connsiteY6" fmla="*/ 682909 h 2373523"/>
                  <a:gd name="connsiteX7" fmla="*/ 2906467 w 12386023"/>
                  <a:gd name="connsiteY7" fmla="*/ 682909 h 2373523"/>
                  <a:gd name="connsiteX8" fmla="*/ 3677336 w 12386023"/>
                  <a:gd name="connsiteY8" fmla="*/ 725403 h 2373523"/>
                  <a:gd name="connsiteX9" fmla="*/ 4556772 w 12386023"/>
                  <a:gd name="connsiteY9" fmla="*/ 708409 h 2373523"/>
                  <a:gd name="connsiteX10" fmla="*/ 5186490 w 12386023"/>
                  <a:gd name="connsiteY10" fmla="*/ 716915 h 2373523"/>
                  <a:gd name="connsiteX11" fmla="*/ 6022500 w 12386023"/>
                  <a:gd name="connsiteY11" fmla="*/ 716915 h 2373523"/>
                  <a:gd name="connsiteX12" fmla="*/ 7086513 w 12386023"/>
                  <a:gd name="connsiteY12" fmla="*/ 742415 h 2373523"/>
                  <a:gd name="connsiteX13" fmla="*/ 7835668 w 12386023"/>
                  <a:gd name="connsiteY13" fmla="*/ 733909 h 2373523"/>
                  <a:gd name="connsiteX14" fmla="*/ 8367663 w 12386023"/>
                  <a:gd name="connsiteY14" fmla="*/ 725403 h 2373523"/>
                  <a:gd name="connsiteX15" fmla="*/ 8988680 w 12386023"/>
                  <a:gd name="connsiteY15" fmla="*/ 1128151 h 2373523"/>
                  <a:gd name="connsiteX16" fmla="*/ 9558676 w 12386023"/>
                  <a:gd name="connsiteY16" fmla="*/ 1954983 h 2373523"/>
                  <a:gd name="connsiteX17" fmla="*/ 10490076 w 12386023"/>
                  <a:gd name="connsiteY17" fmla="*/ 2373522 h 2373523"/>
                  <a:gd name="connsiteX18" fmla="*/ 11536110 w 12386023"/>
                  <a:gd name="connsiteY18" fmla="*/ 1954985 h 2373523"/>
                  <a:gd name="connsiteX19" fmla="*/ 11827041 w 12386023"/>
                  <a:gd name="connsiteY19" fmla="*/ 1309250 h 2373523"/>
                  <a:gd name="connsiteX20" fmla="*/ 12137937 w 12386023"/>
                  <a:gd name="connsiteY20" fmla="*/ 863143 h 2373523"/>
                  <a:gd name="connsiteX21" fmla="*/ 12386023 w 12386023"/>
                  <a:gd name="connsiteY21" fmla="*/ 562829 h 2373523"/>
                  <a:gd name="connsiteX22" fmla="*/ 12386023 w 12386023"/>
                  <a:gd name="connsiteY22" fmla="*/ 124447 h 2373523"/>
                  <a:gd name="connsiteX23" fmla="*/ 11779707 w 12386023"/>
                  <a:gd name="connsiteY23" fmla="*/ 299022 h 2373523"/>
                  <a:gd name="connsiteX24" fmla="*/ 11399982 w 12386023"/>
                  <a:gd name="connsiteY24" fmla="*/ 910907 h 2373523"/>
                  <a:gd name="connsiteX25" fmla="*/ 10943237 w 12386023"/>
                  <a:gd name="connsiteY25" fmla="*/ 1525068 h 2373523"/>
                  <a:gd name="connsiteX26" fmla="*/ 10375442 w 12386023"/>
                  <a:gd name="connsiteY26" fmla="*/ 1481851 h 2373523"/>
                  <a:gd name="connsiteX27" fmla="*/ 9868545 w 12386023"/>
                  <a:gd name="connsiteY27" fmla="*/ 922282 h 2373523"/>
                  <a:gd name="connsiteX28" fmla="*/ 9393890 w 12386023"/>
                  <a:gd name="connsiteY28" fmla="*/ 444601 h 2373523"/>
                  <a:gd name="connsiteX29" fmla="*/ 8791091 w 12386023"/>
                  <a:gd name="connsiteY29" fmla="*/ 20131 h 2373523"/>
                  <a:gd name="connsiteX30" fmla="*/ 7390504 w 12386023"/>
                  <a:gd name="connsiteY30" fmla="*/ 62625 h 2373523"/>
                  <a:gd name="connsiteX31" fmla="*/ 9248668 w 12386023"/>
                  <a:gd name="connsiteY31" fmla="*/ 483648 h 2373523"/>
                  <a:gd name="connsiteX32" fmla="*/ 8892001 w 12386023"/>
                  <a:gd name="connsiteY32" fmla="*/ 445563 h 2373523"/>
                  <a:gd name="connsiteX33" fmla="*/ 9073222 w 12386023"/>
                  <a:gd name="connsiteY33" fmla="*/ 748027 h 2373523"/>
                  <a:gd name="connsiteX34" fmla="*/ 8705072 w 12386023"/>
                  <a:gd name="connsiteY34" fmla="*/ 148058 h 2373523"/>
                  <a:gd name="connsiteX0" fmla="*/ 9073222 w 12386023"/>
                  <a:gd name="connsiteY0" fmla="*/ 748027 h 2373523"/>
                  <a:gd name="connsiteX1" fmla="*/ 8697801 w 12386023"/>
                  <a:gd name="connsiteY1" fmla="*/ 454697 h 2373523"/>
                  <a:gd name="connsiteX2" fmla="*/ 8652701 w 12386023"/>
                  <a:gd name="connsiteY2" fmla="*/ 640697 h 2373523"/>
                  <a:gd name="connsiteX3" fmla="*/ 421075 w 12386023"/>
                  <a:gd name="connsiteY3" fmla="*/ 800852 h 2373523"/>
                  <a:gd name="connsiteX4" fmla="*/ 1277876 w 12386023"/>
                  <a:gd name="connsiteY4" fmla="*/ 708409 h 2373523"/>
                  <a:gd name="connsiteX5" fmla="*/ 1972735 w 12386023"/>
                  <a:gd name="connsiteY5" fmla="*/ 742397 h 2373523"/>
                  <a:gd name="connsiteX6" fmla="*/ 2428745 w 12386023"/>
                  <a:gd name="connsiteY6" fmla="*/ 682909 h 2373523"/>
                  <a:gd name="connsiteX7" fmla="*/ 2906467 w 12386023"/>
                  <a:gd name="connsiteY7" fmla="*/ 682909 h 2373523"/>
                  <a:gd name="connsiteX8" fmla="*/ 3677336 w 12386023"/>
                  <a:gd name="connsiteY8" fmla="*/ 725403 h 2373523"/>
                  <a:gd name="connsiteX9" fmla="*/ 4556772 w 12386023"/>
                  <a:gd name="connsiteY9" fmla="*/ 708409 h 2373523"/>
                  <a:gd name="connsiteX10" fmla="*/ 5186490 w 12386023"/>
                  <a:gd name="connsiteY10" fmla="*/ 716915 h 2373523"/>
                  <a:gd name="connsiteX11" fmla="*/ 6022500 w 12386023"/>
                  <a:gd name="connsiteY11" fmla="*/ 716915 h 2373523"/>
                  <a:gd name="connsiteX12" fmla="*/ 7086513 w 12386023"/>
                  <a:gd name="connsiteY12" fmla="*/ 742415 h 2373523"/>
                  <a:gd name="connsiteX13" fmla="*/ 7835668 w 12386023"/>
                  <a:gd name="connsiteY13" fmla="*/ 733909 h 2373523"/>
                  <a:gd name="connsiteX14" fmla="*/ 8367663 w 12386023"/>
                  <a:gd name="connsiteY14" fmla="*/ 725403 h 2373523"/>
                  <a:gd name="connsiteX15" fmla="*/ 8988680 w 12386023"/>
                  <a:gd name="connsiteY15" fmla="*/ 1128151 h 2373523"/>
                  <a:gd name="connsiteX16" fmla="*/ 9558676 w 12386023"/>
                  <a:gd name="connsiteY16" fmla="*/ 1954983 h 2373523"/>
                  <a:gd name="connsiteX17" fmla="*/ 10490076 w 12386023"/>
                  <a:gd name="connsiteY17" fmla="*/ 2373522 h 2373523"/>
                  <a:gd name="connsiteX18" fmla="*/ 11536110 w 12386023"/>
                  <a:gd name="connsiteY18" fmla="*/ 1954985 h 2373523"/>
                  <a:gd name="connsiteX19" fmla="*/ 11827041 w 12386023"/>
                  <a:gd name="connsiteY19" fmla="*/ 1309250 h 2373523"/>
                  <a:gd name="connsiteX20" fmla="*/ 12137937 w 12386023"/>
                  <a:gd name="connsiteY20" fmla="*/ 863143 h 2373523"/>
                  <a:gd name="connsiteX21" fmla="*/ 12386023 w 12386023"/>
                  <a:gd name="connsiteY21" fmla="*/ 562829 h 2373523"/>
                  <a:gd name="connsiteX22" fmla="*/ 12386023 w 12386023"/>
                  <a:gd name="connsiteY22" fmla="*/ 124447 h 2373523"/>
                  <a:gd name="connsiteX23" fmla="*/ 11779707 w 12386023"/>
                  <a:gd name="connsiteY23" fmla="*/ 299022 h 2373523"/>
                  <a:gd name="connsiteX24" fmla="*/ 11399982 w 12386023"/>
                  <a:gd name="connsiteY24" fmla="*/ 910907 h 2373523"/>
                  <a:gd name="connsiteX25" fmla="*/ 10943237 w 12386023"/>
                  <a:gd name="connsiteY25" fmla="*/ 1525068 h 2373523"/>
                  <a:gd name="connsiteX26" fmla="*/ 10375442 w 12386023"/>
                  <a:gd name="connsiteY26" fmla="*/ 1481851 h 2373523"/>
                  <a:gd name="connsiteX27" fmla="*/ 9868545 w 12386023"/>
                  <a:gd name="connsiteY27" fmla="*/ 922282 h 2373523"/>
                  <a:gd name="connsiteX28" fmla="*/ 9393890 w 12386023"/>
                  <a:gd name="connsiteY28" fmla="*/ 444601 h 2373523"/>
                  <a:gd name="connsiteX29" fmla="*/ 8791091 w 12386023"/>
                  <a:gd name="connsiteY29" fmla="*/ 20131 h 2373523"/>
                  <a:gd name="connsiteX30" fmla="*/ 7390504 w 12386023"/>
                  <a:gd name="connsiteY30" fmla="*/ 62625 h 2373523"/>
                  <a:gd name="connsiteX31" fmla="*/ 9248668 w 12386023"/>
                  <a:gd name="connsiteY31" fmla="*/ 483648 h 2373523"/>
                  <a:gd name="connsiteX32" fmla="*/ 8892001 w 12386023"/>
                  <a:gd name="connsiteY32" fmla="*/ 445563 h 2373523"/>
                  <a:gd name="connsiteX33" fmla="*/ 9073222 w 12386023"/>
                  <a:gd name="connsiteY33" fmla="*/ 748027 h 2373523"/>
                  <a:gd name="connsiteX0" fmla="*/ 9073222 w 12386023"/>
                  <a:gd name="connsiteY0" fmla="*/ 748027 h 2373523"/>
                  <a:gd name="connsiteX1" fmla="*/ 8652701 w 12386023"/>
                  <a:gd name="connsiteY1" fmla="*/ 640697 h 2373523"/>
                  <a:gd name="connsiteX2" fmla="*/ 421075 w 12386023"/>
                  <a:gd name="connsiteY2" fmla="*/ 800852 h 2373523"/>
                  <a:gd name="connsiteX3" fmla="*/ 1277876 w 12386023"/>
                  <a:gd name="connsiteY3" fmla="*/ 708409 h 2373523"/>
                  <a:gd name="connsiteX4" fmla="*/ 1972735 w 12386023"/>
                  <a:gd name="connsiteY4" fmla="*/ 742397 h 2373523"/>
                  <a:gd name="connsiteX5" fmla="*/ 2428745 w 12386023"/>
                  <a:gd name="connsiteY5" fmla="*/ 682909 h 2373523"/>
                  <a:gd name="connsiteX6" fmla="*/ 2906467 w 12386023"/>
                  <a:gd name="connsiteY6" fmla="*/ 682909 h 2373523"/>
                  <a:gd name="connsiteX7" fmla="*/ 3677336 w 12386023"/>
                  <a:gd name="connsiteY7" fmla="*/ 725403 h 2373523"/>
                  <a:gd name="connsiteX8" fmla="*/ 4556772 w 12386023"/>
                  <a:gd name="connsiteY8" fmla="*/ 708409 h 2373523"/>
                  <a:gd name="connsiteX9" fmla="*/ 5186490 w 12386023"/>
                  <a:gd name="connsiteY9" fmla="*/ 716915 h 2373523"/>
                  <a:gd name="connsiteX10" fmla="*/ 6022500 w 12386023"/>
                  <a:gd name="connsiteY10" fmla="*/ 716915 h 2373523"/>
                  <a:gd name="connsiteX11" fmla="*/ 7086513 w 12386023"/>
                  <a:gd name="connsiteY11" fmla="*/ 742415 h 2373523"/>
                  <a:gd name="connsiteX12" fmla="*/ 7835668 w 12386023"/>
                  <a:gd name="connsiteY12" fmla="*/ 733909 h 2373523"/>
                  <a:gd name="connsiteX13" fmla="*/ 8367663 w 12386023"/>
                  <a:gd name="connsiteY13" fmla="*/ 725403 h 2373523"/>
                  <a:gd name="connsiteX14" fmla="*/ 8988680 w 12386023"/>
                  <a:gd name="connsiteY14" fmla="*/ 1128151 h 2373523"/>
                  <a:gd name="connsiteX15" fmla="*/ 9558676 w 12386023"/>
                  <a:gd name="connsiteY15" fmla="*/ 1954983 h 2373523"/>
                  <a:gd name="connsiteX16" fmla="*/ 10490076 w 12386023"/>
                  <a:gd name="connsiteY16" fmla="*/ 2373522 h 2373523"/>
                  <a:gd name="connsiteX17" fmla="*/ 11536110 w 12386023"/>
                  <a:gd name="connsiteY17" fmla="*/ 1954985 h 2373523"/>
                  <a:gd name="connsiteX18" fmla="*/ 11827041 w 12386023"/>
                  <a:gd name="connsiteY18" fmla="*/ 1309250 h 2373523"/>
                  <a:gd name="connsiteX19" fmla="*/ 12137937 w 12386023"/>
                  <a:gd name="connsiteY19" fmla="*/ 863143 h 2373523"/>
                  <a:gd name="connsiteX20" fmla="*/ 12386023 w 12386023"/>
                  <a:gd name="connsiteY20" fmla="*/ 562829 h 2373523"/>
                  <a:gd name="connsiteX21" fmla="*/ 12386023 w 12386023"/>
                  <a:gd name="connsiteY21" fmla="*/ 124447 h 2373523"/>
                  <a:gd name="connsiteX22" fmla="*/ 11779707 w 12386023"/>
                  <a:gd name="connsiteY22" fmla="*/ 299022 h 2373523"/>
                  <a:gd name="connsiteX23" fmla="*/ 11399982 w 12386023"/>
                  <a:gd name="connsiteY23" fmla="*/ 910907 h 2373523"/>
                  <a:gd name="connsiteX24" fmla="*/ 10943237 w 12386023"/>
                  <a:gd name="connsiteY24" fmla="*/ 1525068 h 2373523"/>
                  <a:gd name="connsiteX25" fmla="*/ 10375442 w 12386023"/>
                  <a:gd name="connsiteY25" fmla="*/ 1481851 h 2373523"/>
                  <a:gd name="connsiteX26" fmla="*/ 9868545 w 12386023"/>
                  <a:gd name="connsiteY26" fmla="*/ 922282 h 2373523"/>
                  <a:gd name="connsiteX27" fmla="*/ 9393890 w 12386023"/>
                  <a:gd name="connsiteY27" fmla="*/ 444601 h 2373523"/>
                  <a:gd name="connsiteX28" fmla="*/ 8791091 w 12386023"/>
                  <a:gd name="connsiteY28" fmla="*/ 20131 h 2373523"/>
                  <a:gd name="connsiteX29" fmla="*/ 7390504 w 12386023"/>
                  <a:gd name="connsiteY29" fmla="*/ 62625 h 2373523"/>
                  <a:gd name="connsiteX30" fmla="*/ 9248668 w 12386023"/>
                  <a:gd name="connsiteY30" fmla="*/ 483648 h 2373523"/>
                  <a:gd name="connsiteX31" fmla="*/ 8892001 w 12386023"/>
                  <a:gd name="connsiteY31" fmla="*/ 445563 h 2373523"/>
                  <a:gd name="connsiteX32" fmla="*/ 9073222 w 12386023"/>
                  <a:gd name="connsiteY32" fmla="*/ 748027 h 2373523"/>
                  <a:gd name="connsiteX0" fmla="*/ 9102751 w 12415552"/>
                  <a:gd name="connsiteY0" fmla="*/ 748027 h 2373523"/>
                  <a:gd name="connsiteX1" fmla="*/ 450604 w 12415552"/>
                  <a:gd name="connsiteY1" fmla="*/ 800852 h 2373523"/>
                  <a:gd name="connsiteX2" fmla="*/ 1307405 w 12415552"/>
                  <a:gd name="connsiteY2" fmla="*/ 708409 h 2373523"/>
                  <a:gd name="connsiteX3" fmla="*/ 2002264 w 12415552"/>
                  <a:gd name="connsiteY3" fmla="*/ 742397 h 2373523"/>
                  <a:gd name="connsiteX4" fmla="*/ 2458274 w 12415552"/>
                  <a:gd name="connsiteY4" fmla="*/ 682909 h 2373523"/>
                  <a:gd name="connsiteX5" fmla="*/ 2935996 w 12415552"/>
                  <a:gd name="connsiteY5" fmla="*/ 682909 h 2373523"/>
                  <a:gd name="connsiteX6" fmla="*/ 3706865 w 12415552"/>
                  <a:gd name="connsiteY6" fmla="*/ 725403 h 2373523"/>
                  <a:gd name="connsiteX7" fmla="*/ 4586301 w 12415552"/>
                  <a:gd name="connsiteY7" fmla="*/ 708409 h 2373523"/>
                  <a:gd name="connsiteX8" fmla="*/ 5216019 w 12415552"/>
                  <a:gd name="connsiteY8" fmla="*/ 716915 h 2373523"/>
                  <a:gd name="connsiteX9" fmla="*/ 6052029 w 12415552"/>
                  <a:gd name="connsiteY9" fmla="*/ 716915 h 2373523"/>
                  <a:gd name="connsiteX10" fmla="*/ 7116042 w 12415552"/>
                  <a:gd name="connsiteY10" fmla="*/ 742415 h 2373523"/>
                  <a:gd name="connsiteX11" fmla="*/ 7865197 w 12415552"/>
                  <a:gd name="connsiteY11" fmla="*/ 733909 h 2373523"/>
                  <a:gd name="connsiteX12" fmla="*/ 8397192 w 12415552"/>
                  <a:gd name="connsiteY12" fmla="*/ 725403 h 2373523"/>
                  <a:gd name="connsiteX13" fmla="*/ 9018209 w 12415552"/>
                  <a:gd name="connsiteY13" fmla="*/ 1128151 h 2373523"/>
                  <a:gd name="connsiteX14" fmla="*/ 9588205 w 12415552"/>
                  <a:gd name="connsiteY14" fmla="*/ 1954983 h 2373523"/>
                  <a:gd name="connsiteX15" fmla="*/ 10519605 w 12415552"/>
                  <a:gd name="connsiteY15" fmla="*/ 2373522 h 2373523"/>
                  <a:gd name="connsiteX16" fmla="*/ 11565639 w 12415552"/>
                  <a:gd name="connsiteY16" fmla="*/ 1954985 h 2373523"/>
                  <a:gd name="connsiteX17" fmla="*/ 11856570 w 12415552"/>
                  <a:gd name="connsiteY17" fmla="*/ 1309250 h 2373523"/>
                  <a:gd name="connsiteX18" fmla="*/ 12167466 w 12415552"/>
                  <a:gd name="connsiteY18" fmla="*/ 863143 h 2373523"/>
                  <a:gd name="connsiteX19" fmla="*/ 12415552 w 12415552"/>
                  <a:gd name="connsiteY19" fmla="*/ 562829 h 2373523"/>
                  <a:gd name="connsiteX20" fmla="*/ 12415552 w 12415552"/>
                  <a:gd name="connsiteY20" fmla="*/ 124447 h 2373523"/>
                  <a:gd name="connsiteX21" fmla="*/ 11809236 w 12415552"/>
                  <a:gd name="connsiteY21" fmla="*/ 299022 h 2373523"/>
                  <a:gd name="connsiteX22" fmla="*/ 11429511 w 12415552"/>
                  <a:gd name="connsiteY22" fmla="*/ 910907 h 2373523"/>
                  <a:gd name="connsiteX23" fmla="*/ 10972766 w 12415552"/>
                  <a:gd name="connsiteY23" fmla="*/ 1525068 h 2373523"/>
                  <a:gd name="connsiteX24" fmla="*/ 10404971 w 12415552"/>
                  <a:gd name="connsiteY24" fmla="*/ 1481851 h 2373523"/>
                  <a:gd name="connsiteX25" fmla="*/ 9898074 w 12415552"/>
                  <a:gd name="connsiteY25" fmla="*/ 922282 h 2373523"/>
                  <a:gd name="connsiteX26" fmla="*/ 9423419 w 12415552"/>
                  <a:gd name="connsiteY26" fmla="*/ 444601 h 2373523"/>
                  <a:gd name="connsiteX27" fmla="*/ 8820620 w 12415552"/>
                  <a:gd name="connsiteY27" fmla="*/ 20131 h 2373523"/>
                  <a:gd name="connsiteX28" fmla="*/ 7420033 w 12415552"/>
                  <a:gd name="connsiteY28" fmla="*/ 62625 h 2373523"/>
                  <a:gd name="connsiteX29" fmla="*/ 9278197 w 12415552"/>
                  <a:gd name="connsiteY29" fmla="*/ 483648 h 2373523"/>
                  <a:gd name="connsiteX30" fmla="*/ 8921530 w 12415552"/>
                  <a:gd name="connsiteY30" fmla="*/ 445563 h 2373523"/>
                  <a:gd name="connsiteX31" fmla="*/ 9102751 w 12415552"/>
                  <a:gd name="connsiteY31" fmla="*/ 748027 h 2373523"/>
                  <a:gd name="connsiteX0" fmla="*/ 9102753 w 12415554"/>
                  <a:gd name="connsiteY0" fmla="*/ 748027 h 2373523"/>
                  <a:gd name="connsiteX1" fmla="*/ 450606 w 12415554"/>
                  <a:gd name="connsiteY1" fmla="*/ 800852 h 2373523"/>
                  <a:gd name="connsiteX2" fmla="*/ 1307407 w 12415554"/>
                  <a:gd name="connsiteY2" fmla="*/ 708409 h 2373523"/>
                  <a:gd name="connsiteX3" fmla="*/ 2002266 w 12415554"/>
                  <a:gd name="connsiteY3" fmla="*/ 742397 h 2373523"/>
                  <a:gd name="connsiteX4" fmla="*/ 2458276 w 12415554"/>
                  <a:gd name="connsiteY4" fmla="*/ 682909 h 2373523"/>
                  <a:gd name="connsiteX5" fmla="*/ 2935998 w 12415554"/>
                  <a:gd name="connsiteY5" fmla="*/ 682909 h 2373523"/>
                  <a:gd name="connsiteX6" fmla="*/ 3706867 w 12415554"/>
                  <a:gd name="connsiteY6" fmla="*/ 725403 h 2373523"/>
                  <a:gd name="connsiteX7" fmla="*/ 4586303 w 12415554"/>
                  <a:gd name="connsiteY7" fmla="*/ 708409 h 2373523"/>
                  <a:gd name="connsiteX8" fmla="*/ 5216021 w 12415554"/>
                  <a:gd name="connsiteY8" fmla="*/ 716915 h 2373523"/>
                  <a:gd name="connsiteX9" fmla="*/ 6052031 w 12415554"/>
                  <a:gd name="connsiteY9" fmla="*/ 716915 h 2373523"/>
                  <a:gd name="connsiteX10" fmla="*/ 7116044 w 12415554"/>
                  <a:gd name="connsiteY10" fmla="*/ 742415 h 2373523"/>
                  <a:gd name="connsiteX11" fmla="*/ 7865199 w 12415554"/>
                  <a:gd name="connsiteY11" fmla="*/ 733909 h 2373523"/>
                  <a:gd name="connsiteX12" fmla="*/ 8397194 w 12415554"/>
                  <a:gd name="connsiteY12" fmla="*/ 725403 h 2373523"/>
                  <a:gd name="connsiteX13" fmla="*/ 9018211 w 12415554"/>
                  <a:gd name="connsiteY13" fmla="*/ 1128151 h 2373523"/>
                  <a:gd name="connsiteX14" fmla="*/ 9588207 w 12415554"/>
                  <a:gd name="connsiteY14" fmla="*/ 1954983 h 2373523"/>
                  <a:gd name="connsiteX15" fmla="*/ 10519607 w 12415554"/>
                  <a:gd name="connsiteY15" fmla="*/ 2373522 h 2373523"/>
                  <a:gd name="connsiteX16" fmla="*/ 11565641 w 12415554"/>
                  <a:gd name="connsiteY16" fmla="*/ 1954985 h 2373523"/>
                  <a:gd name="connsiteX17" fmla="*/ 11856572 w 12415554"/>
                  <a:gd name="connsiteY17" fmla="*/ 1309250 h 2373523"/>
                  <a:gd name="connsiteX18" fmla="*/ 12167468 w 12415554"/>
                  <a:gd name="connsiteY18" fmla="*/ 863143 h 2373523"/>
                  <a:gd name="connsiteX19" fmla="*/ 12415554 w 12415554"/>
                  <a:gd name="connsiteY19" fmla="*/ 562829 h 2373523"/>
                  <a:gd name="connsiteX20" fmla="*/ 12415554 w 12415554"/>
                  <a:gd name="connsiteY20" fmla="*/ 124447 h 2373523"/>
                  <a:gd name="connsiteX21" fmla="*/ 11809238 w 12415554"/>
                  <a:gd name="connsiteY21" fmla="*/ 299022 h 2373523"/>
                  <a:gd name="connsiteX22" fmla="*/ 11429513 w 12415554"/>
                  <a:gd name="connsiteY22" fmla="*/ 910907 h 2373523"/>
                  <a:gd name="connsiteX23" fmla="*/ 10972768 w 12415554"/>
                  <a:gd name="connsiteY23" fmla="*/ 1525068 h 2373523"/>
                  <a:gd name="connsiteX24" fmla="*/ 10404973 w 12415554"/>
                  <a:gd name="connsiteY24" fmla="*/ 1481851 h 2373523"/>
                  <a:gd name="connsiteX25" fmla="*/ 9898076 w 12415554"/>
                  <a:gd name="connsiteY25" fmla="*/ 922282 h 2373523"/>
                  <a:gd name="connsiteX26" fmla="*/ 9423421 w 12415554"/>
                  <a:gd name="connsiteY26" fmla="*/ 444601 h 2373523"/>
                  <a:gd name="connsiteX27" fmla="*/ 8820622 w 12415554"/>
                  <a:gd name="connsiteY27" fmla="*/ 20131 h 2373523"/>
                  <a:gd name="connsiteX28" fmla="*/ 7420035 w 12415554"/>
                  <a:gd name="connsiteY28" fmla="*/ 62625 h 2373523"/>
                  <a:gd name="connsiteX29" fmla="*/ 9278199 w 12415554"/>
                  <a:gd name="connsiteY29" fmla="*/ 483648 h 2373523"/>
                  <a:gd name="connsiteX30" fmla="*/ 9102753 w 12415554"/>
                  <a:gd name="connsiteY30" fmla="*/ 748027 h 2373523"/>
                  <a:gd name="connsiteX0" fmla="*/ 9102753 w 12415554"/>
                  <a:gd name="connsiteY0" fmla="*/ 748027 h 2373523"/>
                  <a:gd name="connsiteX1" fmla="*/ 450606 w 12415554"/>
                  <a:gd name="connsiteY1" fmla="*/ 800852 h 2373523"/>
                  <a:gd name="connsiteX2" fmla="*/ 1307407 w 12415554"/>
                  <a:gd name="connsiteY2" fmla="*/ 708409 h 2373523"/>
                  <a:gd name="connsiteX3" fmla="*/ 2002266 w 12415554"/>
                  <a:gd name="connsiteY3" fmla="*/ 742397 h 2373523"/>
                  <a:gd name="connsiteX4" fmla="*/ 2458276 w 12415554"/>
                  <a:gd name="connsiteY4" fmla="*/ 682909 h 2373523"/>
                  <a:gd name="connsiteX5" fmla="*/ 2935998 w 12415554"/>
                  <a:gd name="connsiteY5" fmla="*/ 682909 h 2373523"/>
                  <a:gd name="connsiteX6" fmla="*/ 3706867 w 12415554"/>
                  <a:gd name="connsiteY6" fmla="*/ 725403 h 2373523"/>
                  <a:gd name="connsiteX7" fmla="*/ 4586303 w 12415554"/>
                  <a:gd name="connsiteY7" fmla="*/ 708409 h 2373523"/>
                  <a:gd name="connsiteX8" fmla="*/ 5216021 w 12415554"/>
                  <a:gd name="connsiteY8" fmla="*/ 716915 h 2373523"/>
                  <a:gd name="connsiteX9" fmla="*/ 6052031 w 12415554"/>
                  <a:gd name="connsiteY9" fmla="*/ 716915 h 2373523"/>
                  <a:gd name="connsiteX10" fmla="*/ 7116044 w 12415554"/>
                  <a:gd name="connsiteY10" fmla="*/ 742415 h 2373523"/>
                  <a:gd name="connsiteX11" fmla="*/ 7865199 w 12415554"/>
                  <a:gd name="connsiteY11" fmla="*/ 733909 h 2373523"/>
                  <a:gd name="connsiteX12" fmla="*/ 8397194 w 12415554"/>
                  <a:gd name="connsiteY12" fmla="*/ 725403 h 2373523"/>
                  <a:gd name="connsiteX13" fmla="*/ 9018211 w 12415554"/>
                  <a:gd name="connsiteY13" fmla="*/ 1128151 h 2373523"/>
                  <a:gd name="connsiteX14" fmla="*/ 9588207 w 12415554"/>
                  <a:gd name="connsiteY14" fmla="*/ 1954983 h 2373523"/>
                  <a:gd name="connsiteX15" fmla="*/ 10519607 w 12415554"/>
                  <a:gd name="connsiteY15" fmla="*/ 2373522 h 2373523"/>
                  <a:gd name="connsiteX16" fmla="*/ 11565641 w 12415554"/>
                  <a:gd name="connsiteY16" fmla="*/ 1954985 h 2373523"/>
                  <a:gd name="connsiteX17" fmla="*/ 11856572 w 12415554"/>
                  <a:gd name="connsiteY17" fmla="*/ 1309250 h 2373523"/>
                  <a:gd name="connsiteX18" fmla="*/ 12167468 w 12415554"/>
                  <a:gd name="connsiteY18" fmla="*/ 863143 h 2373523"/>
                  <a:gd name="connsiteX19" fmla="*/ 12415554 w 12415554"/>
                  <a:gd name="connsiteY19" fmla="*/ 562829 h 2373523"/>
                  <a:gd name="connsiteX20" fmla="*/ 12415554 w 12415554"/>
                  <a:gd name="connsiteY20" fmla="*/ 124447 h 2373523"/>
                  <a:gd name="connsiteX21" fmla="*/ 11809238 w 12415554"/>
                  <a:gd name="connsiteY21" fmla="*/ 299022 h 2373523"/>
                  <a:gd name="connsiteX22" fmla="*/ 11429513 w 12415554"/>
                  <a:gd name="connsiteY22" fmla="*/ 910907 h 2373523"/>
                  <a:gd name="connsiteX23" fmla="*/ 10972768 w 12415554"/>
                  <a:gd name="connsiteY23" fmla="*/ 1525068 h 2373523"/>
                  <a:gd name="connsiteX24" fmla="*/ 10404973 w 12415554"/>
                  <a:gd name="connsiteY24" fmla="*/ 1481851 h 2373523"/>
                  <a:gd name="connsiteX25" fmla="*/ 9898076 w 12415554"/>
                  <a:gd name="connsiteY25" fmla="*/ 922282 h 2373523"/>
                  <a:gd name="connsiteX26" fmla="*/ 9423421 w 12415554"/>
                  <a:gd name="connsiteY26" fmla="*/ 444601 h 2373523"/>
                  <a:gd name="connsiteX27" fmla="*/ 8820622 w 12415554"/>
                  <a:gd name="connsiteY27" fmla="*/ 20131 h 2373523"/>
                  <a:gd name="connsiteX28" fmla="*/ 7420035 w 12415554"/>
                  <a:gd name="connsiteY28" fmla="*/ 62625 h 2373523"/>
                  <a:gd name="connsiteX29" fmla="*/ 9102753 w 12415554"/>
                  <a:gd name="connsiteY29" fmla="*/ 748027 h 2373523"/>
                  <a:gd name="connsiteX0" fmla="*/ 7302823 w 12298342"/>
                  <a:gd name="connsiteY0" fmla="*/ 62625 h 2373523"/>
                  <a:gd name="connsiteX1" fmla="*/ 333394 w 12298342"/>
                  <a:gd name="connsiteY1" fmla="*/ 800852 h 2373523"/>
                  <a:gd name="connsiteX2" fmla="*/ 1190195 w 12298342"/>
                  <a:gd name="connsiteY2" fmla="*/ 708409 h 2373523"/>
                  <a:gd name="connsiteX3" fmla="*/ 1885054 w 12298342"/>
                  <a:gd name="connsiteY3" fmla="*/ 742397 h 2373523"/>
                  <a:gd name="connsiteX4" fmla="*/ 2341064 w 12298342"/>
                  <a:gd name="connsiteY4" fmla="*/ 682909 h 2373523"/>
                  <a:gd name="connsiteX5" fmla="*/ 2818786 w 12298342"/>
                  <a:gd name="connsiteY5" fmla="*/ 682909 h 2373523"/>
                  <a:gd name="connsiteX6" fmla="*/ 3589655 w 12298342"/>
                  <a:gd name="connsiteY6" fmla="*/ 725403 h 2373523"/>
                  <a:gd name="connsiteX7" fmla="*/ 4469091 w 12298342"/>
                  <a:gd name="connsiteY7" fmla="*/ 708409 h 2373523"/>
                  <a:gd name="connsiteX8" fmla="*/ 5098809 w 12298342"/>
                  <a:gd name="connsiteY8" fmla="*/ 716915 h 2373523"/>
                  <a:gd name="connsiteX9" fmla="*/ 5934819 w 12298342"/>
                  <a:gd name="connsiteY9" fmla="*/ 716915 h 2373523"/>
                  <a:gd name="connsiteX10" fmla="*/ 6998832 w 12298342"/>
                  <a:gd name="connsiteY10" fmla="*/ 742415 h 2373523"/>
                  <a:gd name="connsiteX11" fmla="*/ 7747987 w 12298342"/>
                  <a:gd name="connsiteY11" fmla="*/ 733909 h 2373523"/>
                  <a:gd name="connsiteX12" fmla="*/ 8279982 w 12298342"/>
                  <a:gd name="connsiteY12" fmla="*/ 725403 h 2373523"/>
                  <a:gd name="connsiteX13" fmla="*/ 8900999 w 12298342"/>
                  <a:gd name="connsiteY13" fmla="*/ 1128151 h 2373523"/>
                  <a:gd name="connsiteX14" fmla="*/ 9470995 w 12298342"/>
                  <a:gd name="connsiteY14" fmla="*/ 1954983 h 2373523"/>
                  <a:gd name="connsiteX15" fmla="*/ 10402395 w 12298342"/>
                  <a:gd name="connsiteY15" fmla="*/ 2373522 h 2373523"/>
                  <a:gd name="connsiteX16" fmla="*/ 11448429 w 12298342"/>
                  <a:gd name="connsiteY16" fmla="*/ 1954985 h 2373523"/>
                  <a:gd name="connsiteX17" fmla="*/ 11739360 w 12298342"/>
                  <a:gd name="connsiteY17" fmla="*/ 1309250 h 2373523"/>
                  <a:gd name="connsiteX18" fmla="*/ 12050256 w 12298342"/>
                  <a:gd name="connsiteY18" fmla="*/ 863143 h 2373523"/>
                  <a:gd name="connsiteX19" fmla="*/ 12298342 w 12298342"/>
                  <a:gd name="connsiteY19" fmla="*/ 562829 h 2373523"/>
                  <a:gd name="connsiteX20" fmla="*/ 12298342 w 12298342"/>
                  <a:gd name="connsiteY20" fmla="*/ 124447 h 2373523"/>
                  <a:gd name="connsiteX21" fmla="*/ 11692026 w 12298342"/>
                  <a:gd name="connsiteY21" fmla="*/ 299022 h 2373523"/>
                  <a:gd name="connsiteX22" fmla="*/ 11312301 w 12298342"/>
                  <a:gd name="connsiteY22" fmla="*/ 910907 h 2373523"/>
                  <a:gd name="connsiteX23" fmla="*/ 10855556 w 12298342"/>
                  <a:gd name="connsiteY23" fmla="*/ 1525068 h 2373523"/>
                  <a:gd name="connsiteX24" fmla="*/ 10287761 w 12298342"/>
                  <a:gd name="connsiteY24" fmla="*/ 1481851 h 2373523"/>
                  <a:gd name="connsiteX25" fmla="*/ 9780864 w 12298342"/>
                  <a:gd name="connsiteY25" fmla="*/ 922282 h 2373523"/>
                  <a:gd name="connsiteX26" fmla="*/ 9306209 w 12298342"/>
                  <a:gd name="connsiteY26" fmla="*/ 444601 h 2373523"/>
                  <a:gd name="connsiteX27" fmla="*/ 8703410 w 12298342"/>
                  <a:gd name="connsiteY27" fmla="*/ 20131 h 2373523"/>
                  <a:gd name="connsiteX28" fmla="*/ 7302823 w 12298342"/>
                  <a:gd name="connsiteY28" fmla="*/ 62625 h 2373523"/>
                  <a:gd name="connsiteX0" fmla="*/ 8557475 w 12379789"/>
                  <a:gd name="connsiteY0" fmla="*/ 304971 h 2354282"/>
                  <a:gd name="connsiteX1" fmla="*/ 414841 w 12379789"/>
                  <a:gd name="connsiteY1" fmla="*/ 781611 h 2354282"/>
                  <a:gd name="connsiteX2" fmla="*/ 1271642 w 12379789"/>
                  <a:gd name="connsiteY2" fmla="*/ 689168 h 2354282"/>
                  <a:gd name="connsiteX3" fmla="*/ 1966501 w 12379789"/>
                  <a:gd name="connsiteY3" fmla="*/ 723156 h 2354282"/>
                  <a:gd name="connsiteX4" fmla="*/ 2422511 w 12379789"/>
                  <a:gd name="connsiteY4" fmla="*/ 663668 h 2354282"/>
                  <a:gd name="connsiteX5" fmla="*/ 2900233 w 12379789"/>
                  <a:gd name="connsiteY5" fmla="*/ 663668 h 2354282"/>
                  <a:gd name="connsiteX6" fmla="*/ 3671102 w 12379789"/>
                  <a:gd name="connsiteY6" fmla="*/ 706162 h 2354282"/>
                  <a:gd name="connsiteX7" fmla="*/ 4550538 w 12379789"/>
                  <a:gd name="connsiteY7" fmla="*/ 689168 h 2354282"/>
                  <a:gd name="connsiteX8" fmla="*/ 5180256 w 12379789"/>
                  <a:gd name="connsiteY8" fmla="*/ 697674 h 2354282"/>
                  <a:gd name="connsiteX9" fmla="*/ 6016266 w 12379789"/>
                  <a:gd name="connsiteY9" fmla="*/ 697674 h 2354282"/>
                  <a:gd name="connsiteX10" fmla="*/ 7080279 w 12379789"/>
                  <a:gd name="connsiteY10" fmla="*/ 723174 h 2354282"/>
                  <a:gd name="connsiteX11" fmla="*/ 7829434 w 12379789"/>
                  <a:gd name="connsiteY11" fmla="*/ 714668 h 2354282"/>
                  <a:gd name="connsiteX12" fmla="*/ 8361429 w 12379789"/>
                  <a:gd name="connsiteY12" fmla="*/ 706162 h 2354282"/>
                  <a:gd name="connsiteX13" fmla="*/ 8982446 w 12379789"/>
                  <a:gd name="connsiteY13" fmla="*/ 1108910 h 2354282"/>
                  <a:gd name="connsiteX14" fmla="*/ 9552442 w 12379789"/>
                  <a:gd name="connsiteY14" fmla="*/ 1935742 h 2354282"/>
                  <a:gd name="connsiteX15" fmla="*/ 10483842 w 12379789"/>
                  <a:gd name="connsiteY15" fmla="*/ 2354281 h 2354282"/>
                  <a:gd name="connsiteX16" fmla="*/ 11529876 w 12379789"/>
                  <a:gd name="connsiteY16" fmla="*/ 1935744 h 2354282"/>
                  <a:gd name="connsiteX17" fmla="*/ 11820807 w 12379789"/>
                  <a:gd name="connsiteY17" fmla="*/ 1290009 h 2354282"/>
                  <a:gd name="connsiteX18" fmla="*/ 12131703 w 12379789"/>
                  <a:gd name="connsiteY18" fmla="*/ 843902 h 2354282"/>
                  <a:gd name="connsiteX19" fmla="*/ 12379789 w 12379789"/>
                  <a:gd name="connsiteY19" fmla="*/ 543588 h 2354282"/>
                  <a:gd name="connsiteX20" fmla="*/ 12379789 w 12379789"/>
                  <a:gd name="connsiteY20" fmla="*/ 105206 h 2354282"/>
                  <a:gd name="connsiteX21" fmla="*/ 11773473 w 12379789"/>
                  <a:gd name="connsiteY21" fmla="*/ 279781 h 2354282"/>
                  <a:gd name="connsiteX22" fmla="*/ 11393748 w 12379789"/>
                  <a:gd name="connsiteY22" fmla="*/ 891666 h 2354282"/>
                  <a:gd name="connsiteX23" fmla="*/ 10937003 w 12379789"/>
                  <a:gd name="connsiteY23" fmla="*/ 1505827 h 2354282"/>
                  <a:gd name="connsiteX24" fmla="*/ 10369208 w 12379789"/>
                  <a:gd name="connsiteY24" fmla="*/ 1462610 h 2354282"/>
                  <a:gd name="connsiteX25" fmla="*/ 9862311 w 12379789"/>
                  <a:gd name="connsiteY25" fmla="*/ 903041 h 2354282"/>
                  <a:gd name="connsiteX26" fmla="*/ 9387656 w 12379789"/>
                  <a:gd name="connsiteY26" fmla="*/ 425360 h 2354282"/>
                  <a:gd name="connsiteX27" fmla="*/ 8784857 w 12379789"/>
                  <a:gd name="connsiteY27" fmla="*/ 890 h 2354282"/>
                  <a:gd name="connsiteX28" fmla="*/ 8557475 w 12379789"/>
                  <a:gd name="connsiteY28" fmla="*/ 304971 h 2354282"/>
                  <a:gd name="connsiteX0" fmla="*/ 8557477 w 12379791"/>
                  <a:gd name="connsiteY0" fmla="*/ 212886 h 2262197"/>
                  <a:gd name="connsiteX1" fmla="*/ 414843 w 12379791"/>
                  <a:gd name="connsiteY1" fmla="*/ 689526 h 2262197"/>
                  <a:gd name="connsiteX2" fmla="*/ 1271644 w 12379791"/>
                  <a:gd name="connsiteY2" fmla="*/ 597083 h 2262197"/>
                  <a:gd name="connsiteX3" fmla="*/ 1966503 w 12379791"/>
                  <a:gd name="connsiteY3" fmla="*/ 631071 h 2262197"/>
                  <a:gd name="connsiteX4" fmla="*/ 2422513 w 12379791"/>
                  <a:gd name="connsiteY4" fmla="*/ 571583 h 2262197"/>
                  <a:gd name="connsiteX5" fmla="*/ 2900235 w 12379791"/>
                  <a:gd name="connsiteY5" fmla="*/ 571583 h 2262197"/>
                  <a:gd name="connsiteX6" fmla="*/ 3671104 w 12379791"/>
                  <a:gd name="connsiteY6" fmla="*/ 614077 h 2262197"/>
                  <a:gd name="connsiteX7" fmla="*/ 4550540 w 12379791"/>
                  <a:gd name="connsiteY7" fmla="*/ 597083 h 2262197"/>
                  <a:gd name="connsiteX8" fmla="*/ 5180258 w 12379791"/>
                  <a:gd name="connsiteY8" fmla="*/ 605589 h 2262197"/>
                  <a:gd name="connsiteX9" fmla="*/ 6016268 w 12379791"/>
                  <a:gd name="connsiteY9" fmla="*/ 605589 h 2262197"/>
                  <a:gd name="connsiteX10" fmla="*/ 7080281 w 12379791"/>
                  <a:gd name="connsiteY10" fmla="*/ 631089 h 2262197"/>
                  <a:gd name="connsiteX11" fmla="*/ 7829436 w 12379791"/>
                  <a:gd name="connsiteY11" fmla="*/ 622583 h 2262197"/>
                  <a:gd name="connsiteX12" fmla="*/ 8361431 w 12379791"/>
                  <a:gd name="connsiteY12" fmla="*/ 614077 h 2262197"/>
                  <a:gd name="connsiteX13" fmla="*/ 8982448 w 12379791"/>
                  <a:gd name="connsiteY13" fmla="*/ 1016825 h 2262197"/>
                  <a:gd name="connsiteX14" fmla="*/ 9552444 w 12379791"/>
                  <a:gd name="connsiteY14" fmla="*/ 1843657 h 2262197"/>
                  <a:gd name="connsiteX15" fmla="*/ 10483844 w 12379791"/>
                  <a:gd name="connsiteY15" fmla="*/ 2262196 h 2262197"/>
                  <a:gd name="connsiteX16" fmla="*/ 11529878 w 12379791"/>
                  <a:gd name="connsiteY16" fmla="*/ 1843659 h 2262197"/>
                  <a:gd name="connsiteX17" fmla="*/ 11820809 w 12379791"/>
                  <a:gd name="connsiteY17" fmla="*/ 1197924 h 2262197"/>
                  <a:gd name="connsiteX18" fmla="*/ 12131705 w 12379791"/>
                  <a:gd name="connsiteY18" fmla="*/ 751817 h 2262197"/>
                  <a:gd name="connsiteX19" fmla="*/ 12379791 w 12379791"/>
                  <a:gd name="connsiteY19" fmla="*/ 451503 h 2262197"/>
                  <a:gd name="connsiteX20" fmla="*/ 12379791 w 12379791"/>
                  <a:gd name="connsiteY20" fmla="*/ 13121 h 2262197"/>
                  <a:gd name="connsiteX21" fmla="*/ 11773475 w 12379791"/>
                  <a:gd name="connsiteY21" fmla="*/ 187696 h 2262197"/>
                  <a:gd name="connsiteX22" fmla="*/ 11393750 w 12379791"/>
                  <a:gd name="connsiteY22" fmla="*/ 799581 h 2262197"/>
                  <a:gd name="connsiteX23" fmla="*/ 10937005 w 12379791"/>
                  <a:gd name="connsiteY23" fmla="*/ 1413742 h 2262197"/>
                  <a:gd name="connsiteX24" fmla="*/ 10369210 w 12379791"/>
                  <a:gd name="connsiteY24" fmla="*/ 1370525 h 2262197"/>
                  <a:gd name="connsiteX25" fmla="*/ 9862313 w 12379791"/>
                  <a:gd name="connsiteY25" fmla="*/ 810956 h 2262197"/>
                  <a:gd name="connsiteX26" fmla="*/ 9387658 w 12379791"/>
                  <a:gd name="connsiteY26" fmla="*/ 333275 h 2262197"/>
                  <a:gd name="connsiteX27" fmla="*/ 8614705 w 12379791"/>
                  <a:gd name="connsiteY27" fmla="*/ 45280 h 2262197"/>
                  <a:gd name="connsiteX28" fmla="*/ 8557477 w 12379791"/>
                  <a:gd name="connsiteY28" fmla="*/ 212886 h 2262197"/>
                  <a:gd name="connsiteX0" fmla="*/ 8557477 w 12379791"/>
                  <a:gd name="connsiteY0" fmla="*/ 220165 h 2269476"/>
                  <a:gd name="connsiteX1" fmla="*/ 414843 w 12379791"/>
                  <a:gd name="connsiteY1" fmla="*/ 696805 h 2269476"/>
                  <a:gd name="connsiteX2" fmla="*/ 1271644 w 12379791"/>
                  <a:gd name="connsiteY2" fmla="*/ 604362 h 2269476"/>
                  <a:gd name="connsiteX3" fmla="*/ 1966503 w 12379791"/>
                  <a:gd name="connsiteY3" fmla="*/ 638350 h 2269476"/>
                  <a:gd name="connsiteX4" fmla="*/ 2422513 w 12379791"/>
                  <a:gd name="connsiteY4" fmla="*/ 578862 h 2269476"/>
                  <a:gd name="connsiteX5" fmla="*/ 2900235 w 12379791"/>
                  <a:gd name="connsiteY5" fmla="*/ 578862 h 2269476"/>
                  <a:gd name="connsiteX6" fmla="*/ 3671104 w 12379791"/>
                  <a:gd name="connsiteY6" fmla="*/ 621356 h 2269476"/>
                  <a:gd name="connsiteX7" fmla="*/ 4550540 w 12379791"/>
                  <a:gd name="connsiteY7" fmla="*/ 604362 h 2269476"/>
                  <a:gd name="connsiteX8" fmla="*/ 5180258 w 12379791"/>
                  <a:gd name="connsiteY8" fmla="*/ 612868 h 2269476"/>
                  <a:gd name="connsiteX9" fmla="*/ 6016268 w 12379791"/>
                  <a:gd name="connsiteY9" fmla="*/ 612868 h 2269476"/>
                  <a:gd name="connsiteX10" fmla="*/ 7080281 w 12379791"/>
                  <a:gd name="connsiteY10" fmla="*/ 638368 h 2269476"/>
                  <a:gd name="connsiteX11" fmla="*/ 7829436 w 12379791"/>
                  <a:gd name="connsiteY11" fmla="*/ 629862 h 2269476"/>
                  <a:gd name="connsiteX12" fmla="*/ 8361431 w 12379791"/>
                  <a:gd name="connsiteY12" fmla="*/ 621356 h 2269476"/>
                  <a:gd name="connsiteX13" fmla="*/ 8982448 w 12379791"/>
                  <a:gd name="connsiteY13" fmla="*/ 1024104 h 2269476"/>
                  <a:gd name="connsiteX14" fmla="*/ 9552444 w 12379791"/>
                  <a:gd name="connsiteY14" fmla="*/ 1850936 h 2269476"/>
                  <a:gd name="connsiteX15" fmla="*/ 10483844 w 12379791"/>
                  <a:gd name="connsiteY15" fmla="*/ 2269475 h 2269476"/>
                  <a:gd name="connsiteX16" fmla="*/ 11529878 w 12379791"/>
                  <a:gd name="connsiteY16" fmla="*/ 1850938 h 2269476"/>
                  <a:gd name="connsiteX17" fmla="*/ 11820809 w 12379791"/>
                  <a:gd name="connsiteY17" fmla="*/ 1205203 h 2269476"/>
                  <a:gd name="connsiteX18" fmla="*/ 12131705 w 12379791"/>
                  <a:gd name="connsiteY18" fmla="*/ 759096 h 2269476"/>
                  <a:gd name="connsiteX19" fmla="*/ 12379791 w 12379791"/>
                  <a:gd name="connsiteY19" fmla="*/ 458782 h 2269476"/>
                  <a:gd name="connsiteX20" fmla="*/ 12379791 w 12379791"/>
                  <a:gd name="connsiteY20" fmla="*/ 20400 h 2269476"/>
                  <a:gd name="connsiteX21" fmla="*/ 11773475 w 12379791"/>
                  <a:gd name="connsiteY21" fmla="*/ 194975 h 2269476"/>
                  <a:gd name="connsiteX22" fmla="*/ 11393750 w 12379791"/>
                  <a:gd name="connsiteY22" fmla="*/ 806860 h 2269476"/>
                  <a:gd name="connsiteX23" fmla="*/ 10937005 w 12379791"/>
                  <a:gd name="connsiteY23" fmla="*/ 1421021 h 2269476"/>
                  <a:gd name="connsiteX24" fmla="*/ 10369210 w 12379791"/>
                  <a:gd name="connsiteY24" fmla="*/ 1377804 h 2269476"/>
                  <a:gd name="connsiteX25" fmla="*/ 9862313 w 12379791"/>
                  <a:gd name="connsiteY25" fmla="*/ 818235 h 2269476"/>
                  <a:gd name="connsiteX26" fmla="*/ 9387658 w 12379791"/>
                  <a:gd name="connsiteY26" fmla="*/ 340554 h 2269476"/>
                  <a:gd name="connsiteX27" fmla="*/ 8614705 w 12379791"/>
                  <a:gd name="connsiteY27" fmla="*/ 52559 h 2269476"/>
                  <a:gd name="connsiteX28" fmla="*/ 8557477 w 12379791"/>
                  <a:gd name="connsiteY28" fmla="*/ 220165 h 2269476"/>
                  <a:gd name="connsiteX0" fmla="*/ 8557477 w 12379791"/>
                  <a:gd name="connsiteY0" fmla="*/ 220165 h 2269476"/>
                  <a:gd name="connsiteX1" fmla="*/ 414843 w 12379791"/>
                  <a:gd name="connsiteY1" fmla="*/ 696805 h 2269476"/>
                  <a:gd name="connsiteX2" fmla="*/ 1271644 w 12379791"/>
                  <a:gd name="connsiteY2" fmla="*/ 604362 h 2269476"/>
                  <a:gd name="connsiteX3" fmla="*/ 1966503 w 12379791"/>
                  <a:gd name="connsiteY3" fmla="*/ 638350 h 2269476"/>
                  <a:gd name="connsiteX4" fmla="*/ 2422513 w 12379791"/>
                  <a:gd name="connsiteY4" fmla="*/ 578862 h 2269476"/>
                  <a:gd name="connsiteX5" fmla="*/ 2900235 w 12379791"/>
                  <a:gd name="connsiteY5" fmla="*/ 578862 h 2269476"/>
                  <a:gd name="connsiteX6" fmla="*/ 3671104 w 12379791"/>
                  <a:gd name="connsiteY6" fmla="*/ 621356 h 2269476"/>
                  <a:gd name="connsiteX7" fmla="*/ 4550540 w 12379791"/>
                  <a:gd name="connsiteY7" fmla="*/ 604362 h 2269476"/>
                  <a:gd name="connsiteX8" fmla="*/ 5180258 w 12379791"/>
                  <a:gd name="connsiteY8" fmla="*/ 612868 h 2269476"/>
                  <a:gd name="connsiteX9" fmla="*/ 6016268 w 12379791"/>
                  <a:gd name="connsiteY9" fmla="*/ 612868 h 2269476"/>
                  <a:gd name="connsiteX10" fmla="*/ 7080281 w 12379791"/>
                  <a:gd name="connsiteY10" fmla="*/ 638368 h 2269476"/>
                  <a:gd name="connsiteX11" fmla="*/ 7829436 w 12379791"/>
                  <a:gd name="connsiteY11" fmla="*/ 629862 h 2269476"/>
                  <a:gd name="connsiteX12" fmla="*/ 8361431 w 12379791"/>
                  <a:gd name="connsiteY12" fmla="*/ 621356 h 2269476"/>
                  <a:gd name="connsiteX13" fmla="*/ 8982448 w 12379791"/>
                  <a:gd name="connsiteY13" fmla="*/ 1024104 h 2269476"/>
                  <a:gd name="connsiteX14" fmla="*/ 9552444 w 12379791"/>
                  <a:gd name="connsiteY14" fmla="*/ 1850936 h 2269476"/>
                  <a:gd name="connsiteX15" fmla="*/ 10483844 w 12379791"/>
                  <a:gd name="connsiteY15" fmla="*/ 2269475 h 2269476"/>
                  <a:gd name="connsiteX16" fmla="*/ 11529878 w 12379791"/>
                  <a:gd name="connsiteY16" fmla="*/ 1850938 h 2269476"/>
                  <a:gd name="connsiteX17" fmla="*/ 11820809 w 12379791"/>
                  <a:gd name="connsiteY17" fmla="*/ 1205203 h 2269476"/>
                  <a:gd name="connsiteX18" fmla="*/ 12131705 w 12379791"/>
                  <a:gd name="connsiteY18" fmla="*/ 759096 h 2269476"/>
                  <a:gd name="connsiteX19" fmla="*/ 12379791 w 12379791"/>
                  <a:gd name="connsiteY19" fmla="*/ 458782 h 2269476"/>
                  <a:gd name="connsiteX20" fmla="*/ 12379791 w 12379791"/>
                  <a:gd name="connsiteY20" fmla="*/ 20400 h 2269476"/>
                  <a:gd name="connsiteX21" fmla="*/ 11773475 w 12379791"/>
                  <a:gd name="connsiteY21" fmla="*/ 194975 h 2269476"/>
                  <a:gd name="connsiteX22" fmla="*/ 11393750 w 12379791"/>
                  <a:gd name="connsiteY22" fmla="*/ 806860 h 2269476"/>
                  <a:gd name="connsiteX23" fmla="*/ 10937005 w 12379791"/>
                  <a:gd name="connsiteY23" fmla="*/ 1421021 h 2269476"/>
                  <a:gd name="connsiteX24" fmla="*/ 10369210 w 12379791"/>
                  <a:gd name="connsiteY24" fmla="*/ 1377804 h 2269476"/>
                  <a:gd name="connsiteX25" fmla="*/ 9862313 w 12379791"/>
                  <a:gd name="connsiteY25" fmla="*/ 818235 h 2269476"/>
                  <a:gd name="connsiteX26" fmla="*/ 9387658 w 12379791"/>
                  <a:gd name="connsiteY26" fmla="*/ 340554 h 2269476"/>
                  <a:gd name="connsiteX27" fmla="*/ 8614705 w 12379791"/>
                  <a:gd name="connsiteY27" fmla="*/ 52559 h 2269476"/>
                  <a:gd name="connsiteX28" fmla="*/ 8557477 w 12379791"/>
                  <a:gd name="connsiteY28" fmla="*/ 220165 h 2269476"/>
                  <a:gd name="connsiteX0" fmla="*/ 8557477 w 12379791"/>
                  <a:gd name="connsiteY0" fmla="*/ 212886 h 2262197"/>
                  <a:gd name="connsiteX1" fmla="*/ 414843 w 12379791"/>
                  <a:gd name="connsiteY1" fmla="*/ 689526 h 2262197"/>
                  <a:gd name="connsiteX2" fmla="*/ 1271644 w 12379791"/>
                  <a:gd name="connsiteY2" fmla="*/ 597083 h 2262197"/>
                  <a:gd name="connsiteX3" fmla="*/ 1966503 w 12379791"/>
                  <a:gd name="connsiteY3" fmla="*/ 631071 h 2262197"/>
                  <a:gd name="connsiteX4" fmla="*/ 2422513 w 12379791"/>
                  <a:gd name="connsiteY4" fmla="*/ 571583 h 2262197"/>
                  <a:gd name="connsiteX5" fmla="*/ 2900235 w 12379791"/>
                  <a:gd name="connsiteY5" fmla="*/ 571583 h 2262197"/>
                  <a:gd name="connsiteX6" fmla="*/ 3671104 w 12379791"/>
                  <a:gd name="connsiteY6" fmla="*/ 614077 h 2262197"/>
                  <a:gd name="connsiteX7" fmla="*/ 4550540 w 12379791"/>
                  <a:gd name="connsiteY7" fmla="*/ 597083 h 2262197"/>
                  <a:gd name="connsiteX8" fmla="*/ 5180258 w 12379791"/>
                  <a:gd name="connsiteY8" fmla="*/ 605589 h 2262197"/>
                  <a:gd name="connsiteX9" fmla="*/ 6016268 w 12379791"/>
                  <a:gd name="connsiteY9" fmla="*/ 605589 h 2262197"/>
                  <a:gd name="connsiteX10" fmla="*/ 7080281 w 12379791"/>
                  <a:gd name="connsiteY10" fmla="*/ 631089 h 2262197"/>
                  <a:gd name="connsiteX11" fmla="*/ 7829436 w 12379791"/>
                  <a:gd name="connsiteY11" fmla="*/ 622583 h 2262197"/>
                  <a:gd name="connsiteX12" fmla="*/ 8361431 w 12379791"/>
                  <a:gd name="connsiteY12" fmla="*/ 614077 h 2262197"/>
                  <a:gd name="connsiteX13" fmla="*/ 8982448 w 12379791"/>
                  <a:gd name="connsiteY13" fmla="*/ 1016825 h 2262197"/>
                  <a:gd name="connsiteX14" fmla="*/ 9552444 w 12379791"/>
                  <a:gd name="connsiteY14" fmla="*/ 1843657 h 2262197"/>
                  <a:gd name="connsiteX15" fmla="*/ 10483844 w 12379791"/>
                  <a:gd name="connsiteY15" fmla="*/ 2262196 h 2262197"/>
                  <a:gd name="connsiteX16" fmla="*/ 11529878 w 12379791"/>
                  <a:gd name="connsiteY16" fmla="*/ 1843659 h 2262197"/>
                  <a:gd name="connsiteX17" fmla="*/ 11820809 w 12379791"/>
                  <a:gd name="connsiteY17" fmla="*/ 1197924 h 2262197"/>
                  <a:gd name="connsiteX18" fmla="*/ 12131705 w 12379791"/>
                  <a:gd name="connsiteY18" fmla="*/ 751817 h 2262197"/>
                  <a:gd name="connsiteX19" fmla="*/ 12379791 w 12379791"/>
                  <a:gd name="connsiteY19" fmla="*/ 451503 h 2262197"/>
                  <a:gd name="connsiteX20" fmla="*/ 12379791 w 12379791"/>
                  <a:gd name="connsiteY20" fmla="*/ 13121 h 2262197"/>
                  <a:gd name="connsiteX21" fmla="*/ 11773475 w 12379791"/>
                  <a:gd name="connsiteY21" fmla="*/ 187696 h 2262197"/>
                  <a:gd name="connsiteX22" fmla="*/ 11393750 w 12379791"/>
                  <a:gd name="connsiteY22" fmla="*/ 799581 h 2262197"/>
                  <a:gd name="connsiteX23" fmla="*/ 10937005 w 12379791"/>
                  <a:gd name="connsiteY23" fmla="*/ 1413742 h 2262197"/>
                  <a:gd name="connsiteX24" fmla="*/ 10369210 w 12379791"/>
                  <a:gd name="connsiteY24" fmla="*/ 1370525 h 2262197"/>
                  <a:gd name="connsiteX25" fmla="*/ 9862313 w 12379791"/>
                  <a:gd name="connsiteY25" fmla="*/ 810956 h 2262197"/>
                  <a:gd name="connsiteX26" fmla="*/ 9387658 w 12379791"/>
                  <a:gd name="connsiteY26" fmla="*/ 333275 h 2262197"/>
                  <a:gd name="connsiteX27" fmla="*/ 8557477 w 12379791"/>
                  <a:gd name="connsiteY27" fmla="*/ 212886 h 2262197"/>
                  <a:gd name="connsiteX0" fmla="*/ 8557477 w 12379791"/>
                  <a:gd name="connsiteY0" fmla="*/ 212886 h 2262197"/>
                  <a:gd name="connsiteX1" fmla="*/ 414843 w 12379791"/>
                  <a:gd name="connsiteY1" fmla="*/ 689526 h 2262197"/>
                  <a:gd name="connsiteX2" fmla="*/ 1271644 w 12379791"/>
                  <a:gd name="connsiteY2" fmla="*/ 597083 h 2262197"/>
                  <a:gd name="connsiteX3" fmla="*/ 1966503 w 12379791"/>
                  <a:gd name="connsiteY3" fmla="*/ 631071 h 2262197"/>
                  <a:gd name="connsiteX4" fmla="*/ 2422513 w 12379791"/>
                  <a:gd name="connsiteY4" fmla="*/ 571583 h 2262197"/>
                  <a:gd name="connsiteX5" fmla="*/ 2900235 w 12379791"/>
                  <a:gd name="connsiteY5" fmla="*/ 571583 h 2262197"/>
                  <a:gd name="connsiteX6" fmla="*/ 3671104 w 12379791"/>
                  <a:gd name="connsiteY6" fmla="*/ 614077 h 2262197"/>
                  <a:gd name="connsiteX7" fmla="*/ 4550540 w 12379791"/>
                  <a:gd name="connsiteY7" fmla="*/ 597083 h 2262197"/>
                  <a:gd name="connsiteX8" fmla="*/ 5180258 w 12379791"/>
                  <a:gd name="connsiteY8" fmla="*/ 605589 h 2262197"/>
                  <a:gd name="connsiteX9" fmla="*/ 6016268 w 12379791"/>
                  <a:gd name="connsiteY9" fmla="*/ 605589 h 2262197"/>
                  <a:gd name="connsiteX10" fmla="*/ 7080281 w 12379791"/>
                  <a:gd name="connsiteY10" fmla="*/ 631089 h 2262197"/>
                  <a:gd name="connsiteX11" fmla="*/ 7829436 w 12379791"/>
                  <a:gd name="connsiteY11" fmla="*/ 622583 h 2262197"/>
                  <a:gd name="connsiteX12" fmla="*/ 8361431 w 12379791"/>
                  <a:gd name="connsiteY12" fmla="*/ 614077 h 2262197"/>
                  <a:gd name="connsiteX13" fmla="*/ 8982448 w 12379791"/>
                  <a:gd name="connsiteY13" fmla="*/ 1016825 h 2262197"/>
                  <a:gd name="connsiteX14" fmla="*/ 9552444 w 12379791"/>
                  <a:gd name="connsiteY14" fmla="*/ 1843657 h 2262197"/>
                  <a:gd name="connsiteX15" fmla="*/ 10483844 w 12379791"/>
                  <a:gd name="connsiteY15" fmla="*/ 2262196 h 2262197"/>
                  <a:gd name="connsiteX16" fmla="*/ 11529878 w 12379791"/>
                  <a:gd name="connsiteY16" fmla="*/ 1843659 h 2262197"/>
                  <a:gd name="connsiteX17" fmla="*/ 11820809 w 12379791"/>
                  <a:gd name="connsiteY17" fmla="*/ 1197924 h 2262197"/>
                  <a:gd name="connsiteX18" fmla="*/ 12131705 w 12379791"/>
                  <a:gd name="connsiteY18" fmla="*/ 751817 h 2262197"/>
                  <a:gd name="connsiteX19" fmla="*/ 12379791 w 12379791"/>
                  <a:gd name="connsiteY19" fmla="*/ 451503 h 2262197"/>
                  <a:gd name="connsiteX20" fmla="*/ 12379791 w 12379791"/>
                  <a:gd name="connsiteY20" fmla="*/ 13121 h 2262197"/>
                  <a:gd name="connsiteX21" fmla="*/ 11773475 w 12379791"/>
                  <a:gd name="connsiteY21" fmla="*/ 187696 h 2262197"/>
                  <a:gd name="connsiteX22" fmla="*/ 11393750 w 12379791"/>
                  <a:gd name="connsiteY22" fmla="*/ 799581 h 2262197"/>
                  <a:gd name="connsiteX23" fmla="*/ 10937005 w 12379791"/>
                  <a:gd name="connsiteY23" fmla="*/ 1413742 h 2262197"/>
                  <a:gd name="connsiteX24" fmla="*/ 10369210 w 12379791"/>
                  <a:gd name="connsiteY24" fmla="*/ 1370525 h 2262197"/>
                  <a:gd name="connsiteX25" fmla="*/ 9862313 w 12379791"/>
                  <a:gd name="connsiteY25" fmla="*/ 810956 h 2262197"/>
                  <a:gd name="connsiteX26" fmla="*/ 9450348 w 12379791"/>
                  <a:gd name="connsiteY26" fmla="*/ 299156 h 2262197"/>
                  <a:gd name="connsiteX27" fmla="*/ 8557477 w 12379791"/>
                  <a:gd name="connsiteY27" fmla="*/ 212886 h 2262197"/>
                  <a:gd name="connsiteX0" fmla="*/ 8557477 w 12379791"/>
                  <a:gd name="connsiteY0" fmla="*/ 212886 h 2262197"/>
                  <a:gd name="connsiteX1" fmla="*/ 414843 w 12379791"/>
                  <a:gd name="connsiteY1" fmla="*/ 689526 h 2262197"/>
                  <a:gd name="connsiteX2" fmla="*/ 1271644 w 12379791"/>
                  <a:gd name="connsiteY2" fmla="*/ 597083 h 2262197"/>
                  <a:gd name="connsiteX3" fmla="*/ 1966503 w 12379791"/>
                  <a:gd name="connsiteY3" fmla="*/ 631071 h 2262197"/>
                  <a:gd name="connsiteX4" fmla="*/ 2422513 w 12379791"/>
                  <a:gd name="connsiteY4" fmla="*/ 571583 h 2262197"/>
                  <a:gd name="connsiteX5" fmla="*/ 2900235 w 12379791"/>
                  <a:gd name="connsiteY5" fmla="*/ 571583 h 2262197"/>
                  <a:gd name="connsiteX6" fmla="*/ 3671104 w 12379791"/>
                  <a:gd name="connsiteY6" fmla="*/ 614077 h 2262197"/>
                  <a:gd name="connsiteX7" fmla="*/ 4550540 w 12379791"/>
                  <a:gd name="connsiteY7" fmla="*/ 597083 h 2262197"/>
                  <a:gd name="connsiteX8" fmla="*/ 5180258 w 12379791"/>
                  <a:gd name="connsiteY8" fmla="*/ 605589 h 2262197"/>
                  <a:gd name="connsiteX9" fmla="*/ 6016268 w 12379791"/>
                  <a:gd name="connsiteY9" fmla="*/ 605589 h 2262197"/>
                  <a:gd name="connsiteX10" fmla="*/ 7080281 w 12379791"/>
                  <a:gd name="connsiteY10" fmla="*/ 631089 h 2262197"/>
                  <a:gd name="connsiteX11" fmla="*/ 7829436 w 12379791"/>
                  <a:gd name="connsiteY11" fmla="*/ 622583 h 2262197"/>
                  <a:gd name="connsiteX12" fmla="*/ 8361431 w 12379791"/>
                  <a:gd name="connsiteY12" fmla="*/ 614077 h 2262197"/>
                  <a:gd name="connsiteX13" fmla="*/ 8982448 w 12379791"/>
                  <a:gd name="connsiteY13" fmla="*/ 1016825 h 2262197"/>
                  <a:gd name="connsiteX14" fmla="*/ 9552444 w 12379791"/>
                  <a:gd name="connsiteY14" fmla="*/ 1843657 h 2262197"/>
                  <a:gd name="connsiteX15" fmla="*/ 10483844 w 12379791"/>
                  <a:gd name="connsiteY15" fmla="*/ 2262196 h 2262197"/>
                  <a:gd name="connsiteX16" fmla="*/ 11529878 w 12379791"/>
                  <a:gd name="connsiteY16" fmla="*/ 1843659 h 2262197"/>
                  <a:gd name="connsiteX17" fmla="*/ 11820809 w 12379791"/>
                  <a:gd name="connsiteY17" fmla="*/ 1197924 h 2262197"/>
                  <a:gd name="connsiteX18" fmla="*/ 12131705 w 12379791"/>
                  <a:gd name="connsiteY18" fmla="*/ 751817 h 2262197"/>
                  <a:gd name="connsiteX19" fmla="*/ 12379791 w 12379791"/>
                  <a:gd name="connsiteY19" fmla="*/ 451503 h 2262197"/>
                  <a:gd name="connsiteX20" fmla="*/ 12379791 w 12379791"/>
                  <a:gd name="connsiteY20" fmla="*/ 13121 h 2262197"/>
                  <a:gd name="connsiteX21" fmla="*/ 11773475 w 12379791"/>
                  <a:gd name="connsiteY21" fmla="*/ 187696 h 2262197"/>
                  <a:gd name="connsiteX22" fmla="*/ 11393750 w 12379791"/>
                  <a:gd name="connsiteY22" fmla="*/ 799581 h 2262197"/>
                  <a:gd name="connsiteX23" fmla="*/ 10937005 w 12379791"/>
                  <a:gd name="connsiteY23" fmla="*/ 1413742 h 2262197"/>
                  <a:gd name="connsiteX24" fmla="*/ 10369210 w 12379791"/>
                  <a:gd name="connsiteY24" fmla="*/ 1370525 h 2262197"/>
                  <a:gd name="connsiteX25" fmla="*/ 9862313 w 12379791"/>
                  <a:gd name="connsiteY25" fmla="*/ 810956 h 2262197"/>
                  <a:gd name="connsiteX26" fmla="*/ 9450348 w 12379791"/>
                  <a:gd name="connsiteY26" fmla="*/ 299156 h 2262197"/>
                  <a:gd name="connsiteX27" fmla="*/ 8557477 w 12379791"/>
                  <a:gd name="connsiteY27" fmla="*/ 212886 h 2262197"/>
                  <a:gd name="connsiteX0" fmla="*/ 8557477 w 12379791"/>
                  <a:gd name="connsiteY0" fmla="*/ 212886 h 2262197"/>
                  <a:gd name="connsiteX1" fmla="*/ 414843 w 12379791"/>
                  <a:gd name="connsiteY1" fmla="*/ 689526 h 2262197"/>
                  <a:gd name="connsiteX2" fmla="*/ 1271644 w 12379791"/>
                  <a:gd name="connsiteY2" fmla="*/ 597083 h 2262197"/>
                  <a:gd name="connsiteX3" fmla="*/ 1966503 w 12379791"/>
                  <a:gd name="connsiteY3" fmla="*/ 631071 h 2262197"/>
                  <a:gd name="connsiteX4" fmla="*/ 2422513 w 12379791"/>
                  <a:gd name="connsiteY4" fmla="*/ 571583 h 2262197"/>
                  <a:gd name="connsiteX5" fmla="*/ 2900235 w 12379791"/>
                  <a:gd name="connsiteY5" fmla="*/ 571583 h 2262197"/>
                  <a:gd name="connsiteX6" fmla="*/ 4550540 w 12379791"/>
                  <a:gd name="connsiteY6" fmla="*/ 597083 h 2262197"/>
                  <a:gd name="connsiteX7" fmla="*/ 5180258 w 12379791"/>
                  <a:gd name="connsiteY7" fmla="*/ 605589 h 2262197"/>
                  <a:gd name="connsiteX8" fmla="*/ 6016268 w 12379791"/>
                  <a:gd name="connsiteY8" fmla="*/ 605589 h 2262197"/>
                  <a:gd name="connsiteX9" fmla="*/ 7080281 w 12379791"/>
                  <a:gd name="connsiteY9" fmla="*/ 631089 h 2262197"/>
                  <a:gd name="connsiteX10" fmla="*/ 7829436 w 12379791"/>
                  <a:gd name="connsiteY10" fmla="*/ 622583 h 2262197"/>
                  <a:gd name="connsiteX11" fmla="*/ 8361431 w 12379791"/>
                  <a:gd name="connsiteY11" fmla="*/ 614077 h 2262197"/>
                  <a:gd name="connsiteX12" fmla="*/ 8982448 w 12379791"/>
                  <a:gd name="connsiteY12" fmla="*/ 1016825 h 2262197"/>
                  <a:gd name="connsiteX13" fmla="*/ 9552444 w 12379791"/>
                  <a:gd name="connsiteY13" fmla="*/ 1843657 h 2262197"/>
                  <a:gd name="connsiteX14" fmla="*/ 10483844 w 12379791"/>
                  <a:gd name="connsiteY14" fmla="*/ 2262196 h 2262197"/>
                  <a:gd name="connsiteX15" fmla="*/ 11529878 w 12379791"/>
                  <a:gd name="connsiteY15" fmla="*/ 1843659 h 2262197"/>
                  <a:gd name="connsiteX16" fmla="*/ 11820809 w 12379791"/>
                  <a:gd name="connsiteY16" fmla="*/ 1197924 h 2262197"/>
                  <a:gd name="connsiteX17" fmla="*/ 12131705 w 12379791"/>
                  <a:gd name="connsiteY17" fmla="*/ 751817 h 2262197"/>
                  <a:gd name="connsiteX18" fmla="*/ 12379791 w 12379791"/>
                  <a:gd name="connsiteY18" fmla="*/ 451503 h 2262197"/>
                  <a:gd name="connsiteX19" fmla="*/ 12379791 w 12379791"/>
                  <a:gd name="connsiteY19" fmla="*/ 13121 h 2262197"/>
                  <a:gd name="connsiteX20" fmla="*/ 11773475 w 12379791"/>
                  <a:gd name="connsiteY20" fmla="*/ 187696 h 2262197"/>
                  <a:gd name="connsiteX21" fmla="*/ 11393750 w 12379791"/>
                  <a:gd name="connsiteY21" fmla="*/ 799581 h 2262197"/>
                  <a:gd name="connsiteX22" fmla="*/ 10937005 w 12379791"/>
                  <a:gd name="connsiteY22" fmla="*/ 1413742 h 2262197"/>
                  <a:gd name="connsiteX23" fmla="*/ 10369210 w 12379791"/>
                  <a:gd name="connsiteY23" fmla="*/ 1370525 h 2262197"/>
                  <a:gd name="connsiteX24" fmla="*/ 9862313 w 12379791"/>
                  <a:gd name="connsiteY24" fmla="*/ 810956 h 2262197"/>
                  <a:gd name="connsiteX25" fmla="*/ 9450348 w 12379791"/>
                  <a:gd name="connsiteY25" fmla="*/ 299156 h 2262197"/>
                  <a:gd name="connsiteX26" fmla="*/ 8557477 w 12379791"/>
                  <a:gd name="connsiteY26" fmla="*/ 212886 h 2262197"/>
                  <a:gd name="connsiteX0" fmla="*/ 8557477 w 12379791"/>
                  <a:gd name="connsiteY0" fmla="*/ 212886 h 2262197"/>
                  <a:gd name="connsiteX1" fmla="*/ 414843 w 12379791"/>
                  <a:gd name="connsiteY1" fmla="*/ 689526 h 2262197"/>
                  <a:gd name="connsiteX2" fmla="*/ 1271644 w 12379791"/>
                  <a:gd name="connsiteY2" fmla="*/ 597083 h 2262197"/>
                  <a:gd name="connsiteX3" fmla="*/ 1966503 w 12379791"/>
                  <a:gd name="connsiteY3" fmla="*/ 631071 h 2262197"/>
                  <a:gd name="connsiteX4" fmla="*/ 2422513 w 12379791"/>
                  <a:gd name="connsiteY4" fmla="*/ 571583 h 2262197"/>
                  <a:gd name="connsiteX5" fmla="*/ 2900235 w 12379791"/>
                  <a:gd name="connsiteY5" fmla="*/ 571583 h 2262197"/>
                  <a:gd name="connsiteX6" fmla="*/ 5180258 w 12379791"/>
                  <a:gd name="connsiteY6" fmla="*/ 605589 h 2262197"/>
                  <a:gd name="connsiteX7" fmla="*/ 6016268 w 12379791"/>
                  <a:gd name="connsiteY7" fmla="*/ 605589 h 2262197"/>
                  <a:gd name="connsiteX8" fmla="*/ 7080281 w 12379791"/>
                  <a:gd name="connsiteY8" fmla="*/ 631089 h 2262197"/>
                  <a:gd name="connsiteX9" fmla="*/ 7829436 w 12379791"/>
                  <a:gd name="connsiteY9" fmla="*/ 622583 h 2262197"/>
                  <a:gd name="connsiteX10" fmla="*/ 8361431 w 12379791"/>
                  <a:gd name="connsiteY10" fmla="*/ 614077 h 2262197"/>
                  <a:gd name="connsiteX11" fmla="*/ 8982448 w 12379791"/>
                  <a:gd name="connsiteY11" fmla="*/ 1016825 h 2262197"/>
                  <a:gd name="connsiteX12" fmla="*/ 9552444 w 12379791"/>
                  <a:gd name="connsiteY12" fmla="*/ 1843657 h 2262197"/>
                  <a:gd name="connsiteX13" fmla="*/ 10483844 w 12379791"/>
                  <a:gd name="connsiteY13" fmla="*/ 2262196 h 2262197"/>
                  <a:gd name="connsiteX14" fmla="*/ 11529878 w 12379791"/>
                  <a:gd name="connsiteY14" fmla="*/ 1843659 h 2262197"/>
                  <a:gd name="connsiteX15" fmla="*/ 11820809 w 12379791"/>
                  <a:gd name="connsiteY15" fmla="*/ 1197924 h 2262197"/>
                  <a:gd name="connsiteX16" fmla="*/ 12131705 w 12379791"/>
                  <a:gd name="connsiteY16" fmla="*/ 751817 h 2262197"/>
                  <a:gd name="connsiteX17" fmla="*/ 12379791 w 12379791"/>
                  <a:gd name="connsiteY17" fmla="*/ 451503 h 2262197"/>
                  <a:gd name="connsiteX18" fmla="*/ 12379791 w 12379791"/>
                  <a:gd name="connsiteY18" fmla="*/ 13121 h 2262197"/>
                  <a:gd name="connsiteX19" fmla="*/ 11773475 w 12379791"/>
                  <a:gd name="connsiteY19" fmla="*/ 187696 h 2262197"/>
                  <a:gd name="connsiteX20" fmla="*/ 11393750 w 12379791"/>
                  <a:gd name="connsiteY20" fmla="*/ 799581 h 2262197"/>
                  <a:gd name="connsiteX21" fmla="*/ 10937005 w 12379791"/>
                  <a:gd name="connsiteY21" fmla="*/ 1413742 h 2262197"/>
                  <a:gd name="connsiteX22" fmla="*/ 10369210 w 12379791"/>
                  <a:gd name="connsiteY22" fmla="*/ 1370525 h 2262197"/>
                  <a:gd name="connsiteX23" fmla="*/ 9862313 w 12379791"/>
                  <a:gd name="connsiteY23" fmla="*/ 810956 h 2262197"/>
                  <a:gd name="connsiteX24" fmla="*/ 9450348 w 12379791"/>
                  <a:gd name="connsiteY24" fmla="*/ 299156 h 2262197"/>
                  <a:gd name="connsiteX25" fmla="*/ 8557477 w 12379791"/>
                  <a:gd name="connsiteY25" fmla="*/ 212886 h 2262197"/>
                  <a:gd name="connsiteX0" fmla="*/ 8557477 w 12379791"/>
                  <a:gd name="connsiteY0" fmla="*/ 212886 h 2262197"/>
                  <a:gd name="connsiteX1" fmla="*/ 414843 w 12379791"/>
                  <a:gd name="connsiteY1" fmla="*/ 689526 h 2262197"/>
                  <a:gd name="connsiteX2" fmla="*/ 1271644 w 12379791"/>
                  <a:gd name="connsiteY2" fmla="*/ 597083 h 2262197"/>
                  <a:gd name="connsiteX3" fmla="*/ 1966503 w 12379791"/>
                  <a:gd name="connsiteY3" fmla="*/ 631071 h 2262197"/>
                  <a:gd name="connsiteX4" fmla="*/ 2422513 w 12379791"/>
                  <a:gd name="connsiteY4" fmla="*/ 571583 h 2262197"/>
                  <a:gd name="connsiteX5" fmla="*/ 2900235 w 12379791"/>
                  <a:gd name="connsiteY5" fmla="*/ 571583 h 2262197"/>
                  <a:gd name="connsiteX6" fmla="*/ 6016268 w 12379791"/>
                  <a:gd name="connsiteY6" fmla="*/ 605589 h 2262197"/>
                  <a:gd name="connsiteX7" fmla="*/ 7080281 w 12379791"/>
                  <a:gd name="connsiteY7" fmla="*/ 631089 h 2262197"/>
                  <a:gd name="connsiteX8" fmla="*/ 7829436 w 12379791"/>
                  <a:gd name="connsiteY8" fmla="*/ 622583 h 2262197"/>
                  <a:gd name="connsiteX9" fmla="*/ 8361431 w 12379791"/>
                  <a:gd name="connsiteY9" fmla="*/ 614077 h 2262197"/>
                  <a:gd name="connsiteX10" fmla="*/ 8982448 w 12379791"/>
                  <a:gd name="connsiteY10" fmla="*/ 1016825 h 2262197"/>
                  <a:gd name="connsiteX11" fmla="*/ 9552444 w 12379791"/>
                  <a:gd name="connsiteY11" fmla="*/ 1843657 h 2262197"/>
                  <a:gd name="connsiteX12" fmla="*/ 10483844 w 12379791"/>
                  <a:gd name="connsiteY12" fmla="*/ 2262196 h 2262197"/>
                  <a:gd name="connsiteX13" fmla="*/ 11529878 w 12379791"/>
                  <a:gd name="connsiteY13" fmla="*/ 1843659 h 2262197"/>
                  <a:gd name="connsiteX14" fmla="*/ 11820809 w 12379791"/>
                  <a:gd name="connsiteY14" fmla="*/ 1197924 h 2262197"/>
                  <a:gd name="connsiteX15" fmla="*/ 12131705 w 12379791"/>
                  <a:gd name="connsiteY15" fmla="*/ 751817 h 2262197"/>
                  <a:gd name="connsiteX16" fmla="*/ 12379791 w 12379791"/>
                  <a:gd name="connsiteY16" fmla="*/ 451503 h 2262197"/>
                  <a:gd name="connsiteX17" fmla="*/ 12379791 w 12379791"/>
                  <a:gd name="connsiteY17" fmla="*/ 13121 h 2262197"/>
                  <a:gd name="connsiteX18" fmla="*/ 11773475 w 12379791"/>
                  <a:gd name="connsiteY18" fmla="*/ 187696 h 2262197"/>
                  <a:gd name="connsiteX19" fmla="*/ 11393750 w 12379791"/>
                  <a:gd name="connsiteY19" fmla="*/ 799581 h 2262197"/>
                  <a:gd name="connsiteX20" fmla="*/ 10937005 w 12379791"/>
                  <a:gd name="connsiteY20" fmla="*/ 1413742 h 2262197"/>
                  <a:gd name="connsiteX21" fmla="*/ 10369210 w 12379791"/>
                  <a:gd name="connsiteY21" fmla="*/ 1370525 h 2262197"/>
                  <a:gd name="connsiteX22" fmla="*/ 9862313 w 12379791"/>
                  <a:gd name="connsiteY22" fmla="*/ 810956 h 2262197"/>
                  <a:gd name="connsiteX23" fmla="*/ 9450348 w 12379791"/>
                  <a:gd name="connsiteY23" fmla="*/ 299156 h 2262197"/>
                  <a:gd name="connsiteX24" fmla="*/ 8557477 w 12379791"/>
                  <a:gd name="connsiteY24" fmla="*/ 212886 h 2262197"/>
                  <a:gd name="connsiteX0" fmla="*/ 8557477 w 12379791"/>
                  <a:gd name="connsiteY0" fmla="*/ 212886 h 2262197"/>
                  <a:gd name="connsiteX1" fmla="*/ 414843 w 12379791"/>
                  <a:gd name="connsiteY1" fmla="*/ 689526 h 2262197"/>
                  <a:gd name="connsiteX2" fmla="*/ 1271644 w 12379791"/>
                  <a:gd name="connsiteY2" fmla="*/ 597083 h 2262197"/>
                  <a:gd name="connsiteX3" fmla="*/ 1966503 w 12379791"/>
                  <a:gd name="connsiteY3" fmla="*/ 631071 h 2262197"/>
                  <a:gd name="connsiteX4" fmla="*/ 2422513 w 12379791"/>
                  <a:gd name="connsiteY4" fmla="*/ 571583 h 2262197"/>
                  <a:gd name="connsiteX5" fmla="*/ 2900235 w 12379791"/>
                  <a:gd name="connsiteY5" fmla="*/ 571583 h 2262197"/>
                  <a:gd name="connsiteX6" fmla="*/ 7080281 w 12379791"/>
                  <a:gd name="connsiteY6" fmla="*/ 631089 h 2262197"/>
                  <a:gd name="connsiteX7" fmla="*/ 7829436 w 12379791"/>
                  <a:gd name="connsiteY7" fmla="*/ 622583 h 2262197"/>
                  <a:gd name="connsiteX8" fmla="*/ 8361431 w 12379791"/>
                  <a:gd name="connsiteY8" fmla="*/ 614077 h 2262197"/>
                  <a:gd name="connsiteX9" fmla="*/ 8982448 w 12379791"/>
                  <a:gd name="connsiteY9" fmla="*/ 1016825 h 2262197"/>
                  <a:gd name="connsiteX10" fmla="*/ 9552444 w 12379791"/>
                  <a:gd name="connsiteY10" fmla="*/ 1843657 h 2262197"/>
                  <a:gd name="connsiteX11" fmla="*/ 10483844 w 12379791"/>
                  <a:gd name="connsiteY11" fmla="*/ 2262196 h 2262197"/>
                  <a:gd name="connsiteX12" fmla="*/ 11529878 w 12379791"/>
                  <a:gd name="connsiteY12" fmla="*/ 1843659 h 2262197"/>
                  <a:gd name="connsiteX13" fmla="*/ 11820809 w 12379791"/>
                  <a:gd name="connsiteY13" fmla="*/ 1197924 h 2262197"/>
                  <a:gd name="connsiteX14" fmla="*/ 12131705 w 12379791"/>
                  <a:gd name="connsiteY14" fmla="*/ 751817 h 2262197"/>
                  <a:gd name="connsiteX15" fmla="*/ 12379791 w 12379791"/>
                  <a:gd name="connsiteY15" fmla="*/ 451503 h 2262197"/>
                  <a:gd name="connsiteX16" fmla="*/ 12379791 w 12379791"/>
                  <a:gd name="connsiteY16" fmla="*/ 13121 h 2262197"/>
                  <a:gd name="connsiteX17" fmla="*/ 11773475 w 12379791"/>
                  <a:gd name="connsiteY17" fmla="*/ 187696 h 2262197"/>
                  <a:gd name="connsiteX18" fmla="*/ 11393750 w 12379791"/>
                  <a:gd name="connsiteY18" fmla="*/ 799581 h 2262197"/>
                  <a:gd name="connsiteX19" fmla="*/ 10937005 w 12379791"/>
                  <a:gd name="connsiteY19" fmla="*/ 1413742 h 2262197"/>
                  <a:gd name="connsiteX20" fmla="*/ 10369210 w 12379791"/>
                  <a:gd name="connsiteY20" fmla="*/ 1370525 h 2262197"/>
                  <a:gd name="connsiteX21" fmla="*/ 9862313 w 12379791"/>
                  <a:gd name="connsiteY21" fmla="*/ 810956 h 2262197"/>
                  <a:gd name="connsiteX22" fmla="*/ 9450348 w 12379791"/>
                  <a:gd name="connsiteY22" fmla="*/ 299156 h 2262197"/>
                  <a:gd name="connsiteX23" fmla="*/ 8557477 w 12379791"/>
                  <a:gd name="connsiteY23" fmla="*/ 212886 h 2262197"/>
                  <a:gd name="connsiteX0" fmla="*/ 8557477 w 12379791"/>
                  <a:gd name="connsiteY0" fmla="*/ 212886 h 2262197"/>
                  <a:gd name="connsiteX1" fmla="*/ 414843 w 12379791"/>
                  <a:gd name="connsiteY1" fmla="*/ 689526 h 2262197"/>
                  <a:gd name="connsiteX2" fmla="*/ 1271644 w 12379791"/>
                  <a:gd name="connsiteY2" fmla="*/ 597083 h 2262197"/>
                  <a:gd name="connsiteX3" fmla="*/ 1966503 w 12379791"/>
                  <a:gd name="connsiteY3" fmla="*/ 631071 h 2262197"/>
                  <a:gd name="connsiteX4" fmla="*/ 2422513 w 12379791"/>
                  <a:gd name="connsiteY4" fmla="*/ 571583 h 2262197"/>
                  <a:gd name="connsiteX5" fmla="*/ 2900235 w 12379791"/>
                  <a:gd name="connsiteY5" fmla="*/ 571583 h 2262197"/>
                  <a:gd name="connsiteX6" fmla="*/ 7829436 w 12379791"/>
                  <a:gd name="connsiteY6" fmla="*/ 622583 h 2262197"/>
                  <a:gd name="connsiteX7" fmla="*/ 8361431 w 12379791"/>
                  <a:gd name="connsiteY7" fmla="*/ 614077 h 2262197"/>
                  <a:gd name="connsiteX8" fmla="*/ 8982448 w 12379791"/>
                  <a:gd name="connsiteY8" fmla="*/ 1016825 h 2262197"/>
                  <a:gd name="connsiteX9" fmla="*/ 9552444 w 12379791"/>
                  <a:gd name="connsiteY9" fmla="*/ 1843657 h 2262197"/>
                  <a:gd name="connsiteX10" fmla="*/ 10483844 w 12379791"/>
                  <a:gd name="connsiteY10" fmla="*/ 2262196 h 2262197"/>
                  <a:gd name="connsiteX11" fmla="*/ 11529878 w 12379791"/>
                  <a:gd name="connsiteY11" fmla="*/ 1843659 h 2262197"/>
                  <a:gd name="connsiteX12" fmla="*/ 11820809 w 12379791"/>
                  <a:gd name="connsiteY12" fmla="*/ 1197924 h 2262197"/>
                  <a:gd name="connsiteX13" fmla="*/ 12131705 w 12379791"/>
                  <a:gd name="connsiteY13" fmla="*/ 751817 h 2262197"/>
                  <a:gd name="connsiteX14" fmla="*/ 12379791 w 12379791"/>
                  <a:gd name="connsiteY14" fmla="*/ 451503 h 2262197"/>
                  <a:gd name="connsiteX15" fmla="*/ 12379791 w 12379791"/>
                  <a:gd name="connsiteY15" fmla="*/ 13121 h 2262197"/>
                  <a:gd name="connsiteX16" fmla="*/ 11773475 w 12379791"/>
                  <a:gd name="connsiteY16" fmla="*/ 187696 h 2262197"/>
                  <a:gd name="connsiteX17" fmla="*/ 11393750 w 12379791"/>
                  <a:gd name="connsiteY17" fmla="*/ 799581 h 2262197"/>
                  <a:gd name="connsiteX18" fmla="*/ 10937005 w 12379791"/>
                  <a:gd name="connsiteY18" fmla="*/ 1413742 h 2262197"/>
                  <a:gd name="connsiteX19" fmla="*/ 10369210 w 12379791"/>
                  <a:gd name="connsiteY19" fmla="*/ 1370525 h 2262197"/>
                  <a:gd name="connsiteX20" fmla="*/ 9862313 w 12379791"/>
                  <a:gd name="connsiteY20" fmla="*/ 810956 h 2262197"/>
                  <a:gd name="connsiteX21" fmla="*/ 9450348 w 12379791"/>
                  <a:gd name="connsiteY21" fmla="*/ 299156 h 2262197"/>
                  <a:gd name="connsiteX22" fmla="*/ 8557477 w 12379791"/>
                  <a:gd name="connsiteY22" fmla="*/ 212886 h 2262197"/>
                  <a:gd name="connsiteX0" fmla="*/ 8557477 w 12379791"/>
                  <a:gd name="connsiteY0" fmla="*/ 212886 h 2262197"/>
                  <a:gd name="connsiteX1" fmla="*/ 414843 w 12379791"/>
                  <a:gd name="connsiteY1" fmla="*/ 689526 h 2262197"/>
                  <a:gd name="connsiteX2" fmla="*/ 1271644 w 12379791"/>
                  <a:gd name="connsiteY2" fmla="*/ 597083 h 2262197"/>
                  <a:gd name="connsiteX3" fmla="*/ 1966503 w 12379791"/>
                  <a:gd name="connsiteY3" fmla="*/ 631071 h 2262197"/>
                  <a:gd name="connsiteX4" fmla="*/ 2422513 w 12379791"/>
                  <a:gd name="connsiteY4" fmla="*/ 571583 h 2262197"/>
                  <a:gd name="connsiteX5" fmla="*/ 2900235 w 12379791"/>
                  <a:gd name="connsiteY5" fmla="*/ 571583 h 2262197"/>
                  <a:gd name="connsiteX6" fmla="*/ 8361431 w 12379791"/>
                  <a:gd name="connsiteY6" fmla="*/ 614077 h 2262197"/>
                  <a:gd name="connsiteX7" fmla="*/ 8982448 w 12379791"/>
                  <a:gd name="connsiteY7" fmla="*/ 1016825 h 2262197"/>
                  <a:gd name="connsiteX8" fmla="*/ 9552444 w 12379791"/>
                  <a:gd name="connsiteY8" fmla="*/ 1843657 h 2262197"/>
                  <a:gd name="connsiteX9" fmla="*/ 10483844 w 12379791"/>
                  <a:gd name="connsiteY9" fmla="*/ 2262196 h 2262197"/>
                  <a:gd name="connsiteX10" fmla="*/ 11529878 w 12379791"/>
                  <a:gd name="connsiteY10" fmla="*/ 1843659 h 2262197"/>
                  <a:gd name="connsiteX11" fmla="*/ 11820809 w 12379791"/>
                  <a:gd name="connsiteY11" fmla="*/ 1197924 h 2262197"/>
                  <a:gd name="connsiteX12" fmla="*/ 12131705 w 12379791"/>
                  <a:gd name="connsiteY12" fmla="*/ 751817 h 2262197"/>
                  <a:gd name="connsiteX13" fmla="*/ 12379791 w 12379791"/>
                  <a:gd name="connsiteY13" fmla="*/ 451503 h 2262197"/>
                  <a:gd name="connsiteX14" fmla="*/ 12379791 w 12379791"/>
                  <a:gd name="connsiteY14" fmla="*/ 13121 h 2262197"/>
                  <a:gd name="connsiteX15" fmla="*/ 11773475 w 12379791"/>
                  <a:gd name="connsiteY15" fmla="*/ 187696 h 2262197"/>
                  <a:gd name="connsiteX16" fmla="*/ 11393750 w 12379791"/>
                  <a:gd name="connsiteY16" fmla="*/ 799581 h 2262197"/>
                  <a:gd name="connsiteX17" fmla="*/ 10937005 w 12379791"/>
                  <a:gd name="connsiteY17" fmla="*/ 1413742 h 2262197"/>
                  <a:gd name="connsiteX18" fmla="*/ 10369210 w 12379791"/>
                  <a:gd name="connsiteY18" fmla="*/ 1370525 h 2262197"/>
                  <a:gd name="connsiteX19" fmla="*/ 9862313 w 12379791"/>
                  <a:gd name="connsiteY19" fmla="*/ 810956 h 2262197"/>
                  <a:gd name="connsiteX20" fmla="*/ 9450348 w 12379791"/>
                  <a:gd name="connsiteY20" fmla="*/ 299156 h 2262197"/>
                  <a:gd name="connsiteX21" fmla="*/ 8557477 w 12379791"/>
                  <a:gd name="connsiteY21" fmla="*/ 212886 h 2262197"/>
                  <a:gd name="connsiteX0" fmla="*/ 8557477 w 12379791"/>
                  <a:gd name="connsiteY0" fmla="*/ 212886 h 2262197"/>
                  <a:gd name="connsiteX1" fmla="*/ 414843 w 12379791"/>
                  <a:gd name="connsiteY1" fmla="*/ 689526 h 2262197"/>
                  <a:gd name="connsiteX2" fmla="*/ 1271644 w 12379791"/>
                  <a:gd name="connsiteY2" fmla="*/ 597083 h 2262197"/>
                  <a:gd name="connsiteX3" fmla="*/ 1966503 w 12379791"/>
                  <a:gd name="connsiteY3" fmla="*/ 631071 h 2262197"/>
                  <a:gd name="connsiteX4" fmla="*/ 2422513 w 12379791"/>
                  <a:gd name="connsiteY4" fmla="*/ 571583 h 2262197"/>
                  <a:gd name="connsiteX5" fmla="*/ 2900235 w 12379791"/>
                  <a:gd name="connsiteY5" fmla="*/ 571583 h 2262197"/>
                  <a:gd name="connsiteX6" fmla="*/ 8370387 w 12379791"/>
                  <a:gd name="connsiteY6" fmla="*/ 545838 h 2262197"/>
                  <a:gd name="connsiteX7" fmla="*/ 8982448 w 12379791"/>
                  <a:gd name="connsiteY7" fmla="*/ 1016825 h 2262197"/>
                  <a:gd name="connsiteX8" fmla="*/ 9552444 w 12379791"/>
                  <a:gd name="connsiteY8" fmla="*/ 1843657 h 2262197"/>
                  <a:gd name="connsiteX9" fmla="*/ 10483844 w 12379791"/>
                  <a:gd name="connsiteY9" fmla="*/ 2262196 h 2262197"/>
                  <a:gd name="connsiteX10" fmla="*/ 11529878 w 12379791"/>
                  <a:gd name="connsiteY10" fmla="*/ 1843659 h 2262197"/>
                  <a:gd name="connsiteX11" fmla="*/ 11820809 w 12379791"/>
                  <a:gd name="connsiteY11" fmla="*/ 1197924 h 2262197"/>
                  <a:gd name="connsiteX12" fmla="*/ 12131705 w 12379791"/>
                  <a:gd name="connsiteY12" fmla="*/ 751817 h 2262197"/>
                  <a:gd name="connsiteX13" fmla="*/ 12379791 w 12379791"/>
                  <a:gd name="connsiteY13" fmla="*/ 451503 h 2262197"/>
                  <a:gd name="connsiteX14" fmla="*/ 12379791 w 12379791"/>
                  <a:gd name="connsiteY14" fmla="*/ 13121 h 2262197"/>
                  <a:gd name="connsiteX15" fmla="*/ 11773475 w 12379791"/>
                  <a:gd name="connsiteY15" fmla="*/ 187696 h 2262197"/>
                  <a:gd name="connsiteX16" fmla="*/ 11393750 w 12379791"/>
                  <a:gd name="connsiteY16" fmla="*/ 799581 h 2262197"/>
                  <a:gd name="connsiteX17" fmla="*/ 10937005 w 12379791"/>
                  <a:gd name="connsiteY17" fmla="*/ 1413742 h 2262197"/>
                  <a:gd name="connsiteX18" fmla="*/ 10369210 w 12379791"/>
                  <a:gd name="connsiteY18" fmla="*/ 1370525 h 2262197"/>
                  <a:gd name="connsiteX19" fmla="*/ 9862313 w 12379791"/>
                  <a:gd name="connsiteY19" fmla="*/ 810956 h 2262197"/>
                  <a:gd name="connsiteX20" fmla="*/ 9450348 w 12379791"/>
                  <a:gd name="connsiteY20" fmla="*/ 299156 h 2262197"/>
                  <a:gd name="connsiteX21" fmla="*/ 8557477 w 12379791"/>
                  <a:gd name="connsiteY21" fmla="*/ 212886 h 2262197"/>
                  <a:gd name="connsiteX0" fmla="*/ 8557477 w 12379791"/>
                  <a:gd name="connsiteY0" fmla="*/ 212886 h 2262197"/>
                  <a:gd name="connsiteX1" fmla="*/ 414843 w 12379791"/>
                  <a:gd name="connsiteY1" fmla="*/ 689526 h 2262197"/>
                  <a:gd name="connsiteX2" fmla="*/ 1271644 w 12379791"/>
                  <a:gd name="connsiteY2" fmla="*/ 597083 h 2262197"/>
                  <a:gd name="connsiteX3" fmla="*/ 1966503 w 12379791"/>
                  <a:gd name="connsiteY3" fmla="*/ 631071 h 2262197"/>
                  <a:gd name="connsiteX4" fmla="*/ 2422513 w 12379791"/>
                  <a:gd name="connsiteY4" fmla="*/ 571583 h 2262197"/>
                  <a:gd name="connsiteX5" fmla="*/ 2900235 w 12379791"/>
                  <a:gd name="connsiteY5" fmla="*/ 571583 h 2262197"/>
                  <a:gd name="connsiteX6" fmla="*/ 8982448 w 12379791"/>
                  <a:gd name="connsiteY6" fmla="*/ 1016825 h 2262197"/>
                  <a:gd name="connsiteX7" fmla="*/ 9552444 w 12379791"/>
                  <a:gd name="connsiteY7" fmla="*/ 1843657 h 2262197"/>
                  <a:gd name="connsiteX8" fmla="*/ 10483844 w 12379791"/>
                  <a:gd name="connsiteY8" fmla="*/ 2262196 h 2262197"/>
                  <a:gd name="connsiteX9" fmla="*/ 11529878 w 12379791"/>
                  <a:gd name="connsiteY9" fmla="*/ 1843659 h 2262197"/>
                  <a:gd name="connsiteX10" fmla="*/ 11820809 w 12379791"/>
                  <a:gd name="connsiteY10" fmla="*/ 1197924 h 2262197"/>
                  <a:gd name="connsiteX11" fmla="*/ 12131705 w 12379791"/>
                  <a:gd name="connsiteY11" fmla="*/ 751817 h 2262197"/>
                  <a:gd name="connsiteX12" fmla="*/ 12379791 w 12379791"/>
                  <a:gd name="connsiteY12" fmla="*/ 451503 h 2262197"/>
                  <a:gd name="connsiteX13" fmla="*/ 12379791 w 12379791"/>
                  <a:gd name="connsiteY13" fmla="*/ 13121 h 2262197"/>
                  <a:gd name="connsiteX14" fmla="*/ 11773475 w 12379791"/>
                  <a:gd name="connsiteY14" fmla="*/ 187696 h 2262197"/>
                  <a:gd name="connsiteX15" fmla="*/ 11393750 w 12379791"/>
                  <a:gd name="connsiteY15" fmla="*/ 799581 h 2262197"/>
                  <a:gd name="connsiteX16" fmla="*/ 10937005 w 12379791"/>
                  <a:gd name="connsiteY16" fmla="*/ 1413742 h 2262197"/>
                  <a:gd name="connsiteX17" fmla="*/ 10369210 w 12379791"/>
                  <a:gd name="connsiteY17" fmla="*/ 1370525 h 2262197"/>
                  <a:gd name="connsiteX18" fmla="*/ 9862313 w 12379791"/>
                  <a:gd name="connsiteY18" fmla="*/ 810956 h 2262197"/>
                  <a:gd name="connsiteX19" fmla="*/ 9450348 w 12379791"/>
                  <a:gd name="connsiteY19" fmla="*/ 299156 h 2262197"/>
                  <a:gd name="connsiteX20" fmla="*/ 8557477 w 12379791"/>
                  <a:gd name="connsiteY20" fmla="*/ 212886 h 2262197"/>
                  <a:gd name="connsiteX0" fmla="*/ 8557477 w 12379791"/>
                  <a:gd name="connsiteY0" fmla="*/ 212886 h 2262197"/>
                  <a:gd name="connsiteX1" fmla="*/ 414843 w 12379791"/>
                  <a:gd name="connsiteY1" fmla="*/ 689526 h 2262197"/>
                  <a:gd name="connsiteX2" fmla="*/ 1271644 w 12379791"/>
                  <a:gd name="connsiteY2" fmla="*/ 597083 h 2262197"/>
                  <a:gd name="connsiteX3" fmla="*/ 1966503 w 12379791"/>
                  <a:gd name="connsiteY3" fmla="*/ 631071 h 2262197"/>
                  <a:gd name="connsiteX4" fmla="*/ 2422513 w 12379791"/>
                  <a:gd name="connsiteY4" fmla="*/ 571583 h 2262197"/>
                  <a:gd name="connsiteX5" fmla="*/ 8622972 w 12379791"/>
                  <a:gd name="connsiteY5" fmla="*/ 537465 h 2262197"/>
                  <a:gd name="connsiteX6" fmla="*/ 8982448 w 12379791"/>
                  <a:gd name="connsiteY6" fmla="*/ 1016825 h 2262197"/>
                  <a:gd name="connsiteX7" fmla="*/ 9552444 w 12379791"/>
                  <a:gd name="connsiteY7" fmla="*/ 1843657 h 2262197"/>
                  <a:gd name="connsiteX8" fmla="*/ 10483844 w 12379791"/>
                  <a:gd name="connsiteY8" fmla="*/ 2262196 h 2262197"/>
                  <a:gd name="connsiteX9" fmla="*/ 11529878 w 12379791"/>
                  <a:gd name="connsiteY9" fmla="*/ 1843659 h 2262197"/>
                  <a:gd name="connsiteX10" fmla="*/ 11820809 w 12379791"/>
                  <a:gd name="connsiteY10" fmla="*/ 1197924 h 2262197"/>
                  <a:gd name="connsiteX11" fmla="*/ 12131705 w 12379791"/>
                  <a:gd name="connsiteY11" fmla="*/ 751817 h 2262197"/>
                  <a:gd name="connsiteX12" fmla="*/ 12379791 w 12379791"/>
                  <a:gd name="connsiteY12" fmla="*/ 451503 h 2262197"/>
                  <a:gd name="connsiteX13" fmla="*/ 12379791 w 12379791"/>
                  <a:gd name="connsiteY13" fmla="*/ 13121 h 2262197"/>
                  <a:gd name="connsiteX14" fmla="*/ 11773475 w 12379791"/>
                  <a:gd name="connsiteY14" fmla="*/ 187696 h 2262197"/>
                  <a:gd name="connsiteX15" fmla="*/ 11393750 w 12379791"/>
                  <a:gd name="connsiteY15" fmla="*/ 799581 h 2262197"/>
                  <a:gd name="connsiteX16" fmla="*/ 10937005 w 12379791"/>
                  <a:gd name="connsiteY16" fmla="*/ 1413742 h 2262197"/>
                  <a:gd name="connsiteX17" fmla="*/ 10369210 w 12379791"/>
                  <a:gd name="connsiteY17" fmla="*/ 1370525 h 2262197"/>
                  <a:gd name="connsiteX18" fmla="*/ 9862313 w 12379791"/>
                  <a:gd name="connsiteY18" fmla="*/ 810956 h 2262197"/>
                  <a:gd name="connsiteX19" fmla="*/ 9450348 w 12379791"/>
                  <a:gd name="connsiteY19" fmla="*/ 299156 h 2262197"/>
                  <a:gd name="connsiteX20" fmla="*/ 8557477 w 12379791"/>
                  <a:gd name="connsiteY20" fmla="*/ 212886 h 2262197"/>
                  <a:gd name="connsiteX0" fmla="*/ 8568147 w 12390461"/>
                  <a:gd name="connsiteY0" fmla="*/ 212886 h 2262197"/>
                  <a:gd name="connsiteX1" fmla="*/ 425513 w 12390461"/>
                  <a:gd name="connsiteY1" fmla="*/ 689526 h 2262197"/>
                  <a:gd name="connsiteX2" fmla="*/ 1282314 w 12390461"/>
                  <a:gd name="connsiteY2" fmla="*/ 597083 h 2262197"/>
                  <a:gd name="connsiteX3" fmla="*/ 2433183 w 12390461"/>
                  <a:gd name="connsiteY3" fmla="*/ 571583 h 2262197"/>
                  <a:gd name="connsiteX4" fmla="*/ 8633642 w 12390461"/>
                  <a:gd name="connsiteY4" fmla="*/ 537465 h 2262197"/>
                  <a:gd name="connsiteX5" fmla="*/ 8993118 w 12390461"/>
                  <a:gd name="connsiteY5" fmla="*/ 1016825 h 2262197"/>
                  <a:gd name="connsiteX6" fmla="*/ 9563114 w 12390461"/>
                  <a:gd name="connsiteY6" fmla="*/ 1843657 h 2262197"/>
                  <a:gd name="connsiteX7" fmla="*/ 10494514 w 12390461"/>
                  <a:gd name="connsiteY7" fmla="*/ 2262196 h 2262197"/>
                  <a:gd name="connsiteX8" fmla="*/ 11540548 w 12390461"/>
                  <a:gd name="connsiteY8" fmla="*/ 1843659 h 2262197"/>
                  <a:gd name="connsiteX9" fmla="*/ 11831479 w 12390461"/>
                  <a:gd name="connsiteY9" fmla="*/ 1197924 h 2262197"/>
                  <a:gd name="connsiteX10" fmla="*/ 12142375 w 12390461"/>
                  <a:gd name="connsiteY10" fmla="*/ 751817 h 2262197"/>
                  <a:gd name="connsiteX11" fmla="*/ 12390461 w 12390461"/>
                  <a:gd name="connsiteY11" fmla="*/ 451503 h 2262197"/>
                  <a:gd name="connsiteX12" fmla="*/ 12390461 w 12390461"/>
                  <a:gd name="connsiteY12" fmla="*/ 13121 h 2262197"/>
                  <a:gd name="connsiteX13" fmla="*/ 11784145 w 12390461"/>
                  <a:gd name="connsiteY13" fmla="*/ 187696 h 2262197"/>
                  <a:gd name="connsiteX14" fmla="*/ 11404420 w 12390461"/>
                  <a:gd name="connsiteY14" fmla="*/ 799581 h 2262197"/>
                  <a:gd name="connsiteX15" fmla="*/ 10947675 w 12390461"/>
                  <a:gd name="connsiteY15" fmla="*/ 1413742 h 2262197"/>
                  <a:gd name="connsiteX16" fmla="*/ 10379880 w 12390461"/>
                  <a:gd name="connsiteY16" fmla="*/ 1370525 h 2262197"/>
                  <a:gd name="connsiteX17" fmla="*/ 9872983 w 12390461"/>
                  <a:gd name="connsiteY17" fmla="*/ 810956 h 2262197"/>
                  <a:gd name="connsiteX18" fmla="*/ 9461018 w 12390461"/>
                  <a:gd name="connsiteY18" fmla="*/ 299156 h 2262197"/>
                  <a:gd name="connsiteX19" fmla="*/ 8568147 w 12390461"/>
                  <a:gd name="connsiteY19" fmla="*/ 212886 h 2262197"/>
                  <a:gd name="connsiteX0" fmla="*/ 8767043 w 12589357"/>
                  <a:gd name="connsiteY0" fmla="*/ 212886 h 2262197"/>
                  <a:gd name="connsiteX1" fmla="*/ 624409 w 12589357"/>
                  <a:gd name="connsiteY1" fmla="*/ 689526 h 2262197"/>
                  <a:gd name="connsiteX2" fmla="*/ 1481210 w 12589357"/>
                  <a:gd name="connsiteY2" fmla="*/ 597083 h 2262197"/>
                  <a:gd name="connsiteX3" fmla="*/ 8832538 w 12589357"/>
                  <a:gd name="connsiteY3" fmla="*/ 537465 h 2262197"/>
                  <a:gd name="connsiteX4" fmla="*/ 9192014 w 12589357"/>
                  <a:gd name="connsiteY4" fmla="*/ 1016825 h 2262197"/>
                  <a:gd name="connsiteX5" fmla="*/ 9762010 w 12589357"/>
                  <a:gd name="connsiteY5" fmla="*/ 1843657 h 2262197"/>
                  <a:gd name="connsiteX6" fmla="*/ 10693410 w 12589357"/>
                  <a:gd name="connsiteY6" fmla="*/ 2262196 h 2262197"/>
                  <a:gd name="connsiteX7" fmla="*/ 11739444 w 12589357"/>
                  <a:gd name="connsiteY7" fmla="*/ 1843659 h 2262197"/>
                  <a:gd name="connsiteX8" fmla="*/ 12030375 w 12589357"/>
                  <a:gd name="connsiteY8" fmla="*/ 1197924 h 2262197"/>
                  <a:gd name="connsiteX9" fmla="*/ 12341271 w 12589357"/>
                  <a:gd name="connsiteY9" fmla="*/ 751817 h 2262197"/>
                  <a:gd name="connsiteX10" fmla="*/ 12589357 w 12589357"/>
                  <a:gd name="connsiteY10" fmla="*/ 451503 h 2262197"/>
                  <a:gd name="connsiteX11" fmla="*/ 12589357 w 12589357"/>
                  <a:gd name="connsiteY11" fmla="*/ 13121 h 2262197"/>
                  <a:gd name="connsiteX12" fmla="*/ 11983041 w 12589357"/>
                  <a:gd name="connsiteY12" fmla="*/ 187696 h 2262197"/>
                  <a:gd name="connsiteX13" fmla="*/ 11603316 w 12589357"/>
                  <a:gd name="connsiteY13" fmla="*/ 799581 h 2262197"/>
                  <a:gd name="connsiteX14" fmla="*/ 11146571 w 12589357"/>
                  <a:gd name="connsiteY14" fmla="*/ 1413742 h 2262197"/>
                  <a:gd name="connsiteX15" fmla="*/ 10578776 w 12589357"/>
                  <a:gd name="connsiteY15" fmla="*/ 1370525 h 2262197"/>
                  <a:gd name="connsiteX16" fmla="*/ 10071879 w 12589357"/>
                  <a:gd name="connsiteY16" fmla="*/ 810956 h 2262197"/>
                  <a:gd name="connsiteX17" fmla="*/ 9659914 w 12589357"/>
                  <a:gd name="connsiteY17" fmla="*/ 299156 h 2262197"/>
                  <a:gd name="connsiteX18" fmla="*/ 8767043 w 12589357"/>
                  <a:gd name="connsiteY18" fmla="*/ 212886 h 2262197"/>
                  <a:gd name="connsiteX0" fmla="*/ 8142648 w 11964962"/>
                  <a:gd name="connsiteY0" fmla="*/ 212886 h 2262197"/>
                  <a:gd name="connsiteX1" fmla="*/ 14 w 11964962"/>
                  <a:gd name="connsiteY1" fmla="*/ 689526 h 2262197"/>
                  <a:gd name="connsiteX2" fmla="*/ 8208143 w 11964962"/>
                  <a:gd name="connsiteY2" fmla="*/ 537465 h 2262197"/>
                  <a:gd name="connsiteX3" fmla="*/ 8567619 w 11964962"/>
                  <a:gd name="connsiteY3" fmla="*/ 1016825 h 2262197"/>
                  <a:gd name="connsiteX4" fmla="*/ 9137615 w 11964962"/>
                  <a:gd name="connsiteY4" fmla="*/ 1843657 h 2262197"/>
                  <a:gd name="connsiteX5" fmla="*/ 10069015 w 11964962"/>
                  <a:gd name="connsiteY5" fmla="*/ 2262196 h 2262197"/>
                  <a:gd name="connsiteX6" fmla="*/ 11115049 w 11964962"/>
                  <a:gd name="connsiteY6" fmla="*/ 1843659 h 2262197"/>
                  <a:gd name="connsiteX7" fmla="*/ 11405980 w 11964962"/>
                  <a:gd name="connsiteY7" fmla="*/ 1197924 h 2262197"/>
                  <a:gd name="connsiteX8" fmla="*/ 11716876 w 11964962"/>
                  <a:gd name="connsiteY8" fmla="*/ 751817 h 2262197"/>
                  <a:gd name="connsiteX9" fmla="*/ 11964962 w 11964962"/>
                  <a:gd name="connsiteY9" fmla="*/ 451503 h 2262197"/>
                  <a:gd name="connsiteX10" fmla="*/ 11964962 w 11964962"/>
                  <a:gd name="connsiteY10" fmla="*/ 13121 h 2262197"/>
                  <a:gd name="connsiteX11" fmla="*/ 11358646 w 11964962"/>
                  <a:gd name="connsiteY11" fmla="*/ 187696 h 2262197"/>
                  <a:gd name="connsiteX12" fmla="*/ 10978921 w 11964962"/>
                  <a:gd name="connsiteY12" fmla="*/ 799581 h 2262197"/>
                  <a:gd name="connsiteX13" fmla="*/ 10522176 w 11964962"/>
                  <a:gd name="connsiteY13" fmla="*/ 1413742 h 2262197"/>
                  <a:gd name="connsiteX14" fmla="*/ 9954381 w 11964962"/>
                  <a:gd name="connsiteY14" fmla="*/ 1370525 h 2262197"/>
                  <a:gd name="connsiteX15" fmla="*/ 9447484 w 11964962"/>
                  <a:gd name="connsiteY15" fmla="*/ 810956 h 2262197"/>
                  <a:gd name="connsiteX16" fmla="*/ 9035519 w 11964962"/>
                  <a:gd name="connsiteY16" fmla="*/ 299156 h 2262197"/>
                  <a:gd name="connsiteX17" fmla="*/ 8142648 w 11964962"/>
                  <a:gd name="connsiteY17" fmla="*/ 212886 h 2262197"/>
                  <a:gd name="connsiteX0" fmla="*/ 60187 w 3882501"/>
                  <a:gd name="connsiteY0" fmla="*/ 212886 h 2262197"/>
                  <a:gd name="connsiteX1" fmla="*/ 125682 w 3882501"/>
                  <a:gd name="connsiteY1" fmla="*/ 537465 h 2262197"/>
                  <a:gd name="connsiteX2" fmla="*/ 485158 w 3882501"/>
                  <a:gd name="connsiteY2" fmla="*/ 1016825 h 2262197"/>
                  <a:gd name="connsiteX3" fmla="*/ 1055154 w 3882501"/>
                  <a:gd name="connsiteY3" fmla="*/ 1843657 h 2262197"/>
                  <a:gd name="connsiteX4" fmla="*/ 1986554 w 3882501"/>
                  <a:gd name="connsiteY4" fmla="*/ 2262196 h 2262197"/>
                  <a:gd name="connsiteX5" fmla="*/ 3032588 w 3882501"/>
                  <a:gd name="connsiteY5" fmla="*/ 1843659 h 2262197"/>
                  <a:gd name="connsiteX6" fmla="*/ 3323519 w 3882501"/>
                  <a:gd name="connsiteY6" fmla="*/ 1197924 h 2262197"/>
                  <a:gd name="connsiteX7" fmla="*/ 3634415 w 3882501"/>
                  <a:gd name="connsiteY7" fmla="*/ 751817 h 2262197"/>
                  <a:gd name="connsiteX8" fmla="*/ 3882501 w 3882501"/>
                  <a:gd name="connsiteY8" fmla="*/ 451503 h 2262197"/>
                  <a:gd name="connsiteX9" fmla="*/ 3882501 w 3882501"/>
                  <a:gd name="connsiteY9" fmla="*/ 13121 h 2262197"/>
                  <a:gd name="connsiteX10" fmla="*/ 3276185 w 3882501"/>
                  <a:gd name="connsiteY10" fmla="*/ 187696 h 2262197"/>
                  <a:gd name="connsiteX11" fmla="*/ 2896460 w 3882501"/>
                  <a:gd name="connsiteY11" fmla="*/ 799581 h 2262197"/>
                  <a:gd name="connsiteX12" fmla="*/ 2439715 w 3882501"/>
                  <a:gd name="connsiteY12" fmla="*/ 1413742 h 2262197"/>
                  <a:gd name="connsiteX13" fmla="*/ 1871920 w 3882501"/>
                  <a:gd name="connsiteY13" fmla="*/ 1370525 h 2262197"/>
                  <a:gd name="connsiteX14" fmla="*/ 1365023 w 3882501"/>
                  <a:gd name="connsiteY14" fmla="*/ 810956 h 2262197"/>
                  <a:gd name="connsiteX15" fmla="*/ 953058 w 3882501"/>
                  <a:gd name="connsiteY15" fmla="*/ 299156 h 2262197"/>
                  <a:gd name="connsiteX16" fmla="*/ 60187 w 3882501"/>
                  <a:gd name="connsiteY16" fmla="*/ 212886 h 2262197"/>
                  <a:gd name="connsiteX0" fmla="*/ 60187 w 3882501"/>
                  <a:gd name="connsiteY0" fmla="*/ 212886 h 2262197"/>
                  <a:gd name="connsiteX1" fmla="*/ 125682 w 3882501"/>
                  <a:gd name="connsiteY1" fmla="*/ 537465 h 2262197"/>
                  <a:gd name="connsiteX2" fmla="*/ 485158 w 3882501"/>
                  <a:gd name="connsiteY2" fmla="*/ 1016825 h 2262197"/>
                  <a:gd name="connsiteX3" fmla="*/ 1055154 w 3882501"/>
                  <a:gd name="connsiteY3" fmla="*/ 1843657 h 2262197"/>
                  <a:gd name="connsiteX4" fmla="*/ 1986554 w 3882501"/>
                  <a:gd name="connsiteY4" fmla="*/ 2262196 h 2262197"/>
                  <a:gd name="connsiteX5" fmla="*/ 3032588 w 3882501"/>
                  <a:gd name="connsiteY5" fmla="*/ 1843659 h 2262197"/>
                  <a:gd name="connsiteX6" fmla="*/ 3323519 w 3882501"/>
                  <a:gd name="connsiteY6" fmla="*/ 1197924 h 2262197"/>
                  <a:gd name="connsiteX7" fmla="*/ 3634415 w 3882501"/>
                  <a:gd name="connsiteY7" fmla="*/ 751817 h 2262197"/>
                  <a:gd name="connsiteX8" fmla="*/ 3882501 w 3882501"/>
                  <a:gd name="connsiteY8" fmla="*/ 451503 h 2262197"/>
                  <a:gd name="connsiteX9" fmla="*/ 3882501 w 3882501"/>
                  <a:gd name="connsiteY9" fmla="*/ 13121 h 2262197"/>
                  <a:gd name="connsiteX10" fmla="*/ 3276185 w 3882501"/>
                  <a:gd name="connsiteY10" fmla="*/ 187696 h 2262197"/>
                  <a:gd name="connsiteX11" fmla="*/ 2896460 w 3882501"/>
                  <a:gd name="connsiteY11" fmla="*/ 799581 h 2262197"/>
                  <a:gd name="connsiteX12" fmla="*/ 2439715 w 3882501"/>
                  <a:gd name="connsiteY12" fmla="*/ 1413742 h 2262197"/>
                  <a:gd name="connsiteX13" fmla="*/ 1871920 w 3882501"/>
                  <a:gd name="connsiteY13" fmla="*/ 1370525 h 2262197"/>
                  <a:gd name="connsiteX14" fmla="*/ 1579966 w 3882501"/>
                  <a:gd name="connsiteY14" fmla="*/ 185419 h 2262197"/>
                  <a:gd name="connsiteX15" fmla="*/ 953058 w 3882501"/>
                  <a:gd name="connsiteY15" fmla="*/ 299156 h 2262197"/>
                  <a:gd name="connsiteX16" fmla="*/ 60187 w 3882501"/>
                  <a:gd name="connsiteY16" fmla="*/ 212886 h 2262197"/>
                  <a:gd name="connsiteX0" fmla="*/ 62173 w 3884487"/>
                  <a:gd name="connsiteY0" fmla="*/ 212886 h 2262197"/>
                  <a:gd name="connsiteX1" fmla="*/ 127668 w 3884487"/>
                  <a:gd name="connsiteY1" fmla="*/ 537465 h 2262197"/>
                  <a:gd name="connsiteX2" fmla="*/ 487144 w 3884487"/>
                  <a:gd name="connsiteY2" fmla="*/ 1016825 h 2262197"/>
                  <a:gd name="connsiteX3" fmla="*/ 1057140 w 3884487"/>
                  <a:gd name="connsiteY3" fmla="*/ 1843657 h 2262197"/>
                  <a:gd name="connsiteX4" fmla="*/ 1988540 w 3884487"/>
                  <a:gd name="connsiteY4" fmla="*/ 2262196 h 2262197"/>
                  <a:gd name="connsiteX5" fmla="*/ 3034574 w 3884487"/>
                  <a:gd name="connsiteY5" fmla="*/ 1843659 h 2262197"/>
                  <a:gd name="connsiteX6" fmla="*/ 3325505 w 3884487"/>
                  <a:gd name="connsiteY6" fmla="*/ 1197924 h 2262197"/>
                  <a:gd name="connsiteX7" fmla="*/ 3636401 w 3884487"/>
                  <a:gd name="connsiteY7" fmla="*/ 751817 h 2262197"/>
                  <a:gd name="connsiteX8" fmla="*/ 3884487 w 3884487"/>
                  <a:gd name="connsiteY8" fmla="*/ 451503 h 2262197"/>
                  <a:gd name="connsiteX9" fmla="*/ 3884487 w 3884487"/>
                  <a:gd name="connsiteY9" fmla="*/ 13121 h 2262197"/>
                  <a:gd name="connsiteX10" fmla="*/ 3278171 w 3884487"/>
                  <a:gd name="connsiteY10" fmla="*/ 187696 h 2262197"/>
                  <a:gd name="connsiteX11" fmla="*/ 2898446 w 3884487"/>
                  <a:gd name="connsiteY11" fmla="*/ 799581 h 2262197"/>
                  <a:gd name="connsiteX12" fmla="*/ 2441701 w 3884487"/>
                  <a:gd name="connsiteY12" fmla="*/ 1413742 h 2262197"/>
                  <a:gd name="connsiteX13" fmla="*/ 1873906 w 3884487"/>
                  <a:gd name="connsiteY13" fmla="*/ 1370525 h 2262197"/>
                  <a:gd name="connsiteX14" fmla="*/ 1581952 w 3884487"/>
                  <a:gd name="connsiteY14" fmla="*/ 185419 h 2262197"/>
                  <a:gd name="connsiteX15" fmla="*/ 981914 w 3884487"/>
                  <a:gd name="connsiteY15" fmla="*/ 94434 h 2262197"/>
                  <a:gd name="connsiteX16" fmla="*/ 62173 w 3884487"/>
                  <a:gd name="connsiteY16" fmla="*/ 212886 h 2262197"/>
                  <a:gd name="connsiteX0" fmla="*/ 62175 w 3884485"/>
                  <a:gd name="connsiteY0" fmla="*/ 30910 h 2262197"/>
                  <a:gd name="connsiteX1" fmla="*/ 127666 w 3884485"/>
                  <a:gd name="connsiteY1" fmla="*/ 537465 h 2262197"/>
                  <a:gd name="connsiteX2" fmla="*/ 487142 w 3884485"/>
                  <a:gd name="connsiteY2" fmla="*/ 1016825 h 2262197"/>
                  <a:gd name="connsiteX3" fmla="*/ 1057138 w 3884485"/>
                  <a:gd name="connsiteY3" fmla="*/ 1843657 h 2262197"/>
                  <a:gd name="connsiteX4" fmla="*/ 1988538 w 3884485"/>
                  <a:gd name="connsiteY4" fmla="*/ 2262196 h 2262197"/>
                  <a:gd name="connsiteX5" fmla="*/ 3034572 w 3884485"/>
                  <a:gd name="connsiteY5" fmla="*/ 1843659 h 2262197"/>
                  <a:gd name="connsiteX6" fmla="*/ 3325503 w 3884485"/>
                  <a:gd name="connsiteY6" fmla="*/ 1197924 h 2262197"/>
                  <a:gd name="connsiteX7" fmla="*/ 3636399 w 3884485"/>
                  <a:gd name="connsiteY7" fmla="*/ 751817 h 2262197"/>
                  <a:gd name="connsiteX8" fmla="*/ 3884485 w 3884485"/>
                  <a:gd name="connsiteY8" fmla="*/ 451503 h 2262197"/>
                  <a:gd name="connsiteX9" fmla="*/ 3884485 w 3884485"/>
                  <a:gd name="connsiteY9" fmla="*/ 13121 h 2262197"/>
                  <a:gd name="connsiteX10" fmla="*/ 3278169 w 3884485"/>
                  <a:gd name="connsiteY10" fmla="*/ 187696 h 2262197"/>
                  <a:gd name="connsiteX11" fmla="*/ 2898444 w 3884485"/>
                  <a:gd name="connsiteY11" fmla="*/ 799581 h 2262197"/>
                  <a:gd name="connsiteX12" fmla="*/ 2441699 w 3884485"/>
                  <a:gd name="connsiteY12" fmla="*/ 1413742 h 2262197"/>
                  <a:gd name="connsiteX13" fmla="*/ 1873904 w 3884485"/>
                  <a:gd name="connsiteY13" fmla="*/ 1370525 h 2262197"/>
                  <a:gd name="connsiteX14" fmla="*/ 1581950 w 3884485"/>
                  <a:gd name="connsiteY14" fmla="*/ 185419 h 2262197"/>
                  <a:gd name="connsiteX15" fmla="*/ 981912 w 3884485"/>
                  <a:gd name="connsiteY15" fmla="*/ 94434 h 2262197"/>
                  <a:gd name="connsiteX16" fmla="*/ 62175 w 3884485"/>
                  <a:gd name="connsiteY16" fmla="*/ 30910 h 2262197"/>
                  <a:gd name="connsiteX0" fmla="*/ 61263 w 3883573"/>
                  <a:gd name="connsiteY0" fmla="*/ 30910 h 2262197"/>
                  <a:gd name="connsiteX1" fmla="*/ 126754 w 3883573"/>
                  <a:gd name="connsiteY1" fmla="*/ 537465 h 2262197"/>
                  <a:gd name="connsiteX2" fmla="*/ 459363 w 3883573"/>
                  <a:gd name="connsiteY2" fmla="*/ 1062319 h 2262197"/>
                  <a:gd name="connsiteX3" fmla="*/ 1056226 w 3883573"/>
                  <a:gd name="connsiteY3" fmla="*/ 1843657 h 2262197"/>
                  <a:gd name="connsiteX4" fmla="*/ 1987626 w 3883573"/>
                  <a:gd name="connsiteY4" fmla="*/ 2262196 h 2262197"/>
                  <a:gd name="connsiteX5" fmla="*/ 3033660 w 3883573"/>
                  <a:gd name="connsiteY5" fmla="*/ 1843659 h 2262197"/>
                  <a:gd name="connsiteX6" fmla="*/ 3324591 w 3883573"/>
                  <a:gd name="connsiteY6" fmla="*/ 1197924 h 2262197"/>
                  <a:gd name="connsiteX7" fmla="*/ 3635487 w 3883573"/>
                  <a:gd name="connsiteY7" fmla="*/ 751817 h 2262197"/>
                  <a:gd name="connsiteX8" fmla="*/ 3883573 w 3883573"/>
                  <a:gd name="connsiteY8" fmla="*/ 451503 h 2262197"/>
                  <a:gd name="connsiteX9" fmla="*/ 3883573 w 3883573"/>
                  <a:gd name="connsiteY9" fmla="*/ 13121 h 2262197"/>
                  <a:gd name="connsiteX10" fmla="*/ 3277257 w 3883573"/>
                  <a:gd name="connsiteY10" fmla="*/ 187696 h 2262197"/>
                  <a:gd name="connsiteX11" fmla="*/ 2897532 w 3883573"/>
                  <a:gd name="connsiteY11" fmla="*/ 799581 h 2262197"/>
                  <a:gd name="connsiteX12" fmla="*/ 2440787 w 3883573"/>
                  <a:gd name="connsiteY12" fmla="*/ 1413742 h 2262197"/>
                  <a:gd name="connsiteX13" fmla="*/ 1872992 w 3883573"/>
                  <a:gd name="connsiteY13" fmla="*/ 1370525 h 2262197"/>
                  <a:gd name="connsiteX14" fmla="*/ 1581038 w 3883573"/>
                  <a:gd name="connsiteY14" fmla="*/ 185419 h 2262197"/>
                  <a:gd name="connsiteX15" fmla="*/ 981000 w 3883573"/>
                  <a:gd name="connsiteY15" fmla="*/ 94434 h 2262197"/>
                  <a:gd name="connsiteX16" fmla="*/ 61263 w 3883573"/>
                  <a:gd name="connsiteY16" fmla="*/ 30910 h 2262197"/>
                  <a:gd name="connsiteX0" fmla="*/ 61263 w 3883573"/>
                  <a:gd name="connsiteY0" fmla="*/ 30910 h 2277068"/>
                  <a:gd name="connsiteX1" fmla="*/ 126754 w 3883573"/>
                  <a:gd name="connsiteY1" fmla="*/ 537465 h 2277068"/>
                  <a:gd name="connsiteX2" fmla="*/ 459363 w 3883573"/>
                  <a:gd name="connsiteY2" fmla="*/ 1062319 h 2277068"/>
                  <a:gd name="connsiteX3" fmla="*/ 1235346 w 3883573"/>
                  <a:gd name="connsiteY3" fmla="*/ 1252241 h 2277068"/>
                  <a:gd name="connsiteX4" fmla="*/ 1987626 w 3883573"/>
                  <a:gd name="connsiteY4" fmla="*/ 2262196 h 2277068"/>
                  <a:gd name="connsiteX5" fmla="*/ 3033660 w 3883573"/>
                  <a:gd name="connsiteY5" fmla="*/ 1843659 h 2277068"/>
                  <a:gd name="connsiteX6" fmla="*/ 3324591 w 3883573"/>
                  <a:gd name="connsiteY6" fmla="*/ 1197924 h 2277068"/>
                  <a:gd name="connsiteX7" fmla="*/ 3635487 w 3883573"/>
                  <a:gd name="connsiteY7" fmla="*/ 751817 h 2277068"/>
                  <a:gd name="connsiteX8" fmla="*/ 3883573 w 3883573"/>
                  <a:gd name="connsiteY8" fmla="*/ 451503 h 2277068"/>
                  <a:gd name="connsiteX9" fmla="*/ 3883573 w 3883573"/>
                  <a:gd name="connsiteY9" fmla="*/ 13121 h 2277068"/>
                  <a:gd name="connsiteX10" fmla="*/ 3277257 w 3883573"/>
                  <a:gd name="connsiteY10" fmla="*/ 187696 h 2277068"/>
                  <a:gd name="connsiteX11" fmla="*/ 2897532 w 3883573"/>
                  <a:gd name="connsiteY11" fmla="*/ 799581 h 2277068"/>
                  <a:gd name="connsiteX12" fmla="*/ 2440787 w 3883573"/>
                  <a:gd name="connsiteY12" fmla="*/ 1413742 h 2277068"/>
                  <a:gd name="connsiteX13" fmla="*/ 1872992 w 3883573"/>
                  <a:gd name="connsiteY13" fmla="*/ 1370525 h 2277068"/>
                  <a:gd name="connsiteX14" fmla="*/ 1581038 w 3883573"/>
                  <a:gd name="connsiteY14" fmla="*/ 185419 h 2277068"/>
                  <a:gd name="connsiteX15" fmla="*/ 981000 w 3883573"/>
                  <a:gd name="connsiteY15" fmla="*/ 94434 h 2277068"/>
                  <a:gd name="connsiteX16" fmla="*/ 61263 w 3883573"/>
                  <a:gd name="connsiteY16" fmla="*/ 30910 h 2277068"/>
                  <a:gd name="connsiteX0" fmla="*/ 61263 w 3883573"/>
                  <a:gd name="connsiteY0" fmla="*/ 30910 h 2277068"/>
                  <a:gd name="connsiteX1" fmla="*/ 126754 w 3883573"/>
                  <a:gd name="connsiteY1" fmla="*/ 537465 h 2277068"/>
                  <a:gd name="connsiteX2" fmla="*/ 459363 w 3883573"/>
                  <a:gd name="connsiteY2" fmla="*/ 1062319 h 2277068"/>
                  <a:gd name="connsiteX3" fmla="*/ 1235346 w 3883573"/>
                  <a:gd name="connsiteY3" fmla="*/ 1252241 h 2277068"/>
                  <a:gd name="connsiteX4" fmla="*/ 1987626 w 3883573"/>
                  <a:gd name="connsiteY4" fmla="*/ 2262196 h 2277068"/>
                  <a:gd name="connsiteX5" fmla="*/ 3033660 w 3883573"/>
                  <a:gd name="connsiteY5" fmla="*/ 1843659 h 2277068"/>
                  <a:gd name="connsiteX6" fmla="*/ 3324591 w 3883573"/>
                  <a:gd name="connsiteY6" fmla="*/ 1197924 h 2277068"/>
                  <a:gd name="connsiteX7" fmla="*/ 3635487 w 3883573"/>
                  <a:gd name="connsiteY7" fmla="*/ 751817 h 2277068"/>
                  <a:gd name="connsiteX8" fmla="*/ 3883573 w 3883573"/>
                  <a:gd name="connsiteY8" fmla="*/ 451503 h 2277068"/>
                  <a:gd name="connsiteX9" fmla="*/ 3883573 w 3883573"/>
                  <a:gd name="connsiteY9" fmla="*/ 13121 h 2277068"/>
                  <a:gd name="connsiteX10" fmla="*/ 3277257 w 3883573"/>
                  <a:gd name="connsiteY10" fmla="*/ 187696 h 2277068"/>
                  <a:gd name="connsiteX11" fmla="*/ 2897532 w 3883573"/>
                  <a:gd name="connsiteY11" fmla="*/ 799581 h 2277068"/>
                  <a:gd name="connsiteX12" fmla="*/ 2440787 w 3883573"/>
                  <a:gd name="connsiteY12" fmla="*/ 1413742 h 2277068"/>
                  <a:gd name="connsiteX13" fmla="*/ 2320781 w 3883573"/>
                  <a:gd name="connsiteY13" fmla="*/ 210442 h 2277068"/>
                  <a:gd name="connsiteX14" fmla="*/ 1581038 w 3883573"/>
                  <a:gd name="connsiteY14" fmla="*/ 185419 h 2277068"/>
                  <a:gd name="connsiteX15" fmla="*/ 981000 w 3883573"/>
                  <a:gd name="connsiteY15" fmla="*/ 94434 h 2277068"/>
                  <a:gd name="connsiteX16" fmla="*/ 61263 w 3883573"/>
                  <a:gd name="connsiteY16" fmla="*/ 30910 h 2277068"/>
                  <a:gd name="connsiteX0" fmla="*/ 61263 w 3883573"/>
                  <a:gd name="connsiteY0" fmla="*/ 30910 h 2277068"/>
                  <a:gd name="connsiteX1" fmla="*/ 126754 w 3883573"/>
                  <a:gd name="connsiteY1" fmla="*/ 537465 h 2277068"/>
                  <a:gd name="connsiteX2" fmla="*/ 459363 w 3883573"/>
                  <a:gd name="connsiteY2" fmla="*/ 1062319 h 2277068"/>
                  <a:gd name="connsiteX3" fmla="*/ 1235346 w 3883573"/>
                  <a:gd name="connsiteY3" fmla="*/ 1252241 h 2277068"/>
                  <a:gd name="connsiteX4" fmla="*/ 1987626 w 3883573"/>
                  <a:gd name="connsiteY4" fmla="*/ 2262196 h 2277068"/>
                  <a:gd name="connsiteX5" fmla="*/ 3033660 w 3883573"/>
                  <a:gd name="connsiteY5" fmla="*/ 1843659 h 2277068"/>
                  <a:gd name="connsiteX6" fmla="*/ 3324591 w 3883573"/>
                  <a:gd name="connsiteY6" fmla="*/ 1197924 h 2277068"/>
                  <a:gd name="connsiteX7" fmla="*/ 3635487 w 3883573"/>
                  <a:gd name="connsiteY7" fmla="*/ 751817 h 2277068"/>
                  <a:gd name="connsiteX8" fmla="*/ 3883573 w 3883573"/>
                  <a:gd name="connsiteY8" fmla="*/ 451503 h 2277068"/>
                  <a:gd name="connsiteX9" fmla="*/ 3883573 w 3883573"/>
                  <a:gd name="connsiteY9" fmla="*/ 13121 h 2277068"/>
                  <a:gd name="connsiteX10" fmla="*/ 3277257 w 3883573"/>
                  <a:gd name="connsiteY10" fmla="*/ 187696 h 2277068"/>
                  <a:gd name="connsiteX11" fmla="*/ 2897532 w 3883573"/>
                  <a:gd name="connsiteY11" fmla="*/ 799581 h 2277068"/>
                  <a:gd name="connsiteX12" fmla="*/ 2320781 w 3883573"/>
                  <a:gd name="connsiteY12" fmla="*/ 210442 h 2277068"/>
                  <a:gd name="connsiteX13" fmla="*/ 1581038 w 3883573"/>
                  <a:gd name="connsiteY13" fmla="*/ 185419 h 2277068"/>
                  <a:gd name="connsiteX14" fmla="*/ 981000 w 3883573"/>
                  <a:gd name="connsiteY14" fmla="*/ 94434 h 2277068"/>
                  <a:gd name="connsiteX15" fmla="*/ 61263 w 3883573"/>
                  <a:gd name="connsiteY15" fmla="*/ 30910 h 2277068"/>
                  <a:gd name="connsiteX0" fmla="*/ 61263 w 3883573"/>
                  <a:gd name="connsiteY0" fmla="*/ 30910 h 2277068"/>
                  <a:gd name="connsiteX1" fmla="*/ 126754 w 3883573"/>
                  <a:gd name="connsiteY1" fmla="*/ 537465 h 2277068"/>
                  <a:gd name="connsiteX2" fmla="*/ 459363 w 3883573"/>
                  <a:gd name="connsiteY2" fmla="*/ 1062319 h 2277068"/>
                  <a:gd name="connsiteX3" fmla="*/ 1235346 w 3883573"/>
                  <a:gd name="connsiteY3" fmla="*/ 1252241 h 2277068"/>
                  <a:gd name="connsiteX4" fmla="*/ 1987626 w 3883573"/>
                  <a:gd name="connsiteY4" fmla="*/ 2262196 h 2277068"/>
                  <a:gd name="connsiteX5" fmla="*/ 3033660 w 3883573"/>
                  <a:gd name="connsiteY5" fmla="*/ 1843659 h 2277068"/>
                  <a:gd name="connsiteX6" fmla="*/ 3324591 w 3883573"/>
                  <a:gd name="connsiteY6" fmla="*/ 1197924 h 2277068"/>
                  <a:gd name="connsiteX7" fmla="*/ 3635487 w 3883573"/>
                  <a:gd name="connsiteY7" fmla="*/ 751817 h 2277068"/>
                  <a:gd name="connsiteX8" fmla="*/ 3883573 w 3883573"/>
                  <a:gd name="connsiteY8" fmla="*/ 451503 h 2277068"/>
                  <a:gd name="connsiteX9" fmla="*/ 3883573 w 3883573"/>
                  <a:gd name="connsiteY9" fmla="*/ 13121 h 2277068"/>
                  <a:gd name="connsiteX10" fmla="*/ 3277257 w 3883573"/>
                  <a:gd name="connsiteY10" fmla="*/ 187696 h 2277068"/>
                  <a:gd name="connsiteX11" fmla="*/ 2790063 w 3883573"/>
                  <a:gd name="connsiteY11" fmla="*/ 287779 h 2277068"/>
                  <a:gd name="connsiteX12" fmla="*/ 2320781 w 3883573"/>
                  <a:gd name="connsiteY12" fmla="*/ 210442 h 2277068"/>
                  <a:gd name="connsiteX13" fmla="*/ 1581038 w 3883573"/>
                  <a:gd name="connsiteY13" fmla="*/ 185419 h 2277068"/>
                  <a:gd name="connsiteX14" fmla="*/ 981000 w 3883573"/>
                  <a:gd name="connsiteY14" fmla="*/ 94434 h 2277068"/>
                  <a:gd name="connsiteX15" fmla="*/ 61263 w 3883573"/>
                  <a:gd name="connsiteY15" fmla="*/ 30910 h 2277068"/>
                  <a:gd name="connsiteX0" fmla="*/ 61263 w 3883573"/>
                  <a:gd name="connsiteY0" fmla="*/ 30910 h 1851428"/>
                  <a:gd name="connsiteX1" fmla="*/ 126754 w 3883573"/>
                  <a:gd name="connsiteY1" fmla="*/ 537465 h 1851428"/>
                  <a:gd name="connsiteX2" fmla="*/ 459363 w 3883573"/>
                  <a:gd name="connsiteY2" fmla="*/ 1062319 h 1851428"/>
                  <a:gd name="connsiteX3" fmla="*/ 1235346 w 3883573"/>
                  <a:gd name="connsiteY3" fmla="*/ 1252241 h 1851428"/>
                  <a:gd name="connsiteX4" fmla="*/ 2023449 w 3883573"/>
                  <a:gd name="connsiteY4" fmla="*/ 999753 h 1851428"/>
                  <a:gd name="connsiteX5" fmla="*/ 3033660 w 3883573"/>
                  <a:gd name="connsiteY5" fmla="*/ 1843659 h 1851428"/>
                  <a:gd name="connsiteX6" fmla="*/ 3324591 w 3883573"/>
                  <a:gd name="connsiteY6" fmla="*/ 1197924 h 1851428"/>
                  <a:gd name="connsiteX7" fmla="*/ 3635487 w 3883573"/>
                  <a:gd name="connsiteY7" fmla="*/ 751817 h 1851428"/>
                  <a:gd name="connsiteX8" fmla="*/ 3883573 w 3883573"/>
                  <a:gd name="connsiteY8" fmla="*/ 451503 h 1851428"/>
                  <a:gd name="connsiteX9" fmla="*/ 3883573 w 3883573"/>
                  <a:gd name="connsiteY9" fmla="*/ 13121 h 1851428"/>
                  <a:gd name="connsiteX10" fmla="*/ 3277257 w 3883573"/>
                  <a:gd name="connsiteY10" fmla="*/ 187696 h 1851428"/>
                  <a:gd name="connsiteX11" fmla="*/ 2790063 w 3883573"/>
                  <a:gd name="connsiteY11" fmla="*/ 287779 h 1851428"/>
                  <a:gd name="connsiteX12" fmla="*/ 2320781 w 3883573"/>
                  <a:gd name="connsiteY12" fmla="*/ 210442 h 1851428"/>
                  <a:gd name="connsiteX13" fmla="*/ 1581038 w 3883573"/>
                  <a:gd name="connsiteY13" fmla="*/ 185419 h 1851428"/>
                  <a:gd name="connsiteX14" fmla="*/ 981000 w 3883573"/>
                  <a:gd name="connsiteY14" fmla="*/ 94434 h 1851428"/>
                  <a:gd name="connsiteX15" fmla="*/ 61263 w 3883573"/>
                  <a:gd name="connsiteY15" fmla="*/ 30910 h 1851428"/>
                  <a:gd name="connsiteX0" fmla="*/ 61263 w 3883573"/>
                  <a:gd name="connsiteY0" fmla="*/ 30910 h 1847024"/>
                  <a:gd name="connsiteX1" fmla="*/ 126754 w 3883573"/>
                  <a:gd name="connsiteY1" fmla="*/ 537465 h 1847024"/>
                  <a:gd name="connsiteX2" fmla="*/ 459363 w 3883573"/>
                  <a:gd name="connsiteY2" fmla="*/ 1062319 h 1847024"/>
                  <a:gd name="connsiteX3" fmla="*/ 1235346 w 3883573"/>
                  <a:gd name="connsiteY3" fmla="*/ 1252241 h 1847024"/>
                  <a:gd name="connsiteX4" fmla="*/ 2023449 w 3883573"/>
                  <a:gd name="connsiteY4" fmla="*/ 999753 h 1847024"/>
                  <a:gd name="connsiteX5" fmla="*/ 2490859 w 3883573"/>
                  <a:gd name="connsiteY5" fmla="*/ 1155322 h 1847024"/>
                  <a:gd name="connsiteX6" fmla="*/ 3033660 w 3883573"/>
                  <a:gd name="connsiteY6" fmla="*/ 1843659 h 1847024"/>
                  <a:gd name="connsiteX7" fmla="*/ 3324591 w 3883573"/>
                  <a:gd name="connsiteY7" fmla="*/ 1197924 h 1847024"/>
                  <a:gd name="connsiteX8" fmla="*/ 3635487 w 3883573"/>
                  <a:gd name="connsiteY8" fmla="*/ 751817 h 1847024"/>
                  <a:gd name="connsiteX9" fmla="*/ 3883573 w 3883573"/>
                  <a:gd name="connsiteY9" fmla="*/ 451503 h 1847024"/>
                  <a:gd name="connsiteX10" fmla="*/ 3883573 w 3883573"/>
                  <a:gd name="connsiteY10" fmla="*/ 13121 h 1847024"/>
                  <a:gd name="connsiteX11" fmla="*/ 3277257 w 3883573"/>
                  <a:gd name="connsiteY11" fmla="*/ 187696 h 1847024"/>
                  <a:gd name="connsiteX12" fmla="*/ 2790063 w 3883573"/>
                  <a:gd name="connsiteY12" fmla="*/ 287779 h 1847024"/>
                  <a:gd name="connsiteX13" fmla="*/ 2320781 w 3883573"/>
                  <a:gd name="connsiteY13" fmla="*/ 210442 h 1847024"/>
                  <a:gd name="connsiteX14" fmla="*/ 1581038 w 3883573"/>
                  <a:gd name="connsiteY14" fmla="*/ 185419 h 1847024"/>
                  <a:gd name="connsiteX15" fmla="*/ 981000 w 3883573"/>
                  <a:gd name="connsiteY15" fmla="*/ 94434 h 1847024"/>
                  <a:gd name="connsiteX16" fmla="*/ 61263 w 3883573"/>
                  <a:gd name="connsiteY16" fmla="*/ 30910 h 1847024"/>
                  <a:gd name="connsiteX0" fmla="*/ 61263 w 3883573"/>
                  <a:gd name="connsiteY0" fmla="*/ 30910 h 1847024"/>
                  <a:gd name="connsiteX1" fmla="*/ 126754 w 3883573"/>
                  <a:gd name="connsiteY1" fmla="*/ 537465 h 1847024"/>
                  <a:gd name="connsiteX2" fmla="*/ 459363 w 3883573"/>
                  <a:gd name="connsiteY2" fmla="*/ 1062319 h 1847024"/>
                  <a:gd name="connsiteX3" fmla="*/ 1235346 w 3883573"/>
                  <a:gd name="connsiteY3" fmla="*/ 1252241 h 1847024"/>
                  <a:gd name="connsiteX4" fmla="*/ 1736869 w 3883573"/>
                  <a:gd name="connsiteY4" fmla="*/ 1011123 h 1847024"/>
                  <a:gd name="connsiteX5" fmla="*/ 2490859 w 3883573"/>
                  <a:gd name="connsiteY5" fmla="*/ 1155322 h 1847024"/>
                  <a:gd name="connsiteX6" fmla="*/ 3033660 w 3883573"/>
                  <a:gd name="connsiteY6" fmla="*/ 1843659 h 1847024"/>
                  <a:gd name="connsiteX7" fmla="*/ 3324591 w 3883573"/>
                  <a:gd name="connsiteY7" fmla="*/ 1197924 h 1847024"/>
                  <a:gd name="connsiteX8" fmla="*/ 3635487 w 3883573"/>
                  <a:gd name="connsiteY8" fmla="*/ 751817 h 1847024"/>
                  <a:gd name="connsiteX9" fmla="*/ 3883573 w 3883573"/>
                  <a:gd name="connsiteY9" fmla="*/ 451503 h 1847024"/>
                  <a:gd name="connsiteX10" fmla="*/ 3883573 w 3883573"/>
                  <a:gd name="connsiteY10" fmla="*/ 13121 h 1847024"/>
                  <a:gd name="connsiteX11" fmla="*/ 3277257 w 3883573"/>
                  <a:gd name="connsiteY11" fmla="*/ 187696 h 1847024"/>
                  <a:gd name="connsiteX12" fmla="*/ 2790063 w 3883573"/>
                  <a:gd name="connsiteY12" fmla="*/ 287779 h 1847024"/>
                  <a:gd name="connsiteX13" fmla="*/ 2320781 w 3883573"/>
                  <a:gd name="connsiteY13" fmla="*/ 210442 h 1847024"/>
                  <a:gd name="connsiteX14" fmla="*/ 1581038 w 3883573"/>
                  <a:gd name="connsiteY14" fmla="*/ 185419 h 1847024"/>
                  <a:gd name="connsiteX15" fmla="*/ 981000 w 3883573"/>
                  <a:gd name="connsiteY15" fmla="*/ 94434 h 1847024"/>
                  <a:gd name="connsiteX16" fmla="*/ 61263 w 3883573"/>
                  <a:gd name="connsiteY16" fmla="*/ 30910 h 1847024"/>
                  <a:gd name="connsiteX0" fmla="*/ 61263 w 3883573"/>
                  <a:gd name="connsiteY0" fmla="*/ 30910 h 1847024"/>
                  <a:gd name="connsiteX1" fmla="*/ 126754 w 3883573"/>
                  <a:gd name="connsiteY1" fmla="*/ 537465 h 1847024"/>
                  <a:gd name="connsiteX2" fmla="*/ 459363 w 3883573"/>
                  <a:gd name="connsiteY2" fmla="*/ 1062319 h 1847024"/>
                  <a:gd name="connsiteX3" fmla="*/ 903987 w 3883573"/>
                  <a:gd name="connsiteY3" fmla="*/ 1127135 h 1847024"/>
                  <a:gd name="connsiteX4" fmla="*/ 1736869 w 3883573"/>
                  <a:gd name="connsiteY4" fmla="*/ 1011123 h 1847024"/>
                  <a:gd name="connsiteX5" fmla="*/ 2490859 w 3883573"/>
                  <a:gd name="connsiteY5" fmla="*/ 1155322 h 1847024"/>
                  <a:gd name="connsiteX6" fmla="*/ 3033660 w 3883573"/>
                  <a:gd name="connsiteY6" fmla="*/ 1843659 h 1847024"/>
                  <a:gd name="connsiteX7" fmla="*/ 3324591 w 3883573"/>
                  <a:gd name="connsiteY7" fmla="*/ 1197924 h 1847024"/>
                  <a:gd name="connsiteX8" fmla="*/ 3635487 w 3883573"/>
                  <a:gd name="connsiteY8" fmla="*/ 751817 h 1847024"/>
                  <a:gd name="connsiteX9" fmla="*/ 3883573 w 3883573"/>
                  <a:gd name="connsiteY9" fmla="*/ 451503 h 1847024"/>
                  <a:gd name="connsiteX10" fmla="*/ 3883573 w 3883573"/>
                  <a:gd name="connsiteY10" fmla="*/ 13121 h 1847024"/>
                  <a:gd name="connsiteX11" fmla="*/ 3277257 w 3883573"/>
                  <a:gd name="connsiteY11" fmla="*/ 187696 h 1847024"/>
                  <a:gd name="connsiteX12" fmla="*/ 2790063 w 3883573"/>
                  <a:gd name="connsiteY12" fmla="*/ 287779 h 1847024"/>
                  <a:gd name="connsiteX13" fmla="*/ 2320781 w 3883573"/>
                  <a:gd name="connsiteY13" fmla="*/ 210442 h 1847024"/>
                  <a:gd name="connsiteX14" fmla="*/ 1581038 w 3883573"/>
                  <a:gd name="connsiteY14" fmla="*/ 185419 h 1847024"/>
                  <a:gd name="connsiteX15" fmla="*/ 981000 w 3883573"/>
                  <a:gd name="connsiteY15" fmla="*/ 94434 h 1847024"/>
                  <a:gd name="connsiteX16" fmla="*/ 61263 w 3883573"/>
                  <a:gd name="connsiteY16" fmla="*/ 30910 h 1847024"/>
                  <a:gd name="connsiteX0" fmla="*/ 61263 w 3883573"/>
                  <a:gd name="connsiteY0" fmla="*/ 30910 h 1847000"/>
                  <a:gd name="connsiteX1" fmla="*/ 126754 w 3883573"/>
                  <a:gd name="connsiteY1" fmla="*/ 537465 h 1847000"/>
                  <a:gd name="connsiteX2" fmla="*/ 459363 w 3883573"/>
                  <a:gd name="connsiteY2" fmla="*/ 1062319 h 1847000"/>
                  <a:gd name="connsiteX3" fmla="*/ 903987 w 3883573"/>
                  <a:gd name="connsiteY3" fmla="*/ 1127135 h 1847000"/>
                  <a:gd name="connsiteX4" fmla="*/ 1736869 w 3883573"/>
                  <a:gd name="connsiteY4" fmla="*/ 1011123 h 1847000"/>
                  <a:gd name="connsiteX5" fmla="*/ 2069939 w 3883573"/>
                  <a:gd name="connsiteY5" fmla="*/ 1166694 h 1847000"/>
                  <a:gd name="connsiteX6" fmla="*/ 2490859 w 3883573"/>
                  <a:gd name="connsiteY6" fmla="*/ 1155322 h 1847000"/>
                  <a:gd name="connsiteX7" fmla="*/ 3033660 w 3883573"/>
                  <a:gd name="connsiteY7" fmla="*/ 1843659 h 1847000"/>
                  <a:gd name="connsiteX8" fmla="*/ 3324591 w 3883573"/>
                  <a:gd name="connsiteY8" fmla="*/ 1197924 h 1847000"/>
                  <a:gd name="connsiteX9" fmla="*/ 3635487 w 3883573"/>
                  <a:gd name="connsiteY9" fmla="*/ 751817 h 1847000"/>
                  <a:gd name="connsiteX10" fmla="*/ 3883573 w 3883573"/>
                  <a:gd name="connsiteY10" fmla="*/ 451503 h 1847000"/>
                  <a:gd name="connsiteX11" fmla="*/ 3883573 w 3883573"/>
                  <a:gd name="connsiteY11" fmla="*/ 13121 h 1847000"/>
                  <a:gd name="connsiteX12" fmla="*/ 3277257 w 3883573"/>
                  <a:gd name="connsiteY12" fmla="*/ 187696 h 1847000"/>
                  <a:gd name="connsiteX13" fmla="*/ 2790063 w 3883573"/>
                  <a:gd name="connsiteY13" fmla="*/ 287779 h 1847000"/>
                  <a:gd name="connsiteX14" fmla="*/ 2320781 w 3883573"/>
                  <a:gd name="connsiteY14" fmla="*/ 210442 h 1847000"/>
                  <a:gd name="connsiteX15" fmla="*/ 1581038 w 3883573"/>
                  <a:gd name="connsiteY15" fmla="*/ 185419 h 1847000"/>
                  <a:gd name="connsiteX16" fmla="*/ 981000 w 3883573"/>
                  <a:gd name="connsiteY16" fmla="*/ 94434 h 1847000"/>
                  <a:gd name="connsiteX17" fmla="*/ 61263 w 3883573"/>
                  <a:gd name="connsiteY17" fmla="*/ 30910 h 1847000"/>
                  <a:gd name="connsiteX0" fmla="*/ 61263 w 3883573"/>
                  <a:gd name="connsiteY0" fmla="*/ 30910 h 1220392"/>
                  <a:gd name="connsiteX1" fmla="*/ 126754 w 3883573"/>
                  <a:gd name="connsiteY1" fmla="*/ 537465 h 1220392"/>
                  <a:gd name="connsiteX2" fmla="*/ 459363 w 3883573"/>
                  <a:gd name="connsiteY2" fmla="*/ 1062319 h 1220392"/>
                  <a:gd name="connsiteX3" fmla="*/ 903987 w 3883573"/>
                  <a:gd name="connsiteY3" fmla="*/ 1127135 h 1220392"/>
                  <a:gd name="connsiteX4" fmla="*/ 1736869 w 3883573"/>
                  <a:gd name="connsiteY4" fmla="*/ 1011123 h 1220392"/>
                  <a:gd name="connsiteX5" fmla="*/ 2069939 w 3883573"/>
                  <a:gd name="connsiteY5" fmla="*/ 1166694 h 1220392"/>
                  <a:gd name="connsiteX6" fmla="*/ 2490859 w 3883573"/>
                  <a:gd name="connsiteY6" fmla="*/ 1155322 h 1220392"/>
                  <a:gd name="connsiteX7" fmla="*/ 3324591 w 3883573"/>
                  <a:gd name="connsiteY7" fmla="*/ 1197924 h 1220392"/>
                  <a:gd name="connsiteX8" fmla="*/ 3635487 w 3883573"/>
                  <a:gd name="connsiteY8" fmla="*/ 751817 h 1220392"/>
                  <a:gd name="connsiteX9" fmla="*/ 3883573 w 3883573"/>
                  <a:gd name="connsiteY9" fmla="*/ 451503 h 1220392"/>
                  <a:gd name="connsiteX10" fmla="*/ 3883573 w 3883573"/>
                  <a:gd name="connsiteY10" fmla="*/ 13121 h 1220392"/>
                  <a:gd name="connsiteX11" fmla="*/ 3277257 w 3883573"/>
                  <a:gd name="connsiteY11" fmla="*/ 187696 h 1220392"/>
                  <a:gd name="connsiteX12" fmla="*/ 2790063 w 3883573"/>
                  <a:gd name="connsiteY12" fmla="*/ 287779 h 1220392"/>
                  <a:gd name="connsiteX13" fmla="*/ 2320781 w 3883573"/>
                  <a:gd name="connsiteY13" fmla="*/ 210442 h 1220392"/>
                  <a:gd name="connsiteX14" fmla="*/ 1581038 w 3883573"/>
                  <a:gd name="connsiteY14" fmla="*/ 185419 h 1220392"/>
                  <a:gd name="connsiteX15" fmla="*/ 981000 w 3883573"/>
                  <a:gd name="connsiteY15" fmla="*/ 94434 h 1220392"/>
                  <a:gd name="connsiteX16" fmla="*/ 61263 w 3883573"/>
                  <a:gd name="connsiteY16" fmla="*/ 30910 h 1220392"/>
                  <a:gd name="connsiteX0" fmla="*/ 61263 w 3883573"/>
                  <a:gd name="connsiteY0" fmla="*/ 30910 h 1174361"/>
                  <a:gd name="connsiteX1" fmla="*/ 126754 w 3883573"/>
                  <a:gd name="connsiteY1" fmla="*/ 537465 h 1174361"/>
                  <a:gd name="connsiteX2" fmla="*/ 459363 w 3883573"/>
                  <a:gd name="connsiteY2" fmla="*/ 1062319 h 1174361"/>
                  <a:gd name="connsiteX3" fmla="*/ 903987 w 3883573"/>
                  <a:gd name="connsiteY3" fmla="*/ 1127135 h 1174361"/>
                  <a:gd name="connsiteX4" fmla="*/ 1736869 w 3883573"/>
                  <a:gd name="connsiteY4" fmla="*/ 1011123 h 1174361"/>
                  <a:gd name="connsiteX5" fmla="*/ 2069939 w 3883573"/>
                  <a:gd name="connsiteY5" fmla="*/ 1166694 h 1174361"/>
                  <a:gd name="connsiteX6" fmla="*/ 2490859 w 3883573"/>
                  <a:gd name="connsiteY6" fmla="*/ 1155322 h 1174361"/>
                  <a:gd name="connsiteX7" fmla="*/ 3243989 w 3883573"/>
                  <a:gd name="connsiteY7" fmla="*/ 959085 h 1174361"/>
                  <a:gd name="connsiteX8" fmla="*/ 3635487 w 3883573"/>
                  <a:gd name="connsiteY8" fmla="*/ 751817 h 1174361"/>
                  <a:gd name="connsiteX9" fmla="*/ 3883573 w 3883573"/>
                  <a:gd name="connsiteY9" fmla="*/ 451503 h 1174361"/>
                  <a:gd name="connsiteX10" fmla="*/ 3883573 w 3883573"/>
                  <a:gd name="connsiteY10" fmla="*/ 13121 h 1174361"/>
                  <a:gd name="connsiteX11" fmla="*/ 3277257 w 3883573"/>
                  <a:gd name="connsiteY11" fmla="*/ 187696 h 1174361"/>
                  <a:gd name="connsiteX12" fmla="*/ 2790063 w 3883573"/>
                  <a:gd name="connsiteY12" fmla="*/ 287779 h 1174361"/>
                  <a:gd name="connsiteX13" fmla="*/ 2320781 w 3883573"/>
                  <a:gd name="connsiteY13" fmla="*/ 210442 h 1174361"/>
                  <a:gd name="connsiteX14" fmla="*/ 1581038 w 3883573"/>
                  <a:gd name="connsiteY14" fmla="*/ 185419 h 1174361"/>
                  <a:gd name="connsiteX15" fmla="*/ 981000 w 3883573"/>
                  <a:gd name="connsiteY15" fmla="*/ 94434 h 1174361"/>
                  <a:gd name="connsiteX16" fmla="*/ 61263 w 3883573"/>
                  <a:gd name="connsiteY16" fmla="*/ 30910 h 1174361"/>
                  <a:gd name="connsiteX0" fmla="*/ 61263 w 3883573"/>
                  <a:gd name="connsiteY0" fmla="*/ 30910 h 1174361"/>
                  <a:gd name="connsiteX1" fmla="*/ 126754 w 3883573"/>
                  <a:gd name="connsiteY1" fmla="*/ 537465 h 1174361"/>
                  <a:gd name="connsiteX2" fmla="*/ 459363 w 3883573"/>
                  <a:gd name="connsiteY2" fmla="*/ 1062319 h 1174361"/>
                  <a:gd name="connsiteX3" fmla="*/ 903987 w 3883573"/>
                  <a:gd name="connsiteY3" fmla="*/ 1127135 h 1174361"/>
                  <a:gd name="connsiteX4" fmla="*/ 1736869 w 3883573"/>
                  <a:gd name="connsiteY4" fmla="*/ 1011123 h 1174361"/>
                  <a:gd name="connsiteX5" fmla="*/ 2069939 w 3883573"/>
                  <a:gd name="connsiteY5" fmla="*/ 1166694 h 1174361"/>
                  <a:gd name="connsiteX6" fmla="*/ 2490859 w 3883573"/>
                  <a:gd name="connsiteY6" fmla="*/ 1155322 h 1174361"/>
                  <a:gd name="connsiteX7" fmla="*/ 3360418 w 3883573"/>
                  <a:gd name="connsiteY7" fmla="*/ 1050071 h 1174361"/>
                  <a:gd name="connsiteX8" fmla="*/ 3635487 w 3883573"/>
                  <a:gd name="connsiteY8" fmla="*/ 751817 h 1174361"/>
                  <a:gd name="connsiteX9" fmla="*/ 3883573 w 3883573"/>
                  <a:gd name="connsiteY9" fmla="*/ 451503 h 1174361"/>
                  <a:gd name="connsiteX10" fmla="*/ 3883573 w 3883573"/>
                  <a:gd name="connsiteY10" fmla="*/ 13121 h 1174361"/>
                  <a:gd name="connsiteX11" fmla="*/ 3277257 w 3883573"/>
                  <a:gd name="connsiteY11" fmla="*/ 187696 h 1174361"/>
                  <a:gd name="connsiteX12" fmla="*/ 2790063 w 3883573"/>
                  <a:gd name="connsiteY12" fmla="*/ 287779 h 1174361"/>
                  <a:gd name="connsiteX13" fmla="*/ 2320781 w 3883573"/>
                  <a:gd name="connsiteY13" fmla="*/ 210442 h 1174361"/>
                  <a:gd name="connsiteX14" fmla="*/ 1581038 w 3883573"/>
                  <a:gd name="connsiteY14" fmla="*/ 185419 h 1174361"/>
                  <a:gd name="connsiteX15" fmla="*/ 981000 w 3883573"/>
                  <a:gd name="connsiteY15" fmla="*/ 94434 h 1174361"/>
                  <a:gd name="connsiteX16" fmla="*/ 61263 w 3883573"/>
                  <a:gd name="connsiteY16" fmla="*/ 30910 h 1174361"/>
                  <a:gd name="connsiteX0" fmla="*/ 61263 w 3892533"/>
                  <a:gd name="connsiteY0" fmla="*/ 24870 h 1168321"/>
                  <a:gd name="connsiteX1" fmla="*/ 126754 w 3892533"/>
                  <a:gd name="connsiteY1" fmla="*/ 531425 h 1168321"/>
                  <a:gd name="connsiteX2" fmla="*/ 459363 w 3892533"/>
                  <a:gd name="connsiteY2" fmla="*/ 1056279 h 1168321"/>
                  <a:gd name="connsiteX3" fmla="*/ 903987 w 3892533"/>
                  <a:gd name="connsiteY3" fmla="*/ 1121095 h 1168321"/>
                  <a:gd name="connsiteX4" fmla="*/ 1736869 w 3892533"/>
                  <a:gd name="connsiteY4" fmla="*/ 1005083 h 1168321"/>
                  <a:gd name="connsiteX5" fmla="*/ 2069939 w 3892533"/>
                  <a:gd name="connsiteY5" fmla="*/ 1160654 h 1168321"/>
                  <a:gd name="connsiteX6" fmla="*/ 2490859 w 3892533"/>
                  <a:gd name="connsiteY6" fmla="*/ 1149282 h 1168321"/>
                  <a:gd name="connsiteX7" fmla="*/ 3360418 w 3892533"/>
                  <a:gd name="connsiteY7" fmla="*/ 1044031 h 1168321"/>
                  <a:gd name="connsiteX8" fmla="*/ 3635487 w 3892533"/>
                  <a:gd name="connsiteY8" fmla="*/ 745777 h 1168321"/>
                  <a:gd name="connsiteX9" fmla="*/ 3883573 w 3892533"/>
                  <a:gd name="connsiteY9" fmla="*/ 445463 h 1168321"/>
                  <a:gd name="connsiteX10" fmla="*/ 3892534 w 3892533"/>
                  <a:gd name="connsiteY10" fmla="*/ 166306 h 1168321"/>
                  <a:gd name="connsiteX11" fmla="*/ 3277257 w 3892533"/>
                  <a:gd name="connsiteY11" fmla="*/ 181656 h 1168321"/>
                  <a:gd name="connsiteX12" fmla="*/ 2790063 w 3892533"/>
                  <a:gd name="connsiteY12" fmla="*/ 281739 h 1168321"/>
                  <a:gd name="connsiteX13" fmla="*/ 2320781 w 3892533"/>
                  <a:gd name="connsiteY13" fmla="*/ 204402 h 1168321"/>
                  <a:gd name="connsiteX14" fmla="*/ 1581038 w 3892533"/>
                  <a:gd name="connsiteY14" fmla="*/ 179379 h 1168321"/>
                  <a:gd name="connsiteX15" fmla="*/ 981000 w 3892533"/>
                  <a:gd name="connsiteY15" fmla="*/ 88394 h 1168321"/>
                  <a:gd name="connsiteX16" fmla="*/ 61263 w 3892533"/>
                  <a:gd name="connsiteY16" fmla="*/ 24870 h 1168321"/>
                  <a:gd name="connsiteX0" fmla="*/ 61263 w 3892535"/>
                  <a:gd name="connsiteY0" fmla="*/ 24870 h 1280796"/>
                  <a:gd name="connsiteX1" fmla="*/ 126754 w 3892535"/>
                  <a:gd name="connsiteY1" fmla="*/ 531425 h 1280796"/>
                  <a:gd name="connsiteX2" fmla="*/ 459363 w 3892535"/>
                  <a:gd name="connsiteY2" fmla="*/ 1056279 h 1280796"/>
                  <a:gd name="connsiteX3" fmla="*/ 966682 w 3892535"/>
                  <a:gd name="connsiteY3" fmla="*/ 1280322 h 1280796"/>
                  <a:gd name="connsiteX4" fmla="*/ 1736869 w 3892535"/>
                  <a:gd name="connsiteY4" fmla="*/ 1005083 h 1280796"/>
                  <a:gd name="connsiteX5" fmla="*/ 2069939 w 3892535"/>
                  <a:gd name="connsiteY5" fmla="*/ 1160654 h 1280796"/>
                  <a:gd name="connsiteX6" fmla="*/ 2490859 w 3892535"/>
                  <a:gd name="connsiteY6" fmla="*/ 1149282 h 1280796"/>
                  <a:gd name="connsiteX7" fmla="*/ 3360418 w 3892535"/>
                  <a:gd name="connsiteY7" fmla="*/ 1044031 h 1280796"/>
                  <a:gd name="connsiteX8" fmla="*/ 3635487 w 3892535"/>
                  <a:gd name="connsiteY8" fmla="*/ 745777 h 1280796"/>
                  <a:gd name="connsiteX9" fmla="*/ 3883573 w 3892535"/>
                  <a:gd name="connsiteY9" fmla="*/ 445463 h 1280796"/>
                  <a:gd name="connsiteX10" fmla="*/ 3892534 w 3892535"/>
                  <a:gd name="connsiteY10" fmla="*/ 166306 h 1280796"/>
                  <a:gd name="connsiteX11" fmla="*/ 3277257 w 3892535"/>
                  <a:gd name="connsiteY11" fmla="*/ 181656 h 1280796"/>
                  <a:gd name="connsiteX12" fmla="*/ 2790063 w 3892535"/>
                  <a:gd name="connsiteY12" fmla="*/ 281739 h 1280796"/>
                  <a:gd name="connsiteX13" fmla="*/ 2320781 w 3892535"/>
                  <a:gd name="connsiteY13" fmla="*/ 204402 h 1280796"/>
                  <a:gd name="connsiteX14" fmla="*/ 1581038 w 3892535"/>
                  <a:gd name="connsiteY14" fmla="*/ 179379 h 1280796"/>
                  <a:gd name="connsiteX15" fmla="*/ 981000 w 3892535"/>
                  <a:gd name="connsiteY15" fmla="*/ 88394 h 1280796"/>
                  <a:gd name="connsiteX16" fmla="*/ 61263 w 3892535"/>
                  <a:gd name="connsiteY16" fmla="*/ 24870 h 1280796"/>
                  <a:gd name="connsiteX0" fmla="*/ 61263 w 3892533"/>
                  <a:gd name="connsiteY0" fmla="*/ 24870 h 1288550"/>
                  <a:gd name="connsiteX1" fmla="*/ 126754 w 3892533"/>
                  <a:gd name="connsiteY1" fmla="*/ 531425 h 1288550"/>
                  <a:gd name="connsiteX2" fmla="*/ 459363 w 3892533"/>
                  <a:gd name="connsiteY2" fmla="*/ 1056279 h 1288550"/>
                  <a:gd name="connsiteX3" fmla="*/ 966682 w 3892533"/>
                  <a:gd name="connsiteY3" fmla="*/ 1280322 h 1288550"/>
                  <a:gd name="connsiteX4" fmla="*/ 1584621 w 3892533"/>
                  <a:gd name="connsiteY4" fmla="*/ 1232549 h 1288550"/>
                  <a:gd name="connsiteX5" fmla="*/ 2069939 w 3892533"/>
                  <a:gd name="connsiteY5" fmla="*/ 1160654 h 1288550"/>
                  <a:gd name="connsiteX6" fmla="*/ 2490859 w 3892533"/>
                  <a:gd name="connsiteY6" fmla="*/ 1149282 h 1288550"/>
                  <a:gd name="connsiteX7" fmla="*/ 3360418 w 3892533"/>
                  <a:gd name="connsiteY7" fmla="*/ 1044031 h 1288550"/>
                  <a:gd name="connsiteX8" fmla="*/ 3635487 w 3892533"/>
                  <a:gd name="connsiteY8" fmla="*/ 745777 h 1288550"/>
                  <a:gd name="connsiteX9" fmla="*/ 3883573 w 3892533"/>
                  <a:gd name="connsiteY9" fmla="*/ 445463 h 1288550"/>
                  <a:gd name="connsiteX10" fmla="*/ 3892534 w 3892533"/>
                  <a:gd name="connsiteY10" fmla="*/ 166306 h 1288550"/>
                  <a:gd name="connsiteX11" fmla="*/ 3277257 w 3892533"/>
                  <a:gd name="connsiteY11" fmla="*/ 181656 h 1288550"/>
                  <a:gd name="connsiteX12" fmla="*/ 2790063 w 3892533"/>
                  <a:gd name="connsiteY12" fmla="*/ 281739 h 1288550"/>
                  <a:gd name="connsiteX13" fmla="*/ 2320781 w 3892533"/>
                  <a:gd name="connsiteY13" fmla="*/ 204402 h 1288550"/>
                  <a:gd name="connsiteX14" fmla="*/ 1581038 w 3892533"/>
                  <a:gd name="connsiteY14" fmla="*/ 179379 h 1288550"/>
                  <a:gd name="connsiteX15" fmla="*/ 981000 w 3892533"/>
                  <a:gd name="connsiteY15" fmla="*/ 88394 h 1288550"/>
                  <a:gd name="connsiteX16" fmla="*/ 61263 w 3892533"/>
                  <a:gd name="connsiteY16" fmla="*/ 24870 h 1288550"/>
                  <a:gd name="connsiteX0" fmla="*/ 61263 w 3892535"/>
                  <a:gd name="connsiteY0" fmla="*/ 24870 h 1288550"/>
                  <a:gd name="connsiteX1" fmla="*/ 126754 w 3892535"/>
                  <a:gd name="connsiteY1" fmla="*/ 531425 h 1288550"/>
                  <a:gd name="connsiteX2" fmla="*/ 459363 w 3892535"/>
                  <a:gd name="connsiteY2" fmla="*/ 1056279 h 1288550"/>
                  <a:gd name="connsiteX3" fmla="*/ 966682 w 3892535"/>
                  <a:gd name="connsiteY3" fmla="*/ 1280322 h 1288550"/>
                  <a:gd name="connsiteX4" fmla="*/ 1584621 w 3892535"/>
                  <a:gd name="connsiteY4" fmla="*/ 1232549 h 1288550"/>
                  <a:gd name="connsiteX5" fmla="*/ 2069939 w 3892535"/>
                  <a:gd name="connsiteY5" fmla="*/ 1160654 h 1288550"/>
                  <a:gd name="connsiteX6" fmla="*/ 2338605 w 3892535"/>
                  <a:gd name="connsiteY6" fmla="*/ 1285763 h 1288550"/>
                  <a:gd name="connsiteX7" fmla="*/ 2490859 w 3892535"/>
                  <a:gd name="connsiteY7" fmla="*/ 1149282 h 1288550"/>
                  <a:gd name="connsiteX8" fmla="*/ 3360418 w 3892535"/>
                  <a:gd name="connsiteY8" fmla="*/ 1044031 h 1288550"/>
                  <a:gd name="connsiteX9" fmla="*/ 3635487 w 3892535"/>
                  <a:gd name="connsiteY9" fmla="*/ 745777 h 1288550"/>
                  <a:gd name="connsiteX10" fmla="*/ 3883573 w 3892535"/>
                  <a:gd name="connsiteY10" fmla="*/ 445463 h 1288550"/>
                  <a:gd name="connsiteX11" fmla="*/ 3892534 w 3892535"/>
                  <a:gd name="connsiteY11" fmla="*/ 166306 h 1288550"/>
                  <a:gd name="connsiteX12" fmla="*/ 3277257 w 3892535"/>
                  <a:gd name="connsiteY12" fmla="*/ 181656 h 1288550"/>
                  <a:gd name="connsiteX13" fmla="*/ 2790063 w 3892535"/>
                  <a:gd name="connsiteY13" fmla="*/ 281739 h 1288550"/>
                  <a:gd name="connsiteX14" fmla="*/ 2320781 w 3892535"/>
                  <a:gd name="connsiteY14" fmla="*/ 204402 h 1288550"/>
                  <a:gd name="connsiteX15" fmla="*/ 1581038 w 3892535"/>
                  <a:gd name="connsiteY15" fmla="*/ 179379 h 1288550"/>
                  <a:gd name="connsiteX16" fmla="*/ 981000 w 3892535"/>
                  <a:gd name="connsiteY16" fmla="*/ 88394 h 1288550"/>
                  <a:gd name="connsiteX17" fmla="*/ 61263 w 3892535"/>
                  <a:gd name="connsiteY17" fmla="*/ 24870 h 1288550"/>
                  <a:gd name="connsiteX0" fmla="*/ 61263 w 3892533"/>
                  <a:gd name="connsiteY0" fmla="*/ 24870 h 1288550"/>
                  <a:gd name="connsiteX1" fmla="*/ 126754 w 3892533"/>
                  <a:gd name="connsiteY1" fmla="*/ 531425 h 1288550"/>
                  <a:gd name="connsiteX2" fmla="*/ 459363 w 3892533"/>
                  <a:gd name="connsiteY2" fmla="*/ 1056279 h 1288550"/>
                  <a:gd name="connsiteX3" fmla="*/ 966682 w 3892533"/>
                  <a:gd name="connsiteY3" fmla="*/ 1280322 h 1288550"/>
                  <a:gd name="connsiteX4" fmla="*/ 1584621 w 3892533"/>
                  <a:gd name="connsiteY4" fmla="*/ 1232549 h 1288550"/>
                  <a:gd name="connsiteX5" fmla="*/ 2069939 w 3892533"/>
                  <a:gd name="connsiteY5" fmla="*/ 1160654 h 1288550"/>
                  <a:gd name="connsiteX6" fmla="*/ 2338605 w 3892533"/>
                  <a:gd name="connsiteY6" fmla="*/ 1285763 h 1288550"/>
                  <a:gd name="connsiteX7" fmla="*/ 2490859 w 3892533"/>
                  <a:gd name="connsiteY7" fmla="*/ 1149282 h 1288550"/>
                  <a:gd name="connsiteX8" fmla="*/ 2768487 w 3892533"/>
                  <a:gd name="connsiteY8" fmla="*/ 1206147 h 1288550"/>
                  <a:gd name="connsiteX9" fmla="*/ 3360418 w 3892533"/>
                  <a:gd name="connsiteY9" fmla="*/ 1044031 h 1288550"/>
                  <a:gd name="connsiteX10" fmla="*/ 3635487 w 3892533"/>
                  <a:gd name="connsiteY10" fmla="*/ 745777 h 1288550"/>
                  <a:gd name="connsiteX11" fmla="*/ 3883573 w 3892533"/>
                  <a:gd name="connsiteY11" fmla="*/ 445463 h 1288550"/>
                  <a:gd name="connsiteX12" fmla="*/ 3892534 w 3892533"/>
                  <a:gd name="connsiteY12" fmla="*/ 166306 h 1288550"/>
                  <a:gd name="connsiteX13" fmla="*/ 3277257 w 3892533"/>
                  <a:gd name="connsiteY13" fmla="*/ 181656 h 1288550"/>
                  <a:gd name="connsiteX14" fmla="*/ 2790063 w 3892533"/>
                  <a:gd name="connsiteY14" fmla="*/ 281739 h 1288550"/>
                  <a:gd name="connsiteX15" fmla="*/ 2320781 w 3892533"/>
                  <a:gd name="connsiteY15" fmla="*/ 204402 h 1288550"/>
                  <a:gd name="connsiteX16" fmla="*/ 1581038 w 3892533"/>
                  <a:gd name="connsiteY16" fmla="*/ 179379 h 1288550"/>
                  <a:gd name="connsiteX17" fmla="*/ 981000 w 3892533"/>
                  <a:gd name="connsiteY17" fmla="*/ 88394 h 1288550"/>
                  <a:gd name="connsiteX18" fmla="*/ 61263 w 3892533"/>
                  <a:gd name="connsiteY18" fmla="*/ 24870 h 1288550"/>
                  <a:gd name="connsiteX0" fmla="*/ 61263 w 3892535"/>
                  <a:gd name="connsiteY0" fmla="*/ 24870 h 1289751"/>
                  <a:gd name="connsiteX1" fmla="*/ 126754 w 3892535"/>
                  <a:gd name="connsiteY1" fmla="*/ 531425 h 1289751"/>
                  <a:gd name="connsiteX2" fmla="*/ 459363 w 3892535"/>
                  <a:gd name="connsiteY2" fmla="*/ 1056279 h 1289751"/>
                  <a:gd name="connsiteX3" fmla="*/ 966682 w 3892535"/>
                  <a:gd name="connsiteY3" fmla="*/ 1280322 h 1289751"/>
                  <a:gd name="connsiteX4" fmla="*/ 1584621 w 3892535"/>
                  <a:gd name="connsiteY4" fmla="*/ 1232549 h 1289751"/>
                  <a:gd name="connsiteX5" fmla="*/ 1881860 w 3892535"/>
                  <a:gd name="connsiteY5" fmla="*/ 1092415 h 1289751"/>
                  <a:gd name="connsiteX6" fmla="*/ 2069939 w 3892535"/>
                  <a:gd name="connsiteY6" fmla="*/ 1160654 h 1289751"/>
                  <a:gd name="connsiteX7" fmla="*/ 2338605 w 3892535"/>
                  <a:gd name="connsiteY7" fmla="*/ 1285763 h 1289751"/>
                  <a:gd name="connsiteX8" fmla="*/ 2490859 w 3892535"/>
                  <a:gd name="connsiteY8" fmla="*/ 1149282 h 1289751"/>
                  <a:gd name="connsiteX9" fmla="*/ 2768487 w 3892535"/>
                  <a:gd name="connsiteY9" fmla="*/ 1206147 h 1289751"/>
                  <a:gd name="connsiteX10" fmla="*/ 3360418 w 3892535"/>
                  <a:gd name="connsiteY10" fmla="*/ 1044031 h 1289751"/>
                  <a:gd name="connsiteX11" fmla="*/ 3635487 w 3892535"/>
                  <a:gd name="connsiteY11" fmla="*/ 745777 h 1289751"/>
                  <a:gd name="connsiteX12" fmla="*/ 3883573 w 3892535"/>
                  <a:gd name="connsiteY12" fmla="*/ 445463 h 1289751"/>
                  <a:gd name="connsiteX13" fmla="*/ 3892534 w 3892535"/>
                  <a:gd name="connsiteY13" fmla="*/ 166306 h 1289751"/>
                  <a:gd name="connsiteX14" fmla="*/ 3277257 w 3892535"/>
                  <a:gd name="connsiteY14" fmla="*/ 181656 h 1289751"/>
                  <a:gd name="connsiteX15" fmla="*/ 2790063 w 3892535"/>
                  <a:gd name="connsiteY15" fmla="*/ 281739 h 1289751"/>
                  <a:gd name="connsiteX16" fmla="*/ 2320781 w 3892535"/>
                  <a:gd name="connsiteY16" fmla="*/ 204402 h 1289751"/>
                  <a:gd name="connsiteX17" fmla="*/ 1581038 w 3892535"/>
                  <a:gd name="connsiteY17" fmla="*/ 179379 h 1289751"/>
                  <a:gd name="connsiteX18" fmla="*/ 981000 w 3892535"/>
                  <a:gd name="connsiteY18" fmla="*/ 88394 h 1289751"/>
                  <a:gd name="connsiteX19" fmla="*/ 61263 w 3892535"/>
                  <a:gd name="connsiteY19" fmla="*/ 24870 h 1289751"/>
                  <a:gd name="connsiteX0" fmla="*/ 61263 w 3892533"/>
                  <a:gd name="connsiteY0" fmla="*/ 24870 h 1411420"/>
                  <a:gd name="connsiteX1" fmla="*/ 126754 w 3892533"/>
                  <a:gd name="connsiteY1" fmla="*/ 531425 h 1411420"/>
                  <a:gd name="connsiteX2" fmla="*/ 459363 w 3892533"/>
                  <a:gd name="connsiteY2" fmla="*/ 1056279 h 1411420"/>
                  <a:gd name="connsiteX3" fmla="*/ 966682 w 3892533"/>
                  <a:gd name="connsiteY3" fmla="*/ 1280322 h 1411420"/>
                  <a:gd name="connsiteX4" fmla="*/ 1407205 w 3892533"/>
                  <a:gd name="connsiteY4" fmla="*/ 1410866 h 1411420"/>
                  <a:gd name="connsiteX5" fmla="*/ 1584621 w 3892533"/>
                  <a:gd name="connsiteY5" fmla="*/ 1232549 h 1411420"/>
                  <a:gd name="connsiteX6" fmla="*/ 1881860 w 3892533"/>
                  <a:gd name="connsiteY6" fmla="*/ 1092415 h 1411420"/>
                  <a:gd name="connsiteX7" fmla="*/ 2069939 w 3892533"/>
                  <a:gd name="connsiteY7" fmla="*/ 1160654 h 1411420"/>
                  <a:gd name="connsiteX8" fmla="*/ 2338605 w 3892533"/>
                  <a:gd name="connsiteY8" fmla="*/ 1285763 h 1411420"/>
                  <a:gd name="connsiteX9" fmla="*/ 2490859 w 3892533"/>
                  <a:gd name="connsiteY9" fmla="*/ 1149282 h 1411420"/>
                  <a:gd name="connsiteX10" fmla="*/ 2768487 w 3892533"/>
                  <a:gd name="connsiteY10" fmla="*/ 1206147 h 1411420"/>
                  <a:gd name="connsiteX11" fmla="*/ 3360418 w 3892533"/>
                  <a:gd name="connsiteY11" fmla="*/ 1044031 h 1411420"/>
                  <a:gd name="connsiteX12" fmla="*/ 3635487 w 3892533"/>
                  <a:gd name="connsiteY12" fmla="*/ 745777 h 1411420"/>
                  <a:gd name="connsiteX13" fmla="*/ 3883573 w 3892533"/>
                  <a:gd name="connsiteY13" fmla="*/ 445463 h 1411420"/>
                  <a:gd name="connsiteX14" fmla="*/ 3892534 w 3892533"/>
                  <a:gd name="connsiteY14" fmla="*/ 166306 h 1411420"/>
                  <a:gd name="connsiteX15" fmla="*/ 3277257 w 3892533"/>
                  <a:gd name="connsiteY15" fmla="*/ 181656 h 1411420"/>
                  <a:gd name="connsiteX16" fmla="*/ 2790063 w 3892533"/>
                  <a:gd name="connsiteY16" fmla="*/ 281739 h 1411420"/>
                  <a:gd name="connsiteX17" fmla="*/ 2320781 w 3892533"/>
                  <a:gd name="connsiteY17" fmla="*/ 204402 h 1411420"/>
                  <a:gd name="connsiteX18" fmla="*/ 1581038 w 3892533"/>
                  <a:gd name="connsiteY18" fmla="*/ 179379 h 1411420"/>
                  <a:gd name="connsiteX19" fmla="*/ 981000 w 3892533"/>
                  <a:gd name="connsiteY19" fmla="*/ 88394 h 1411420"/>
                  <a:gd name="connsiteX20" fmla="*/ 61263 w 3892533"/>
                  <a:gd name="connsiteY20" fmla="*/ 24870 h 1411420"/>
                  <a:gd name="connsiteX0" fmla="*/ 61263 w 3892534"/>
                  <a:gd name="connsiteY0" fmla="*/ 24870 h 1411420"/>
                  <a:gd name="connsiteX1" fmla="*/ 126754 w 3892534"/>
                  <a:gd name="connsiteY1" fmla="*/ 531425 h 1411420"/>
                  <a:gd name="connsiteX2" fmla="*/ 459363 w 3892534"/>
                  <a:gd name="connsiteY2" fmla="*/ 1056279 h 1411420"/>
                  <a:gd name="connsiteX3" fmla="*/ 966682 w 3892534"/>
                  <a:gd name="connsiteY3" fmla="*/ 1280322 h 1411420"/>
                  <a:gd name="connsiteX4" fmla="*/ 1407205 w 3892534"/>
                  <a:gd name="connsiteY4" fmla="*/ 1410866 h 1411420"/>
                  <a:gd name="connsiteX5" fmla="*/ 1584621 w 3892534"/>
                  <a:gd name="connsiteY5" fmla="*/ 1232549 h 1411420"/>
                  <a:gd name="connsiteX6" fmla="*/ 1881860 w 3892534"/>
                  <a:gd name="connsiteY6" fmla="*/ 1092415 h 1411420"/>
                  <a:gd name="connsiteX7" fmla="*/ 2069939 w 3892534"/>
                  <a:gd name="connsiteY7" fmla="*/ 1160654 h 1411420"/>
                  <a:gd name="connsiteX8" fmla="*/ 2338605 w 3892534"/>
                  <a:gd name="connsiteY8" fmla="*/ 1285763 h 1411420"/>
                  <a:gd name="connsiteX9" fmla="*/ 2490859 w 3892534"/>
                  <a:gd name="connsiteY9" fmla="*/ 1149282 h 1411420"/>
                  <a:gd name="connsiteX10" fmla="*/ 2768487 w 3892534"/>
                  <a:gd name="connsiteY10" fmla="*/ 1206147 h 1411420"/>
                  <a:gd name="connsiteX11" fmla="*/ 3360418 w 3892534"/>
                  <a:gd name="connsiteY11" fmla="*/ 1044031 h 1411420"/>
                  <a:gd name="connsiteX12" fmla="*/ 3635487 w 3892534"/>
                  <a:gd name="connsiteY12" fmla="*/ 745777 h 1411420"/>
                  <a:gd name="connsiteX13" fmla="*/ 3892534 w 3892534"/>
                  <a:gd name="connsiteY13" fmla="*/ 166306 h 1411420"/>
                  <a:gd name="connsiteX14" fmla="*/ 3277257 w 3892534"/>
                  <a:gd name="connsiteY14" fmla="*/ 181656 h 1411420"/>
                  <a:gd name="connsiteX15" fmla="*/ 2790063 w 3892534"/>
                  <a:gd name="connsiteY15" fmla="*/ 281739 h 1411420"/>
                  <a:gd name="connsiteX16" fmla="*/ 2320781 w 3892534"/>
                  <a:gd name="connsiteY16" fmla="*/ 204402 h 1411420"/>
                  <a:gd name="connsiteX17" fmla="*/ 1581038 w 3892534"/>
                  <a:gd name="connsiteY17" fmla="*/ 179379 h 1411420"/>
                  <a:gd name="connsiteX18" fmla="*/ 981000 w 3892534"/>
                  <a:gd name="connsiteY18" fmla="*/ 88394 h 1411420"/>
                  <a:gd name="connsiteX19" fmla="*/ 61263 w 3892534"/>
                  <a:gd name="connsiteY19" fmla="*/ 24870 h 1411420"/>
                  <a:gd name="connsiteX0" fmla="*/ 61263 w 3635487"/>
                  <a:gd name="connsiteY0" fmla="*/ 24870 h 1411420"/>
                  <a:gd name="connsiteX1" fmla="*/ 126754 w 3635487"/>
                  <a:gd name="connsiteY1" fmla="*/ 531425 h 1411420"/>
                  <a:gd name="connsiteX2" fmla="*/ 459363 w 3635487"/>
                  <a:gd name="connsiteY2" fmla="*/ 1056279 h 1411420"/>
                  <a:gd name="connsiteX3" fmla="*/ 966682 w 3635487"/>
                  <a:gd name="connsiteY3" fmla="*/ 1280322 h 1411420"/>
                  <a:gd name="connsiteX4" fmla="*/ 1407205 w 3635487"/>
                  <a:gd name="connsiteY4" fmla="*/ 1410866 h 1411420"/>
                  <a:gd name="connsiteX5" fmla="*/ 1584621 w 3635487"/>
                  <a:gd name="connsiteY5" fmla="*/ 1232549 h 1411420"/>
                  <a:gd name="connsiteX6" fmla="*/ 1881860 w 3635487"/>
                  <a:gd name="connsiteY6" fmla="*/ 1092415 h 1411420"/>
                  <a:gd name="connsiteX7" fmla="*/ 2069939 w 3635487"/>
                  <a:gd name="connsiteY7" fmla="*/ 1160654 h 1411420"/>
                  <a:gd name="connsiteX8" fmla="*/ 2338605 w 3635487"/>
                  <a:gd name="connsiteY8" fmla="*/ 1285763 h 1411420"/>
                  <a:gd name="connsiteX9" fmla="*/ 2490859 w 3635487"/>
                  <a:gd name="connsiteY9" fmla="*/ 1149282 h 1411420"/>
                  <a:gd name="connsiteX10" fmla="*/ 2768487 w 3635487"/>
                  <a:gd name="connsiteY10" fmla="*/ 1206147 h 1411420"/>
                  <a:gd name="connsiteX11" fmla="*/ 3360418 w 3635487"/>
                  <a:gd name="connsiteY11" fmla="*/ 1044031 h 1411420"/>
                  <a:gd name="connsiteX12" fmla="*/ 3635487 w 3635487"/>
                  <a:gd name="connsiteY12" fmla="*/ 745777 h 1411420"/>
                  <a:gd name="connsiteX13" fmla="*/ 3585596 w 3635487"/>
                  <a:gd name="connsiteY13" fmla="*/ 222686 h 1411420"/>
                  <a:gd name="connsiteX14" fmla="*/ 3277257 w 3635487"/>
                  <a:gd name="connsiteY14" fmla="*/ 181656 h 1411420"/>
                  <a:gd name="connsiteX15" fmla="*/ 2790063 w 3635487"/>
                  <a:gd name="connsiteY15" fmla="*/ 281739 h 1411420"/>
                  <a:gd name="connsiteX16" fmla="*/ 2320781 w 3635487"/>
                  <a:gd name="connsiteY16" fmla="*/ 204402 h 1411420"/>
                  <a:gd name="connsiteX17" fmla="*/ 1581038 w 3635487"/>
                  <a:gd name="connsiteY17" fmla="*/ 179379 h 1411420"/>
                  <a:gd name="connsiteX18" fmla="*/ 981000 w 3635487"/>
                  <a:gd name="connsiteY18" fmla="*/ 88394 h 1411420"/>
                  <a:gd name="connsiteX19" fmla="*/ 61263 w 3635487"/>
                  <a:gd name="connsiteY19" fmla="*/ 24870 h 1411420"/>
                  <a:gd name="connsiteX0" fmla="*/ 94360 w 3556971"/>
                  <a:gd name="connsiteY0" fmla="*/ 63653 h 1326168"/>
                  <a:gd name="connsiteX1" fmla="*/ 48238 w 3556971"/>
                  <a:gd name="connsiteY1" fmla="*/ 446173 h 1326168"/>
                  <a:gd name="connsiteX2" fmla="*/ 380847 w 3556971"/>
                  <a:gd name="connsiteY2" fmla="*/ 971027 h 1326168"/>
                  <a:gd name="connsiteX3" fmla="*/ 888166 w 3556971"/>
                  <a:gd name="connsiteY3" fmla="*/ 1195070 h 1326168"/>
                  <a:gd name="connsiteX4" fmla="*/ 1328689 w 3556971"/>
                  <a:gd name="connsiteY4" fmla="*/ 1325614 h 1326168"/>
                  <a:gd name="connsiteX5" fmla="*/ 1506105 w 3556971"/>
                  <a:gd name="connsiteY5" fmla="*/ 1147297 h 1326168"/>
                  <a:gd name="connsiteX6" fmla="*/ 1803344 w 3556971"/>
                  <a:gd name="connsiteY6" fmla="*/ 1007163 h 1326168"/>
                  <a:gd name="connsiteX7" fmla="*/ 1991423 w 3556971"/>
                  <a:gd name="connsiteY7" fmla="*/ 1075402 h 1326168"/>
                  <a:gd name="connsiteX8" fmla="*/ 2260089 w 3556971"/>
                  <a:gd name="connsiteY8" fmla="*/ 1200511 h 1326168"/>
                  <a:gd name="connsiteX9" fmla="*/ 2412343 w 3556971"/>
                  <a:gd name="connsiteY9" fmla="*/ 1064030 h 1326168"/>
                  <a:gd name="connsiteX10" fmla="*/ 2689971 w 3556971"/>
                  <a:gd name="connsiteY10" fmla="*/ 1120895 h 1326168"/>
                  <a:gd name="connsiteX11" fmla="*/ 3281902 w 3556971"/>
                  <a:gd name="connsiteY11" fmla="*/ 958779 h 1326168"/>
                  <a:gd name="connsiteX12" fmla="*/ 3556971 w 3556971"/>
                  <a:gd name="connsiteY12" fmla="*/ 660525 h 1326168"/>
                  <a:gd name="connsiteX13" fmla="*/ 3507080 w 3556971"/>
                  <a:gd name="connsiteY13" fmla="*/ 137434 h 1326168"/>
                  <a:gd name="connsiteX14" fmla="*/ 3198741 w 3556971"/>
                  <a:gd name="connsiteY14" fmla="*/ 96404 h 1326168"/>
                  <a:gd name="connsiteX15" fmla="*/ 2711547 w 3556971"/>
                  <a:gd name="connsiteY15" fmla="*/ 196487 h 1326168"/>
                  <a:gd name="connsiteX16" fmla="*/ 2242265 w 3556971"/>
                  <a:gd name="connsiteY16" fmla="*/ 119150 h 1326168"/>
                  <a:gd name="connsiteX17" fmla="*/ 1502522 w 3556971"/>
                  <a:gd name="connsiteY17" fmla="*/ 94127 h 1326168"/>
                  <a:gd name="connsiteX18" fmla="*/ 902484 w 3556971"/>
                  <a:gd name="connsiteY18" fmla="*/ 3142 h 1326168"/>
                  <a:gd name="connsiteX19" fmla="*/ 94360 w 3556971"/>
                  <a:gd name="connsiteY19" fmla="*/ 63653 h 1326168"/>
                  <a:gd name="connsiteX0" fmla="*/ 57946 w 3520557"/>
                  <a:gd name="connsiteY0" fmla="*/ 61876 h 1324391"/>
                  <a:gd name="connsiteX1" fmla="*/ 95534 w 3520557"/>
                  <a:gd name="connsiteY1" fmla="*/ 354189 h 1324391"/>
                  <a:gd name="connsiteX2" fmla="*/ 344433 w 3520557"/>
                  <a:gd name="connsiteY2" fmla="*/ 969250 h 1324391"/>
                  <a:gd name="connsiteX3" fmla="*/ 851752 w 3520557"/>
                  <a:gd name="connsiteY3" fmla="*/ 1193293 h 1324391"/>
                  <a:gd name="connsiteX4" fmla="*/ 1292275 w 3520557"/>
                  <a:gd name="connsiteY4" fmla="*/ 1323837 h 1324391"/>
                  <a:gd name="connsiteX5" fmla="*/ 1469691 w 3520557"/>
                  <a:gd name="connsiteY5" fmla="*/ 1145520 h 1324391"/>
                  <a:gd name="connsiteX6" fmla="*/ 1766930 w 3520557"/>
                  <a:gd name="connsiteY6" fmla="*/ 1005386 h 1324391"/>
                  <a:gd name="connsiteX7" fmla="*/ 1955009 w 3520557"/>
                  <a:gd name="connsiteY7" fmla="*/ 1073625 h 1324391"/>
                  <a:gd name="connsiteX8" fmla="*/ 2223675 w 3520557"/>
                  <a:gd name="connsiteY8" fmla="*/ 1198734 h 1324391"/>
                  <a:gd name="connsiteX9" fmla="*/ 2375929 w 3520557"/>
                  <a:gd name="connsiteY9" fmla="*/ 1062253 h 1324391"/>
                  <a:gd name="connsiteX10" fmla="*/ 2653557 w 3520557"/>
                  <a:gd name="connsiteY10" fmla="*/ 1119118 h 1324391"/>
                  <a:gd name="connsiteX11" fmla="*/ 3245488 w 3520557"/>
                  <a:gd name="connsiteY11" fmla="*/ 957002 h 1324391"/>
                  <a:gd name="connsiteX12" fmla="*/ 3520557 w 3520557"/>
                  <a:gd name="connsiteY12" fmla="*/ 658748 h 1324391"/>
                  <a:gd name="connsiteX13" fmla="*/ 3470666 w 3520557"/>
                  <a:gd name="connsiteY13" fmla="*/ 135657 h 1324391"/>
                  <a:gd name="connsiteX14" fmla="*/ 3162327 w 3520557"/>
                  <a:gd name="connsiteY14" fmla="*/ 94627 h 1324391"/>
                  <a:gd name="connsiteX15" fmla="*/ 2675133 w 3520557"/>
                  <a:gd name="connsiteY15" fmla="*/ 194710 h 1324391"/>
                  <a:gd name="connsiteX16" fmla="*/ 2205851 w 3520557"/>
                  <a:gd name="connsiteY16" fmla="*/ 117373 h 1324391"/>
                  <a:gd name="connsiteX17" fmla="*/ 1466108 w 3520557"/>
                  <a:gd name="connsiteY17" fmla="*/ 92350 h 1324391"/>
                  <a:gd name="connsiteX18" fmla="*/ 866070 w 3520557"/>
                  <a:gd name="connsiteY18" fmla="*/ 1365 h 1324391"/>
                  <a:gd name="connsiteX19" fmla="*/ 57946 w 3520557"/>
                  <a:gd name="connsiteY19" fmla="*/ 61876 h 1324391"/>
                  <a:gd name="connsiteX0" fmla="*/ 119984 w 3436101"/>
                  <a:gd name="connsiteY0" fmla="*/ 39450 h 1335792"/>
                  <a:gd name="connsiteX1" fmla="*/ 11078 w 3436101"/>
                  <a:gd name="connsiteY1" fmla="*/ 365590 h 1335792"/>
                  <a:gd name="connsiteX2" fmla="*/ 259977 w 3436101"/>
                  <a:gd name="connsiteY2" fmla="*/ 980651 h 1335792"/>
                  <a:gd name="connsiteX3" fmla="*/ 767296 w 3436101"/>
                  <a:gd name="connsiteY3" fmla="*/ 1204694 h 1335792"/>
                  <a:gd name="connsiteX4" fmla="*/ 1207819 w 3436101"/>
                  <a:gd name="connsiteY4" fmla="*/ 1335238 h 1335792"/>
                  <a:gd name="connsiteX5" fmla="*/ 1385235 w 3436101"/>
                  <a:gd name="connsiteY5" fmla="*/ 1156921 h 1335792"/>
                  <a:gd name="connsiteX6" fmla="*/ 1682474 w 3436101"/>
                  <a:gd name="connsiteY6" fmla="*/ 1016787 h 1335792"/>
                  <a:gd name="connsiteX7" fmla="*/ 1870553 w 3436101"/>
                  <a:gd name="connsiteY7" fmla="*/ 1085026 h 1335792"/>
                  <a:gd name="connsiteX8" fmla="*/ 2139219 w 3436101"/>
                  <a:gd name="connsiteY8" fmla="*/ 1210135 h 1335792"/>
                  <a:gd name="connsiteX9" fmla="*/ 2291473 w 3436101"/>
                  <a:gd name="connsiteY9" fmla="*/ 1073654 h 1335792"/>
                  <a:gd name="connsiteX10" fmla="*/ 2569101 w 3436101"/>
                  <a:gd name="connsiteY10" fmla="*/ 1130519 h 1335792"/>
                  <a:gd name="connsiteX11" fmla="*/ 3161032 w 3436101"/>
                  <a:gd name="connsiteY11" fmla="*/ 968403 h 1335792"/>
                  <a:gd name="connsiteX12" fmla="*/ 3436101 w 3436101"/>
                  <a:gd name="connsiteY12" fmla="*/ 670149 h 1335792"/>
                  <a:gd name="connsiteX13" fmla="*/ 3386210 w 3436101"/>
                  <a:gd name="connsiteY13" fmla="*/ 147058 h 1335792"/>
                  <a:gd name="connsiteX14" fmla="*/ 3077871 w 3436101"/>
                  <a:gd name="connsiteY14" fmla="*/ 106028 h 1335792"/>
                  <a:gd name="connsiteX15" fmla="*/ 2590677 w 3436101"/>
                  <a:gd name="connsiteY15" fmla="*/ 206111 h 1335792"/>
                  <a:gd name="connsiteX16" fmla="*/ 2121395 w 3436101"/>
                  <a:gd name="connsiteY16" fmla="*/ 128774 h 1335792"/>
                  <a:gd name="connsiteX17" fmla="*/ 1381652 w 3436101"/>
                  <a:gd name="connsiteY17" fmla="*/ 103751 h 1335792"/>
                  <a:gd name="connsiteX18" fmla="*/ 781614 w 3436101"/>
                  <a:gd name="connsiteY18" fmla="*/ 12766 h 1335792"/>
                  <a:gd name="connsiteX19" fmla="*/ 119984 w 3436101"/>
                  <a:gd name="connsiteY19" fmla="*/ 39450 h 1335792"/>
                  <a:gd name="connsiteX0" fmla="*/ 119984 w 3436101"/>
                  <a:gd name="connsiteY0" fmla="*/ 136412 h 1432754"/>
                  <a:gd name="connsiteX1" fmla="*/ 11078 w 3436101"/>
                  <a:gd name="connsiteY1" fmla="*/ 462552 h 1432754"/>
                  <a:gd name="connsiteX2" fmla="*/ 259977 w 3436101"/>
                  <a:gd name="connsiteY2" fmla="*/ 1077613 h 1432754"/>
                  <a:gd name="connsiteX3" fmla="*/ 767296 w 3436101"/>
                  <a:gd name="connsiteY3" fmla="*/ 1301656 h 1432754"/>
                  <a:gd name="connsiteX4" fmla="*/ 1207819 w 3436101"/>
                  <a:gd name="connsiteY4" fmla="*/ 1432200 h 1432754"/>
                  <a:gd name="connsiteX5" fmla="*/ 1385235 w 3436101"/>
                  <a:gd name="connsiteY5" fmla="*/ 1253883 h 1432754"/>
                  <a:gd name="connsiteX6" fmla="*/ 1682474 w 3436101"/>
                  <a:gd name="connsiteY6" fmla="*/ 1113749 h 1432754"/>
                  <a:gd name="connsiteX7" fmla="*/ 1870553 w 3436101"/>
                  <a:gd name="connsiteY7" fmla="*/ 1181988 h 1432754"/>
                  <a:gd name="connsiteX8" fmla="*/ 2139219 w 3436101"/>
                  <a:gd name="connsiteY8" fmla="*/ 1307097 h 1432754"/>
                  <a:gd name="connsiteX9" fmla="*/ 2291473 w 3436101"/>
                  <a:gd name="connsiteY9" fmla="*/ 1170616 h 1432754"/>
                  <a:gd name="connsiteX10" fmla="*/ 2569101 w 3436101"/>
                  <a:gd name="connsiteY10" fmla="*/ 1227481 h 1432754"/>
                  <a:gd name="connsiteX11" fmla="*/ 3161032 w 3436101"/>
                  <a:gd name="connsiteY11" fmla="*/ 1065365 h 1432754"/>
                  <a:gd name="connsiteX12" fmla="*/ 3436101 w 3436101"/>
                  <a:gd name="connsiteY12" fmla="*/ 767111 h 1432754"/>
                  <a:gd name="connsiteX13" fmla="*/ 3386210 w 3436101"/>
                  <a:gd name="connsiteY13" fmla="*/ 244020 h 1432754"/>
                  <a:gd name="connsiteX14" fmla="*/ 3077871 w 3436101"/>
                  <a:gd name="connsiteY14" fmla="*/ 202990 h 1432754"/>
                  <a:gd name="connsiteX15" fmla="*/ 2608942 w 3436101"/>
                  <a:gd name="connsiteY15" fmla="*/ 19301 h 1432754"/>
                  <a:gd name="connsiteX16" fmla="*/ 2121395 w 3436101"/>
                  <a:gd name="connsiteY16" fmla="*/ 225736 h 1432754"/>
                  <a:gd name="connsiteX17" fmla="*/ 1381652 w 3436101"/>
                  <a:gd name="connsiteY17" fmla="*/ 200713 h 1432754"/>
                  <a:gd name="connsiteX18" fmla="*/ 781614 w 3436101"/>
                  <a:gd name="connsiteY18" fmla="*/ 109728 h 1432754"/>
                  <a:gd name="connsiteX19" fmla="*/ 119984 w 3436101"/>
                  <a:gd name="connsiteY19" fmla="*/ 136412 h 1432754"/>
                  <a:gd name="connsiteX0" fmla="*/ 119984 w 3622808"/>
                  <a:gd name="connsiteY0" fmla="*/ 635939 h 1932281"/>
                  <a:gd name="connsiteX1" fmla="*/ 11078 w 3622808"/>
                  <a:gd name="connsiteY1" fmla="*/ 962079 h 1932281"/>
                  <a:gd name="connsiteX2" fmla="*/ 259977 w 3622808"/>
                  <a:gd name="connsiteY2" fmla="*/ 1577140 h 1932281"/>
                  <a:gd name="connsiteX3" fmla="*/ 767296 w 3622808"/>
                  <a:gd name="connsiteY3" fmla="*/ 1801183 h 1932281"/>
                  <a:gd name="connsiteX4" fmla="*/ 1207819 w 3622808"/>
                  <a:gd name="connsiteY4" fmla="*/ 1931727 h 1932281"/>
                  <a:gd name="connsiteX5" fmla="*/ 1385235 w 3622808"/>
                  <a:gd name="connsiteY5" fmla="*/ 1753410 h 1932281"/>
                  <a:gd name="connsiteX6" fmla="*/ 1682474 w 3622808"/>
                  <a:gd name="connsiteY6" fmla="*/ 1613276 h 1932281"/>
                  <a:gd name="connsiteX7" fmla="*/ 1870553 w 3622808"/>
                  <a:gd name="connsiteY7" fmla="*/ 1681515 h 1932281"/>
                  <a:gd name="connsiteX8" fmla="*/ 2139219 w 3622808"/>
                  <a:gd name="connsiteY8" fmla="*/ 1806624 h 1932281"/>
                  <a:gd name="connsiteX9" fmla="*/ 2291473 w 3622808"/>
                  <a:gd name="connsiteY9" fmla="*/ 1670143 h 1932281"/>
                  <a:gd name="connsiteX10" fmla="*/ 2569101 w 3622808"/>
                  <a:gd name="connsiteY10" fmla="*/ 1727008 h 1932281"/>
                  <a:gd name="connsiteX11" fmla="*/ 3161032 w 3622808"/>
                  <a:gd name="connsiteY11" fmla="*/ 1564892 h 1932281"/>
                  <a:gd name="connsiteX12" fmla="*/ 3436101 w 3622808"/>
                  <a:gd name="connsiteY12" fmla="*/ 1266638 h 1932281"/>
                  <a:gd name="connsiteX13" fmla="*/ 3386210 w 3622808"/>
                  <a:gd name="connsiteY13" fmla="*/ 743547 h 1932281"/>
                  <a:gd name="connsiteX14" fmla="*/ 3373832 w 3622808"/>
                  <a:gd name="connsiteY14" fmla="*/ -1 h 1932281"/>
                  <a:gd name="connsiteX15" fmla="*/ 2608942 w 3622808"/>
                  <a:gd name="connsiteY15" fmla="*/ 518828 h 1932281"/>
                  <a:gd name="connsiteX16" fmla="*/ 2121395 w 3622808"/>
                  <a:gd name="connsiteY16" fmla="*/ 725263 h 1932281"/>
                  <a:gd name="connsiteX17" fmla="*/ 1381652 w 3622808"/>
                  <a:gd name="connsiteY17" fmla="*/ 700240 h 1932281"/>
                  <a:gd name="connsiteX18" fmla="*/ 781614 w 3622808"/>
                  <a:gd name="connsiteY18" fmla="*/ 609255 h 1932281"/>
                  <a:gd name="connsiteX19" fmla="*/ 119984 w 3622808"/>
                  <a:gd name="connsiteY19" fmla="*/ 635939 h 1932281"/>
                  <a:gd name="connsiteX0" fmla="*/ 119984 w 3697824"/>
                  <a:gd name="connsiteY0" fmla="*/ 635939 h 1932281"/>
                  <a:gd name="connsiteX1" fmla="*/ 11078 w 3697824"/>
                  <a:gd name="connsiteY1" fmla="*/ 962079 h 1932281"/>
                  <a:gd name="connsiteX2" fmla="*/ 259977 w 3697824"/>
                  <a:gd name="connsiteY2" fmla="*/ 1577140 h 1932281"/>
                  <a:gd name="connsiteX3" fmla="*/ 767296 w 3697824"/>
                  <a:gd name="connsiteY3" fmla="*/ 1801183 h 1932281"/>
                  <a:gd name="connsiteX4" fmla="*/ 1207819 w 3697824"/>
                  <a:gd name="connsiteY4" fmla="*/ 1931727 h 1932281"/>
                  <a:gd name="connsiteX5" fmla="*/ 1385235 w 3697824"/>
                  <a:gd name="connsiteY5" fmla="*/ 1753410 h 1932281"/>
                  <a:gd name="connsiteX6" fmla="*/ 1682474 w 3697824"/>
                  <a:gd name="connsiteY6" fmla="*/ 1613276 h 1932281"/>
                  <a:gd name="connsiteX7" fmla="*/ 1870553 w 3697824"/>
                  <a:gd name="connsiteY7" fmla="*/ 1681515 h 1932281"/>
                  <a:gd name="connsiteX8" fmla="*/ 2139219 w 3697824"/>
                  <a:gd name="connsiteY8" fmla="*/ 1806624 h 1932281"/>
                  <a:gd name="connsiteX9" fmla="*/ 2291473 w 3697824"/>
                  <a:gd name="connsiteY9" fmla="*/ 1670143 h 1932281"/>
                  <a:gd name="connsiteX10" fmla="*/ 2569101 w 3697824"/>
                  <a:gd name="connsiteY10" fmla="*/ 1727008 h 1932281"/>
                  <a:gd name="connsiteX11" fmla="*/ 3161032 w 3697824"/>
                  <a:gd name="connsiteY11" fmla="*/ 1564892 h 1932281"/>
                  <a:gd name="connsiteX12" fmla="*/ 3436101 w 3697824"/>
                  <a:gd name="connsiteY12" fmla="*/ 1266638 h 1932281"/>
                  <a:gd name="connsiteX13" fmla="*/ 3634931 w 3697824"/>
                  <a:gd name="connsiteY13" fmla="*/ 823774 h 1932281"/>
                  <a:gd name="connsiteX14" fmla="*/ 3373832 w 3697824"/>
                  <a:gd name="connsiteY14" fmla="*/ -1 h 1932281"/>
                  <a:gd name="connsiteX15" fmla="*/ 2608942 w 3697824"/>
                  <a:gd name="connsiteY15" fmla="*/ 518828 h 1932281"/>
                  <a:gd name="connsiteX16" fmla="*/ 2121395 w 3697824"/>
                  <a:gd name="connsiteY16" fmla="*/ 725263 h 1932281"/>
                  <a:gd name="connsiteX17" fmla="*/ 1381652 w 3697824"/>
                  <a:gd name="connsiteY17" fmla="*/ 700240 h 1932281"/>
                  <a:gd name="connsiteX18" fmla="*/ 781614 w 3697824"/>
                  <a:gd name="connsiteY18" fmla="*/ 609255 h 1932281"/>
                  <a:gd name="connsiteX19" fmla="*/ 119984 w 3697824"/>
                  <a:gd name="connsiteY19" fmla="*/ 635939 h 1932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697824" h="1932281">
                    <a:moveTo>
                      <a:pt x="119984" y="635939"/>
                    </a:moveTo>
                    <a:cubicBezTo>
                      <a:pt x="-8439" y="694743"/>
                      <a:pt x="-12254" y="805212"/>
                      <a:pt x="11078" y="962079"/>
                    </a:cubicBezTo>
                    <a:cubicBezTo>
                      <a:pt x="34410" y="1118946"/>
                      <a:pt x="133941" y="1437289"/>
                      <a:pt x="259977" y="1577140"/>
                    </a:cubicBezTo>
                    <a:cubicBezTo>
                      <a:pt x="386013" y="1716991"/>
                      <a:pt x="609322" y="1742085"/>
                      <a:pt x="767296" y="1801183"/>
                    </a:cubicBezTo>
                    <a:cubicBezTo>
                      <a:pt x="925270" y="1860281"/>
                      <a:pt x="1104829" y="1939689"/>
                      <a:pt x="1207819" y="1931727"/>
                    </a:cubicBezTo>
                    <a:cubicBezTo>
                      <a:pt x="1310809" y="1923765"/>
                      <a:pt x="1306126" y="1806485"/>
                      <a:pt x="1385235" y="1753410"/>
                    </a:cubicBezTo>
                    <a:cubicBezTo>
                      <a:pt x="1464344" y="1700335"/>
                      <a:pt x="1601588" y="1625258"/>
                      <a:pt x="1682474" y="1613276"/>
                    </a:cubicBezTo>
                    <a:cubicBezTo>
                      <a:pt x="1763360" y="1601294"/>
                      <a:pt x="1794429" y="1666351"/>
                      <a:pt x="1870553" y="1681515"/>
                    </a:cubicBezTo>
                    <a:cubicBezTo>
                      <a:pt x="1946677" y="1696680"/>
                      <a:pt x="2069066" y="1808519"/>
                      <a:pt x="2139219" y="1806624"/>
                    </a:cubicBezTo>
                    <a:cubicBezTo>
                      <a:pt x="2209372" y="1804729"/>
                      <a:pt x="2219827" y="1698576"/>
                      <a:pt x="2291473" y="1670143"/>
                    </a:cubicBezTo>
                    <a:cubicBezTo>
                      <a:pt x="2363119" y="1641710"/>
                      <a:pt x="2424175" y="1744550"/>
                      <a:pt x="2569101" y="1727008"/>
                    </a:cubicBezTo>
                    <a:cubicBezTo>
                      <a:pt x="2714027" y="1709466"/>
                      <a:pt x="3016531" y="1626456"/>
                      <a:pt x="3161032" y="1564892"/>
                    </a:cubicBezTo>
                    <a:cubicBezTo>
                      <a:pt x="3273278" y="1404149"/>
                      <a:pt x="3339825" y="1447104"/>
                      <a:pt x="3436101" y="1266638"/>
                    </a:cubicBezTo>
                    <a:lnTo>
                      <a:pt x="3634931" y="823774"/>
                    </a:lnTo>
                    <a:cubicBezTo>
                      <a:pt x="3538655" y="749477"/>
                      <a:pt x="3972987" y="17385"/>
                      <a:pt x="3373832" y="-1"/>
                    </a:cubicBezTo>
                    <a:cubicBezTo>
                      <a:pt x="3163220" y="64731"/>
                      <a:pt x="2927469" y="414951"/>
                      <a:pt x="2608942" y="518828"/>
                    </a:cubicBezTo>
                    <a:cubicBezTo>
                      <a:pt x="2449529" y="522619"/>
                      <a:pt x="2325943" y="695028"/>
                      <a:pt x="2121395" y="725263"/>
                    </a:cubicBezTo>
                    <a:cubicBezTo>
                      <a:pt x="1916847" y="755498"/>
                      <a:pt x="1604949" y="719575"/>
                      <a:pt x="1381652" y="700240"/>
                    </a:cubicBezTo>
                    <a:cubicBezTo>
                      <a:pt x="1158355" y="680905"/>
                      <a:pt x="991892" y="619972"/>
                      <a:pt x="781614" y="609255"/>
                    </a:cubicBezTo>
                    <a:cubicBezTo>
                      <a:pt x="571336" y="598538"/>
                      <a:pt x="248407" y="577135"/>
                      <a:pt x="119984" y="635939"/>
                    </a:cubicBezTo>
                    <a:close/>
                  </a:path>
                </a:pathLst>
              </a:custGeom>
              <a:solidFill>
                <a:srgbClr val="E3D16D">
                  <a:alpha val="80000"/>
                </a:srgbClr>
              </a:solidFill>
              <a:ln w="127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600"/>
              </a:p>
            </p:txBody>
          </p:sp>
          <p:sp>
            <p:nvSpPr>
              <p:cNvPr id="16" name="Trapezoid 4117">
                <a:extLst>
                  <a:ext uri="{FF2B5EF4-FFF2-40B4-BE49-F238E27FC236}">
                    <a16:creationId xmlns:a16="http://schemas.microsoft.com/office/drawing/2014/main" id="{B2B08AC5-43AD-7BB7-0243-5306CC46B89F}"/>
                  </a:ext>
                </a:extLst>
              </p:cNvPr>
              <p:cNvSpPr/>
              <p:nvPr/>
            </p:nvSpPr>
            <p:spPr>
              <a:xfrm rot="5400000">
                <a:off x="4245391" y="3097312"/>
                <a:ext cx="344984" cy="392271"/>
              </a:xfrm>
              <a:prstGeom prst="trapezoid">
                <a:avLst>
                  <a:gd name="adj" fmla="val 39391"/>
                </a:avLst>
              </a:prstGeom>
              <a:gradFill flip="none" rotWithShape="1">
                <a:gsLst>
                  <a:gs pos="0">
                    <a:srgbClr val="FFFFFF">
                      <a:alpha val="0"/>
                    </a:srgbClr>
                  </a:gs>
                  <a:gs pos="100000">
                    <a:srgbClr val="65D2DF">
                      <a:lumMod val="50000"/>
                    </a:srgbClr>
                  </a:gs>
                </a:gsLst>
                <a:lin ang="16200000" scaled="0"/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sz="1600" kern="0">
                  <a:solidFill>
                    <a:srgbClr val="FFFFFF"/>
                  </a:solidFill>
                  <a:latin typeface="Arial" panose="020B0604020202020204"/>
                </a:endParaRPr>
              </a:p>
            </p:txBody>
          </p: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F56DB8EB-6A03-22D5-688A-2A2809E880D4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18421877">
                <a:off x="3372320" y="2149272"/>
                <a:ext cx="584232" cy="505671"/>
                <a:chOff x="6732693" y="2080015"/>
                <a:chExt cx="1130776" cy="862076"/>
              </a:xfrm>
            </p:grpSpPr>
            <p:sp>
              <p:nvSpPr>
                <p:cNvPr id="19" name="Trapezoid 4115">
                  <a:extLst>
                    <a:ext uri="{FF2B5EF4-FFF2-40B4-BE49-F238E27FC236}">
                      <a16:creationId xmlns:a16="http://schemas.microsoft.com/office/drawing/2014/main" id="{C7517FF5-1DB2-2A61-5818-27B8909FB23D}"/>
                    </a:ext>
                  </a:extLst>
                </p:cNvPr>
                <p:cNvSpPr/>
                <p:nvPr/>
              </p:nvSpPr>
              <p:spPr>
                <a:xfrm rot="1744236">
                  <a:off x="6943630" y="2080015"/>
                  <a:ext cx="919839" cy="773945"/>
                </a:xfrm>
                <a:prstGeom prst="trapezoid">
                  <a:avLst>
                    <a:gd name="adj" fmla="val 39391"/>
                  </a:avLst>
                </a:prstGeom>
                <a:gradFill flip="none" rotWithShape="1">
                  <a:gsLst>
                    <a:gs pos="0">
                      <a:srgbClr val="FFFFFF">
                        <a:alpha val="0"/>
                      </a:srgbClr>
                    </a:gs>
                    <a:gs pos="100000">
                      <a:srgbClr val="65D2DF">
                        <a:lumMod val="50000"/>
                      </a:srgbClr>
                    </a:gs>
                  </a:gsLst>
                  <a:lin ang="16200000" scaled="0"/>
                  <a:tileRect/>
                </a:gra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>
                    <a:defRPr/>
                  </a:pPr>
                  <a:endParaRPr lang="en-US" sz="1600" kern="0">
                    <a:solidFill>
                      <a:srgbClr val="FFFFFF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20" name="TextBox 19">
                  <a:extLst>
                    <a:ext uri="{FF2B5EF4-FFF2-40B4-BE49-F238E27FC236}">
                      <a16:creationId xmlns:a16="http://schemas.microsoft.com/office/drawing/2014/main" id="{DED2EE44-EDB5-5F36-C13B-09694EC87B29}"/>
                    </a:ext>
                  </a:extLst>
                </p:cNvPr>
                <p:cNvSpPr txBox="1"/>
                <p:nvPr/>
              </p:nvSpPr>
              <p:spPr>
                <a:xfrm rot="3178123">
                  <a:off x="6909392" y="2180567"/>
                  <a:ext cx="584825" cy="938224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>
                    <a:defRPr/>
                  </a:pPr>
                  <a:r>
                    <a:rPr lang="en-US" sz="1050" b="1" kern="0">
                      <a:solidFill>
                        <a:srgbClr val="595959">
                          <a:lumMod val="75000"/>
                        </a:srgbClr>
                      </a:solidFill>
                      <a:latin typeface="Arial" panose="020B0604020202020204"/>
                      <a:cs typeface="Arial" panose="020B0604020202020204" pitchFamily="34" charset="0"/>
                    </a:rPr>
                    <a:t>TSLP</a:t>
                  </a:r>
                </a:p>
                <a:p>
                  <a:pPr>
                    <a:defRPr/>
                  </a:pPr>
                  <a:r>
                    <a:rPr lang="en-US" sz="1050" b="1" kern="0">
                      <a:solidFill>
                        <a:srgbClr val="595959">
                          <a:lumMod val="75000"/>
                        </a:srgbClr>
                      </a:solidFill>
                      <a:latin typeface="Arial" panose="020B0604020202020204"/>
                      <a:cs typeface="Arial" panose="020B0604020202020204" pitchFamily="34" charset="0"/>
                    </a:rPr>
                    <a:t>IL-33</a:t>
                  </a:r>
                </a:p>
                <a:p>
                  <a:pPr>
                    <a:defRPr/>
                  </a:pPr>
                  <a:r>
                    <a:rPr lang="en-US" sz="1050" b="1" kern="0">
                      <a:solidFill>
                        <a:srgbClr val="595959">
                          <a:lumMod val="75000"/>
                        </a:srgbClr>
                      </a:solidFill>
                      <a:latin typeface="Arial" panose="020B0604020202020204"/>
                      <a:cs typeface="Arial" panose="020B0604020202020204" pitchFamily="34" charset="0"/>
                    </a:rPr>
                    <a:t>IL-25</a:t>
                  </a:r>
                </a:p>
              </p:txBody>
            </p:sp>
          </p:grpSp>
          <p:sp>
            <p:nvSpPr>
              <p:cNvPr id="22" name="Trapezoid 4113">
                <a:extLst>
                  <a:ext uri="{FF2B5EF4-FFF2-40B4-BE49-F238E27FC236}">
                    <a16:creationId xmlns:a16="http://schemas.microsoft.com/office/drawing/2014/main" id="{3D77DF47-7168-3DC0-FAB0-5BC8DAA8E130}"/>
                  </a:ext>
                </a:extLst>
              </p:cNvPr>
              <p:cNvSpPr/>
              <p:nvPr/>
            </p:nvSpPr>
            <p:spPr>
              <a:xfrm rot="18916690" flipH="1">
                <a:off x="4090804" y="2753102"/>
                <a:ext cx="203164" cy="320225"/>
              </a:xfrm>
              <a:prstGeom prst="trapezoid">
                <a:avLst/>
              </a:prstGeom>
              <a:gradFill flip="none" rotWithShape="1">
                <a:gsLst>
                  <a:gs pos="0">
                    <a:srgbClr val="FFFFFF">
                      <a:alpha val="0"/>
                    </a:srgbClr>
                  </a:gs>
                  <a:gs pos="100000">
                    <a:srgbClr val="65D2DF">
                      <a:lumMod val="50000"/>
                    </a:srgbClr>
                  </a:gs>
                </a:gsLst>
                <a:lin ang="16200000" scaled="0"/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sz="1600" kern="0">
                  <a:solidFill>
                    <a:srgbClr val="FFFFFF"/>
                  </a:solidFill>
                  <a:latin typeface="Arial" panose="020B0604020202020204"/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FC5A5B39-8695-6180-F273-9B5E014FB2D6}"/>
                  </a:ext>
                </a:extLst>
              </p:cNvPr>
              <p:cNvSpPr txBox="1"/>
              <p:nvPr/>
            </p:nvSpPr>
            <p:spPr>
              <a:xfrm>
                <a:off x="3940265" y="2534216"/>
                <a:ext cx="341522" cy="9590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defRPr/>
                </a:pPr>
                <a:r>
                  <a:rPr lang="en-US" sz="900" b="1" kern="0">
                    <a:solidFill>
                      <a:srgbClr val="595959">
                        <a:lumMod val="75000"/>
                      </a:srgbClr>
                    </a:solidFill>
                    <a:latin typeface="Arial" panose="020B0604020202020204"/>
                    <a:cs typeface="Arial" panose="020B0604020202020204" pitchFamily="34" charset="0"/>
                  </a:rPr>
                  <a:t>Mast cell</a:t>
                </a:r>
              </a:p>
            </p:txBody>
          </p:sp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D68409D2-33CB-46B8-310B-C0C9A6D59B9D}"/>
                  </a:ext>
                </a:extLst>
              </p:cNvPr>
              <p:cNvGrpSpPr/>
              <p:nvPr/>
            </p:nvGrpSpPr>
            <p:grpSpPr>
              <a:xfrm>
                <a:off x="1297876" y="5208612"/>
                <a:ext cx="3696635" cy="133737"/>
                <a:chOff x="6641642" y="5406083"/>
                <a:chExt cx="4702103" cy="193130"/>
              </a:xfrm>
            </p:grpSpPr>
            <p:sp>
              <p:nvSpPr>
                <p:cNvPr id="30" name="Rectangle 29">
                  <a:extLst>
                    <a:ext uri="{FF2B5EF4-FFF2-40B4-BE49-F238E27FC236}">
                      <a16:creationId xmlns:a16="http://schemas.microsoft.com/office/drawing/2014/main" id="{D56B9D9B-7F7F-6A6C-FD59-4D9B9BFFFD86}"/>
                    </a:ext>
                  </a:extLst>
                </p:cNvPr>
                <p:cNvSpPr/>
                <p:nvPr/>
              </p:nvSpPr>
              <p:spPr>
                <a:xfrm>
                  <a:off x="6641642" y="5406083"/>
                  <a:ext cx="4702103" cy="190046"/>
                </a:xfrm>
                <a:prstGeom prst="rect">
                  <a:avLst/>
                </a:prstGeom>
                <a:gradFill flip="none" rotWithShape="1">
                  <a:gsLst>
                    <a:gs pos="100000">
                      <a:srgbClr val="EFC9C3">
                        <a:lumMod val="34000"/>
                        <a:lumOff val="66000"/>
                      </a:srgbClr>
                    </a:gs>
                    <a:gs pos="0">
                      <a:srgbClr val="EFC9C3"/>
                    </a:gs>
                  </a:gsLst>
                  <a:lin ang="5400000" scaled="0"/>
                  <a:tileRect/>
                </a:gra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>
                    <a:defRPr/>
                  </a:pPr>
                  <a:endParaRPr lang="en-US" sz="1600" kern="0">
                    <a:solidFill>
                      <a:srgbClr val="FFFFFF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31" name="Freeform 5101">
                  <a:extLst>
                    <a:ext uri="{FF2B5EF4-FFF2-40B4-BE49-F238E27FC236}">
                      <a16:creationId xmlns:a16="http://schemas.microsoft.com/office/drawing/2014/main" id="{3CCCBBF8-89C7-A761-AC41-4131C9A7FD14}"/>
                    </a:ext>
                  </a:extLst>
                </p:cNvPr>
                <p:cNvSpPr/>
                <p:nvPr/>
              </p:nvSpPr>
              <p:spPr>
                <a:xfrm>
                  <a:off x="6692734" y="5434847"/>
                  <a:ext cx="102895" cy="96902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E7ADA3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32" name="Freeform 5101">
                  <a:extLst>
                    <a:ext uri="{FF2B5EF4-FFF2-40B4-BE49-F238E27FC236}">
                      <a16:creationId xmlns:a16="http://schemas.microsoft.com/office/drawing/2014/main" id="{3345033C-8495-909D-D293-37EC22907B74}"/>
                    </a:ext>
                  </a:extLst>
                </p:cNvPr>
                <p:cNvSpPr/>
                <p:nvPr/>
              </p:nvSpPr>
              <p:spPr>
                <a:xfrm>
                  <a:off x="6950107" y="5476801"/>
                  <a:ext cx="102895" cy="96902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E7ADA3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33" name="Freeform 5101">
                  <a:extLst>
                    <a:ext uri="{FF2B5EF4-FFF2-40B4-BE49-F238E27FC236}">
                      <a16:creationId xmlns:a16="http://schemas.microsoft.com/office/drawing/2014/main" id="{926E2F94-41D4-E337-A851-21E4F69517B1}"/>
                    </a:ext>
                  </a:extLst>
                </p:cNvPr>
                <p:cNvSpPr/>
                <p:nvPr/>
              </p:nvSpPr>
              <p:spPr>
                <a:xfrm>
                  <a:off x="7284485" y="5479030"/>
                  <a:ext cx="59149" cy="55704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E7ADA3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34" name="Freeform 5101">
                  <a:extLst>
                    <a:ext uri="{FF2B5EF4-FFF2-40B4-BE49-F238E27FC236}">
                      <a16:creationId xmlns:a16="http://schemas.microsoft.com/office/drawing/2014/main" id="{C51BA8D9-AD88-66D0-66FC-D613E154F85D}"/>
                    </a:ext>
                  </a:extLst>
                </p:cNvPr>
                <p:cNvSpPr/>
                <p:nvPr/>
              </p:nvSpPr>
              <p:spPr>
                <a:xfrm>
                  <a:off x="7775927" y="5502311"/>
                  <a:ext cx="102895" cy="96902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E7ADA3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35" name="Freeform 5101">
                  <a:extLst>
                    <a:ext uri="{FF2B5EF4-FFF2-40B4-BE49-F238E27FC236}">
                      <a16:creationId xmlns:a16="http://schemas.microsoft.com/office/drawing/2014/main" id="{77EBFFCC-ADFC-4C0A-498C-7007D8425CEF}"/>
                    </a:ext>
                  </a:extLst>
                </p:cNvPr>
                <p:cNvSpPr/>
                <p:nvPr/>
              </p:nvSpPr>
              <p:spPr>
                <a:xfrm>
                  <a:off x="8634228" y="5431915"/>
                  <a:ext cx="102895" cy="96902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E7ADA3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36" name="Freeform 5101">
                  <a:extLst>
                    <a:ext uri="{FF2B5EF4-FFF2-40B4-BE49-F238E27FC236}">
                      <a16:creationId xmlns:a16="http://schemas.microsoft.com/office/drawing/2014/main" id="{C0FE4266-A2EA-48AE-0820-0C2A0DF4AA93}"/>
                    </a:ext>
                  </a:extLst>
                </p:cNvPr>
                <p:cNvSpPr/>
                <p:nvPr/>
              </p:nvSpPr>
              <p:spPr>
                <a:xfrm>
                  <a:off x="8110657" y="5499373"/>
                  <a:ext cx="59149" cy="55704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E7ADA3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37" name="Freeform 5101">
                  <a:extLst>
                    <a:ext uri="{FF2B5EF4-FFF2-40B4-BE49-F238E27FC236}">
                      <a16:creationId xmlns:a16="http://schemas.microsoft.com/office/drawing/2014/main" id="{440CA82C-1F47-1189-B272-A947D20201F1}"/>
                    </a:ext>
                  </a:extLst>
                </p:cNvPr>
                <p:cNvSpPr/>
                <p:nvPr/>
              </p:nvSpPr>
              <p:spPr>
                <a:xfrm>
                  <a:off x="7952216" y="5432388"/>
                  <a:ext cx="59149" cy="55704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E7ADA3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38" name="Freeform 5101">
                  <a:extLst>
                    <a:ext uri="{FF2B5EF4-FFF2-40B4-BE49-F238E27FC236}">
                      <a16:creationId xmlns:a16="http://schemas.microsoft.com/office/drawing/2014/main" id="{1E2F7AAD-DB74-8666-F24E-F5242A3A6592}"/>
                    </a:ext>
                  </a:extLst>
                </p:cNvPr>
                <p:cNvSpPr/>
                <p:nvPr/>
              </p:nvSpPr>
              <p:spPr>
                <a:xfrm>
                  <a:off x="8905838" y="5479030"/>
                  <a:ext cx="59149" cy="55704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E7ADA3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39" name="Freeform 5101">
                  <a:extLst>
                    <a:ext uri="{FF2B5EF4-FFF2-40B4-BE49-F238E27FC236}">
                      <a16:creationId xmlns:a16="http://schemas.microsoft.com/office/drawing/2014/main" id="{D4C4BD0F-C61A-28AA-FE43-98CCA59A888F}"/>
                    </a:ext>
                  </a:extLst>
                </p:cNvPr>
                <p:cNvSpPr/>
                <p:nvPr/>
              </p:nvSpPr>
              <p:spPr>
                <a:xfrm>
                  <a:off x="9527856" y="5449963"/>
                  <a:ext cx="102895" cy="96902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E7ADA3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40" name="Freeform 5101">
                  <a:extLst>
                    <a:ext uri="{FF2B5EF4-FFF2-40B4-BE49-F238E27FC236}">
                      <a16:creationId xmlns:a16="http://schemas.microsoft.com/office/drawing/2014/main" id="{BA56FC09-B9DE-5094-CB26-87278894A20C}"/>
                    </a:ext>
                  </a:extLst>
                </p:cNvPr>
                <p:cNvSpPr/>
                <p:nvPr/>
              </p:nvSpPr>
              <p:spPr>
                <a:xfrm>
                  <a:off x="9928349" y="5477892"/>
                  <a:ext cx="102895" cy="96902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E7ADA3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41" name="Freeform 5101">
                  <a:extLst>
                    <a:ext uri="{FF2B5EF4-FFF2-40B4-BE49-F238E27FC236}">
                      <a16:creationId xmlns:a16="http://schemas.microsoft.com/office/drawing/2014/main" id="{897DD030-EC7A-88D1-7CBA-D5DEA183DAAE}"/>
                    </a:ext>
                  </a:extLst>
                </p:cNvPr>
                <p:cNvSpPr/>
                <p:nvPr/>
              </p:nvSpPr>
              <p:spPr>
                <a:xfrm>
                  <a:off x="10717779" y="5475402"/>
                  <a:ext cx="102895" cy="96902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E7ADA3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42" name="Freeform 5101">
                  <a:extLst>
                    <a:ext uri="{FF2B5EF4-FFF2-40B4-BE49-F238E27FC236}">
                      <a16:creationId xmlns:a16="http://schemas.microsoft.com/office/drawing/2014/main" id="{421A2BAF-B3E6-6F2E-EB7E-A104AADB0ED8}"/>
                    </a:ext>
                  </a:extLst>
                </p:cNvPr>
                <p:cNvSpPr/>
                <p:nvPr/>
              </p:nvSpPr>
              <p:spPr>
                <a:xfrm>
                  <a:off x="9731785" y="5426503"/>
                  <a:ext cx="59149" cy="55704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E7ADA3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43" name="Freeform 5101">
                  <a:extLst>
                    <a:ext uri="{FF2B5EF4-FFF2-40B4-BE49-F238E27FC236}">
                      <a16:creationId xmlns:a16="http://schemas.microsoft.com/office/drawing/2014/main" id="{2A90914F-17DD-0009-39DD-9156D242F340}"/>
                    </a:ext>
                  </a:extLst>
                </p:cNvPr>
                <p:cNvSpPr/>
                <p:nvPr/>
              </p:nvSpPr>
              <p:spPr>
                <a:xfrm>
                  <a:off x="10289645" y="5504716"/>
                  <a:ext cx="59149" cy="55704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E7ADA3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44" name="Freeform 5101">
                  <a:extLst>
                    <a:ext uri="{FF2B5EF4-FFF2-40B4-BE49-F238E27FC236}">
                      <a16:creationId xmlns:a16="http://schemas.microsoft.com/office/drawing/2014/main" id="{73337274-67CC-5241-0632-12737C643642}"/>
                    </a:ext>
                  </a:extLst>
                </p:cNvPr>
                <p:cNvSpPr/>
                <p:nvPr/>
              </p:nvSpPr>
              <p:spPr>
                <a:xfrm>
                  <a:off x="10520862" y="5422896"/>
                  <a:ext cx="59149" cy="55704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E7ADA3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45" name="Freeform 5101">
                  <a:extLst>
                    <a:ext uri="{FF2B5EF4-FFF2-40B4-BE49-F238E27FC236}">
                      <a16:creationId xmlns:a16="http://schemas.microsoft.com/office/drawing/2014/main" id="{AC2BC8B6-9A44-5D1E-20F2-08A8F061DF19}"/>
                    </a:ext>
                  </a:extLst>
                </p:cNvPr>
                <p:cNvSpPr/>
                <p:nvPr/>
              </p:nvSpPr>
              <p:spPr>
                <a:xfrm>
                  <a:off x="9341643" y="5509644"/>
                  <a:ext cx="59149" cy="55704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E7ADA3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46" name="Freeform 5101">
                  <a:extLst>
                    <a:ext uri="{FF2B5EF4-FFF2-40B4-BE49-F238E27FC236}">
                      <a16:creationId xmlns:a16="http://schemas.microsoft.com/office/drawing/2014/main" id="{74B7B3E1-559D-B64A-258F-4508A422C154}"/>
                    </a:ext>
                  </a:extLst>
                </p:cNvPr>
                <p:cNvSpPr/>
                <p:nvPr/>
              </p:nvSpPr>
              <p:spPr>
                <a:xfrm>
                  <a:off x="10912664" y="5442221"/>
                  <a:ext cx="59149" cy="55704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E7ADA3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pic>
              <p:nvPicPr>
                <p:cNvPr id="47" name="Graphic 46">
                  <a:extLst>
                    <a:ext uri="{FF2B5EF4-FFF2-40B4-BE49-F238E27FC236}">
                      <a16:creationId xmlns:a16="http://schemas.microsoft.com/office/drawing/2014/main" id="{147F41AD-6190-8A57-2577-A59B9CC7CE0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8625584">
                  <a:off x="9165739" y="5431512"/>
                  <a:ext cx="142301" cy="136609"/>
                </a:xfrm>
                <a:prstGeom prst="rect">
                  <a:avLst/>
                </a:prstGeom>
              </p:spPr>
            </p:pic>
            <p:pic>
              <p:nvPicPr>
                <p:cNvPr id="48" name="Graphic 47">
                  <a:extLst>
                    <a:ext uri="{FF2B5EF4-FFF2-40B4-BE49-F238E27FC236}">
                      <a16:creationId xmlns:a16="http://schemas.microsoft.com/office/drawing/2014/main" id="{DAB4F518-2FA3-EB00-BDB3-BF44649EC85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18360069">
                  <a:off x="11075415" y="5439397"/>
                  <a:ext cx="142301" cy="136609"/>
                </a:xfrm>
                <a:prstGeom prst="rect">
                  <a:avLst/>
                </a:prstGeom>
              </p:spPr>
            </p:pic>
          </p:grp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B7A05739-65D0-015A-B931-01799016172B}"/>
                  </a:ext>
                </a:extLst>
              </p:cNvPr>
              <p:cNvSpPr txBox="1"/>
              <p:nvPr/>
            </p:nvSpPr>
            <p:spPr>
              <a:xfrm>
                <a:off x="4527058" y="5316962"/>
                <a:ext cx="449902" cy="9590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defRPr/>
                </a:pPr>
                <a:r>
                  <a:rPr lang="en-US" sz="900" b="1" kern="0">
                    <a:solidFill>
                      <a:srgbClr val="595959">
                        <a:lumMod val="75000"/>
                      </a:srgbClr>
                    </a:solidFill>
                    <a:latin typeface="Arial" panose="020B0604020202020204"/>
                    <a:cs typeface="Arial" panose="020B0604020202020204" pitchFamily="34" charset="0"/>
                  </a:rPr>
                  <a:t>Vasculature</a:t>
                </a: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CC66A601-F92A-988B-6259-AC72D6F3EC35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255725" y="4525211"/>
                <a:ext cx="161379" cy="345037"/>
                <a:chOff x="5926138" y="3011488"/>
                <a:chExt cx="339725" cy="838200"/>
              </a:xfrm>
            </p:grpSpPr>
            <p:grpSp>
              <p:nvGrpSpPr>
                <p:cNvPr id="53" name="Group 15">
                  <a:extLst>
                    <a:ext uri="{FF2B5EF4-FFF2-40B4-BE49-F238E27FC236}">
                      <a16:creationId xmlns:a16="http://schemas.microsoft.com/office/drawing/2014/main" id="{C9F1C8FD-3E93-9894-C2A3-BC2B606B9A4F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57" name="AutoShape 14">
                    <a:extLst>
                      <a:ext uri="{FF2B5EF4-FFF2-40B4-BE49-F238E27FC236}">
                        <a16:creationId xmlns:a16="http://schemas.microsoft.com/office/drawing/2014/main" id="{4FD52B57-3A1A-21A9-5662-4EEF66432CA6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8" name="Freeform 16">
                    <a:extLst>
                      <a:ext uri="{FF2B5EF4-FFF2-40B4-BE49-F238E27FC236}">
                        <a16:creationId xmlns:a16="http://schemas.microsoft.com/office/drawing/2014/main" id="{35062FD2-A4FD-A0E2-89CD-8E6724865C1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3" y="2063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9" name="Freeform 17">
                    <a:extLst>
                      <a:ext uri="{FF2B5EF4-FFF2-40B4-BE49-F238E27FC236}">
                        <a16:creationId xmlns:a16="http://schemas.microsoft.com/office/drawing/2014/main" id="{2007C2A3-178B-2C05-BA16-E3E3A20E9D02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0" name="Freeform 18">
                    <a:extLst>
                      <a:ext uri="{FF2B5EF4-FFF2-40B4-BE49-F238E27FC236}">
                        <a16:creationId xmlns:a16="http://schemas.microsoft.com/office/drawing/2014/main" id="{C706FB7C-FC5C-FE6C-B2A7-2223BAB3C2A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1" name="Freeform 19">
                    <a:extLst>
                      <a:ext uri="{FF2B5EF4-FFF2-40B4-BE49-F238E27FC236}">
                        <a16:creationId xmlns:a16="http://schemas.microsoft.com/office/drawing/2014/main" id="{F0B01F21-0E84-EA40-FEC2-049CF5DEEC7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2" name="Freeform 20">
                    <a:extLst>
                      <a:ext uri="{FF2B5EF4-FFF2-40B4-BE49-F238E27FC236}">
                        <a16:creationId xmlns:a16="http://schemas.microsoft.com/office/drawing/2014/main" id="{D713D366-C42D-A6A1-D894-5375E5BE002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3" name="Freeform 21">
                    <a:extLst>
                      <a:ext uri="{FF2B5EF4-FFF2-40B4-BE49-F238E27FC236}">
                        <a16:creationId xmlns:a16="http://schemas.microsoft.com/office/drawing/2014/main" id="{F2DB9B30-07A9-A755-AE0D-9929D917C0E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4" name="Freeform 22">
                    <a:extLst>
                      <a:ext uri="{FF2B5EF4-FFF2-40B4-BE49-F238E27FC236}">
                        <a16:creationId xmlns:a16="http://schemas.microsoft.com/office/drawing/2014/main" id="{8AFE4D10-AF1D-FB9D-E68A-2E704111F5E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5" name="Freeform 23">
                    <a:extLst>
                      <a:ext uri="{FF2B5EF4-FFF2-40B4-BE49-F238E27FC236}">
                        <a16:creationId xmlns:a16="http://schemas.microsoft.com/office/drawing/2014/main" id="{59D4E610-02BD-0EAA-624E-7A65583BC1C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54" name="Freeform 5101">
                  <a:extLst>
                    <a:ext uri="{FF2B5EF4-FFF2-40B4-BE49-F238E27FC236}">
                      <a16:creationId xmlns:a16="http://schemas.microsoft.com/office/drawing/2014/main" id="{EDFE03AC-D2C6-9EEE-84A5-F5CD76DAE7E6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55" name="Freeform 5101">
                  <a:extLst>
                    <a:ext uri="{FF2B5EF4-FFF2-40B4-BE49-F238E27FC236}">
                      <a16:creationId xmlns:a16="http://schemas.microsoft.com/office/drawing/2014/main" id="{C10C8884-EE59-6284-B344-66A17EB31A9A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56" name="Freeform 5101">
                  <a:extLst>
                    <a:ext uri="{FF2B5EF4-FFF2-40B4-BE49-F238E27FC236}">
                      <a16:creationId xmlns:a16="http://schemas.microsoft.com/office/drawing/2014/main" id="{25FCABA3-6691-D96E-639D-870CFF4E0D3D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66" name="Group 65">
                <a:extLst>
                  <a:ext uri="{FF2B5EF4-FFF2-40B4-BE49-F238E27FC236}">
                    <a16:creationId xmlns:a16="http://schemas.microsoft.com/office/drawing/2014/main" id="{6FC0E257-EC1C-75EC-2E48-4E71FEBA45CC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416415" y="4523046"/>
                <a:ext cx="161379" cy="345037"/>
                <a:chOff x="5926138" y="3011488"/>
                <a:chExt cx="339725" cy="838200"/>
              </a:xfrm>
            </p:grpSpPr>
            <p:grpSp>
              <p:nvGrpSpPr>
                <p:cNvPr id="67" name="Group 15">
                  <a:extLst>
                    <a:ext uri="{FF2B5EF4-FFF2-40B4-BE49-F238E27FC236}">
                      <a16:creationId xmlns:a16="http://schemas.microsoft.com/office/drawing/2014/main" id="{329A8DC9-4A50-5F0E-71B4-1ADE96C405A6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71" name="AutoShape 14">
                    <a:extLst>
                      <a:ext uri="{FF2B5EF4-FFF2-40B4-BE49-F238E27FC236}">
                        <a16:creationId xmlns:a16="http://schemas.microsoft.com/office/drawing/2014/main" id="{669B6498-3DC0-D6A3-9EC8-293F4D763B4B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2" name="Freeform 16">
                    <a:extLst>
                      <a:ext uri="{FF2B5EF4-FFF2-40B4-BE49-F238E27FC236}">
                        <a16:creationId xmlns:a16="http://schemas.microsoft.com/office/drawing/2014/main" id="{A81BA24D-9E51-EF69-9449-5F7FEAB6F44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3" y="2063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3" name="Freeform 17">
                    <a:extLst>
                      <a:ext uri="{FF2B5EF4-FFF2-40B4-BE49-F238E27FC236}">
                        <a16:creationId xmlns:a16="http://schemas.microsoft.com/office/drawing/2014/main" id="{C91BE198-0240-A106-709B-49D7B30D0293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4" name="Freeform 18">
                    <a:extLst>
                      <a:ext uri="{FF2B5EF4-FFF2-40B4-BE49-F238E27FC236}">
                        <a16:creationId xmlns:a16="http://schemas.microsoft.com/office/drawing/2014/main" id="{99EA0D19-035F-42B0-7F01-F23B9CE855B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5" name="Freeform 19">
                    <a:extLst>
                      <a:ext uri="{FF2B5EF4-FFF2-40B4-BE49-F238E27FC236}">
                        <a16:creationId xmlns:a16="http://schemas.microsoft.com/office/drawing/2014/main" id="{727AF820-669E-F659-DB8C-437EFABA04F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6" name="Freeform 20">
                    <a:extLst>
                      <a:ext uri="{FF2B5EF4-FFF2-40B4-BE49-F238E27FC236}">
                        <a16:creationId xmlns:a16="http://schemas.microsoft.com/office/drawing/2014/main" id="{F508FEED-6A42-0A71-63DF-73CFD5801C9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7" name="Freeform 21">
                    <a:extLst>
                      <a:ext uri="{FF2B5EF4-FFF2-40B4-BE49-F238E27FC236}">
                        <a16:creationId xmlns:a16="http://schemas.microsoft.com/office/drawing/2014/main" id="{7E21E5A9-B61B-A208-5A1C-E49859F197B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8" name="Freeform 22">
                    <a:extLst>
                      <a:ext uri="{FF2B5EF4-FFF2-40B4-BE49-F238E27FC236}">
                        <a16:creationId xmlns:a16="http://schemas.microsoft.com/office/drawing/2014/main" id="{BF9C8CC8-F638-A19E-E2DF-412229672E8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9" name="Freeform 23">
                    <a:extLst>
                      <a:ext uri="{FF2B5EF4-FFF2-40B4-BE49-F238E27FC236}">
                        <a16:creationId xmlns:a16="http://schemas.microsoft.com/office/drawing/2014/main" id="{77E218FE-9C30-766A-8B7F-28DF1B99508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68" name="Freeform 5101">
                  <a:extLst>
                    <a:ext uri="{FF2B5EF4-FFF2-40B4-BE49-F238E27FC236}">
                      <a16:creationId xmlns:a16="http://schemas.microsoft.com/office/drawing/2014/main" id="{37F8FC40-7AB7-E539-DAD3-4317D1128D79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69" name="Freeform 5101">
                  <a:extLst>
                    <a:ext uri="{FF2B5EF4-FFF2-40B4-BE49-F238E27FC236}">
                      <a16:creationId xmlns:a16="http://schemas.microsoft.com/office/drawing/2014/main" id="{323E8684-CF31-BDB6-62BA-CB3A8F7D6086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70" name="Freeform 5101">
                  <a:extLst>
                    <a:ext uri="{FF2B5EF4-FFF2-40B4-BE49-F238E27FC236}">
                      <a16:creationId xmlns:a16="http://schemas.microsoft.com/office/drawing/2014/main" id="{069F1DED-6EC5-8976-3684-92D463DCC3C1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80" name="Group 79">
                <a:extLst>
                  <a:ext uri="{FF2B5EF4-FFF2-40B4-BE49-F238E27FC236}">
                    <a16:creationId xmlns:a16="http://schemas.microsoft.com/office/drawing/2014/main" id="{6BD967F7-9380-68F1-762B-DA88840821FC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19714750">
                <a:off x="2633522" y="4530157"/>
                <a:ext cx="161379" cy="345037"/>
                <a:chOff x="5926138" y="3011488"/>
                <a:chExt cx="339725" cy="838200"/>
              </a:xfrm>
            </p:grpSpPr>
            <p:grpSp>
              <p:nvGrpSpPr>
                <p:cNvPr id="81" name="Group 15">
                  <a:extLst>
                    <a:ext uri="{FF2B5EF4-FFF2-40B4-BE49-F238E27FC236}">
                      <a16:creationId xmlns:a16="http://schemas.microsoft.com/office/drawing/2014/main" id="{6D0C85A5-CB64-C341-320F-AD35D10B9887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85" name="AutoShape 14">
                    <a:extLst>
                      <a:ext uri="{FF2B5EF4-FFF2-40B4-BE49-F238E27FC236}">
                        <a16:creationId xmlns:a16="http://schemas.microsoft.com/office/drawing/2014/main" id="{71BB24B4-4FEC-4D6E-D119-933E3C992A8C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86" name="Freeform 16">
                    <a:extLst>
                      <a:ext uri="{FF2B5EF4-FFF2-40B4-BE49-F238E27FC236}">
                        <a16:creationId xmlns:a16="http://schemas.microsoft.com/office/drawing/2014/main" id="{15FB1829-AEB9-8ABF-A9B7-929281870F2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3" y="2063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87" name="Freeform 17">
                    <a:extLst>
                      <a:ext uri="{FF2B5EF4-FFF2-40B4-BE49-F238E27FC236}">
                        <a16:creationId xmlns:a16="http://schemas.microsoft.com/office/drawing/2014/main" id="{B1662270-DD5E-8C59-0D33-B6CE01D5B767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88" name="Freeform 18">
                    <a:extLst>
                      <a:ext uri="{FF2B5EF4-FFF2-40B4-BE49-F238E27FC236}">
                        <a16:creationId xmlns:a16="http://schemas.microsoft.com/office/drawing/2014/main" id="{F4C2F1A9-E860-9F74-10CA-B86FEE47714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89" name="Freeform 23">
                    <a:extLst>
                      <a:ext uri="{FF2B5EF4-FFF2-40B4-BE49-F238E27FC236}">
                        <a16:creationId xmlns:a16="http://schemas.microsoft.com/office/drawing/2014/main" id="{DA916244-ADFE-B59C-A036-569A1CE7D03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82" name="Freeform 5101">
                  <a:extLst>
                    <a:ext uri="{FF2B5EF4-FFF2-40B4-BE49-F238E27FC236}">
                      <a16:creationId xmlns:a16="http://schemas.microsoft.com/office/drawing/2014/main" id="{3F7120F8-2EBB-B31A-BEBE-7B790062CC9B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83" name="Freeform 5101">
                  <a:extLst>
                    <a:ext uri="{FF2B5EF4-FFF2-40B4-BE49-F238E27FC236}">
                      <a16:creationId xmlns:a16="http://schemas.microsoft.com/office/drawing/2014/main" id="{870526EA-B91F-A217-6AFA-C58A2C64D5EA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84" name="Freeform 5101">
                  <a:extLst>
                    <a:ext uri="{FF2B5EF4-FFF2-40B4-BE49-F238E27FC236}">
                      <a16:creationId xmlns:a16="http://schemas.microsoft.com/office/drawing/2014/main" id="{8EC99699-F99A-E710-7D5E-AC21FE6F941B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90" name="Group 89">
                <a:extLst>
                  <a:ext uri="{FF2B5EF4-FFF2-40B4-BE49-F238E27FC236}">
                    <a16:creationId xmlns:a16="http://schemas.microsoft.com/office/drawing/2014/main" id="{8A1D2C95-E34A-A183-2434-F5FEF2828353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18790504">
                <a:off x="2728272" y="4435838"/>
                <a:ext cx="142146" cy="391724"/>
                <a:chOff x="5926138" y="3011488"/>
                <a:chExt cx="339725" cy="838200"/>
              </a:xfrm>
            </p:grpSpPr>
            <p:grpSp>
              <p:nvGrpSpPr>
                <p:cNvPr id="91" name="Group 15">
                  <a:extLst>
                    <a:ext uri="{FF2B5EF4-FFF2-40B4-BE49-F238E27FC236}">
                      <a16:creationId xmlns:a16="http://schemas.microsoft.com/office/drawing/2014/main" id="{528CE3CB-0C5B-C3A1-2B03-48FF051B2656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95" name="AutoShape 14">
                    <a:extLst>
                      <a:ext uri="{FF2B5EF4-FFF2-40B4-BE49-F238E27FC236}">
                        <a16:creationId xmlns:a16="http://schemas.microsoft.com/office/drawing/2014/main" id="{71A54428-AE69-5A6C-73CF-4526A8F86631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6" name="Freeform 16">
                    <a:extLst>
                      <a:ext uri="{FF2B5EF4-FFF2-40B4-BE49-F238E27FC236}">
                        <a16:creationId xmlns:a16="http://schemas.microsoft.com/office/drawing/2014/main" id="{36CE42CA-44F0-6AC7-F185-77910770679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3" y="2063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7" name="Freeform 17">
                    <a:extLst>
                      <a:ext uri="{FF2B5EF4-FFF2-40B4-BE49-F238E27FC236}">
                        <a16:creationId xmlns:a16="http://schemas.microsoft.com/office/drawing/2014/main" id="{EC005744-303E-C7FA-0650-0984AA787E52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8" name="Freeform 18">
                    <a:extLst>
                      <a:ext uri="{FF2B5EF4-FFF2-40B4-BE49-F238E27FC236}">
                        <a16:creationId xmlns:a16="http://schemas.microsoft.com/office/drawing/2014/main" id="{E22F11CF-0C6A-3412-127D-8FCB38985F1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9" name="Freeform 19">
                    <a:extLst>
                      <a:ext uri="{FF2B5EF4-FFF2-40B4-BE49-F238E27FC236}">
                        <a16:creationId xmlns:a16="http://schemas.microsoft.com/office/drawing/2014/main" id="{946E51B7-60A3-2A88-0B4E-5C047069189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00" name="Freeform 20">
                    <a:extLst>
                      <a:ext uri="{FF2B5EF4-FFF2-40B4-BE49-F238E27FC236}">
                        <a16:creationId xmlns:a16="http://schemas.microsoft.com/office/drawing/2014/main" id="{BCA09496-231A-5304-B244-DC5C318A3D4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01" name="Freeform 21">
                    <a:extLst>
                      <a:ext uri="{FF2B5EF4-FFF2-40B4-BE49-F238E27FC236}">
                        <a16:creationId xmlns:a16="http://schemas.microsoft.com/office/drawing/2014/main" id="{E8F4C4A4-CED9-9E1E-9291-81D08583E85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02" name="Freeform 23">
                    <a:extLst>
                      <a:ext uri="{FF2B5EF4-FFF2-40B4-BE49-F238E27FC236}">
                        <a16:creationId xmlns:a16="http://schemas.microsoft.com/office/drawing/2014/main" id="{7F66B171-C76F-4C3F-D290-C1E91224C2A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92" name="Freeform 5101">
                  <a:extLst>
                    <a:ext uri="{FF2B5EF4-FFF2-40B4-BE49-F238E27FC236}">
                      <a16:creationId xmlns:a16="http://schemas.microsoft.com/office/drawing/2014/main" id="{ABCA3D44-B1B3-4C0B-AA5B-31FE22487A15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93" name="Freeform 5101">
                  <a:extLst>
                    <a:ext uri="{FF2B5EF4-FFF2-40B4-BE49-F238E27FC236}">
                      <a16:creationId xmlns:a16="http://schemas.microsoft.com/office/drawing/2014/main" id="{E83CC1AC-338C-9F4D-3480-A6A8E0742247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94" name="Freeform 5101">
                  <a:extLst>
                    <a:ext uri="{FF2B5EF4-FFF2-40B4-BE49-F238E27FC236}">
                      <a16:creationId xmlns:a16="http://schemas.microsoft.com/office/drawing/2014/main" id="{3E1E5F40-94F3-E5C2-BB80-00744EDCB182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103" name="Group 102">
                <a:extLst>
                  <a:ext uri="{FF2B5EF4-FFF2-40B4-BE49-F238E27FC236}">
                    <a16:creationId xmlns:a16="http://schemas.microsoft.com/office/drawing/2014/main" id="{781D95CE-5C53-6CF0-A6CE-B2E7304ED0BB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17932125">
                <a:off x="2799875" y="4352378"/>
                <a:ext cx="142146" cy="391724"/>
                <a:chOff x="5926138" y="3011488"/>
                <a:chExt cx="339725" cy="838200"/>
              </a:xfrm>
            </p:grpSpPr>
            <p:grpSp>
              <p:nvGrpSpPr>
                <p:cNvPr id="104" name="Group 15">
                  <a:extLst>
                    <a:ext uri="{FF2B5EF4-FFF2-40B4-BE49-F238E27FC236}">
                      <a16:creationId xmlns:a16="http://schemas.microsoft.com/office/drawing/2014/main" id="{12C9A35C-238F-4BD3-47C4-8729718548CB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108" name="AutoShape 14">
                    <a:extLst>
                      <a:ext uri="{FF2B5EF4-FFF2-40B4-BE49-F238E27FC236}">
                        <a16:creationId xmlns:a16="http://schemas.microsoft.com/office/drawing/2014/main" id="{16256270-5E2A-EF9B-2D85-9D673972FA86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09" name="Freeform 16">
                    <a:extLst>
                      <a:ext uri="{FF2B5EF4-FFF2-40B4-BE49-F238E27FC236}">
                        <a16:creationId xmlns:a16="http://schemas.microsoft.com/office/drawing/2014/main" id="{EBA281FB-AB0D-50B9-BE85-0AB1BCAB7FB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3" y="2063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10" name="Freeform 17">
                    <a:extLst>
                      <a:ext uri="{FF2B5EF4-FFF2-40B4-BE49-F238E27FC236}">
                        <a16:creationId xmlns:a16="http://schemas.microsoft.com/office/drawing/2014/main" id="{E473E536-B7E9-A066-58B4-A4C71B241A38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11" name="Freeform 18">
                    <a:extLst>
                      <a:ext uri="{FF2B5EF4-FFF2-40B4-BE49-F238E27FC236}">
                        <a16:creationId xmlns:a16="http://schemas.microsoft.com/office/drawing/2014/main" id="{BC136384-FABA-00F8-AA42-1A514146010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12" name="Freeform 19">
                    <a:extLst>
                      <a:ext uri="{FF2B5EF4-FFF2-40B4-BE49-F238E27FC236}">
                        <a16:creationId xmlns:a16="http://schemas.microsoft.com/office/drawing/2014/main" id="{91B7EA40-DC07-1C57-BA6E-669173BE10F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13" name="Freeform 20">
                    <a:extLst>
                      <a:ext uri="{FF2B5EF4-FFF2-40B4-BE49-F238E27FC236}">
                        <a16:creationId xmlns:a16="http://schemas.microsoft.com/office/drawing/2014/main" id="{CF8BC20A-C93D-CAF7-5B90-80B37492038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14" name="Freeform 21">
                    <a:extLst>
                      <a:ext uri="{FF2B5EF4-FFF2-40B4-BE49-F238E27FC236}">
                        <a16:creationId xmlns:a16="http://schemas.microsoft.com/office/drawing/2014/main" id="{9C811242-B163-7328-4E9E-981D30C4B06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15" name="Freeform 22">
                    <a:extLst>
                      <a:ext uri="{FF2B5EF4-FFF2-40B4-BE49-F238E27FC236}">
                        <a16:creationId xmlns:a16="http://schemas.microsoft.com/office/drawing/2014/main" id="{3B5D9A5A-A09B-51B6-3162-076126E275A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16" name="Freeform 23">
                    <a:extLst>
                      <a:ext uri="{FF2B5EF4-FFF2-40B4-BE49-F238E27FC236}">
                        <a16:creationId xmlns:a16="http://schemas.microsoft.com/office/drawing/2014/main" id="{808F365F-8D81-DD64-70B8-C6844BD1475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105" name="Freeform 5101">
                  <a:extLst>
                    <a:ext uri="{FF2B5EF4-FFF2-40B4-BE49-F238E27FC236}">
                      <a16:creationId xmlns:a16="http://schemas.microsoft.com/office/drawing/2014/main" id="{3E1A9C3E-693B-4B31-33EC-BAE60A2A3B48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106" name="Freeform 5101">
                  <a:extLst>
                    <a:ext uri="{FF2B5EF4-FFF2-40B4-BE49-F238E27FC236}">
                      <a16:creationId xmlns:a16="http://schemas.microsoft.com/office/drawing/2014/main" id="{98F82520-B44C-A99F-6E75-28B88361CA32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107" name="Freeform 5101">
                  <a:extLst>
                    <a:ext uri="{FF2B5EF4-FFF2-40B4-BE49-F238E27FC236}">
                      <a16:creationId xmlns:a16="http://schemas.microsoft.com/office/drawing/2014/main" id="{6DDEEB0A-44A2-F108-8B4C-6BE48FED2D0B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117" name="Group 116">
                <a:extLst>
                  <a:ext uri="{FF2B5EF4-FFF2-40B4-BE49-F238E27FC236}">
                    <a16:creationId xmlns:a16="http://schemas.microsoft.com/office/drawing/2014/main" id="{C6CCF8FD-0AA0-D3EF-BDC8-E122296B03CE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17094978">
                <a:off x="2839911" y="4246059"/>
                <a:ext cx="142146" cy="391724"/>
                <a:chOff x="5926138" y="3011488"/>
                <a:chExt cx="339725" cy="838200"/>
              </a:xfrm>
            </p:grpSpPr>
            <p:grpSp>
              <p:nvGrpSpPr>
                <p:cNvPr id="118" name="Group 15">
                  <a:extLst>
                    <a:ext uri="{FF2B5EF4-FFF2-40B4-BE49-F238E27FC236}">
                      <a16:creationId xmlns:a16="http://schemas.microsoft.com/office/drawing/2014/main" id="{A90D57D6-0D2A-674D-36B5-7E1A6EC6537B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122" name="AutoShape 14">
                    <a:extLst>
                      <a:ext uri="{FF2B5EF4-FFF2-40B4-BE49-F238E27FC236}">
                        <a16:creationId xmlns:a16="http://schemas.microsoft.com/office/drawing/2014/main" id="{B6192258-3002-4B02-97B9-D54B7AFE8A0A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23" name="Freeform 16">
                    <a:extLst>
                      <a:ext uri="{FF2B5EF4-FFF2-40B4-BE49-F238E27FC236}">
                        <a16:creationId xmlns:a16="http://schemas.microsoft.com/office/drawing/2014/main" id="{F524E508-5B34-6B1C-7FB2-033230153D6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3" y="2063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24" name="Freeform 17">
                    <a:extLst>
                      <a:ext uri="{FF2B5EF4-FFF2-40B4-BE49-F238E27FC236}">
                        <a16:creationId xmlns:a16="http://schemas.microsoft.com/office/drawing/2014/main" id="{CB80EC58-6A10-A697-9E1E-6E4662E150FC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25" name="Freeform 18">
                    <a:extLst>
                      <a:ext uri="{FF2B5EF4-FFF2-40B4-BE49-F238E27FC236}">
                        <a16:creationId xmlns:a16="http://schemas.microsoft.com/office/drawing/2014/main" id="{DFE27BE3-6FBC-56A7-A5B9-7292556B073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26" name="Freeform 19">
                    <a:extLst>
                      <a:ext uri="{FF2B5EF4-FFF2-40B4-BE49-F238E27FC236}">
                        <a16:creationId xmlns:a16="http://schemas.microsoft.com/office/drawing/2014/main" id="{43786794-2B95-F2D4-CE6A-C50EA5E240C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27" name="Freeform 20">
                    <a:extLst>
                      <a:ext uri="{FF2B5EF4-FFF2-40B4-BE49-F238E27FC236}">
                        <a16:creationId xmlns:a16="http://schemas.microsoft.com/office/drawing/2014/main" id="{4EA62DC5-B4A1-4E18-6D2C-1E1DF0AD7E9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28" name="Freeform 21">
                    <a:extLst>
                      <a:ext uri="{FF2B5EF4-FFF2-40B4-BE49-F238E27FC236}">
                        <a16:creationId xmlns:a16="http://schemas.microsoft.com/office/drawing/2014/main" id="{94FE4766-C2E8-EFE3-A50A-02AA97EB97E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29" name="Freeform 22">
                    <a:extLst>
                      <a:ext uri="{FF2B5EF4-FFF2-40B4-BE49-F238E27FC236}">
                        <a16:creationId xmlns:a16="http://schemas.microsoft.com/office/drawing/2014/main" id="{FAD4379D-5415-A90A-59F5-4CAC510DBAD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30" name="Freeform 23">
                    <a:extLst>
                      <a:ext uri="{FF2B5EF4-FFF2-40B4-BE49-F238E27FC236}">
                        <a16:creationId xmlns:a16="http://schemas.microsoft.com/office/drawing/2014/main" id="{45130972-F145-4D12-1967-324667A48F8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119" name="Freeform 5101">
                  <a:extLst>
                    <a:ext uri="{FF2B5EF4-FFF2-40B4-BE49-F238E27FC236}">
                      <a16:creationId xmlns:a16="http://schemas.microsoft.com/office/drawing/2014/main" id="{4A27A579-0A2B-EF16-E706-EC7493D7EDA5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120" name="Freeform 5101">
                  <a:extLst>
                    <a:ext uri="{FF2B5EF4-FFF2-40B4-BE49-F238E27FC236}">
                      <a16:creationId xmlns:a16="http://schemas.microsoft.com/office/drawing/2014/main" id="{EF1B60C2-9913-B562-3806-59E4C1F55E6D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121" name="Freeform 5101">
                  <a:extLst>
                    <a:ext uri="{FF2B5EF4-FFF2-40B4-BE49-F238E27FC236}">
                      <a16:creationId xmlns:a16="http://schemas.microsoft.com/office/drawing/2014/main" id="{AA77F315-67A0-390D-F2F3-FDF86E0CF480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131" name="Group 130">
                <a:extLst>
                  <a:ext uri="{FF2B5EF4-FFF2-40B4-BE49-F238E27FC236}">
                    <a16:creationId xmlns:a16="http://schemas.microsoft.com/office/drawing/2014/main" id="{AD4DF55F-9DED-F6E3-5478-A13BD39B0C31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16200000">
                <a:off x="2851949" y="4139828"/>
                <a:ext cx="142146" cy="391724"/>
                <a:chOff x="5926138" y="3011488"/>
                <a:chExt cx="339725" cy="838200"/>
              </a:xfrm>
            </p:grpSpPr>
            <p:grpSp>
              <p:nvGrpSpPr>
                <p:cNvPr id="132" name="Group 15">
                  <a:extLst>
                    <a:ext uri="{FF2B5EF4-FFF2-40B4-BE49-F238E27FC236}">
                      <a16:creationId xmlns:a16="http://schemas.microsoft.com/office/drawing/2014/main" id="{AD29129C-1467-5FE5-45AB-967A073543A3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136" name="AutoShape 14">
                    <a:extLst>
                      <a:ext uri="{FF2B5EF4-FFF2-40B4-BE49-F238E27FC236}">
                        <a16:creationId xmlns:a16="http://schemas.microsoft.com/office/drawing/2014/main" id="{B76CBC20-B5E0-712D-7D3A-7B2C29F7A8EE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37" name="Freeform 16">
                    <a:extLst>
                      <a:ext uri="{FF2B5EF4-FFF2-40B4-BE49-F238E27FC236}">
                        <a16:creationId xmlns:a16="http://schemas.microsoft.com/office/drawing/2014/main" id="{C97E78DC-3C3A-2D4B-874C-2127191CAF3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3" y="2063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38" name="Freeform 17">
                    <a:extLst>
                      <a:ext uri="{FF2B5EF4-FFF2-40B4-BE49-F238E27FC236}">
                        <a16:creationId xmlns:a16="http://schemas.microsoft.com/office/drawing/2014/main" id="{83B882B7-9DD8-F17E-5382-34D15FCC0750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39" name="Freeform 18">
                    <a:extLst>
                      <a:ext uri="{FF2B5EF4-FFF2-40B4-BE49-F238E27FC236}">
                        <a16:creationId xmlns:a16="http://schemas.microsoft.com/office/drawing/2014/main" id="{678278CC-9345-202E-8061-7F34E404DF9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40" name="Freeform 19">
                    <a:extLst>
                      <a:ext uri="{FF2B5EF4-FFF2-40B4-BE49-F238E27FC236}">
                        <a16:creationId xmlns:a16="http://schemas.microsoft.com/office/drawing/2014/main" id="{D4A71285-DFB2-907B-160C-0162BE2EEAE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41" name="Freeform 20">
                    <a:extLst>
                      <a:ext uri="{FF2B5EF4-FFF2-40B4-BE49-F238E27FC236}">
                        <a16:creationId xmlns:a16="http://schemas.microsoft.com/office/drawing/2014/main" id="{A1114A24-F1C3-986C-CAA4-83D1F02BBB1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42" name="Freeform 21">
                    <a:extLst>
                      <a:ext uri="{FF2B5EF4-FFF2-40B4-BE49-F238E27FC236}">
                        <a16:creationId xmlns:a16="http://schemas.microsoft.com/office/drawing/2014/main" id="{2C4FB478-A72C-F7AE-86D1-D09950349D3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43" name="Freeform 22">
                    <a:extLst>
                      <a:ext uri="{FF2B5EF4-FFF2-40B4-BE49-F238E27FC236}">
                        <a16:creationId xmlns:a16="http://schemas.microsoft.com/office/drawing/2014/main" id="{0FF6524D-63BF-DD53-536D-A4286DE33B9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44" name="Freeform 23">
                    <a:extLst>
                      <a:ext uri="{FF2B5EF4-FFF2-40B4-BE49-F238E27FC236}">
                        <a16:creationId xmlns:a16="http://schemas.microsoft.com/office/drawing/2014/main" id="{ED6ECB83-4D93-7657-A7FF-5B0C8E53739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133" name="Freeform 5101">
                  <a:extLst>
                    <a:ext uri="{FF2B5EF4-FFF2-40B4-BE49-F238E27FC236}">
                      <a16:creationId xmlns:a16="http://schemas.microsoft.com/office/drawing/2014/main" id="{EF660496-0205-1F97-417A-A951259F1732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134" name="Freeform 5101">
                  <a:extLst>
                    <a:ext uri="{FF2B5EF4-FFF2-40B4-BE49-F238E27FC236}">
                      <a16:creationId xmlns:a16="http://schemas.microsoft.com/office/drawing/2014/main" id="{EA7AE9E5-F8B4-6EE0-0BF2-D67E16F8027F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135" name="Freeform 5101">
                  <a:extLst>
                    <a:ext uri="{FF2B5EF4-FFF2-40B4-BE49-F238E27FC236}">
                      <a16:creationId xmlns:a16="http://schemas.microsoft.com/office/drawing/2014/main" id="{E6DD57F9-80DB-7E95-931E-AB779FDC2B8B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145" name="Group 144">
                <a:extLst>
                  <a:ext uri="{FF2B5EF4-FFF2-40B4-BE49-F238E27FC236}">
                    <a16:creationId xmlns:a16="http://schemas.microsoft.com/office/drawing/2014/main" id="{FF3F6CFA-1698-1E49-3530-C28D669D88F8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15474202">
                <a:off x="2842255" y="4022122"/>
                <a:ext cx="142146" cy="391724"/>
                <a:chOff x="5926138" y="3011488"/>
                <a:chExt cx="339725" cy="838200"/>
              </a:xfrm>
            </p:grpSpPr>
            <p:grpSp>
              <p:nvGrpSpPr>
                <p:cNvPr id="146" name="Group 15">
                  <a:extLst>
                    <a:ext uri="{FF2B5EF4-FFF2-40B4-BE49-F238E27FC236}">
                      <a16:creationId xmlns:a16="http://schemas.microsoft.com/office/drawing/2014/main" id="{2B2E1441-A74C-D6A2-CBE6-847661A6B7E0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150" name="AutoShape 14">
                    <a:extLst>
                      <a:ext uri="{FF2B5EF4-FFF2-40B4-BE49-F238E27FC236}">
                        <a16:creationId xmlns:a16="http://schemas.microsoft.com/office/drawing/2014/main" id="{730810E0-9541-D166-EE8A-638800469174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51" name="Freeform 16">
                    <a:extLst>
                      <a:ext uri="{FF2B5EF4-FFF2-40B4-BE49-F238E27FC236}">
                        <a16:creationId xmlns:a16="http://schemas.microsoft.com/office/drawing/2014/main" id="{6BB134BB-33B2-46AD-1ABB-4DBA5135ED4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3" y="2063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52" name="Freeform 17">
                    <a:extLst>
                      <a:ext uri="{FF2B5EF4-FFF2-40B4-BE49-F238E27FC236}">
                        <a16:creationId xmlns:a16="http://schemas.microsoft.com/office/drawing/2014/main" id="{01AE7E51-57C1-25B5-D574-479F416B761D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53" name="Freeform 18">
                    <a:extLst>
                      <a:ext uri="{FF2B5EF4-FFF2-40B4-BE49-F238E27FC236}">
                        <a16:creationId xmlns:a16="http://schemas.microsoft.com/office/drawing/2014/main" id="{F115F785-A35C-7273-51FD-58B8CF4F5B7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54" name="Freeform 19">
                    <a:extLst>
                      <a:ext uri="{FF2B5EF4-FFF2-40B4-BE49-F238E27FC236}">
                        <a16:creationId xmlns:a16="http://schemas.microsoft.com/office/drawing/2014/main" id="{18EF7299-2E13-F17D-814A-E43D9F414F6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55" name="Freeform 20">
                    <a:extLst>
                      <a:ext uri="{FF2B5EF4-FFF2-40B4-BE49-F238E27FC236}">
                        <a16:creationId xmlns:a16="http://schemas.microsoft.com/office/drawing/2014/main" id="{50E45443-D541-8834-E1BC-61AAFC32B5C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56" name="Freeform 21">
                    <a:extLst>
                      <a:ext uri="{FF2B5EF4-FFF2-40B4-BE49-F238E27FC236}">
                        <a16:creationId xmlns:a16="http://schemas.microsoft.com/office/drawing/2014/main" id="{19248704-E325-A473-0806-F03D035C20E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57" name="Freeform 22">
                    <a:extLst>
                      <a:ext uri="{FF2B5EF4-FFF2-40B4-BE49-F238E27FC236}">
                        <a16:creationId xmlns:a16="http://schemas.microsoft.com/office/drawing/2014/main" id="{295EF9C2-D7AC-D740-38A7-B9D1B3F6214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58" name="Freeform 23">
                    <a:extLst>
                      <a:ext uri="{FF2B5EF4-FFF2-40B4-BE49-F238E27FC236}">
                        <a16:creationId xmlns:a16="http://schemas.microsoft.com/office/drawing/2014/main" id="{DF412CD4-467E-7714-79D7-41609828F5D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147" name="Freeform 5101">
                  <a:extLst>
                    <a:ext uri="{FF2B5EF4-FFF2-40B4-BE49-F238E27FC236}">
                      <a16:creationId xmlns:a16="http://schemas.microsoft.com/office/drawing/2014/main" id="{2FBCFF5C-CCFB-66E2-0CE8-16D2963F6D78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148" name="Freeform 5101">
                  <a:extLst>
                    <a:ext uri="{FF2B5EF4-FFF2-40B4-BE49-F238E27FC236}">
                      <a16:creationId xmlns:a16="http://schemas.microsoft.com/office/drawing/2014/main" id="{282FAB04-4F92-E746-A4CD-DF02A0776D6D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149" name="Freeform 5101">
                  <a:extLst>
                    <a:ext uri="{FF2B5EF4-FFF2-40B4-BE49-F238E27FC236}">
                      <a16:creationId xmlns:a16="http://schemas.microsoft.com/office/drawing/2014/main" id="{3B482DC3-B907-AE2D-B1EB-BF80F88B9B50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159" name="Group 158">
                <a:extLst>
                  <a:ext uri="{FF2B5EF4-FFF2-40B4-BE49-F238E27FC236}">
                    <a16:creationId xmlns:a16="http://schemas.microsoft.com/office/drawing/2014/main" id="{A5E78B04-6CBE-95C5-559A-28C97D62E9F0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14532006">
                <a:off x="2788703" y="3904504"/>
                <a:ext cx="142146" cy="391724"/>
                <a:chOff x="5926138" y="3011488"/>
                <a:chExt cx="339725" cy="838200"/>
              </a:xfrm>
            </p:grpSpPr>
            <p:grpSp>
              <p:nvGrpSpPr>
                <p:cNvPr id="160" name="Group 15">
                  <a:extLst>
                    <a:ext uri="{FF2B5EF4-FFF2-40B4-BE49-F238E27FC236}">
                      <a16:creationId xmlns:a16="http://schemas.microsoft.com/office/drawing/2014/main" id="{AFA90076-BDDC-2745-36E2-03AB5F12193F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164" name="AutoShape 14">
                    <a:extLst>
                      <a:ext uri="{FF2B5EF4-FFF2-40B4-BE49-F238E27FC236}">
                        <a16:creationId xmlns:a16="http://schemas.microsoft.com/office/drawing/2014/main" id="{51EA048F-8305-35F3-483C-BA709158FA03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65" name="Freeform 16">
                    <a:extLst>
                      <a:ext uri="{FF2B5EF4-FFF2-40B4-BE49-F238E27FC236}">
                        <a16:creationId xmlns:a16="http://schemas.microsoft.com/office/drawing/2014/main" id="{77EE1635-EECE-CE46-48E3-8BE08283C02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3" y="2063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66" name="Freeform 17">
                    <a:extLst>
                      <a:ext uri="{FF2B5EF4-FFF2-40B4-BE49-F238E27FC236}">
                        <a16:creationId xmlns:a16="http://schemas.microsoft.com/office/drawing/2014/main" id="{1240B281-90BE-1EDA-A0BF-F2E0B09E2B0F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67" name="Freeform 18">
                    <a:extLst>
                      <a:ext uri="{FF2B5EF4-FFF2-40B4-BE49-F238E27FC236}">
                        <a16:creationId xmlns:a16="http://schemas.microsoft.com/office/drawing/2014/main" id="{55DC7066-2717-D759-11E9-943F56A9E14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68" name="Freeform 19">
                    <a:extLst>
                      <a:ext uri="{FF2B5EF4-FFF2-40B4-BE49-F238E27FC236}">
                        <a16:creationId xmlns:a16="http://schemas.microsoft.com/office/drawing/2014/main" id="{140BC0B0-EEF0-B2D3-21FB-E8FAB40D8B2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69" name="Freeform 20">
                    <a:extLst>
                      <a:ext uri="{FF2B5EF4-FFF2-40B4-BE49-F238E27FC236}">
                        <a16:creationId xmlns:a16="http://schemas.microsoft.com/office/drawing/2014/main" id="{4B3AEAB2-C7AA-2889-CBA9-4473BAD7F78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70" name="Freeform 21">
                    <a:extLst>
                      <a:ext uri="{FF2B5EF4-FFF2-40B4-BE49-F238E27FC236}">
                        <a16:creationId xmlns:a16="http://schemas.microsoft.com/office/drawing/2014/main" id="{2D62F404-0A6F-9960-13E7-67023DA8E12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71" name="Freeform 22">
                    <a:extLst>
                      <a:ext uri="{FF2B5EF4-FFF2-40B4-BE49-F238E27FC236}">
                        <a16:creationId xmlns:a16="http://schemas.microsoft.com/office/drawing/2014/main" id="{9FD1F0F4-C343-622E-B3E0-86091BB9140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72" name="Freeform 23">
                    <a:extLst>
                      <a:ext uri="{FF2B5EF4-FFF2-40B4-BE49-F238E27FC236}">
                        <a16:creationId xmlns:a16="http://schemas.microsoft.com/office/drawing/2014/main" id="{50963338-8123-FD3D-D83C-23FABA0D710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161" name="Freeform 5101">
                  <a:extLst>
                    <a:ext uri="{FF2B5EF4-FFF2-40B4-BE49-F238E27FC236}">
                      <a16:creationId xmlns:a16="http://schemas.microsoft.com/office/drawing/2014/main" id="{2C1D1BAC-C9A5-B3B7-35DD-BD068C858F00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162" name="Freeform 5101">
                  <a:extLst>
                    <a:ext uri="{FF2B5EF4-FFF2-40B4-BE49-F238E27FC236}">
                      <a16:creationId xmlns:a16="http://schemas.microsoft.com/office/drawing/2014/main" id="{9CDBB3ED-F131-FF89-66D4-E80D9A7CD4A8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163" name="Freeform 5101">
                  <a:extLst>
                    <a:ext uri="{FF2B5EF4-FFF2-40B4-BE49-F238E27FC236}">
                      <a16:creationId xmlns:a16="http://schemas.microsoft.com/office/drawing/2014/main" id="{C2D97321-2184-BFF5-DA3A-F31704BBEA91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173" name="Group 172">
                <a:extLst>
                  <a:ext uri="{FF2B5EF4-FFF2-40B4-BE49-F238E27FC236}">
                    <a16:creationId xmlns:a16="http://schemas.microsoft.com/office/drawing/2014/main" id="{93DD0EDB-95E6-0478-E4DC-435A28AC48D2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13992776">
                <a:off x="2700525" y="3797487"/>
                <a:ext cx="142146" cy="391724"/>
                <a:chOff x="5926138" y="3011488"/>
                <a:chExt cx="339725" cy="838200"/>
              </a:xfrm>
            </p:grpSpPr>
            <p:grpSp>
              <p:nvGrpSpPr>
                <p:cNvPr id="174" name="Group 15">
                  <a:extLst>
                    <a:ext uri="{FF2B5EF4-FFF2-40B4-BE49-F238E27FC236}">
                      <a16:creationId xmlns:a16="http://schemas.microsoft.com/office/drawing/2014/main" id="{E2750788-F1B3-2C13-5B6B-9C84F4FD8049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178" name="AutoShape 14">
                    <a:extLst>
                      <a:ext uri="{FF2B5EF4-FFF2-40B4-BE49-F238E27FC236}">
                        <a16:creationId xmlns:a16="http://schemas.microsoft.com/office/drawing/2014/main" id="{8C025071-B211-B160-D402-8F1EE5E363A5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79" name="Freeform 16">
                    <a:extLst>
                      <a:ext uri="{FF2B5EF4-FFF2-40B4-BE49-F238E27FC236}">
                        <a16:creationId xmlns:a16="http://schemas.microsoft.com/office/drawing/2014/main" id="{7B503DF8-6AD6-ED18-EA6A-EC3BC2002B2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3" y="2063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80" name="Freeform 17">
                    <a:extLst>
                      <a:ext uri="{FF2B5EF4-FFF2-40B4-BE49-F238E27FC236}">
                        <a16:creationId xmlns:a16="http://schemas.microsoft.com/office/drawing/2014/main" id="{F2E79AC1-4BAD-B301-A1A6-9FE54B893261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81" name="Freeform 18">
                    <a:extLst>
                      <a:ext uri="{FF2B5EF4-FFF2-40B4-BE49-F238E27FC236}">
                        <a16:creationId xmlns:a16="http://schemas.microsoft.com/office/drawing/2014/main" id="{8685396B-C3E5-3756-A0A2-B31B8D9F6A9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82" name="Freeform 19">
                    <a:extLst>
                      <a:ext uri="{FF2B5EF4-FFF2-40B4-BE49-F238E27FC236}">
                        <a16:creationId xmlns:a16="http://schemas.microsoft.com/office/drawing/2014/main" id="{A11E2E36-4176-AAF9-CDD6-1F596E59947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83" name="Freeform 20">
                    <a:extLst>
                      <a:ext uri="{FF2B5EF4-FFF2-40B4-BE49-F238E27FC236}">
                        <a16:creationId xmlns:a16="http://schemas.microsoft.com/office/drawing/2014/main" id="{A5DE99EE-CF48-80D2-92FB-529F39420FF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84" name="Freeform 21">
                    <a:extLst>
                      <a:ext uri="{FF2B5EF4-FFF2-40B4-BE49-F238E27FC236}">
                        <a16:creationId xmlns:a16="http://schemas.microsoft.com/office/drawing/2014/main" id="{411B2FDA-3B5A-5E74-9B64-8B34896C18F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85" name="Freeform 22">
                    <a:extLst>
                      <a:ext uri="{FF2B5EF4-FFF2-40B4-BE49-F238E27FC236}">
                        <a16:creationId xmlns:a16="http://schemas.microsoft.com/office/drawing/2014/main" id="{6D5BD0B3-780C-62E7-F93E-8F281BC5FF9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86" name="Freeform 23">
                    <a:extLst>
                      <a:ext uri="{FF2B5EF4-FFF2-40B4-BE49-F238E27FC236}">
                        <a16:creationId xmlns:a16="http://schemas.microsoft.com/office/drawing/2014/main" id="{81EC56FA-3F6C-3F04-61EA-A39E4F77A3F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175" name="Freeform 5101">
                  <a:extLst>
                    <a:ext uri="{FF2B5EF4-FFF2-40B4-BE49-F238E27FC236}">
                      <a16:creationId xmlns:a16="http://schemas.microsoft.com/office/drawing/2014/main" id="{337D8536-BCB3-14B4-EAD7-8FC1D3BE2742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176" name="Freeform 5101">
                  <a:extLst>
                    <a:ext uri="{FF2B5EF4-FFF2-40B4-BE49-F238E27FC236}">
                      <a16:creationId xmlns:a16="http://schemas.microsoft.com/office/drawing/2014/main" id="{3433E689-D245-4D21-2BE0-2FB33B7C2259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177" name="Freeform 5101">
                  <a:extLst>
                    <a:ext uri="{FF2B5EF4-FFF2-40B4-BE49-F238E27FC236}">
                      <a16:creationId xmlns:a16="http://schemas.microsoft.com/office/drawing/2014/main" id="{832FE84E-3AB0-8DF7-FD1E-E1084216ABC0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187" name="Group 186">
                <a:extLst>
                  <a:ext uri="{FF2B5EF4-FFF2-40B4-BE49-F238E27FC236}">
                    <a16:creationId xmlns:a16="http://schemas.microsoft.com/office/drawing/2014/main" id="{1502A1DC-B7AF-E4C2-A410-47C0FA82DEAC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13992776">
                <a:off x="2606506" y="3689670"/>
                <a:ext cx="142146" cy="391724"/>
                <a:chOff x="5926138" y="3011488"/>
                <a:chExt cx="339725" cy="838200"/>
              </a:xfrm>
            </p:grpSpPr>
            <p:grpSp>
              <p:nvGrpSpPr>
                <p:cNvPr id="188" name="Group 15">
                  <a:extLst>
                    <a:ext uri="{FF2B5EF4-FFF2-40B4-BE49-F238E27FC236}">
                      <a16:creationId xmlns:a16="http://schemas.microsoft.com/office/drawing/2014/main" id="{9AD623BC-BCF7-5E12-7A37-C8CDAB808916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192" name="AutoShape 14">
                    <a:extLst>
                      <a:ext uri="{FF2B5EF4-FFF2-40B4-BE49-F238E27FC236}">
                        <a16:creationId xmlns:a16="http://schemas.microsoft.com/office/drawing/2014/main" id="{662EE6A4-69B3-FB23-F8C8-9796F08873A4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93" name="Freeform 16">
                    <a:extLst>
                      <a:ext uri="{FF2B5EF4-FFF2-40B4-BE49-F238E27FC236}">
                        <a16:creationId xmlns:a16="http://schemas.microsoft.com/office/drawing/2014/main" id="{19877E4F-F717-7F7C-92D3-63D37DDA0EC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3" y="2063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94" name="Freeform 17">
                    <a:extLst>
                      <a:ext uri="{FF2B5EF4-FFF2-40B4-BE49-F238E27FC236}">
                        <a16:creationId xmlns:a16="http://schemas.microsoft.com/office/drawing/2014/main" id="{61691BD7-E5FD-2F54-FD1C-845EB4170156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95" name="Freeform 18">
                    <a:extLst>
                      <a:ext uri="{FF2B5EF4-FFF2-40B4-BE49-F238E27FC236}">
                        <a16:creationId xmlns:a16="http://schemas.microsoft.com/office/drawing/2014/main" id="{E1AA512F-AADE-970E-3BC7-9BE24D726F3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96" name="Freeform 19">
                    <a:extLst>
                      <a:ext uri="{FF2B5EF4-FFF2-40B4-BE49-F238E27FC236}">
                        <a16:creationId xmlns:a16="http://schemas.microsoft.com/office/drawing/2014/main" id="{C5347EF4-198F-93A7-CB97-31C56A7E6BB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97" name="Freeform 20">
                    <a:extLst>
                      <a:ext uri="{FF2B5EF4-FFF2-40B4-BE49-F238E27FC236}">
                        <a16:creationId xmlns:a16="http://schemas.microsoft.com/office/drawing/2014/main" id="{D2D5D919-9C99-7B19-A293-79102D33D8B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98" name="Freeform 21">
                    <a:extLst>
                      <a:ext uri="{FF2B5EF4-FFF2-40B4-BE49-F238E27FC236}">
                        <a16:creationId xmlns:a16="http://schemas.microsoft.com/office/drawing/2014/main" id="{3D99ECDD-78EF-DB8F-329C-A75464A79CF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99" name="Freeform 22">
                    <a:extLst>
                      <a:ext uri="{FF2B5EF4-FFF2-40B4-BE49-F238E27FC236}">
                        <a16:creationId xmlns:a16="http://schemas.microsoft.com/office/drawing/2014/main" id="{26959B3D-B45E-E54C-6E20-E77AB5B7E43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00" name="Freeform 23">
                    <a:extLst>
                      <a:ext uri="{FF2B5EF4-FFF2-40B4-BE49-F238E27FC236}">
                        <a16:creationId xmlns:a16="http://schemas.microsoft.com/office/drawing/2014/main" id="{EE3313E9-E5A1-E4C5-046C-C382BEDE637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189" name="Freeform 5101">
                  <a:extLst>
                    <a:ext uri="{FF2B5EF4-FFF2-40B4-BE49-F238E27FC236}">
                      <a16:creationId xmlns:a16="http://schemas.microsoft.com/office/drawing/2014/main" id="{83CE0AD9-4C37-8BB2-D7C7-D2FEECFDAC5F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190" name="Freeform 5101">
                  <a:extLst>
                    <a:ext uri="{FF2B5EF4-FFF2-40B4-BE49-F238E27FC236}">
                      <a16:creationId xmlns:a16="http://schemas.microsoft.com/office/drawing/2014/main" id="{E4C21C8B-E7F5-96C0-BB62-5AB83D51C6A4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191" name="Freeform 5101">
                  <a:extLst>
                    <a:ext uri="{FF2B5EF4-FFF2-40B4-BE49-F238E27FC236}">
                      <a16:creationId xmlns:a16="http://schemas.microsoft.com/office/drawing/2014/main" id="{28630DDF-AA50-C6C3-A3BC-07C8BA422C01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201" name="Group 200">
                <a:extLst>
                  <a:ext uri="{FF2B5EF4-FFF2-40B4-BE49-F238E27FC236}">
                    <a16:creationId xmlns:a16="http://schemas.microsoft.com/office/drawing/2014/main" id="{ED774CAC-2CFB-830D-0A02-E696BA08B8DA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14389550">
                <a:off x="2518382" y="3581575"/>
                <a:ext cx="142146" cy="391724"/>
                <a:chOff x="5926138" y="3011488"/>
                <a:chExt cx="339725" cy="838200"/>
              </a:xfrm>
            </p:grpSpPr>
            <p:grpSp>
              <p:nvGrpSpPr>
                <p:cNvPr id="202" name="Group 15">
                  <a:extLst>
                    <a:ext uri="{FF2B5EF4-FFF2-40B4-BE49-F238E27FC236}">
                      <a16:creationId xmlns:a16="http://schemas.microsoft.com/office/drawing/2014/main" id="{7B3A0D51-0931-795F-F451-A874F6AFB22B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206" name="AutoShape 14">
                    <a:extLst>
                      <a:ext uri="{FF2B5EF4-FFF2-40B4-BE49-F238E27FC236}">
                        <a16:creationId xmlns:a16="http://schemas.microsoft.com/office/drawing/2014/main" id="{42E2EA56-10BA-E357-CB02-9638D64A4962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07" name="Freeform 16">
                    <a:extLst>
                      <a:ext uri="{FF2B5EF4-FFF2-40B4-BE49-F238E27FC236}">
                        <a16:creationId xmlns:a16="http://schemas.microsoft.com/office/drawing/2014/main" id="{2A802E46-986E-B010-3525-5DA38388632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3" y="2063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08" name="Freeform 17">
                    <a:extLst>
                      <a:ext uri="{FF2B5EF4-FFF2-40B4-BE49-F238E27FC236}">
                        <a16:creationId xmlns:a16="http://schemas.microsoft.com/office/drawing/2014/main" id="{D40617DB-5663-5C24-AFB0-6626D472409D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09" name="Freeform 18">
                    <a:extLst>
                      <a:ext uri="{FF2B5EF4-FFF2-40B4-BE49-F238E27FC236}">
                        <a16:creationId xmlns:a16="http://schemas.microsoft.com/office/drawing/2014/main" id="{267E54E9-21DD-18C0-ED06-D2D4A2BD848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10" name="Freeform 19">
                    <a:extLst>
                      <a:ext uri="{FF2B5EF4-FFF2-40B4-BE49-F238E27FC236}">
                        <a16:creationId xmlns:a16="http://schemas.microsoft.com/office/drawing/2014/main" id="{120A48B8-BC72-6D7C-9C43-FCADADE839F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11" name="Freeform 20">
                    <a:extLst>
                      <a:ext uri="{FF2B5EF4-FFF2-40B4-BE49-F238E27FC236}">
                        <a16:creationId xmlns:a16="http://schemas.microsoft.com/office/drawing/2014/main" id="{20D2D044-98B7-4C37-CD59-E3F14874353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12" name="Freeform 21">
                    <a:extLst>
                      <a:ext uri="{FF2B5EF4-FFF2-40B4-BE49-F238E27FC236}">
                        <a16:creationId xmlns:a16="http://schemas.microsoft.com/office/drawing/2014/main" id="{6DC914F3-22C3-9E91-2BFE-1649B9EEFA3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13" name="Freeform 22">
                    <a:extLst>
                      <a:ext uri="{FF2B5EF4-FFF2-40B4-BE49-F238E27FC236}">
                        <a16:creationId xmlns:a16="http://schemas.microsoft.com/office/drawing/2014/main" id="{77AB1569-68F0-7E4C-7747-CC5CBD70D6E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14" name="Freeform 23">
                    <a:extLst>
                      <a:ext uri="{FF2B5EF4-FFF2-40B4-BE49-F238E27FC236}">
                        <a16:creationId xmlns:a16="http://schemas.microsoft.com/office/drawing/2014/main" id="{1AA3E28C-094A-FE48-F201-36EEDA45827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203" name="Freeform 5101">
                  <a:extLst>
                    <a:ext uri="{FF2B5EF4-FFF2-40B4-BE49-F238E27FC236}">
                      <a16:creationId xmlns:a16="http://schemas.microsoft.com/office/drawing/2014/main" id="{1C8D8D3D-D16A-455C-0F22-D5C6D25666AB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204" name="Freeform 5101">
                  <a:extLst>
                    <a:ext uri="{FF2B5EF4-FFF2-40B4-BE49-F238E27FC236}">
                      <a16:creationId xmlns:a16="http://schemas.microsoft.com/office/drawing/2014/main" id="{BCB9884B-7542-5604-D9A5-0B68A31CCC66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205" name="Freeform 5101">
                  <a:extLst>
                    <a:ext uri="{FF2B5EF4-FFF2-40B4-BE49-F238E27FC236}">
                      <a16:creationId xmlns:a16="http://schemas.microsoft.com/office/drawing/2014/main" id="{2611A2A1-86CF-5C17-1B85-38F21951CE45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215" name="Group 214">
                <a:extLst>
                  <a:ext uri="{FF2B5EF4-FFF2-40B4-BE49-F238E27FC236}">
                    <a16:creationId xmlns:a16="http://schemas.microsoft.com/office/drawing/2014/main" id="{B3A3F447-E554-20D5-999C-F35D7CF13385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14607471">
                <a:off x="2436405" y="3458696"/>
                <a:ext cx="142146" cy="391724"/>
                <a:chOff x="5926138" y="3011488"/>
                <a:chExt cx="339725" cy="838200"/>
              </a:xfrm>
            </p:grpSpPr>
            <p:grpSp>
              <p:nvGrpSpPr>
                <p:cNvPr id="216" name="Group 15">
                  <a:extLst>
                    <a:ext uri="{FF2B5EF4-FFF2-40B4-BE49-F238E27FC236}">
                      <a16:creationId xmlns:a16="http://schemas.microsoft.com/office/drawing/2014/main" id="{EC0DBA7D-C410-C7F0-FCCE-DB0F30225CF2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220" name="AutoShape 14">
                    <a:extLst>
                      <a:ext uri="{FF2B5EF4-FFF2-40B4-BE49-F238E27FC236}">
                        <a16:creationId xmlns:a16="http://schemas.microsoft.com/office/drawing/2014/main" id="{0CE56891-BE7D-11AB-E9E3-B1A536BF35A9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21" name="Freeform 16">
                    <a:extLst>
                      <a:ext uri="{FF2B5EF4-FFF2-40B4-BE49-F238E27FC236}">
                        <a16:creationId xmlns:a16="http://schemas.microsoft.com/office/drawing/2014/main" id="{DE164A07-7CF8-3B4C-2A9B-3BB0829E366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3" y="2063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22" name="Freeform 17">
                    <a:extLst>
                      <a:ext uri="{FF2B5EF4-FFF2-40B4-BE49-F238E27FC236}">
                        <a16:creationId xmlns:a16="http://schemas.microsoft.com/office/drawing/2014/main" id="{57CB326A-D2C1-A424-36AD-894240CDF128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23" name="Freeform 18">
                    <a:extLst>
                      <a:ext uri="{FF2B5EF4-FFF2-40B4-BE49-F238E27FC236}">
                        <a16:creationId xmlns:a16="http://schemas.microsoft.com/office/drawing/2014/main" id="{D1C5CBB5-434D-5F9A-83CE-295FD407835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24" name="Freeform 19">
                    <a:extLst>
                      <a:ext uri="{FF2B5EF4-FFF2-40B4-BE49-F238E27FC236}">
                        <a16:creationId xmlns:a16="http://schemas.microsoft.com/office/drawing/2014/main" id="{72A2CBFF-B1C8-6929-B075-FEDE6CA713D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25" name="Freeform 20">
                    <a:extLst>
                      <a:ext uri="{FF2B5EF4-FFF2-40B4-BE49-F238E27FC236}">
                        <a16:creationId xmlns:a16="http://schemas.microsoft.com/office/drawing/2014/main" id="{244FBBFE-CF8C-2804-BBFC-151100421D0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26" name="Freeform 21">
                    <a:extLst>
                      <a:ext uri="{FF2B5EF4-FFF2-40B4-BE49-F238E27FC236}">
                        <a16:creationId xmlns:a16="http://schemas.microsoft.com/office/drawing/2014/main" id="{B0FD7F86-CEA5-7C3E-90C0-2A42108A7E8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27" name="Freeform 22">
                    <a:extLst>
                      <a:ext uri="{FF2B5EF4-FFF2-40B4-BE49-F238E27FC236}">
                        <a16:creationId xmlns:a16="http://schemas.microsoft.com/office/drawing/2014/main" id="{16067EEE-84BA-BAFB-93BE-3D2FB194721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28" name="Freeform 23">
                    <a:extLst>
                      <a:ext uri="{FF2B5EF4-FFF2-40B4-BE49-F238E27FC236}">
                        <a16:creationId xmlns:a16="http://schemas.microsoft.com/office/drawing/2014/main" id="{D69715BC-D51D-6FB6-A4FE-6725E152A37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217" name="Freeform 5101">
                  <a:extLst>
                    <a:ext uri="{FF2B5EF4-FFF2-40B4-BE49-F238E27FC236}">
                      <a16:creationId xmlns:a16="http://schemas.microsoft.com/office/drawing/2014/main" id="{01014C58-FDA6-142A-60C6-2BEFC7C5E2CE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218" name="Freeform 5101">
                  <a:extLst>
                    <a:ext uri="{FF2B5EF4-FFF2-40B4-BE49-F238E27FC236}">
                      <a16:creationId xmlns:a16="http://schemas.microsoft.com/office/drawing/2014/main" id="{40E2BD86-5924-1504-611E-5330CC3193AA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219" name="Freeform 5101">
                  <a:extLst>
                    <a:ext uri="{FF2B5EF4-FFF2-40B4-BE49-F238E27FC236}">
                      <a16:creationId xmlns:a16="http://schemas.microsoft.com/office/drawing/2014/main" id="{96CE26A2-9198-F55A-0EE6-2EE70BBF1A3C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229" name="Group 228">
                <a:extLst>
                  <a:ext uri="{FF2B5EF4-FFF2-40B4-BE49-F238E27FC236}">
                    <a16:creationId xmlns:a16="http://schemas.microsoft.com/office/drawing/2014/main" id="{DD1037DD-1836-422E-28F8-C890E82D2454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15040116">
                <a:off x="2367174" y="3329952"/>
                <a:ext cx="142146" cy="391724"/>
                <a:chOff x="5926138" y="3011488"/>
                <a:chExt cx="339725" cy="838200"/>
              </a:xfrm>
            </p:grpSpPr>
            <p:grpSp>
              <p:nvGrpSpPr>
                <p:cNvPr id="230" name="Group 15">
                  <a:extLst>
                    <a:ext uri="{FF2B5EF4-FFF2-40B4-BE49-F238E27FC236}">
                      <a16:creationId xmlns:a16="http://schemas.microsoft.com/office/drawing/2014/main" id="{DF8F095B-F2BE-BD3E-4D27-77D5C5A5AA87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234" name="AutoShape 14">
                    <a:extLst>
                      <a:ext uri="{FF2B5EF4-FFF2-40B4-BE49-F238E27FC236}">
                        <a16:creationId xmlns:a16="http://schemas.microsoft.com/office/drawing/2014/main" id="{CD55A421-B1FB-2FF9-6626-AD36991C7D9A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35" name="Freeform 16">
                    <a:extLst>
                      <a:ext uri="{FF2B5EF4-FFF2-40B4-BE49-F238E27FC236}">
                        <a16:creationId xmlns:a16="http://schemas.microsoft.com/office/drawing/2014/main" id="{B6BCDFB1-F721-21A2-60FB-5ACC514F89C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rot="10860552">
                    <a:off x="3740" y="2061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36" name="Freeform 17">
                    <a:extLst>
                      <a:ext uri="{FF2B5EF4-FFF2-40B4-BE49-F238E27FC236}">
                        <a16:creationId xmlns:a16="http://schemas.microsoft.com/office/drawing/2014/main" id="{DB5EF22E-F500-BD3B-EC77-303FB82F2CCA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 rot="10749847"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37" name="Freeform 18">
                    <a:extLst>
                      <a:ext uri="{FF2B5EF4-FFF2-40B4-BE49-F238E27FC236}">
                        <a16:creationId xmlns:a16="http://schemas.microsoft.com/office/drawing/2014/main" id="{E9D8CCB6-5BBB-85A2-94C5-65B8B477E00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38" name="Freeform 19">
                    <a:extLst>
                      <a:ext uri="{FF2B5EF4-FFF2-40B4-BE49-F238E27FC236}">
                        <a16:creationId xmlns:a16="http://schemas.microsoft.com/office/drawing/2014/main" id="{DEAD1085-0D6C-0DC5-95A8-748FB96147D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39" name="Freeform 20">
                    <a:extLst>
                      <a:ext uri="{FF2B5EF4-FFF2-40B4-BE49-F238E27FC236}">
                        <a16:creationId xmlns:a16="http://schemas.microsoft.com/office/drawing/2014/main" id="{7A022681-8461-A28F-4D3A-86A40F1EB6B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40" name="Freeform 21">
                    <a:extLst>
                      <a:ext uri="{FF2B5EF4-FFF2-40B4-BE49-F238E27FC236}">
                        <a16:creationId xmlns:a16="http://schemas.microsoft.com/office/drawing/2014/main" id="{BBD23CE5-86F6-21F5-1291-F681ADC6DE8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41" name="Freeform 22">
                    <a:extLst>
                      <a:ext uri="{FF2B5EF4-FFF2-40B4-BE49-F238E27FC236}">
                        <a16:creationId xmlns:a16="http://schemas.microsoft.com/office/drawing/2014/main" id="{B830DFDD-2618-0142-9E3A-BF5E77A307E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42" name="Freeform 23">
                    <a:extLst>
                      <a:ext uri="{FF2B5EF4-FFF2-40B4-BE49-F238E27FC236}">
                        <a16:creationId xmlns:a16="http://schemas.microsoft.com/office/drawing/2014/main" id="{D4583ADC-B873-C94B-C3E4-26852146529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231" name="Freeform 5101">
                  <a:extLst>
                    <a:ext uri="{FF2B5EF4-FFF2-40B4-BE49-F238E27FC236}">
                      <a16:creationId xmlns:a16="http://schemas.microsoft.com/office/drawing/2014/main" id="{24D149BC-5534-149A-A41F-21EE39A5985A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232" name="Freeform 5101">
                  <a:extLst>
                    <a:ext uri="{FF2B5EF4-FFF2-40B4-BE49-F238E27FC236}">
                      <a16:creationId xmlns:a16="http://schemas.microsoft.com/office/drawing/2014/main" id="{EA1066B5-B3BA-4A04-2AB5-2F85D5030966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233" name="Freeform 5101">
                  <a:extLst>
                    <a:ext uri="{FF2B5EF4-FFF2-40B4-BE49-F238E27FC236}">
                      <a16:creationId xmlns:a16="http://schemas.microsoft.com/office/drawing/2014/main" id="{16E2A850-C964-B9D9-A051-B4334CF26966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243" name="Group 242">
                <a:extLst>
                  <a:ext uri="{FF2B5EF4-FFF2-40B4-BE49-F238E27FC236}">
                    <a16:creationId xmlns:a16="http://schemas.microsoft.com/office/drawing/2014/main" id="{77B8AA0F-9707-633F-A86C-23625CD3310F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15451735">
                <a:off x="2308791" y="3198268"/>
                <a:ext cx="142146" cy="391724"/>
                <a:chOff x="5926138" y="3011488"/>
                <a:chExt cx="339725" cy="838200"/>
              </a:xfrm>
            </p:grpSpPr>
            <p:grpSp>
              <p:nvGrpSpPr>
                <p:cNvPr id="244" name="Group 15">
                  <a:extLst>
                    <a:ext uri="{FF2B5EF4-FFF2-40B4-BE49-F238E27FC236}">
                      <a16:creationId xmlns:a16="http://schemas.microsoft.com/office/drawing/2014/main" id="{1B11C0A7-98C2-2D09-0631-115A2D94DE36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248" name="AutoShape 14">
                    <a:extLst>
                      <a:ext uri="{FF2B5EF4-FFF2-40B4-BE49-F238E27FC236}">
                        <a16:creationId xmlns:a16="http://schemas.microsoft.com/office/drawing/2014/main" id="{337B4FCE-3FB1-44B1-56B5-FDA13418D817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49" name="Freeform 16">
                    <a:extLst>
                      <a:ext uri="{FF2B5EF4-FFF2-40B4-BE49-F238E27FC236}">
                        <a16:creationId xmlns:a16="http://schemas.microsoft.com/office/drawing/2014/main" id="{21E91255-6BA4-A1AA-946E-FB51960AA6F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rot="10860552">
                    <a:off x="3740" y="2061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50" name="Freeform 17">
                    <a:extLst>
                      <a:ext uri="{FF2B5EF4-FFF2-40B4-BE49-F238E27FC236}">
                        <a16:creationId xmlns:a16="http://schemas.microsoft.com/office/drawing/2014/main" id="{AD3C882A-1DE5-3787-26D7-9CE251D2F0A3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 rot="10749847"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51" name="Freeform 18">
                    <a:extLst>
                      <a:ext uri="{FF2B5EF4-FFF2-40B4-BE49-F238E27FC236}">
                        <a16:creationId xmlns:a16="http://schemas.microsoft.com/office/drawing/2014/main" id="{4E8196F7-D940-3ED2-CB3B-DD9492DD7CD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52" name="Freeform 19">
                    <a:extLst>
                      <a:ext uri="{FF2B5EF4-FFF2-40B4-BE49-F238E27FC236}">
                        <a16:creationId xmlns:a16="http://schemas.microsoft.com/office/drawing/2014/main" id="{A8F8BB67-07DD-F0A5-03DA-BDEC7AC1E7A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53" name="Freeform 20">
                    <a:extLst>
                      <a:ext uri="{FF2B5EF4-FFF2-40B4-BE49-F238E27FC236}">
                        <a16:creationId xmlns:a16="http://schemas.microsoft.com/office/drawing/2014/main" id="{982504A3-157A-ABC2-FC96-4C406633DCF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54" name="Freeform 21">
                    <a:extLst>
                      <a:ext uri="{FF2B5EF4-FFF2-40B4-BE49-F238E27FC236}">
                        <a16:creationId xmlns:a16="http://schemas.microsoft.com/office/drawing/2014/main" id="{D03D8CCE-12E6-B55A-B4B4-8F929E99F8E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55" name="Freeform 22">
                    <a:extLst>
                      <a:ext uri="{FF2B5EF4-FFF2-40B4-BE49-F238E27FC236}">
                        <a16:creationId xmlns:a16="http://schemas.microsoft.com/office/drawing/2014/main" id="{0B0F1CDA-61B0-36FD-24C4-7EFACF45000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56" name="Freeform 23">
                    <a:extLst>
                      <a:ext uri="{FF2B5EF4-FFF2-40B4-BE49-F238E27FC236}">
                        <a16:creationId xmlns:a16="http://schemas.microsoft.com/office/drawing/2014/main" id="{6E3C697C-FC98-F989-23B5-A76AEB9848C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245" name="Freeform 5101">
                  <a:extLst>
                    <a:ext uri="{FF2B5EF4-FFF2-40B4-BE49-F238E27FC236}">
                      <a16:creationId xmlns:a16="http://schemas.microsoft.com/office/drawing/2014/main" id="{5D24384A-2BED-A6D7-FEC0-385D18131EE7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246" name="Freeform 5101">
                  <a:extLst>
                    <a:ext uri="{FF2B5EF4-FFF2-40B4-BE49-F238E27FC236}">
                      <a16:creationId xmlns:a16="http://schemas.microsoft.com/office/drawing/2014/main" id="{B04D354D-BE77-4932-9E7D-E85B1E8397AD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247" name="Freeform 5101">
                  <a:extLst>
                    <a:ext uri="{FF2B5EF4-FFF2-40B4-BE49-F238E27FC236}">
                      <a16:creationId xmlns:a16="http://schemas.microsoft.com/office/drawing/2014/main" id="{6E4F25DE-4688-19C1-AC9C-A9A41CD845A6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257" name="Group 256">
                <a:extLst>
                  <a:ext uri="{FF2B5EF4-FFF2-40B4-BE49-F238E27FC236}">
                    <a16:creationId xmlns:a16="http://schemas.microsoft.com/office/drawing/2014/main" id="{C8BB7B3E-733B-7CA8-5C23-EA69E265973B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16000317">
                <a:off x="2278132" y="3052673"/>
                <a:ext cx="142146" cy="391724"/>
                <a:chOff x="5926138" y="3011488"/>
                <a:chExt cx="339725" cy="838200"/>
              </a:xfrm>
            </p:grpSpPr>
            <p:grpSp>
              <p:nvGrpSpPr>
                <p:cNvPr id="258" name="Group 15">
                  <a:extLst>
                    <a:ext uri="{FF2B5EF4-FFF2-40B4-BE49-F238E27FC236}">
                      <a16:creationId xmlns:a16="http://schemas.microsoft.com/office/drawing/2014/main" id="{4615EAE1-A274-14FD-B9C6-E52E6C975817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262" name="AutoShape 14">
                    <a:extLst>
                      <a:ext uri="{FF2B5EF4-FFF2-40B4-BE49-F238E27FC236}">
                        <a16:creationId xmlns:a16="http://schemas.microsoft.com/office/drawing/2014/main" id="{E2079F62-8C3D-76FE-14B1-3B4E5873104D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63" name="Freeform 16">
                    <a:extLst>
                      <a:ext uri="{FF2B5EF4-FFF2-40B4-BE49-F238E27FC236}">
                        <a16:creationId xmlns:a16="http://schemas.microsoft.com/office/drawing/2014/main" id="{5CC15E1F-4D9B-2697-2335-1D6A1A5D3EB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rot="10860552">
                    <a:off x="3740" y="2061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64" name="Freeform 17">
                    <a:extLst>
                      <a:ext uri="{FF2B5EF4-FFF2-40B4-BE49-F238E27FC236}">
                        <a16:creationId xmlns:a16="http://schemas.microsoft.com/office/drawing/2014/main" id="{95B5F72F-2E59-EFBB-90FB-3D370449C841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 rot="10749847"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65" name="Freeform 18">
                    <a:extLst>
                      <a:ext uri="{FF2B5EF4-FFF2-40B4-BE49-F238E27FC236}">
                        <a16:creationId xmlns:a16="http://schemas.microsoft.com/office/drawing/2014/main" id="{7F001B78-D23F-2A3D-337E-D5E61D64973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66" name="Freeform 19">
                    <a:extLst>
                      <a:ext uri="{FF2B5EF4-FFF2-40B4-BE49-F238E27FC236}">
                        <a16:creationId xmlns:a16="http://schemas.microsoft.com/office/drawing/2014/main" id="{E450EC56-1E7E-DE4F-5699-0ED059F3439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67" name="Freeform 20">
                    <a:extLst>
                      <a:ext uri="{FF2B5EF4-FFF2-40B4-BE49-F238E27FC236}">
                        <a16:creationId xmlns:a16="http://schemas.microsoft.com/office/drawing/2014/main" id="{D53903C5-B054-F5E8-1563-15D475F0376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68" name="Freeform 21">
                    <a:extLst>
                      <a:ext uri="{FF2B5EF4-FFF2-40B4-BE49-F238E27FC236}">
                        <a16:creationId xmlns:a16="http://schemas.microsoft.com/office/drawing/2014/main" id="{6647BDD1-99E1-F461-7DF6-622571243FD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69" name="Freeform 22">
                    <a:extLst>
                      <a:ext uri="{FF2B5EF4-FFF2-40B4-BE49-F238E27FC236}">
                        <a16:creationId xmlns:a16="http://schemas.microsoft.com/office/drawing/2014/main" id="{6D1132A8-9D1C-7016-0230-52F007D7858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70" name="Freeform 23">
                    <a:extLst>
                      <a:ext uri="{FF2B5EF4-FFF2-40B4-BE49-F238E27FC236}">
                        <a16:creationId xmlns:a16="http://schemas.microsoft.com/office/drawing/2014/main" id="{663BD3F5-C9E2-ECCA-8C25-5594C59AE1C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259" name="Freeform 5101">
                  <a:extLst>
                    <a:ext uri="{FF2B5EF4-FFF2-40B4-BE49-F238E27FC236}">
                      <a16:creationId xmlns:a16="http://schemas.microsoft.com/office/drawing/2014/main" id="{385FF58F-0875-B8D2-32AC-D1AA91BB8BAA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260" name="Freeform 5101">
                  <a:extLst>
                    <a:ext uri="{FF2B5EF4-FFF2-40B4-BE49-F238E27FC236}">
                      <a16:creationId xmlns:a16="http://schemas.microsoft.com/office/drawing/2014/main" id="{C9F639CE-2F29-8B48-B95F-FB89AB91C990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261" name="Freeform 5101">
                  <a:extLst>
                    <a:ext uri="{FF2B5EF4-FFF2-40B4-BE49-F238E27FC236}">
                      <a16:creationId xmlns:a16="http://schemas.microsoft.com/office/drawing/2014/main" id="{F0F25C8F-208D-9ED2-D943-23F1A8E25851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271" name="Group 270">
                <a:extLst>
                  <a:ext uri="{FF2B5EF4-FFF2-40B4-BE49-F238E27FC236}">
                    <a16:creationId xmlns:a16="http://schemas.microsoft.com/office/drawing/2014/main" id="{1C8E5218-897D-7373-169D-B9BB700034E1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17705738">
                <a:off x="2356656" y="2477547"/>
                <a:ext cx="142146" cy="391724"/>
                <a:chOff x="5926138" y="3011488"/>
                <a:chExt cx="339725" cy="838200"/>
              </a:xfrm>
            </p:grpSpPr>
            <p:grpSp>
              <p:nvGrpSpPr>
                <p:cNvPr id="272" name="Group 15">
                  <a:extLst>
                    <a:ext uri="{FF2B5EF4-FFF2-40B4-BE49-F238E27FC236}">
                      <a16:creationId xmlns:a16="http://schemas.microsoft.com/office/drawing/2014/main" id="{D9DB1824-5658-39BC-D5B4-C630D6064458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276" name="AutoShape 14">
                    <a:extLst>
                      <a:ext uri="{FF2B5EF4-FFF2-40B4-BE49-F238E27FC236}">
                        <a16:creationId xmlns:a16="http://schemas.microsoft.com/office/drawing/2014/main" id="{8EFCCB1F-480A-1816-67A7-F7847C4F2C4C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77" name="Freeform 16">
                    <a:extLst>
                      <a:ext uri="{FF2B5EF4-FFF2-40B4-BE49-F238E27FC236}">
                        <a16:creationId xmlns:a16="http://schemas.microsoft.com/office/drawing/2014/main" id="{9EB41E8E-E7F5-A9C6-3947-D534850DC7A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rot="10860552">
                    <a:off x="3740" y="2061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78" name="Freeform 17">
                    <a:extLst>
                      <a:ext uri="{FF2B5EF4-FFF2-40B4-BE49-F238E27FC236}">
                        <a16:creationId xmlns:a16="http://schemas.microsoft.com/office/drawing/2014/main" id="{4364A0FC-DDE7-C5D3-BEA7-B87EF832C7FA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 rot="10749847"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79" name="Freeform 18">
                    <a:extLst>
                      <a:ext uri="{FF2B5EF4-FFF2-40B4-BE49-F238E27FC236}">
                        <a16:creationId xmlns:a16="http://schemas.microsoft.com/office/drawing/2014/main" id="{B4772160-851B-C0C9-6CBE-A83A84182D9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80" name="Freeform 19">
                    <a:extLst>
                      <a:ext uri="{FF2B5EF4-FFF2-40B4-BE49-F238E27FC236}">
                        <a16:creationId xmlns:a16="http://schemas.microsoft.com/office/drawing/2014/main" id="{B47C0129-ECD9-5F8C-2382-EF523B20161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81" name="Freeform 20">
                    <a:extLst>
                      <a:ext uri="{FF2B5EF4-FFF2-40B4-BE49-F238E27FC236}">
                        <a16:creationId xmlns:a16="http://schemas.microsoft.com/office/drawing/2014/main" id="{2EEC6D2E-39D1-1D5F-C0DF-AE85DCD39B6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82" name="Freeform 21">
                    <a:extLst>
                      <a:ext uri="{FF2B5EF4-FFF2-40B4-BE49-F238E27FC236}">
                        <a16:creationId xmlns:a16="http://schemas.microsoft.com/office/drawing/2014/main" id="{3F1A7C78-B010-DE96-131E-18CE345FAA9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83" name="Freeform 22">
                    <a:extLst>
                      <a:ext uri="{FF2B5EF4-FFF2-40B4-BE49-F238E27FC236}">
                        <a16:creationId xmlns:a16="http://schemas.microsoft.com/office/drawing/2014/main" id="{D0144A80-3F7D-5C6D-6554-76E440C71AE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84" name="Freeform 23">
                    <a:extLst>
                      <a:ext uri="{FF2B5EF4-FFF2-40B4-BE49-F238E27FC236}">
                        <a16:creationId xmlns:a16="http://schemas.microsoft.com/office/drawing/2014/main" id="{C10FC0D6-3FB6-FF52-0F0D-BE0D34841C6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273" name="Freeform 5101">
                  <a:extLst>
                    <a:ext uri="{FF2B5EF4-FFF2-40B4-BE49-F238E27FC236}">
                      <a16:creationId xmlns:a16="http://schemas.microsoft.com/office/drawing/2014/main" id="{DB3EFCA4-19AC-4903-481D-85F9C0C9AAE9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274" name="Freeform 5101">
                  <a:extLst>
                    <a:ext uri="{FF2B5EF4-FFF2-40B4-BE49-F238E27FC236}">
                      <a16:creationId xmlns:a16="http://schemas.microsoft.com/office/drawing/2014/main" id="{54D6D980-8C03-DF2C-93AF-51EE7AF4F600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275" name="Freeform 5101">
                  <a:extLst>
                    <a:ext uri="{FF2B5EF4-FFF2-40B4-BE49-F238E27FC236}">
                      <a16:creationId xmlns:a16="http://schemas.microsoft.com/office/drawing/2014/main" id="{446EDD50-EE95-F14B-9957-A50E6093D74B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285" name="Group 284">
                <a:extLst>
                  <a:ext uri="{FF2B5EF4-FFF2-40B4-BE49-F238E27FC236}">
                    <a16:creationId xmlns:a16="http://schemas.microsoft.com/office/drawing/2014/main" id="{5E379ABD-3FAE-BB1A-1BB2-82631A74572A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18168153">
                <a:off x="2425481" y="2342245"/>
                <a:ext cx="142146" cy="391724"/>
                <a:chOff x="5926138" y="3011488"/>
                <a:chExt cx="339725" cy="838200"/>
              </a:xfrm>
            </p:grpSpPr>
            <p:grpSp>
              <p:nvGrpSpPr>
                <p:cNvPr id="286" name="Group 15">
                  <a:extLst>
                    <a:ext uri="{FF2B5EF4-FFF2-40B4-BE49-F238E27FC236}">
                      <a16:creationId xmlns:a16="http://schemas.microsoft.com/office/drawing/2014/main" id="{9769CF43-C364-C114-B977-3BC718C14BCB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290" name="AutoShape 14">
                    <a:extLst>
                      <a:ext uri="{FF2B5EF4-FFF2-40B4-BE49-F238E27FC236}">
                        <a16:creationId xmlns:a16="http://schemas.microsoft.com/office/drawing/2014/main" id="{A6E6CF09-F217-D7E9-8A59-02B6F9B1A3E0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91" name="Freeform 16">
                    <a:extLst>
                      <a:ext uri="{FF2B5EF4-FFF2-40B4-BE49-F238E27FC236}">
                        <a16:creationId xmlns:a16="http://schemas.microsoft.com/office/drawing/2014/main" id="{B6A052CD-9CFE-8350-ABD4-1297E587927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rot="10860552">
                    <a:off x="3740" y="2061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92" name="Freeform 17">
                    <a:extLst>
                      <a:ext uri="{FF2B5EF4-FFF2-40B4-BE49-F238E27FC236}">
                        <a16:creationId xmlns:a16="http://schemas.microsoft.com/office/drawing/2014/main" id="{088D8467-E8B1-FE6C-9C22-24E44492A697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 rot="10749847"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93" name="Freeform 18">
                    <a:extLst>
                      <a:ext uri="{FF2B5EF4-FFF2-40B4-BE49-F238E27FC236}">
                        <a16:creationId xmlns:a16="http://schemas.microsoft.com/office/drawing/2014/main" id="{9E845997-0395-1EF1-EA63-C6536E646AC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94" name="Freeform 19">
                    <a:extLst>
                      <a:ext uri="{FF2B5EF4-FFF2-40B4-BE49-F238E27FC236}">
                        <a16:creationId xmlns:a16="http://schemas.microsoft.com/office/drawing/2014/main" id="{642A2A3C-8F4E-884A-7057-C7B88ECEBF1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95" name="Freeform 20">
                    <a:extLst>
                      <a:ext uri="{FF2B5EF4-FFF2-40B4-BE49-F238E27FC236}">
                        <a16:creationId xmlns:a16="http://schemas.microsoft.com/office/drawing/2014/main" id="{CC260A46-F5EE-CD73-3791-F0B138C8E4D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96" name="Freeform 21">
                    <a:extLst>
                      <a:ext uri="{FF2B5EF4-FFF2-40B4-BE49-F238E27FC236}">
                        <a16:creationId xmlns:a16="http://schemas.microsoft.com/office/drawing/2014/main" id="{154FEE4A-225F-F5FB-88FB-9848C46538D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97" name="Freeform 22">
                    <a:extLst>
                      <a:ext uri="{FF2B5EF4-FFF2-40B4-BE49-F238E27FC236}">
                        <a16:creationId xmlns:a16="http://schemas.microsoft.com/office/drawing/2014/main" id="{D33136F0-17A1-37C3-052E-4A0A4983221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98" name="Freeform 23">
                    <a:extLst>
                      <a:ext uri="{FF2B5EF4-FFF2-40B4-BE49-F238E27FC236}">
                        <a16:creationId xmlns:a16="http://schemas.microsoft.com/office/drawing/2014/main" id="{896D1BB5-1543-6A9B-F4E3-71DC1B55CCB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287" name="Freeform 5101">
                  <a:extLst>
                    <a:ext uri="{FF2B5EF4-FFF2-40B4-BE49-F238E27FC236}">
                      <a16:creationId xmlns:a16="http://schemas.microsoft.com/office/drawing/2014/main" id="{CAAF4D25-D11C-CAA3-A0B0-78F0C742AD5A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288" name="Freeform 5101">
                  <a:extLst>
                    <a:ext uri="{FF2B5EF4-FFF2-40B4-BE49-F238E27FC236}">
                      <a16:creationId xmlns:a16="http://schemas.microsoft.com/office/drawing/2014/main" id="{FF0C30AF-563B-3741-8F56-8D010B5DEC4F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289" name="Freeform 5101">
                  <a:extLst>
                    <a:ext uri="{FF2B5EF4-FFF2-40B4-BE49-F238E27FC236}">
                      <a16:creationId xmlns:a16="http://schemas.microsoft.com/office/drawing/2014/main" id="{34C11B72-5DA8-6EE4-04D6-684B70C71D8E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299" name="Group 298">
                <a:extLst>
                  <a:ext uri="{FF2B5EF4-FFF2-40B4-BE49-F238E27FC236}">
                    <a16:creationId xmlns:a16="http://schemas.microsoft.com/office/drawing/2014/main" id="{1F530C53-7FAD-F535-8559-1801A71CA26F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18774361">
                <a:off x="2527698" y="2221577"/>
                <a:ext cx="142146" cy="391724"/>
                <a:chOff x="5926138" y="3011488"/>
                <a:chExt cx="339725" cy="838200"/>
              </a:xfrm>
            </p:grpSpPr>
            <p:grpSp>
              <p:nvGrpSpPr>
                <p:cNvPr id="300" name="Group 15">
                  <a:extLst>
                    <a:ext uri="{FF2B5EF4-FFF2-40B4-BE49-F238E27FC236}">
                      <a16:creationId xmlns:a16="http://schemas.microsoft.com/office/drawing/2014/main" id="{AEE24E2D-FF2C-0310-EFF1-97FAEEA6A11A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304" name="AutoShape 14">
                    <a:extLst>
                      <a:ext uri="{FF2B5EF4-FFF2-40B4-BE49-F238E27FC236}">
                        <a16:creationId xmlns:a16="http://schemas.microsoft.com/office/drawing/2014/main" id="{E1D18B2F-EB2E-6F69-447E-D2E78BCE962C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05" name="Freeform 16">
                    <a:extLst>
                      <a:ext uri="{FF2B5EF4-FFF2-40B4-BE49-F238E27FC236}">
                        <a16:creationId xmlns:a16="http://schemas.microsoft.com/office/drawing/2014/main" id="{55C06B3B-8421-A8F1-9F22-7BE84DFAC61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rot="10860552">
                    <a:off x="3740" y="2061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06" name="Freeform 17">
                    <a:extLst>
                      <a:ext uri="{FF2B5EF4-FFF2-40B4-BE49-F238E27FC236}">
                        <a16:creationId xmlns:a16="http://schemas.microsoft.com/office/drawing/2014/main" id="{D40B1615-D939-33FE-EC2E-8E8B7F483037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 rot="10749847"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07" name="Freeform 18">
                    <a:extLst>
                      <a:ext uri="{FF2B5EF4-FFF2-40B4-BE49-F238E27FC236}">
                        <a16:creationId xmlns:a16="http://schemas.microsoft.com/office/drawing/2014/main" id="{0E99296B-ADBA-7D47-A735-A5A7F06C70E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08" name="Freeform 19">
                    <a:extLst>
                      <a:ext uri="{FF2B5EF4-FFF2-40B4-BE49-F238E27FC236}">
                        <a16:creationId xmlns:a16="http://schemas.microsoft.com/office/drawing/2014/main" id="{D7CCBF1C-91E2-4B03-42AD-46BEA2FA532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09" name="Freeform 20">
                    <a:extLst>
                      <a:ext uri="{FF2B5EF4-FFF2-40B4-BE49-F238E27FC236}">
                        <a16:creationId xmlns:a16="http://schemas.microsoft.com/office/drawing/2014/main" id="{21548950-E03B-33A2-A24E-1EC5B3AFCE4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10" name="Freeform 21">
                    <a:extLst>
                      <a:ext uri="{FF2B5EF4-FFF2-40B4-BE49-F238E27FC236}">
                        <a16:creationId xmlns:a16="http://schemas.microsoft.com/office/drawing/2014/main" id="{4BCC11C7-B1CB-B3B0-7C5A-C233948F932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11" name="Freeform 22">
                    <a:extLst>
                      <a:ext uri="{FF2B5EF4-FFF2-40B4-BE49-F238E27FC236}">
                        <a16:creationId xmlns:a16="http://schemas.microsoft.com/office/drawing/2014/main" id="{3D328519-3D77-37A4-9BF7-0AE0F6BBE93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12" name="Freeform 23">
                    <a:extLst>
                      <a:ext uri="{FF2B5EF4-FFF2-40B4-BE49-F238E27FC236}">
                        <a16:creationId xmlns:a16="http://schemas.microsoft.com/office/drawing/2014/main" id="{921AC5D9-C1EF-C7C4-401A-7504DF26AAA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301" name="Freeform 5101">
                  <a:extLst>
                    <a:ext uri="{FF2B5EF4-FFF2-40B4-BE49-F238E27FC236}">
                      <a16:creationId xmlns:a16="http://schemas.microsoft.com/office/drawing/2014/main" id="{DC533E2B-CAF0-7100-D84A-E82B3AE38C72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302" name="Freeform 5101">
                  <a:extLst>
                    <a:ext uri="{FF2B5EF4-FFF2-40B4-BE49-F238E27FC236}">
                      <a16:creationId xmlns:a16="http://schemas.microsoft.com/office/drawing/2014/main" id="{E10919C1-45E2-8F08-7703-ED472A6F40B4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303" name="Freeform 5101">
                  <a:extLst>
                    <a:ext uri="{FF2B5EF4-FFF2-40B4-BE49-F238E27FC236}">
                      <a16:creationId xmlns:a16="http://schemas.microsoft.com/office/drawing/2014/main" id="{FB025E1F-AFE1-5825-B17E-675AA7424658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313" name="Group 312">
                <a:extLst>
                  <a:ext uri="{FF2B5EF4-FFF2-40B4-BE49-F238E27FC236}">
                    <a16:creationId xmlns:a16="http://schemas.microsoft.com/office/drawing/2014/main" id="{0E3C9EAA-8727-C258-F939-4146FBE8D4DB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19259866">
                <a:off x="2635624" y="2136459"/>
                <a:ext cx="161379" cy="345037"/>
                <a:chOff x="5926138" y="3011488"/>
                <a:chExt cx="339725" cy="838200"/>
              </a:xfrm>
            </p:grpSpPr>
            <p:grpSp>
              <p:nvGrpSpPr>
                <p:cNvPr id="314" name="Group 15">
                  <a:extLst>
                    <a:ext uri="{FF2B5EF4-FFF2-40B4-BE49-F238E27FC236}">
                      <a16:creationId xmlns:a16="http://schemas.microsoft.com/office/drawing/2014/main" id="{68AD19AF-0248-389B-9736-4B1F03C93C09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318" name="AutoShape 14">
                    <a:extLst>
                      <a:ext uri="{FF2B5EF4-FFF2-40B4-BE49-F238E27FC236}">
                        <a16:creationId xmlns:a16="http://schemas.microsoft.com/office/drawing/2014/main" id="{80A1A36E-15D0-885E-799D-DCDDCB3C6E47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19" name="Freeform 16">
                    <a:extLst>
                      <a:ext uri="{FF2B5EF4-FFF2-40B4-BE49-F238E27FC236}">
                        <a16:creationId xmlns:a16="http://schemas.microsoft.com/office/drawing/2014/main" id="{E558AA4D-5D6D-0475-2337-368AE18B576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rot="10860552">
                    <a:off x="3740" y="2061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20" name="Freeform 17">
                    <a:extLst>
                      <a:ext uri="{FF2B5EF4-FFF2-40B4-BE49-F238E27FC236}">
                        <a16:creationId xmlns:a16="http://schemas.microsoft.com/office/drawing/2014/main" id="{CA5C7015-D22E-091E-519A-6062B56F49EB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 rot="10749847"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21" name="Freeform 18">
                    <a:extLst>
                      <a:ext uri="{FF2B5EF4-FFF2-40B4-BE49-F238E27FC236}">
                        <a16:creationId xmlns:a16="http://schemas.microsoft.com/office/drawing/2014/main" id="{FE4A5CF8-AE7E-7419-6F99-7B7ED14AF60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22" name="Freeform 19">
                    <a:extLst>
                      <a:ext uri="{FF2B5EF4-FFF2-40B4-BE49-F238E27FC236}">
                        <a16:creationId xmlns:a16="http://schemas.microsoft.com/office/drawing/2014/main" id="{7343B9E4-2DFF-9496-7FFF-6AB4C4C2F6D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23" name="Freeform 20">
                    <a:extLst>
                      <a:ext uri="{FF2B5EF4-FFF2-40B4-BE49-F238E27FC236}">
                        <a16:creationId xmlns:a16="http://schemas.microsoft.com/office/drawing/2014/main" id="{6D622CA8-7A5D-C68A-894F-AD9FA9C0E51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24" name="Freeform 21">
                    <a:extLst>
                      <a:ext uri="{FF2B5EF4-FFF2-40B4-BE49-F238E27FC236}">
                        <a16:creationId xmlns:a16="http://schemas.microsoft.com/office/drawing/2014/main" id="{825CF5D8-244D-56FA-2D53-9C780D319BC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25" name="Freeform 22">
                    <a:extLst>
                      <a:ext uri="{FF2B5EF4-FFF2-40B4-BE49-F238E27FC236}">
                        <a16:creationId xmlns:a16="http://schemas.microsoft.com/office/drawing/2014/main" id="{44FA94D5-2BD9-A100-C61A-3BB22816721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26" name="Freeform 23">
                    <a:extLst>
                      <a:ext uri="{FF2B5EF4-FFF2-40B4-BE49-F238E27FC236}">
                        <a16:creationId xmlns:a16="http://schemas.microsoft.com/office/drawing/2014/main" id="{1C2628F5-97E5-7815-79B0-3C8B79C6EFC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315" name="Freeform 5101">
                  <a:extLst>
                    <a:ext uri="{FF2B5EF4-FFF2-40B4-BE49-F238E27FC236}">
                      <a16:creationId xmlns:a16="http://schemas.microsoft.com/office/drawing/2014/main" id="{57DAEE9D-1CB3-70EC-EFFB-8F275795D432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316" name="Freeform 5101">
                  <a:extLst>
                    <a:ext uri="{FF2B5EF4-FFF2-40B4-BE49-F238E27FC236}">
                      <a16:creationId xmlns:a16="http://schemas.microsoft.com/office/drawing/2014/main" id="{AA68179F-9163-3928-A8DE-80526101F9E3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317" name="Freeform 5101">
                  <a:extLst>
                    <a:ext uri="{FF2B5EF4-FFF2-40B4-BE49-F238E27FC236}">
                      <a16:creationId xmlns:a16="http://schemas.microsoft.com/office/drawing/2014/main" id="{4A676438-71FC-4347-EF02-6AFACBAD5442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327" name="Group 326">
                <a:extLst>
                  <a:ext uri="{FF2B5EF4-FFF2-40B4-BE49-F238E27FC236}">
                    <a16:creationId xmlns:a16="http://schemas.microsoft.com/office/drawing/2014/main" id="{6C7D29E5-1B35-BD2F-898F-37EE57FBDBC3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19740804">
                <a:off x="2769827" y="2044489"/>
                <a:ext cx="161379" cy="345037"/>
                <a:chOff x="5926138" y="3011488"/>
                <a:chExt cx="339725" cy="838200"/>
              </a:xfrm>
            </p:grpSpPr>
            <p:grpSp>
              <p:nvGrpSpPr>
                <p:cNvPr id="328" name="Group 15">
                  <a:extLst>
                    <a:ext uri="{FF2B5EF4-FFF2-40B4-BE49-F238E27FC236}">
                      <a16:creationId xmlns:a16="http://schemas.microsoft.com/office/drawing/2014/main" id="{C1D17C5F-70D7-5C54-A18C-E72F1CDA2ADB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332" name="AutoShape 14">
                    <a:extLst>
                      <a:ext uri="{FF2B5EF4-FFF2-40B4-BE49-F238E27FC236}">
                        <a16:creationId xmlns:a16="http://schemas.microsoft.com/office/drawing/2014/main" id="{DDD84582-B200-C0CB-0D56-DBF83D71179C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33" name="Freeform 16">
                    <a:extLst>
                      <a:ext uri="{FF2B5EF4-FFF2-40B4-BE49-F238E27FC236}">
                        <a16:creationId xmlns:a16="http://schemas.microsoft.com/office/drawing/2014/main" id="{FA743578-82F2-B365-DDDE-11B265ADF85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rot="10860552">
                    <a:off x="3740" y="2061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34" name="Freeform 17">
                    <a:extLst>
                      <a:ext uri="{FF2B5EF4-FFF2-40B4-BE49-F238E27FC236}">
                        <a16:creationId xmlns:a16="http://schemas.microsoft.com/office/drawing/2014/main" id="{C959D1AC-1087-26B7-7A78-9F3DB22D87A9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 rot="10749847"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35" name="Freeform 18">
                    <a:extLst>
                      <a:ext uri="{FF2B5EF4-FFF2-40B4-BE49-F238E27FC236}">
                        <a16:creationId xmlns:a16="http://schemas.microsoft.com/office/drawing/2014/main" id="{85957073-29E8-72BA-6E33-80B5460C87D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36" name="Freeform 19">
                    <a:extLst>
                      <a:ext uri="{FF2B5EF4-FFF2-40B4-BE49-F238E27FC236}">
                        <a16:creationId xmlns:a16="http://schemas.microsoft.com/office/drawing/2014/main" id="{B3853BD0-2FCB-C19A-E325-A53D866C825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37" name="Freeform 20">
                    <a:extLst>
                      <a:ext uri="{FF2B5EF4-FFF2-40B4-BE49-F238E27FC236}">
                        <a16:creationId xmlns:a16="http://schemas.microsoft.com/office/drawing/2014/main" id="{22BC4C28-6DE4-0D64-E1FF-392D6CF035E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38" name="Freeform 21">
                    <a:extLst>
                      <a:ext uri="{FF2B5EF4-FFF2-40B4-BE49-F238E27FC236}">
                        <a16:creationId xmlns:a16="http://schemas.microsoft.com/office/drawing/2014/main" id="{4B2BCE99-9B44-E5A3-579B-A52590E0144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39" name="Freeform 22">
                    <a:extLst>
                      <a:ext uri="{FF2B5EF4-FFF2-40B4-BE49-F238E27FC236}">
                        <a16:creationId xmlns:a16="http://schemas.microsoft.com/office/drawing/2014/main" id="{F0E418E9-B11A-8045-3584-772C065AE11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40" name="Freeform 23">
                    <a:extLst>
                      <a:ext uri="{FF2B5EF4-FFF2-40B4-BE49-F238E27FC236}">
                        <a16:creationId xmlns:a16="http://schemas.microsoft.com/office/drawing/2014/main" id="{8C778403-D42D-3118-3B38-07686448219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329" name="Freeform 5101">
                  <a:extLst>
                    <a:ext uri="{FF2B5EF4-FFF2-40B4-BE49-F238E27FC236}">
                      <a16:creationId xmlns:a16="http://schemas.microsoft.com/office/drawing/2014/main" id="{2E5FBD52-9107-222E-6059-BA9616ECC06F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330" name="Freeform 5101">
                  <a:extLst>
                    <a:ext uri="{FF2B5EF4-FFF2-40B4-BE49-F238E27FC236}">
                      <a16:creationId xmlns:a16="http://schemas.microsoft.com/office/drawing/2014/main" id="{650E3A59-1647-6BB7-D394-011031D9B3F8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331" name="Freeform 5101">
                  <a:extLst>
                    <a:ext uri="{FF2B5EF4-FFF2-40B4-BE49-F238E27FC236}">
                      <a16:creationId xmlns:a16="http://schemas.microsoft.com/office/drawing/2014/main" id="{D2A456CE-01A5-AE6D-4FCB-4AB52A7E8C3E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341" name="Group 340">
                <a:extLst>
                  <a:ext uri="{FF2B5EF4-FFF2-40B4-BE49-F238E27FC236}">
                    <a16:creationId xmlns:a16="http://schemas.microsoft.com/office/drawing/2014/main" id="{572E375B-2AA8-B7FE-A84C-753F99FF3C61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20816364">
                <a:off x="3084182" y="1924629"/>
                <a:ext cx="161379" cy="345037"/>
                <a:chOff x="5926138" y="3011488"/>
                <a:chExt cx="339725" cy="838200"/>
              </a:xfrm>
            </p:grpSpPr>
            <p:grpSp>
              <p:nvGrpSpPr>
                <p:cNvPr id="342" name="Group 15">
                  <a:extLst>
                    <a:ext uri="{FF2B5EF4-FFF2-40B4-BE49-F238E27FC236}">
                      <a16:creationId xmlns:a16="http://schemas.microsoft.com/office/drawing/2014/main" id="{D8362F97-7177-FD9F-6C9C-DB44C5DDF426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346" name="AutoShape 14">
                    <a:extLst>
                      <a:ext uri="{FF2B5EF4-FFF2-40B4-BE49-F238E27FC236}">
                        <a16:creationId xmlns:a16="http://schemas.microsoft.com/office/drawing/2014/main" id="{9F372AF2-1FF1-B60F-312D-0C21BDF40A6F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47" name="Freeform 16">
                    <a:extLst>
                      <a:ext uri="{FF2B5EF4-FFF2-40B4-BE49-F238E27FC236}">
                        <a16:creationId xmlns:a16="http://schemas.microsoft.com/office/drawing/2014/main" id="{B7D0AFA3-2654-E592-69F4-33DE6DBCC80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rot="10860552">
                    <a:off x="3740" y="2061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48" name="Freeform 17">
                    <a:extLst>
                      <a:ext uri="{FF2B5EF4-FFF2-40B4-BE49-F238E27FC236}">
                        <a16:creationId xmlns:a16="http://schemas.microsoft.com/office/drawing/2014/main" id="{31CE4DCF-DE0B-4B0D-B660-6E8988AD412D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 rot="10749847"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49" name="Freeform 18">
                    <a:extLst>
                      <a:ext uri="{FF2B5EF4-FFF2-40B4-BE49-F238E27FC236}">
                        <a16:creationId xmlns:a16="http://schemas.microsoft.com/office/drawing/2014/main" id="{5A23CEA2-4417-30F0-3BB7-1CED95F3C9C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50" name="Freeform 19">
                    <a:extLst>
                      <a:ext uri="{FF2B5EF4-FFF2-40B4-BE49-F238E27FC236}">
                        <a16:creationId xmlns:a16="http://schemas.microsoft.com/office/drawing/2014/main" id="{F23DFC33-4BDC-9AA4-4AA2-307D159ECA9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51" name="Freeform 20">
                    <a:extLst>
                      <a:ext uri="{FF2B5EF4-FFF2-40B4-BE49-F238E27FC236}">
                        <a16:creationId xmlns:a16="http://schemas.microsoft.com/office/drawing/2014/main" id="{C66F19B0-ABB1-BE12-2192-765A7C0F329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52" name="Freeform 21">
                    <a:extLst>
                      <a:ext uri="{FF2B5EF4-FFF2-40B4-BE49-F238E27FC236}">
                        <a16:creationId xmlns:a16="http://schemas.microsoft.com/office/drawing/2014/main" id="{6AD6CCD4-36C0-93A1-0B43-C044542603B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53" name="Freeform 22">
                    <a:extLst>
                      <a:ext uri="{FF2B5EF4-FFF2-40B4-BE49-F238E27FC236}">
                        <a16:creationId xmlns:a16="http://schemas.microsoft.com/office/drawing/2014/main" id="{3E0BB2A3-1ED1-C1C8-2709-8B22660AABF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54" name="Freeform 23">
                    <a:extLst>
                      <a:ext uri="{FF2B5EF4-FFF2-40B4-BE49-F238E27FC236}">
                        <a16:creationId xmlns:a16="http://schemas.microsoft.com/office/drawing/2014/main" id="{75BFA38C-4C31-F465-3B44-BDE8F20D95E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343" name="Freeform 5101">
                  <a:extLst>
                    <a:ext uri="{FF2B5EF4-FFF2-40B4-BE49-F238E27FC236}">
                      <a16:creationId xmlns:a16="http://schemas.microsoft.com/office/drawing/2014/main" id="{C2AE3D34-A97A-77CC-A576-73E5CD5D5BF4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344" name="Freeform 5101">
                  <a:extLst>
                    <a:ext uri="{FF2B5EF4-FFF2-40B4-BE49-F238E27FC236}">
                      <a16:creationId xmlns:a16="http://schemas.microsoft.com/office/drawing/2014/main" id="{4FAE314E-7515-5407-6C8C-4E1EDAB7246A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345" name="Freeform 5101">
                  <a:extLst>
                    <a:ext uri="{FF2B5EF4-FFF2-40B4-BE49-F238E27FC236}">
                      <a16:creationId xmlns:a16="http://schemas.microsoft.com/office/drawing/2014/main" id="{D4B487F8-3BFD-8AC5-CA2E-59470230730C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355" name="Group 354">
                <a:extLst>
                  <a:ext uri="{FF2B5EF4-FFF2-40B4-BE49-F238E27FC236}">
                    <a16:creationId xmlns:a16="http://schemas.microsoft.com/office/drawing/2014/main" id="{9F26F98A-06DA-A29F-A595-96A6D1180B2F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21134633">
                <a:off x="3243553" y="1895686"/>
                <a:ext cx="161379" cy="345037"/>
                <a:chOff x="5926138" y="3011488"/>
                <a:chExt cx="339725" cy="838200"/>
              </a:xfrm>
            </p:grpSpPr>
            <p:grpSp>
              <p:nvGrpSpPr>
                <p:cNvPr id="356" name="Group 15">
                  <a:extLst>
                    <a:ext uri="{FF2B5EF4-FFF2-40B4-BE49-F238E27FC236}">
                      <a16:creationId xmlns:a16="http://schemas.microsoft.com/office/drawing/2014/main" id="{CF0C4E9C-A320-1A78-AB49-53E41046BB59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360" name="AutoShape 14">
                    <a:extLst>
                      <a:ext uri="{FF2B5EF4-FFF2-40B4-BE49-F238E27FC236}">
                        <a16:creationId xmlns:a16="http://schemas.microsoft.com/office/drawing/2014/main" id="{21DDBEF2-0554-2A11-A9C1-B62D6E43D63C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61" name="Freeform 16">
                    <a:extLst>
                      <a:ext uri="{FF2B5EF4-FFF2-40B4-BE49-F238E27FC236}">
                        <a16:creationId xmlns:a16="http://schemas.microsoft.com/office/drawing/2014/main" id="{F365A79B-C4F7-7FC9-FB90-C097B67E0F6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rot="10860552">
                    <a:off x="3740" y="2061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62" name="Freeform 17">
                    <a:extLst>
                      <a:ext uri="{FF2B5EF4-FFF2-40B4-BE49-F238E27FC236}">
                        <a16:creationId xmlns:a16="http://schemas.microsoft.com/office/drawing/2014/main" id="{B00E300A-1E08-D19E-5A0C-E3FAD7AFB052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 rot="10749847"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63" name="Freeform 18">
                    <a:extLst>
                      <a:ext uri="{FF2B5EF4-FFF2-40B4-BE49-F238E27FC236}">
                        <a16:creationId xmlns:a16="http://schemas.microsoft.com/office/drawing/2014/main" id="{9E51EEBC-5276-EFB7-E179-258F1867715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64" name="Freeform 19">
                    <a:extLst>
                      <a:ext uri="{FF2B5EF4-FFF2-40B4-BE49-F238E27FC236}">
                        <a16:creationId xmlns:a16="http://schemas.microsoft.com/office/drawing/2014/main" id="{7069B982-9887-1C11-8DB8-CB3634595C3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65" name="Freeform 20">
                    <a:extLst>
                      <a:ext uri="{FF2B5EF4-FFF2-40B4-BE49-F238E27FC236}">
                        <a16:creationId xmlns:a16="http://schemas.microsoft.com/office/drawing/2014/main" id="{B2EB9515-E276-1E1C-6F4C-52615B76F2C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66" name="Freeform 21">
                    <a:extLst>
                      <a:ext uri="{FF2B5EF4-FFF2-40B4-BE49-F238E27FC236}">
                        <a16:creationId xmlns:a16="http://schemas.microsoft.com/office/drawing/2014/main" id="{988E310E-330B-7E87-5A43-5990A9E4AFF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67" name="Freeform 22">
                    <a:extLst>
                      <a:ext uri="{FF2B5EF4-FFF2-40B4-BE49-F238E27FC236}">
                        <a16:creationId xmlns:a16="http://schemas.microsoft.com/office/drawing/2014/main" id="{F83BD3FF-344F-19ED-AC80-157F2675D1D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68" name="Freeform 23">
                    <a:extLst>
                      <a:ext uri="{FF2B5EF4-FFF2-40B4-BE49-F238E27FC236}">
                        <a16:creationId xmlns:a16="http://schemas.microsoft.com/office/drawing/2014/main" id="{2908B770-BD33-761C-52B6-FCB2FB2C9AA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357" name="Freeform 5101">
                  <a:extLst>
                    <a:ext uri="{FF2B5EF4-FFF2-40B4-BE49-F238E27FC236}">
                      <a16:creationId xmlns:a16="http://schemas.microsoft.com/office/drawing/2014/main" id="{40BC0C34-D1D4-FE79-518C-92347CD49973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358" name="Freeform 5101">
                  <a:extLst>
                    <a:ext uri="{FF2B5EF4-FFF2-40B4-BE49-F238E27FC236}">
                      <a16:creationId xmlns:a16="http://schemas.microsoft.com/office/drawing/2014/main" id="{916C7A31-F015-54A0-C300-7475F9BBBB1A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359" name="Freeform 5101">
                  <a:extLst>
                    <a:ext uri="{FF2B5EF4-FFF2-40B4-BE49-F238E27FC236}">
                      <a16:creationId xmlns:a16="http://schemas.microsoft.com/office/drawing/2014/main" id="{A84281B1-2849-4E2E-6C43-810587F53C53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369" name="Group 368">
                <a:extLst>
                  <a:ext uri="{FF2B5EF4-FFF2-40B4-BE49-F238E27FC236}">
                    <a16:creationId xmlns:a16="http://schemas.microsoft.com/office/drawing/2014/main" id="{FD728DA9-1F70-FD58-4BAD-5DC220373CD2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406160" y="1885674"/>
                <a:ext cx="161379" cy="345037"/>
                <a:chOff x="5926138" y="3011488"/>
                <a:chExt cx="339725" cy="838200"/>
              </a:xfrm>
            </p:grpSpPr>
            <p:grpSp>
              <p:nvGrpSpPr>
                <p:cNvPr id="370" name="Group 15">
                  <a:extLst>
                    <a:ext uri="{FF2B5EF4-FFF2-40B4-BE49-F238E27FC236}">
                      <a16:creationId xmlns:a16="http://schemas.microsoft.com/office/drawing/2014/main" id="{F84644EC-3FAE-8DBD-1543-51EB8EE54F9E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374" name="AutoShape 14">
                    <a:extLst>
                      <a:ext uri="{FF2B5EF4-FFF2-40B4-BE49-F238E27FC236}">
                        <a16:creationId xmlns:a16="http://schemas.microsoft.com/office/drawing/2014/main" id="{8855BD9E-525A-030B-9031-8DA77401E519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75" name="Freeform 16">
                    <a:extLst>
                      <a:ext uri="{FF2B5EF4-FFF2-40B4-BE49-F238E27FC236}">
                        <a16:creationId xmlns:a16="http://schemas.microsoft.com/office/drawing/2014/main" id="{E4307028-4A33-26D6-0E46-FCF860F66A5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rot="10860552">
                    <a:off x="3740" y="2061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76" name="Freeform 17">
                    <a:extLst>
                      <a:ext uri="{FF2B5EF4-FFF2-40B4-BE49-F238E27FC236}">
                        <a16:creationId xmlns:a16="http://schemas.microsoft.com/office/drawing/2014/main" id="{4D0118F6-4108-9E82-D22E-D5B18956AB6E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 rot="10749847"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77" name="Freeform 18">
                    <a:extLst>
                      <a:ext uri="{FF2B5EF4-FFF2-40B4-BE49-F238E27FC236}">
                        <a16:creationId xmlns:a16="http://schemas.microsoft.com/office/drawing/2014/main" id="{DD06820A-3668-9F57-79BD-008038E2C23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78" name="Freeform 19">
                    <a:extLst>
                      <a:ext uri="{FF2B5EF4-FFF2-40B4-BE49-F238E27FC236}">
                        <a16:creationId xmlns:a16="http://schemas.microsoft.com/office/drawing/2014/main" id="{B5662AFE-F46B-0B3F-7D3C-C8FDD5F6DBC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79" name="Freeform 20">
                    <a:extLst>
                      <a:ext uri="{FF2B5EF4-FFF2-40B4-BE49-F238E27FC236}">
                        <a16:creationId xmlns:a16="http://schemas.microsoft.com/office/drawing/2014/main" id="{254AB62A-975A-59AE-49E4-4F21D3B6EAA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80" name="Freeform 21">
                    <a:extLst>
                      <a:ext uri="{FF2B5EF4-FFF2-40B4-BE49-F238E27FC236}">
                        <a16:creationId xmlns:a16="http://schemas.microsoft.com/office/drawing/2014/main" id="{321536F6-3793-8905-2186-6CF46D0B728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81" name="Freeform 22">
                    <a:extLst>
                      <a:ext uri="{FF2B5EF4-FFF2-40B4-BE49-F238E27FC236}">
                        <a16:creationId xmlns:a16="http://schemas.microsoft.com/office/drawing/2014/main" id="{FDE0E6D3-A63F-E9E4-F577-0440FCE761B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82" name="Freeform 23">
                    <a:extLst>
                      <a:ext uri="{FF2B5EF4-FFF2-40B4-BE49-F238E27FC236}">
                        <a16:creationId xmlns:a16="http://schemas.microsoft.com/office/drawing/2014/main" id="{7704C75A-6B23-BA24-07E3-F7EA59C1236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371" name="Freeform 5101">
                  <a:extLst>
                    <a:ext uri="{FF2B5EF4-FFF2-40B4-BE49-F238E27FC236}">
                      <a16:creationId xmlns:a16="http://schemas.microsoft.com/office/drawing/2014/main" id="{393FF781-04CE-808B-C936-9142718AF5E1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372" name="Freeform 5101">
                  <a:extLst>
                    <a:ext uri="{FF2B5EF4-FFF2-40B4-BE49-F238E27FC236}">
                      <a16:creationId xmlns:a16="http://schemas.microsoft.com/office/drawing/2014/main" id="{302A321A-5B6F-64EB-AAC9-47F03D0C4331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373" name="Freeform 5101">
                  <a:extLst>
                    <a:ext uri="{FF2B5EF4-FFF2-40B4-BE49-F238E27FC236}">
                      <a16:creationId xmlns:a16="http://schemas.microsoft.com/office/drawing/2014/main" id="{A2E8A13E-3C06-F287-2AC8-451E1A30B6B3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383" name="Group 382">
                <a:extLst>
                  <a:ext uri="{FF2B5EF4-FFF2-40B4-BE49-F238E27FC236}">
                    <a16:creationId xmlns:a16="http://schemas.microsoft.com/office/drawing/2014/main" id="{09E09EB6-FA1F-884C-0FBB-D099971E0CFB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flipH="1">
                <a:off x="4880195" y="4519784"/>
                <a:ext cx="161379" cy="345037"/>
                <a:chOff x="5926138" y="3011488"/>
                <a:chExt cx="339725" cy="838200"/>
              </a:xfrm>
            </p:grpSpPr>
            <p:grpSp>
              <p:nvGrpSpPr>
                <p:cNvPr id="384" name="Group 15">
                  <a:extLst>
                    <a:ext uri="{FF2B5EF4-FFF2-40B4-BE49-F238E27FC236}">
                      <a16:creationId xmlns:a16="http://schemas.microsoft.com/office/drawing/2014/main" id="{EE927D78-FD7C-6E6F-9177-2E07DF4AD943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388" name="AutoShape 14">
                    <a:extLst>
                      <a:ext uri="{FF2B5EF4-FFF2-40B4-BE49-F238E27FC236}">
                        <a16:creationId xmlns:a16="http://schemas.microsoft.com/office/drawing/2014/main" id="{609A3412-A1A5-D7BC-25D8-D2A40B5A0C6B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89" name="Freeform 16">
                    <a:extLst>
                      <a:ext uri="{FF2B5EF4-FFF2-40B4-BE49-F238E27FC236}">
                        <a16:creationId xmlns:a16="http://schemas.microsoft.com/office/drawing/2014/main" id="{403B2FE5-B63F-A16D-B3BB-B83A62EAC31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3" y="2063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90" name="Freeform 17">
                    <a:extLst>
                      <a:ext uri="{FF2B5EF4-FFF2-40B4-BE49-F238E27FC236}">
                        <a16:creationId xmlns:a16="http://schemas.microsoft.com/office/drawing/2014/main" id="{BD4F9831-DDFB-DFAF-1F3D-D08FD1B48A45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91" name="Freeform 18">
                    <a:extLst>
                      <a:ext uri="{FF2B5EF4-FFF2-40B4-BE49-F238E27FC236}">
                        <a16:creationId xmlns:a16="http://schemas.microsoft.com/office/drawing/2014/main" id="{6DA69A89-54F1-096A-B657-D84E055EFB2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92" name="Freeform 19">
                    <a:extLst>
                      <a:ext uri="{FF2B5EF4-FFF2-40B4-BE49-F238E27FC236}">
                        <a16:creationId xmlns:a16="http://schemas.microsoft.com/office/drawing/2014/main" id="{411248CA-27D0-5C9A-7F15-9AE6FD96135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93" name="Freeform 20">
                    <a:extLst>
                      <a:ext uri="{FF2B5EF4-FFF2-40B4-BE49-F238E27FC236}">
                        <a16:creationId xmlns:a16="http://schemas.microsoft.com/office/drawing/2014/main" id="{DF68F1D5-3194-3FD7-15D3-D79609A49CB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94" name="Freeform 21">
                    <a:extLst>
                      <a:ext uri="{FF2B5EF4-FFF2-40B4-BE49-F238E27FC236}">
                        <a16:creationId xmlns:a16="http://schemas.microsoft.com/office/drawing/2014/main" id="{D5FC2F4C-24F2-F62C-0DCB-2E4A371D6DF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95" name="Freeform 22">
                    <a:extLst>
                      <a:ext uri="{FF2B5EF4-FFF2-40B4-BE49-F238E27FC236}">
                        <a16:creationId xmlns:a16="http://schemas.microsoft.com/office/drawing/2014/main" id="{E2159B94-D654-E77B-F2EF-B69CE0F65C4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396" name="Freeform 23">
                    <a:extLst>
                      <a:ext uri="{FF2B5EF4-FFF2-40B4-BE49-F238E27FC236}">
                        <a16:creationId xmlns:a16="http://schemas.microsoft.com/office/drawing/2014/main" id="{9076367A-C99B-6BBF-B44F-5870D8307D1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385" name="Freeform 5101">
                  <a:extLst>
                    <a:ext uri="{FF2B5EF4-FFF2-40B4-BE49-F238E27FC236}">
                      <a16:creationId xmlns:a16="http://schemas.microsoft.com/office/drawing/2014/main" id="{D16A5537-7DDD-DBDA-7751-75738C137C24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386" name="Freeform 5101">
                  <a:extLst>
                    <a:ext uri="{FF2B5EF4-FFF2-40B4-BE49-F238E27FC236}">
                      <a16:creationId xmlns:a16="http://schemas.microsoft.com/office/drawing/2014/main" id="{EEBEA45D-B59A-323E-F84F-5C86DB7EF603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387" name="Freeform 5101">
                  <a:extLst>
                    <a:ext uri="{FF2B5EF4-FFF2-40B4-BE49-F238E27FC236}">
                      <a16:creationId xmlns:a16="http://schemas.microsoft.com/office/drawing/2014/main" id="{FF9F73C4-4540-9A2E-80CC-F6B434CF0A23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397" name="Group 396">
                <a:extLst>
                  <a:ext uri="{FF2B5EF4-FFF2-40B4-BE49-F238E27FC236}">
                    <a16:creationId xmlns:a16="http://schemas.microsoft.com/office/drawing/2014/main" id="{63344390-543F-4A5A-395F-11B59362CB54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flipH="1">
                <a:off x="4559811" y="4521092"/>
                <a:ext cx="161379" cy="345037"/>
                <a:chOff x="5926138" y="3011488"/>
                <a:chExt cx="339725" cy="838200"/>
              </a:xfrm>
            </p:grpSpPr>
            <p:grpSp>
              <p:nvGrpSpPr>
                <p:cNvPr id="398" name="Group 15">
                  <a:extLst>
                    <a:ext uri="{FF2B5EF4-FFF2-40B4-BE49-F238E27FC236}">
                      <a16:creationId xmlns:a16="http://schemas.microsoft.com/office/drawing/2014/main" id="{73A703AC-7DFD-0A2D-D3CC-2757A41A318B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402" name="AutoShape 14">
                    <a:extLst>
                      <a:ext uri="{FF2B5EF4-FFF2-40B4-BE49-F238E27FC236}">
                        <a16:creationId xmlns:a16="http://schemas.microsoft.com/office/drawing/2014/main" id="{D9549954-D4F3-426B-11A7-9980486061F5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03" name="Freeform 16">
                    <a:extLst>
                      <a:ext uri="{FF2B5EF4-FFF2-40B4-BE49-F238E27FC236}">
                        <a16:creationId xmlns:a16="http://schemas.microsoft.com/office/drawing/2014/main" id="{90C5C0C1-17C5-27E8-BD52-9C71D924F4D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3" y="2063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04" name="Freeform 17">
                    <a:extLst>
                      <a:ext uri="{FF2B5EF4-FFF2-40B4-BE49-F238E27FC236}">
                        <a16:creationId xmlns:a16="http://schemas.microsoft.com/office/drawing/2014/main" id="{B77005CD-1940-550B-CF3E-202C0EA3B6E3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05" name="Freeform 18">
                    <a:extLst>
                      <a:ext uri="{FF2B5EF4-FFF2-40B4-BE49-F238E27FC236}">
                        <a16:creationId xmlns:a16="http://schemas.microsoft.com/office/drawing/2014/main" id="{D00A6918-4637-F902-38E4-5F18749EB8C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06" name="Freeform 19">
                    <a:extLst>
                      <a:ext uri="{FF2B5EF4-FFF2-40B4-BE49-F238E27FC236}">
                        <a16:creationId xmlns:a16="http://schemas.microsoft.com/office/drawing/2014/main" id="{6D9A57A7-9706-5DF8-475C-34B009181D0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07" name="Freeform 20">
                    <a:extLst>
                      <a:ext uri="{FF2B5EF4-FFF2-40B4-BE49-F238E27FC236}">
                        <a16:creationId xmlns:a16="http://schemas.microsoft.com/office/drawing/2014/main" id="{447DF50A-F9A7-D268-1F83-BCFD9E4FCE3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08" name="Freeform 21">
                    <a:extLst>
                      <a:ext uri="{FF2B5EF4-FFF2-40B4-BE49-F238E27FC236}">
                        <a16:creationId xmlns:a16="http://schemas.microsoft.com/office/drawing/2014/main" id="{180F59C5-BBF7-6C98-9D76-73DE8E20B3F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09" name="Freeform 22">
                    <a:extLst>
                      <a:ext uri="{FF2B5EF4-FFF2-40B4-BE49-F238E27FC236}">
                        <a16:creationId xmlns:a16="http://schemas.microsoft.com/office/drawing/2014/main" id="{84BB4A7A-A20C-F8D2-9253-7E71FE7B857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10" name="Freeform 23">
                    <a:extLst>
                      <a:ext uri="{FF2B5EF4-FFF2-40B4-BE49-F238E27FC236}">
                        <a16:creationId xmlns:a16="http://schemas.microsoft.com/office/drawing/2014/main" id="{3B13C3D6-1144-2402-DDB4-B7C1BC3FBFD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399" name="Freeform 5101">
                  <a:extLst>
                    <a:ext uri="{FF2B5EF4-FFF2-40B4-BE49-F238E27FC236}">
                      <a16:creationId xmlns:a16="http://schemas.microsoft.com/office/drawing/2014/main" id="{1563DBAD-BEBA-1C85-F1EB-86EA81778C8F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400" name="Freeform 5101">
                  <a:extLst>
                    <a:ext uri="{FF2B5EF4-FFF2-40B4-BE49-F238E27FC236}">
                      <a16:creationId xmlns:a16="http://schemas.microsoft.com/office/drawing/2014/main" id="{150CE502-4C1B-A0F4-A572-0E4E5CDDDDAB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401" name="Freeform 5101">
                  <a:extLst>
                    <a:ext uri="{FF2B5EF4-FFF2-40B4-BE49-F238E27FC236}">
                      <a16:creationId xmlns:a16="http://schemas.microsoft.com/office/drawing/2014/main" id="{46E6A48F-0D83-536D-C8AE-CBAED96F3DC5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411" name="Group 410">
                <a:extLst>
                  <a:ext uri="{FF2B5EF4-FFF2-40B4-BE49-F238E27FC236}">
                    <a16:creationId xmlns:a16="http://schemas.microsoft.com/office/drawing/2014/main" id="{DA55B891-6AB8-F4E2-54E4-1642967ECD07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1885250" flipH="1">
                <a:off x="4342704" y="4528203"/>
                <a:ext cx="161379" cy="345037"/>
                <a:chOff x="5926138" y="3011488"/>
                <a:chExt cx="339725" cy="838200"/>
              </a:xfrm>
            </p:grpSpPr>
            <p:grpSp>
              <p:nvGrpSpPr>
                <p:cNvPr id="412" name="Group 15">
                  <a:extLst>
                    <a:ext uri="{FF2B5EF4-FFF2-40B4-BE49-F238E27FC236}">
                      <a16:creationId xmlns:a16="http://schemas.microsoft.com/office/drawing/2014/main" id="{ABE62339-B6DD-9631-D2BC-EA59D125F97F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416" name="AutoShape 14">
                    <a:extLst>
                      <a:ext uri="{FF2B5EF4-FFF2-40B4-BE49-F238E27FC236}">
                        <a16:creationId xmlns:a16="http://schemas.microsoft.com/office/drawing/2014/main" id="{ED51D417-FE3B-14E9-FE1B-CC34BBF14B73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17" name="Freeform 16">
                    <a:extLst>
                      <a:ext uri="{FF2B5EF4-FFF2-40B4-BE49-F238E27FC236}">
                        <a16:creationId xmlns:a16="http://schemas.microsoft.com/office/drawing/2014/main" id="{CB97F908-B604-3E94-A968-3C53AC0456E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3" y="2063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18" name="Freeform 17">
                    <a:extLst>
                      <a:ext uri="{FF2B5EF4-FFF2-40B4-BE49-F238E27FC236}">
                        <a16:creationId xmlns:a16="http://schemas.microsoft.com/office/drawing/2014/main" id="{BB5B1700-798D-E5F0-4899-8AE7058B3C15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19" name="Freeform 18">
                    <a:extLst>
                      <a:ext uri="{FF2B5EF4-FFF2-40B4-BE49-F238E27FC236}">
                        <a16:creationId xmlns:a16="http://schemas.microsoft.com/office/drawing/2014/main" id="{F0679A93-E8F5-3CB3-0E8E-522572C9118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20" name="Freeform 23">
                    <a:extLst>
                      <a:ext uri="{FF2B5EF4-FFF2-40B4-BE49-F238E27FC236}">
                        <a16:creationId xmlns:a16="http://schemas.microsoft.com/office/drawing/2014/main" id="{C11DA331-D3EC-EC9B-764D-559F22318A2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413" name="Freeform 5101">
                  <a:extLst>
                    <a:ext uri="{FF2B5EF4-FFF2-40B4-BE49-F238E27FC236}">
                      <a16:creationId xmlns:a16="http://schemas.microsoft.com/office/drawing/2014/main" id="{F0D7FDBD-1C35-5D79-6E28-C10F0E3512DC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414" name="Freeform 5101">
                  <a:extLst>
                    <a:ext uri="{FF2B5EF4-FFF2-40B4-BE49-F238E27FC236}">
                      <a16:creationId xmlns:a16="http://schemas.microsoft.com/office/drawing/2014/main" id="{86997528-9FEE-1193-9E46-7670277D9789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415" name="Freeform 5101">
                  <a:extLst>
                    <a:ext uri="{FF2B5EF4-FFF2-40B4-BE49-F238E27FC236}">
                      <a16:creationId xmlns:a16="http://schemas.microsoft.com/office/drawing/2014/main" id="{91DB6A56-303B-EFAE-64E8-B5E5C75851AB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421" name="Group 420">
                <a:extLst>
                  <a:ext uri="{FF2B5EF4-FFF2-40B4-BE49-F238E27FC236}">
                    <a16:creationId xmlns:a16="http://schemas.microsoft.com/office/drawing/2014/main" id="{8EC36806-06C7-665C-3FDA-C3317F734FC1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2809496" flipH="1">
                <a:off x="4267187" y="4433884"/>
                <a:ext cx="142146" cy="391723"/>
                <a:chOff x="5926138" y="3011488"/>
                <a:chExt cx="339725" cy="838200"/>
              </a:xfrm>
            </p:grpSpPr>
            <p:grpSp>
              <p:nvGrpSpPr>
                <p:cNvPr id="422" name="Group 15">
                  <a:extLst>
                    <a:ext uri="{FF2B5EF4-FFF2-40B4-BE49-F238E27FC236}">
                      <a16:creationId xmlns:a16="http://schemas.microsoft.com/office/drawing/2014/main" id="{7EEC5576-301A-39CB-F2E8-388074FA2895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426" name="AutoShape 14">
                    <a:extLst>
                      <a:ext uri="{FF2B5EF4-FFF2-40B4-BE49-F238E27FC236}">
                        <a16:creationId xmlns:a16="http://schemas.microsoft.com/office/drawing/2014/main" id="{1396826C-A97C-D2D7-EB50-0A07F7CF10FD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27" name="Freeform 16">
                    <a:extLst>
                      <a:ext uri="{FF2B5EF4-FFF2-40B4-BE49-F238E27FC236}">
                        <a16:creationId xmlns:a16="http://schemas.microsoft.com/office/drawing/2014/main" id="{F277432C-DAD3-4B06-2332-FC9DB1D081A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3" y="2063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28" name="Freeform 17">
                    <a:extLst>
                      <a:ext uri="{FF2B5EF4-FFF2-40B4-BE49-F238E27FC236}">
                        <a16:creationId xmlns:a16="http://schemas.microsoft.com/office/drawing/2014/main" id="{E1D78C15-F00F-ABF6-4605-258780105EE9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29" name="Freeform 18">
                    <a:extLst>
                      <a:ext uri="{FF2B5EF4-FFF2-40B4-BE49-F238E27FC236}">
                        <a16:creationId xmlns:a16="http://schemas.microsoft.com/office/drawing/2014/main" id="{B0DC95DC-E30E-A90B-D8AB-0C86831FBDA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30" name="Freeform 19">
                    <a:extLst>
                      <a:ext uri="{FF2B5EF4-FFF2-40B4-BE49-F238E27FC236}">
                        <a16:creationId xmlns:a16="http://schemas.microsoft.com/office/drawing/2014/main" id="{9208C471-228A-E9D8-DD64-FDC1F9794CA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31" name="Freeform 20">
                    <a:extLst>
                      <a:ext uri="{FF2B5EF4-FFF2-40B4-BE49-F238E27FC236}">
                        <a16:creationId xmlns:a16="http://schemas.microsoft.com/office/drawing/2014/main" id="{A31C637D-A9C8-0EA1-D860-919E404CE61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32" name="Freeform 21">
                    <a:extLst>
                      <a:ext uri="{FF2B5EF4-FFF2-40B4-BE49-F238E27FC236}">
                        <a16:creationId xmlns:a16="http://schemas.microsoft.com/office/drawing/2014/main" id="{47E89312-ECDF-6859-E7EC-2C47A6D6870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33" name="Freeform 23">
                    <a:extLst>
                      <a:ext uri="{FF2B5EF4-FFF2-40B4-BE49-F238E27FC236}">
                        <a16:creationId xmlns:a16="http://schemas.microsoft.com/office/drawing/2014/main" id="{FD9638A9-5531-E7F2-CE8B-64CFD63D6CD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423" name="Freeform 5101">
                  <a:extLst>
                    <a:ext uri="{FF2B5EF4-FFF2-40B4-BE49-F238E27FC236}">
                      <a16:creationId xmlns:a16="http://schemas.microsoft.com/office/drawing/2014/main" id="{4F34EB4A-65DF-760A-930A-0C939E90064B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424" name="Freeform 5101">
                  <a:extLst>
                    <a:ext uri="{FF2B5EF4-FFF2-40B4-BE49-F238E27FC236}">
                      <a16:creationId xmlns:a16="http://schemas.microsoft.com/office/drawing/2014/main" id="{83F26C41-81F3-6509-9C03-032B02A25094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425" name="Freeform 5101">
                  <a:extLst>
                    <a:ext uri="{FF2B5EF4-FFF2-40B4-BE49-F238E27FC236}">
                      <a16:creationId xmlns:a16="http://schemas.microsoft.com/office/drawing/2014/main" id="{3EBEAEC0-CBAA-7102-2E9F-45887CE6A5C0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434" name="Group 433">
                <a:extLst>
                  <a:ext uri="{FF2B5EF4-FFF2-40B4-BE49-F238E27FC236}">
                    <a16:creationId xmlns:a16="http://schemas.microsoft.com/office/drawing/2014/main" id="{1DC48237-85CD-465D-6F54-6E529BEFC417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3667875" flipH="1">
                <a:off x="4195584" y="4350425"/>
                <a:ext cx="142146" cy="391723"/>
                <a:chOff x="5926138" y="3011488"/>
                <a:chExt cx="339725" cy="838200"/>
              </a:xfrm>
            </p:grpSpPr>
            <p:grpSp>
              <p:nvGrpSpPr>
                <p:cNvPr id="435" name="Group 15">
                  <a:extLst>
                    <a:ext uri="{FF2B5EF4-FFF2-40B4-BE49-F238E27FC236}">
                      <a16:creationId xmlns:a16="http://schemas.microsoft.com/office/drawing/2014/main" id="{6A04E1D3-2812-165C-2095-F727A8C64F15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439" name="AutoShape 14">
                    <a:extLst>
                      <a:ext uri="{FF2B5EF4-FFF2-40B4-BE49-F238E27FC236}">
                        <a16:creationId xmlns:a16="http://schemas.microsoft.com/office/drawing/2014/main" id="{C9D156B8-4948-ED89-8C73-6B044AA9EA70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40" name="Freeform 16">
                    <a:extLst>
                      <a:ext uri="{FF2B5EF4-FFF2-40B4-BE49-F238E27FC236}">
                        <a16:creationId xmlns:a16="http://schemas.microsoft.com/office/drawing/2014/main" id="{5E2D6443-B381-E25D-6881-32BB8104077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3" y="2063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41" name="Freeform 17">
                    <a:extLst>
                      <a:ext uri="{FF2B5EF4-FFF2-40B4-BE49-F238E27FC236}">
                        <a16:creationId xmlns:a16="http://schemas.microsoft.com/office/drawing/2014/main" id="{10AC923B-C890-91AB-6B24-BB657ED6E873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42" name="Freeform 18">
                    <a:extLst>
                      <a:ext uri="{FF2B5EF4-FFF2-40B4-BE49-F238E27FC236}">
                        <a16:creationId xmlns:a16="http://schemas.microsoft.com/office/drawing/2014/main" id="{71A5B07D-5482-9215-A118-C44C6A53B1C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43" name="Freeform 19">
                    <a:extLst>
                      <a:ext uri="{FF2B5EF4-FFF2-40B4-BE49-F238E27FC236}">
                        <a16:creationId xmlns:a16="http://schemas.microsoft.com/office/drawing/2014/main" id="{44204F02-C9BD-5670-A20A-BF31880AAF0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44" name="Freeform 20">
                    <a:extLst>
                      <a:ext uri="{FF2B5EF4-FFF2-40B4-BE49-F238E27FC236}">
                        <a16:creationId xmlns:a16="http://schemas.microsoft.com/office/drawing/2014/main" id="{2AC4B1B2-37A4-938C-E5A9-EDDC6EF6546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45" name="Freeform 21">
                    <a:extLst>
                      <a:ext uri="{FF2B5EF4-FFF2-40B4-BE49-F238E27FC236}">
                        <a16:creationId xmlns:a16="http://schemas.microsoft.com/office/drawing/2014/main" id="{ED788B8B-450A-8050-0CCE-ABC61C7EF12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46" name="Freeform 22">
                    <a:extLst>
                      <a:ext uri="{FF2B5EF4-FFF2-40B4-BE49-F238E27FC236}">
                        <a16:creationId xmlns:a16="http://schemas.microsoft.com/office/drawing/2014/main" id="{7A640441-68DD-73E2-1A4A-040D95C4C0C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47" name="Freeform 23">
                    <a:extLst>
                      <a:ext uri="{FF2B5EF4-FFF2-40B4-BE49-F238E27FC236}">
                        <a16:creationId xmlns:a16="http://schemas.microsoft.com/office/drawing/2014/main" id="{912BDAE5-AFB3-E4CB-400D-83139D404EC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436" name="Freeform 5101">
                  <a:extLst>
                    <a:ext uri="{FF2B5EF4-FFF2-40B4-BE49-F238E27FC236}">
                      <a16:creationId xmlns:a16="http://schemas.microsoft.com/office/drawing/2014/main" id="{2CC43558-4294-C637-8DCB-45775D844CD7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437" name="Freeform 5101">
                  <a:extLst>
                    <a:ext uri="{FF2B5EF4-FFF2-40B4-BE49-F238E27FC236}">
                      <a16:creationId xmlns:a16="http://schemas.microsoft.com/office/drawing/2014/main" id="{9C945C3E-B2A3-E2DD-20CF-2DCCDEC164A4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438" name="Freeform 5101">
                  <a:extLst>
                    <a:ext uri="{FF2B5EF4-FFF2-40B4-BE49-F238E27FC236}">
                      <a16:creationId xmlns:a16="http://schemas.microsoft.com/office/drawing/2014/main" id="{3DB0559C-2970-F00E-FA50-385D8F5A959B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448" name="Group 447">
                <a:extLst>
                  <a:ext uri="{FF2B5EF4-FFF2-40B4-BE49-F238E27FC236}">
                    <a16:creationId xmlns:a16="http://schemas.microsoft.com/office/drawing/2014/main" id="{7A3869C5-FAB0-147D-7010-9571E39E72EA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4505022" flipH="1">
                <a:off x="4155548" y="4244105"/>
                <a:ext cx="142146" cy="391723"/>
                <a:chOff x="5926138" y="3011488"/>
                <a:chExt cx="339725" cy="838200"/>
              </a:xfrm>
            </p:grpSpPr>
            <p:grpSp>
              <p:nvGrpSpPr>
                <p:cNvPr id="449" name="Group 15">
                  <a:extLst>
                    <a:ext uri="{FF2B5EF4-FFF2-40B4-BE49-F238E27FC236}">
                      <a16:creationId xmlns:a16="http://schemas.microsoft.com/office/drawing/2014/main" id="{B901CCE9-9AE3-BBB9-38E4-6795C903C298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453" name="AutoShape 14">
                    <a:extLst>
                      <a:ext uri="{FF2B5EF4-FFF2-40B4-BE49-F238E27FC236}">
                        <a16:creationId xmlns:a16="http://schemas.microsoft.com/office/drawing/2014/main" id="{DFF0CA51-179B-BDE7-1416-C58B71EF5856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54" name="Freeform 16">
                    <a:extLst>
                      <a:ext uri="{FF2B5EF4-FFF2-40B4-BE49-F238E27FC236}">
                        <a16:creationId xmlns:a16="http://schemas.microsoft.com/office/drawing/2014/main" id="{D6934215-5535-4A30-C85B-5D985C29154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3" y="2063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55" name="Freeform 17">
                    <a:extLst>
                      <a:ext uri="{FF2B5EF4-FFF2-40B4-BE49-F238E27FC236}">
                        <a16:creationId xmlns:a16="http://schemas.microsoft.com/office/drawing/2014/main" id="{B5CBD1D8-EF14-1F2B-01BE-67DFB4B4785E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56" name="Freeform 18">
                    <a:extLst>
                      <a:ext uri="{FF2B5EF4-FFF2-40B4-BE49-F238E27FC236}">
                        <a16:creationId xmlns:a16="http://schemas.microsoft.com/office/drawing/2014/main" id="{9E632FFB-1A97-E997-98B5-8C583430A22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57" name="Freeform 19">
                    <a:extLst>
                      <a:ext uri="{FF2B5EF4-FFF2-40B4-BE49-F238E27FC236}">
                        <a16:creationId xmlns:a16="http://schemas.microsoft.com/office/drawing/2014/main" id="{CD503A76-075A-414D-3208-248F109CA46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58" name="Freeform 20">
                    <a:extLst>
                      <a:ext uri="{FF2B5EF4-FFF2-40B4-BE49-F238E27FC236}">
                        <a16:creationId xmlns:a16="http://schemas.microsoft.com/office/drawing/2014/main" id="{B9A16FC0-D80B-FCB3-309F-22A2A900BCD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59" name="Freeform 21">
                    <a:extLst>
                      <a:ext uri="{FF2B5EF4-FFF2-40B4-BE49-F238E27FC236}">
                        <a16:creationId xmlns:a16="http://schemas.microsoft.com/office/drawing/2014/main" id="{64252B2F-5D92-5E80-7008-1D6C869D24B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60" name="Freeform 22">
                    <a:extLst>
                      <a:ext uri="{FF2B5EF4-FFF2-40B4-BE49-F238E27FC236}">
                        <a16:creationId xmlns:a16="http://schemas.microsoft.com/office/drawing/2014/main" id="{B90A2E3B-7011-6EA3-D16B-DCF34E52702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61" name="Freeform 23">
                    <a:extLst>
                      <a:ext uri="{FF2B5EF4-FFF2-40B4-BE49-F238E27FC236}">
                        <a16:creationId xmlns:a16="http://schemas.microsoft.com/office/drawing/2014/main" id="{C6B338C9-59A3-93BD-AD52-5992C3723DC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450" name="Freeform 5101">
                  <a:extLst>
                    <a:ext uri="{FF2B5EF4-FFF2-40B4-BE49-F238E27FC236}">
                      <a16:creationId xmlns:a16="http://schemas.microsoft.com/office/drawing/2014/main" id="{B6F99E7D-31CC-F0DB-6BD2-D76FEBB28CFB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451" name="Freeform 5101">
                  <a:extLst>
                    <a:ext uri="{FF2B5EF4-FFF2-40B4-BE49-F238E27FC236}">
                      <a16:creationId xmlns:a16="http://schemas.microsoft.com/office/drawing/2014/main" id="{3443E224-E27E-E1A4-275A-FEF578C89554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452" name="Freeform 5101">
                  <a:extLst>
                    <a:ext uri="{FF2B5EF4-FFF2-40B4-BE49-F238E27FC236}">
                      <a16:creationId xmlns:a16="http://schemas.microsoft.com/office/drawing/2014/main" id="{0C414980-D174-98FC-4C7D-63F8C0FB6DF7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462" name="Group 461">
                <a:extLst>
                  <a:ext uri="{FF2B5EF4-FFF2-40B4-BE49-F238E27FC236}">
                    <a16:creationId xmlns:a16="http://schemas.microsoft.com/office/drawing/2014/main" id="{9850DE3A-EC15-C8E3-8754-BE7F58D0CFDA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5400000" flipH="1">
                <a:off x="4143510" y="4137874"/>
                <a:ext cx="142146" cy="391723"/>
                <a:chOff x="5926138" y="3011488"/>
                <a:chExt cx="339725" cy="838200"/>
              </a:xfrm>
            </p:grpSpPr>
            <p:grpSp>
              <p:nvGrpSpPr>
                <p:cNvPr id="463" name="Group 15">
                  <a:extLst>
                    <a:ext uri="{FF2B5EF4-FFF2-40B4-BE49-F238E27FC236}">
                      <a16:creationId xmlns:a16="http://schemas.microsoft.com/office/drawing/2014/main" id="{8BF3A1E4-823A-EB01-959D-2A6136F51FE4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467" name="AutoShape 14">
                    <a:extLst>
                      <a:ext uri="{FF2B5EF4-FFF2-40B4-BE49-F238E27FC236}">
                        <a16:creationId xmlns:a16="http://schemas.microsoft.com/office/drawing/2014/main" id="{76E89084-609C-85C3-E02C-E4256F9C9CC0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68" name="Freeform 16">
                    <a:extLst>
                      <a:ext uri="{FF2B5EF4-FFF2-40B4-BE49-F238E27FC236}">
                        <a16:creationId xmlns:a16="http://schemas.microsoft.com/office/drawing/2014/main" id="{64CB6074-8EC4-165A-0D73-7988F18F47F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3" y="2063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69" name="Freeform 17">
                    <a:extLst>
                      <a:ext uri="{FF2B5EF4-FFF2-40B4-BE49-F238E27FC236}">
                        <a16:creationId xmlns:a16="http://schemas.microsoft.com/office/drawing/2014/main" id="{B2278DD1-8B34-4203-6BD2-CBD43C79C624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70" name="Freeform 18">
                    <a:extLst>
                      <a:ext uri="{FF2B5EF4-FFF2-40B4-BE49-F238E27FC236}">
                        <a16:creationId xmlns:a16="http://schemas.microsoft.com/office/drawing/2014/main" id="{1E6A92D7-C4B4-D2FD-72E7-3B34CBF884D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71" name="Freeform 19">
                    <a:extLst>
                      <a:ext uri="{FF2B5EF4-FFF2-40B4-BE49-F238E27FC236}">
                        <a16:creationId xmlns:a16="http://schemas.microsoft.com/office/drawing/2014/main" id="{CA410F2D-2556-3944-DD1D-FAE35B23AE7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72" name="Freeform 20">
                    <a:extLst>
                      <a:ext uri="{FF2B5EF4-FFF2-40B4-BE49-F238E27FC236}">
                        <a16:creationId xmlns:a16="http://schemas.microsoft.com/office/drawing/2014/main" id="{466B7236-C3FB-DE4C-5A8C-3D8BBD59E96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73" name="Freeform 21">
                    <a:extLst>
                      <a:ext uri="{FF2B5EF4-FFF2-40B4-BE49-F238E27FC236}">
                        <a16:creationId xmlns:a16="http://schemas.microsoft.com/office/drawing/2014/main" id="{C1CC1469-225F-B3AE-1AF9-7E49CD6CCBD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74" name="Freeform 22">
                    <a:extLst>
                      <a:ext uri="{FF2B5EF4-FFF2-40B4-BE49-F238E27FC236}">
                        <a16:creationId xmlns:a16="http://schemas.microsoft.com/office/drawing/2014/main" id="{0558946C-23B3-E494-D845-B3E6633ADE2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75" name="Freeform 23">
                    <a:extLst>
                      <a:ext uri="{FF2B5EF4-FFF2-40B4-BE49-F238E27FC236}">
                        <a16:creationId xmlns:a16="http://schemas.microsoft.com/office/drawing/2014/main" id="{0D1B9695-2472-2452-08B3-6D3323DDC8B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464" name="Freeform 5101">
                  <a:extLst>
                    <a:ext uri="{FF2B5EF4-FFF2-40B4-BE49-F238E27FC236}">
                      <a16:creationId xmlns:a16="http://schemas.microsoft.com/office/drawing/2014/main" id="{E6650058-C6F0-1851-4A5B-2A85BE858570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465" name="Freeform 5101">
                  <a:extLst>
                    <a:ext uri="{FF2B5EF4-FFF2-40B4-BE49-F238E27FC236}">
                      <a16:creationId xmlns:a16="http://schemas.microsoft.com/office/drawing/2014/main" id="{0AEC47CD-7CA9-87C9-5DCA-EF8C8FDF90F9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466" name="Freeform 5101">
                  <a:extLst>
                    <a:ext uri="{FF2B5EF4-FFF2-40B4-BE49-F238E27FC236}">
                      <a16:creationId xmlns:a16="http://schemas.microsoft.com/office/drawing/2014/main" id="{24C3FCF8-4B85-6AF0-3B73-08BEA49E0530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476" name="Group 475">
                <a:extLst>
                  <a:ext uri="{FF2B5EF4-FFF2-40B4-BE49-F238E27FC236}">
                    <a16:creationId xmlns:a16="http://schemas.microsoft.com/office/drawing/2014/main" id="{3372C7F3-AA12-89F1-DC70-440B1A036093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6125798" flipH="1">
                <a:off x="4153205" y="4020168"/>
                <a:ext cx="142146" cy="391723"/>
                <a:chOff x="5926138" y="3011488"/>
                <a:chExt cx="339725" cy="838200"/>
              </a:xfrm>
            </p:grpSpPr>
            <p:grpSp>
              <p:nvGrpSpPr>
                <p:cNvPr id="477" name="Group 15">
                  <a:extLst>
                    <a:ext uri="{FF2B5EF4-FFF2-40B4-BE49-F238E27FC236}">
                      <a16:creationId xmlns:a16="http://schemas.microsoft.com/office/drawing/2014/main" id="{C08DF3B7-3179-F507-190E-CF8CE7287A99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481" name="AutoShape 14">
                    <a:extLst>
                      <a:ext uri="{FF2B5EF4-FFF2-40B4-BE49-F238E27FC236}">
                        <a16:creationId xmlns:a16="http://schemas.microsoft.com/office/drawing/2014/main" id="{0F82B2BA-7E2C-88B3-818C-77C743631112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82" name="Freeform 16">
                    <a:extLst>
                      <a:ext uri="{FF2B5EF4-FFF2-40B4-BE49-F238E27FC236}">
                        <a16:creationId xmlns:a16="http://schemas.microsoft.com/office/drawing/2014/main" id="{8298C5E2-5185-8881-99B2-350E4F26CB4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3" y="2063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83" name="Freeform 17">
                    <a:extLst>
                      <a:ext uri="{FF2B5EF4-FFF2-40B4-BE49-F238E27FC236}">
                        <a16:creationId xmlns:a16="http://schemas.microsoft.com/office/drawing/2014/main" id="{3C10B3D6-811B-4FB4-F4AA-19191F69E272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84" name="Freeform 18">
                    <a:extLst>
                      <a:ext uri="{FF2B5EF4-FFF2-40B4-BE49-F238E27FC236}">
                        <a16:creationId xmlns:a16="http://schemas.microsoft.com/office/drawing/2014/main" id="{8A338E73-797E-AB34-50F6-A4E711E5621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85" name="Freeform 19">
                    <a:extLst>
                      <a:ext uri="{FF2B5EF4-FFF2-40B4-BE49-F238E27FC236}">
                        <a16:creationId xmlns:a16="http://schemas.microsoft.com/office/drawing/2014/main" id="{A7761CC4-2E4B-6302-B179-74BA72F5ECB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86" name="Freeform 20">
                    <a:extLst>
                      <a:ext uri="{FF2B5EF4-FFF2-40B4-BE49-F238E27FC236}">
                        <a16:creationId xmlns:a16="http://schemas.microsoft.com/office/drawing/2014/main" id="{9FAB42F8-7FD7-C495-90E4-5C5320F2D1A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87" name="Freeform 21">
                    <a:extLst>
                      <a:ext uri="{FF2B5EF4-FFF2-40B4-BE49-F238E27FC236}">
                        <a16:creationId xmlns:a16="http://schemas.microsoft.com/office/drawing/2014/main" id="{50604B00-C6DC-A6A6-2A00-BE5CDED9AEE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88" name="Freeform 22">
                    <a:extLst>
                      <a:ext uri="{FF2B5EF4-FFF2-40B4-BE49-F238E27FC236}">
                        <a16:creationId xmlns:a16="http://schemas.microsoft.com/office/drawing/2014/main" id="{08407EEC-8F1A-2393-1F29-8CBBA622C1A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89" name="Freeform 23">
                    <a:extLst>
                      <a:ext uri="{FF2B5EF4-FFF2-40B4-BE49-F238E27FC236}">
                        <a16:creationId xmlns:a16="http://schemas.microsoft.com/office/drawing/2014/main" id="{922D6C29-1909-42A7-0CBE-7763F996C6F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478" name="Freeform 5101">
                  <a:extLst>
                    <a:ext uri="{FF2B5EF4-FFF2-40B4-BE49-F238E27FC236}">
                      <a16:creationId xmlns:a16="http://schemas.microsoft.com/office/drawing/2014/main" id="{9B8BAEA9-63A3-A0EC-5E27-359762C3C275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479" name="Freeform 5101">
                  <a:extLst>
                    <a:ext uri="{FF2B5EF4-FFF2-40B4-BE49-F238E27FC236}">
                      <a16:creationId xmlns:a16="http://schemas.microsoft.com/office/drawing/2014/main" id="{5740FDC6-61B4-CC03-0BAD-552C11B53889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480" name="Freeform 5101">
                  <a:extLst>
                    <a:ext uri="{FF2B5EF4-FFF2-40B4-BE49-F238E27FC236}">
                      <a16:creationId xmlns:a16="http://schemas.microsoft.com/office/drawing/2014/main" id="{65FCFFAE-B4E7-A57F-4878-66B267B90166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490" name="Group 489">
                <a:extLst>
                  <a:ext uri="{FF2B5EF4-FFF2-40B4-BE49-F238E27FC236}">
                    <a16:creationId xmlns:a16="http://schemas.microsoft.com/office/drawing/2014/main" id="{85AA69FF-D55D-1A3F-0A34-8CCB56CC93B8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7067994" flipH="1">
                <a:off x="4206757" y="3902552"/>
                <a:ext cx="142146" cy="391723"/>
                <a:chOff x="5926138" y="3011488"/>
                <a:chExt cx="339725" cy="838200"/>
              </a:xfrm>
            </p:grpSpPr>
            <p:grpSp>
              <p:nvGrpSpPr>
                <p:cNvPr id="491" name="Group 15">
                  <a:extLst>
                    <a:ext uri="{FF2B5EF4-FFF2-40B4-BE49-F238E27FC236}">
                      <a16:creationId xmlns:a16="http://schemas.microsoft.com/office/drawing/2014/main" id="{951E406E-7DF7-60DA-D0F5-E7990DC232C9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495" name="AutoShape 14">
                    <a:extLst>
                      <a:ext uri="{FF2B5EF4-FFF2-40B4-BE49-F238E27FC236}">
                        <a16:creationId xmlns:a16="http://schemas.microsoft.com/office/drawing/2014/main" id="{FD85553D-8177-16E5-ABA5-0CD68A027C7F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96" name="Freeform 16">
                    <a:extLst>
                      <a:ext uri="{FF2B5EF4-FFF2-40B4-BE49-F238E27FC236}">
                        <a16:creationId xmlns:a16="http://schemas.microsoft.com/office/drawing/2014/main" id="{B786F927-5058-5821-2EE2-2B4ACDA7DCC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3" y="2063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97" name="Freeform 17">
                    <a:extLst>
                      <a:ext uri="{FF2B5EF4-FFF2-40B4-BE49-F238E27FC236}">
                        <a16:creationId xmlns:a16="http://schemas.microsoft.com/office/drawing/2014/main" id="{5903BF37-F64B-35D9-231F-748902BDCA4D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98" name="Freeform 18">
                    <a:extLst>
                      <a:ext uri="{FF2B5EF4-FFF2-40B4-BE49-F238E27FC236}">
                        <a16:creationId xmlns:a16="http://schemas.microsoft.com/office/drawing/2014/main" id="{3FFC563C-A766-8CD9-734D-A03CA938653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499" name="Freeform 19">
                    <a:extLst>
                      <a:ext uri="{FF2B5EF4-FFF2-40B4-BE49-F238E27FC236}">
                        <a16:creationId xmlns:a16="http://schemas.microsoft.com/office/drawing/2014/main" id="{BAC8845E-663E-AC6C-8E86-B41B07A11ED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00" name="Freeform 20">
                    <a:extLst>
                      <a:ext uri="{FF2B5EF4-FFF2-40B4-BE49-F238E27FC236}">
                        <a16:creationId xmlns:a16="http://schemas.microsoft.com/office/drawing/2014/main" id="{052A3B4B-83B9-803C-A841-C979D8EA72B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01" name="Freeform 21">
                    <a:extLst>
                      <a:ext uri="{FF2B5EF4-FFF2-40B4-BE49-F238E27FC236}">
                        <a16:creationId xmlns:a16="http://schemas.microsoft.com/office/drawing/2014/main" id="{97C2F46C-4A4C-F864-45F8-BDD4BCDE4C5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02" name="Freeform 22">
                    <a:extLst>
                      <a:ext uri="{FF2B5EF4-FFF2-40B4-BE49-F238E27FC236}">
                        <a16:creationId xmlns:a16="http://schemas.microsoft.com/office/drawing/2014/main" id="{13B1761D-65DC-132B-A5DD-8CD2C90DC48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03" name="Freeform 23">
                    <a:extLst>
                      <a:ext uri="{FF2B5EF4-FFF2-40B4-BE49-F238E27FC236}">
                        <a16:creationId xmlns:a16="http://schemas.microsoft.com/office/drawing/2014/main" id="{A2D8B095-9D49-81B2-5209-985257E0823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492" name="Freeform 5101">
                  <a:extLst>
                    <a:ext uri="{FF2B5EF4-FFF2-40B4-BE49-F238E27FC236}">
                      <a16:creationId xmlns:a16="http://schemas.microsoft.com/office/drawing/2014/main" id="{58B2681A-5E44-D941-CEB0-54B6394856D2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493" name="Freeform 5101">
                  <a:extLst>
                    <a:ext uri="{FF2B5EF4-FFF2-40B4-BE49-F238E27FC236}">
                      <a16:creationId xmlns:a16="http://schemas.microsoft.com/office/drawing/2014/main" id="{87D8F965-4DCB-06E0-494D-5C925DA38B62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494" name="Freeform 5101">
                  <a:extLst>
                    <a:ext uri="{FF2B5EF4-FFF2-40B4-BE49-F238E27FC236}">
                      <a16:creationId xmlns:a16="http://schemas.microsoft.com/office/drawing/2014/main" id="{6BA8EDAD-A57E-3C5F-BB80-D4848185154D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504" name="Group 503">
                <a:extLst>
                  <a:ext uri="{FF2B5EF4-FFF2-40B4-BE49-F238E27FC236}">
                    <a16:creationId xmlns:a16="http://schemas.microsoft.com/office/drawing/2014/main" id="{02C12B42-DF6B-4C3D-0786-2EA93617365B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7607224" flipH="1">
                <a:off x="4294933" y="3795533"/>
                <a:ext cx="142146" cy="391723"/>
                <a:chOff x="5926138" y="3011488"/>
                <a:chExt cx="339725" cy="838200"/>
              </a:xfrm>
            </p:grpSpPr>
            <p:grpSp>
              <p:nvGrpSpPr>
                <p:cNvPr id="505" name="Group 15">
                  <a:extLst>
                    <a:ext uri="{FF2B5EF4-FFF2-40B4-BE49-F238E27FC236}">
                      <a16:creationId xmlns:a16="http://schemas.microsoft.com/office/drawing/2014/main" id="{D1BE6B08-3795-CE2A-EF14-DE65CF2FD54A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509" name="AutoShape 14">
                    <a:extLst>
                      <a:ext uri="{FF2B5EF4-FFF2-40B4-BE49-F238E27FC236}">
                        <a16:creationId xmlns:a16="http://schemas.microsoft.com/office/drawing/2014/main" id="{EB811435-CC47-3CC9-A68F-3AE3C362F750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10" name="Freeform 16">
                    <a:extLst>
                      <a:ext uri="{FF2B5EF4-FFF2-40B4-BE49-F238E27FC236}">
                        <a16:creationId xmlns:a16="http://schemas.microsoft.com/office/drawing/2014/main" id="{91E9DD75-8D86-70B2-EC8C-BD87972AA5C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3" y="2063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11" name="Freeform 17">
                    <a:extLst>
                      <a:ext uri="{FF2B5EF4-FFF2-40B4-BE49-F238E27FC236}">
                        <a16:creationId xmlns:a16="http://schemas.microsoft.com/office/drawing/2014/main" id="{48982CBF-5171-6193-1F92-F08CE7951255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12" name="Freeform 18">
                    <a:extLst>
                      <a:ext uri="{FF2B5EF4-FFF2-40B4-BE49-F238E27FC236}">
                        <a16:creationId xmlns:a16="http://schemas.microsoft.com/office/drawing/2014/main" id="{3BD73E53-3FC9-CD73-DF96-BD0830CA94D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13" name="Freeform 19">
                    <a:extLst>
                      <a:ext uri="{FF2B5EF4-FFF2-40B4-BE49-F238E27FC236}">
                        <a16:creationId xmlns:a16="http://schemas.microsoft.com/office/drawing/2014/main" id="{16B26AF1-FC0F-CDA0-ABA5-C1AFF068ED2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14" name="Freeform 20">
                    <a:extLst>
                      <a:ext uri="{FF2B5EF4-FFF2-40B4-BE49-F238E27FC236}">
                        <a16:creationId xmlns:a16="http://schemas.microsoft.com/office/drawing/2014/main" id="{A5DE106E-3BBF-B2D1-CACC-E98A6C66FDB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15" name="Freeform 21">
                    <a:extLst>
                      <a:ext uri="{FF2B5EF4-FFF2-40B4-BE49-F238E27FC236}">
                        <a16:creationId xmlns:a16="http://schemas.microsoft.com/office/drawing/2014/main" id="{147A9A23-4059-908D-57AA-1038F65B444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16" name="Freeform 22">
                    <a:extLst>
                      <a:ext uri="{FF2B5EF4-FFF2-40B4-BE49-F238E27FC236}">
                        <a16:creationId xmlns:a16="http://schemas.microsoft.com/office/drawing/2014/main" id="{2801BC6A-8945-D37C-573C-98BAF82B88E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17" name="Freeform 23">
                    <a:extLst>
                      <a:ext uri="{FF2B5EF4-FFF2-40B4-BE49-F238E27FC236}">
                        <a16:creationId xmlns:a16="http://schemas.microsoft.com/office/drawing/2014/main" id="{0293889C-45FE-D6C7-625A-E6ED67FFAD0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506" name="Freeform 5101">
                  <a:extLst>
                    <a:ext uri="{FF2B5EF4-FFF2-40B4-BE49-F238E27FC236}">
                      <a16:creationId xmlns:a16="http://schemas.microsoft.com/office/drawing/2014/main" id="{FE712336-62F0-5728-2E3E-C271826CC86C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507" name="Freeform 5101">
                  <a:extLst>
                    <a:ext uri="{FF2B5EF4-FFF2-40B4-BE49-F238E27FC236}">
                      <a16:creationId xmlns:a16="http://schemas.microsoft.com/office/drawing/2014/main" id="{78BBD181-295D-440F-9F8D-CAFE49CA0728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508" name="Freeform 5101">
                  <a:extLst>
                    <a:ext uri="{FF2B5EF4-FFF2-40B4-BE49-F238E27FC236}">
                      <a16:creationId xmlns:a16="http://schemas.microsoft.com/office/drawing/2014/main" id="{57A0AAF5-DFCC-4C44-9EE8-501E2B49B02B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518" name="Group 517">
                <a:extLst>
                  <a:ext uri="{FF2B5EF4-FFF2-40B4-BE49-F238E27FC236}">
                    <a16:creationId xmlns:a16="http://schemas.microsoft.com/office/drawing/2014/main" id="{A64EACA5-AAF7-E969-CEF9-50E2CBA29A48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7607224" flipH="1">
                <a:off x="4388952" y="3687717"/>
                <a:ext cx="142146" cy="391723"/>
                <a:chOff x="5926138" y="3011488"/>
                <a:chExt cx="339725" cy="838200"/>
              </a:xfrm>
            </p:grpSpPr>
            <p:grpSp>
              <p:nvGrpSpPr>
                <p:cNvPr id="519" name="Group 15">
                  <a:extLst>
                    <a:ext uri="{FF2B5EF4-FFF2-40B4-BE49-F238E27FC236}">
                      <a16:creationId xmlns:a16="http://schemas.microsoft.com/office/drawing/2014/main" id="{3E451DAA-D6DB-EBB8-429D-18D1DBD2D2DF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523" name="AutoShape 14">
                    <a:extLst>
                      <a:ext uri="{FF2B5EF4-FFF2-40B4-BE49-F238E27FC236}">
                        <a16:creationId xmlns:a16="http://schemas.microsoft.com/office/drawing/2014/main" id="{35F6F8FB-15A2-F9A5-2809-87BA5D91F40A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24" name="Freeform 16">
                    <a:extLst>
                      <a:ext uri="{FF2B5EF4-FFF2-40B4-BE49-F238E27FC236}">
                        <a16:creationId xmlns:a16="http://schemas.microsoft.com/office/drawing/2014/main" id="{E91CD364-0252-481F-001E-2C5A9216DCB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3" y="2063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25" name="Freeform 17">
                    <a:extLst>
                      <a:ext uri="{FF2B5EF4-FFF2-40B4-BE49-F238E27FC236}">
                        <a16:creationId xmlns:a16="http://schemas.microsoft.com/office/drawing/2014/main" id="{BE5C4E67-95E8-8BA3-F235-C2DEE13C3E2F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26" name="Freeform 18">
                    <a:extLst>
                      <a:ext uri="{FF2B5EF4-FFF2-40B4-BE49-F238E27FC236}">
                        <a16:creationId xmlns:a16="http://schemas.microsoft.com/office/drawing/2014/main" id="{5E807D25-3EAC-59FF-7C12-9B10CDEC785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27" name="Freeform 19">
                    <a:extLst>
                      <a:ext uri="{FF2B5EF4-FFF2-40B4-BE49-F238E27FC236}">
                        <a16:creationId xmlns:a16="http://schemas.microsoft.com/office/drawing/2014/main" id="{221CD881-6A6D-2340-8642-DE9CEA191AA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28" name="Freeform 20">
                    <a:extLst>
                      <a:ext uri="{FF2B5EF4-FFF2-40B4-BE49-F238E27FC236}">
                        <a16:creationId xmlns:a16="http://schemas.microsoft.com/office/drawing/2014/main" id="{24D8E392-2D9B-0D58-B539-C82F7941BE9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29" name="Freeform 21">
                    <a:extLst>
                      <a:ext uri="{FF2B5EF4-FFF2-40B4-BE49-F238E27FC236}">
                        <a16:creationId xmlns:a16="http://schemas.microsoft.com/office/drawing/2014/main" id="{4A2DA530-7CD5-5B2E-7C26-44848BBE06B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30" name="Freeform 22">
                    <a:extLst>
                      <a:ext uri="{FF2B5EF4-FFF2-40B4-BE49-F238E27FC236}">
                        <a16:creationId xmlns:a16="http://schemas.microsoft.com/office/drawing/2014/main" id="{246969D8-1A35-EE05-CD88-BAB4B6266AB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31" name="Freeform 23">
                    <a:extLst>
                      <a:ext uri="{FF2B5EF4-FFF2-40B4-BE49-F238E27FC236}">
                        <a16:creationId xmlns:a16="http://schemas.microsoft.com/office/drawing/2014/main" id="{BAA7BCB9-1495-CAB0-01C8-67453E6BE61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520" name="Freeform 5101">
                  <a:extLst>
                    <a:ext uri="{FF2B5EF4-FFF2-40B4-BE49-F238E27FC236}">
                      <a16:creationId xmlns:a16="http://schemas.microsoft.com/office/drawing/2014/main" id="{BD332A86-A8FE-F60A-3A9D-E2E70B25DBAA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521" name="Freeform 5101">
                  <a:extLst>
                    <a:ext uri="{FF2B5EF4-FFF2-40B4-BE49-F238E27FC236}">
                      <a16:creationId xmlns:a16="http://schemas.microsoft.com/office/drawing/2014/main" id="{0097C186-793F-5F63-EC14-97C3941E4BE4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522" name="Freeform 5101">
                  <a:extLst>
                    <a:ext uri="{FF2B5EF4-FFF2-40B4-BE49-F238E27FC236}">
                      <a16:creationId xmlns:a16="http://schemas.microsoft.com/office/drawing/2014/main" id="{E7DA85D9-FE7D-C814-BA4E-E6299B7DE6DB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532" name="Group 531">
                <a:extLst>
                  <a:ext uri="{FF2B5EF4-FFF2-40B4-BE49-F238E27FC236}">
                    <a16:creationId xmlns:a16="http://schemas.microsoft.com/office/drawing/2014/main" id="{8CA76E95-51A8-9FDF-BEF7-0F548905D112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7210450" flipH="1">
                <a:off x="4477078" y="3579621"/>
                <a:ext cx="142146" cy="391723"/>
                <a:chOff x="5926138" y="3011488"/>
                <a:chExt cx="339725" cy="838200"/>
              </a:xfrm>
            </p:grpSpPr>
            <p:grpSp>
              <p:nvGrpSpPr>
                <p:cNvPr id="533" name="Group 15">
                  <a:extLst>
                    <a:ext uri="{FF2B5EF4-FFF2-40B4-BE49-F238E27FC236}">
                      <a16:creationId xmlns:a16="http://schemas.microsoft.com/office/drawing/2014/main" id="{6452946E-F4DA-02ED-376C-6F2C20A73A26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537" name="AutoShape 14">
                    <a:extLst>
                      <a:ext uri="{FF2B5EF4-FFF2-40B4-BE49-F238E27FC236}">
                        <a16:creationId xmlns:a16="http://schemas.microsoft.com/office/drawing/2014/main" id="{64F120DE-F6BE-9562-F6D2-CF630984A90C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38" name="Freeform 16">
                    <a:extLst>
                      <a:ext uri="{FF2B5EF4-FFF2-40B4-BE49-F238E27FC236}">
                        <a16:creationId xmlns:a16="http://schemas.microsoft.com/office/drawing/2014/main" id="{ED8D06A6-0AB9-44AC-D79E-E0B66D478D4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3" y="2063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39" name="Freeform 17">
                    <a:extLst>
                      <a:ext uri="{FF2B5EF4-FFF2-40B4-BE49-F238E27FC236}">
                        <a16:creationId xmlns:a16="http://schemas.microsoft.com/office/drawing/2014/main" id="{1F8BC101-81C9-123E-F715-E9E21E480071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40" name="Freeform 18">
                    <a:extLst>
                      <a:ext uri="{FF2B5EF4-FFF2-40B4-BE49-F238E27FC236}">
                        <a16:creationId xmlns:a16="http://schemas.microsoft.com/office/drawing/2014/main" id="{402CB05F-D10B-210F-FADE-53E7BB3D4C2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41" name="Freeform 19">
                    <a:extLst>
                      <a:ext uri="{FF2B5EF4-FFF2-40B4-BE49-F238E27FC236}">
                        <a16:creationId xmlns:a16="http://schemas.microsoft.com/office/drawing/2014/main" id="{7E639D4B-97A7-F969-7316-EC188B3C8A1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42" name="Freeform 20">
                    <a:extLst>
                      <a:ext uri="{FF2B5EF4-FFF2-40B4-BE49-F238E27FC236}">
                        <a16:creationId xmlns:a16="http://schemas.microsoft.com/office/drawing/2014/main" id="{61F47217-AE4F-DC43-6A23-F4BEDA199F9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43" name="Freeform 21">
                    <a:extLst>
                      <a:ext uri="{FF2B5EF4-FFF2-40B4-BE49-F238E27FC236}">
                        <a16:creationId xmlns:a16="http://schemas.microsoft.com/office/drawing/2014/main" id="{40564C78-5670-EC50-3CBF-DBCC2EE5CCE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44" name="Freeform 22">
                    <a:extLst>
                      <a:ext uri="{FF2B5EF4-FFF2-40B4-BE49-F238E27FC236}">
                        <a16:creationId xmlns:a16="http://schemas.microsoft.com/office/drawing/2014/main" id="{7E1AE37A-751D-5E3A-EA10-4BEAD771AD0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45" name="Freeform 23">
                    <a:extLst>
                      <a:ext uri="{FF2B5EF4-FFF2-40B4-BE49-F238E27FC236}">
                        <a16:creationId xmlns:a16="http://schemas.microsoft.com/office/drawing/2014/main" id="{2ECFD6DB-2A5E-0FFF-C976-53FB514FD43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534" name="Freeform 5101">
                  <a:extLst>
                    <a:ext uri="{FF2B5EF4-FFF2-40B4-BE49-F238E27FC236}">
                      <a16:creationId xmlns:a16="http://schemas.microsoft.com/office/drawing/2014/main" id="{21C16131-3D82-FC03-7223-83465EE35E48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535" name="Freeform 5101">
                  <a:extLst>
                    <a:ext uri="{FF2B5EF4-FFF2-40B4-BE49-F238E27FC236}">
                      <a16:creationId xmlns:a16="http://schemas.microsoft.com/office/drawing/2014/main" id="{4648AC3C-5AAE-715D-B786-79F57C4B5006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536" name="Freeform 5101">
                  <a:extLst>
                    <a:ext uri="{FF2B5EF4-FFF2-40B4-BE49-F238E27FC236}">
                      <a16:creationId xmlns:a16="http://schemas.microsoft.com/office/drawing/2014/main" id="{8F292CA4-AD00-EE95-C21E-4AAA7BDBB8DF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546" name="Group 545">
                <a:extLst>
                  <a:ext uri="{FF2B5EF4-FFF2-40B4-BE49-F238E27FC236}">
                    <a16:creationId xmlns:a16="http://schemas.microsoft.com/office/drawing/2014/main" id="{AA0EF97C-18C4-B28E-BA40-42B56BAFB0F8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6559884" flipH="1">
                <a:off x="4628285" y="3328000"/>
                <a:ext cx="142146" cy="391723"/>
                <a:chOff x="5926138" y="3011488"/>
                <a:chExt cx="339725" cy="838200"/>
              </a:xfrm>
            </p:grpSpPr>
            <p:grpSp>
              <p:nvGrpSpPr>
                <p:cNvPr id="547" name="Group 15">
                  <a:extLst>
                    <a:ext uri="{FF2B5EF4-FFF2-40B4-BE49-F238E27FC236}">
                      <a16:creationId xmlns:a16="http://schemas.microsoft.com/office/drawing/2014/main" id="{289179F9-DD76-7C2F-649F-03E7C07D7BC9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551" name="AutoShape 14">
                    <a:extLst>
                      <a:ext uri="{FF2B5EF4-FFF2-40B4-BE49-F238E27FC236}">
                        <a16:creationId xmlns:a16="http://schemas.microsoft.com/office/drawing/2014/main" id="{87729078-AA46-E203-9615-421FC07CC02B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52" name="Freeform 16">
                    <a:extLst>
                      <a:ext uri="{FF2B5EF4-FFF2-40B4-BE49-F238E27FC236}">
                        <a16:creationId xmlns:a16="http://schemas.microsoft.com/office/drawing/2014/main" id="{5C86C580-E6E9-5594-CA34-315CBD873CF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rot="10860552">
                    <a:off x="3740" y="2061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53" name="Freeform 17">
                    <a:extLst>
                      <a:ext uri="{FF2B5EF4-FFF2-40B4-BE49-F238E27FC236}">
                        <a16:creationId xmlns:a16="http://schemas.microsoft.com/office/drawing/2014/main" id="{E4B5BDD7-B2C5-767E-AE76-B0A40550C048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 rot="10749847"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54" name="Freeform 18">
                    <a:extLst>
                      <a:ext uri="{FF2B5EF4-FFF2-40B4-BE49-F238E27FC236}">
                        <a16:creationId xmlns:a16="http://schemas.microsoft.com/office/drawing/2014/main" id="{C9A5768C-C97F-15D7-A3D8-0960F151DB2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55" name="Freeform 19">
                    <a:extLst>
                      <a:ext uri="{FF2B5EF4-FFF2-40B4-BE49-F238E27FC236}">
                        <a16:creationId xmlns:a16="http://schemas.microsoft.com/office/drawing/2014/main" id="{7C46E0BF-715F-6BDE-801D-989C495F1B2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56" name="Freeform 20">
                    <a:extLst>
                      <a:ext uri="{FF2B5EF4-FFF2-40B4-BE49-F238E27FC236}">
                        <a16:creationId xmlns:a16="http://schemas.microsoft.com/office/drawing/2014/main" id="{0A675F39-738D-A2D7-BABF-2CE08429BDB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57" name="Freeform 21">
                    <a:extLst>
                      <a:ext uri="{FF2B5EF4-FFF2-40B4-BE49-F238E27FC236}">
                        <a16:creationId xmlns:a16="http://schemas.microsoft.com/office/drawing/2014/main" id="{339F1162-0759-ED33-F309-A83FABCC12B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58" name="Freeform 22">
                    <a:extLst>
                      <a:ext uri="{FF2B5EF4-FFF2-40B4-BE49-F238E27FC236}">
                        <a16:creationId xmlns:a16="http://schemas.microsoft.com/office/drawing/2014/main" id="{89457F62-A550-5DBA-C188-6331C1E2E6F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59" name="Freeform 23">
                    <a:extLst>
                      <a:ext uri="{FF2B5EF4-FFF2-40B4-BE49-F238E27FC236}">
                        <a16:creationId xmlns:a16="http://schemas.microsoft.com/office/drawing/2014/main" id="{FF4843C9-1CAE-3D41-68A5-9D7EF7CA659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548" name="Freeform 5101">
                  <a:extLst>
                    <a:ext uri="{FF2B5EF4-FFF2-40B4-BE49-F238E27FC236}">
                      <a16:creationId xmlns:a16="http://schemas.microsoft.com/office/drawing/2014/main" id="{70B1945A-60F8-7FC2-7320-2D349F3A0AAF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549" name="Freeform 5101">
                  <a:extLst>
                    <a:ext uri="{FF2B5EF4-FFF2-40B4-BE49-F238E27FC236}">
                      <a16:creationId xmlns:a16="http://schemas.microsoft.com/office/drawing/2014/main" id="{BA54FB03-5464-BC8B-E54E-B41070EA77B9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550" name="Freeform 5101">
                  <a:extLst>
                    <a:ext uri="{FF2B5EF4-FFF2-40B4-BE49-F238E27FC236}">
                      <a16:creationId xmlns:a16="http://schemas.microsoft.com/office/drawing/2014/main" id="{4904E421-16DC-509E-4B31-21C15DD7C772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560" name="Group 559">
                <a:extLst>
                  <a:ext uri="{FF2B5EF4-FFF2-40B4-BE49-F238E27FC236}">
                    <a16:creationId xmlns:a16="http://schemas.microsoft.com/office/drawing/2014/main" id="{A641B228-C4D4-F0DB-1A04-A513EBE14F59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6148265" flipH="1">
                <a:off x="4680986" y="3196314"/>
                <a:ext cx="142146" cy="391723"/>
                <a:chOff x="5926138" y="3011488"/>
                <a:chExt cx="339725" cy="838200"/>
              </a:xfrm>
            </p:grpSpPr>
            <p:grpSp>
              <p:nvGrpSpPr>
                <p:cNvPr id="561" name="Group 15">
                  <a:extLst>
                    <a:ext uri="{FF2B5EF4-FFF2-40B4-BE49-F238E27FC236}">
                      <a16:creationId xmlns:a16="http://schemas.microsoft.com/office/drawing/2014/main" id="{320D0D9E-1C09-6DFD-48F5-A685F78B8136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565" name="AutoShape 14">
                    <a:extLst>
                      <a:ext uri="{FF2B5EF4-FFF2-40B4-BE49-F238E27FC236}">
                        <a16:creationId xmlns:a16="http://schemas.microsoft.com/office/drawing/2014/main" id="{C7D6BB4C-ADDA-7AB6-1321-197325B23A3E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66" name="Freeform 16">
                    <a:extLst>
                      <a:ext uri="{FF2B5EF4-FFF2-40B4-BE49-F238E27FC236}">
                        <a16:creationId xmlns:a16="http://schemas.microsoft.com/office/drawing/2014/main" id="{8214DF64-1D16-094E-C910-899CAEA08C2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rot="10860552">
                    <a:off x="3740" y="2061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67" name="Freeform 17">
                    <a:extLst>
                      <a:ext uri="{FF2B5EF4-FFF2-40B4-BE49-F238E27FC236}">
                        <a16:creationId xmlns:a16="http://schemas.microsoft.com/office/drawing/2014/main" id="{F51B0467-1DBE-294B-9D06-3C4279BB78EF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 rot="10749847"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68" name="Freeform 18">
                    <a:extLst>
                      <a:ext uri="{FF2B5EF4-FFF2-40B4-BE49-F238E27FC236}">
                        <a16:creationId xmlns:a16="http://schemas.microsoft.com/office/drawing/2014/main" id="{2CBEA935-04E1-844D-35AA-047F625196C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69" name="Freeform 19">
                    <a:extLst>
                      <a:ext uri="{FF2B5EF4-FFF2-40B4-BE49-F238E27FC236}">
                        <a16:creationId xmlns:a16="http://schemas.microsoft.com/office/drawing/2014/main" id="{45EBB868-E1C3-0B24-5900-C9516E698A8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70" name="Freeform 20">
                    <a:extLst>
                      <a:ext uri="{FF2B5EF4-FFF2-40B4-BE49-F238E27FC236}">
                        <a16:creationId xmlns:a16="http://schemas.microsoft.com/office/drawing/2014/main" id="{B1558353-03DF-4D99-CC82-1844C12592D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71" name="Freeform 21">
                    <a:extLst>
                      <a:ext uri="{FF2B5EF4-FFF2-40B4-BE49-F238E27FC236}">
                        <a16:creationId xmlns:a16="http://schemas.microsoft.com/office/drawing/2014/main" id="{42A3B93A-A936-6575-18E3-9C0A1A12E79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72" name="Freeform 22">
                    <a:extLst>
                      <a:ext uri="{FF2B5EF4-FFF2-40B4-BE49-F238E27FC236}">
                        <a16:creationId xmlns:a16="http://schemas.microsoft.com/office/drawing/2014/main" id="{E64B11F7-66FD-2C05-5E9C-5C7B1D52533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73" name="Freeform 23">
                    <a:extLst>
                      <a:ext uri="{FF2B5EF4-FFF2-40B4-BE49-F238E27FC236}">
                        <a16:creationId xmlns:a16="http://schemas.microsoft.com/office/drawing/2014/main" id="{E1359FC4-6F13-DAF6-4452-C813514400C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562" name="Freeform 5101">
                  <a:extLst>
                    <a:ext uri="{FF2B5EF4-FFF2-40B4-BE49-F238E27FC236}">
                      <a16:creationId xmlns:a16="http://schemas.microsoft.com/office/drawing/2014/main" id="{935BA898-24D8-CA68-E70B-42A153858615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563" name="Freeform 5101">
                  <a:extLst>
                    <a:ext uri="{FF2B5EF4-FFF2-40B4-BE49-F238E27FC236}">
                      <a16:creationId xmlns:a16="http://schemas.microsoft.com/office/drawing/2014/main" id="{794D87EE-08CE-E276-38C0-E5A281354013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564" name="Freeform 5101">
                  <a:extLst>
                    <a:ext uri="{FF2B5EF4-FFF2-40B4-BE49-F238E27FC236}">
                      <a16:creationId xmlns:a16="http://schemas.microsoft.com/office/drawing/2014/main" id="{AA52AB88-4681-5151-F941-F5DDBF6C3B71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574" name="Group 573">
                <a:extLst>
                  <a:ext uri="{FF2B5EF4-FFF2-40B4-BE49-F238E27FC236}">
                    <a16:creationId xmlns:a16="http://schemas.microsoft.com/office/drawing/2014/main" id="{5450F9F6-D12B-0794-B433-88795ACE2DA0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5599683" flipH="1">
                <a:off x="4717327" y="3050718"/>
                <a:ext cx="142146" cy="391723"/>
                <a:chOff x="5926138" y="3011488"/>
                <a:chExt cx="339725" cy="838200"/>
              </a:xfrm>
            </p:grpSpPr>
            <p:grpSp>
              <p:nvGrpSpPr>
                <p:cNvPr id="575" name="Group 15">
                  <a:extLst>
                    <a:ext uri="{FF2B5EF4-FFF2-40B4-BE49-F238E27FC236}">
                      <a16:creationId xmlns:a16="http://schemas.microsoft.com/office/drawing/2014/main" id="{B340219A-5044-BF5B-50D8-CB28AD92EE65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579" name="AutoShape 14">
                    <a:extLst>
                      <a:ext uri="{FF2B5EF4-FFF2-40B4-BE49-F238E27FC236}">
                        <a16:creationId xmlns:a16="http://schemas.microsoft.com/office/drawing/2014/main" id="{22D198B5-AA2C-9BE9-892A-8A07F0D916FF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80" name="Freeform 16">
                    <a:extLst>
                      <a:ext uri="{FF2B5EF4-FFF2-40B4-BE49-F238E27FC236}">
                        <a16:creationId xmlns:a16="http://schemas.microsoft.com/office/drawing/2014/main" id="{03C2F470-E95F-1D9C-7F92-E22AA63EC4B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rot="10860552">
                    <a:off x="3740" y="2061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81" name="Freeform 17">
                    <a:extLst>
                      <a:ext uri="{FF2B5EF4-FFF2-40B4-BE49-F238E27FC236}">
                        <a16:creationId xmlns:a16="http://schemas.microsoft.com/office/drawing/2014/main" id="{C48DEF2F-08D7-30DF-A243-1542338815B1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 rot="10749847"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82" name="Freeform 18">
                    <a:extLst>
                      <a:ext uri="{FF2B5EF4-FFF2-40B4-BE49-F238E27FC236}">
                        <a16:creationId xmlns:a16="http://schemas.microsoft.com/office/drawing/2014/main" id="{D2A54B4A-E2B9-1D1A-7CE9-C94E09AF4F8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83" name="Freeform 19">
                    <a:extLst>
                      <a:ext uri="{FF2B5EF4-FFF2-40B4-BE49-F238E27FC236}">
                        <a16:creationId xmlns:a16="http://schemas.microsoft.com/office/drawing/2014/main" id="{6B6DD923-C1EF-A7EC-174F-489F9E722E8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84" name="Freeform 20">
                    <a:extLst>
                      <a:ext uri="{FF2B5EF4-FFF2-40B4-BE49-F238E27FC236}">
                        <a16:creationId xmlns:a16="http://schemas.microsoft.com/office/drawing/2014/main" id="{221287C0-9C03-4CE0-B395-D3EB03FDAAA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85" name="Freeform 21">
                    <a:extLst>
                      <a:ext uri="{FF2B5EF4-FFF2-40B4-BE49-F238E27FC236}">
                        <a16:creationId xmlns:a16="http://schemas.microsoft.com/office/drawing/2014/main" id="{C58ED646-9113-7750-EF3C-0F76B704EF7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86" name="Freeform 22">
                    <a:extLst>
                      <a:ext uri="{FF2B5EF4-FFF2-40B4-BE49-F238E27FC236}">
                        <a16:creationId xmlns:a16="http://schemas.microsoft.com/office/drawing/2014/main" id="{1D5E4044-DC0A-1FE9-FE38-0CE431E7EB8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87" name="Freeform 23">
                    <a:extLst>
                      <a:ext uri="{FF2B5EF4-FFF2-40B4-BE49-F238E27FC236}">
                        <a16:creationId xmlns:a16="http://schemas.microsoft.com/office/drawing/2014/main" id="{B4ED3E4C-D281-6C78-8B72-8C3BF49122D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576" name="Freeform 5101">
                  <a:extLst>
                    <a:ext uri="{FF2B5EF4-FFF2-40B4-BE49-F238E27FC236}">
                      <a16:creationId xmlns:a16="http://schemas.microsoft.com/office/drawing/2014/main" id="{6E2748B4-85C1-AA43-579A-894765CABE43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577" name="Freeform 5101">
                  <a:extLst>
                    <a:ext uri="{FF2B5EF4-FFF2-40B4-BE49-F238E27FC236}">
                      <a16:creationId xmlns:a16="http://schemas.microsoft.com/office/drawing/2014/main" id="{39BB9AD4-C215-058E-40A6-F1A53FAE41E6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578" name="Freeform 5101">
                  <a:extLst>
                    <a:ext uri="{FF2B5EF4-FFF2-40B4-BE49-F238E27FC236}">
                      <a16:creationId xmlns:a16="http://schemas.microsoft.com/office/drawing/2014/main" id="{422388CD-B9FB-0956-9BC5-F24756DA4F48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588" name="Group 587">
                <a:extLst>
                  <a:ext uri="{FF2B5EF4-FFF2-40B4-BE49-F238E27FC236}">
                    <a16:creationId xmlns:a16="http://schemas.microsoft.com/office/drawing/2014/main" id="{D38A1444-AAA6-86DB-5E22-8576D3590B21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5188515" flipH="1">
                <a:off x="4728405" y="2905889"/>
                <a:ext cx="142146" cy="391723"/>
                <a:chOff x="5926138" y="3011488"/>
                <a:chExt cx="339725" cy="838200"/>
              </a:xfrm>
            </p:grpSpPr>
            <p:grpSp>
              <p:nvGrpSpPr>
                <p:cNvPr id="589" name="Group 15">
                  <a:extLst>
                    <a:ext uri="{FF2B5EF4-FFF2-40B4-BE49-F238E27FC236}">
                      <a16:creationId xmlns:a16="http://schemas.microsoft.com/office/drawing/2014/main" id="{FDC97BBA-53CA-74C4-D38D-43624B5BF612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593" name="AutoShape 14">
                    <a:extLst>
                      <a:ext uri="{FF2B5EF4-FFF2-40B4-BE49-F238E27FC236}">
                        <a16:creationId xmlns:a16="http://schemas.microsoft.com/office/drawing/2014/main" id="{98B453C6-A8AF-F045-8245-2C34FB319CC4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94" name="Freeform 16">
                    <a:extLst>
                      <a:ext uri="{FF2B5EF4-FFF2-40B4-BE49-F238E27FC236}">
                        <a16:creationId xmlns:a16="http://schemas.microsoft.com/office/drawing/2014/main" id="{D3D0B920-C240-13D0-E296-340F6AE2C12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rot="10860552">
                    <a:off x="3740" y="2061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95" name="Freeform 17">
                    <a:extLst>
                      <a:ext uri="{FF2B5EF4-FFF2-40B4-BE49-F238E27FC236}">
                        <a16:creationId xmlns:a16="http://schemas.microsoft.com/office/drawing/2014/main" id="{ABA16663-5386-B7C7-3020-D4486DB00531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 rot="10749847"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96" name="Freeform 18">
                    <a:extLst>
                      <a:ext uri="{FF2B5EF4-FFF2-40B4-BE49-F238E27FC236}">
                        <a16:creationId xmlns:a16="http://schemas.microsoft.com/office/drawing/2014/main" id="{28A72C5A-B146-BD23-E010-15C986A5B1E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97" name="Freeform 19">
                    <a:extLst>
                      <a:ext uri="{FF2B5EF4-FFF2-40B4-BE49-F238E27FC236}">
                        <a16:creationId xmlns:a16="http://schemas.microsoft.com/office/drawing/2014/main" id="{0229C1A6-657B-8D79-7FAA-3A2462A673C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98" name="Freeform 20">
                    <a:extLst>
                      <a:ext uri="{FF2B5EF4-FFF2-40B4-BE49-F238E27FC236}">
                        <a16:creationId xmlns:a16="http://schemas.microsoft.com/office/drawing/2014/main" id="{87439DBA-BF44-0F9D-9B8C-64335ADCEE8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99" name="Freeform 21">
                    <a:extLst>
                      <a:ext uri="{FF2B5EF4-FFF2-40B4-BE49-F238E27FC236}">
                        <a16:creationId xmlns:a16="http://schemas.microsoft.com/office/drawing/2014/main" id="{AFFC8D49-423C-0833-82D0-2104A1352A8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00" name="Freeform 22">
                    <a:extLst>
                      <a:ext uri="{FF2B5EF4-FFF2-40B4-BE49-F238E27FC236}">
                        <a16:creationId xmlns:a16="http://schemas.microsoft.com/office/drawing/2014/main" id="{1382A6B7-4C12-D95B-AD11-313214DE4FA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01" name="Freeform 23">
                    <a:extLst>
                      <a:ext uri="{FF2B5EF4-FFF2-40B4-BE49-F238E27FC236}">
                        <a16:creationId xmlns:a16="http://schemas.microsoft.com/office/drawing/2014/main" id="{16AB1576-A1F7-0489-571C-A0B3184EF81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590" name="Freeform 5101">
                  <a:extLst>
                    <a:ext uri="{FF2B5EF4-FFF2-40B4-BE49-F238E27FC236}">
                      <a16:creationId xmlns:a16="http://schemas.microsoft.com/office/drawing/2014/main" id="{3E3AB149-79E7-3E69-8416-EE5DDA6B6A0E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591" name="Freeform 5101">
                  <a:extLst>
                    <a:ext uri="{FF2B5EF4-FFF2-40B4-BE49-F238E27FC236}">
                      <a16:creationId xmlns:a16="http://schemas.microsoft.com/office/drawing/2014/main" id="{3D646258-113F-7FBD-FA0C-06E35A887301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592" name="Freeform 5101">
                  <a:extLst>
                    <a:ext uri="{FF2B5EF4-FFF2-40B4-BE49-F238E27FC236}">
                      <a16:creationId xmlns:a16="http://schemas.microsoft.com/office/drawing/2014/main" id="{7EA56765-AEA5-2382-06A3-7BDABCDBA265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602" name="Group 601">
                <a:extLst>
                  <a:ext uri="{FF2B5EF4-FFF2-40B4-BE49-F238E27FC236}">
                    <a16:creationId xmlns:a16="http://schemas.microsoft.com/office/drawing/2014/main" id="{C101820A-388C-9849-4CA9-E8CEDBACA105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4810815" flipH="1">
                <a:off x="4715811" y="2760547"/>
                <a:ext cx="142146" cy="391723"/>
                <a:chOff x="5926138" y="3011488"/>
                <a:chExt cx="339725" cy="838200"/>
              </a:xfrm>
            </p:grpSpPr>
            <p:grpSp>
              <p:nvGrpSpPr>
                <p:cNvPr id="603" name="Group 15">
                  <a:extLst>
                    <a:ext uri="{FF2B5EF4-FFF2-40B4-BE49-F238E27FC236}">
                      <a16:creationId xmlns:a16="http://schemas.microsoft.com/office/drawing/2014/main" id="{816CB436-0DC9-2F68-C611-471C24F7FC5C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607" name="AutoShape 14">
                    <a:extLst>
                      <a:ext uri="{FF2B5EF4-FFF2-40B4-BE49-F238E27FC236}">
                        <a16:creationId xmlns:a16="http://schemas.microsoft.com/office/drawing/2014/main" id="{C05842A4-4E99-4C25-ED6C-E275059D4A91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08" name="Freeform 16">
                    <a:extLst>
                      <a:ext uri="{FF2B5EF4-FFF2-40B4-BE49-F238E27FC236}">
                        <a16:creationId xmlns:a16="http://schemas.microsoft.com/office/drawing/2014/main" id="{B0A4D222-1E08-CC64-E6E2-2565D7378D4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rot="10860552">
                    <a:off x="3740" y="2061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09" name="Freeform 17">
                    <a:extLst>
                      <a:ext uri="{FF2B5EF4-FFF2-40B4-BE49-F238E27FC236}">
                        <a16:creationId xmlns:a16="http://schemas.microsoft.com/office/drawing/2014/main" id="{0E0FE6E2-FF2B-EDDF-1B16-77BBFD41BCB1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 rot="10749847"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10" name="Freeform 18">
                    <a:extLst>
                      <a:ext uri="{FF2B5EF4-FFF2-40B4-BE49-F238E27FC236}">
                        <a16:creationId xmlns:a16="http://schemas.microsoft.com/office/drawing/2014/main" id="{225DC710-A1C1-5632-48E1-0682524181F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11" name="Freeform 19">
                    <a:extLst>
                      <a:ext uri="{FF2B5EF4-FFF2-40B4-BE49-F238E27FC236}">
                        <a16:creationId xmlns:a16="http://schemas.microsoft.com/office/drawing/2014/main" id="{16138D63-AC31-DAFE-91A8-45E9FEB0F27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12" name="Freeform 20">
                    <a:extLst>
                      <a:ext uri="{FF2B5EF4-FFF2-40B4-BE49-F238E27FC236}">
                        <a16:creationId xmlns:a16="http://schemas.microsoft.com/office/drawing/2014/main" id="{E7FD570F-939D-4ECC-3D18-5299F95812B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13" name="Freeform 21">
                    <a:extLst>
                      <a:ext uri="{FF2B5EF4-FFF2-40B4-BE49-F238E27FC236}">
                        <a16:creationId xmlns:a16="http://schemas.microsoft.com/office/drawing/2014/main" id="{B5E10C46-5AB0-237D-85E0-1E4627538B8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14" name="Freeform 22">
                    <a:extLst>
                      <a:ext uri="{FF2B5EF4-FFF2-40B4-BE49-F238E27FC236}">
                        <a16:creationId xmlns:a16="http://schemas.microsoft.com/office/drawing/2014/main" id="{C6AB2A30-9126-7F40-8E37-873885D3D3C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15" name="Freeform 23">
                    <a:extLst>
                      <a:ext uri="{FF2B5EF4-FFF2-40B4-BE49-F238E27FC236}">
                        <a16:creationId xmlns:a16="http://schemas.microsoft.com/office/drawing/2014/main" id="{A765D8AF-C7D9-6ACC-F763-0C3839EB501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604" name="Freeform 5101">
                  <a:extLst>
                    <a:ext uri="{FF2B5EF4-FFF2-40B4-BE49-F238E27FC236}">
                      <a16:creationId xmlns:a16="http://schemas.microsoft.com/office/drawing/2014/main" id="{AE037643-CAE0-A410-708D-F45CB7B697D9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605" name="Freeform 5101">
                  <a:extLst>
                    <a:ext uri="{FF2B5EF4-FFF2-40B4-BE49-F238E27FC236}">
                      <a16:creationId xmlns:a16="http://schemas.microsoft.com/office/drawing/2014/main" id="{70250218-1A64-19C4-FBBF-FE3B5DF28CEE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606" name="Freeform 5101">
                  <a:extLst>
                    <a:ext uri="{FF2B5EF4-FFF2-40B4-BE49-F238E27FC236}">
                      <a16:creationId xmlns:a16="http://schemas.microsoft.com/office/drawing/2014/main" id="{EC392D86-4037-063B-7889-A9C91840EE72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616" name="Group 615">
                <a:extLst>
                  <a:ext uri="{FF2B5EF4-FFF2-40B4-BE49-F238E27FC236}">
                    <a16:creationId xmlns:a16="http://schemas.microsoft.com/office/drawing/2014/main" id="{0B951360-1810-E913-7AEB-DA468CD98828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4401282" flipH="1">
                <a:off x="4688659" y="2616100"/>
                <a:ext cx="142146" cy="391723"/>
                <a:chOff x="5926138" y="3011488"/>
                <a:chExt cx="339725" cy="838200"/>
              </a:xfrm>
            </p:grpSpPr>
            <p:grpSp>
              <p:nvGrpSpPr>
                <p:cNvPr id="617" name="Group 15">
                  <a:extLst>
                    <a:ext uri="{FF2B5EF4-FFF2-40B4-BE49-F238E27FC236}">
                      <a16:creationId xmlns:a16="http://schemas.microsoft.com/office/drawing/2014/main" id="{85CC6998-CDE5-5F2B-95C0-C1E3DE11AAD1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621" name="AutoShape 14">
                    <a:extLst>
                      <a:ext uri="{FF2B5EF4-FFF2-40B4-BE49-F238E27FC236}">
                        <a16:creationId xmlns:a16="http://schemas.microsoft.com/office/drawing/2014/main" id="{BFE84162-7DF7-33DC-2611-C2EADB8468D2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22" name="Freeform 16">
                    <a:extLst>
                      <a:ext uri="{FF2B5EF4-FFF2-40B4-BE49-F238E27FC236}">
                        <a16:creationId xmlns:a16="http://schemas.microsoft.com/office/drawing/2014/main" id="{E5101328-AFB5-44E3-817D-4310932818B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rot="10860552">
                    <a:off x="3740" y="2061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23" name="Freeform 17">
                    <a:extLst>
                      <a:ext uri="{FF2B5EF4-FFF2-40B4-BE49-F238E27FC236}">
                        <a16:creationId xmlns:a16="http://schemas.microsoft.com/office/drawing/2014/main" id="{0A45EC10-5EF8-66A1-ABE5-7C234A960A87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 rot="10749847"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24" name="Freeform 18">
                    <a:extLst>
                      <a:ext uri="{FF2B5EF4-FFF2-40B4-BE49-F238E27FC236}">
                        <a16:creationId xmlns:a16="http://schemas.microsoft.com/office/drawing/2014/main" id="{0E7052AA-4F73-3B76-E157-97012CCC993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25" name="Freeform 19">
                    <a:extLst>
                      <a:ext uri="{FF2B5EF4-FFF2-40B4-BE49-F238E27FC236}">
                        <a16:creationId xmlns:a16="http://schemas.microsoft.com/office/drawing/2014/main" id="{A054AE6F-77D9-73C1-1ED9-0CF45DFF653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26" name="Freeform 20">
                    <a:extLst>
                      <a:ext uri="{FF2B5EF4-FFF2-40B4-BE49-F238E27FC236}">
                        <a16:creationId xmlns:a16="http://schemas.microsoft.com/office/drawing/2014/main" id="{544AF4DA-158F-BACE-1FBF-2C08D721D06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27" name="Freeform 21">
                    <a:extLst>
                      <a:ext uri="{FF2B5EF4-FFF2-40B4-BE49-F238E27FC236}">
                        <a16:creationId xmlns:a16="http://schemas.microsoft.com/office/drawing/2014/main" id="{98E879BF-EDF5-27F0-A0ED-908B784B200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28" name="Freeform 22">
                    <a:extLst>
                      <a:ext uri="{FF2B5EF4-FFF2-40B4-BE49-F238E27FC236}">
                        <a16:creationId xmlns:a16="http://schemas.microsoft.com/office/drawing/2014/main" id="{1ECC1D3F-E36F-0F3D-914E-93C3852D132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29" name="Freeform 23">
                    <a:extLst>
                      <a:ext uri="{FF2B5EF4-FFF2-40B4-BE49-F238E27FC236}">
                        <a16:creationId xmlns:a16="http://schemas.microsoft.com/office/drawing/2014/main" id="{50D260C3-F917-C209-ACAA-C67F88A8D2C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618" name="Freeform 5101">
                  <a:extLst>
                    <a:ext uri="{FF2B5EF4-FFF2-40B4-BE49-F238E27FC236}">
                      <a16:creationId xmlns:a16="http://schemas.microsoft.com/office/drawing/2014/main" id="{597502C5-9134-7921-1F6E-E5F65B9530E4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619" name="Freeform 5101">
                  <a:extLst>
                    <a:ext uri="{FF2B5EF4-FFF2-40B4-BE49-F238E27FC236}">
                      <a16:creationId xmlns:a16="http://schemas.microsoft.com/office/drawing/2014/main" id="{B4CBAA8B-1A09-BF2E-00BC-430973191D25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620" name="Freeform 5101">
                  <a:extLst>
                    <a:ext uri="{FF2B5EF4-FFF2-40B4-BE49-F238E27FC236}">
                      <a16:creationId xmlns:a16="http://schemas.microsoft.com/office/drawing/2014/main" id="{C5253155-AC9E-7CA5-31D1-1AEAF3253676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630" name="Group 629">
                <a:extLst>
                  <a:ext uri="{FF2B5EF4-FFF2-40B4-BE49-F238E27FC236}">
                    <a16:creationId xmlns:a16="http://schemas.microsoft.com/office/drawing/2014/main" id="{B38DDF15-5578-804A-1548-AA2BC052EF58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3894262" flipH="1">
                <a:off x="4638804" y="2475594"/>
                <a:ext cx="142146" cy="391723"/>
                <a:chOff x="5926138" y="3011488"/>
                <a:chExt cx="339725" cy="838200"/>
              </a:xfrm>
            </p:grpSpPr>
            <p:grpSp>
              <p:nvGrpSpPr>
                <p:cNvPr id="631" name="Group 15">
                  <a:extLst>
                    <a:ext uri="{FF2B5EF4-FFF2-40B4-BE49-F238E27FC236}">
                      <a16:creationId xmlns:a16="http://schemas.microsoft.com/office/drawing/2014/main" id="{04DB6517-835F-E669-A3B2-CBA26DD5CEF1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635" name="AutoShape 14">
                    <a:extLst>
                      <a:ext uri="{FF2B5EF4-FFF2-40B4-BE49-F238E27FC236}">
                        <a16:creationId xmlns:a16="http://schemas.microsoft.com/office/drawing/2014/main" id="{594241CA-259A-5318-88B6-6F26FB16BF0E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36" name="Freeform 16">
                    <a:extLst>
                      <a:ext uri="{FF2B5EF4-FFF2-40B4-BE49-F238E27FC236}">
                        <a16:creationId xmlns:a16="http://schemas.microsoft.com/office/drawing/2014/main" id="{D2412A0F-8A23-8E4D-8476-D76F9CDC32D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rot="10860552">
                    <a:off x="3740" y="2061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37" name="Freeform 17">
                    <a:extLst>
                      <a:ext uri="{FF2B5EF4-FFF2-40B4-BE49-F238E27FC236}">
                        <a16:creationId xmlns:a16="http://schemas.microsoft.com/office/drawing/2014/main" id="{A1DE8E07-0385-FFAF-D114-B3C4D52A07B7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 rot="10749847"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38" name="Freeform 18">
                    <a:extLst>
                      <a:ext uri="{FF2B5EF4-FFF2-40B4-BE49-F238E27FC236}">
                        <a16:creationId xmlns:a16="http://schemas.microsoft.com/office/drawing/2014/main" id="{6C84965D-5ADC-9C0B-FA21-CBB1259A09C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39" name="Freeform 19">
                    <a:extLst>
                      <a:ext uri="{FF2B5EF4-FFF2-40B4-BE49-F238E27FC236}">
                        <a16:creationId xmlns:a16="http://schemas.microsoft.com/office/drawing/2014/main" id="{39A7CDAF-6DA5-DEA9-6042-510323C0722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40" name="Freeform 20">
                    <a:extLst>
                      <a:ext uri="{FF2B5EF4-FFF2-40B4-BE49-F238E27FC236}">
                        <a16:creationId xmlns:a16="http://schemas.microsoft.com/office/drawing/2014/main" id="{C4FD1C9D-9149-6128-D4F5-53EBF75A6B2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41" name="Freeform 21">
                    <a:extLst>
                      <a:ext uri="{FF2B5EF4-FFF2-40B4-BE49-F238E27FC236}">
                        <a16:creationId xmlns:a16="http://schemas.microsoft.com/office/drawing/2014/main" id="{B873C564-8D05-72BC-B044-A3DFB9BAE92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42" name="Freeform 22">
                    <a:extLst>
                      <a:ext uri="{FF2B5EF4-FFF2-40B4-BE49-F238E27FC236}">
                        <a16:creationId xmlns:a16="http://schemas.microsoft.com/office/drawing/2014/main" id="{3AB38F88-22FC-4415-EA52-0A5D7F76683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43" name="Freeform 23">
                    <a:extLst>
                      <a:ext uri="{FF2B5EF4-FFF2-40B4-BE49-F238E27FC236}">
                        <a16:creationId xmlns:a16="http://schemas.microsoft.com/office/drawing/2014/main" id="{49560280-2642-21F1-D905-B69A03EA72D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632" name="Freeform 5101">
                  <a:extLst>
                    <a:ext uri="{FF2B5EF4-FFF2-40B4-BE49-F238E27FC236}">
                      <a16:creationId xmlns:a16="http://schemas.microsoft.com/office/drawing/2014/main" id="{A60C581C-5BF1-4B30-6AAB-C84BF7228866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633" name="Freeform 5101">
                  <a:extLst>
                    <a:ext uri="{FF2B5EF4-FFF2-40B4-BE49-F238E27FC236}">
                      <a16:creationId xmlns:a16="http://schemas.microsoft.com/office/drawing/2014/main" id="{9F46A125-359F-DE4F-BF86-9D9AE278EF3B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634" name="Freeform 5101">
                  <a:extLst>
                    <a:ext uri="{FF2B5EF4-FFF2-40B4-BE49-F238E27FC236}">
                      <a16:creationId xmlns:a16="http://schemas.microsoft.com/office/drawing/2014/main" id="{FB7A452D-36B7-B927-4862-A3382A38AAE6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644" name="Group 643">
                <a:extLst>
                  <a:ext uri="{FF2B5EF4-FFF2-40B4-BE49-F238E27FC236}">
                    <a16:creationId xmlns:a16="http://schemas.microsoft.com/office/drawing/2014/main" id="{9C26D950-383F-6309-56B6-EAF9B2F086BE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3431847" flipH="1">
                <a:off x="4569979" y="2340291"/>
                <a:ext cx="142146" cy="391723"/>
                <a:chOff x="5926138" y="3011488"/>
                <a:chExt cx="339725" cy="838200"/>
              </a:xfrm>
            </p:grpSpPr>
            <p:grpSp>
              <p:nvGrpSpPr>
                <p:cNvPr id="645" name="Group 15">
                  <a:extLst>
                    <a:ext uri="{FF2B5EF4-FFF2-40B4-BE49-F238E27FC236}">
                      <a16:creationId xmlns:a16="http://schemas.microsoft.com/office/drawing/2014/main" id="{18D4810C-6A97-3636-3621-5BAFDE252D00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649" name="AutoShape 14">
                    <a:extLst>
                      <a:ext uri="{FF2B5EF4-FFF2-40B4-BE49-F238E27FC236}">
                        <a16:creationId xmlns:a16="http://schemas.microsoft.com/office/drawing/2014/main" id="{617DB827-0AD1-6D5F-D30A-2799C45A9738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50" name="Freeform 16">
                    <a:extLst>
                      <a:ext uri="{FF2B5EF4-FFF2-40B4-BE49-F238E27FC236}">
                        <a16:creationId xmlns:a16="http://schemas.microsoft.com/office/drawing/2014/main" id="{3D312F9A-91E8-CB9B-68DA-0B7F7CE878F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rot="10860552">
                    <a:off x="3740" y="2061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51" name="Freeform 17">
                    <a:extLst>
                      <a:ext uri="{FF2B5EF4-FFF2-40B4-BE49-F238E27FC236}">
                        <a16:creationId xmlns:a16="http://schemas.microsoft.com/office/drawing/2014/main" id="{4A6A7E8E-A25A-811B-A188-4AE316E29B7C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 rot="10749847"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52" name="Freeform 18">
                    <a:extLst>
                      <a:ext uri="{FF2B5EF4-FFF2-40B4-BE49-F238E27FC236}">
                        <a16:creationId xmlns:a16="http://schemas.microsoft.com/office/drawing/2014/main" id="{ED6F2F4F-2B8D-DF6C-F2CE-52CC50B9408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53" name="Freeform 19">
                    <a:extLst>
                      <a:ext uri="{FF2B5EF4-FFF2-40B4-BE49-F238E27FC236}">
                        <a16:creationId xmlns:a16="http://schemas.microsoft.com/office/drawing/2014/main" id="{EC5B3F8E-213F-BF54-B305-C3CF5633862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54" name="Freeform 20">
                    <a:extLst>
                      <a:ext uri="{FF2B5EF4-FFF2-40B4-BE49-F238E27FC236}">
                        <a16:creationId xmlns:a16="http://schemas.microsoft.com/office/drawing/2014/main" id="{EF499238-9776-7F24-9CC9-18972B45A5F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55" name="Freeform 21">
                    <a:extLst>
                      <a:ext uri="{FF2B5EF4-FFF2-40B4-BE49-F238E27FC236}">
                        <a16:creationId xmlns:a16="http://schemas.microsoft.com/office/drawing/2014/main" id="{6BBD67E8-D15C-5FD4-3FF1-E0160FF8D02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56" name="Freeform 22">
                    <a:extLst>
                      <a:ext uri="{FF2B5EF4-FFF2-40B4-BE49-F238E27FC236}">
                        <a16:creationId xmlns:a16="http://schemas.microsoft.com/office/drawing/2014/main" id="{AFCD04D5-C5AD-95B3-0F76-CAD60425A0D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57" name="Freeform 23">
                    <a:extLst>
                      <a:ext uri="{FF2B5EF4-FFF2-40B4-BE49-F238E27FC236}">
                        <a16:creationId xmlns:a16="http://schemas.microsoft.com/office/drawing/2014/main" id="{CD311AF4-F02E-F904-CC8B-C099D3F8CF6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646" name="Freeform 5101">
                  <a:extLst>
                    <a:ext uri="{FF2B5EF4-FFF2-40B4-BE49-F238E27FC236}">
                      <a16:creationId xmlns:a16="http://schemas.microsoft.com/office/drawing/2014/main" id="{B8A9959F-1786-95E0-E79F-CD5C11ACD159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647" name="Freeform 5101">
                  <a:extLst>
                    <a:ext uri="{FF2B5EF4-FFF2-40B4-BE49-F238E27FC236}">
                      <a16:creationId xmlns:a16="http://schemas.microsoft.com/office/drawing/2014/main" id="{BAEB1390-726E-43A9-7FD1-B4F0C078B9BE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648" name="Freeform 5101">
                  <a:extLst>
                    <a:ext uri="{FF2B5EF4-FFF2-40B4-BE49-F238E27FC236}">
                      <a16:creationId xmlns:a16="http://schemas.microsoft.com/office/drawing/2014/main" id="{ED4E292F-975E-609E-0C33-AE2FDC8DBD5D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658" name="Group 657">
                <a:extLst>
                  <a:ext uri="{FF2B5EF4-FFF2-40B4-BE49-F238E27FC236}">
                    <a16:creationId xmlns:a16="http://schemas.microsoft.com/office/drawing/2014/main" id="{BAFF84F4-CA40-73A7-DCB5-15EC5444C4D6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2825639" flipH="1">
                <a:off x="4467761" y="2219622"/>
                <a:ext cx="142146" cy="391723"/>
                <a:chOff x="5926138" y="3011488"/>
                <a:chExt cx="339725" cy="838200"/>
              </a:xfrm>
            </p:grpSpPr>
            <p:grpSp>
              <p:nvGrpSpPr>
                <p:cNvPr id="659" name="Group 15">
                  <a:extLst>
                    <a:ext uri="{FF2B5EF4-FFF2-40B4-BE49-F238E27FC236}">
                      <a16:creationId xmlns:a16="http://schemas.microsoft.com/office/drawing/2014/main" id="{32DA51D8-D29A-B065-A051-3C036F863EB5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663" name="AutoShape 14">
                    <a:extLst>
                      <a:ext uri="{FF2B5EF4-FFF2-40B4-BE49-F238E27FC236}">
                        <a16:creationId xmlns:a16="http://schemas.microsoft.com/office/drawing/2014/main" id="{AD3D89BD-1CD3-2DD8-E692-3DDF2D27F7CB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64" name="Freeform 16">
                    <a:extLst>
                      <a:ext uri="{FF2B5EF4-FFF2-40B4-BE49-F238E27FC236}">
                        <a16:creationId xmlns:a16="http://schemas.microsoft.com/office/drawing/2014/main" id="{8F9A76BB-075F-2FF1-BC0B-9D8807C1CE4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rot="10860552">
                    <a:off x="3740" y="2061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65" name="Freeform 17">
                    <a:extLst>
                      <a:ext uri="{FF2B5EF4-FFF2-40B4-BE49-F238E27FC236}">
                        <a16:creationId xmlns:a16="http://schemas.microsoft.com/office/drawing/2014/main" id="{9D97CFD0-A89F-E264-5152-8DDA4DCF569B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 rot="10749847"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66" name="Freeform 18">
                    <a:extLst>
                      <a:ext uri="{FF2B5EF4-FFF2-40B4-BE49-F238E27FC236}">
                        <a16:creationId xmlns:a16="http://schemas.microsoft.com/office/drawing/2014/main" id="{F510B573-AAE3-AE01-BB43-7F3D571C2EC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67" name="Freeform 19">
                    <a:extLst>
                      <a:ext uri="{FF2B5EF4-FFF2-40B4-BE49-F238E27FC236}">
                        <a16:creationId xmlns:a16="http://schemas.microsoft.com/office/drawing/2014/main" id="{E7729669-9569-8D60-71B8-F4CCE770615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68" name="Freeform 20">
                    <a:extLst>
                      <a:ext uri="{FF2B5EF4-FFF2-40B4-BE49-F238E27FC236}">
                        <a16:creationId xmlns:a16="http://schemas.microsoft.com/office/drawing/2014/main" id="{A242CBA1-8982-DE6E-36DE-AC0A6E60DAF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69" name="Freeform 21">
                    <a:extLst>
                      <a:ext uri="{FF2B5EF4-FFF2-40B4-BE49-F238E27FC236}">
                        <a16:creationId xmlns:a16="http://schemas.microsoft.com/office/drawing/2014/main" id="{6211C1FB-6F32-157C-F6BA-1F1888D4B17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70" name="Freeform 22">
                    <a:extLst>
                      <a:ext uri="{FF2B5EF4-FFF2-40B4-BE49-F238E27FC236}">
                        <a16:creationId xmlns:a16="http://schemas.microsoft.com/office/drawing/2014/main" id="{4B1CAA29-454D-98D6-EDE0-81D994BB261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71" name="Freeform 23">
                    <a:extLst>
                      <a:ext uri="{FF2B5EF4-FFF2-40B4-BE49-F238E27FC236}">
                        <a16:creationId xmlns:a16="http://schemas.microsoft.com/office/drawing/2014/main" id="{9F8A0E50-0923-A0A3-FF46-6A00B948CE6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660" name="Freeform 5101">
                  <a:extLst>
                    <a:ext uri="{FF2B5EF4-FFF2-40B4-BE49-F238E27FC236}">
                      <a16:creationId xmlns:a16="http://schemas.microsoft.com/office/drawing/2014/main" id="{6BA08796-8019-FAB5-A5DA-9EA82C158B98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661" name="Freeform 5101">
                  <a:extLst>
                    <a:ext uri="{FF2B5EF4-FFF2-40B4-BE49-F238E27FC236}">
                      <a16:creationId xmlns:a16="http://schemas.microsoft.com/office/drawing/2014/main" id="{0303B1D6-153E-B11E-B110-F08A39468B0C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662" name="Freeform 5101">
                  <a:extLst>
                    <a:ext uri="{FF2B5EF4-FFF2-40B4-BE49-F238E27FC236}">
                      <a16:creationId xmlns:a16="http://schemas.microsoft.com/office/drawing/2014/main" id="{8F144BFE-BE1C-73F3-927F-84ACD6E0399D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672" name="Group 671">
                <a:extLst>
                  <a:ext uri="{FF2B5EF4-FFF2-40B4-BE49-F238E27FC236}">
                    <a16:creationId xmlns:a16="http://schemas.microsoft.com/office/drawing/2014/main" id="{3D030636-0CCB-37F0-06CB-0189FA6CA1F9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2340134" flipH="1">
                <a:off x="4340601" y="2134505"/>
                <a:ext cx="161379" cy="345037"/>
                <a:chOff x="5926138" y="3011488"/>
                <a:chExt cx="339725" cy="838200"/>
              </a:xfrm>
            </p:grpSpPr>
            <p:grpSp>
              <p:nvGrpSpPr>
                <p:cNvPr id="673" name="Group 15">
                  <a:extLst>
                    <a:ext uri="{FF2B5EF4-FFF2-40B4-BE49-F238E27FC236}">
                      <a16:creationId xmlns:a16="http://schemas.microsoft.com/office/drawing/2014/main" id="{34849DF0-26B6-36EB-068B-7A4B38E2130B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677" name="AutoShape 14">
                    <a:extLst>
                      <a:ext uri="{FF2B5EF4-FFF2-40B4-BE49-F238E27FC236}">
                        <a16:creationId xmlns:a16="http://schemas.microsoft.com/office/drawing/2014/main" id="{CB9B3138-DD8D-2BEB-2497-B821E02B5305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78" name="Freeform 16">
                    <a:extLst>
                      <a:ext uri="{FF2B5EF4-FFF2-40B4-BE49-F238E27FC236}">
                        <a16:creationId xmlns:a16="http://schemas.microsoft.com/office/drawing/2014/main" id="{3FEF9E2B-E653-A390-1D0B-7D799AF37DD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rot="10860552">
                    <a:off x="3740" y="2061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79" name="Freeform 17">
                    <a:extLst>
                      <a:ext uri="{FF2B5EF4-FFF2-40B4-BE49-F238E27FC236}">
                        <a16:creationId xmlns:a16="http://schemas.microsoft.com/office/drawing/2014/main" id="{3C3D2FDD-A961-E3B4-7D25-D9E4418E157B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 rot="10749847"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80" name="Freeform 18">
                    <a:extLst>
                      <a:ext uri="{FF2B5EF4-FFF2-40B4-BE49-F238E27FC236}">
                        <a16:creationId xmlns:a16="http://schemas.microsoft.com/office/drawing/2014/main" id="{D9011C84-B6F8-7C52-9858-819A5CA6848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81" name="Freeform 19">
                    <a:extLst>
                      <a:ext uri="{FF2B5EF4-FFF2-40B4-BE49-F238E27FC236}">
                        <a16:creationId xmlns:a16="http://schemas.microsoft.com/office/drawing/2014/main" id="{E14BD5AB-27E9-5556-053A-7DDECB47FD6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82" name="Freeform 20">
                    <a:extLst>
                      <a:ext uri="{FF2B5EF4-FFF2-40B4-BE49-F238E27FC236}">
                        <a16:creationId xmlns:a16="http://schemas.microsoft.com/office/drawing/2014/main" id="{D3DD7BCD-DAFA-DB8D-9DB4-62BC6440EED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83" name="Freeform 21">
                    <a:extLst>
                      <a:ext uri="{FF2B5EF4-FFF2-40B4-BE49-F238E27FC236}">
                        <a16:creationId xmlns:a16="http://schemas.microsoft.com/office/drawing/2014/main" id="{C66A9D1E-EE6A-0062-FD68-83B1AADC64E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84" name="Freeform 22">
                    <a:extLst>
                      <a:ext uri="{FF2B5EF4-FFF2-40B4-BE49-F238E27FC236}">
                        <a16:creationId xmlns:a16="http://schemas.microsoft.com/office/drawing/2014/main" id="{7443FF3F-B92E-A376-1DA2-2A60AA530D8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85" name="Freeform 23">
                    <a:extLst>
                      <a:ext uri="{FF2B5EF4-FFF2-40B4-BE49-F238E27FC236}">
                        <a16:creationId xmlns:a16="http://schemas.microsoft.com/office/drawing/2014/main" id="{DCC310C4-34EF-4813-1A00-969BD0E2969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674" name="Freeform 5101">
                  <a:extLst>
                    <a:ext uri="{FF2B5EF4-FFF2-40B4-BE49-F238E27FC236}">
                      <a16:creationId xmlns:a16="http://schemas.microsoft.com/office/drawing/2014/main" id="{24795144-78A4-A4B9-A7F0-8DFD373965B7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675" name="Freeform 5101">
                  <a:extLst>
                    <a:ext uri="{FF2B5EF4-FFF2-40B4-BE49-F238E27FC236}">
                      <a16:creationId xmlns:a16="http://schemas.microsoft.com/office/drawing/2014/main" id="{961CAAAB-E471-84FB-4AB5-59D8F51D6BC7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676" name="Freeform 5101">
                  <a:extLst>
                    <a:ext uri="{FF2B5EF4-FFF2-40B4-BE49-F238E27FC236}">
                      <a16:creationId xmlns:a16="http://schemas.microsoft.com/office/drawing/2014/main" id="{9969B14D-AF71-8214-E12A-F85AA12FDBB6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686" name="Group 685">
                <a:extLst>
                  <a:ext uri="{FF2B5EF4-FFF2-40B4-BE49-F238E27FC236}">
                    <a16:creationId xmlns:a16="http://schemas.microsoft.com/office/drawing/2014/main" id="{FA19DECC-D336-CC5A-1096-1CF3A055033B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1859196" flipH="1">
                <a:off x="4206398" y="2042535"/>
                <a:ext cx="161379" cy="345037"/>
                <a:chOff x="5926138" y="3011488"/>
                <a:chExt cx="339725" cy="838200"/>
              </a:xfrm>
            </p:grpSpPr>
            <p:grpSp>
              <p:nvGrpSpPr>
                <p:cNvPr id="687" name="Group 15">
                  <a:extLst>
                    <a:ext uri="{FF2B5EF4-FFF2-40B4-BE49-F238E27FC236}">
                      <a16:creationId xmlns:a16="http://schemas.microsoft.com/office/drawing/2014/main" id="{26DEA830-E74D-DA25-3C19-35424261E535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691" name="AutoShape 14">
                    <a:extLst>
                      <a:ext uri="{FF2B5EF4-FFF2-40B4-BE49-F238E27FC236}">
                        <a16:creationId xmlns:a16="http://schemas.microsoft.com/office/drawing/2014/main" id="{BBB8817A-36EC-73CE-50F3-AE53AF7EDC90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92" name="Freeform 16">
                    <a:extLst>
                      <a:ext uri="{FF2B5EF4-FFF2-40B4-BE49-F238E27FC236}">
                        <a16:creationId xmlns:a16="http://schemas.microsoft.com/office/drawing/2014/main" id="{398FC44E-3BC2-5C30-5034-FE6FC3FF55C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rot="10860552">
                    <a:off x="3740" y="2061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93" name="Freeform 17">
                    <a:extLst>
                      <a:ext uri="{FF2B5EF4-FFF2-40B4-BE49-F238E27FC236}">
                        <a16:creationId xmlns:a16="http://schemas.microsoft.com/office/drawing/2014/main" id="{37308F35-27F7-442A-D70E-659A827DC38D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 rot="10749847"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94" name="Freeform 18">
                    <a:extLst>
                      <a:ext uri="{FF2B5EF4-FFF2-40B4-BE49-F238E27FC236}">
                        <a16:creationId xmlns:a16="http://schemas.microsoft.com/office/drawing/2014/main" id="{87B712AA-598C-DCE5-6DD6-04CE1DFF313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95" name="Freeform 19">
                    <a:extLst>
                      <a:ext uri="{FF2B5EF4-FFF2-40B4-BE49-F238E27FC236}">
                        <a16:creationId xmlns:a16="http://schemas.microsoft.com/office/drawing/2014/main" id="{EBBF14EB-49FE-FCFB-869D-96078840797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96" name="Freeform 20">
                    <a:extLst>
                      <a:ext uri="{FF2B5EF4-FFF2-40B4-BE49-F238E27FC236}">
                        <a16:creationId xmlns:a16="http://schemas.microsoft.com/office/drawing/2014/main" id="{2AE7D70D-2C9F-D62D-EBC0-58C46A38255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97" name="Freeform 21">
                    <a:extLst>
                      <a:ext uri="{FF2B5EF4-FFF2-40B4-BE49-F238E27FC236}">
                        <a16:creationId xmlns:a16="http://schemas.microsoft.com/office/drawing/2014/main" id="{5D166170-75B9-6B9B-7C4B-7898F4060D4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98" name="Freeform 22">
                    <a:extLst>
                      <a:ext uri="{FF2B5EF4-FFF2-40B4-BE49-F238E27FC236}">
                        <a16:creationId xmlns:a16="http://schemas.microsoft.com/office/drawing/2014/main" id="{5CC82F23-7E8D-6ECF-89CC-3B31D858D0F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699" name="Freeform 23">
                    <a:extLst>
                      <a:ext uri="{FF2B5EF4-FFF2-40B4-BE49-F238E27FC236}">
                        <a16:creationId xmlns:a16="http://schemas.microsoft.com/office/drawing/2014/main" id="{6130120E-4541-A796-E100-B09FBBA6E6F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688" name="Freeform 5101">
                  <a:extLst>
                    <a:ext uri="{FF2B5EF4-FFF2-40B4-BE49-F238E27FC236}">
                      <a16:creationId xmlns:a16="http://schemas.microsoft.com/office/drawing/2014/main" id="{559B12FB-2194-D7F3-DB41-0BA915C0623F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689" name="Freeform 5101">
                  <a:extLst>
                    <a:ext uri="{FF2B5EF4-FFF2-40B4-BE49-F238E27FC236}">
                      <a16:creationId xmlns:a16="http://schemas.microsoft.com/office/drawing/2014/main" id="{0959B605-00C3-D96B-0B75-1AE5DB7A310E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690" name="Freeform 5101">
                  <a:extLst>
                    <a:ext uri="{FF2B5EF4-FFF2-40B4-BE49-F238E27FC236}">
                      <a16:creationId xmlns:a16="http://schemas.microsoft.com/office/drawing/2014/main" id="{0E72BC1A-0926-EFAA-4C42-96B127272A8E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700" name="Group 699">
                <a:extLst>
                  <a:ext uri="{FF2B5EF4-FFF2-40B4-BE49-F238E27FC236}">
                    <a16:creationId xmlns:a16="http://schemas.microsoft.com/office/drawing/2014/main" id="{13DC0070-6791-FE1F-5B88-315F62B782E7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1381789" flipH="1">
                <a:off x="4054049" y="1976499"/>
                <a:ext cx="161379" cy="345037"/>
                <a:chOff x="5926138" y="3011488"/>
                <a:chExt cx="339725" cy="838200"/>
              </a:xfrm>
            </p:grpSpPr>
            <p:grpSp>
              <p:nvGrpSpPr>
                <p:cNvPr id="701" name="Group 15">
                  <a:extLst>
                    <a:ext uri="{FF2B5EF4-FFF2-40B4-BE49-F238E27FC236}">
                      <a16:creationId xmlns:a16="http://schemas.microsoft.com/office/drawing/2014/main" id="{B85B43EB-C746-06D3-8AB2-EC559E4E41DA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705" name="AutoShape 14">
                    <a:extLst>
                      <a:ext uri="{FF2B5EF4-FFF2-40B4-BE49-F238E27FC236}">
                        <a16:creationId xmlns:a16="http://schemas.microsoft.com/office/drawing/2014/main" id="{86E2FFD2-B1E0-86CF-3718-480DF04B92E5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06" name="Freeform 16">
                    <a:extLst>
                      <a:ext uri="{FF2B5EF4-FFF2-40B4-BE49-F238E27FC236}">
                        <a16:creationId xmlns:a16="http://schemas.microsoft.com/office/drawing/2014/main" id="{6AB56AC2-30B3-AD39-4A00-328174D0B93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rot="10860552">
                    <a:off x="3740" y="2061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07" name="Freeform 17">
                    <a:extLst>
                      <a:ext uri="{FF2B5EF4-FFF2-40B4-BE49-F238E27FC236}">
                        <a16:creationId xmlns:a16="http://schemas.microsoft.com/office/drawing/2014/main" id="{33A6073A-BD7A-AC14-CA9E-B02352D13B73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 rot="10749847"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08" name="Freeform 18">
                    <a:extLst>
                      <a:ext uri="{FF2B5EF4-FFF2-40B4-BE49-F238E27FC236}">
                        <a16:creationId xmlns:a16="http://schemas.microsoft.com/office/drawing/2014/main" id="{0949A3B8-4512-ABA6-7146-7958A704080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09" name="Freeform 19">
                    <a:extLst>
                      <a:ext uri="{FF2B5EF4-FFF2-40B4-BE49-F238E27FC236}">
                        <a16:creationId xmlns:a16="http://schemas.microsoft.com/office/drawing/2014/main" id="{7DEAE3E0-F53B-204C-DB6E-D2822918365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10" name="Freeform 20">
                    <a:extLst>
                      <a:ext uri="{FF2B5EF4-FFF2-40B4-BE49-F238E27FC236}">
                        <a16:creationId xmlns:a16="http://schemas.microsoft.com/office/drawing/2014/main" id="{094E5264-DC9B-61DD-D44B-69333F6AD1C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11" name="Freeform 21">
                    <a:extLst>
                      <a:ext uri="{FF2B5EF4-FFF2-40B4-BE49-F238E27FC236}">
                        <a16:creationId xmlns:a16="http://schemas.microsoft.com/office/drawing/2014/main" id="{B103F24D-4A1F-A576-1933-4FD46F579E2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12" name="Freeform 22">
                    <a:extLst>
                      <a:ext uri="{FF2B5EF4-FFF2-40B4-BE49-F238E27FC236}">
                        <a16:creationId xmlns:a16="http://schemas.microsoft.com/office/drawing/2014/main" id="{9E70B587-2D48-8029-DD46-F8DBA8C7D38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13" name="Freeform 23">
                    <a:extLst>
                      <a:ext uri="{FF2B5EF4-FFF2-40B4-BE49-F238E27FC236}">
                        <a16:creationId xmlns:a16="http://schemas.microsoft.com/office/drawing/2014/main" id="{0DFD7DC8-2D6D-936A-EA89-0520165D9AA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702" name="Freeform 5101">
                  <a:extLst>
                    <a:ext uri="{FF2B5EF4-FFF2-40B4-BE49-F238E27FC236}">
                      <a16:creationId xmlns:a16="http://schemas.microsoft.com/office/drawing/2014/main" id="{A38F90BD-A3A1-6D18-5DD8-C0AC8FEC9FCE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703" name="Freeform 5101">
                  <a:extLst>
                    <a:ext uri="{FF2B5EF4-FFF2-40B4-BE49-F238E27FC236}">
                      <a16:creationId xmlns:a16="http://schemas.microsoft.com/office/drawing/2014/main" id="{C6DBCB08-1D40-18CC-17E3-74276EDC13CD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704" name="Freeform 5101">
                  <a:extLst>
                    <a:ext uri="{FF2B5EF4-FFF2-40B4-BE49-F238E27FC236}">
                      <a16:creationId xmlns:a16="http://schemas.microsoft.com/office/drawing/2014/main" id="{EB30E7EE-9CB5-C84C-B0BA-F4F1AF5188DF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714" name="Group 713">
                <a:extLst>
                  <a:ext uri="{FF2B5EF4-FFF2-40B4-BE49-F238E27FC236}">
                    <a16:creationId xmlns:a16="http://schemas.microsoft.com/office/drawing/2014/main" id="{0FEDD57A-31B0-755B-44A2-E0492EA844E2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783636" flipH="1">
                <a:off x="3892044" y="1922676"/>
                <a:ext cx="161379" cy="345037"/>
                <a:chOff x="5926138" y="3011488"/>
                <a:chExt cx="339725" cy="838200"/>
              </a:xfrm>
            </p:grpSpPr>
            <p:grpSp>
              <p:nvGrpSpPr>
                <p:cNvPr id="715" name="Group 15">
                  <a:extLst>
                    <a:ext uri="{FF2B5EF4-FFF2-40B4-BE49-F238E27FC236}">
                      <a16:creationId xmlns:a16="http://schemas.microsoft.com/office/drawing/2014/main" id="{E4743DD8-3E7A-14E4-52BA-8B99F853B9B0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719" name="AutoShape 14">
                    <a:extLst>
                      <a:ext uri="{FF2B5EF4-FFF2-40B4-BE49-F238E27FC236}">
                        <a16:creationId xmlns:a16="http://schemas.microsoft.com/office/drawing/2014/main" id="{9221CFBF-11D2-D67B-1B18-60D7CCC8C02C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20" name="Freeform 16">
                    <a:extLst>
                      <a:ext uri="{FF2B5EF4-FFF2-40B4-BE49-F238E27FC236}">
                        <a16:creationId xmlns:a16="http://schemas.microsoft.com/office/drawing/2014/main" id="{979AD23A-5F13-7404-ED35-DC21F95C407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rot="10860552">
                    <a:off x="3740" y="2061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21" name="Freeform 17">
                    <a:extLst>
                      <a:ext uri="{FF2B5EF4-FFF2-40B4-BE49-F238E27FC236}">
                        <a16:creationId xmlns:a16="http://schemas.microsoft.com/office/drawing/2014/main" id="{DB8782BF-6BAB-CBF6-A1BF-69CF749E8ADC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 rot="10749847"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22" name="Freeform 18">
                    <a:extLst>
                      <a:ext uri="{FF2B5EF4-FFF2-40B4-BE49-F238E27FC236}">
                        <a16:creationId xmlns:a16="http://schemas.microsoft.com/office/drawing/2014/main" id="{B45CB0D7-B98F-32A1-91AA-E329B8169EF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23" name="Freeform 19">
                    <a:extLst>
                      <a:ext uri="{FF2B5EF4-FFF2-40B4-BE49-F238E27FC236}">
                        <a16:creationId xmlns:a16="http://schemas.microsoft.com/office/drawing/2014/main" id="{0526344F-2946-581E-CAB1-C1EDB2C3E65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24" name="Freeform 20">
                    <a:extLst>
                      <a:ext uri="{FF2B5EF4-FFF2-40B4-BE49-F238E27FC236}">
                        <a16:creationId xmlns:a16="http://schemas.microsoft.com/office/drawing/2014/main" id="{3A3C85BA-47CD-82E0-B155-96243B20DC1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25" name="Freeform 21">
                    <a:extLst>
                      <a:ext uri="{FF2B5EF4-FFF2-40B4-BE49-F238E27FC236}">
                        <a16:creationId xmlns:a16="http://schemas.microsoft.com/office/drawing/2014/main" id="{EE49D27E-36B8-BCC3-2F68-C11397EC123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26" name="Freeform 22">
                    <a:extLst>
                      <a:ext uri="{FF2B5EF4-FFF2-40B4-BE49-F238E27FC236}">
                        <a16:creationId xmlns:a16="http://schemas.microsoft.com/office/drawing/2014/main" id="{BE3C326A-533A-9616-D93C-5231540FD58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27" name="Freeform 23">
                    <a:extLst>
                      <a:ext uri="{FF2B5EF4-FFF2-40B4-BE49-F238E27FC236}">
                        <a16:creationId xmlns:a16="http://schemas.microsoft.com/office/drawing/2014/main" id="{A98E6D84-BB2D-8BBD-4E2E-541F140B0C1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716" name="Freeform 5101">
                  <a:extLst>
                    <a:ext uri="{FF2B5EF4-FFF2-40B4-BE49-F238E27FC236}">
                      <a16:creationId xmlns:a16="http://schemas.microsoft.com/office/drawing/2014/main" id="{AF593A2A-F80F-FCE7-F9D9-BD3A0302F257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717" name="Freeform 5101">
                  <a:extLst>
                    <a:ext uri="{FF2B5EF4-FFF2-40B4-BE49-F238E27FC236}">
                      <a16:creationId xmlns:a16="http://schemas.microsoft.com/office/drawing/2014/main" id="{7A068AFD-0CE0-3396-0F95-08DB87B74182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718" name="Freeform 5101">
                  <a:extLst>
                    <a:ext uri="{FF2B5EF4-FFF2-40B4-BE49-F238E27FC236}">
                      <a16:creationId xmlns:a16="http://schemas.microsoft.com/office/drawing/2014/main" id="{54EEC276-4F6A-92C9-00AE-B13A4737F0AF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728" name="Group 727">
                <a:extLst>
                  <a:ext uri="{FF2B5EF4-FFF2-40B4-BE49-F238E27FC236}">
                    <a16:creationId xmlns:a16="http://schemas.microsoft.com/office/drawing/2014/main" id="{8378B4F0-A595-8B18-8F2B-2E565AC45BF6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465367" flipH="1">
                <a:off x="3732673" y="1893732"/>
                <a:ext cx="161379" cy="345037"/>
                <a:chOff x="5926138" y="3011488"/>
                <a:chExt cx="339725" cy="838200"/>
              </a:xfrm>
            </p:grpSpPr>
            <p:grpSp>
              <p:nvGrpSpPr>
                <p:cNvPr id="729" name="Group 15">
                  <a:extLst>
                    <a:ext uri="{FF2B5EF4-FFF2-40B4-BE49-F238E27FC236}">
                      <a16:creationId xmlns:a16="http://schemas.microsoft.com/office/drawing/2014/main" id="{A445A05B-CF1E-FF69-B02D-B6D215F03837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733" name="AutoShape 14">
                    <a:extLst>
                      <a:ext uri="{FF2B5EF4-FFF2-40B4-BE49-F238E27FC236}">
                        <a16:creationId xmlns:a16="http://schemas.microsoft.com/office/drawing/2014/main" id="{86DCC9B1-357F-0914-1081-45803D2F1027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34" name="Freeform 16">
                    <a:extLst>
                      <a:ext uri="{FF2B5EF4-FFF2-40B4-BE49-F238E27FC236}">
                        <a16:creationId xmlns:a16="http://schemas.microsoft.com/office/drawing/2014/main" id="{70A6F555-1191-6613-AE8F-6D0354358C4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rot="10860552">
                    <a:off x="3740" y="2061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35" name="Freeform 17">
                    <a:extLst>
                      <a:ext uri="{FF2B5EF4-FFF2-40B4-BE49-F238E27FC236}">
                        <a16:creationId xmlns:a16="http://schemas.microsoft.com/office/drawing/2014/main" id="{A0289872-7B84-CC80-AF4D-A9288B90BDCC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 rot="10749847"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36" name="Freeform 18">
                    <a:extLst>
                      <a:ext uri="{FF2B5EF4-FFF2-40B4-BE49-F238E27FC236}">
                        <a16:creationId xmlns:a16="http://schemas.microsoft.com/office/drawing/2014/main" id="{F16BEFB2-4F8F-3016-C84A-4C8A3F46AEF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37" name="Freeform 19">
                    <a:extLst>
                      <a:ext uri="{FF2B5EF4-FFF2-40B4-BE49-F238E27FC236}">
                        <a16:creationId xmlns:a16="http://schemas.microsoft.com/office/drawing/2014/main" id="{4391EB42-C76E-B07A-4619-F725B685199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38" name="Freeform 20">
                    <a:extLst>
                      <a:ext uri="{FF2B5EF4-FFF2-40B4-BE49-F238E27FC236}">
                        <a16:creationId xmlns:a16="http://schemas.microsoft.com/office/drawing/2014/main" id="{1FE8B771-91B5-813B-09F8-883B8A0A0EB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39" name="Freeform 21">
                    <a:extLst>
                      <a:ext uri="{FF2B5EF4-FFF2-40B4-BE49-F238E27FC236}">
                        <a16:creationId xmlns:a16="http://schemas.microsoft.com/office/drawing/2014/main" id="{DB4A69C8-D4B6-FBF8-F5B4-BB745A0656F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40" name="Freeform 22">
                    <a:extLst>
                      <a:ext uri="{FF2B5EF4-FFF2-40B4-BE49-F238E27FC236}">
                        <a16:creationId xmlns:a16="http://schemas.microsoft.com/office/drawing/2014/main" id="{FCFB5C32-CA21-F3C1-5BD5-36B48A771FC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41" name="Freeform 23">
                    <a:extLst>
                      <a:ext uri="{FF2B5EF4-FFF2-40B4-BE49-F238E27FC236}">
                        <a16:creationId xmlns:a16="http://schemas.microsoft.com/office/drawing/2014/main" id="{7C8590A8-1FA0-31C9-7086-7C81E6B3525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730" name="Freeform 5101">
                  <a:extLst>
                    <a:ext uri="{FF2B5EF4-FFF2-40B4-BE49-F238E27FC236}">
                      <a16:creationId xmlns:a16="http://schemas.microsoft.com/office/drawing/2014/main" id="{D44EB952-2C9C-24C0-D6CD-AFC9952F076F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731" name="Freeform 5101">
                  <a:extLst>
                    <a:ext uri="{FF2B5EF4-FFF2-40B4-BE49-F238E27FC236}">
                      <a16:creationId xmlns:a16="http://schemas.microsoft.com/office/drawing/2014/main" id="{45BADBBC-CFC1-3B90-3AA9-992C495C210B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732" name="Freeform 5101">
                  <a:extLst>
                    <a:ext uri="{FF2B5EF4-FFF2-40B4-BE49-F238E27FC236}">
                      <a16:creationId xmlns:a16="http://schemas.microsoft.com/office/drawing/2014/main" id="{E6A26C6B-FE0A-17E2-C4DF-4361CB90D299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742" name="Group 741">
                <a:extLst>
                  <a:ext uri="{FF2B5EF4-FFF2-40B4-BE49-F238E27FC236}">
                    <a16:creationId xmlns:a16="http://schemas.microsoft.com/office/drawing/2014/main" id="{9D7331A2-7178-78EF-ECC8-4E0971BA3A52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flipH="1">
                <a:off x="3570067" y="1883720"/>
                <a:ext cx="161379" cy="345037"/>
                <a:chOff x="5926138" y="3011488"/>
                <a:chExt cx="339725" cy="838200"/>
              </a:xfrm>
            </p:grpSpPr>
            <p:grpSp>
              <p:nvGrpSpPr>
                <p:cNvPr id="743" name="Group 15">
                  <a:extLst>
                    <a:ext uri="{FF2B5EF4-FFF2-40B4-BE49-F238E27FC236}">
                      <a16:creationId xmlns:a16="http://schemas.microsoft.com/office/drawing/2014/main" id="{A9F88960-D67E-DB30-0D1D-FAABC91CF525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747" name="AutoShape 14">
                    <a:extLst>
                      <a:ext uri="{FF2B5EF4-FFF2-40B4-BE49-F238E27FC236}">
                        <a16:creationId xmlns:a16="http://schemas.microsoft.com/office/drawing/2014/main" id="{D4891981-7A4B-D92A-104E-2FC73D22F3DC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48" name="Freeform 16">
                    <a:extLst>
                      <a:ext uri="{FF2B5EF4-FFF2-40B4-BE49-F238E27FC236}">
                        <a16:creationId xmlns:a16="http://schemas.microsoft.com/office/drawing/2014/main" id="{C000B6FC-C171-4BA5-62CF-315732C94AD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rot="10860552">
                    <a:off x="3740" y="2061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49" name="Freeform 17">
                    <a:extLst>
                      <a:ext uri="{FF2B5EF4-FFF2-40B4-BE49-F238E27FC236}">
                        <a16:creationId xmlns:a16="http://schemas.microsoft.com/office/drawing/2014/main" id="{3A0C55BF-2FC4-D6AD-90C3-98EABB2779A5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 rot="10749847"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50" name="Freeform 18">
                    <a:extLst>
                      <a:ext uri="{FF2B5EF4-FFF2-40B4-BE49-F238E27FC236}">
                        <a16:creationId xmlns:a16="http://schemas.microsoft.com/office/drawing/2014/main" id="{E71A9408-86BD-2106-13E9-B6BA056E820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51" name="Freeform 19">
                    <a:extLst>
                      <a:ext uri="{FF2B5EF4-FFF2-40B4-BE49-F238E27FC236}">
                        <a16:creationId xmlns:a16="http://schemas.microsoft.com/office/drawing/2014/main" id="{BFBEA29B-A070-CE01-02DC-524ABDC8756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52" name="Freeform 20">
                    <a:extLst>
                      <a:ext uri="{FF2B5EF4-FFF2-40B4-BE49-F238E27FC236}">
                        <a16:creationId xmlns:a16="http://schemas.microsoft.com/office/drawing/2014/main" id="{C8309FFC-E16B-A714-577E-7A740E61BF8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53" name="Freeform 21">
                    <a:extLst>
                      <a:ext uri="{FF2B5EF4-FFF2-40B4-BE49-F238E27FC236}">
                        <a16:creationId xmlns:a16="http://schemas.microsoft.com/office/drawing/2014/main" id="{A80F1E8D-4E7B-A975-9C1D-9E3EAD78027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54" name="Freeform 22">
                    <a:extLst>
                      <a:ext uri="{FF2B5EF4-FFF2-40B4-BE49-F238E27FC236}">
                        <a16:creationId xmlns:a16="http://schemas.microsoft.com/office/drawing/2014/main" id="{7C7D4F10-BB09-1369-DF6E-68483D8AA10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55" name="Freeform 23">
                    <a:extLst>
                      <a:ext uri="{FF2B5EF4-FFF2-40B4-BE49-F238E27FC236}">
                        <a16:creationId xmlns:a16="http://schemas.microsoft.com/office/drawing/2014/main" id="{CDEC7A51-2AEC-F1FF-A858-809E0252E94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744" name="Freeform 5101">
                  <a:extLst>
                    <a:ext uri="{FF2B5EF4-FFF2-40B4-BE49-F238E27FC236}">
                      <a16:creationId xmlns:a16="http://schemas.microsoft.com/office/drawing/2014/main" id="{6C1E6AB4-B069-6DCC-4185-4EF30DC17F1F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745" name="Freeform 5101">
                  <a:extLst>
                    <a:ext uri="{FF2B5EF4-FFF2-40B4-BE49-F238E27FC236}">
                      <a16:creationId xmlns:a16="http://schemas.microsoft.com/office/drawing/2014/main" id="{A7A44CA6-827C-8769-DF0A-4C42565883C2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746" name="Freeform 5101">
                  <a:extLst>
                    <a:ext uri="{FF2B5EF4-FFF2-40B4-BE49-F238E27FC236}">
                      <a16:creationId xmlns:a16="http://schemas.microsoft.com/office/drawing/2014/main" id="{DBCF2387-0BE4-D570-9511-75A1E0CAE632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756" name="Group 755">
                <a:extLst>
                  <a:ext uri="{FF2B5EF4-FFF2-40B4-BE49-F238E27FC236}">
                    <a16:creationId xmlns:a16="http://schemas.microsoft.com/office/drawing/2014/main" id="{D763B8B0-8B8E-53E3-C23E-94EF6796B1A8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620468" y="4521260"/>
                <a:ext cx="161379" cy="345037"/>
                <a:chOff x="5926138" y="3011488"/>
                <a:chExt cx="339725" cy="838200"/>
              </a:xfrm>
            </p:grpSpPr>
            <p:grpSp>
              <p:nvGrpSpPr>
                <p:cNvPr id="757" name="Group 15">
                  <a:extLst>
                    <a:ext uri="{FF2B5EF4-FFF2-40B4-BE49-F238E27FC236}">
                      <a16:creationId xmlns:a16="http://schemas.microsoft.com/office/drawing/2014/main" id="{1E8C5A47-02A5-64B0-63F2-37B742130C6D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761" name="AutoShape 14">
                    <a:extLst>
                      <a:ext uri="{FF2B5EF4-FFF2-40B4-BE49-F238E27FC236}">
                        <a16:creationId xmlns:a16="http://schemas.microsoft.com/office/drawing/2014/main" id="{7467E59C-136B-E8C7-BEFB-2B0EF381873A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62" name="Freeform 16">
                    <a:extLst>
                      <a:ext uri="{FF2B5EF4-FFF2-40B4-BE49-F238E27FC236}">
                        <a16:creationId xmlns:a16="http://schemas.microsoft.com/office/drawing/2014/main" id="{83725294-B25F-D9BC-3CC5-2EDF2A5C6EF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3" y="2063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63" name="Freeform 17">
                    <a:extLst>
                      <a:ext uri="{FF2B5EF4-FFF2-40B4-BE49-F238E27FC236}">
                        <a16:creationId xmlns:a16="http://schemas.microsoft.com/office/drawing/2014/main" id="{D7878FFC-EB78-92CA-DF39-A2A8D07D4081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64" name="Freeform 18">
                    <a:extLst>
                      <a:ext uri="{FF2B5EF4-FFF2-40B4-BE49-F238E27FC236}">
                        <a16:creationId xmlns:a16="http://schemas.microsoft.com/office/drawing/2014/main" id="{FFDF07DD-1471-44F0-2967-26F1DCFEDC5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65" name="Freeform 19">
                    <a:extLst>
                      <a:ext uri="{FF2B5EF4-FFF2-40B4-BE49-F238E27FC236}">
                        <a16:creationId xmlns:a16="http://schemas.microsoft.com/office/drawing/2014/main" id="{E466C190-D034-F42F-CF77-44004B170CC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66" name="Freeform 20">
                    <a:extLst>
                      <a:ext uri="{FF2B5EF4-FFF2-40B4-BE49-F238E27FC236}">
                        <a16:creationId xmlns:a16="http://schemas.microsoft.com/office/drawing/2014/main" id="{959B79F0-7050-D7EB-A912-A26866AA26B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67" name="Freeform 21">
                    <a:extLst>
                      <a:ext uri="{FF2B5EF4-FFF2-40B4-BE49-F238E27FC236}">
                        <a16:creationId xmlns:a16="http://schemas.microsoft.com/office/drawing/2014/main" id="{05225175-AF50-89E6-76E5-0695D21FBE9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68" name="Freeform 22">
                    <a:extLst>
                      <a:ext uri="{FF2B5EF4-FFF2-40B4-BE49-F238E27FC236}">
                        <a16:creationId xmlns:a16="http://schemas.microsoft.com/office/drawing/2014/main" id="{410E2862-4D75-7C88-5708-5236279ED18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69" name="Freeform 23">
                    <a:extLst>
                      <a:ext uri="{FF2B5EF4-FFF2-40B4-BE49-F238E27FC236}">
                        <a16:creationId xmlns:a16="http://schemas.microsoft.com/office/drawing/2014/main" id="{A5A4B9F6-EA85-5D51-0A96-7AA55940047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758" name="Freeform 5101">
                  <a:extLst>
                    <a:ext uri="{FF2B5EF4-FFF2-40B4-BE49-F238E27FC236}">
                      <a16:creationId xmlns:a16="http://schemas.microsoft.com/office/drawing/2014/main" id="{722AF545-5AAF-6AB2-32B1-AAFE318F719F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759" name="Freeform 5101">
                  <a:extLst>
                    <a:ext uri="{FF2B5EF4-FFF2-40B4-BE49-F238E27FC236}">
                      <a16:creationId xmlns:a16="http://schemas.microsoft.com/office/drawing/2014/main" id="{EDA5CDC2-4408-4F4F-C783-BFE21C27A543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760" name="Freeform 5101">
                  <a:extLst>
                    <a:ext uri="{FF2B5EF4-FFF2-40B4-BE49-F238E27FC236}">
                      <a16:creationId xmlns:a16="http://schemas.microsoft.com/office/drawing/2014/main" id="{8214EB38-AD97-A24F-D91A-CF1B163D7E41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770" name="Group 769">
                <a:extLst>
                  <a:ext uri="{FF2B5EF4-FFF2-40B4-BE49-F238E27FC236}">
                    <a16:creationId xmlns:a16="http://schemas.microsoft.com/office/drawing/2014/main" id="{A71AD883-67F7-48BF-E969-0E97F0FDDE13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304557" y="4523251"/>
                <a:ext cx="161379" cy="345037"/>
                <a:chOff x="5926138" y="3011488"/>
                <a:chExt cx="339725" cy="838200"/>
              </a:xfrm>
            </p:grpSpPr>
            <p:grpSp>
              <p:nvGrpSpPr>
                <p:cNvPr id="771" name="Group 15">
                  <a:extLst>
                    <a:ext uri="{FF2B5EF4-FFF2-40B4-BE49-F238E27FC236}">
                      <a16:creationId xmlns:a16="http://schemas.microsoft.com/office/drawing/2014/main" id="{CEAF9CAF-B87A-ED1A-4A1A-FD4A3CDD2A17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775" name="AutoShape 14">
                    <a:extLst>
                      <a:ext uri="{FF2B5EF4-FFF2-40B4-BE49-F238E27FC236}">
                        <a16:creationId xmlns:a16="http://schemas.microsoft.com/office/drawing/2014/main" id="{11F30460-64E0-8B89-2FDD-61C0C4EDCD21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76" name="Freeform 16">
                    <a:extLst>
                      <a:ext uri="{FF2B5EF4-FFF2-40B4-BE49-F238E27FC236}">
                        <a16:creationId xmlns:a16="http://schemas.microsoft.com/office/drawing/2014/main" id="{9BEF7D67-4A1C-E382-C352-5BFABF69BB5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3" y="2063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77" name="Freeform 17">
                    <a:extLst>
                      <a:ext uri="{FF2B5EF4-FFF2-40B4-BE49-F238E27FC236}">
                        <a16:creationId xmlns:a16="http://schemas.microsoft.com/office/drawing/2014/main" id="{FAB6A77A-5F16-5748-1A94-461939F2540A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78" name="Freeform 18">
                    <a:extLst>
                      <a:ext uri="{FF2B5EF4-FFF2-40B4-BE49-F238E27FC236}">
                        <a16:creationId xmlns:a16="http://schemas.microsoft.com/office/drawing/2014/main" id="{A36641CB-882E-F890-F71F-E9116A06360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79" name="Freeform 19">
                    <a:extLst>
                      <a:ext uri="{FF2B5EF4-FFF2-40B4-BE49-F238E27FC236}">
                        <a16:creationId xmlns:a16="http://schemas.microsoft.com/office/drawing/2014/main" id="{E4340456-4FC9-6E2F-95C3-CD902E325C6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80" name="Freeform 20">
                    <a:extLst>
                      <a:ext uri="{FF2B5EF4-FFF2-40B4-BE49-F238E27FC236}">
                        <a16:creationId xmlns:a16="http://schemas.microsoft.com/office/drawing/2014/main" id="{4A9194CF-F2C2-5F1E-DF6E-7749CE998C5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81" name="Freeform 21">
                    <a:extLst>
                      <a:ext uri="{FF2B5EF4-FFF2-40B4-BE49-F238E27FC236}">
                        <a16:creationId xmlns:a16="http://schemas.microsoft.com/office/drawing/2014/main" id="{DD6B1AE6-D3C3-E28B-25ED-2574F218D42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82" name="Freeform 22">
                    <a:extLst>
                      <a:ext uri="{FF2B5EF4-FFF2-40B4-BE49-F238E27FC236}">
                        <a16:creationId xmlns:a16="http://schemas.microsoft.com/office/drawing/2014/main" id="{11C77E51-723C-AA4E-A5AF-58FB0418EF2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83" name="Freeform 23">
                    <a:extLst>
                      <a:ext uri="{FF2B5EF4-FFF2-40B4-BE49-F238E27FC236}">
                        <a16:creationId xmlns:a16="http://schemas.microsoft.com/office/drawing/2014/main" id="{B1A614FD-B2C8-6A9E-4BBA-22365803BDB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772" name="Freeform 5101">
                  <a:extLst>
                    <a:ext uri="{FF2B5EF4-FFF2-40B4-BE49-F238E27FC236}">
                      <a16:creationId xmlns:a16="http://schemas.microsoft.com/office/drawing/2014/main" id="{E55228F9-C9CB-BD4F-B0DC-DA6359AE3C78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773" name="Freeform 5101">
                  <a:extLst>
                    <a:ext uri="{FF2B5EF4-FFF2-40B4-BE49-F238E27FC236}">
                      <a16:creationId xmlns:a16="http://schemas.microsoft.com/office/drawing/2014/main" id="{6B3B5E94-A6A9-2446-7661-35ADBF34DB39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774" name="Freeform 5101">
                  <a:extLst>
                    <a:ext uri="{FF2B5EF4-FFF2-40B4-BE49-F238E27FC236}">
                      <a16:creationId xmlns:a16="http://schemas.microsoft.com/office/drawing/2014/main" id="{8E666CE1-8514-1C51-E3B9-1868CFA3319C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784" name="Group 783">
                <a:extLst>
                  <a:ext uri="{FF2B5EF4-FFF2-40B4-BE49-F238E27FC236}">
                    <a16:creationId xmlns:a16="http://schemas.microsoft.com/office/drawing/2014/main" id="{4BFE4C7E-D411-7688-BADD-DC5FC23671E7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465249" y="4521086"/>
                <a:ext cx="161379" cy="345037"/>
                <a:chOff x="5926138" y="3011488"/>
                <a:chExt cx="339725" cy="838200"/>
              </a:xfrm>
            </p:grpSpPr>
            <p:grpSp>
              <p:nvGrpSpPr>
                <p:cNvPr id="785" name="Group 15">
                  <a:extLst>
                    <a:ext uri="{FF2B5EF4-FFF2-40B4-BE49-F238E27FC236}">
                      <a16:creationId xmlns:a16="http://schemas.microsoft.com/office/drawing/2014/main" id="{C917257C-AFE6-E3D5-83EE-CC6FC5954FFE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789" name="AutoShape 14">
                    <a:extLst>
                      <a:ext uri="{FF2B5EF4-FFF2-40B4-BE49-F238E27FC236}">
                        <a16:creationId xmlns:a16="http://schemas.microsoft.com/office/drawing/2014/main" id="{9C28C623-90FE-6EB8-1342-B4488A38F54F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90" name="Freeform 16">
                    <a:extLst>
                      <a:ext uri="{FF2B5EF4-FFF2-40B4-BE49-F238E27FC236}">
                        <a16:creationId xmlns:a16="http://schemas.microsoft.com/office/drawing/2014/main" id="{88EC10A8-5B93-75A7-8990-572474EEF3A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3" y="2063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91" name="Freeform 17">
                    <a:extLst>
                      <a:ext uri="{FF2B5EF4-FFF2-40B4-BE49-F238E27FC236}">
                        <a16:creationId xmlns:a16="http://schemas.microsoft.com/office/drawing/2014/main" id="{C0449D0F-033B-BF5E-8222-98144EFAC598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92" name="Freeform 18">
                    <a:extLst>
                      <a:ext uri="{FF2B5EF4-FFF2-40B4-BE49-F238E27FC236}">
                        <a16:creationId xmlns:a16="http://schemas.microsoft.com/office/drawing/2014/main" id="{EC7ECE1D-3499-183A-16A2-4EA4E32D53D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93" name="Freeform 19">
                    <a:extLst>
                      <a:ext uri="{FF2B5EF4-FFF2-40B4-BE49-F238E27FC236}">
                        <a16:creationId xmlns:a16="http://schemas.microsoft.com/office/drawing/2014/main" id="{263E973D-22B9-8238-4A79-D2B147F957A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94" name="Freeform 20">
                    <a:extLst>
                      <a:ext uri="{FF2B5EF4-FFF2-40B4-BE49-F238E27FC236}">
                        <a16:creationId xmlns:a16="http://schemas.microsoft.com/office/drawing/2014/main" id="{FE55AABF-49EF-87AD-0005-E780478DEE1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95" name="Freeform 21">
                    <a:extLst>
                      <a:ext uri="{FF2B5EF4-FFF2-40B4-BE49-F238E27FC236}">
                        <a16:creationId xmlns:a16="http://schemas.microsoft.com/office/drawing/2014/main" id="{24A2AD52-6EE3-9745-39EB-EC832BD91B5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96" name="Freeform 22">
                    <a:extLst>
                      <a:ext uri="{FF2B5EF4-FFF2-40B4-BE49-F238E27FC236}">
                        <a16:creationId xmlns:a16="http://schemas.microsoft.com/office/drawing/2014/main" id="{7C7B02B6-3D6F-4FE1-C5F1-60A39556B01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797" name="Freeform 23">
                    <a:extLst>
                      <a:ext uri="{FF2B5EF4-FFF2-40B4-BE49-F238E27FC236}">
                        <a16:creationId xmlns:a16="http://schemas.microsoft.com/office/drawing/2014/main" id="{5F92FE43-2893-F41D-A059-5B489379D73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786" name="Freeform 5101">
                  <a:extLst>
                    <a:ext uri="{FF2B5EF4-FFF2-40B4-BE49-F238E27FC236}">
                      <a16:creationId xmlns:a16="http://schemas.microsoft.com/office/drawing/2014/main" id="{1F6208F2-D0E1-F1EA-8792-F9F4A2BD9FA2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787" name="Freeform 5101">
                  <a:extLst>
                    <a:ext uri="{FF2B5EF4-FFF2-40B4-BE49-F238E27FC236}">
                      <a16:creationId xmlns:a16="http://schemas.microsoft.com/office/drawing/2014/main" id="{FDAC4B25-B337-E813-EBD6-7D29FD0F74FF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788" name="Freeform 5101">
                  <a:extLst>
                    <a:ext uri="{FF2B5EF4-FFF2-40B4-BE49-F238E27FC236}">
                      <a16:creationId xmlns:a16="http://schemas.microsoft.com/office/drawing/2014/main" id="{0EE76D57-4D87-2EB4-EFDF-40A6AFCFA7B5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sp>
            <p:nvSpPr>
              <p:cNvPr id="804" name="TextBox 803">
                <a:extLst>
                  <a:ext uri="{FF2B5EF4-FFF2-40B4-BE49-F238E27FC236}">
                    <a16:creationId xmlns:a16="http://schemas.microsoft.com/office/drawing/2014/main" id="{969E8623-F9BF-9447-1039-A66EB10BC1D2}"/>
                  </a:ext>
                </a:extLst>
              </p:cNvPr>
              <p:cNvSpPr txBox="1"/>
              <p:nvPr/>
            </p:nvSpPr>
            <p:spPr>
              <a:xfrm>
                <a:off x="1933746" y="4886045"/>
                <a:ext cx="1845494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defRPr/>
                </a:pPr>
                <a:r>
                  <a:rPr lang="en-US" sz="900" b="1" kern="0">
                    <a:solidFill>
                      <a:srgbClr val="595959">
                        <a:lumMod val="75000"/>
                      </a:srgbClr>
                    </a:solidFill>
                    <a:latin typeface="Arial" panose="020B0604020202020204"/>
                    <a:cs typeface="Arial" panose="020B0604020202020204" pitchFamily="34" charset="0"/>
                  </a:rPr>
                  <a:t>Fibroblast-like </a:t>
                </a:r>
                <a:br>
                  <a:rPr lang="en-US" sz="900" b="1" kern="0">
                    <a:solidFill>
                      <a:srgbClr val="595959">
                        <a:lumMod val="75000"/>
                      </a:srgbClr>
                    </a:solidFill>
                    <a:latin typeface="Arial" panose="020B0604020202020204"/>
                    <a:cs typeface="Arial" panose="020B0604020202020204" pitchFamily="34" charset="0"/>
                  </a:rPr>
                </a:br>
                <a:r>
                  <a:rPr lang="en-US" sz="900" b="1" kern="0">
                    <a:solidFill>
                      <a:srgbClr val="595959">
                        <a:lumMod val="75000"/>
                      </a:srgbClr>
                    </a:solidFill>
                    <a:latin typeface="Arial" panose="020B0604020202020204"/>
                    <a:cs typeface="Arial" panose="020B0604020202020204" pitchFamily="34" charset="0"/>
                  </a:rPr>
                  <a:t>mesenchymal cells</a:t>
                </a:r>
              </a:p>
            </p:txBody>
          </p:sp>
          <p:grpSp>
            <p:nvGrpSpPr>
              <p:cNvPr id="810" name="Group 809">
                <a:extLst>
                  <a:ext uri="{FF2B5EF4-FFF2-40B4-BE49-F238E27FC236}">
                    <a16:creationId xmlns:a16="http://schemas.microsoft.com/office/drawing/2014/main" id="{B4DF5168-BA7D-EF00-5E07-A4F80DC24D16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770657" y="4490883"/>
                <a:ext cx="175558" cy="373934"/>
                <a:chOff x="5926138" y="3011488"/>
                <a:chExt cx="339725" cy="835025"/>
              </a:xfrm>
            </p:grpSpPr>
            <p:grpSp>
              <p:nvGrpSpPr>
                <p:cNvPr id="811" name="Group 15">
                  <a:extLst>
                    <a:ext uri="{FF2B5EF4-FFF2-40B4-BE49-F238E27FC236}">
                      <a16:creationId xmlns:a16="http://schemas.microsoft.com/office/drawing/2014/main" id="{1B370C95-3E15-8C36-34BD-319D00179F5B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5025"/>
                  <a:chOff x="3733" y="1897"/>
                  <a:chExt cx="214" cy="526"/>
                </a:xfrm>
              </p:grpSpPr>
              <p:sp>
                <p:nvSpPr>
                  <p:cNvPr id="813" name="AutoShape 14">
                    <a:extLst>
                      <a:ext uri="{FF2B5EF4-FFF2-40B4-BE49-F238E27FC236}">
                        <a16:creationId xmlns:a16="http://schemas.microsoft.com/office/drawing/2014/main" id="{B8B8410E-A498-4BDA-B061-5BD240A8CEC8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814" name="Freeform 16">
                    <a:extLst>
                      <a:ext uri="{FF2B5EF4-FFF2-40B4-BE49-F238E27FC236}">
                        <a16:creationId xmlns:a16="http://schemas.microsoft.com/office/drawing/2014/main" id="{D226FA08-7F7F-5C74-3357-9D3AC8B992D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3" y="2091"/>
                    <a:ext cx="195" cy="327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  <a:gd name="connsiteX0" fmla="*/ 7625 w 9884"/>
                      <a:gd name="connsiteY0" fmla="*/ 9932 h 10000"/>
                      <a:gd name="connsiteX1" fmla="*/ 9875 w 9884"/>
                      <a:gd name="connsiteY1" fmla="*/ 8446 h 10000"/>
                      <a:gd name="connsiteX2" fmla="*/ 5895 w 9884"/>
                      <a:gd name="connsiteY2" fmla="*/ 3861 h 10000"/>
                      <a:gd name="connsiteX3" fmla="*/ 7375 w 9884"/>
                      <a:gd name="connsiteY3" fmla="*/ 0 h 10000"/>
                      <a:gd name="connsiteX4" fmla="*/ 5000 w 9884"/>
                      <a:gd name="connsiteY4" fmla="*/ 68 h 10000"/>
                      <a:gd name="connsiteX5" fmla="*/ 2625 w 9884"/>
                      <a:gd name="connsiteY5" fmla="*/ 68 h 10000"/>
                      <a:gd name="connsiteX6" fmla="*/ 375 w 9884"/>
                      <a:gd name="connsiteY6" fmla="*/ 1486 h 10000"/>
                      <a:gd name="connsiteX7" fmla="*/ 0 w 9884"/>
                      <a:gd name="connsiteY7" fmla="*/ 8446 h 10000"/>
                      <a:gd name="connsiteX8" fmla="*/ 2375 w 9884"/>
                      <a:gd name="connsiteY8" fmla="*/ 10000 h 10000"/>
                      <a:gd name="connsiteX9" fmla="*/ 5000 w 9884"/>
                      <a:gd name="connsiteY9" fmla="*/ 10000 h 10000"/>
                      <a:gd name="connsiteX10" fmla="*/ 7625 w 9884"/>
                      <a:gd name="connsiteY10" fmla="*/ 9932 h 10000"/>
                      <a:gd name="connsiteX0" fmla="*/ 7714 w 10000"/>
                      <a:gd name="connsiteY0" fmla="*/ 9932 h 10000"/>
                      <a:gd name="connsiteX1" fmla="*/ 9991 w 10000"/>
                      <a:gd name="connsiteY1" fmla="*/ 8446 h 10000"/>
                      <a:gd name="connsiteX2" fmla="*/ 7079 w 10000"/>
                      <a:gd name="connsiteY2" fmla="*/ 5555 h 10000"/>
                      <a:gd name="connsiteX3" fmla="*/ 5964 w 10000"/>
                      <a:gd name="connsiteY3" fmla="*/ 3861 h 10000"/>
                      <a:gd name="connsiteX4" fmla="*/ 7462 w 10000"/>
                      <a:gd name="connsiteY4" fmla="*/ 0 h 10000"/>
                      <a:gd name="connsiteX5" fmla="*/ 5059 w 10000"/>
                      <a:gd name="connsiteY5" fmla="*/ 68 h 10000"/>
                      <a:gd name="connsiteX6" fmla="*/ 2656 w 10000"/>
                      <a:gd name="connsiteY6" fmla="*/ 68 h 10000"/>
                      <a:gd name="connsiteX7" fmla="*/ 379 w 10000"/>
                      <a:gd name="connsiteY7" fmla="*/ 1486 h 10000"/>
                      <a:gd name="connsiteX8" fmla="*/ 0 w 10000"/>
                      <a:gd name="connsiteY8" fmla="*/ 8446 h 10000"/>
                      <a:gd name="connsiteX9" fmla="*/ 2403 w 10000"/>
                      <a:gd name="connsiteY9" fmla="*/ 10000 h 10000"/>
                      <a:gd name="connsiteX10" fmla="*/ 5059 w 10000"/>
                      <a:gd name="connsiteY10" fmla="*/ 10000 h 10000"/>
                      <a:gd name="connsiteX11" fmla="*/ 7714 w 10000"/>
                      <a:gd name="connsiteY11" fmla="*/ 9932 h 10000"/>
                      <a:gd name="connsiteX0" fmla="*/ 7714 w 10000"/>
                      <a:gd name="connsiteY0" fmla="*/ 9999 h 10067"/>
                      <a:gd name="connsiteX1" fmla="*/ 9991 w 10000"/>
                      <a:gd name="connsiteY1" fmla="*/ 8513 h 10067"/>
                      <a:gd name="connsiteX2" fmla="*/ 7079 w 10000"/>
                      <a:gd name="connsiteY2" fmla="*/ 5622 h 10067"/>
                      <a:gd name="connsiteX3" fmla="*/ 5964 w 10000"/>
                      <a:gd name="connsiteY3" fmla="*/ 3928 h 10067"/>
                      <a:gd name="connsiteX4" fmla="*/ 4180 w 10000"/>
                      <a:gd name="connsiteY4" fmla="*/ 1967 h 10067"/>
                      <a:gd name="connsiteX5" fmla="*/ 5059 w 10000"/>
                      <a:gd name="connsiteY5" fmla="*/ 135 h 10067"/>
                      <a:gd name="connsiteX6" fmla="*/ 2656 w 10000"/>
                      <a:gd name="connsiteY6" fmla="*/ 135 h 10067"/>
                      <a:gd name="connsiteX7" fmla="*/ 379 w 10000"/>
                      <a:gd name="connsiteY7" fmla="*/ 1553 h 10067"/>
                      <a:gd name="connsiteX8" fmla="*/ 0 w 10000"/>
                      <a:gd name="connsiteY8" fmla="*/ 8513 h 10067"/>
                      <a:gd name="connsiteX9" fmla="*/ 2403 w 10000"/>
                      <a:gd name="connsiteY9" fmla="*/ 10067 h 10067"/>
                      <a:gd name="connsiteX10" fmla="*/ 5059 w 10000"/>
                      <a:gd name="connsiteY10" fmla="*/ 10067 h 10067"/>
                      <a:gd name="connsiteX11" fmla="*/ 7714 w 10000"/>
                      <a:gd name="connsiteY11" fmla="*/ 9999 h 10067"/>
                      <a:gd name="connsiteX0" fmla="*/ 7714 w 10000"/>
                      <a:gd name="connsiteY0" fmla="*/ 10025 h 10093"/>
                      <a:gd name="connsiteX1" fmla="*/ 9991 w 10000"/>
                      <a:gd name="connsiteY1" fmla="*/ 8539 h 10093"/>
                      <a:gd name="connsiteX2" fmla="*/ 7079 w 10000"/>
                      <a:gd name="connsiteY2" fmla="*/ 5648 h 10093"/>
                      <a:gd name="connsiteX3" fmla="*/ 5964 w 10000"/>
                      <a:gd name="connsiteY3" fmla="*/ 3954 h 10093"/>
                      <a:gd name="connsiteX4" fmla="*/ 4180 w 10000"/>
                      <a:gd name="connsiteY4" fmla="*/ 1993 h 10093"/>
                      <a:gd name="connsiteX5" fmla="*/ 2643 w 10000"/>
                      <a:gd name="connsiteY5" fmla="*/ 237 h 10093"/>
                      <a:gd name="connsiteX6" fmla="*/ 2656 w 10000"/>
                      <a:gd name="connsiteY6" fmla="*/ 161 h 10093"/>
                      <a:gd name="connsiteX7" fmla="*/ 379 w 10000"/>
                      <a:gd name="connsiteY7" fmla="*/ 1579 h 10093"/>
                      <a:gd name="connsiteX8" fmla="*/ 0 w 10000"/>
                      <a:gd name="connsiteY8" fmla="*/ 8539 h 10093"/>
                      <a:gd name="connsiteX9" fmla="*/ 2403 w 10000"/>
                      <a:gd name="connsiteY9" fmla="*/ 10093 h 10093"/>
                      <a:gd name="connsiteX10" fmla="*/ 5059 w 10000"/>
                      <a:gd name="connsiteY10" fmla="*/ 10093 h 10093"/>
                      <a:gd name="connsiteX11" fmla="*/ 7714 w 10000"/>
                      <a:gd name="connsiteY11" fmla="*/ 10025 h 10093"/>
                      <a:gd name="connsiteX0" fmla="*/ 7714 w 10000"/>
                      <a:gd name="connsiteY0" fmla="*/ 10025 h 10093"/>
                      <a:gd name="connsiteX1" fmla="*/ 9991 w 10000"/>
                      <a:gd name="connsiteY1" fmla="*/ 8539 h 10093"/>
                      <a:gd name="connsiteX2" fmla="*/ 7079 w 10000"/>
                      <a:gd name="connsiteY2" fmla="*/ 5648 h 10093"/>
                      <a:gd name="connsiteX3" fmla="*/ 5964 w 10000"/>
                      <a:gd name="connsiteY3" fmla="*/ 3954 h 10093"/>
                      <a:gd name="connsiteX4" fmla="*/ 4408 w 10000"/>
                      <a:gd name="connsiteY4" fmla="*/ 1993 h 10093"/>
                      <a:gd name="connsiteX5" fmla="*/ 2643 w 10000"/>
                      <a:gd name="connsiteY5" fmla="*/ 237 h 10093"/>
                      <a:gd name="connsiteX6" fmla="*/ 2656 w 10000"/>
                      <a:gd name="connsiteY6" fmla="*/ 161 h 10093"/>
                      <a:gd name="connsiteX7" fmla="*/ 379 w 10000"/>
                      <a:gd name="connsiteY7" fmla="*/ 1579 h 10093"/>
                      <a:gd name="connsiteX8" fmla="*/ 0 w 10000"/>
                      <a:gd name="connsiteY8" fmla="*/ 8539 h 10093"/>
                      <a:gd name="connsiteX9" fmla="*/ 2403 w 10000"/>
                      <a:gd name="connsiteY9" fmla="*/ 10093 h 10093"/>
                      <a:gd name="connsiteX10" fmla="*/ 5059 w 10000"/>
                      <a:gd name="connsiteY10" fmla="*/ 10093 h 10093"/>
                      <a:gd name="connsiteX11" fmla="*/ 7714 w 10000"/>
                      <a:gd name="connsiteY11" fmla="*/ 10025 h 10093"/>
                      <a:gd name="connsiteX0" fmla="*/ 7714 w 10000"/>
                      <a:gd name="connsiteY0" fmla="*/ 10025 h 10093"/>
                      <a:gd name="connsiteX1" fmla="*/ 9991 w 10000"/>
                      <a:gd name="connsiteY1" fmla="*/ 8539 h 10093"/>
                      <a:gd name="connsiteX2" fmla="*/ 7079 w 10000"/>
                      <a:gd name="connsiteY2" fmla="*/ 5648 h 10093"/>
                      <a:gd name="connsiteX3" fmla="*/ 5964 w 10000"/>
                      <a:gd name="connsiteY3" fmla="*/ 3954 h 10093"/>
                      <a:gd name="connsiteX4" fmla="*/ 4408 w 10000"/>
                      <a:gd name="connsiteY4" fmla="*/ 1993 h 10093"/>
                      <a:gd name="connsiteX5" fmla="*/ 2643 w 10000"/>
                      <a:gd name="connsiteY5" fmla="*/ 237 h 10093"/>
                      <a:gd name="connsiteX6" fmla="*/ 2656 w 10000"/>
                      <a:gd name="connsiteY6" fmla="*/ 161 h 10093"/>
                      <a:gd name="connsiteX7" fmla="*/ 379 w 10000"/>
                      <a:gd name="connsiteY7" fmla="*/ 1579 h 10093"/>
                      <a:gd name="connsiteX8" fmla="*/ 0 w 10000"/>
                      <a:gd name="connsiteY8" fmla="*/ 8539 h 10093"/>
                      <a:gd name="connsiteX9" fmla="*/ 2403 w 10000"/>
                      <a:gd name="connsiteY9" fmla="*/ 10093 h 10093"/>
                      <a:gd name="connsiteX10" fmla="*/ 5059 w 10000"/>
                      <a:gd name="connsiteY10" fmla="*/ 10093 h 10093"/>
                      <a:gd name="connsiteX11" fmla="*/ 7714 w 10000"/>
                      <a:gd name="connsiteY11" fmla="*/ 10025 h 10093"/>
                      <a:gd name="connsiteX0" fmla="*/ 7714 w 10000"/>
                      <a:gd name="connsiteY0" fmla="*/ 10025 h 10093"/>
                      <a:gd name="connsiteX1" fmla="*/ 9991 w 10000"/>
                      <a:gd name="connsiteY1" fmla="*/ 8539 h 10093"/>
                      <a:gd name="connsiteX2" fmla="*/ 7079 w 10000"/>
                      <a:gd name="connsiteY2" fmla="*/ 5648 h 10093"/>
                      <a:gd name="connsiteX3" fmla="*/ 5964 w 10000"/>
                      <a:gd name="connsiteY3" fmla="*/ 3954 h 10093"/>
                      <a:gd name="connsiteX4" fmla="*/ 4408 w 10000"/>
                      <a:gd name="connsiteY4" fmla="*/ 1993 h 10093"/>
                      <a:gd name="connsiteX5" fmla="*/ 2643 w 10000"/>
                      <a:gd name="connsiteY5" fmla="*/ 237 h 10093"/>
                      <a:gd name="connsiteX6" fmla="*/ 2656 w 10000"/>
                      <a:gd name="connsiteY6" fmla="*/ 161 h 10093"/>
                      <a:gd name="connsiteX7" fmla="*/ 379 w 10000"/>
                      <a:gd name="connsiteY7" fmla="*/ 1579 h 10093"/>
                      <a:gd name="connsiteX8" fmla="*/ 0 w 10000"/>
                      <a:gd name="connsiteY8" fmla="*/ 8539 h 10093"/>
                      <a:gd name="connsiteX9" fmla="*/ 2403 w 10000"/>
                      <a:gd name="connsiteY9" fmla="*/ 10093 h 10093"/>
                      <a:gd name="connsiteX10" fmla="*/ 5059 w 10000"/>
                      <a:gd name="connsiteY10" fmla="*/ 10093 h 10093"/>
                      <a:gd name="connsiteX11" fmla="*/ 7714 w 10000"/>
                      <a:gd name="connsiteY11" fmla="*/ 10025 h 10093"/>
                      <a:gd name="connsiteX0" fmla="*/ 7714 w 10000"/>
                      <a:gd name="connsiteY0" fmla="*/ 9821 h 9889"/>
                      <a:gd name="connsiteX1" fmla="*/ 9991 w 10000"/>
                      <a:gd name="connsiteY1" fmla="*/ 8335 h 9889"/>
                      <a:gd name="connsiteX2" fmla="*/ 7079 w 10000"/>
                      <a:gd name="connsiteY2" fmla="*/ 5444 h 9889"/>
                      <a:gd name="connsiteX3" fmla="*/ 5964 w 10000"/>
                      <a:gd name="connsiteY3" fmla="*/ 3750 h 9889"/>
                      <a:gd name="connsiteX4" fmla="*/ 4408 w 10000"/>
                      <a:gd name="connsiteY4" fmla="*/ 1789 h 9889"/>
                      <a:gd name="connsiteX5" fmla="*/ 2643 w 10000"/>
                      <a:gd name="connsiteY5" fmla="*/ 33 h 9889"/>
                      <a:gd name="connsiteX6" fmla="*/ 2246 w 10000"/>
                      <a:gd name="connsiteY6" fmla="*/ 696 h 9889"/>
                      <a:gd name="connsiteX7" fmla="*/ 379 w 10000"/>
                      <a:gd name="connsiteY7" fmla="*/ 1375 h 9889"/>
                      <a:gd name="connsiteX8" fmla="*/ 0 w 10000"/>
                      <a:gd name="connsiteY8" fmla="*/ 8335 h 9889"/>
                      <a:gd name="connsiteX9" fmla="*/ 2403 w 10000"/>
                      <a:gd name="connsiteY9" fmla="*/ 9889 h 9889"/>
                      <a:gd name="connsiteX10" fmla="*/ 5059 w 10000"/>
                      <a:gd name="connsiteY10" fmla="*/ 9889 h 9889"/>
                      <a:gd name="connsiteX11" fmla="*/ 7714 w 10000"/>
                      <a:gd name="connsiteY11" fmla="*/ 9821 h 9889"/>
                      <a:gd name="connsiteX0" fmla="*/ 7714 w 10000"/>
                      <a:gd name="connsiteY0" fmla="*/ 9255 h 9324"/>
                      <a:gd name="connsiteX1" fmla="*/ 9991 w 10000"/>
                      <a:gd name="connsiteY1" fmla="*/ 7753 h 9324"/>
                      <a:gd name="connsiteX2" fmla="*/ 7079 w 10000"/>
                      <a:gd name="connsiteY2" fmla="*/ 4829 h 9324"/>
                      <a:gd name="connsiteX3" fmla="*/ 5964 w 10000"/>
                      <a:gd name="connsiteY3" fmla="*/ 3116 h 9324"/>
                      <a:gd name="connsiteX4" fmla="*/ 4408 w 10000"/>
                      <a:gd name="connsiteY4" fmla="*/ 1133 h 9324"/>
                      <a:gd name="connsiteX5" fmla="*/ 2780 w 10000"/>
                      <a:gd name="connsiteY5" fmla="*/ 232 h 9324"/>
                      <a:gd name="connsiteX6" fmla="*/ 2246 w 10000"/>
                      <a:gd name="connsiteY6" fmla="*/ 28 h 9324"/>
                      <a:gd name="connsiteX7" fmla="*/ 379 w 10000"/>
                      <a:gd name="connsiteY7" fmla="*/ 714 h 9324"/>
                      <a:gd name="connsiteX8" fmla="*/ 0 w 10000"/>
                      <a:gd name="connsiteY8" fmla="*/ 7753 h 9324"/>
                      <a:gd name="connsiteX9" fmla="*/ 2403 w 10000"/>
                      <a:gd name="connsiteY9" fmla="*/ 9324 h 9324"/>
                      <a:gd name="connsiteX10" fmla="*/ 5059 w 10000"/>
                      <a:gd name="connsiteY10" fmla="*/ 9324 h 9324"/>
                      <a:gd name="connsiteX11" fmla="*/ 7714 w 10000"/>
                      <a:gd name="connsiteY11" fmla="*/ 9255 h 9324"/>
                      <a:gd name="connsiteX0" fmla="*/ 7714 w 10000"/>
                      <a:gd name="connsiteY0" fmla="*/ 9938 h 10012"/>
                      <a:gd name="connsiteX1" fmla="*/ 9991 w 10000"/>
                      <a:gd name="connsiteY1" fmla="*/ 8327 h 10012"/>
                      <a:gd name="connsiteX2" fmla="*/ 7079 w 10000"/>
                      <a:gd name="connsiteY2" fmla="*/ 5191 h 10012"/>
                      <a:gd name="connsiteX3" fmla="*/ 5964 w 10000"/>
                      <a:gd name="connsiteY3" fmla="*/ 3354 h 10012"/>
                      <a:gd name="connsiteX4" fmla="*/ 4408 w 10000"/>
                      <a:gd name="connsiteY4" fmla="*/ 1227 h 10012"/>
                      <a:gd name="connsiteX5" fmla="*/ 2780 w 10000"/>
                      <a:gd name="connsiteY5" fmla="*/ 261 h 10012"/>
                      <a:gd name="connsiteX6" fmla="*/ 2246 w 10000"/>
                      <a:gd name="connsiteY6" fmla="*/ 42 h 10012"/>
                      <a:gd name="connsiteX7" fmla="*/ 379 w 10000"/>
                      <a:gd name="connsiteY7" fmla="*/ 778 h 10012"/>
                      <a:gd name="connsiteX8" fmla="*/ 0 w 10000"/>
                      <a:gd name="connsiteY8" fmla="*/ 8327 h 10012"/>
                      <a:gd name="connsiteX9" fmla="*/ 2403 w 10000"/>
                      <a:gd name="connsiteY9" fmla="*/ 10012 h 10012"/>
                      <a:gd name="connsiteX10" fmla="*/ 5059 w 10000"/>
                      <a:gd name="connsiteY10" fmla="*/ 10012 h 10012"/>
                      <a:gd name="connsiteX11" fmla="*/ 7714 w 10000"/>
                      <a:gd name="connsiteY11" fmla="*/ 9938 h 100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10000" h="10012">
                        <a:moveTo>
                          <a:pt x="7714" y="9938"/>
                        </a:moveTo>
                        <a:cubicBezTo>
                          <a:pt x="8979" y="9938"/>
                          <a:pt x="10117" y="9207"/>
                          <a:pt x="9991" y="8327"/>
                        </a:cubicBezTo>
                        <a:cubicBezTo>
                          <a:pt x="10108" y="7229"/>
                          <a:pt x="7750" y="6020"/>
                          <a:pt x="7079" y="5191"/>
                        </a:cubicBezTo>
                        <a:cubicBezTo>
                          <a:pt x="6408" y="4363"/>
                          <a:pt x="6409" y="4015"/>
                          <a:pt x="5964" y="3354"/>
                        </a:cubicBezTo>
                        <a:cubicBezTo>
                          <a:pt x="5519" y="2693"/>
                          <a:pt x="4908" y="1697"/>
                          <a:pt x="4408" y="1227"/>
                        </a:cubicBezTo>
                        <a:cubicBezTo>
                          <a:pt x="3926" y="482"/>
                          <a:pt x="3140" y="458"/>
                          <a:pt x="2780" y="261"/>
                        </a:cubicBezTo>
                        <a:cubicBezTo>
                          <a:pt x="2420" y="63"/>
                          <a:pt x="2783" y="149"/>
                          <a:pt x="2246" y="42"/>
                        </a:cubicBezTo>
                        <a:cubicBezTo>
                          <a:pt x="1845" y="-38"/>
                          <a:pt x="379" y="-101"/>
                          <a:pt x="379" y="778"/>
                        </a:cubicBezTo>
                        <a:cubicBezTo>
                          <a:pt x="253" y="3294"/>
                          <a:pt x="126" y="5811"/>
                          <a:pt x="0" y="8327"/>
                        </a:cubicBezTo>
                        <a:cubicBezTo>
                          <a:pt x="0" y="9207"/>
                          <a:pt x="1012" y="9938"/>
                          <a:pt x="2403" y="10012"/>
                        </a:cubicBezTo>
                        <a:lnTo>
                          <a:pt x="5059" y="10012"/>
                        </a:lnTo>
                        <a:lnTo>
                          <a:pt x="7714" y="9938"/>
                        </a:lnTo>
                        <a:close/>
                      </a:path>
                    </a:pathLst>
                  </a:custGeom>
                  <a:solidFill>
                    <a:srgbClr val="F0AB00">
                      <a:lumMod val="20000"/>
                      <a:lumOff val="80000"/>
                    </a:srgbClr>
                  </a:solidFill>
                  <a:ln w="12700">
                    <a:solidFill>
                      <a:srgbClr val="F0AB00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815" name="Freeform 21">
                    <a:extLst>
                      <a:ext uri="{FF2B5EF4-FFF2-40B4-BE49-F238E27FC236}">
                        <a16:creationId xmlns:a16="http://schemas.microsoft.com/office/drawing/2014/main" id="{10F4476C-BCFE-68A3-AC27-6F6E8134F3A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2013"/>
                    <a:ext cx="27" cy="93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0AB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816" name="Freeform 22">
                    <a:extLst>
                      <a:ext uri="{FF2B5EF4-FFF2-40B4-BE49-F238E27FC236}">
                        <a16:creationId xmlns:a16="http://schemas.microsoft.com/office/drawing/2014/main" id="{91A4064D-D04B-B69B-E15E-3A9DF2BD6CC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978"/>
                    <a:ext cx="40" cy="121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0AB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817" name="Freeform 23">
                    <a:extLst>
                      <a:ext uri="{FF2B5EF4-FFF2-40B4-BE49-F238E27FC236}">
                        <a16:creationId xmlns:a16="http://schemas.microsoft.com/office/drawing/2014/main" id="{02211033-A883-FC8C-811D-396DCB56DB5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812" name="Freeform 5101">
                  <a:extLst>
                    <a:ext uri="{FF2B5EF4-FFF2-40B4-BE49-F238E27FC236}">
                      <a16:creationId xmlns:a16="http://schemas.microsoft.com/office/drawing/2014/main" id="{A985591D-55DD-AEF1-53DB-8872E83DC8F7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818" name="Group 817">
                <a:extLst>
                  <a:ext uri="{FF2B5EF4-FFF2-40B4-BE49-F238E27FC236}">
                    <a16:creationId xmlns:a16="http://schemas.microsoft.com/office/drawing/2014/main" id="{E1321CD2-9ECD-310C-A79E-93668507BE80}"/>
                  </a:ext>
                </a:extLst>
              </p:cNvPr>
              <p:cNvGrpSpPr/>
              <p:nvPr/>
            </p:nvGrpSpPr>
            <p:grpSpPr>
              <a:xfrm rot="21502538">
                <a:off x="2041624" y="4797843"/>
                <a:ext cx="215626" cy="61923"/>
                <a:chOff x="9602406" y="4324350"/>
                <a:chExt cx="925894" cy="244781"/>
              </a:xfrm>
            </p:grpSpPr>
            <p:sp>
              <p:nvSpPr>
                <p:cNvPr id="819" name="Freeform: Shape 3357">
                  <a:extLst>
                    <a:ext uri="{FF2B5EF4-FFF2-40B4-BE49-F238E27FC236}">
                      <a16:creationId xmlns:a16="http://schemas.microsoft.com/office/drawing/2014/main" id="{8E082392-9868-8CB0-00F7-84485B1B9944}"/>
                    </a:ext>
                  </a:extLst>
                </p:cNvPr>
                <p:cNvSpPr/>
                <p:nvPr/>
              </p:nvSpPr>
              <p:spPr>
                <a:xfrm>
                  <a:off x="9602406" y="4324350"/>
                  <a:ext cx="925894" cy="244781"/>
                </a:xfrm>
                <a:custGeom>
                  <a:avLst/>
                  <a:gdLst>
                    <a:gd name="connsiteX0" fmla="*/ 21019 w 925894"/>
                    <a:gd name="connsiteY0" fmla="*/ 215900 h 244781"/>
                    <a:gd name="connsiteX1" fmla="*/ 21019 w 925894"/>
                    <a:gd name="connsiteY1" fmla="*/ 215900 h 244781"/>
                    <a:gd name="connsiteX2" fmla="*/ 109919 w 925894"/>
                    <a:gd name="connsiteY2" fmla="*/ 228600 h 244781"/>
                    <a:gd name="connsiteX3" fmla="*/ 163894 w 925894"/>
                    <a:gd name="connsiteY3" fmla="*/ 234950 h 244781"/>
                    <a:gd name="connsiteX4" fmla="*/ 186119 w 925894"/>
                    <a:gd name="connsiteY4" fmla="*/ 238125 h 244781"/>
                    <a:gd name="connsiteX5" fmla="*/ 459169 w 925894"/>
                    <a:gd name="connsiteY5" fmla="*/ 241300 h 244781"/>
                    <a:gd name="connsiteX6" fmla="*/ 716344 w 925894"/>
                    <a:gd name="connsiteY6" fmla="*/ 241300 h 244781"/>
                    <a:gd name="connsiteX7" fmla="*/ 779844 w 925894"/>
                    <a:gd name="connsiteY7" fmla="*/ 231775 h 244781"/>
                    <a:gd name="connsiteX8" fmla="*/ 805244 w 925894"/>
                    <a:gd name="connsiteY8" fmla="*/ 228600 h 244781"/>
                    <a:gd name="connsiteX9" fmla="*/ 849694 w 925894"/>
                    <a:gd name="connsiteY9" fmla="*/ 222250 h 244781"/>
                    <a:gd name="connsiteX10" fmla="*/ 875094 w 925894"/>
                    <a:gd name="connsiteY10" fmla="*/ 215900 h 244781"/>
                    <a:gd name="connsiteX11" fmla="*/ 884619 w 925894"/>
                    <a:gd name="connsiteY11" fmla="*/ 212725 h 244781"/>
                    <a:gd name="connsiteX12" fmla="*/ 910019 w 925894"/>
                    <a:gd name="connsiteY12" fmla="*/ 203200 h 244781"/>
                    <a:gd name="connsiteX13" fmla="*/ 925894 w 925894"/>
                    <a:gd name="connsiteY13" fmla="*/ 184150 h 244781"/>
                    <a:gd name="connsiteX14" fmla="*/ 824294 w 925894"/>
                    <a:gd name="connsiteY14" fmla="*/ 174625 h 244781"/>
                    <a:gd name="connsiteX15" fmla="*/ 789369 w 925894"/>
                    <a:gd name="connsiteY15" fmla="*/ 155575 h 244781"/>
                    <a:gd name="connsiteX16" fmla="*/ 776669 w 925894"/>
                    <a:gd name="connsiteY16" fmla="*/ 152400 h 244781"/>
                    <a:gd name="connsiteX17" fmla="*/ 767144 w 925894"/>
                    <a:gd name="connsiteY17" fmla="*/ 142875 h 244781"/>
                    <a:gd name="connsiteX18" fmla="*/ 757619 w 925894"/>
                    <a:gd name="connsiteY18" fmla="*/ 136525 h 244781"/>
                    <a:gd name="connsiteX19" fmla="*/ 751269 w 925894"/>
                    <a:gd name="connsiteY19" fmla="*/ 127000 h 244781"/>
                    <a:gd name="connsiteX20" fmla="*/ 735394 w 925894"/>
                    <a:gd name="connsiteY20" fmla="*/ 114300 h 244781"/>
                    <a:gd name="connsiteX21" fmla="*/ 716344 w 925894"/>
                    <a:gd name="connsiteY21" fmla="*/ 95250 h 244781"/>
                    <a:gd name="connsiteX22" fmla="*/ 697294 w 925894"/>
                    <a:gd name="connsiteY22" fmla="*/ 82550 h 244781"/>
                    <a:gd name="connsiteX23" fmla="*/ 687769 w 925894"/>
                    <a:gd name="connsiteY23" fmla="*/ 73025 h 244781"/>
                    <a:gd name="connsiteX24" fmla="*/ 671894 w 925894"/>
                    <a:gd name="connsiteY24" fmla="*/ 63500 h 244781"/>
                    <a:gd name="connsiteX25" fmla="*/ 652844 w 925894"/>
                    <a:gd name="connsiteY25" fmla="*/ 50800 h 244781"/>
                    <a:gd name="connsiteX26" fmla="*/ 640144 w 925894"/>
                    <a:gd name="connsiteY26" fmla="*/ 44450 h 244781"/>
                    <a:gd name="connsiteX27" fmla="*/ 627444 w 925894"/>
                    <a:gd name="connsiteY27" fmla="*/ 34925 h 244781"/>
                    <a:gd name="connsiteX28" fmla="*/ 617919 w 925894"/>
                    <a:gd name="connsiteY28" fmla="*/ 31750 h 244781"/>
                    <a:gd name="connsiteX29" fmla="*/ 589344 w 925894"/>
                    <a:gd name="connsiteY29" fmla="*/ 12700 h 244781"/>
                    <a:gd name="connsiteX30" fmla="*/ 570294 w 925894"/>
                    <a:gd name="connsiteY30" fmla="*/ 6350 h 244781"/>
                    <a:gd name="connsiteX31" fmla="*/ 541719 w 925894"/>
                    <a:gd name="connsiteY31" fmla="*/ 3175 h 244781"/>
                    <a:gd name="connsiteX32" fmla="*/ 522669 w 925894"/>
                    <a:gd name="connsiteY32" fmla="*/ 0 h 244781"/>
                    <a:gd name="connsiteX33" fmla="*/ 398844 w 925894"/>
                    <a:gd name="connsiteY33" fmla="*/ 3175 h 244781"/>
                    <a:gd name="connsiteX34" fmla="*/ 370269 w 925894"/>
                    <a:gd name="connsiteY34" fmla="*/ 15875 h 244781"/>
                    <a:gd name="connsiteX35" fmla="*/ 354394 w 925894"/>
                    <a:gd name="connsiteY35" fmla="*/ 22225 h 244781"/>
                    <a:gd name="connsiteX36" fmla="*/ 344869 w 925894"/>
                    <a:gd name="connsiteY36" fmla="*/ 28575 h 244781"/>
                    <a:gd name="connsiteX37" fmla="*/ 319469 w 925894"/>
                    <a:gd name="connsiteY37" fmla="*/ 41275 h 244781"/>
                    <a:gd name="connsiteX38" fmla="*/ 303594 w 925894"/>
                    <a:gd name="connsiteY38" fmla="*/ 47625 h 244781"/>
                    <a:gd name="connsiteX39" fmla="*/ 290894 w 925894"/>
                    <a:gd name="connsiteY39" fmla="*/ 57150 h 244781"/>
                    <a:gd name="connsiteX40" fmla="*/ 265494 w 925894"/>
                    <a:gd name="connsiteY40" fmla="*/ 69850 h 244781"/>
                    <a:gd name="connsiteX41" fmla="*/ 249619 w 925894"/>
                    <a:gd name="connsiteY41" fmla="*/ 79375 h 244781"/>
                    <a:gd name="connsiteX42" fmla="*/ 211519 w 925894"/>
                    <a:gd name="connsiteY42" fmla="*/ 104775 h 244781"/>
                    <a:gd name="connsiteX43" fmla="*/ 195644 w 925894"/>
                    <a:gd name="connsiteY43" fmla="*/ 117475 h 244781"/>
                    <a:gd name="connsiteX44" fmla="*/ 179769 w 925894"/>
                    <a:gd name="connsiteY44" fmla="*/ 127000 h 244781"/>
                    <a:gd name="connsiteX45" fmla="*/ 167069 w 925894"/>
                    <a:gd name="connsiteY45" fmla="*/ 139700 h 244781"/>
                    <a:gd name="connsiteX46" fmla="*/ 151194 w 925894"/>
                    <a:gd name="connsiteY46" fmla="*/ 146050 h 244781"/>
                    <a:gd name="connsiteX47" fmla="*/ 138494 w 925894"/>
                    <a:gd name="connsiteY47" fmla="*/ 152400 h 244781"/>
                    <a:gd name="connsiteX48" fmla="*/ 122619 w 925894"/>
                    <a:gd name="connsiteY48" fmla="*/ 158750 h 244781"/>
                    <a:gd name="connsiteX49" fmla="*/ 113094 w 925894"/>
                    <a:gd name="connsiteY49" fmla="*/ 165100 h 244781"/>
                    <a:gd name="connsiteX50" fmla="*/ 46419 w 925894"/>
                    <a:gd name="connsiteY50" fmla="*/ 171450 h 244781"/>
                    <a:gd name="connsiteX51" fmla="*/ 36894 w 925894"/>
                    <a:gd name="connsiteY51" fmla="*/ 174625 h 244781"/>
                    <a:gd name="connsiteX52" fmla="*/ 11494 w 925894"/>
                    <a:gd name="connsiteY52" fmla="*/ 180975 h 244781"/>
                    <a:gd name="connsiteX53" fmla="*/ 5144 w 925894"/>
                    <a:gd name="connsiteY53" fmla="*/ 209550 h 244781"/>
                    <a:gd name="connsiteX54" fmla="*/ 27369 w 925894"/>
                    <a:gd name="connsiteY54" fmla="*/ 219075 h 244781"/>
                    <a:gd name="connsiteX55" fmla="*/ 21019 w 925894"/>
                    <a:gd name="connsiteY55" fmla="*/ 215900 h 2447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</a:cxnLst>
                  <a:rect l="l" t="t" r="r" b="b"/>
                  <a:pathLst>
                    <a:path w="925894" h="244781">
                      <a:moveTo>
                        <a:pt x="21019" y="215900"/>
                      </a:moveTo>
                      <a:lnTo>
                        <a:pt x="21019" y="215900"/>
                      </a:lnTo>
                      <a:cubicBezTo>
                        <a:pt x="105946" y="230887"/>
                        <a:pt x="44361" y="221576"/>
                        <a:pt x="109919" y="228600"/>
                      </a:cubicBezTo>
                      <a:cubicBezTo>
                        <a:pt x="127932" y="230530"/>
                        <a:pt x="145918" y="232703"/>
                        <a:pt x="163894" y="234950"/>
                      </a:cubicBezTo>
                      <a:cubicBezTo>
                        <a:pt x="171320" y="235878"/>
                        <a:pt x="178637" y="237964"/>
                        <a:pt x="186119" y="238125"/>
                      </a:cubicBezTo>
                      <a:lnTo>
                        <a:pt x="459169" y="241300"/>
                      </a:lnTo>
                      <a:cubicBezTo>
                        <a:pt x="557346" y="244027"/>
                        <a:pt x="615030" y="247535"/>
                        <a:pt x="716344" y="241300"/>
                      </a:cubicBezTo>
                      <a:cubicBezTo>
                        <a:pt x="737707" y="239985"/>
                        <a:pt x="758656" y="234802"/>
                        <a:pt x="779844" y="231775"/>
                      </a:cubicBezTo>
                      <a:cubicBezTo>
                        <a:pt x="788291" y="230568"/>
                        <a:pt x="796797" y="229807"/>
                        <a:pt x="805244" y="228600"/>
                      </a:cubicBezTo>
                      <a:cubicBezTo>
                        <a:pt x="869332" y="219445"/>
                        <a:pt x="769366" y="232291"/>
                        <a:pt x="849694" y="222250"/>
                      </a:cubicBezTo>
                      <a:cubicBezTo>
                        <a:pt x="871467" y="214992"/>
                        <a:pt x="844443" y="223563"/>
                        <a:pt x="875094" y="215900"/>
                      </a:cubicBezTo>
                      <a:cubicBezTo>
                        <a:pt x="878341" y="215088"/>
                        <a:pt x="881401" y="213644"/>
                        <a:pt x="884619" y="212725"/>
                      </a:cubicBezTo>
                      <a:cubicBezTo>
                        <a:pt x="895698" y="209560"/>
                        <a:pt x="900155" y="210246"/>
                        <a:pt x="910019" y="203200"/>
                      </a:cubicBezTo>
                      <a:cubicBezTo>
                        <a:pt x="917797" y="197644"/>
                        <a:pt x="920831" y="191745"/>
                        <a:pt x="925894" y="184150"/>
                      </a:cubicBezTo>
                      <a:cubicBezTo>
                        <a:pt x="888561" y="159261"/>
                        <a:pt x="938340" y="190037"/>
                        <a:pt x="824294" y="174625"/>
                      </a:cubicBezTo>
                      <a:cubicBezTo>
                        <a:pt x="796282" y="170840"/>
                        <a:pt x="806447" y="162894"/>
                        <a:pt x="789369" y="155575"/>
                      </a:cubicBezTo>
                      <a:cubicBezTo>
                        <a:pt x="785358" y="153856"/>
                        <a:pt x="780902" y="153458"/>
                        <a:pt x="776669" y="152400"/>
                      </a:cubicBezTo>
                      <a:cubicBezTo>
                        <a:pt x="773494" y="149225"/>
                        <a:pt x="770593" y="145750"/>
                        <a:pt x="767144" y="142875"/>
                      </a:cubicBezTo>
                      <a:cubicBezTo>
                        <a:pt x="764213" y="140432"/>
                        <a:pt x="760317" y="139223"/>
                        <a:pt x="757619" y="136525"/>
                      </a:cubicBezTo>
                      <a:cubicBezTo>
                        <a:pt x="754921" y="133827"/>
                        <a:pt x="753967" y="129698"/>
                        <a:pt x="751269" y="127000"/>
                      </a:cubicBezTo>
                      <a:cubicBezTo>
                        <a:pt x="746477" y="122208"/>
                        <a:pt x="740408" y="118858"/>
                        <a:pt x="735394" y="114300"/>
                      </a:cubicBezTo>
                      <a:cubicBezTo>
                        <a:pt x="728749" y="108259"/>
                        <a:pt x="723816" y="100231"/>
                        <a:pt x="716344" y="95250"/>
                      </a:cubicBezTo>
                      <a:cubicBezTo>
                        <a:pt x="709994" y="91017"/>
                        <a:pt x="702690" y="87946"/>
                        <a:pt x="697294" y="82550"/>
                      </a:cubicBezTo>
                      <a:cubicBezTo>
                        <a:pt x="694119" y="79375"/>
                        <a:pt x="691361" y="75719"/>
                        <a:pt x="687769" y="73025"/>
                      </a:cubicBezTo>
                      <a:cubicBezTo>
                        <a:pt x="682832" y="69322"/>
                        <a:pt x="677100" y="66813"/>
                        <a:pt x="671894" y="63500"/>
                      </a:cubicBezTo>
                      <a:cubicBezTo>
                        <a:pt x="665455" y="59403"/>
                        <a:pt x="659670" y="54213"/>
                        <a:pt x="652844" y="50800"/>
                      </a:cubicBezTo>
                      <a:cubicBezTo>
                        <a:pt x="648611" y="48683"/>
                        <a:pt x="644158" y="46958"/>
                        <a:pt x="640144" y="44450"/>
                      </a:cubicBezTo>
                      <a:cubicBezTo>
                        <a:pt x="635657" y="41645"/>
                        <a:pt x="632038" y="37550"/>
                        <a:pt x="627444" y="34925"/>
                      </a:cubicBezTo>
                      <a:cubicBezTo>
                        <a:pt x="624538" y="33265"/>
                        <a:pt x="620810" y="33436"/>
                        <a:pt x="617919" y="31750"/>
                      </a:cubicBezTo>
                      <a:cubicBezTo>
                        <a:pt x="608031" y="25982"/>
                        <a:pt x="600204" y="16320"/>
                        <a:pt x="589344" y="12700"/>
                      </a:cubicBezTo>
                      <a:cubicBezTo>
                        <a:pt x="582994" y="10583"/>
                        <a:pt x="576858" y="7663"/>
                        <a:pt x="570294" y="6350"/>
                      </a:cubicBezTo>
                      <a:cubicBezTo>
                        <a:pt x="560896" y="4470"/>
                        <a:pt x="551219" y="4442"/>
                        <a:pt x="541719" y="3175"/>
                      </a:cubicBezTo>
                      <a:cubicBezTo>
                        <a:pt x="535338" y="2324"/>
                        <a:pt x="529019" y="1058"/>
                        <a:pt x="522669" y="0"/>
                      </a:cubicBezTo>
                      <a:cubicBezTo>
                        <a:pt x="481394" y="1058"/>
                        <a:pt x="440041" y="429"/>
                        <a:pt x="398844" y="3175"/>
                      </a:cubicBezTo>
                      <a:cubicBezTo>
                        <a:pt x="379941" y="4435"/>
                        <a:pt x="383216" y="9402"/>
                        <a:pt x="370269" y="15875"/>
                      </a:cubicBezTo>
                      <a:cubicBezTo>
                        <a:pt x="365171" y="18424"/>
                        <a:pt x="359492" y="19676"/>
                        <a:pt x="354394" y="22225"/>
                      </a:cubicBezTo>
                      <a:cubicBezTo>
                        <a:pt x="350981" y="23932"/>
                        <a:pt x="348219" y="26748"/>
                        <a:pt x="344869" y="28575"/>
                      </a:cubicBezTo>
                      <a:cubicBezTo>
                        <a:pt x="336559" y="33108"/>
                        <a:pt x="328258" y="37759"/>
                        <a:pt x="319469" y="41275"/>
                      </a:cubicBezTo>
                      <a:cubicBezTo>
                        <a:pt x="314177" y="43392"/>
                        <a:pt x="308576" y="44857"/>
                        <a:pt x="303594" y="47625"/>
                      </a:cubicBezTo>
                      <a:cubicBezTo>
                        <a:pt x="298968" y="50195"/>
                        <a:pt x="295465" y="54484"/>
                        <a:pt x="290894" y="57150"/>
                      </a:cubicBezTo>
                      <a:cubicBezTo>
                        <a:pt x="282717" y="61920"/>
                        <a:pt x="273611" y="64980"/>
                        <a:pt x="265494" y="69850"/>
                      </a:cubicBezTo>
                      <a:cubicBezTo>
                        <a:pt x="260202" y="73025"/>
                        <a:pt x="254641" y="75788"/>
                        <a:pt x="249619" y="79375"/>
                      </a:cubicBezTo>
                      <a:cubicBezTo>
                        <a:pt x="213199" y="105389"/>
                        <a:pt x="233935" y="97303"/>
                        <a:pt x="211519" y="104775"/>
                      </a:cubicBezTo>
                      <a:cubicBezTo>
                        <a:pt x="206227" y="109008"/>
                        <a:pt x="201196" y="113589"/>
                        <a:pt x="195644" y="117475"/>
                      </a:cubicBezTo>
                      <a:cubicBezTo>
                        <a:pt x="190588" y="121014"/>
                        <a:pt x="184640" y="123211"/>
                        <a:pt x="179769" y="127000"/>
                      </a:cubicBezTo>
                      <a:cubicBezTo>
                        <a:pt x="175043" y="130676"/>
                        <a:pt x="172050" y="136379"/>
                        <a:pt x="167069" y="139700"/>
                      </a:cubicBezTo>
                      <a:cubicBezTo>
                        <a:pt x="162327" y="142861"/>
                        <a:pt x="156402" y="143735"/>
                        <a:pt x="151194" y="146050"/>
                      </a:cubicBezTo>
                      <a:cubicBezTo>
                        <a:pt x="146869" y="147972"/>
                        <a:pt x="142819" y="150478"/>
                        <a:pt x="138494" y="152400"/>
                      </a:cubicBezTo>
                      <a:cubicBezTo>
                        <a:pt x="133286" y="154715"/>
                        <a:pt x="127717" y="156201"/>
                        <a:pt x="122619" y="158750"/>
                      </a:cubicBezTo>
                      <a:cubicBezTo>
                        <a:pt x="119206" y="160457"/>
                        <a:pt x="116714" y="163893"/>
                        <a:pt x="113094" y="165100"/>
                      </a:cubicBezTo>
                      <a:cubicBezTo>
                        <a:pt x="100065" y="169443"/>
                        <a:pt x="46800" y="171425"/>
                        <a:pt x="46419" y="171450"/>
                      </a:cubicBezTo>
                      <a:cubicBezTo>
                        <a:pt x="43244" y="172508"/>
                        <a:pt x="40123" y="173744"/>
                        <a:pt x="36894" y="174625"/>
                      </a:cubicBezTo>
                      <a:cubicBezTo>
                        <a:pt x="28474" y="176921"/>
                        <a:pt x="11494" y="180975"/>
                        <a:pt x="11494" y="180975"/>
                      </a:cubicBezTo>
                      <a:cubicBezTo>
                        <a:pt x="2036" y="190433"/>
                        <a:pt x="-5391" y="192693"/>
                        <a:pt x="5144" y="209550"/>
                      </a:cubicBezTo>
                      <a:cubicBezTo>
                        <a:pt x="6985" y="212495"/>
                        <a:pt x="23149" y="217869"/>
                        <a:pt x="27369" y="219075"/>
                      </a:cubicBezTo>
                      <a:cubicBezTo>
                        <a:pt x="31565" y="220274"/>
                        <a:pt x="22077" y="216429"/>
                        <a:pt x="21019" y="215900"/>
                      </a:cubicBezTo>
                      <a:close/>
                    </a:path>
                  </a:pathLst>
                </a:custGeom>
                <a:solidFill>
                  <a:srgbClr val="B5D820"/>
                </a:solidFill>
                <a:ln w="12700" cap="flat" cmpd="sng" algn="ctr">
                  <a:solidFill>
                    <a:srgbClr val="B5D820">
                      <a:lumMod val="75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>
                    <a:defRPr/>
                  </a:pPr>
                  <a:endParaRPr lang="en-US" kern="0">
                    <a:solidFill>
                      <a:srgbClr val="FFFFFF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820" name="Oval 819">
                  <a:extLst>
                    <a:ext uri="{FF2B5EF4-FFF2-40B4-BE49-F238E27FC236}">
                      <a16:creationId xmlns:a16="http://schemas.microsoft.com/office/drawing/2014/main" id="{80A729A1-35B3-EE79-D693-A7DC6A533C08}"/>
                    </a:ext>
                  </a:extLst>
                </p:cNvPr>
                <p:cNvSpPr/>
                <p:nvPr/>
              </p:nvSpPr>
              <p:spPr>
                <a:xfrm>
                  <a:off x="9986336" y="4396166"/>
                  <a:ext cx="188865" cy="116426"/>
                </a:xfrm>
                <a:prstGeom prst="ellipse">
                  <a:avLst/>
                </a:prstGeom>
                <a:solidFill>
                  <a:srgbClr val="B5D820">
                    <a:lumMod val="50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>
                    <a:defRPr/>
                  </a:pPr>
                  <a:endParaRPr lang="en-US" kern="0">
                    <a:solidFill>
                      <a:srgbClr val="FFFFFF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821" name="Group 820">
                <a:extLst>
                  <a:ext uri="{FF2B5EF4-FFF2-40B4-BE49-F238E27FC236}">
                    <a16:creationId xmlns:a16="http://schemas.microsoft.com/office/drawing/2014/main" id="{00EBCB6B-CC4F-A552-211C-DBBEC18389F3}"/>
                  </a:ext>
                </a:extLst>
              </p:cNvPr>
              <p:cNvGrpSpPr/>
              <p:nvPr/>
            </p:nvGrpSpPr>
            <p:grpSpPr>
              <a:xfrm rot="20357215" flipH="1">
                <a:off x="1926114" y="4768862"/>
                <a:ext cx="215626" cy="61923"/>
                <a:chOff x="9602406" y="4324350"/>
                <a:chExt cx="925894" cy="244781"/>
              </a:xfrm>
            </p:grpSpPr>
            <p:sp>
              <p:nvSpPr>
                <p:cNvPr id="822" name="Freeform: Shape 3355">
                  <a:extLst>
                    <a:ext uri="{FF2B5EF4-FFF2-40B4-BE49-F238E27FC236}">
                      <a16:creationId xmlns:a16="http://schemas.microsoft.com/office/drawing/2014/main" id="{B04D7C92-B469-F5E6-EF77-0FB69F3C0B84}"/>
                    </a:ext>
                  </a:extLst>
                </p:cNvPr>
                <p:cNvSpPr/>
                <p:nvPr/>
              </p:nvSpPr>
              <p:spPr>
                <a:xfrm>
                  <a:off x="9602406" y="4324350"/>
                  <a:ext cx="925894" cy="244781"/>
                </a:xfrm>
                <a:custGeom>
                  <a:avLst/>
                  <a:gdLst>
                    <a:gd name="connsiteX0" fmla="*/ 21019 w 925894"/>
                    <a:gd name="connsiteY0" fmla="*/ 215900 h 244781"/>
                    <a:gd name="connsiteX1" fmla="*/ 21019 w 925894"/>
                    <a:gd name="connsiteY1" fmla="*/ 215900 h 244781"/>
                    <a:gd name="connsiteX2" fmla="*/ 109919 w 925894"/>
                    <a:gd name="connsiteY2" fmla="*/ 228600 h 244781"/>
                    <a:gd name="connsiteX3" fmla="*/ 163894 w 925894"/>
                    <a:gd name="connsiteY3" fmla="*/ 234950 h 244781"/>
                    <a:gd name="connsiteX4" fmla="*/ 186119 w 925894"/>
                    <a:gd name="connsiteY4" fmla="*/ 238125 h 244781"/>
                    <a:gd name="connsiteX5" fmla="*/ 459169 w 925894"/>
                    <a:gd name="connsiteY5" fmla="*/ 241300 h 244781"/>
                    <a:gd name="connsiteX6" fmla="*/ 716344 w 925894"/>
                    <a:gd name="connsiteY6" fmla="*/ 241300 h 244781"/>
                    <a:gd name="connsiteX7" fmla="*/ 779844 w 925894"/>
                    <a:gd name="connsiteY7" fmla="*/ 231775 h 244781"/>
                    <a:gd name="connsiteX8" fmla="*/ 805244 w 925894"/>
                    <a:gd name="connsiteY8" fmla="*/ 228600 h 244781"/>
                    <a:gd name="connsiteX9" fmla="*/ 849694 w 925894"/>
                    <a:gd name="connsiteY9" fmla="*/ 222250 h 244781"/>
                    <a:gd name="connsiteX10" fmla="*/ 875094 w 925894"/>
                    <a:gd name="connsiteY10" fmla="*/ 215900 h 244781"/>
                    <a:gd name="connsiteX11" fmla="*/ 884619 w 925894"/>
                    <a:gd name="connsiteY11" fmla="*/ 212725 h 244781"/>
                    <a:gd name="connsiteX12" fmla="*/ 910019 w 925894"/>
                    <a:gd name="connsiteY12" fmla="*/ 203200 h 244781"/>
                    <a:gd name="connsiteX13" fmla="*/ 925894 w 925894"/>
                    <a:gd name="connsiteY13" fmla="*/ 184150 h 244781"/>
                    <a:gd name="connsiteX14" fmla="*/ 824294 w 925894"/>
                    <a:gd name="connsiteY14" fmla="*/ 174625 h 244781"/>
                    <a:gd name="connsiteX15" fmla="*/ 789369 w 925894"/>
                    <a:gd name="connsiteY15" fmla="*/ 155575 h 244781"/>
                    <a:gd name="connsiteX16" fmla="*/ 776669 w 925894"/>
                    <a:gd name="connsiteY16" fmla="*/ 152400 h 244781"/>
                    <a:gd name="connsiteX17" fmla="*/ 767144 w 925894"/>
                    <a:gd name="connsiteY17" fmla="*/ 142875 h 244781"/>
                    <a:gd name="connsiteX18" fmla="*/ 757619 w 925894"/>
                    <a:gd name="connsiteY18" fmla="*/ 136525 h 244781"/>
                    <a:gd name="connsiteX19" fmla="*/ 751269 w 925894"/>
                    <a:gd name="connsiteY19" fmla="*/ 127000 h 244781"/>
                    <a:gd name="connsiteX20" fmla="*/ 735394 w 925894"/>
                    <a:gd name="connsiteY20" fmla="*/ 114300 h 244781"/>
                    <a:gd name="connsiteX21" fmla="*/ 716344 w 925894"/>
                    <a:gd name="connsiteY21" fmla="*/ 95250 h 244781"/>
                    <a:gd name="connsiteX22" fmla="*/ 697294 w 925894"/>
                    <a:gd name="connsiteY22" fmla="*/ 82550 h 244781"/>
                    <a:gd name="connsiteX23" fmla="*/ 687769 w 925894"/>
                    <a:gd name="connsiteY23" fmla="*/ 73025 h 244781"/>
                    <a:gd name="connsiteX24" fmla="*/ 671894 w 925894"/>
                    <a:gd name="connsiteY24" fmla="*/ 63500 h 244781"/>
                    <a:gd name="connsiteX25" fmla="*/ 652844 w 925894"/>
                    <a:gd name="connsiteY25" fmla="*/ 50800 h 244781"/>
                    <a:gd name="connsiteX26" fmla="*/ 640144 w 925894"/>
                    <a:gd name="connsiteY26" fmla="*/ 44450 h 244781"/>
                    <a:gd name="connsiteX27" fmla="*/ 627444 w 925894"/>
                    <a:gd name="connsiteY27" fmla="*/ 34925 h 244781"/>
                    <a:gd name="connsiteX28" fmla="*/ 617919 w 925894"/>
                    <a:gd name="connsiteY28" fmla="*/ 31750 h 244781"/>
                    <a:gd name="connsiteX29" fmla="*/ 589344 w 925894"/>
                    <a:gd name="connsiteY29" fmla="*/ 12700 h 244781"/>
                    <a:gd name="connsiteX30" fmla="*/ 570294 w 925894"/>
                    <a:gd name="connsiteY30" fmla="*/ 6350 h 244781"/>
                    <a:gd name="connsiteX31" fmla="*/ 541719 w 925894"/>
                    <a:gd name="connsiteY31" fmla="*/ 3175 h 244781"/>
                    <a:gd name="connsiteX32" fmla="*/ 522669 w 925894"/>
                    <a:gd name="connsiteY32" fmla="*/ 0 h 244781"/>
                    <a:gd name="connsiteX33" fmla="*/ 398844 w 925894"/>
                    <a:gd name="connsiteY33" fmla="*/ 3175 h 244781"/>
                    <a:gd name="connsiteX34" fmla="*/ 370269 w 925894"/>
                    <a:gd name="connsiteY34" fmla="*/ 15875 h 244781"/>
                    <a:gd name="connsiteX35" fmla="*/ 354394 w 925894"/>
                    <a:gd name="connsiteY35" fmla="*/ 22225 h 244781"/>
                    <a:gd name="connsiteX36" fmla="*/ 344869 w 925894"/>
                    <a:gd name="connsiteY36" fmla="*/ 28575 h 244781"/>
                    <a:gd name="connsiteX37" fmla="*/ 319469 w 925894"/>
                    <a:gd name="connsiteY37" fmla="*/ 41275 h 244781"/>
                    <a:gd name="connsiteX38" fmla="*/ 303594 w 925894"/>
                    <a:gd name="connsiteY38" fmla="*/ 47625 h 244781"/>
                    <a:gd name="connsiteX39" fmla="*/ 290894 w 925894"/>
                    <a:gd name="connsiteY39" fmla="*/ 57150 h 244781"/>
                    <a:gd name="connsiteX40" fmla="*/ 265494 w 925894"/>
                    <a:gd name="connsiteY40" fmla="*/ 69850 h 244781"/>
                    <a:gd name="connsiteX41" fmla="*/ 249619 w 925894"/>
                    <a:gd name="connsiteY41" fmla="*/ 79375 h 244781"/>
                    <a:gd name="connsiteX42" fmla="*/ 211519 w 925894"/>
                    <a:gd name="connsiteY42" fmla="*/ 104775 h 244781"/>
                    <a:gd name="connsiteX43" fmla="*/ 195644 w 925894"/>
                    <a:gd name="connsiteY43" fmla="*/ 117475 h 244781"/>
                    <a:gd name="connsiteX44" fmla="*/ 179769 w 925894"/>
                    <a:gd name="connsiteY44" fmla="*/ 127000 h 244781"/>
                    <a:gd name="connsiteX45" fmla="*/ 167069 w 925894"/>
                    <a:gd name="connsiteY45" fmla="*/ 139700 h 244781"/>
                    <a:gd name="connsiteX46" fmla="*/ 151194 w 925894"/>
                    <a:gd name="connsiteY46" fmla="*/ 146050 h 244781"/>
                    <a:gd name="connsiteX47" fmla="*/ 138494 w 925894"/>
                    <a:gd name="connsiteY47" fmla="*/ 152400 h 244781"/>
                    <a:gd name="connsiteX48" fmla="*/ 122619 w 925894"/>
                    <a:gd name="connsiteY48" fmla="*/ 158750 h 244781"/>
                    <a:gd name="connsiteX49" fmla="*/ 113094 w 925894"/>
                    <a:gd name="connsiteY49" fmla="*/ 165100 h 244781"/>
                    <a:gd name="connsiteX50" fmla="*/ 46419 w 925894"/>
                    <a:gd name="connsiteY50" fmla="*/ 171450 h 244781"/>
                    <a:gd name="connsiteX51" fmla="*/ 36894 w 925894"/>
                    <a:gd name="connsiteY51" fmla="*/ 174625 h 244781"/>
                    <a:gd name="connsiteX52" fmla="*/ 11494 w 925894"/>
                    <a:gd name="connsiteY52" fmla="*/ 180975 h 244781"/>
                    <a:gd name="connsiteX53" fmla="*/ 5144 w 925894"/>
                    <a:gd name="connsiteY53" fmla="*/ 209550 h 244781"/>
                    <a:gd name="connsiteX54" fmla="*/ 27369 w 925894"/>
                    <a:gd name="connsiteY54" fmla="*/ 219075 h 244781"/>
                    <a:gd name="connsiteX55" fmla="*/ 21019 w 925894"/>
                    <a:gd name="connsiteY55" fmla="*/ 215900 h 2447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</a:cxnLst>
                  <a:rect l="l" t="t" r="r" b="b"/>
                  <a:pathLst>
                    <a:path w="925894" h="244781">
                      <a:moveTo>
                        <a:pt x="21019" y="215900"/>
                      </a:moveTo>
                      <a:lnTo>
                        <a:pt x="21019" y="215900"/>
                      </a:lnTo>
                      <a:cubicBezTo>
                        <a:pt x="105946" y="230887"/>
                        <a:pt x="44361" y="221576"/>
                        <a:pt x="109919" y="228600"/>
                      </a:cubicBezTo>
                      <a:cubicBezTo>
                        <a:pt x="127932" y="230530"/>
                        <a:pt x="145918" y="232703"/>
                        <a:pt x="163894" y="234950"/>
                      </a:cubicBezTo>
                      <a:cubicBezTo>
                        <a:pt x="171320" y="235878"/>
                        <a:pt x="178637" y="237964"/>
                        <a:pt x="186119" y="238125"/>
                      </a:cubicBezTo>
                      <a:lnTo>
                        <a:pt x="459169" y="241300"/>
                      </a:lnTo>
                      <a:cubicBezTo>
                        <a:pt x="557346" y="244027"/>
                        <a:pt x="615030" y="247535"/>
                        <a:pt x="716344" y="241300"/>
                      </a:cubicBezTo>
                      <a:cubicBezTo>
                        <a:pt x="737707" y="239985"/>
                        <a:pt x="758656" y="234802"/>
                        <a:pt x="779844" y="231775"/>
                      </a:cubicBezTo>
                      <a:cubicBezTo>
                        <a:pt x="788291" y="230568"/>
                        <a:pt x="796797" y="229807"/>
                        <a:pt x="805244" y="228600"/>
                      </a:cubicBezTo>
                      <a:cubicBezTo>
                        <a:pt x="869332" y="219445"/>
                        <a:pt x="769366" y="232291"/>
                        <a:pt x="849694" y="222250"/>
                      </a:cubicBezTo>
                      <a:cubicBezTo>
                        <a:pt x="871467" y="214992"/>
                        <a:pt x="844443" y="223563"/>
                        <a:pt x="875094" y="215900"/>
                      </a:cubicBezTo>
                      <a:cubicBezTo>
                        <a:pt x="878341" y="215088"/>
                        <a:pt x="881401" y="213644"/>
                        <a:pt x="884619" y="212725"/>
                      </a:cubicBezTo>
                      <a:cubicBezTo>
                        <a:pt x="895698" y="209560"/>
                        <a:pt x="900155" y="210246"/>
                        <a:pt x="910019" y="203200"/>
                      </a:cubicBezTo>
                      <a:cubicBezTo>
                        <a:pt x="917797" y="197644"/>
                        <a:pt x="920831" y="191745"/>
                        <a:pt x="925894" y="184150"/>
                      </a:cubicBezTo>
                      <a:cubicBezTo>
                        <a:pt x="888561" y="159261"/>
                        <a:pt x="938340" y="190037"/>
                        <a:pt x="824294" y="174625"/>
                      </a:cubicBezTo>
                      <a:cubicBezTo>
                        <a:pt x="796282" y="170840"/>
                        <a:pt x="806447" y="162894"/>
                        <a:pt x="789369" y="155575"/>
                      </a:cubicBezTo>
                      <a:cubicBezTo>
                        <a:pt x="785358" y="153856"/>
                        <a:pt x="780902" y="153458"/>
                        <a:pt x="776669" y="152400"/>
                      </a:cubicBezTo>
                      <a:cubicBezTo>
                        <a:pt x="773494" y="149225"/>
                        <a:pt x="770593" y="145750"/>
                        <a:pt x="767144" y="142875"/>
                      </a:cubicBezTo>
                      <a:cubicBezTo>
                        <a:pt x="764213" y="140432"/>
                        <a:pt x="760317" y="139223"/>
                        <a:pt x="757619" y="136525"/>
                      </a:cubicBezTo>
                      <a:cubicBezTo>
                        <a:pt x="754921" y="133827"/>
                        <a:pt x="753967" y="129698"/>
                        <a:pt x="751269" y="127000"/>
                      </a:cubicBezTo>
                      <a:cubicBezTo>
                        <a:pt x="746477" y="122208"/>
                        <a:pt x="740408" y="118858"/>
                        <a:pt x="735394" y="114300"/>
                      </a:cubicBezTo>
                      <a:cubicBezTo>
                        <a:pt x="728749" y="108259"/>
                        <a:pt x="723816" y="100231"/>
                        <a:pt x="716344" y="95250"/>
                      </a:cubicBezTo>
                      <a:cubicBezTo>
                        <a:pt x="709994" y="91017"/>
                        <a:pt x="702690" y="87946"/>
                        <a:pt x="697294" y="82550"/>
                      </a:cubicBezTo>
                      <a:cubicBezTo>
                        <a:pt x="694119" y="79375"/>
                        <a:pt x="691361" y="75719"/>
                        <a:pt x="687769" y="73025"/>
                      </a:cubicBezTo>
                      <a:cubicBezTo>
                        <a:pt x="682832" y="69322"/>
                        <a:pt x="677100" y="66813"/>
                        <a:pt x="671894" y="63500"/>
                      </a:cubicBezTo>
                      <a:cubicBezTo>
                        <a:pt x="665455" y="59403"/>
                        <a:pt x="659670" y="54213"/>
                        <a:pt x="652844" y="50800"/>
                      </a:cubicBezTo>
                      <a:cubicBezTo>
                        <a:pt x="648611" y="48683"/>
                        <a:pt x="644158" y="46958"/>
                        <a:pt x="640144" y="44450"/>
                      </a:cubicBezTo>
                      <a:cubicBezTo>
                        <a:pt x="635657" y="41645"/>
                        <a:pt x="632038" y="37550"/>
                        <a:pt x="627444" y="34925"/>
                      </a:cubicBezTo>
                      <a:cubicBezTo>
                        <a:pt x="624538" y="33265"/>
                        <a:pt x="620810" y="33436"/>
                        <a:pt x="617919" y="31750"/>
                      </a:cubicBezTo>
                      <a:cubicBezTo>
                        <a:pt x="608031" y="25982"/>
                        <a:pt x="600204" y="16320"/>
                        <a:pt x="589344" y="12700"/>
                      </a:cubicBezTo>
                      <a:cubicBezTo>
                        <a:pt x="582994" y="10583"/>
                        <a:pt x="576858" y="7663"/>
                        <a:pt x="570294" y="6350"/>
                      </a:cubicBezTo>
                      <a:cubicBezTo>
                        <a:pt x="560896" y="4470"/>
                        <a:pt x="551219" y="4442"/>
                        <a:pt x="541719" y="3175"/>
                      </a:cubicBezTo>
                      <a:cubicBezTo>
                        <a:pt x="535338" y="2324"/>
                        <a:pt x="529019" y="1058"/>
                        <a:pt x="522669" y="0"/>
                      </a:cubicBezTo>
                      <a:cubicBezTo>
                        <a:pt x="481394" y="1058"/>
                        <a:pt x="440041" y="429"/>
                        <a:pt x="398844" y="3175"/>
                      </a:cubicBezTo>
                      <a:cubicBezTo>
                        <a:pt x="379941" y="4435"/>
                        <a:pt x="383216" y="9402"/>
                        <a:pt x="370269" y="15875"/>
                      </a:cubicBezTo>
                      <a:cubicBezTo>
                        <a:pt x="365171" y="18424"/>
                        <a:pt x="359492" y="19676"/>
                        <a:pt x="354394" y="22225"/>
                      </a:cubicBezTo>
                      <a:cubicBezTo>
                        <a:pt x="350981" y="23932"/>
                        <a:pt x="348219" y="26748"/>
                        <a:pt x="344869" y="28575"/>
                      </a:cubicBezTo>
                      <a:cubicBezTo>
                        <a:pt x="336559" y="33108"/>
                        <a:pt x="328258" y="37759"/>
                        <a:pt x="319469" y="41275"/>
                      </a:cubicBezTo>
                      <a:cubicBezTo>
                        <a:pt x="314177" y="43392"/>
                        <a:pt x="308576" y="44857"/>
                        <a:pt x="303594" y="47625"/>
                      </a:cubicBezTo>
                      <a:cubicBezTo>
                        <a:pt x="298968" y="50195"/>
                        <a:pt x="295465" y="54484"/>
                        <a:pt x="290894" y="57150"/>
                      </a:cubicBezTo>
                      <a:cubicBezTo>
                        <a:pt x="282717" y="61920"/>
                        <a:pt x="273611" y="64980"/>
                        <a:pt x="265494" y="69850"/>
                      </a:cubicBezTo>
                      <a:cubicBezTo>
                        <a:pt x="260202" y="73025"/>
                        <a:pt x="254641" y="75788"/>
                        <a:pt x="249619" y="79375"/>
                      </a:cubicBezTo>
                      <a:cubicBezTo>
                        <a:pt x="213199" y="105389"/>
                        <a:pt x="233935" y="97303"/>
                        <a:pt x="211519" y="104775"/>
                      </a:cubicBezTo>
                      <a:cubicBezTo>
                        <a:pt x="206227" y="109008"/>
                        <a:pt x="201196" y="113589"/>
                        <a:pt x="195644" y="117475"/>
                      </a:cubicBezTo>
                      <a:cubicBezTo>
                        <a:pt x="190588" y="121014"/>
                        <a:pt x="184640" y="123211"/>
                        <a:pt x="179769" y="127000"/>
                      </a:cubicBezTo>
                      <a:cubicBezTo>
                        <a:pt x="175043" y="130676"/>
                        <a:pt x="172050" y="136379"/>
                        <a:pt x="167069" y="139700"/>
                      </a:cubicBezTo>
                      <a:cubicBezTo>
                        <a:pt x="162327" y="142861"/>
                        <a:pt x="156402" y="143735"/>
                        <a:pt x="151194" y="146050"/>
                      </a:cubicBezTo>
                      <a:cubicBezTo>
                        <a:pt x="146869" y="147972"/>
                        <a:pt x="142819" y="150478"/>
                        <a:pt x="138494" y="152400"/>
                      </a:cubicBezTo>
                      <a:cubicBezTo>
                        <a:pt x="133286" y="154715"/>
                        <a:pt x="127717" y="156201"/>
                        <a:pt x="122619" y="158750"/>
                      </a:cubicBezTo>
                      <a:cubicBezTo>
                        <a:pt x="119206" y="160457"/>
                        <a:pt x="116714" y="163893"/>
                        <a:pt x="113094" y="165100"/>
                      </a:cubicBezTo>
                      <a:cubicBezTo>
                        <a:pt x="100065" y="169443"/>
                        <a:pt x="46800" y="171425"/>
                        <a:pt x="46419" y="171450"/>
                      </a:cubicBezTo>
                      <a:cubicBezTo>
                        <a:pt x="43244" y="172508"/>
                        <a:pt x="40123" y="173744"/>
                        <a:pt x="36894" y="174625"/>
                      </a:cubicBezTo>
                      <a:cubicBezTo>
                        <a:pt x="28474" y="176921"/>
                        <a:pt x="11494" y="180975"/>
                        <a:pt x="11494" y="180975"/>
                      </a:cubicBezTo>
                      <a:cubicBezTo>
                        <a:pt x="2036" y="190433"/>
                        <a:pt x="-5391" y="192693"/>
                        <a:pt x="5144" y="209550"/>
                      </a:cubicBezTo>
                      <a:cubicBezTo>
                        <a:pt x="6985" y="212495"/>
                        <a:pt x="23149" y="217869"/>
                        <a:pt x="27369" y="219075"/>
                      </a:cubicBezTo>
                      <a:cubicBezTo>
                        <a:pt x="31565" y="220274"/>
                        <a:pt x="22077" y="216429"/>
                        <a:pt x="21019" y="215900"/>
                      </a:cubicBezTo>
                      <a:close/>
                    </a:path>
                  </a:pathLst>
                </a:custGeom>
                <a:solidFill>
                  <a:srgbClr val="B5D820"/>
                </a:solidFill>
                <a:ln w="12700" cap="flat" cmpd="sng" algn="ctr">
                  <a:solidFill>
                    <a:srgbClr val="B5D820">
                      <a:lumMod val="75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>
                    <a:defRPr/>
                  </a:pPr>
                  <a:endParaRPr lang="en-US" kern="0">
                    <a:solidFill>
                      <a:srgbClr val="FFFFFF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823" name="Oval 822">
                  <a:extLst>
                    <a:ext uri="{FF2B5EF4-FFF2-40B4-BE49-F238E27FC236}">
                      <a16:creationId xmlns:a16="http://schemas.microsoft.com/office/drawing/2014/main" id="{FFC1874A-9BF3-C248-57A8-5B3A1EADED05}"/>
                    </a:ext>
                  </a:extLst>
                </p:cNvPr>
                <p:cNvSpPr/>
                <p:nvPr/>
              </p:nvSpPr>
              <p:spPr>
                <a:xfrm>
                  <a:off x="9986336" y="4396166"/>
                  <a:ext cx="188865" cy="116426"/>
                </a:xfrm>
                <a:prstGeom prst="ellipse">
                  <a:avLst/>
                </a:prstGeom>
                <a:solidFill>
                  <a:srgbClr val="B5D820">
                    <a:lumMod val="50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>
                    <a:defRPr/>
                  </a:pPr>
                  <a:endParaRPr lang="en-US" kern="0">
                    <a:solidFill>
                      <a:srgbClr val="FFFFFF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824" name="Group 823">
                <a:extLst>
                  <a:ext uri="{FF2B5EF4-FFF2-40B4-BE49-F238E27FC236}">
                    <a16:creationId xmlns:a16="http://schemas.microsoft.com/office/drawing/2014/main" id="{C15E12BD-92EF-519A-70CD-862137D71C51}"/>
                  </a:ext>
                </a:extLst>
              </p:cNvPr>
              <p:cNvGrpSpPr/>
              <p:nvPr/>
            </p:nvGrpSpPr>
            <p:grpSpPr>
              <a:xfrm rot="21502538" flipH="1">
                <a:off x="2038583" y="4703371"/>
                <a:ext cx="215626" cy="61923"/>
                <a:chOff x="9602406" y="4324350"/>
                <a:chExt cx="925894" cy="244781"/>
              </a:xfrm>
            </p:grpSpPr>
            <p:sp>
              <p:nvSpPr>
                <p:cNvPr id="825" name="Freeform: Shape 3353">
                  <a:extLst>
                    <a:ext uri="{FF2B5EF4-FFF2-40B4-BE49-F238E27FC236}">
                      <a16:creationId xmlns:a16="http://schemas.microsoft.com/office/drawing/2014/main" id="{2C366673-4032-1AD6-8987-2AE01C96D277}"/>
                    </a:ext>
                  </a:extLst>
                </p:cNvPr>
                <p:cNvSpPr/>
                <p:nvPr/>
              </p:nvSpPr>
              <p:spPr>
                <a:xfrm>
                  <a:off x="9602406" y="4324350"/>
                  <a:ext cx="925894" cy="244781"/>
                </a:xfrm>
                <a:custGeom>
                  <a:avLst/>
                  <a:gdLst>
                    <a:gd name="connsiteX0" fmla="*/ 21019 w 925894"/>
                    <a:gd name="connsiteY0" fmla="*/ 215900 h 244781"/>
                    <a:gd name="connsiteX1" fmla="*/ 21019 w 925894"/>
                    <a:gd name="connsiteY1" fmla="*/ 215900 h 244781"/>
                    <a:gd name="connsiteX2" fmla="*/ 109919 w 925894"/>
                    <a:gd name="connsiteY2" fmla="*/ 228600 h 244781"/>
                    <a:gd name="connsiteX3" fmla="*/ 163894 w 925894"/>
                    <a:gd name="connsiteY3" fmla="*/ 234950 h 244781"/>
                    <a:gd name="connsiteX4" fmla="*/ 186119 w 925894"/>
                    <a:gd name="connsiteY4" fmla="*/ 238125 h 244781"/>
                    <a:gd name="connsiteX5" fmla="*/ 459169 w 925894"/>
                    <a:gd name="connsiteY5" fmla="*/ 241300 h 244781"/>
                    <a:gd name="connsiteX6" fmla="*/ 716344 w 925894"/>
                    <a:gd name="connsiteY6" fmla="*/ 241300 h 244781"/>
                    <a:gd name="connsiteX7" fmla="*/ 779844 w 925894"/>
                    <a:gd name="connsiteY7" fmla="*/ 231775 h 244781"/>
                    <a:gd name="connsiteX8" fmla="*/ 805244 w 925894"/>
                    <a:gd name="connsiteY8" fmla="*/ 228600 h 244781"/>
                    <a:gd name="connsiteX9" fmla="*/ 849694 w 925894"/>
                    <a:gd name="connsiteY9" fmla="*/ 222250 h 244781"/>
                    <a:gd name="connsiteX10" fmla="*/ 875094 w 925894"/>
                    <a:gd name="connsiteY10" fmla="*/ 215900 h 244781"/>
                    <a:gd name="connsiteX11" fmla="*/ 884619 w 925894"/>
                    <a:gd name="connsiteY11" fmla="*/ 212725 h 244781"/>
                    <a:gd name="connsiteX12" fmla="*/ 910019 w 925894"/>
                    <a:gd name="connsiteY12" fmla="*/ 203200 h 244781"/>
                    <a:gd name="connsiteX13" fmla="*/ 925894 w 925894"/>
                    <a:gd name="connsiteY13" fmla="*/ 184150 h 244781"/>
                    <a:gd name="connsiteX14" fmla="*/ 824294 w 925894"/>
                    <a:gd name="connsiteY14" fmla="*/ 174625 h 244781"/>
                    <a:gd name="connsiteX15" fmla="*/ 789369 w 925894"/>
                    <a:gd name="connsiteY15" fmla="*/ 155575 h 244781"/>
                    <a:gd name="connsiteX16" fmla="*/ 776669 w 925894"/>
                    <a:gd name="connsiteY16" fmla="*/ 152400 h 244781"/>
                    <a:gd name="connsiteX17" fmla="*/ 767144 w 925894"/>
                    <a:gd name="connsiteY17" fmla="*/ 142875 h 244781"/>
                    <a:gd name="connsiteX18" fmla="*/ 757619 w 925894"/>
                    <a:gd name="connsiteY18" fmla="*/ 136525 h 244781"/>
                    <a:gd name="connsiteX19" fmla="*/ 751269 w 925894"/>
                    <a:gd name="connsiteY19" fmla="*/ 127000 h 244781"/>
                    <a:gd name="connsiteX20" fmla="*/ 735394 w 925894"/>
                    <a:gd name="connsiteY20" fmla="*/ 114300 h 244781"/>
                    <a:gd name="connsiteX21" fmla="*/ 716344 w 925894"/>
                    <a:gd name="connsiteY21" fmla="*/ 95250 h 244781"/>
                    <a:gd name="connsiteX22" fmla="*/ 697294 w 925894"/>
                    <a:gd name="connsiteY22" fmla="*/ 82550 h 244781"/>
                    <a:gd name="connsiteX23" fmla="*/ 687769 w 925894"/>
                    <a:gd name="connsiteY23" fmla="*/ 73025 h 244781"/>
                    <a:gd name="connsiteX24" fmla="*/ 671894 w 925894"/>
                    <a:gd name="connsiteY24" fmla="*/ 63500 h 244781"/>
                    <a:gd name="connsiteX25" fmla="*/ 652844 w 925894"/>
                    <a:gd name="connsiteY25" fmla="*/ 50800 h 244781"/>
                    <a:gd name="connsiteX26" fmla="*/ 640144 w 925894"/>
                    <a:gd name="connsiteY26" fmla="*/ 44450 h 244781"/>
                    <a:gd name="connsiteX27" fmla="*/ 627444 w 925894"/>
                    <a:gd name="connsiteY27" fmla="*/ 34925 h 244781"/>
                    <a:gd name="connsiteX28" fmla="*/ 617919 w 925894"/>
                    <a:gd name="connsiteY28" fmla="*/ 31750 h 244781"/>
                    <a:gd name="connsiteX29" fmla="*/ 589344 w 925894"/>
                    <a:gd name="connsiteY29" fmla="*/ 12700 h 244781"/>
                    <a:gd name="connsiteX30" fmla="*/ 570294 w 925894"/>
                    <a:gd name="connsiteY30" fmla="*/ 6350 h 244781"/>
                    <a:gd name="connsiteX31" fmla="*/ 541719 w 925894"/>
                    <a:gd name="connsiteY31" fmla="*/ 3175 h 244781"/>
                    <a:gd name="connsiteX32" fmla="*/ 522669 w 925894"/>
                    <a:gd name="connsiteY32" fmla="*/ 0 h 244781"/>
                    <a:gd name="connsiteX33" fmla="*/ 398844 w 925894"/>
                    <a:gd name="connsiteY33" fmla="*/ 3175 h 244781"/>
                    <a:gd name="connsiteX34" fmla="*/ 370269 w 925894"/>
                    <a:gd name="connsiteY34" fmla="*/ 15875 h 244781"/>
                    <a:gd name="connsiteX35" fmla="*/ 354394 w 925894"/>
                    <a:gd name="connsiteY35" fmla="*/ 22225 h 244781"/>
                    <a:gd name="connsiteX36" fmla="*/ 344869 w 925894"/>
                    <a:gd name="connsiteY36" fmla="*/ 28575 h 244781"/>
                    <a:gd name="connsiteX37" fmla="*/ 319469 w 925894"/>
                    <a:gd name="connsiteY37" fmla="*/ 41275 h 244781"/>
                    <a:gd name="connsiteX38" fmla="*/ 303594 w 925894"/>
                    <a:gd name="connsiteY38" fmla="*/ 47625 h 244781"/>
                    <a:gd name="connsiteX39" fmla="*/ 290894 w 925894"/>
                    <a:gd name="connsiteY39" fmla="*/ 57150 h 244781"/>
                    <a:gd name="connsiteX40" fmla="*/ 265494 w 925894"/>
                    <a:gd name="connsiteY40" fmla="*/ 69850 h 244781"/>
                    <a:gd name="connsiteX41" fmla="*/ 249619 w 925894"/>
                    <a:gd name="connsiteY41" fmla="*/ 79375 h 244781"/>
                    <a:gd name="connsiteX42" fmla="*/ 211519 w 925894"/>
                    <a:gd name="connsiteY42" fmla="*/ 104775 h 244781"/>
                    <a:gd name="connsiteX43" fmla="*/ 195644 w 925894"/>
                    <a:gd name="connsiteY43" fmla="*/ 117475 h 244781"/>
                    <a:gd name="connsiteX44" fmla="*/ 179769 w 925894"/>
                    <a:gd name="connsiteY44" fmla="*/ 127000 h 244781"/>
                    <a:gd name="connsiteX45" fmla="*/ 167069 w 925894"/>
                    <a:gd name="connsiteY45" fmla="*/ 139700 h 244781"/>
                    <a:gd name="connsiteX46" fmla="*/ 151194 w 925894"/>
                    <a:gd name="connsiteY46" fmla="*/ 146050 h 244781"/>
                    <a:gd name="connsiteX47" fmla="*/ 138494 w 925894"/>
                    <a:gd name="connsiteY47" fmla="*/ 152400 h 244781"/>
                    <a:gd name="connsiteX48" fmla="*/ 122619 w 925894"/>
                    <a:gd name="connsiteY48" fmla="*/ 158750 h 244781"/>
                    <a:gd name="connsiteX49" fmla="*/ 113094 w 925894"/>
                    <a:gd name="connsiteY49" fmla="*/ 165100 h 244781"/>
                    <a:gd name="connsiteX50" fmla="*/ 46419 w 925894"/>
                    <a:gd name="connsiteY50" fmla="*/ 171450 h 244781"/>
                    <a:gd name="connsiteX51" fmla="*/ 36894 w 925894"/>
                    <a:gd name="connsiteY51" fmla="*/ 174625 h 244781"/>
                    <a:gd name="connsiteX52" fmla="*/ 11494 w 925894"/>
                    <a:gd name="connsiteY52" fmla="*/ 180975 h 244781"/>
                    <a:gd name="connsiteX53" fmla="*/ 5144 w 925894"/>
                    <a:gd name="connsiteY53" fmla="*/ 209550 h 244781"/>
                    <a:gd name="connsiteX54" fmla="*/ 27369 w 925894"/>
                    <a:gd name="connsiteY54" fmla="*/ 219075 h 244781"/>
                    <a:gd name="connsiteX55" fmla="*/ 21019 w 925894"/>
                    <a:gd name="connsiteY55" fmla="*/ 215900 h 2447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</a:cxnLst>
                  <a:rect l="l" t="t" r="r" b="b"/>
                  <a:pathLst>
                    <a:path w="925894" h="244781">
                      <a:moveTo>
                        <a:pt x="21019" y="215900"/>
                      </a:moveTo>
                      <a:lnTo>
                        <a:pt x="21019" y="215900"/>
                      </a:lnTo>
                      <a:cubicBezTo>
                        <a:pt x="105946" y="230887"/>
                        <a:pt x="44361" y="221576"/>
                        <a:pt x="109919" y="228600"/>
                      </a:cubicBezTo>
                      <a:cubicBezTo>
                        <a:pt x="127932" y="230530"/>
                        <a:pt x="145918" y="232703"/>
                        <a:pt x="163894" y="234950"/>
                      </a:cubicBezTo>
                      <a:cubicBezTo>
                        <a:pt x="171320" y="235878"/>
                        <a:pt x="178637" y="237964"/>
                        <a:pt x="186119" y="238125"/>
                      </a:cubicBezTo>
                      <a:lnTo>
                        <a:pt x="459169" y="241300"/>
                      </a:lnTo>
                      <a:cubicBezTo>
                        <a:pt x="557346" y="244027"/>
                        <a:pt x="615030" y="247535"/>
                        <a:pt x="716344" y="241300"/>
                      </a:cubicBezTo>
                      <a:cubicBezTo>
                        <a:pt x="737707" y="239985"/>
                        <a:pt x="758656" y="234802"/>
                        <a:pt x="779844" y="231775"/>
                      </a:cubicBezTo>
                      <a:cubicBezTo>
                        <a:pt x="788291" y="230568"/>
                        <a:pt x="796797" y="229807"/>
                        <a:pt x="805244" y="228600"/>
                      </a:cubicBezTo>
                      <a:cubicBezTo>
                        <a:pt x="869332" y="219445"/>
                        <a:pt x="769366" y="232291"/>
                        <a:pt x="849694" y="222250"/>
                      </a:cubicBezTo>
                      <a:cubicBezTo>
                        <a:pt x="871467" y="214992"/>
                        <a:pt x="844443" y="223563"/>
                        <a:pt x="875094" y="215900"/>
                      </a:cubicBezTo>
                      <a:cubicBezTo>
                        <a:pt x="878341" y="215088"/>
                        <a:pt x="881401" y="213644"/>
                        <a:pt x="884619" y="212725"/>
                      </a:cubicBezTo>
                      <a:cubicBezTo>
                        <a:pt x="895698" y="209560"/>
                        <a:pt x="900155" y="210246"/>
                        <a:pt x="910019" y="203200"/>
                      </a:cubicBezTo>
                      <a:cubicBezTo>
                        <a:pt x="917797" y="197644"/>
                        <a:pt x="920831" y="191745"/>
                        <a:pt x="925894" y="184150"/>
                      </a:cubicBezTo>
                      <a:cubicBezTo>
                        <a:pt x="888561" y="159261"/>
                        <a:pt x="938340" y="190037"/>
                        <a:pt x="824294" y="174625"/>
                      </a:cubicBezTo>
                      <a:cubicBezTo>
                        <a:pt x="796282" y="170840"/>
                        <a:pt x="806447" y="162894"/>
                        <a:pt x="789369" y="155575"/>
                      </a:cubicBezTo>
                      <a:cubicBezTo>
                        <a:pt x="785358" y="153856"/>
                        <a:pt x="780902" y="153458"/>
                        <a:pt x="776669" y="152400"/>
                      </a:cubicBezTo>
                      <a:cubicBezTo>
                        <a:pt x="773494" y="149225"/>
                        <a:pt x="770593" y="145750"/>
                        <a:pt x="767144" y="142875"/>
                      </a:cubicBezTo>
                      <a:cubicBezTo>
                        <a:pt x="764213" y="140432"/>
                        <a:pt x="760317" y="139223"/>
                        <a:pt x="757619" y="136525"/>
                      </a:cubicBezTo>
                      <a:cubicBezTo>
                        <a:pt x="754921" y="133827"/>
                        <a:pt x="753967" y="129698"/>
                        <a:pt x="751269" y="127000"/>
                      </a:cubicBezTo>
                      <a:cubicBezTo>
                        <a:pt x="746477" y="122208"/>
                        <a:pt x="740408" y="118858"/>
                        <a:pt x="735394" y="114300"/>
                      </a:cubicBezTo>
                      <a:cubicBezTo>
                        <a:pt x="728749" y="108259"/>
                        <a:pt x="723816" y="100231"/>
                        <a:pt x="716344" y="95250"/>
                      </a:cubicBezTo>
                      <a:cubicBezTo>
                        <a:pt x="709994" y="91017"/>
                        <a:pt x="702690" y="87946"/>
                        <a:pt x="697294" y="82550"/>
                      </a:cubicBezTo>
                      <a:cubicBezTo>
                        <a:pt x="694119" y="79375"/>
                        <a:pt x="691361" y="75719"/>
                        <a:pt x="687769" y="73025"/>
                      </a:cubicBezTo>
                      <a:cubicBezTo>
                        <a:pt x="682832" y="69322"/>
                        <a:pt x="677100" y="66813"/>
                        <a:pt x="671894" y="63500"/>
                      </a:cubicBezTo>
                      <a:cubicBezTo>
                        <a:pt x="665455" y="59403"/>
                        <a:pt x="659670" y="54213"/>
                        <a:pt x="652844" y="50800"/>
                      </a:cubicBezTo>
                      <a:cubicBezTo>
                        <a:pt x="648611" y="48683"/>
                        <a:pt x="644158" y="46958"/>
                        <a:pt x="640144" y="44450"/>
                      </a:cubicBezTo>
                      <a:cubicBezTo>
                        <a:pt x="635657" y="41645"/>
                        <a:pt x="632038" y="37550"/>
                        <a:pt x="627444" y="34925"/>
                      </a:cubicBezTo>
                      <a:cubicBezTo>
                        <a:pt x="624538" y="33265"/>
                        <a:pt x="620810" y="33436"/>
                        <a:pt x="617919" y="31750"/>
                      </a:cubicBezTo>
                      <a:cubicBezTo>
                        <a:pt x="608031" y="25982"/>
                        <a:pt x="600204" y="16320"/>
                        <a:pt x="589344" y="12700"/>
                      </a:cubicBezTo>
                      <a:cubicBezTo>
                        <a:pt x="582994" y="10583"/>
                        <a:pt x="576858" y="7663"/>
                        <a:pt x="570294" y="6350"/>
                      </a:cubicBezTo>
                      <a:cubicBezTo>
                        <a:pt x="560896" y="4470"/>
                        <a:pt x="551219" y="4442"/>
                        <a:pt x="541719" y="3175"/>
                      </a:cubicBezTo>
                      <a:cubicBezTo>
                        <a:pt x="535338" y="2324"/>
                        <a:pt x="529019" y="1058"/>
                        <a:pt x="522669" y="0"/>
                      </a:cubicBezTo>
                      <a:cubicBezTo>
                        <a:pt x="481394" y="1058"/>
                        <a:pt x="440041" y="429"/>
                        <a:pt x="398844" y="3175"/>
                      </a:cubicBezTo>
                      <a:cubicBezTo>
                        <a:pt x="379941" y="4435"/>
                        <a:pt x="383216" y="9402"/>
                        <a:pt x="370269" y="15875"/>
                      </a:cubicBezTo>
                      <a:cubicBezTo>
                        <a:pt x="365171" y="18424"/>
                        <a:pt x="359492" y="19676"/>
                        <a:pt x="354394" y="22225"/>
                      </a:cubicBezTo>
                      <a:cubicBezTo>
                        <a:pt x="350981" y="23932"/>
                        <a:pt x="348219" y="26748"/>
                        <a:pt x="344869" y="28575"/>
                      </a:cubicBezTo>
                      <a:cubicBezTo>
                        <a:pt x="336559" y="33108"/>
                        <a:pt x="328258" y="37759"/>
                        <a:pt x="319469" y="41275"/>
                      </a:cubicBezTo>
                      <a:cubicBezTo>
                        <a:pt x="314177" y="43392"/>
                        <a:pt x="308576" y="44857"/>
                        <a:pt x="303594" y="47625"/>
                      </a:cubicBezTo>
                      <a:cubicBezTo>
                        <a:pt x="298968" y="50195"/>
                        <a:pt x="295465" y="54484"/>
                        <a:pt x="290894" y="57150"/>
                      </a:cubicBezTo>
                      <a:cubicBezTo>
                        <a:pt x="282717" y="61920"/>
                        <a:pt x="273611" y="64980"/>
                        <a:pt x="265494" y="69850"/>
                      </a:cubicBezTo>
                      <a:cubicBezTo>
                        <a:pt x="260202" y="73025"/>
                        <a:pt x="254641" y="75788"/>
                        <a:pt x="249619" y="79375"/>
                      </a:cubicBezTo>
                      <a:cubicBezTo>
                        <a:pt x="213199" y="105389"/>
                        <a:pt x="233935" y="97303"/>
                        <a:pt x="211519" y="104775"/>
                      </a:cubicBezTo>
                      <a:cubicBezTo>
                        <a:pt x="206227" y="109008"/>
                        <a:pt x="201196" y="113589"/>
                        <a:pt x="195644" y="117475"/>
                      </a:cubicBezTo>
                      <a:cubicBezTo>
                        <a:pt x="190588" y="121014"/>
                        <a:pt x="184640" y="123211"/>
                        <a:pt x="179769" y="127000"/>
                      </a:cubicBezTo>
                      <a:cubicBezTo>
                        <a:pt x="175043" y="130676"/>
                        <a:pt x="172050" y="136379"/>
                        <a:pt x="167069" y="139700"/>
                      </a:cubicBezTo>
                      <a:cubicBezTo>
                        <a:pt x="162327" y="142861"/>
                        <a:pt x="156402" y="143735"/>
                        <a:pt x="151194" y="146050"/>
                      </a:cubicBezTo>
                      <a:cubicBezTo>
                        <a:pt x="146869" y="147972"/>
                        <a:pt x="142819" y="150478"/>
                        <a:pt x="138494" y="152400"/>
                      </a:cubicBezTo>
                      <a:cubicBezTo>
                        <a:pt x="133286" y="154715"/>
                        <a:pt x="127717" y="156201"/>
                        <a:pt x="122619" y="158750"/>
                      </a:cubicBezTo>
                      <a:cubicBezTo>
                        <a:pt x="119206" y="160457"/>
                        <a:pt x="116714" y="163893"/>
                        <a:pt x="113094" y="165100"/>
                      </a:cubicBezTo>
                      <a:cubicBezTo>
                        <a:pt x="100065" y="169443"/>
                        <a:pt x="46800" y="171425"/>
                        <a:pt x="46419" y="171450"/>
                      </a:cubicBezTo>
                      <a:cubicBezTo>
                        <a:pt x="43244" y="172508"/>
                        <a:pt x="40123" y="173744"/>
                        <a:pt x="36894" y="174625"/>
                      </a:cubicBezTo>
                      <a:cubicBezTo>
                        <a:pt x="28474" y="176921"/>
                        <a:pt x="11494" y="180975"/>
                        <a:pt x="11494" y="180975"/>
                      </a:cubicBezTo>
                      <a:cubicBezTo>
                        <a:pt x="2036" y="190433"/>
                        <a:pt x="-5391" y="192693"/>
                        <a:pt x="5144" y="209550"/>
                      </a:cubicBezTo>
                      <a:cubicBezTo>
                        <a:pt x="6985" y="212495"/>
                        <a:pt x="23149" y="217869"/>
                        <a:pt x="27369" y="219075"/>
                      </a:cubicBezTo>
                      <a:cubicBezTo>
                        <a:pt x="31565" y="220274"/>
                        <a:pt x="22077" y="216429"/>
                        <a:pt x="21019" y="215900"/>
                      </a:cubicBezTo>
                      <a:close/>
                    </a:path>
                  </a:pathLst>
                </a:custGeom>
                <a:solidFill>
                  <a:srgbClr val="B5D820"/>
                </a:solidFill>
                <a:ln w="12700" cap="flat" cmpd="sng" algn="ctr">
                  <a:solidFill>
                    <a:srgbClr val="B5D820">
                      <a:lumMod val="75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>
                    <a:defRPr/>
                  </a:pPr>
                  <a:endParaRPr lang="en-US" kern="0">
                    <a:solidFill>
                      <a:srgbClr val="FFFFFF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826" name="Oval 825">
                  <a:extLst>
                    <a:ext uri="{FF2B5EF4-FFF2-40B4-BE49-F238E27FC236}">
                      <a16:creationId xmlns:a16="http://schemas.microsoft.com/office/drawing/2014/main" id="{D0868AFD-96A0-C051-F5C0-8E94C91D6CD2}"/>
                    </a:ext>
                  </a:extLst>
                </p:cNvPr>
                <p:cNvSpPr/>
                <p:nvPr/>
              </p:nvSpPr>
              <p:spPr>
                <a:xfrm>
                  <a:off x="9986336" y="4396166"/>
                  <a:ext cx="188865" cy="116426"/>
                </a:xfrm>
                <a:prstGeom prst="ellipse">
                  <a:avLst/>
                </a:prstGeom>
                <a:solidFill>
                  <a:srgbClr val="B5D820">
                    <a:lumMod val="50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>
                    <a:defRPr/>
                  </a:pPr>
                  <a:endParaRPr lang="en-US" kern="0">
                    <a:solidFill>
                      <a:srgbClr val="FFFFFF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827" name="Group 826">
                <a:extLst>
                  <a:ext uri="{FF2B5EF4-FFF2-40B4-BE49-F238E27FC236}">
                    <a16:creationId xmlns:a16="http://schemas.microsoft.com/office/drawing/2014/main" id="{93A7AA0E-3694-590E-0FAF-B6FE7223EAE0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17198718">
                <a:off x="2298608" y="2617144"/>
                <a:ext cx="142146" cy="391723"/>
                <a:chOff x="5926138" y="3011488"/>
                <a:chExt cx="339725" cy="838200"/>
              </a:xfrm>
            </p:grpSpPr>
            <p:grpSp>
              <p:nvGrpSpPr>
                <p:cNvPr id="828" name="Group 15">
                  <a:extLst>
                    <a:ext uri="{FF2B5EF4-FFF2-40B4-BE49-F238E27FC236}">
                      <a16:creationId xmlns:a16="http://schemas.microsoft.com/office/drawing/2014/main" id="{8D53075D-8B1B-6986-999B-93B8B0654F1E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832" name="AutoShape 14">
                    <a:extLst>
                      <a:ext uri="{FF2B5EF4-FFF2-40B4-BE49-F238E27FC236}">
                        <a16:creationId xmlns:a16="http://schemas.microsoft.com/office/drawing/2014/main" id="{2D7A89CD-D734-FC47-CE35-6941E19F14B6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833" name="Freeform 16">
                    <a:extLst>
                      <a:ext uri="{FF2B5EF4-FFF2-40B4-BE49-F238E27FC236}">
                        <a16:creationId xmlns:a16="http://schemas.microsoft.com/office/drawing/2014/main" id="{89C3478E-5978-35E3-3D94-676CA283123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rot="10860552">
                    <a:off x="3740" y="2061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834" name="Freeform 17">
                    <a:extLst>
                      <a:ext uri="{FF2B5EF4-FFF2-40B4-BE49-F238E27FC236}">
                        <a16:creationId xmlns:a16="http://schemas.microsoft.com/office/drawing/2014/main" id="{AA13EC16-C188-6649-3553-A1CC76B9181B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 rot="10749847"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835" name="Freeform 18">
                    <a:extLst>
                      <a:ext uri="{FF2B5EF4-FFF2-40B4-BE49-F238E27FC236}">
                        <a16:creationId xmlns:a16="http://schemas.microsoft.com/office/drawing/2014/main" id="{4690B368-5BDA-4349-AE17-ACE0B16BBA4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836" name="Freeform 19">
                    <a:extLst>
                      <a:ext uri="{FF2B5EF4-FFF2-40B4-BE49-F238E27FC236}">
                        <a16:creationId xmlns:a16="http://schemas.microsoft.com/office/drawing/2014/main" id="{1DAA3DB4-26ED-B2B2-12BF-F6195A0AE9B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837" name="Freeform 20">
                    <a:extLst>
                      <a:ext uri="{FF2B5EF4-FFF2-40B4-BE49-F238E27FC236}">
                        <a16:creationId xmlns:a16="http://schemas.microsoft.com/office/drawing/2014/main" id="{DAA468BE-96B3-C274-F7CC-C08584BC01E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838" name="Freeform 21">
                    <a:extLst>
                      <a:ext uri="{FF2B5EF4-FFF2-40B4-BE49-F238E27FC236}">
                        <a16:creationId xmlns:a16="http://schemas.microsoft.com/office/drawing/2014/main" id="{EAEC7C1F-A401-4722-48B4-2C5DFC9518F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839" name="Freeform 22">
                    <a:extLst>
                      <a:ext uri="{FF2B5EF4-FFF2-40B4-BE49-F238E27FC236}">
                        <a16:creationId xmlns:a16="http://schemas.microsoft.com/office/drawing/2014/main" id="{1683EA70-0992-8C29-65B0-3F91F4B3633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840" name="Freeform 23">
                    <a:extLst>
                      <a:ext uri="{FF2B5EF4-FFF2-40B4-BE49-F238E27FC236}">
                        <a16:creationId xmlns:a16="http://schemas.microsoft.com/office/drawing/2014/main" id="{1FC33213-C3F9-5557-766E-739BDFB4E64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829" name="Freeform 5101">
                  <a:extLst>
                    <a:ext uri="{FF2B5EF4-FFF2-40B4-BE49-F238E27FC236}">
                      <a16:creationId xmlns:a16="http://schemas.microsoft.com/office/drawing/2014/main" id="{C173BB32-FE0B-57F7-F6FC-9D980B1FD524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830" name="Freeform 5101">
                  <a:extLst>
                    <a:ext uri="{FF2B5EF4-FFF2-40B4-BE49-F238E27FC236}">
                      <a16:creationId xmlns:a16="http://schemas.microsoft.com/office/drawing/2014/main" id="{8FC6B749-8D3A-8645-11AB-70161C8F34B5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831" name="Freeform 5101">
                  <a:extLst>
                    <a:ext uri="{FF2B5EF4-FFF2-40B4-BE49-F238E27FC236}">
                      <a16:creationId xmlns:a16="http://schemas.microsoft.com/office/drawing/2014/main" id="{3930ACA7-D265-39F3-6189-6459C3CF7F88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841" name="Group 840">
                <a:extLst>
                  <a:ext uri="{FF2B5EF4-FFF2-40B4-BE49-F238E27FC236}">
                    <a16:creationId xmlns:a16="http://schemas.microsoft.com/office/drawing/2014/main" id="{8A50D4AD-30F0-C678-7F40-6A9453BF5220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16411485">
                <a:off x="2258490" y="2907267"/>
                <a:ext cx="142146" cy="391723"/>
                <a:chOff x="5926138" y="3011488"/>
                <a:chExt cx="339725" cy="838200"/>
              </a:xfrm>
            </p:grpSpPr>
            <p:grpSp>
              <p:nvGrpSpPr>
                <p:cNvPr id="842" name="Group 15">
                  <a:extLst>
                    <a:ext uri="{FF2B5EF4-FFF2-40B4-BE49-F238E27FC236}">
                      <a16:creationId xmlns:a16="http://schemas.microsoft.com/office/drawing/2014/main" id="{E20A9CC3-6359-A95C-7962-3A11744994A7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846" name="AutoShape 14">
                    <a:extLst>
                      <a:ext uri="{FF2B5EF4-FFF2-40B4-BE49-F238E27FC236}">
                        <a16:creationId xmlns:a16="http://schemas.microsoft.com/office/drawing/2014/main" id="{5E37C04C-7770-B1B9-6262-F9F3A0147617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847" name="Freeform 16">
                    <a:extLst>
                      <a:ext uri="{FF2B5EF4-FFF2-40B4-BE49-F238E27FC236}">
                        <a16:creationId xmlns:a16="http://schemas.microsoft.com/office/drawing/2014/main" id="{DDBACB73-103D-7C5B-4678-7AF9FC5FA3E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rot="10860552">
                    <a:off x="3740" y="2061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848" name="Freeform 17">
                    <a:extLst>
                      <a:ext uri="{FF2B5EF4-FFF2-40B4-BE49-F238E27FC236}">
                        <a16:creationId xmlns:a16="http://schemas.microsoft.com/office/drawing/2014/main" id="{17CC60FC-A44A-A6A2-9832-20BB9B219504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 rot="10749847"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849" name="Freeform 18">
                    <a:extLst>
                      <a:ext uri="{FF2B5EF4-FFF2-40B4-BE49-F238E27FC236}">
                        <a16:creationId xmlns:a16="http://schemas.microsoft.com/office/drawing/2014/main" id="{1CC33D38-E4CF-3B7F-34FE-BA188EB3637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850" name="Freeform 19">
                    <a:extLst>
                      <a:ext uri="{FF2B5EF4-FFF2-40B4-BE49-F238E27FC236}">
                        <a16:creationId xmlns:a16="http://schemas.microsoft.com/office/drawing/2014/main" id="{CFB93637-DA40-821B-507E-BCC76FD7615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851" name="Freeform 20">
                    <a:extLst>
                      <a:ext uri="{FF2B5EF4-FFF2-40B4-BE49-F238E27FC236}">
                        <a16:creationId xmlns:a16="http://schemas.microsoft.com/office/drawing/2014/main" id="{7DEAE43F-93FB-77D3-9EBF-BB1D8918F8B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852" name="Freeform 21">
                    <a:extLst>
                      <a:ext uri="{FF2B5EF4-FFF2-40B4-BE49-F238E27FC236}">
                        <a16:creationId xmlns:a16="http://schemas.microsoft.com/office/drawing/2014/main" id="{55CA6EB7-1BC3-DCF1-F4CF-284297CBC00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853" name="Freeform 22">
                    <a:extLst>
                      <a:ext uri="{FF2B5EF4-FFF2-40B4-BE49-F238E27FC236}">
                        <a16:creationId xmlns:a16="http://schemas.microsoft.com/office/drawing/2014/main" id="{EBE49602-D749-0414-9894-EE5E3A3E472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854" name="Freeform 23">
                    <a:extLst>
                      <a:ext uri="{FF2B5EF4-FFF2-40B4-BE49-F238E27FC236}">
                        <a16:creationId xmlns:a16="http://schemas.microsoft.com/office/drawing/2014/main" id="{411BD846-926D-EBE2-D09A-90FF289248E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843" name="Freeform 5101">
                  <a:extLst>
                    <a:ext uri="{FF2B5EF4-FFF2-40B4-BE49-F238E27FC236}">
                      <a16:creationId xmlns:a16="http://schemas.microsoft.com/office/drawing/2014/main" id="{3C25AED2-8DEC-7E60-F5F4-FEEEE38B6EDA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844" name="Freeform 5101">
                  <a:extLst>
                    <a:ext uri="{FF2B5EF4-FFF2-40B4-BE49-F238E27FC236}">
                      <a16:creationId xmlns:a16="http://schemas.microsoft.com/office/drawing/2014/main" id="{B68A4C16-AE13-CB70-00EA-3077038AFAB3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845" name="Freeform 5101">
                  <a:extLst>
                    <a:ext uri="{FF2B5EF4-FFF2-40B4-BE49-F238E27FC236}">
                      <a16:creationId xmlns:a16="http://schemas.microsoft.com/office/drawing/2014/main" id="{E1F4052A-3E15-FBEA-6C72-4419DCD4EB93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855" name="Group 854">
                <a:extLst>
                  <a:ext uri="{FF2B5EF4-FFF2-40B4-BE49-F238E27FC236}">
                    <a16:creationId xmlns:a16="http://schemas.microsoft.com/office/drawing/2014/main" id="{5F1BF09B-03A8-F9DF-2C45-1B04AA13214E}"/>
                  </a:ext>
                </a:extLst>
              </p:cNvPr>
              <p:cNvGrpSpPr/>
              <p:nvPr/>
            </p:nvGrpSpPr>
            <p:grpSpPr>
              <a:xfrm rot="18775553">
                <a:off x="2663998" y="2433602"/>
                <a:ext cx="189928" cy="70302"/>
                <a:chOff x="9602406" y="4324350"/>
                <a:chExt cx="925894" cy="244781"/>
              </a:xfrm>
            </p:grpSpPr>
            <p:sp>
              <p:nvSpPr>
                <p:cNvPr id="856" name="Freeform: Shape 3325">
                  <a:extLst>
                    <a:ext uri="{FF2B5EF4-FFF2-40B4-BE49-F238E27FC236}">
                      <a16:creationId xmlns:a16="http://schemas.microsoft.com/office/drawing/2014/main" id="{7808F197-ADFA-C646-98EF-F34002AC1601}"/>
                    </a:ext>
                  </a:extLst>
                </p:cNvPr>
                <p:cNvSpPr/>
                <p:nvPr/>
              </p:nvSpPr>
              <p:spPr>
                <a:xfrm>
                  <a:off x="9602406" y="4324350"/>
                  <a:ext cx="925894" cy="244781"/>
                </a:xfrm>
                <a:custGeom>
                  <a:avLst/>
                  <a:gdLst>
                    <a:gd name="connsiteX0" fmla="*/ 21019 w 925894"/>
                    <a:gd name="connsiteY0" fmla="*/ 215900 h 244781"/>
                    <a:gd name="connsiteX1" fmla="*/ 21019 w 925894"/>
                    <a:gd name="connsiteY1" fmla="*/ 215900 h 244781"/>
                    <a:gd name="connsiteX2" fmla="*/ 109919 w 925894"/>
                    <a:gd name="connsiteY2" fmla="*/ 228600 h 244781"/>
                    <a:gd name="connsiteX3" fmla="*/ 163894 w 925894"/>
                    <a:gd name="connsiteY3" fmla="*/ 234950 h 244781"/>
                    <a:gd name="connsiteX4" fmla="*/ 186119 w 925894"/>
                    <a:gd name="connsiteY4" fmla="*/ 238125 h 244781"/>
                    <a:gd name="connsiteX5" fmla="*/ 459169 w 925894"/>
                    <a:gd name="connsiteY5" fmla="*/ 241300 h 244781"/>
                    <a:gd name="connsiteX6" fmla="*/ 716344 w 925894"/>
                    <a:gd name="connsiteY6" fmla="*/ 241300 h 244781"/>
                    <a:gd name="connsiteX7" fmla="*/ 779844 w 925894"/>
                    <a:gd name="connsiteY7" fmla="*/ 231775 h 244781"/>
                    <a:gd name="connsiteX8" fmla="*/ 805244 w 925894"/>
                    <a:gd name="connsiteY8" fmla="*/ 228600 h 244781"/>
                    <a:gd name="connsiteX9" fmla="*/ 849694 w 925894"/>
                    <a:gd name="connsiteY9" fmla="*/ 222250 h 244781"/>
                    <a:gd name="connsiteX10" fmla="*/ 875094 w 925894"/>
                    <a:gd name="connsiteY10" fmla="*/ 215900 h 244781"/>
                    <a:gd name="connsiteX11" fmla="*/ 884619 w 925894"/>
                    <a:gd name="connsiteY11" fmla="*/ 212725 h 244781"/>
                    <a:gd name="connsiteX12" fmla="*/ 910019 w 925894"/>
                    <a:gd name="connsiteY12" fmla="*/ 203200 h 244781"/>
                    <a:gd name="connsiteX13" fmla="*/ 925894 w 925894"/>
                    <a:gd name="connsiteY13" fmla="*/ 184150 h 244781"/>
                    <a:gd name="connsiteX14" fmla="*/ 824294 w 925894"/>
                    <a:gd name="connsiteY14" fmla="*/ 174625 h 244781"/>
                    <a:gd name="connsiteX15" fmla="*/ 789369 w 925894"/>
                    <a:gd name="connsiteY15" fmla="*/ 155575 h 244781"/>
                    <a:gd name="connsiteX16" fmla="*/ 776669 w 925894"/>
                    <a:gd name="connsiteY16" fmla="*/ 152400 h 244781"/>
                    <a:gd name="connsiteX17" fmla="*/ 767144 w 925894"/>
                    <a:gd name="connsiteY17" fmla="*/ 142875 h 244781"/>
                    <a:gd name="connsiteX18" fmla="*/ 757619 w 925894"/>
                    <a:gd name="connsiteY18" fmla="*/ 136525 h 244781"/>
                    <a:gd name="connsiteX19" fmla="*/ 751269 w 925894"/>
                    <a:gd name="connsiteY19" fmla="*/ 127000 h 244781"/>
                    <a:gd name="connsiteX20" fmla="*/ 735394 w 925894"/>
                    <a:gd name="connsiteY20" fmla="*/ 114300 h 244781"/>
                    <a:gd name="connsiteX21" fmla="*/ 716344 w 925894"/>
                    <a:gd name="connsiteY21" fmla="*/ 95250 h 244781"/>
                    <a:gd name="connsiteX22" fmla="*/ 697294 w 925894"/>
                    <a:gd name="connsiteY22" fmla="*/ 82550 h 244781"/>
                    <a:gd name="connsiteX23" fmla="*/ 687769 w 925894"/>
                    <a:gd name="connsiteY23" fmla="*/ 73025 h 244781"/>
                    <a:gd name="connsiteX24" fmla="*/ 671894 w 925894"/>
                    <a:gd name="connsiteY24" fmla="*/ 63500 h 244781"/>
                    <a:gd name="connsiteX25" fmla="*/ 652844 w 925894"/>
                    <a:gd name="connsiteY25" fmla="*/ 50800 h 244781"/>
                    <a:gd name="connsiteX26" fmla="*/ 640144 w 925894"/>
                    <a:gd name="connsiteY26" fmla="*/ 44450 h 244781"/>
                    <a:gd name="connsiteX27" fmla="*/ 627444 w 925894"/>
                    <a:gd name="connsiteY27" fmla="*/ 34925 h 244781"/>
                    <a:gd name="connsiteX28" fmla="*/ 617919 w 925894"/>
                    <a:gd name="connsiteY28" fmla="*/ 31750 h 244781"/>
                    <a:gd name="connsiteX29" fmla="*/ 589344 w 925894"/>
                    <a:gd name="connsiteY29" fmla="*/ 12700 h 244781"/>
                    <a:gd name="connsiteX30" fmla="*/ 570294 w 925894"/>
                    <a:gd name="connsiteY30" fmla="*/ 6350 h 244781"/>
                    <a:gd name="connsiteX31" fmla="*/ 541719 w 925894"/>
                    <a:gd name="connsiteY31" fmla="*/ 3175 h 244781"/>
                    <a:gd name="connsiteX32" fmla="*/ 522669 w 925894"/>
                    <a:gd name="connsiteY32" fmla="*/ 0 h 244781"/>
                    <a:gd name="connsiteX33" fmla="*/ 398844 w 925894"/>
                    <a:gd name="connsiteY33" fmla="*/ 3175 h 244781"/>
                    <a:gd name="connsiteX34" fmla="*/ 370269 w 925894"/>
                    <a:gd name="connsiteY34" fmla="*/ 15875 h 244781"/>
                    <a:gd name="connsiteX35" fmla="*/ 354394 w 925894"/>
                    <a:gd name="connsiteY35" fmla="*/ 22225 h 244781"/>
                    <a:gd name="connsiteX36" fmla="*/ 344869 w 925894"/>
                    <a:gd name="connsiteY36" fmla="*/ 28575 h 244781"/>
                    <a:gd name="connsiteX37" fmla="*/ 319469 w 925894"/>
                    <a:gd name="connsiteY37" fmla="*/ 41275 h 244781"/>
                    <a:gd name="connsiteX38" fmla="*/ 303594 w 925894"/>
                    <a:gd name="connsiteY38" fmla="*/ 47625 h 244781"/>
                    <a:gd name="connsiteX39" fmla="*/ 290894 w 925894"/>
                    <a:gd name="connsiteY39" fmla="*/ 57150 h 244781"/>
                    <a:gd name="connsiteX40" fmla="*/ 265494 w 925894"/>
                    <a:gd name="connsiteY40" fmla="*/ 69850 h 244781"/>
                    <a:gd name="connsiteX41" fmla="*/ 249619 w 925894"/>
                    <a:gd name="connsiteY41" fmla="*/ 79375 h 244781"/>
                    <a:gd name="connsiteX42" fmla="*/ 211519 w 925894"/>
                    <a:gd name="connsiteY42" fmla="*/ 104775 h 244781"/>
                    <a:gd name="connsiteX43" fmla="*/ 195644 w 925894"/>
                    <a:gd name="connsiteY43" fmla="*/ 117475 h 244781"/>
                    <a:gd name="connsiteX44" fmla="*/ 179769 w 925894"/>
                    <a:gd name="connsiteY44" fmla="*/ 127000 h 244781"/>
                    <a:gd name="connsiteX45" fmla="*/ 167069 w 925894"/>
                    <a:gd name="connsiteY45" fmla="*/ 139700 h 244781"/>
                    <a:gd name="connsiteX46" fmla="*/ 151194 w 925894"/>
                    <a:gd name="connsiteY46" fmla="*/ 146050 h 244781"/>
                    <a:gd name="connsiteX47" fmla="*/ 138494 w 925894"/>
                    <a:gd name="connsiteY47" fmla="*/ 152400 h 244781"/>
                    <a:gd name="connsiteX48" fmla="*/ 122619 w 925894"/>
                    <a:gd name="connsiteY48" fmla="*/ 158750 h 244781"/>
                    <a:gd name="connsiteX49" fmla="*/ 113094 w 925894"/>
                    <a:gd name="connsiteY49" fmla="*/ 165100 h 244781"/>
                    <a:gd name="connsiteX50" fmla="*/ 46419 w 925894"/>
                    <a:gd name="connsiteY50" fmla="*/ 171450 h 244781"/>
                    <a:gd name="connsiteX51" fmla="*/ 36894 w 925894"/>
                    <a:gd name="connsiteY51" fmla="*/ 174625 h 244781"/>
                    <a:gd name="connsiteX52" fmla="*/ 11494 w 925894"/>
                    <a:gd name="connsiteY52" fmla="*/ 180975 h 244781"/>
                    <a:gd name="connsiteX53" fmla="*/ 5144 w 925894"/>
                    <a:gd name="connsiteY53" fmla="*/ 209550 h 244781"/>
                    <a:gd name="connsiteX54" fmla="*/ 27369 w 925894"/>
                    <a:gd name="connsiteY54" fmla="*/ 219075 h 244781"/>
                    <a:gd name="connsiteX55" fmla="*/ 21019 w 925894"/>
                    <a:gd name="connsiteY55" fmla="*/ 215900 h 2447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</a:cxnLst>
                  <a:rect l="l" t="t" r="r" b="b"/>
                  <a:pathLst>
                    <a:path w="925894" h="244781">
                      <a:moveTo>
                        <a:pt x="21019" y="215900"/>
                      </a:moveTo>
                      <a:lnTo>
                        <a:pt x="21019" y="215900"/>
                      </a:lnTo>
                      <a:cubicBezTo>
                        <a:pt x="105946" y="230887"/>
                        <a:pt x="44361" y="221576"/>
                        <a:pt x="109919" y="228600"/>
                      </a:cubicBezTo>
                      <a:cubicBezTo>
                        <a:pt x="127932" y="230530"/>
                        <a:pt x="145918" y="232703"/>
                        <a:pt x="163894" y="234950"/>
                      </a:cubicBezTo>
                      <a:cubicBezTo>
                        <a:pt x="171320" y="235878"/>
                        <a:pt x="178637" y="237964"/>
                        <a:pt x="186119" y="238125"/>
                      </a:cubicBezTo>
                      <a:lnTo>
                        <a:pt x="459169" y="241300"/>
                      </a:lnTo>
                      <a:cubicBezTo>
                        <a:pt x="557346" y="244027"/>
                        <a:pt x="615030" y="247535"/>
                        <a:pt x="716344" y="241300"/>
                      </a:cubicBezTo>
                      <a:cubicBezTo>
                        <a:pt x="737707" y="239985"/>
                        <a:pt x="758656" y="234802"/>
                        <a:pt x="779844" y="231775"/>
                      </a:cubicBezTo>
                      <a:cubicBezTo>
                        <a:pt x="788291" y="230568"/>
                        <a:pt x="796797" y="229807"/>
                        <a:pt x="805244" y="228600"/>
                      </a:cubicBezTo>
                      <a:cubicBezTo>
                        <a:pt x="869332" y="219445"/>
                        <a:pt x="769366" y="232291"/>
                        <a:pt x="849694" y="222250"/>
                      </a:cubicBezTo>
                      <a:cubicBezTo>
                        <a:pt x="871467" y="214992"/>
                        <a:pt x="844443" y="223563"/>
                        <a:pt x="875094" y="215900"/>
                      </a:cubicBezTo>
                      <a:cubicBezTo>
                        <a:pt x="878341" y="215088"/>
                        <a:pt x="881401" y="213644"/>
                        <a:pt x="884619" y="212725"/>
                      </a:cubicBezTo>
                      <a:cubicBezTo>
                        <a:pt x="895698" y="209560"/>
                        <a:pt x="900155" y="210246"/>
                        <a:pt x="910019" y="203200"/>
                      </a:cubicBezTo>
                      <a:cubicBezTo>
                        <a:pt x="917797" y="197644"/>
                        <a:pt x="920831" y="191745"/>
                        <a:pt x="925894" y="184150"/>
                      </a:cubicBezTo>
                      <a:cubicBezTo>
                        <a:pt x="888561" y="159261"/>
                        <a:pt x="938340" y="190037"/>
                        <a:pt x="824294" y="174625"/>
                      </a:cubicBezTo>
                      <a:cubicBezTo>
                        <a:pt x="796282" y="170840"/>
                        <a:pt x="806447" y="162894"/>
                        <a:pt x="789369" y="155575"/>
                      </a:cubicBezTo>
                      <a:cubicBezTo>
                        <a:pt x="785358" y="153856"/>
                        <a:pt x="780902" y="153458"/>
                        <a:pt x="776669" y="152400"/>
                      </a:cubicBezTo>
                      <a:cubicBezTo>
                        <a:pt x="773494" y="149225"/>
                        <a:pt x="770593" y="145750"/>
                        <a:pt x="767144" y="142875"/>
                      </a:cubicBezTo>
                      <a:cubicBezTo>
                        <a:pt x="764213" y="140432"/>
                        <a:pt x="760317" y="139223"/>
                        <a:pt x="757619" y="136525"/>
                      </a:cubicBezTo>
                      <a:cubicBezTo>
                        <a:pt x="754921" y="133827"/>
                        <a:pt x="753967" y="129698"/>
                        <a:pt x="751269" y="127000"/>
                      </a:cubicBezTo>
                      <a:cubicBezTo>
                        <a:pt x="746477" y="122208"/>
                        <a:pt x="740408" y="118858"/>
                        <a:pt x="735394" y="114300"/>
                      </a:cubicBezTo>
                      <a:cubicBezTo>
                        <a:pt x="728749" y="108259"/>
                        <a:pt x="723816" y="100231"/>
                        <a:pt x="716344" y="95250"/>
                      </a:cubicBezTo>
                      <a:cubicBezTo>
                        <a:pt x="709994" y="91017"/>
                        <a:pt x="702690" y="87946"/>
                        <a:pt x="697294" y="82550"/>
                      </a:cubicBezTo>
                      <a:cubicBezTo>
                        <a:pt x="694119" y="79375"/>
                        <a:pt x="691361" y="75719"/>
                        <a:pt x="687769" y="73025"/>
                      </a:cubicBezTo>
                      <a:cubicBezTo>
                        <a:pt x="682832" y="69322"/>
                        <a:pt x="677100" y="66813"/>
                        <a:pt x="671894" y="63500"/>
                      </a:cubicBezTo>
                      <a:cubicBezTo>
                        <a:pt x="665455" y="59403"/>
                        <a:pt x="659670" y="54213"/>
                        <a:pt x="652844" y="50800"/>
                      </a:cubicBezTo>
                      <a:cubicBezTo>
                        <a:pt x="648611" y="48683"/>
                        <a:pt x="644158" y="46958"/>
                        <a:pt x="640144" y="44450"/>
                      </a:cubicBezTo>
                      <a:cubicBezTo>
                        <a:pt x="635657" y="41645"/>
                        <a:pt x="632038" y="37550"/>
                        <a:pt x="627444" y="34925"/>
                      </a:cubicBezTo>
                      <a:cubicBezTo>
                        <a:pt x="624538" y="33265"/>
                        <a:pt x="620810" y="33436"/>
                        <a:pt x="617919" y="31750"/>
                      </a:cubicBezTo>
                      <a:cubicBezTo>
                        <a:pt x="608031" y="25982"/>
                        <a:pt x="600204" y="16320"/>
                        <a:pt x="589344" y="12700"/>
                      </a:cubicBezTo>
                      <a:cubicBezTo>
                        <a:pt x="582994" y="10583"/>
                        <a:pt x="576858" y="7663"/>
                        <a:pt x="570294" y="6350"/>
                      </a:cubicBezTo>
                      <a:cubicBezTo>
                        <a:pt x="560896" y="4470"/>
                        <a:pt x="551219" y="4442"/>
                        <a:pt x="541719" y="3175"/>
                      </a:cubicBezTo>
                      <a:cubicBezTo>
                        <a:pt x="535338" y="2324"/>
                        <a:pt x="529019" y="1058"/>
                        <a:pt x="522669" y="0"/>
                      </a:cubicBezTo>
                      <a:cubicBezTo>
                        <a:pt x="481394" y="1058"/>
                        <a:pt x="440041" y="429"/>
                        <a:pt x="398844" y="3175"/>
                      </a:cubicBezTo>
                      <a:cubicBezTo>
                        <a:pt x="379941" y="4435"/>
                        <a:pt x="383216" y="9402"/>
                        <a:pt x="370269" y="15875"/>
                      </a:cubicBezTo>
                      <a:cubicBezTo>
                        <a:pt x="365171" y="18424"/>
                        <a:pt x="359492" y="19676"/>
                        <a:pt x="354394" y="22225"/>
                      </a:cubicBezTo>
                      <a:cubicBezTo>
                        <a:pt x="350981" y="23932"/>
                        <a:pt x="348219" y="26748"/>
                        <a:pt x="344869" y="28575"/>
                      </a:cubicBezTo>
                      <a:cubicBezTo>
                        <a:pt x="336559" y="33108"/>
                        <a:pt x="328258" y="37759"/>
                        <a:pt x="319469" y="41275"/>
                      </a:cubicBezTo>
                      <a:cubicBezTo>
                        <a:pt x="314177" y="43392"/>
                        <a:pt x="308576" y="44857"/>
                        <a:pt x="303594" y="47625"/>
                      </a:cubicBezTo>
                      <a:cubicBezTo>
                        <a:pt x="298968" y="50195"/>
                        <a:pt x="295465" y="54484"/>
                        <a:pt x="290894" y="57150"/>
                      </a:cubicBezTo>
                      <a:cubicBezTo>
                        <a:pt x="282717" y="61920"/>
                        <a:pt x="273611" y="64980"/>
                        <a:pt x="265494" y="69850"/>
                      </a:cubicBezTo>
                      <a:cubicBezTo>
                        <a:pt x="260202" y="73025"/>
                        <a:pt x="254641" y="75788"/>
                        <a:pt x="249619" y="79375"/>
                      </a:cubicBezTo>
                      <a:cubicBezTo>
                        <a:pt x="213199" y="105389"/>
                        <a:pt x="233935" y="97303"/>
                        <a:pt x="211519" y="104775"/>
                      </a:cubicBezTo>
                      <a:cubicBezTo>
                        <a:pt x="206227" y="109008"/>
                        <a:pt x="201196" y="113589"/>
                        <a:pt x="195644" y="117475"/>
                      </a:cubicBezTo>
                      <a:cubicBezTo>
                        <a:pt x="190588" y="121014"/>
                        <a:pt x="184640" y="123211"/>
                        <a:pt x="179769" y="127000"/>
                      </a:cubicBezTo>
                      <a:cubicBezTo>
                        <a:pt x="175043" y="130676"/>
                        <a:pt x="172050" y="136379"/>
                        <a:pt x="167069" y="139700"/>
                      </a:cubicBezTo>
                      <a:cubicBezTo>
                        <a:pt x="162327" y="142861"/>
                        <a:pt x="156402" y="143735"/>
                        <a:pt x="151194" y="146050"/>
                      </a:cubicBezTo>
                      <a:cubicBezTo>
                        <a:pt x="146869" y="147972"/>
                        <a:pt x="142819" y="150478"/>
                        <a:pt x="138494" y="152400"/>
                      </a:cubicBezTo>
                      <a:cubicBezTo>
                        <a:pt x="133286" y="154715"/>
                        <a:pt x="127717" y="156201"/>
                        <a:pt x="122619" y="158750"/>
                      </a:cubicBezTo>
                      <a:cubicBezTo>
                        <a:pt x="119206" y="160457"/>
                        <a:pt x="116714" y="163893"/>
                        <a:pt x="113094" y="165100"/>
                      </a:cubicBezTo>
                      <a:cubicBezTo>
                        <a:pt x="100065" y="169443"/>
                        <a:pt x="46800" y="171425"/>
                        <a:pt x="46419" y="171450"/>
                      </a:cubicBezTo>
                      <a:cubicBezTo>
                        <a:pt x="43244" y="172508"/>
                        <a:pt x="40123" y="173744"/>
                        <a:pt x="36894" y="174625"/>
                      </a:cubicBezTo>
                      <a:cubicBezTo>
                        <a:pt x="28474" y="176921"/>
                        <a:pt x="11494" y="180975"/>
                        <a:pt x="11494" y="180975"/>
                      </a:cubicBezTo>
                      <a:cubicBezTo>
                        <a:pt x="2036" y="190433"/>
                        <a:pt x="-5391" y="192693"/>
                        <a:pt x="5144" y="209550"/>
                      </a:cubicBezTo>
                      <a:cubicBezTo>
                        <a:pt x="6985" y="212495"/>
                        <a:pt x="23149" y="217869"/>
                        <a:pt x="27369" y="219075"/>
                      </a:cubicBezTo>
                      <a:cubicBezTo>
                        <a:pt x="31565" y="220274"/>
                        <a:pt x="22077" y="216429"/>
                        <a:pt x="21019" y="215900"/>
                      </a:cubicBezTo>
                      <a:close/>
                    </a:path>
                  </a:pathLst>
                </a:custGeom>
                <a:solidFill>
                  <a:srgbClr val="B5D820"/>
                </a:solidFill>
                <a:ln w="12700" cap="flat" cmpd="sng" algn="ctr">
                  <a:solidFill>
                    <a:srgbClr val="B5D820">
                      <a:lumMod val="75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>
                    <a:defRPr/>
                  </a:pPr>
                  <a:endParaRPr lang="en-US" kern="0">
                    <a:solidFill>
                      <a:srgbClr val="FFFFFF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857" name="Oval 856">
                  <a:extLst>
                    <a:ext uri="{FF2B5EF4-FFF2-40B4-BE49-F238E27FC236}">
                      <a16:creationId xmlns:a16="http://schemas.microsoft.com/office/drawing/2014/main" id="{DE723504-53DD-C53F-9141-07941428EE5F}"/>
                    </a:ext>
                  </a:extLst>
                </p:cNvPr>
                <p:cNvSpPr/>
                <p:nvPr/>
              </p:nvSpPr>
              <p:spPr>
                <a:xfrm>
                  <a:off x="9986336" y="4396166"/>
                  <a:ext cx="188865" cy="116426"/>
                </a:xfrm>
                <a:prstGeom prst="ellipse">
                  <a:avLst/>
                </a:prstGeom>
                <a:solidFill>
                  <a:srgbClr val="B5D820">
                    <a:lumMod val="50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>
                    <a:defRPr/>
                  </a:pPr>
                  <a:endParaRPr lang="en-US" kern="0">
                    <a:solidFill>
                      <a:srgbClr val="FFFFFF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858" name="Group 857">
                <a:extLst>
                  <a:ext uri="{FF2B5EF4-FFF2-40B4-BE49-F238E27FC236}">
                    <a16:creationId xmlns:a16="http://schemas.microsoft.com/office/drawing/2014/main" id="{B6E09A67-04B9-A0F9-D2E1-F7886D948EB4}"/>
                  </a:ext>
                </a:extLst>
              </p:cNvPr>
              <p:cNvGrpSpPr/>
              <p:nvPr/>
            </p:nvGrpSpPr>
            <p:grpSpPr>
              <a:xfrm rot="14941113">
                <a:off x="2459477" y="3372575"/>
                <a:ext cx="189928" cy="70302"/>
                <a:chOff x="9602406" y="4324350"/>
                <a:chExt cx="925894" cy="244781"/>
              </a:xfrm>
            </p:grpSpPr>
            <p:sp>
              <p:nvSpPr>
                <p:cNvPr id="859" name="Freeform: Shape 3323">
                  <a:extLst>
                    <a:ext uri="{FF2B5EF4-FFF2-40B4-BE49-F238E27FC236}">
                      <a16:creationId xmlns:a16="http://schemas.microsoft.com/office/drawing/2014/main" id="{5E843CE9-8E15-6CB0-37CD-CA5897400B04}"/>
                    </a:ext>
                  </a:extLst>
                </p:cNvPr>
                <p:cNvSpPr/>
                <p:nvPr/>
              </p:nvSpPr>
              <p:spPr>
                <a:xfrm>
                  <a:off x="9602406" y="4324350"/>
                  <a:ext cx="925894" cy="244781"/>
                </a:xfrm>
                <a:custGeom>
                  <a:avLst/>
                  <a:gdLst>
                    <a:gd name="connsiteX0" fmla="*/ 21019 w 925894"/>
                    <a:gd name="connsiteY0" fmla="*/ 215900 h 244781"/>
                    <a:gd name="connsiteX1" fmla="*/ 21019 w 925894"/>
                    <a:gd name="connsiteY1" fmla="*/ 215900 h 244781"/>
                    <a:gd name="connsiteX2" fmla="*/ 109919 w 925894"/>
                    <a:gd name="connsiteY2" fmla="*/ 228600 h 244781"/>
                    <a:gd name="connsiteX3" fmla="*/ 163894 w 925894"/>
                    <a:gd name="connsiteY3" fmla="*/ 234950 h 244781"/>
                    <a:gd name="connsiteX4" fmla="*/ 186119 w 925894"/>
                    <a:gd name="connsiteY4" fmla="*/ 238125 h 244781"/>
                    <a:gd name="connsiteX5" fmla="*/ 459169 w 925894"/>
                    <a:gd name="connsiteY5" fmla="*/ 241300 h 244781"/>
                    <a:gd name="connsiteX6" fmla="*/ 716344 w 925894"/>
                    <a:gd name="connsiteY6" fmla="*/ 241300 h 244781"/>
                    <a:gd name="connsiteX7" fmla="*/ 779844 w 925894"/>
                    <a:gd name="connsiteY7" fmla="*/ 231775 h 244781"/>
                    <a:gd name="connsiteX8" fmla="*/ 805244 w 925894"/>
                    <a:gd name="connsiteY8" fmla="*/ 228600 h 244781"/>
                    <a:gd name="connsiteX9" fmla="*/ 849694 w 925894"/>
                    <a:gd name="connsiteY9" fmla="*/ 222250 h 244781"/>
                    <a:gd name="connsiteX10" fmla="*/ 875094 w 925894"/>
                    <a:gd name="connsiteY10" fmla="*/ 215900 h 244781"/>
                    <a:gd name="connsiteX11" fmla="*/ 884619 w 925894"/>
                    <a:gd name="connsiteY11" fmla="*/ 212725 h 244781"/>
                    <a:gd name="connsiteX12" fmla="*/ 910019 w 925894"/>
                    <a:gd name="connsiteY12" fmla="*/ 203200 h 244781"/>
                    <a:gd name="connsiteX13" fmla="*/ 925894 w 925894"/>
                    <a:gd name="connsiteY13" fmla="*/ 184150 h 244781"/>
                    <a:gd name="connsiteX14" fmla="*/ 824294 w 925894"/>
                    <a:gd name="connsiteY14" fmla="*/ 174625 h 244781"/>
                    <a:gd name="connsiteX15" fmla="*/ 789369 w 925894"/>
                    <a:gd name="connsiteY15" fmla="*/ 155575 h 244781"/>
                    <a:gd name="connsiteX16" fmla="*/ 776669 w 925894"/>
                    <a:gd name="connsiteY16" fmla="*/ 152400 h 244781"/>
                    <a:gd name="connsiteX17" fmla="*/ 767144 w 925894"/>
                    <a:gd name="connsiteY17" fmla="*/ 142875 h 244781"/>
                    <a:gd name="connsiteX18" fmla="*/ 757619 w 925894"/>
                    <a:gd name="connsiteY18" fmla="*/ 136525 h 244781"/>
                    <a:gd name="connsiteX19" fmla="*/ 751269 w 925894"/>
                    <a:gd name="connsiteY19" fmla="*/ 127000 h 244781"/>
                    <a:gd name="connsiteX20" fmla="*/ 735394 w 925894"/>
                    <a:gd name="connsiteY20" fmla="*/ 114300 h 244781"/>
                    <a:gd name="connsiteX21" fmla="*/ 716344 w 925894"/>
                    <a:gd name="connsiteY21" fmla="*/ 95250 h 244781"/>
                    <a:gd name="connsiteX22" fmla="*/ 697294 w 925894"/>
                    <a:gd name="connsiteY22" fmla="*/ 82550 h 244781"/>
                    <a:gd name="connsiteX23" fmla="*/ 687769 w 925894"/>
                    <a:gd name="connsiteY23" fmla="*/ 73025 h 244781"/>
                    <a:gd name="connsiteX24" fmla="*/ 671894 w 925894"/>
                    <a:gd name="connsiteY24" fmla="*/ 63500 h 244781"/>
                    <a:gd name="connsiteX25" fmla="*/ 652844 w 925894"/>
                    <a:gd name="connsiteY25" fmla="*/ 50800 h 244781"/>
                    <a:gd name="connsiteX26" fmla="*/ 640144 w 925894"/>
                    <a:gd name="connsiteY26" fmla="*/ 44450 h 244781"/>
                    <a:gd name="connsiteX27" fmla="*/ 627444 w 925894"/>
                    <a:gd name="connsiteY27" fmla="*/ 34925 h 244781"/>
                    <a:gd name="connsiteX28" fmla="*/ 617919 w 925894"/>
                    <a:gd name="connsiteY28" fmla="*/ 31750 h 244781"/>
                    <a:gd name="connsiteX29" fmla="*/ 589344 w 925894"/>
                    <a:gd name="connsiteY29" fmla="*/ 12700 h 244781"/>
                    <a:gd name="connsiteX30" fmla="*/ 570294 w 925894"/>
                    <a:gd name="connsiteY30" fmla="*/ 6350 h 244781"/>
                    <a:gd name="connsiteX31" fmla="*/ 541719 w 925894"/>
                    <a:gd name="connsiteY31" fmla="*/ 3175 h 244781"/>
                    <a:gd name="connsiteX32" fmla="*/ 522669 w 925894"/>
                    <a:gd name="connsiteY32" fmla="*/ 0 h 244781"/>
                    <a:gd name="connsiteX33" fmla="*/ 398844 w 925894"/>
                    <a:gd name="connsiteY33" fmla="*/ 3175 h 244781"/>
                    <a:gd name="connsiteX34" fmla="*/ 370269 w 925894"/>
                    <a:gd name="connsiteY34" fmla="*/ 15875 h 244781"/>
                    <a:gd name="connsiteX35" fmla="*/ 354394 w 925894"/>
                    <a:gd name="connsiteY35" fmla="*/ 22225 h 244781"/>
                    <a:gd name="connsiteX36" fmla="*/ 344869 w 925894"/>
                    <a:gd name="connsiteY36" fmla="*/ 28575 h 244781"/>
                    <a:gd name="connsiteX37" fmla="*/ 319469 w 925894"/>
                    <a:gd name="connsiteY37" fmla="*/ 41275 h 244781"/>
                    <a:gd name="connsiteX38" fmla="*/ 303594 w 925894"/>
                    <a:gd name="connsiteY38" fmla="*/ 47625 h 244781"/>
                    <a:gd name="connsiteX39" fmla="*/ 290894 w 925894"/>
                    <a:gd name="connsiteY39" fmla="*/ 57150 h 244781"/>
                    <a:gd name="connsiteX40" fmla="*/ 265494 w 925894"/>
                    <a:gd name="connsiteY40" fmla="*/ 69850 h 244781"/>
                    <a:gd name="connsiteX41" fmla="*/ 249619 w 925894"/>
                    <a:gd name="connsiteY41" fmla="*/ 79375 h 244781"/>
                    <a:gd name="connsiteX42" fmla="*/ 211519 w 925894"/>
                    <a:gd name="connsiteY42" fmla="*/ 104775 h 244781"/>
                    <a:gd name="connsiteX43" fmla="*/ 195644 w 925894"/>
                    <a:gd name="connsiteY43" fmla="*/ 117475 h 244781"/>
                    <a:gd name="connsiteX44" fmla="*/ 179769 w 925894"/>
                    <a:gd name="connsiteY44" fmla="*/ 127000 h 244781"/>
                    <a:gd name="connsiteX45" fmla="*/ 167069 w 925894"/>
                    <a:gd name="connsiteY45" fmla="*/ 139700 h 244781"/>
                    <a:gd name="connsiteX46" fmla="*/ 151194 w 925894"/>
                    <a:gd name="connsiteY46" fmla="*/ 146050 h 244781"/>
                    <a:gd name="connsiteX47" fmla="*/ 138494 w 925894"/>
                    <a:gd name="connsiteY47" fmla="*/ 152400 h 244781"/>
                    <a:gd name="connsiteX48" fmla="*/ 122619 w 925894"/>
                    <a:gd name="connsiteY48" fmla="*/ 158750 h 244781"/>
                    <a:gd name="connsiteX49" fmla="*/ 113094 w 925894"/>
                    <a:gd name="connsiteY49" fmla="*/ 165100 h 244781"/>
                    <a:gd name="connsiteX50" fmla="*/ 46419 w 925894"/>
                    <a:gd name="connsiteY50" fmla="*/ 171450 h 244781"/>
                    <a:gd name="connsiteX51" fmla="*/ 36894 w 925894"/>
                    <a:gd name="connsiteY51" fmla="*/ 174625 h 244781"/>
                    <a:gd name="connsiteX52" fmla="*/ 11494 w 925894"/>
                    <a:gd name="connsiteY52" fmla="*/ 180975 h 244781"/>
                    <a:gd name="connsiteX53" fmla="*/ 5144 w 925894"/>
                    <a:gd name="connsiteY53" fmla="*/ 209550 h 244781"/>
                    <a:gd name="connsiteX54" fmla="*/ 27369 w 925894"/>
                    <a:gd name="connsiteY54" fmla="*/ 219075 h 244781"/>
                    <a:gd name="connsiteX55" fmla="*/ 21019 w 925894"/>
                    <a:gd name="connsiteY55" fmla="*/ 215900 h 2447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</a:cxnLst>
                  <a:rect l="l" t="t" r="r" b="b"/>
                  <a:pathLst>
                    <a:path w="925894" h="244781">
                      <a:moveTo>
                        <a:pt x="21019" y="215900"/>
                      </a:moveTo>
                      <a:lnTo>
                        <a:pt x="21019" y="215900"/>
                      </a:lnTo>
                      <a:cubicBezTo>
                        <a:pt x="105946" y="230887"/>
                        <a:pt x="44361" y="221576"/>
                        <a:pt x="109919" y="228600"/>
                      </a:cubicBezTo>
                      <a:cubicBezTo>
                        <a:pt x="127932" y="230530"/>
                        <a:pt x="145918" y="232703"/>
                        <a:pt x="163894" y="234950"/>
                      </a:cubicBezTo>
                      <a:cubicBezTo>
                        <a:pt x="171320" y="235878"/>
                        <a:pt x="178637" y="237964"/>
                        <a:pt x="186119" y="238125"/>
                      </a:cubicBezTo>
                      <a:lnTo>
                        <a:pt x="459169" y="241300"/>
                      </a:lnTo>
                      <a:cubicBezTo>
                        <a:pt x="557346" y="244027"/>
                        <a:pt x="615030" y="247535"/>
                        <a:pt x="716344" y="241300"/>
                      </a:cubicBezTo>
                      <a:cubicBezTo>
                        <a:pt x="737707" y="239985"/>
                        <a:pt x="758656" y="234802"/>
                        <a:pt x="779844" y="231775"/>
                      </a:cubicBezTo>
                      <a:cubicBezTo>
                        <a:pt x="788291" y="230568"/>
                        <a:pt x="796797" y="229807"/>
                        <a:pt x="805244" y="228600"/>
                      </a:cubicBezTo>
                      <a:cubicBezTo>
                        <a:pt x="869332" y="219445"/>
                        <a:pt x="769366" y="232291"/>
                        <a:pt x="849694" y="222250"/>
                      </a:cubicBezTo>
                      <a:cubicBezTo>
                        <a:pt x="871467" y="214992"/>
                        <a:pt x="844443" y="223563"/>
                        <a:pt x="875094" y="215900"/>
                      </a:cubicBezTo>
                      <a:cubicBezTo>
                        <a:pt x="878341" y="215088"/>
                        <a:pt x="881401" y="213644"/>
                        <a:pt x="884619" y="212725"/>
                      </a:cubicBezTo>
                      <a:cubicBezTo>
                        <a:pt x="895698" y="209560"/>
                        <a:pt x="900155" y="210246"/>
                        <a:pt x="910019" y="203200"/>
                      </a:cubicBezTo>
                      <a:cubicBezTo>
                        <a:pt x="917797" y="197644"/>
                        <a:pt x="920831" y="191745"/>
                        <a:pt x="925894" y="184150"/>
                      </a:cubicBezTo>
                      <a:cubicBezTo>
                        <a:pt x="888561" y="159261"/>
                        <a:pt x="938340" y="190037"/>
                        <a:pt x="824294" y="174625"/>
                      </a:cubicBezTo>
                      <a:cubicBezTo>
                        <a:pt x="796282" y="170840"/>
                        <a:pt x="806447" y="162894"/>
                        <a:pt x="789369" y="155575"/>
                      </a:cubicBezTo>
                      <a:cubicBezTo>
                        <a:pt x="785358" y="153856"/>
                        <a:pt x="780902" y="153458"/>
                        <a:pt x="776669" y="152400"/>
                      </a:cubicBezTo>
                      <a:cubicBezTo>
                        <a:pt x="773494" y="149225"/>
                        <a:pt x="770593" y="145750"/>
                        <a:pt x="767144" y="142875"/>
                      </a:cubicBezTo>
                      <a:cubicBezTo>
                        <a:pt x="764213" y="140432"/>
                        <a:pt x="760317" y="139223"/>
                        <a:pt x="757619" y="136525"/>
                      </a:cubicBezTo>
                      <a:cubicBezTo>
                        <a:pt x="754921" y="133827"/>
                        <a:pt x="753967" y="129698"/>
                        <a:pt x="751269" y="127000"/>
                      </a:cubicBezTo>
                      <a:cubicBezTo>
                        <a:pt x="746477" y="122208"/>
                        <a:pt x="740408" y="118858"/>
                        <a:pt x="735394" y="114300"/>
                      </a:cubicBezTo>
                      <a:cubicBezTo>
                        <a:pt x="728749" y="108259"/>
                        <a:pt x="723816" y="100231"/>
                        <a:pt x="716344" y="95250"/>
                      </a:cubicBezTo>
                      <a:cubicBezTo>
                        <a:pt x="709994" y="91017"/>
                        <a:pt x="702690" y="87946"/>
                        <a:pt x="697294" y="82550"/>
                      </a:cubicBezTo>
                      <a:cubicBezTo>
                        <a:pt x="694119" y="79375"/>
                        <a:pt x="691361" y="75719"/>
                        <a:pt x="687769" y="73025"/>
                      </a:cubicBezTo>
                      <a:cubicBezTo>
                        <a:pt x="682832" y="69322"/>
                        <a:pt x="677100" y="66813"/>
                        <a:pt x="671894" y="63500"/>
                      </a:cubicBezTo>
                      <a:cubicBezTo>
                        <a:pt x="665455" y="59403"/>
                        <a:pt x="659670" y="54213"/>
                        <a:pt x="652844" y="50800"/>
                      </a:cubicBezTo>
                      <a:cubicBezTo>
                        <a:pt x="648611" y="48683"/>
                        <a:pt x="644158" y="46958"/>
                        <a:pt x="640144" y="44450"/>
                      </a:cubicBezTo>
                      <a:cubicBezTo>
                        <a:pt x="635657" y="41645"/>
                        <a:pt x="632038" y="37550"/>
                        <a:pt x="627444" y="34925"/>
                      </a:cubicBezTo>
                      <a:cubicBezTo>
                        <a:pt x="624538" y="33265"/>
                        <a:pt x="620810" y="33436"/>
                        <a:pt x="617919" y="31750"/>
                      </a:cubicBezTo>
                      <a:cubicBezTo>
                        <a:pt x="608031" y="25982"/>
                        <a:pt x="600204" y="16320"/>
                        <a:pt x="589344" y="12700"/>
                      </a:cubicBezTo>
                      <a:cubicBezTo>
                        <a:pt x="582994" y="10583"/>
                        <a:pt x="576858" y="7663"/>
                        <a:pt x="570294" y="6350"/>
                      </a:cubicBezTo>
                      <a:cubicBezTo>
                        <a:pt x="560896" y="4470"/>
                        <a:pt x="551219" y="4442"/>
                        <a:pt x="541719" y="3175"/>
                      </a:cubicBezTo>
                      <a:cubicBezTo>
                        <a:pt x="535338" y="2324"/>
                        <a:pt x="529019" y="1058"/>
                        <a:pt x="522669" y="0"/>
                      </a:cubicBezTo>
                      <a:cubicBezTo>
                        <a:pt x="481394" y="1058"/>
                        <a:pt x="440041" y="429"/>
                        <a:pt x="398844" y="3175"/>
                      </a:cubicBezTo>
                      <a:cubicBezTo>
                        <a:pt x="379941" y="4435"/>
                        <a:pt x="383216" y="9402"/>
                        <a:pt x="370269" y="15875"/>
                      </a:cubicBezTo>
                      <a:cubicBezTo>
                        <a:pt x="365171" y="18424"/>
                        <a:pt x="359492" y="19676"/>
                        <a:pt x="354394" y="22225"/>
                      </a:cubicBezTo>
                      <a:cubicBezTo>
                        <a:pt x="350981" y="23932"/>
                        <a:pt x="348219" y="26748"/>
                        <a:pt x="344869" y="28575"/>
                      </a:cubicBezTo>
                      <a:cubicBezTo>
                        <a:pt x="336559" y="33108"/>
                        <a:pt x="328258" y="37759"/>
                        <a:pt x="319469" y="41275"/>
                      </a:cubicBezTo>
                      <a:cubicBezTo>
                        <a:pt x="314177" y="43392"/>
                        <a:pt x="308576" y="44857"/>
                        <a:pt x="303594" y="47625"/>
                      </a:cubicBezTo>
                      <a:cubicBezTo>
                        <a:pt x="298968" y="50195"/>
                        <a:pt x="295465" y="54484"/>
                        <a:pt x="290894" y="57150"/>
                      </a:cubicBezTo>
                      <a:cubicBezTo>
                        <a:pt x="282717" y="61920"/>
                        <a:pt x="273611" y="64980"/>
                        <a:pt x="265494" y="69850"/>
                      </a:cubicBezTo>
                      <a:cubicBezTo>
                        <a:pt x="260202" y="73025"/>
                        <a:pt x="254641" y="75788"/>
                        <a:pt x="249619" y="79375"/>
                      </a:cubicBezTo>
                      <a:cubicBezTo>
                        <a:pt x="213199" y="105389"/>
                        <a:pt x="233935" y="97303"/>
                        <a:pt x="211519" y="104775"/>
                      </a:cubicBezTo>
                      <a:cubicBezTo>
                        <a:pt x="206227" y="109008"/>
                        <a:pt x="201196" y="113589"/>
                        <a:pt x="195644" y="117475"/>
                      </a:cubicBezTo>
                      <a:cubicBezTo>
                        <a:pt x="190588" y="121014"/>
                        <a:pt x="184640" y="123211"/>
                        <a:pt x="179769" y="127000"/>
                      </a:cubicBezTo>
                      <a:cubicBezTo>
                        <a:pt x="175043" y="130676"/>
                        <a:pt x="172050" y="136379"/>
                        <a:pt x="167069" y="139700"/>
                      </a:cubicBezTo>
                      <a:cubicBezTo>
                        <a:pt x="162327" y="142861"/>
                        <a:pt x="156402" y="143735"/>
                        <a:pt x="151194" y="146050"/>
                      </a:cubicBezTo>
                      <a:cubicBezTo>
                        <a:pt x="146869" y="147972"/>
                        <a:pt x="142819" y="150478"/>
                        <a:pt x="138494" y="152400"/>
                      </a:cubicBezTo>
                      <a:cubicBezTo>
                        <a:pt x="133286" y="154715"/>
                        <a:pt x="127717" y="156201"/>
                        <a:pt x="122619" y="158750"/>
                      </a:cubicBezTo>
                      <a:cubicBezTo>
                        <a:pt x="119206" y="160457"/>
                        <a:pt x="116714" y="163893"/>
                        <a:pt x="113094" y="165100"/>
                      </a:cubicBezTo>
                      <a:cubicBezTo>
                        <a:pt x="100065" y="169443"/>
                        <a:pt x="46800" y="171425"/>
                        <a:pt x="46419" y="171450"/>
                      </a:cubicBezTo>
                      <a:cubicBezTo>
                        <a:pt x="43244" y="172508"/>
                        <a:pt x="40123" y="173744"/>
                        <a:pt x="36894" y="174625"/>
                      </a:cubicBezTo>
                      <a:cubicBezTo>
                        <a:pt x="28474" y="176921"/>
                        <a:pt x="11494" y="180975"/>
                        <a:pt x="11494" y="180975"/>
                      </a:cubicBezTo>
                      <a:cubicBezTo>
                        <a:pt x="2036" y="190433"/>
                        <a:pt x="-5391" y="192693"/>
                        <a:pt x="5144" y="209550"/>
                      </a:cubicBezTo>
                      <a:cubicBezTo>
                        <a:pt x="6985" y="212495"/>
                        <a:pt x="23149" y="217869"/>
                        <a:pt x="27369" y="219075"/>
                      </a:cubicBezTo>
                      <a:cubicBezTo>
                        <a:pt x="31565" y="220274"/>
                        <a:pt x="22077" y="216429"/>
                        <a:pt x="21019" y="215900"/>
                      </a:cubicBezTo>
                      <a:close/>
                    </a:path>
                  </a:pathLst>
                </a:custGeom>
                <a:solidFill>
                  <a:srgbClr val="B5D820"/>
                </a:solidFill>
                <a:ln w="12700" cap="flat" cmpd="sng" algn="ctr">
                  <a:solidFill>
                    <a:srgbClr val="B5D820">
                      <a:lumMod val="75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>
                    <a:defRPr/>
                  </a:pPr>
                  <a:endParaRPr lang="en-US" kern="0">
                    <a:solidFill>
                      <a:srgbClr val="FFFFFF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860" name="Oval 859">
                  <a:extLst>
                    <a:ext uri="{FF2B5EF4-FFF2-40B4-BE49-F238E27FC236}">
                      <a16:creationId xmlns:a16="http://schemas.microsoft.com/office/drawing/2014/main" id="{317EFBF9-9252-9934-8A45-719999397E7D}"/>
                    </a:ext>
                  </a:extLst>
                </p:cNvPr>
                <p:cNvSpPr/>
                <p:nvPr/>
              </p:nvSpPr>
              <p:spPr>
                <a:xfrm>
                  <a:off x="9986336" y="4396166"/>
                  <a:ext cx="188865" cy="116426"/>
                </a:xfrm>
                <a:prstGeom prst="ellipse">
                  <a:avLst/>
                </a:prstGeom>
                <a:solidFill>
                  <a:srgbClr val="B5D820">
                    <a:lumMod val="50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>
                    <a:defRPr/>
                  </a:pPr>
                  <a:endParaRPr lang="en-US" kern="0">
                    <a:solidFill>
                      <a:srgbClr val="FFFFFF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861" name="Group 860">
                <a:extLst>
                  <a:ext uri="{FF2B5EF4-FFF2-40B4-BE49-F238E27FC236}">
                    <a16:creationId xmlns:a16="http://schemas.microsoft.com/office/drawing/2014/main" id="{C4CC9263-875B-6534-E173-F4B08720B0A1}"/>
                  </a:ext>
                </a:extLst>
              </p:cNvPr>
              <p:cNvGrpSpPr/>
              <p:nvPr/>
            </p:nvGrpSpPr>
            <p:grpSpPr>
              <a:xfrm rot="7481680">
                <a:off x="4284486" y="3710663"/>
                <a:ext cx="189928" cy="70302"/>
                <a:chOff x="9602406" y="4324350"/>
                <a:chExt cx="925894" cy="244781"/>
              </a:xfrm>
            </p:grpSpPr>
            <p:sp>
              <p:nvSpPr>
                <p:cNvPr id="862" name="Freeform: Shape 3321">
                  <a:extLst>
                    <a:ext uri="{FF2B5EF4-FFF2-40B4-BE49-F238E27FC236}">
                      <a16:creationId xmlns:a16="http://schemas.microsoft.com/office/drawing/2014/main" id="{48EED961-3063-A122-D34C-F6FABBBA4A21}"/>
                    </a:ext>
                  </a:extLst>
                </p:cNvPr>
                <p:cNvSpPr/>
                <p:nvPr/>
              </p:nvSpPr>
              <p:spPr>
                <a:xfrm>
                  <a:off x="9602406" y="4324350"/>
                  <a:ext cx="925894" cy="244781"/>
                </a:xfrm>
                <a:custGeom>
                  <a:avLst/>
                  <a:gdLst>
                    <a:gd name="connsiteX0" fmla="*/ 21019 w 925894"/>
                    <a:gd name="connsiteY0" fmla="*/ 215900 h 244781"/>
                    <a:gd name="connsiteX1" fmla="*/ 21019 w 925894"/>
                    <a:gd name="connsiteY1" fmla="*/ 215900 h 244781"/>
                    <a:gd name="connsiteX2" fmla="*/ 109919 w 925894"/>
                    <a:gd name="connsiteY2" fmla="*/ 228600 h 244781"/>
                    <a:gd name="connsiteX3" fmla="*/ 163894 w 925894"/>
                    <a:gd name="connsiteY3" fmla="*/ 234950 h 244781"/>
                    <a:gd name="connsiteX4" fmla="*/ 186119 w 925894"/>
                    <a:gd name="connsiteY4" fmla="*/ 238125 h 244781"/>
                    <a:gd name="connsiteX5" fmla="*/ 459169 w 925894"/>
                    <a:gd name="connsiteY5" fmla="*/ 241300 h 244781"/>
                    <a:gd name="connsiteX6" fmla="*/ 716344 w 925894"/>
                    <a:gd name="connsiteY6" fmla="*/ 241300 h 244781"/>
                    <a:gd name="connsiteX7" fmla="*/ 779844 w 925894"/>
                    <a:gd name="connsiteY7" fmla="*/ 231775 h 244781"/>
                    <a:gd name="connsiteX8" fmla="*/ 805244 w 925894"/>
                    <a:gd name="connsiteY8" fmla="*/ 228600 h 244781"/>
                    <a:gd name="connsiteX9" fmla="*/ 849694 w 925894"/>
                    <a:gd name="connsiteY9" fmla="*/ 222250 h 244781"/>
                    <a:gd name="connsiteX10" fmla="*/ 875094 w 925894"/>
                    <a:gd name="connsiteY10" fmla="*/ 215900 h 244781"/>
                    <a:gd name="connsiteX11" fmla="*/ 884619 w 925894"/>
                    <a:gd name="connsiteY11" fmla="*/ 212725 h 244781"/>
                    <a:gd name="connsiteX12" fmla="*/ 910019 w 925894"/>
                    <a:gd name="connsiteY12" fmla="*/ 203200 h 244781"/>
                    <a:gd name="connsiteX13" fmla="*/ 925894 w 925894"/>
                    <a:gd name="connsiteY13" fmla="*/ 184150 h 244781"/>
                    <a:gd name="connsiteX14" fmla="*/ 824294 w 925894"/>
                    <a:gd name="connsiteY14" fmla="*/ 174625 h 244781"/>
                    <a:gd name="connsiteX15" fmla="*/ 789369 w 925894"/>
                    <a:gd name="connsiteY15" fmla="*/ 155575 h 244781"/>
                    <a:gd name="connsiteX16" fmla="*/ 776669 w 925894"/>
                    <a:gd name="connsiteY16" fmla="*/ 152400 h 244781"/>
                    <a:gd name="connsiteX17" fmla="*/ 767144 w 925894"/>
                    <a:gd name="connsiteY17" fmla="*/ 142875 h 244781"/>
                    <a:gd name="connsiteX18" fmla="*/ 757619 w 925894"/>
                    <a:gd name="connsiteY18" fmla="*/ 136525 h 244781"/>
                    <a:gd name="connsiteX19" fmla="*/ 751269 w 925894"/>
                    <a:gd name="connsiteY19" fmla="*/ 127000 h 244781"/>
                    <a:gd name="connsiteX20" fmla="*/ 735394 w 925894"/>
                    <a:gd name="connsiteY20" fmla="*/ 114300 h 244781"/>
                    <a:gd name="connsiteX21" fmla="*/ 716344 w 925894"/>
                    <a:gd name="connsiteY21" fmla="*/ 95250 h 244781"/>
                    <a:gd name="connsiteX22" fmla="*/ 697294 w 925894"/>
                    <a:gd name="connsiteY22" fmla="*/ 82550 h 244781"/>
                    <a:gd name="connsiteX23" fmla="*/ 687769 w 925894"/>
                    <a:gd name="connsiteY23" fmla="*/ 73025 h 244781"/>
                    <a:gd name="connsiteX24" fmla="*/ 671894 w 925894"/>
                    <a:gd name="connsiteY24" fmla="*/ 63500 h 244781"/>
                    <a:gd name="connsiteX25" fmla="*/ 652844 w 925894"/>
                    <a:gd name="connsiteY25" fmla="*/ 50800 h 244781"/>
                    <a:gd name="connsiteX26" fmla="*/ 640144 w 925894"/>
                    <a:gd name="connsiteY26" fmla="*/ 44450 h 244781"/>
                    <a:gd name="connsiteX27" fmla="*/ 627444 w 925894"/>
                    <a:gd name="connsiteY27" fmla="*/ 34925 h 244781"/>
                    <a:gd name="connsiteX28" fmla="*/ 617919 w 925894"/>
                    <a:gd name="connsiteY28" fmla="*/ 31750 h 244781"/>
                    <a:gd name="connsiteX29" fmla="*/ 589344 w 925894"/>
                    <a:gd name="connsiteY29" fmla="*/ 12700 h 244781"/>
                    <a:gd name="connsiteX30" fmla="*/ 570294 w 925894"/>
                    <a:gd name="connsiteY30" fmla="*/ 6350 h 244781"/>
                    <a:gd name="connsiteX31" fmla="*/ 541719 w 925894"/>
                    <a:gd name="connsiteY31" fmla="*/ 3175 h 244781"/>
                    <a:gd name="connsiteX32" fmla="*/ 522669 w 925894"/>
                    <a:gd name="connsiteY32" fmla="*/ 0 h 244781"/>
                    <a:gd name="connsiteX33" fmla="*/ 398844 w 925894"/>
                    <a:gd name="connsiteY33" fmla="*/ 3175 h 244781"/>
                    <a:gd name="connsiteX34" fmla="*/ 370269 w 925894"/>
                    <a:gd name="connsiteY34" fmla="*/ 15875 h 244781"/>
                    <a:gd name="connsiteX35" fmla="*/ 354394 w 925894"/>
                    <a:gd name="connsiteY35" fmla="*/ 22225 h 244781"/>
                    <a:gd name="connsiteX36" fmla="*/ 344869 w 925894"/>
                    <a:gd name="connsiteY36" fmla="*/ 28575 h 244781"/>
                    <a:gd name="connsiteX37" fmla="*/ 319469 w 925894"/>
                    <a:gd name="connsiteY37" fmla="*/ 41275 h 244781"/>
                    <a:gd name="connsiteX38" fmla="*/ 303594 w 925894"/>
                    <a:gd name="connsiteY38" fmla="*/ 47625 h 244781"/>
                    <a:gd name="connsiteX39" fmla="*/ 290894 w 925894"/>
                    <a:gd name="connsiteY39" fmla="*/ 57150 h 244781"/>
                    <a:gd name="connsiteX40" fmla="*/ 265494 w 925894"/>
                    <a:gd name="connsiteY40" fmla="*/ 69850 h 244781"/>
                    <a:gd name="connsiteX41" fmla="*/ 249619 w 925894"/>
                    <a:gd name="connsiteY41" fmla="*/ 79375 h 244781"/>
                    <a:gd name="connsiteX42" fmla="*/ 211519 w 925894"/>
                    <a:gd name="connsiteY42" fmla="*/ 104775 h 244781"/>
                    <a:gd name="connsiteX43" fmla="*/ 195644 w 925894"/>
                    <a:gd name="connsiteY43" fmla="*/ 117475 h 244781"/>
                    <a:gd name="connsiteX44" fmla="*/ 179769 w 925894"/>
                    <a:gd name="connsiteY44" fmla="*/ 127000 h 244781"/>
                    <a:gd name="connsiteX45" fmla="*/ 167069 w 925894"/>
                    <a:gd name="connsiteY45" fmla="*/ 139700 h 244781"/>
                    <a:gd name="connsiteX46" fmla="*/ 151194 w 925894"/>
                    <a:gd name="connsiteY46" fmla="*/ 146050 h 244781"/>
                    <a:gd name="connsiteX47" fmla="*/ 138494 w 925894"/>
                    <a:gd name="connsiteY47" fmla="*/ 152400 h 244781"/>
                    <a:gd name="connsiteX48" fmla="*/ 122619 w 925894"/>
                    <a:gd name="connsiteY48" fmla="*/ 158750 h 244781"/>
                    <a:gd name="connsiteX49" fmla="*/ 113094 w 925894"/>
                    <a:gd name="connsiteY49" fmla="*/ 165100 h 244781"/>
                    <a:gd name="connsiteX50" fmla="*/ 46419 w 925894"/>
                    <a:gd name="connsiteY50" fmla="*/ 171450 h 244781"/>
                    <a:gd name="connsiteX51" fmla="*/ 36894 w 925894"/>
                    <a:gd name="connsiteY51" fmla="*/ 174625 h 244781"/>
                    <a:gd name="connsiteX52" fmla="*/ 11494 w 925894"/>
                    <a:gd name="connsiteY52" fmla="*/ 180975 h 244781"/>
                    <a:gd name="connsiteX53" fmla="*/ 5144 w 925894"/>
                    <a:gd name="connsiteY53" fmla="*/ 209550 h 244781"/>
                    <a:gd name="connsiteX54" fmla="*/ 27369 w 925894"/>
                    <a:gd name="connsiteY54" fmla="*/ 219075 h 244781"/>
                    <a:gd name="connsiteX55" fmla="*/ 21019 w 925894"/>
                    <a:gd name="connsiteY55" fmla="*/ 215900 h 2447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</a:cxnLst>
                  <a:rect l="l" t="t" r="r" b="b"/>
                  <a:pathLst>
                    <a:path w="925894" h="244781">
                      <a:moveTo>
                        <a:pt x="21019" y="215900"/>
                      </a:moveTo>
                      <a:lnTo>
                        <a:pt x="21019" y="215900"/>
                      </a:lnTo>
                      <a:cubicBezTo>
                        <a:pt x="105946" y="230887"/>
                        <a:pt x="44361" y="221576"/>
                        <a:pt x="109919" y="228600"/>
                      </a:cubicBezTo>
                      <a:cubicBezTo>
                        <a:pt x="127932" y="230530"/>
                        <a:pt x="145918" y="232703"/>
                        <a:pt x="163894" y="234950"/>
                      </a:cubicBezTo>
                      <a:cubicBezTo>
                        <a:pt x="171320" y="235878"/>
                        <a:pt x="178637" y="237964"/>
                        <a:pt x="186119" y="238125"/>
                      </a:cubicBezTo>
                      <a:lnTo>
                        <a:pt x="459169" y="241300"/>
                      </a:lnTo>
                      <a:cubicBezTo>
                        <a:pt x="557346" y="244027"/>
                        <a:pt x="615030" y="247535"/>
                        <a:pt x="716344" y="241300"/>
                      </a:cubicBezTo>
                      <a:cubicBezTo>
                        <a:pt x="737707" y="239985"/>
                        <a:pt x="758656" y="234802"/>
                        <a:pt x="779844" y="231775"/>
                      </a:cubicBezTo>
                      <a:cubicBezTo>
                        <a:pt x="788291" y="230568"/>
                        <a:pt x="796797" y="229807"/>
                        <a:pt x="805244" y="228600"/>
                      </a:cubicBezTo>
                      <a:cubicBezTo>
                        <a:pt x="869332" y="219445"/>
                        <a:pt x="769366" y="232291"/>
                        <a:pt x="849694" y="222250"/>
                      </a:cubicBezTo>
                      <a:cubicBezTo>
                        <a:pt x="871467" y="214992"/>
                        <a:pt x="844443" y="223563"/>
                        <a:pt x="875094" y="215900"/>
                      </a:cubicBezTo>
                      <a:cubicBezTo>
                        <a:pt x="878341" y="215088"/>
                        <a:pt x="881401" y="213644"/>
                        <a:pt x="884619" y="212725"/>
                      </a:cubicBezTo>
                      <a:cubicBezTo>
                        <a:pt x="895698" y="209560"/>
                        <a:pt x="900155" y="210246"/>
                        <a:pt x="910019" y="203200"/>
                      </a:cubicBezTo>
                      <a:cubicBezTo>
                        <a:pt x="917797" y="197644"/>
                        <a:pt x="920831" y="191745"/>
                        <a:pt x="925894" y="184150"/>
                      </a:cubicBezTo>
                      <a:cubicBezTo>
                        <a:pt x="888561" y="159261"/>
                        <a:pt x="938340" y="190037"/>
                        <a:pt x="824294" y="174625"/>
                      </a:cubicBezTo>
                      <a:cubicBezTo>
                        <a:pt x="796282" y="170840"/>
                        <a:pt x="806447" y="162894"/>
                        <a:pt x="789369" y="155575"/>
                      </a:cubicBezTo>
                      <a:cubicBezTo>
                        <a:pt x="785358" y="153856"/>
                        <a:pt x="780902" y="153458"/>
                        <a:pt x="776669" y="152400"/>
                      </a:cubicBezTo>
                      <a:cubicBezTo>
                        <a:pt x="773494" y="149225"/>
                        <a:pt x="770593" y="145750"/>
                        <a:pt x="767144" y="142875"/>
                      </a:cubicBezTo>
                      <a:cubicBezTo>
                        <a:pt x="764213" y="140432"/>
                        <a:pt x="760317" y="139223"/>
                        <a:pt x="757619" y="136525"/>
                      </a:cubicBezTo>
                      <a:cubicBezTo>
                        <a:pt x="754921" y="133827"/>
                        <a:pt x="753967" y="129698"/>
                        <a:pt x="751269" y="127000"/>
                      </a:cubicBezTo>
                      <a:cubicBezTo>
                        <a:pt x="746477" y="122208"/>
                        <a:pt x="740408" y="118858"/>
                        <a:pt x="735394" y="114300"/>
                      </a:cubicBezTo>
                      <a:cubicBezTo>
                        <a:pt x="728749" y="108259"/>
                        <a:pt x="723816" y="100231"/>
                        <a:pt x="716344" y="95250"/>
                      </a:cubicBezTo>
                      <a:cubicBezTo>
                        <a:pt x="709994" y="91017"/>
                        <a:pt x="702690" y="87946"/>
                        <a:pt x="697294" y="82550"/>
                      </a:cubicBezTo>
                      <a:cubicBezTo>
                        <a:pt x="694119" y="79375"/>
                        <a:pt x="691361" y="75719"/>
                        <a:pt x="687769" y="73025"/>
                      </a:cubicBezTo>
                      <a:cubicBezTo>
                        <a:pt x="682832" y="69322"/>
                        <a:pt x="677100" y="66813"/>
                        <a:pt x="671894" y="63500"/>
                      </a:cubicBezTo>
                      <a:cubicBezTo>
                        <a:pt x="665455" y="59403"/>
                        <a:pt x="659670" y="54213"/>
                        <a:pt x="652844" y="50800"/>
                      </a:cubicBezTo>
                      <a:cubicBezTo>
                        <a:pt x="648611" y="48683"/>
                        <a:pt x="644158" y="46958"/>
                        <a:pt x="640144" y="44450"/>
                      </a:cubicBezTo>
                      <a:cubicBezTo>
                        <a:pt x="635657" y="41645"/>
                        <a:pt x="632038" y="37550"/>
                        <a:pt x="627444" y="34925"/>
                      </a:cubicBezTo>
                      <a:cubicBezTo>
                        <a:pt x="624538" y="33265"/>
                        <a:pt x="620810" y="33436"/>
                        <a:pt x="617919" y="31750"/>
                      </a:cubicBezTo>
                      <a:cubicBezTo>
                        <a:pt x="608031" y="25982"/>
                        <a:pt x="600204" y="16320"/>
                        <a:pt x="589344" y="12700"/>
                      </a:cubicBezTo>
                      <a:cubicBezTo>
                        <a:pt x="582994" y="10583"/>
                        <a:pt x="576858" y="7663"/>
                        <a:pt x="570294" y="6350"/>
                      </a:cubicBezTo>
                      <a:cubicBezTo>
                        <a:pt x="560896" y="4470"/>
                        <a:pt x="551219" y="4442"/>
                        <a:pt x="541719" y="3175"/>
                      </a:cubicBezTo>
                      <a:cubicBezTo>
                        <a:pt x="535338" y="2324"/>
                        <a:pt x="529019" y="1058"/>
                        <a:pt x="522669" y="0"/>
                      </a:cubicBezTo>
                      <a:cubicBezTo>
                        <a:pt x="481394" y="1058"/>
                        <a:pt x="440041" y="429"/>
                        <a:pt x="398844" y="3175"/>
                      </a:cubicBezTo>
                      <a:cubicBezTo>
                        <a:pt x="379941" y="4435"/>
                        <a:pt x="383216" y="9402"/>
                        <a:pt x="370269" y="15875"/>
                      </a:cubicBezTo>
                      <a:cubicBezTo>
                        <a:pt x="365171" y="18424"/>
                        <a:pt x="359492" y="19676"/>
                        <a:pt x="354394" y="22225"/>
                      </a:cubicBezTo>
                      <a:cubicBezTo>
                        <a:pt x="350981" y="23932"/>
                        <a:pt x="348219" y="26748"/>
                        <a:pt x="344869" y="28575"/>
                      </a:cubicBezTo>
                      <a:cubicBezTo>
                        <a:pt x="336559" y="33108"/>
                        <a:pt x="328258" y="37759"/>
                        <a:pt x="319469" y="41275"/>
                      </a:cubicBezTo>
                      <a:cubicBezTo>
                        <a:pt x="314177" y="43392"/>
                        <a:pt x="308576" y="44857"/>
                        <a:pt x="303594" y="47625"/>
                      </a:cubicBezTo>
                      <a:cubicBezTo>
                        <a:pt x="298968" y="50195"/>
                        <a:pt x="295465" y="54484"/>
                        <a:pt x="290894" y="57150"/>
                      </a:cubicBezTo>
                      <a:cubicBezTo>
                        <a:pt x="282717" y="61920"/>
                        <a:pt x="273611" y="64980"/>
                        <a:pt x="265494" y="69850"/>
                      </a:cubicBezTo>
                      <a:cubicBezTo>
                        <a:pt x="260202" y="73025"/>
                        <a:pt x="254641" y="75788"/>
                        <a:pt x="249619" y="79375"/>
                      </a:cubicBezTo>
                      <a:cubicBezTo>
                        <a:pt x="213199" y="105389"/>
                        <a:pt x="233935" y="97303"/>
                        <a:pt x="211519" y="104775"/>
                      </a:cubicBezTo>
                      <a:cubicBezTo>
                        <a:pt x="206227" y="109008"/>
                        <a:pt x="201196" y="113589"/>
                        <a:pt x="195644" y="117475"/>
                      </a:cubicBezTo>
                      <a:cubicBezTo>
                        <a:pt x="190588" y="121014"/>
                        <a:pt x="184640" y="123211"/>
                        <a:pt x="179769" y="127000"/>
                      </a:cubicBezTo>
                      <a:cubicBezTo>
                        <a:pt x="175043" y="130676"/>
                        <a:pt x="172050" y="136379"/>
                        <a:pt x="167069" y="139700"/>
                      </a:cubicBezTo>
                      <a:cubicBezTo>
                        <a:pt x="162327" y="142861"/>
                        <a:pt x="156402" y="143735"/>
                        <a:pt x="151194" y="146050"/>
                      </a:cubicBezTo>
                      <a:cubicBezTo>
                        <a:pt x="146869" y="147972"/>
                        <a:pt x="142819" y="150478"/>
                        <a:pt x="138494" y="152400"/>
                      </a:cubicBezTo>
                      <a:cubicBezTo>
                        <a:pt x="133286" y="154715"/>
                        <a:pt x="127717" y="156201"/>
                        <a:pt x="122619" y="158750"/>
                      </a:cubicBezTo>
                      <a:cubicBezTo>
                        <a:pt x="119206" y="160457"/>
                        <a:pt x="116714" y="163893"/>
                        <a:pt x="113094" y="165100"/>
                      </a:cubicBezTo>
                      <a:cubicBezTo>
                        <a:pt x="100065" y="169443"/>
                        <a:pt x="46800" y="171425"/>
                        <a:pt x="46419" y="171450"/>
                      </a:cubicBezTo>
                      <a:cubicBezTo>
                        <a:pt x="43244" y="172508"/>
                        <a:pt x="40123" y="173744"/>
                        <a:pt x="36894" y="174625"/>
                      </a:cubicBezTo>
                      <a:cubicBezTo>
                        <a:pt x="28474" y="176921"/>
                        <a:pt x="11494" y="180975"/>
                        <a:pt x="11494" y="180975"/>
                      </a:cubicBezTo>
                      <a:cubicBezTo>
                        <a:pt x="2036" y="190433"/>
                        <a:pt x="-5391" y="192693"/>
                        <a:pt x="5144" y="209550"/>
                      </a:cubicBezTo>
                      <a:cubicBezTo>
                        <a:pt x="6985" y="212495"/>
                        <a:pt x="23149" y="217869"/>
                        <a:pt x="27369" y="219075"/>
                      </a:cubicBezTo>
                      <a:cubicBezTo>
                        <a:pt x="31565" y="220274"/>
                        <a:pt x="22077" y="216429"/>
                        <a:pt x="21019" y="215900"/>
                      </a:cubicBezTo>
                      <a:close/>
                    </a:path>
                  </a:pathLst>
                </a:custGeom>
                <a:solidFill>
                  <a:srgbClr val="B5D820"/>
                </a:solidFill>
                <a:ln w="12700" cap="flat" cmpd="sng" algn="ctr">
                  <a:solidFill>
                    <a:srgbClr val="B5D820">
                      <a:lumMod val="75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>
                    <a:defRPr/>
                  </a:pPr>
                  <a:endParaRPr lang="en-US" kern="0">
                    <a:solidFill>
                      <a:srgbClr val="FFFFFF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863" name="Oval 862">
                  <a:extLst>
                    <a:ext uri="{FF2B5EF4-FFF2-40B4-BE49-F238E27FC236}">
                      <a16:creationId xmlns:a16="http://schemas.microsoft.com/office/drawing/2014/main" id="{98900892-74A5-5310-907F-1D0F36C40E22}"/>
                    </a:ext>
                  </a:extLst>
                </p:cNvPr>
                <p:cNvSpPr/>
                <p:nvPr/>
              </p:nvSpPr>
              <p:spPr>
                <a:xfrm>
                  <a:off x="9986336" y="4396166"/>
                  <a:ext cx="188865" cy="116426"/>
                </a:xfrm>
                <a:prstGeom prst="ellipse">
                  <a:avLst/>
                </a:prstGeom>
                <a:solidFill>
                  <a:srgbClr val="B5D820">
                    <a:lumMod val="50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>
                    <a:defRPr/>
                  </a:pPr>
                  <a:endParaRPr lang="en-US" kern="0">
                    <a:solidFill>
                      <a:srgbClr val="FFFFFF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864" name="Group 863">
                <a:extLst>
                  <a:ext uri="{FF2B5EF4-FFF2-40B4-BE49-F238E27FC236}">
                    <a16:creationId xmlns:a16="http://schemas.microsoft.com/office/drawing/2014/main" id="{337FCAB7-8AC5-8015-2D32-518943034230}"/>
                  </a:ext>
                </a:extLst>
              </p:cNvPr>
              <p:cNvGrpSpPr/>
              <p:nvPr/>
            </p:nvGrpSpPr>
            <p:grpSpPr>
              <a:xfrm rot="3792910">
                <a:off x="4434824" y="2622058"/>
                <a:ext cx="189928" cy="70302"/>
                <a:chOff x="9602406" y="4324350"/>
                <a:chExt cx="925894" cy="244781"/>
              </a:xfrm>
            </p:grpSpPr>
            <p:sp>
              <p:nvSpPr>
                <p:cNvPr id="865" name="Freeform: Shape 3319">
                  <a:extLst>
                    <a:ext uri="{FF2B5EF4-FFF2-40B4-BE49-F238E27FC236}">
                      <a16:creationId xmlns:a16="http://schemas.microsoft.com/office/drawing/2014/main" id="{4F766A1B-940B-221E-C261-5C41F2B4F486}"/>
                    </a:ext>
                  </a:extLst>
                </p:cNvPr>
                <p:cNvSpPr/>
                <p:nvPr/>
              </p:nvSpPr>
              <p:spPr>
                <a:xfrm>
                  <a:off x="9602406" y="4324350"/>
                  <a:ext cx="925894" cy="244781"/>
                </a:xfrm>
                <a:custGeom>
                  <a:avLst/>
                  <a:gdLst>
                    <a:gd name="connsiteX0" fmla="*/ 21019 w 925894"/>
                    <a:gd name="connsiteY0" fmla="*/ 215900 h 244781"/>
                    <a:gd name="connsiteX1" fmla="*/ 21019 w 925894"/>
                    <a:gd name="connsiteY1" fmla="*/ 215900 h 244781"/>
                    <a:gd name="connsiteX2" fmla="*/ 109919 w 925894"/>
                    <a:gd name="connsiteY2" fmla="*/ 228600 h 244781"/>
                    <a:gd name="connsiteX3" fmla="*/ 163894 w 925894"/>
                    <a:gd name="connsiteY3" fmla="*/ 234950 h 244781"/>
                    <a:gd name="connsiteX4" fmla="*/ 186119 w 925894"/>
                    <a:gd name="connsiteY4" fmla="*/ 238125 h 244781"/>
                    <a:gd name="connsiteX5" fmla="*/ 459169 w 925894"/>
                    <a:gd name="connsiteY5" fmla="*/ 241300 h 244781"/>
                    <a:gd name="connsiteX6" fmla="*/ 716344 w 925894"/>
                    <a:gd name="connsiteY6" fmla="*/ 241300 h 244781"/>
                    <a:gd name="connsiteX7" fmla="*/ 779844 w 925894"/>
                    <a:gd name="connsiteY7" fmla="*/ 231775 h 244781"/>
                    <a:gd name="connsiteX8" fmla="*/ 805244 w 925894"/>
                    <a:gd name="connsiteY8" fmla="*/ 228600 h 244781"/>
                    <a:gd name="connsiteX9" fmla="*/ 849694 w 925894"/>
                    <a:gd name="connsiteY9" fmla="*/ 222250 h 244781"/>
                    <a:gd name="connsiteX10" fmla="*/ 875094 w 925894"/>
                    <a:gd name="connsiteY10" fmla="*/ 215900 h 244781"/>
                    <a:gd name="connsiteX11" fmla="*/ 884619 w 925894"/>
                    <a:gd name="connsiteY11" fmla="*/ 212725 h 244781"/>
                    <a:gd name="connsiteX12" fmla="*/ 910019 w 925894"/>
                    <a:gd name="connsiteY12" fmla="*/ 203200 h 244781"/>
                    <a:gd name="connsiteX13" fmla="*/ 925894 w 925894"/>
                    <a:gd name="connsiteY13" fmla="*/ 184150 h 244781"/>
                    <a:gd name="connsiteX14" fmla="*/ 824294 w 925894"/>
                    <a:gd name="connsiteY14" fmla="*/ 174625 h 244781"/>
                    <a:gd name="connsiteX15" fmla="*/ 789369 w 925894"/>
                    <a:gd name="connsiteY15" fmla="*/ 155575 h 244781"/>
                    <a:gd name="connsiteX16" fmla="*/ 776669 w 925894"/>
                    <a:gd name="connsiteY16" fmla="*/ 152400 h 244781"/>
                    <a:gd name="connsiteX17" fmla="*/ 767144 w 925894"/>
                    <a:gd name="connsiteY17" fmla="*/ 142875 h 244781"/>
                    <a:gd name="connsiteX18" fmla="*/ 757619 w 925894"/>
                    <a:gd name="connsiteY18" fmla="*/ 136525 h 244781"/>
                    <a:gd name="connsiteX19" fmla="*/ 751269 w 925894"/>
                    <a:gd name="connsiteY19" fmla="*/ 127000 h 244781"/>
                    <a:gd name="connsiteX20" fmla="*/ 735394 w 925894"/>
                    <a:gd name="connsiteY20" fmla="*/ 114300 h 244781"/>
                    <a:gd name="connsiteX21" fmla="*/ 716344 w 925894"/>
                    <a:gd name="connsiteY21" fmla="*/ 95250 h 244781"/>
                    <a:gd name="connsiteX22" fmla="*/ 697294 w 925894"/>
                    <a:gd name="connsiteY22" fmla="*/ 82550 h 244781"/>
                    <a:gd name="connsiteX23" fmla="*/ 687769 w 925894"/>
                    <a:gd name="connsiteY23" fmla="*/ 73025 h 244781"/>
                    <a:gd name="connsiteX24" fmla="*/ 671894 w 925894"/>
                    <a:gd name="connsiteY24" fmla="*/ 63500 h 244781"/>
                    <a:gd name="connsiteX25" fmla="*/ 652844 w 925894"/>
                    <a:gd name="connsiteY25" fmla="*/ 50800 h 244781"/>
                    <a:gd name="connsiteX26" fmla="*/ 640144 w 925894"/>
                    <a:gd name="connsiteY26" fmla="*/ 44450 h 244781"/>
                    <a:gd name="connsiteX27" fmla="*/ 627444 w 925894"/>
                    <a:gd name="connsiteY27" fmla="*/ 34925 h 244781"/>
                    <a:gd name="connsiteX28" fmla="*/ 617919 w 925894"/>
                    <a:gd name="connsiteY28" fmla="*/ 31750 h 244781"/>
                    <a:gd name="connsiteX29" fmla="*/ 589344 w 925894"/>
                    <a:gd name="connsiteY29" fmla="*/ 12700 h 244781"/>
                    <a:gd name="connsiteX30" fmla="*/ 570294 w 925894"/>
                    <a:gd name="connsiteY30" fmla="*/ 6350 h 244781"/>
                    <a:gd name="connsiteX31" fmla="*/ 541719 w 925894"/>
                    <a:gd name="connsiteY31" fmla="*/ 3175 h 244781"/>
                    <a:gd name="connsiteX32" fmla="*/ 522669 w 925894"/>
                    <a:gd name="connsiteY32" fmla="*/ 0 h 244781"/>
                    <a:gd name="connsiteX33" fmla="*/ 398844 w 925894"/>
                    <a:gd name="connsiteY33" fmla="*/ 3175 h 244781"/>
                    <a:gd name="connsiteX34" fmla="*/ 370269 w 925894"/>
                    <a:gd name="connsiteY34" fmla="*/ 15875 h 244781"/>
                    <a:gd name="connsiteX35" fmla="*/ 354394 w 925894"/>
                    <a:gd name="connsiteY35" fmla="*/ 22225 h 244781"/>
                    <a:gd name="connsiteX36" fmla="*/ 344869 w 925894"/>
                    <a:gd name="connsiteY36" fmla="*/ 28575 h 244781"/>
                    <a:gd name="connsiteX37" fmla="*/ 319469 w 925894"/>
                    <a:gd name="connsiteY37" fmla="*/ 41275 h 244781"/>
                    <a:gd name="connsiteX38" fmla="*/ 303594 w 925894"/>
                    <a:gd name="connsiteY38" fmla="*/ 47625 h 244781"/>
                    <a:gd name="connsiteX39" fmla="*/ 290894 w 925894"/>
                    <a:gd name="connsiteY39" fmla="*/ 57150 h 244781"/>
                    <a:gd name="connsiteX40" fmla="*/ 265494 w 925894"/>
                    <a:gd name="connsiteY40" fmla="*/ 69850 h 244781"/>
                    <a:gd name="connsiteX41" fmla="*/ 249619 w 925894"/>
                    <a:gd name="connsiteY41" fmla="*/ 79375 h 244781"/>
                    <a:gd name="connsiteX42" fmla="*/ 211519 w 925894"/>
                    <a:gd name="connsiteY42" fmla="*/ 104775 h 244781"/>
                    <a:gd name="connsiteX43" fmla="*/ 195644 w 925894"/>
                    <a:gd name="connsiteY43" fmla="*/ 117475 h 244781"/>
                    <a:gd name="connsiteX44" fmla="*/ 179769 w 925894"/>
                    <a:gd name="connsiteY44" fmla="*/ 127000 h 244781"/>
                    <a:gd name="connsiteX45" fmla="*/ 167069 w 925894"/>
                    <a:gd name="connsiteY45" fmla="*/ 139700 h 244781"/>
                    <a:gd name="connsiteX46" fmla="*/ 151194 w 925894"/>
                    <a:gd name="connsiteY46" fmla="*/ 146050 h 244781"/>
                    <a:gd name="connsiteX47" fmla="*/ 138494 w 925894"/>
                    <a:gd name="connsiteY47" fmla="*/ 152400 h 244781"/>
                    <a:gd name="connsiteX48" fmla="*/ 122619 w 925894"/>
                    <a:gd name="connsiteY48" fmla="*/ 158750 h 244781"/>
                    <a:gd name="connsiteX49" fmla="*/ 113094 w 925894"/>
                    <a:gd name="connsiteY49" fmla="*/ 165100 h 244781"/>
                    <a:gd name="connsiteX50" fmla="*/ 46419 w 925894"/>
                    <a:gd name="connsiteY50" fmla="*/ 171450 h 244781"/>
                    <a:gd name="connsiteX51" fmla="*/ 36894 w 925894"/>
                    <a:gd name="connsiteY51" fmla="*/ 174625 h 244781"/>
                    <a:gd name="connsiteX52" fmla="*/ 11494 w 925894"/>
                    <a:gd name="connsiteY52" fmla="*/ 180975 h 244781"/>
                    <a:gd name="connsiteX53" fmla="*/ 5144 w 925894"/>
                    <a:gd name="connsiteY53" fmla="*/ 209550 h 244781"/>
                    <a:gd name="connsiteX54" fmla="*/ 27369 w 925894"/>
                    <a:gd name="connsiteY54" fmla="*/ 219075 h 244781"/>
                    <a:gd name="connsiteX55" fmla="*/ 21019 w 925894"/>
                    <a:gd name="connsiteY55" fmla="*/ 215900 h 2447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</a:cxnLst>
                  <a:rect l="l" t="t" r="r" b="b"/>
                  <a:pathLst>
                    <a:path w="925894" h="244781">
                      <a:moveTo>
                        <a:pt x="21019" y="215900"/>
                      </a:moveTo>
                      <a:lnTo>
                        <a:pt x="21019" y="215900"/>
                      </a:lnTo>
                      <a:cubicBezTo>
                        <a:pt x="105946" y="230887"/>
                        <a:pt x="44361" y="221576"/>
                        <a:pt x="109919" y="228600"/>
                      </a:cubicBezTo>
                      <a:cubicBezTo>
                        <a:pt x="127932" y="230530"/>
                        <a:pt x="145918" y="232703"/>
                        <a:pt x="163894" y="234950"/>
                      </a:cubicBezTo>
                      <a:cubicBezTo>
                        <a:pt x="171320" y="235878"/>
                        <a:pt x="178637" y="237964"/>
                        <a:pt x="186119" y="238125"/>
                      </a:cubicBezTo>
                      <a:lnTo>
                        <a:pt x="459169" y="241300"/>
                      </a:lnTo>
                      <a:cubicBezTo>
                        <a:pt x="557346" y="244027"/>
                        <a:pt x="615030" y="247535"/>
                        <a:pt x="716344" y="241300"/>
                      </a:cubicBezTo>
                      <a:cubicBezTo>
                        <a:pt x="737707" y="239985"/>
                        <a:pt x="758656" y="234802"/>
                        <a:pt x="779844" y="231775"/>
                      </a:cubicBezTo>
                      <a:cubicBezTo>
                        <a:pt x="788291" y="230568"/>
                        <a:pt x="796797" y="229807"/>
                        <a:pt x="805244" y="228600"/>
                      </a:cubicBezTo>
                      <a:cubicBezTo>
                        <a:pt x="869332" y="219445"/>
                        <a:pt x="769366" y="232291"/>
                        <a:pt x="849694" y="222250"/>
                      </a:cubicBezTo>
                      <a:cubicBezTo>
                        <a:pt x="871467" y="214992"/>
                        <a:pt x="844443" y="223563"/>
                        <a:pt x="875094" y="215900"/>
                      </a:cubicBezTo>
                      <a:cubicBezTo>
                        <a:pt x="878341" y="215088"/>
                        <a:pt x="881401" y="213644"/>
                        <a:pt x="884619" y="212725"/>
                      </a:cubicBezTo>
                      <a:cubicBezTo>
                        <a:pt x="895698" y="209560"/>
                        <a:pt x="900155" y="210246"/>
                        <a:pt x="910019" y="203200"/>
                      </a:cubicBezTo>
                      <a:cubicBezTo>
                        <a:pt x="917797" y="197644"/>
                        <a:pt x="920831" y="191745"/>
                        <a:pt x="925894" y="184150"/>
                      </a:cubicBezTo>
                      <a:cubicBezTo>
                        <a:pt x="888561" y="159261"/>
                        <a:pt x="938340" y="190037"/>
                        <a:pt x="824294" y="174625"/>
                      </a:cubicBezTo>
                      <a:cubicBezTo>
                        <a:pt x="796282" y="170840"/>
                        <a:pt x="806447" y="162894"/>
                        <a:pt x="789369" y="155575"/>
                      </a:cubicBezTo>
                      <a:cubicBezTo>
                        <a:pt x="785358" y="153856"/>
                        <a:pt x="780902" y="153458"/>
                        <a:pt x="776669" y="152400"/>
                      </a:cubicBezTo>
                      <a:cubicBezTo>
                        <a:pt x="773494" y="149225"/>
                        <a:pt x="770593" y="145750"/>
                        <a:pt x="767144" y="142875"/>
                      </a:cubicBezTo>
                      <a:cubicBezTo>
                        <a:pt x="764213" y="140432"/>
                        <a:pt x="760317" y="139223"/>
                        <a:pt x="757619" y="136525"/>
                      </a:cubicBezTo>
                      <a:cubicBezTo>
                        <a:pt x="754921" y="133827"/>
                        <a:pt x="753967" y="129698"/>
                        <a:pt x="751269" y="127000"/>
                      </a:cubicBezTo>
                      <a:cubicBezTo>
                        <a:pt x="746477" y="122208"/>
                        <a:pt x="740408" y="118858"/>
                        <a:pt x="735394" y="114300"/>
                      </a:cubicBezTo>
                      <a:cubicBezTo>
                        <a:pt x="728749" y="108259"/>
                        <a:pt x="723816" y="100231"/>
                        <a:pt x="716344" y="95250"/>
                      </a:cubicBezTo>
                      <a:cubicBezTo>
                        <a:pt x="709994" y="91017"/>
                        <a:pt x="702690" y="87946"/>
                        <a:pt x="697294" y="82550"/>
                      </a:cubicBezTo>
                      <a:cubicBezTo>
                        <a:pt x="694119" y="79375"/>
                        <a:pt x="691361" y="75719"/>
                        <a:pt x="687769" y="73025"/>
                      </a:cubicBezTo>
                      <a:cubicBezTo>
                        <a:pt x="682832" y="69322"/>
                        <a:pt x="677100" y="66813"/>
                        <a:pt x="671894" y="63500"/>
                      </a:cubicBezTo>
                      <a:cubicBezTo>
                        <a:pt x="665455" y="59403"/>
                        <a:pt x="659670" y="54213"/>
                        <a:pt x="652844" y="50800"/>
                      </a:cubicBezTo>
                      <a:cubicBezTo>
                        <a:pt x="648611" y="48683"/>
                        <a:pt x="644158" y="46958"/>
                        <a:pt x="640144" y="44450"/>
                      </a:cubicBezTo>
                      <a:cubicBezTo>
                        <a:pt x="635657" y="41645"/>
                        <a:pt x="632038" y="37550"/>
                        <a:pt x="627444" y="34925"/>
                      </a:cubicBezTo>
                      <a:cubicBezTo>
                        <a:pt x="624538" y="33265"/>
                        <a:pt x="620810" y="33436"/>
                        <a:pt x="617919" y="31750"/>
                      </a:cubicBezTo>
                      <a:cubicBezTo>
                        <a:pt x="608031" y="25982"/>
                        <a:pt x="600204" y="16320"/>
                        <a:pt x="589344" y="12700"/>
                      </a:cubicBezTo>
                      <a:cubicBezTo>
                        <a:pt x="582994" y="10583"/>
                        <a:pt x="576858" y="7663"/>
                        <a:pt x="570294" y="6350"/>
                      </a:cubicBezTo>
                      <a:cubicBezTo>
                        <a:pt x="560896" y="4470"/>
                        <a:pt x="551219" y="4442"/>
                        <a:pt x="541719" y="3175"/>
                      </a:cubicBezTo>
                      <a:cubicBezTo>
                        <a:pt x="535338" y="2324"/>
                        <a:pt x="529019" y="1058"/>
                        <a:pt x="522669" y="0"/>
                      </a:cubicBezTo>
                      <a:cubicBezTo>
                        <a:pt x="481394" y="1058"/>
                        <a:pt x="440041" y="429"/>
                        <a:pt x="398844" y="3175"/>
                      </a:cubicBezTo>
                      <a:cubicBezTo>
                        <a:pt x="379941" y="4435"/>
                        <a:pt x="383216" y="9402"/>
                        <a:pt x="370269" y="15875"/>
                      </a:cubicBezTo>
                      <a:cubicBezTo>
                        <a:pt x="365171" y="18424"/>
                        <a:pt x="359492" y="19676"/>
                        <a:pt x="354394" y="22225"/>
                      </a:cubicBezTo>
                      <a:cubicBezTo>
                        <a:pt x="350981" y="23932"/>
                        <a:pt x="348219" y="26748"/>
                        <a:pt x="344869" y="28575"/>
                      </a:cubicBezTo>
                      <a:cubicBezTo>
                        <a:pt x="336559" y="33108"/>
                        <a:pt x="328258" y="37759"/>
                        <a:pt x="319469" y="41275"/>
                      </a:cubicBezTo>
                      <a:cubicBezTo>
                        <a:pt x="314177" y="43392"/>
                        <a:pt x="308576" y="44857"/>
                        <a:pt x="303594" y="47625"/>
                      </a:cubicBezTo>
                      <a:cubicBezTo>
                        <a:pt x="298968" y="50195"/>
                        <a:pt x="295465" y="54484"/>
                        <a:pt x="290894" y="57150"/>
                      </a:cubicBezTo>
                      <a:cubicBezTo>
                        <a:pt x="282717" y="61920"/>
                        <a:pt x="273611" y="64980"/>
                        <a:pt x="265494" y="69850"/>
                      </a:cubicBezTo>
                      <a:cubicBezTo>
                        <a:pt x="260202" y="73025"/>
                        <a:pt x="254641" y="75788"/>
                        <a:pt x="249619" y="79375"/>
                      </a:cubicBezTo>
                      <a:cubicBezTo>
                        <a:pt x="213199" y="105389"/>
                        <a:pt x="233935" y="97303"/>
                        <a:pt x="211519" y="104775"/>
                      </a:cubicBezTo>
                      <a:cubicBezTo>
                        <a:pt x="206227" y="109008"/>
                        <a:pt x="201196" y="113589"/>
                        <a:pt x="195644" y="117475"/>
                      </a:cubicBezTo>
                      <a:cubicBezTo>
                        <a:pt x="190588" y="121014"/>
                        <a:pt x="184640" y="123211"/>
                        <a:pt x="179769" y="127000"/>
                      </a:cubicBezTo>
                      <a:cubicBezTo>
                        <a:pt x="175043" y="130676"/>
                        <a:pt x="172050" y="136379"/>
                        <a:pt x="167069" y="139700"/>
                      </a:cubicBezTo>
                      <a:cubicBezTo>
                        <a:pt x="162327" y="142861"/>
                        <a:pt x="156402" y="143735"/>
                        <a:pt x="151194" y="146050"/>
                      </a:cubicBezTo>
                      <a:cubicBezTo>
                        <a:pt x="146869" y="147972"/>
                        <a:pt x="142819" y="150478"/>
                        <a:pt x="138494" y="152400"/>
                      </a:cubicBezTo>
                      <a:cubicBezTo>
                        <a:pt x="133286" y="154715"/>
                        <a:pt x="127717" y="156201"/>
                        <a:pt x="122619" y="158750"/>
                      </a:cubicBezTo>
                      <a:cubicBezTo>
                        <a:pt x="119206" y="160457"/>
                        <a:pt x="116714" y="163893"/>
                        <a:pt x="113094" y="165100"/>
                      </a:cubicBezTo>
                      <a:cubicBezTo>
                        <a:pt x="100065" y="169443"/>
                        <a:pt x="46800" y="171425"/>
                        <a:pt x="46419" y="171450"/>
                      </a:cubicBezTo>
                      <a:cubicBezTo>
                        <a:pt x="43244" y="172508"/>
                        <a:pt x="40123" y="173744"/>
                        <a:pt x="36894" y="174625"/>
                      </a:cubicBezTo>
                      <a:cubicBezTo>
                        <a:pt x="28474" y="176921"/>
                        <a:pt x="11494" y="180975"/>
                        <a:pt x="11494" y="180975"/>
                      </a:cubicBezTo>
                      <a:cubicBezTo>
                        <a:pt x="2036" y="190433"/>
                        <a:pt x="-5391" y="192693"/>
                        <a:pt x="5144" y="209550"/>
                      </a:cubicBezTo>
                      <a:cubicBezTo>
                        <a:pt x="6985" y="212495"/>
                        <a:pt x="23149" y="217869"/>
                        <a:pt x="27369" y="219075"/>
                      </a:cubicBezTo>
                      <a:cubicBezTo>
                        <a:pt x="31565" y="220274"/>
                        <a:pt x="22077" y="216429"/>
                        <a:pt x="21019" y="215900"/>
                      </a:cubicBezTo>
                      <a:close/>
                    </a:path>
                  </a:pathLst>
                </a:custGeom>
                <a:solidFill>
                  <a:srgbClr val="B5D820"/>
                </a:solidFill>
                <a:ln w="12700" cap="flat" cmpd="sng" algn="ctr">
                  <a:solidFill>
                    <a:srgbClr val="B5D820">
                      <a:lumMod val="75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>
                    <a:defRPr/>
                  </a:pPr>
                  <a:endParaRPr lang="en-US" kern="0">
                    <a:solidFill>
                      <a:srgbClr val="FFFFFF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866" name="Oval 865">
                  <a:extLst>
                    <a:ext uri="{FF2B5EF4-FFF2-40B4-BE49-F238E27FC236}">
                      <a16:creationId xmlns:a16="http://schemas.microsoft.com/office/drawing/2014/main" id="{776A820F-B317-B964-CC90-055F7B6715B7}"/>
                    </a:ext>
                  </a:extLst>
                </p:cNvPr>
                <p:cNvSpPr/>
                <p:nvPr/>
              </p:nvSpPr>
              <p:spPr>
                <a:xfrm>
                  <a:off x="9986336" y="4396166"/>
                  <a:ext cx="188865" cy="116426"/>
                </a:xfrm>
                <a:prstGeom prst="ellipse">
                  <a:avLst/>
                </a:prstGeom>
                <a:solidFill>
                  <a:srgbClr val="B5D820">
                    <a:lumMod val="50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>
                    <a:defRPr/>
                  </a:pPr>
                  <a:endParaRPr lang="en-US" kern="0">
                    <a:solidFill>
                      <a:srgbClr val="FFFFFF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867" name="Group 866">
                <a:extLst>
                  <a:ext uri="{FF2B5EF4-FFF2-40B4-BE49-F238E27FC236}">
                    <a16:creationId xmlns:a16="http://schemas.microsoft.com/office/drawing/2014/main" id="{0895C9A5-BDCE-A60A-F89C-84F0C9CD6DE0}"/>
                  </a:ext>
                </a:extLst>
              </p:cNvPr>
              <p:cNvGrpSpPr/>
              <p:nvPr/>
            </p:nvGrpSpPr>
            <p:grpSpPr>
              <a:xfrm rot="14990532">
                <a:off x="2948142" y="4091832"/>
                <a:ext cx="189928" cy="70302"/>
                <a:chOff x="9602406" y="4324350"/>
                <a:chExt cx="925894" cy="244781"/>
              </a:xfrm>
            </p:grpSpPr>
            <p:sp>
              <p:nvSpPr>
                <p:cNvPr id="868" name="Freeform: Shape 3317">
                  <a:extLst>
                    <a:ext uri="{FF2B5EF4-FFF2-40B4-BE49-F238E27FC236}">
                      <a16:creationId xmlns:a16="http://schemas.microsoft.com/office/drawing/2014/main" id="{110861A7-5A3B-AB41-76CF-F69CECB785A3}"/>
                    </a:ext>
                  </a:extLst>
                </p:cNvPr>
                <p:cNvSpPr/>
                <p:nvPr/>
              </p:nvSpPr>
              <p:spPr>
                <a:xfrm>
                  <a:off x="9602406" y="4324350"/>
                  <a:ext cx="925894" cy="244781"/>
                </a:xfrm>
                <a:custGeom>
                  <a:avLst/>
                  <a:gdLst>
                    <a:gd name="connsiteX0" fmla="*/ 21019 w 925894"/>
                    <a:gd name="connsiteY0" fmla="*/ 215900 h 244781"/>
                    <a:gd name="connsiteX1" fmla="*/ 21019 w 925894"/>
                    <a:gd name="connsiteY1" fmla="*/ 215900 h 244781"/>
                    <a:gd name="connsiteX2" fmla="*/ 109919 w 925894"/>
                    <a:gd name="connsiteY2" fmla="*/ 228600 h 244781"/>
                    <a:gd name="connsiteX3" fmla="*/ 163894 w 925894"/>
                    <a:gd name="connsiteY3" fmla="*/ 234950 h 244781"/>
                    <a:gd name="connsiteX4" fmla="*/ 186119 w 925894"/>
                    <a:gd name="connsiteY4" fmla="*/ 238125 h 244781"/>
                    <a:gd name="connsiteX5" fmla="*/ 459169 w 925894"/>
                    <a:gd name="connsiteY5" fmla="*/ 241300 h 244781"/>
                    <a:gd name="connsiteX6" fmla="*/ 716344 w 925894"/>
                    <a:gd name="connsiteY6" fmla="*/ 241300 h 244781"/>
                    <a:gd name="connsiteX7" fmla="*/ 779844 w 925894"/>
                    <a:gd name="connsiteY7" fmla="*/ 231775 h 244781"/>
                    <a:gd name="connsiteX8" fmla="*/ 805244 w 925894"/>
                    <a:gd name="connsiteY8" fmla="*/ 228600 h 244781"/>
                    <a:gd name="connsiteX9" fmla="*/ 849694 w 925894"/>
                    <a:gd name="connsiteY9" fmla="*/ 222250 h 244781"/>
                    <a:gd name="connsiteX10" fmla="*/ 875094 w 925894"/>
                    <a:gd name="connsiteY10" fmla="*/ 215900 h 244781"/>
                    <a:gd name="connsiteX11" fmla="*/ 884619 w 925894"/>
                    <a:gd name="connsiteY11" fmla="*/ 212725 h 244781"/>
                    <a:gd name="connsiteX12" fmla="*/ 910019 w 925894"/>
                    <a:gd name="connsiteY12" fmla="*/ 203200 h 244781"/>
                    <a:gd name="connsiteX13" fmla="*/ 925894 w 925894"/>
                    <a:gd name="connsiteY13" fmla="*/ 184150 h 244781"/>
                    <a:gd name="connsiteX14" fmla="*/ 824294 w 925894"/>
                    <a:gd name="connsiteY14" fmla="*/ 174625 h 244781"/>
                    <a:gd name="connsiteX15" fmla="*/ 789369 w 925894"/>
                    <a:gd name="connsiteY15" fmla="*/ 155575 h 244781"/>
                    <a:gd name="connsiteX16" fmla="*/ 776669 w 925894"/>
                    <a:gd name="connsiteY16" fmla="*/ 152400 h 244781"/>
                    <a:gd name="connsiteX17" fmla="*/ 767144 w 925894"/>
                    <a:gd name="connsiteY17" fmla="*/ 142875 h 244781"/>
                    <a:gd name="connsiteX18" fmla="*/ 757619 w 925894"/>
                    <a:gd name="connsiteY18" fmla="*/ 136525 h 244781"/>
                    <a:gd name="connsiteX19" fmla="*/ 751269 w 925894"/>
                    <a:gd name="connsiteY19" fmla="*/ 127000 h 244781"/>
                    <a:gd name="connsiteX20" fmla="*/ 735394 w 925894"/>
                    <a:gd name="connsiteY20" fmla="*/ 114300 h 244781"/>
                    <a:gd name="connsiteX21" fmla="*/ 716344 w 925894"/>
                    <a:gd name="connsiteY21" fmla="*/ 95250 h 244781"/>
                    <a:gd name="connsiteX22" fmla="*/ 697294 w 925894"/>
                    <a:gd name="connsiteY22" fmla="*/ 82550 h 244781"/>
                    <a:gd name="connsiteX23" fmla="*/ 687769 w 925894"/>
                    <a:gd name="connsiteY23" fmla="*/ 73025 h 244781"/>
                    <a:gd name="connsiteX24" fmla="*/ 671894 w 925894"/>
                    <a:gd name="connsiteY24" fmla="*/ 63500 h 244781"/>
                    <a:gd name="connsiteX25" fmla="*/ 652844 w 925894"/>
                    <a:gd name="connsiteY25" fmla="*/ 50800 h 244781"/>
                    <a:gd name="connsiteX26" fmla="*/ 640144 w 925894"/>
                    <a:gd name="connsiteY26" fmla="*/ 44450 h 244781"/>
                    <a:gd name="connsiteX27" fmla="*/ 627444 w 925894"/>
                    <a:gd name="connsiteY27" fmla="*/ 34925 h 244781"/>
                    <a:gd name="connsiteX28" fmla="*/ 617919 w 925894"/>
                    <a:gd name="connsiteY28" fmla="*/ 31750 h 244781"/>
                    <a:gd name="connsiteX29" fmla="*/ 589344 w 925894"/>
                    <a:gd name="connsiteY29" fmla="*/ 12700 h 244781"/>
                    <a:gd name="connsiteX30" fmla="*/ 570294 w 925894"/>
                    <a:gd name="connsiteY30" fmla="*/ 6350 h 244781"/>
                    <a:gd name="connsiteX31" fmla="*/ 541719 w 925894"/>
                    <a:gd name="connsiteY31" fmla="*/ 3175 h 244781"/>
                    <a:gd name="connsiteX32" fmla="*/ 522669 w 925894"/>
                    <a:gd name="connsiteY32" fmla="*/ 0 h 244781"/>
                    <a:gd name="connsiteX33" fmla="*/ 398844 w 925894"/>
                    <a:gd name="connsiteY33" fmla="*/ 3175 h 244781"/>
                    <a:gd name="connsiteX34" fmla="*/ 370269 w 925894"/>
                    <a:gd name="connsiteY34" fmla="*/ 15875 h 244781"/>
                    <a:gd name="connsiteX35" fmla="*/ 354394 w 925894"/>
                    <a:gd name="connsiteY35" fmla="*/ 22225 h 244781"/>
                    <a:gd name="connsiteX36" fmla="*/ 344869 w 925894"/>
                    <a:gd name="connsiteY36" fmla="*/ 28575 h 244781"/>
                    <a:gd name="connsiteX37" fmla="*/ 319469 w 925894"/>
                    <a:gd name="connsiteY37" fmla="*/ 41275 h 244781"/>
                    <a:gd name="connsiteX38" fmla="*/ 303594 w 925894"/>
                    <a:gd name="connsiteY38" fmla="*/ 47625 h 244781"/>
                    <a:gd name="connsiteX39" fmla="*/ 290894 w 925894"/>
                    <a:gd name="connsiteY39" fmla="*/ 57150 h 244781"/>
                    <a:gd name="connsiteX40" fmla="*/ 265494 w 925894"/>
                    <a:gd name="connsiteY40" fmla="*/ 69850 h 244781"/>
                    <a:gd name="connsiteX41" fmla="*/ 249619 w 925894"/>
                    <a:gd name="connsiteY41" fmla="*/ 79375 h 244781"/>
                    <a:gd name="connsiteX42" fmla="*/ 211519 w 925894"/>
                    <a:gd name="connsiteY42" fmla="*/ 104775 h 244781"/>
                    <a:gd name="connsiteX43" fmla="*/ 195644 w 925894"/>
                    <a:gd name="connsiteY43" fmla="*/ 117475 h 244781"/>
                    <a:gd name="connsiteX44" fmla="*/ 179769 w 925894"/>
                    <a:gd name="connsiteY44" fmla="*/ 127000 h 244781"/>
                    <a:gd name="connsiteX45" fmla="*/ 167069 w 925894"/>
                    <a:gd name="connsiteY45" fmla="*/ 139700 h 244781"/>
                    <a:gd name="connsiteX46" fmla="*/ 151194 w 925894"/>
                    <a:gd name="connsiteY46" fmla="*/ 146050 h 244781"/>
                    <a:gd name="connsiteX47" fmla="*/ 138494 w 925894"/>
                    <a:gd name="connsiteY47" fmla="*/ 152400 h 244781"/>
                    <a:gd name="connsiteX48" fmla="*/ 122619 w 925894"/>
                    <a:gd name="connsiteY48" fmla="*/ 158750 h 244781"/>
                    <a:gd name="connsiteX49" fmla="*/ 113094 w 925894"/>
                    <a:gd name="connsiteY49" fmla="*/ 165100 h 244781"/>
                    <a:gd name="connsiteX50" fmla="*/ 46419 w 925894"/>
                    <a:gd name="connsiteY50" fmla="*/ 171450 h 244781"/>
                    <a:gd name="connsiteX51" fmla="*/ 36894 w 925894"/>
                    <a:gd name="connsiteY51" fmla="*/ 174625 h 244781"/>
                    <a:gd name="connsiteX52" fmla="*/ 11494 w 925894"/>
                    <a:gd name="connsiteY52" fmla="*/ 180975 h 244781"/>
                    <a:gd name="connsiteX53" fmla="*/ 5144 w 925894"/>
                    <a:gd name="connsiteY53" fmla="*/ 209550 h 244781"/>
                    <a:gd name="connsiteX54" fmla="*/ 27369 w 925894"/>
                    <a:gd name="connsiteY54" fmla="*/ 219075 h 244781"/>
                    <a:gd name="connsiteX55" fmla="*/ 21019 w 925894"/>
                    <a:gd name="connsiteY55" fmla="*/ 215900 h 2447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</a:cxnLst>
                  <a:rect l="l" t="t" r="r" b="b"/>
                  <a:pathLst>
                    <a:path w="925894" h="244781">
                      <a:moveTo>
                        <a:pt x="21019" y="215900"/>
                      </a:moveTo>
                      <a:lnTo>
                        <a:pt x="21019" y="215900"/>
                      </a:lnTo>
                      <a:cubicBezTo>
                        <a:pt x="105946" y="230887"/>
                        <a:pt x="44361" y="221576"/>
                        <a:pt x="109919" y="228600"/>
                      </a:cubicBezTo>
                      <a:cubicBezTo>
                        <a:pt x="127932" y="230530"/>
                        <a:pt x="145918" y="232703"/>
                        <a:pt x="163894" y="234950"/>
                      </a:cubicBezTo>
                      <a:cubicBezTo>
                        <a:pt x="171320" y="235878"/>
                        <a:pt x="178637" y="237964"/>
                        <a:pt x="186119" y="238125"/>
                      </a:cubicBezTo>
                      <a:lnTo>
                        <a:pt x="459169" y="241300"/>
                      </a:lnTo>
                      <a:cubicBezTo>
                        <a:pt x="557346" y="244027"/>
                        <a:pt x="615030" y="247535"/>
                        <a:pt x="716344" y="241300"/>
                      </a:cubicBezTo>
                      <a:cubicBezTo>
                        <a:pt x="737707" y="239985"/>
                        <a:pt x="758656" y="234802"/>
                        <a:pt x="779844" y="231775"/>
                      </a:cubicBezTo>
                      <a:cubicBezTo>
                        <a:pt x="788291" y="230568"/>
                        <a:pt x="796797" y="229807"/>
                        <a:pt x="805244" y="228600"/>
                      </a:cubicBezTo>
                      <a:cubicBezTo>
                        <a:pt x="869332" y="219445"/>
                        <a:pt x="769366" y="232291"/>
                        <a:pt x="849694" y="222250"/>
                      </a:cubicBezTo>
                      <a:cubicBezTo>
                        <a:pt x="871467" y="214992"/>
                        <a:pt x="844443" y="223563"/>
                        <a:pt x="875094" y="215900"/>
                      </a:cubicBezTo>
                      <a:cubicBezTo>
                        <a:pt x="878341" y="215088"/>
                        <a:pt x="881401" y="213644"/>
                        <a:pt x="884619" y="212725"/>
                      </a:cubicBezTo>
                      <a:cubicBezTo>
                        <a:pt x="895698" y="209560"/>
                        <a:pt x="900155" y="210246"/>
                        <a:pt x="910019" y="203200"/>
                      </a:cubicBezTo>
                      <a:cubicBezTo>
                        <a:pt x="917797" y="197644"/>
                        <a:pt x="920831" y="191745"/>
                        <a:pt x="925894" y="184150"/>
                      </a:cubicBezTo>
                      <a:cubicBezTo>
                        <a:pt x="888561" y="159261"/>
                        <a:pt x="938340" y="190037"/>
                        <a:pt x="824294" y="174625"/>
                      </a:cubicBezTo>
                      <a:cubicBezTo>
                        <a:pt x="796282" y="170840"/>
                        <a:pt x="806447" y="162894"/>
                        <a:pt x="789369" y="155575"/>
                      </a:cubicBezTo>
                      <a:cubicBezTo>
                        <a:pt x="785358" y="153856"/>
                        <a:pt x="780902" y="153458"/>
                        <a:pt x="776669" y="152400"/>
                      </a:cubicBezTo>
                      <a:cubicBezTo>
                        <a:pt x="773494" y="149225"/>
                        <a:pt x="770593" y="145750"/>
                        <a:pt x="767144" y="142875"/>
                      </a:cubicBezTo>
                      <a:cubicBezTo>
                        <a:pt x="764213" y="140432"/>
                        <a:pt x="760317" y="139223"/>
                        <a:pt x="757619" y="136525"/>
                      </a:cubicBezTo>
                      <a:cubicBezTo>
                        <a:pt x="754921" y="133827"/>
                        <a:pt x="753967" y="129698"/>
                        <a:pt x="751269" y="127000"/>
                      </a:cubicBezTo>
                      <a:cubicBezTo>
                        <a:pt x="746477" y="122208"/>
                        <a:pt x="740408" y="118858"/>
                        <a:pt x="735394" y="114300"/>
                      </a:cubicBezTo>
                      <a:cubicBezTo>
                        <a:pt x="728749" y="108259"/>
                        <a:pt x="723816" y="100231"/>
                        <a:pt x="716344" y="95250"/>
                      </a:cubicBezTo>
                      <a:cubicBezTo>
                        <a:pt x="709994" y="91017"/>
                        <a:pt x="702690" y="87946"/>
                        <a:pt x="697294" y="82550"/>
                      </a:cubicBezTo>
                      <a:cubicBezTo>
                        <a:pt x="694119" y="79375"/>
                        <a:pt x="691361" y="75719"/>
                        <a:pt x="687769" y="73025"/>
                      </a:cubicBezTo>
                      <a:cubicBezTo>
                        <a:pt x="682832" y="69322"/>
                        <a:pt x="677100" y="66813"/>
                        <a:pt x="671894" y="63500"/>
                      </a:cubicBezTo>
                      <a:cubicBezTo>
                        <a:pt x="665455" y="59403"/>
                        <a:pt x="659670" y="54213"/>
                        <a:pt x="652844" y="50800"/>
                      </a:cubicBezTo>
                      <a:cubicBezTo>
                        <a:pt x="648611" y="48683"/>
                        <a:pt x="644158" y="46958"/>
                        <a:pt x="640144" y="44450"/>
                      </a:cubicBezTo>
                      <a:cubicBezTo>
                        <a:pt x="635657" y="41645"/>
                        <a:pt x="632038" y="37550"/>
                        <a:pt x="627444" y="34925"/>
                      </a:cubicBezTo>
                      <a:cubicBezTo>
                        <a:pt x="624538" y="33265"/>
                        <a:pt x="620810" y="33436"/>
                        <a:pt x="617919" y="31750"/>
                      </a:cubicBezTo>
                      <a:cubicBezTo>
                        <a:pt x="608031" y="25982"/>
                        <a:pt x="600204" y="16320"/>
                        <a:pt x="589344" y="12700"/>
                      </a:cubicBezTo>
                      <a:cubicBezTo>
                        <a:pt x="582994" y="10583"/>
                        <a:pt x="576858" y="7663"/>
                        <a:pt x="570294" y="6350"/>
                      </a:cubicBezTo>
                      <a:cubicBezTo>
                        <a:pt x="560896" y="4470"/>
                        <a:pt x="551219" y="4442"/>
                        <a:pt x="541719" y="3175"/>
                      </a:cubicBezTo>
                      <a:cubicBezTo>
                        <a:pt x="535338" y="2324"/>
                        <a:pt x="529019" y="1058"/>
                        <a:pt x="522669" y="0"/>
                      </a:cubicBezTo>
                      <a:cubicBezTo>
                        <a:pt x="481394" y="1058"/>
                        <a:pt x="440041" y="429"/>
                        <a:pt x="398844" y="3175"/>
                      </a:cubicBezTo>
                      <a:cubicBezTo>
                        <a:pt x="379941" y="4435"/>
                        <a:pt x="383216" y="9402"/>
                        <a:pt x="370269" y="15875"/>
                      </a:cubicBezTo>
                      <a:cubicBezTo>
                        <a:pt x="365171" y="18424"/>
                        <a:pt x="359492" y="19676"/>
                        <a:pt x="354394" y="22225"/>
                      </a:cubicBezTo>
                      <a:cubicBezTo>
                        <a:pt x="350981" y="23932"/>
                        <a:pt x="348219" y="26748"/>
                        <a:pt x="344869" y="28575"/>
                      </a:cubicBezTo>
                      <a:cubicBezTo>
                        <a:pt x="336559" y="33108"/>
                        <a:pt x="328258" y="37759"/>
                        <a:pt x="319469" y="41275"/>
                      </a:cubicBezTo>
                      <a:cubicBezTo>
                        <a:pt x="314177" y="43392"/>
                        <a:pt x="308576" y="44857"/>
                        <a:pt x="303594" y="47625"/>
                      </a:cubicBezTo>
                      <a:cubicBezTo>
                        <a:pt x="298968" y="50195"/>
                        <a:pt x="295465" y="54484"/>
                        <a:pt x="290894" y="57150"/>
                      </a:cubicBezTo>
                      <a:cubicBezTo>
                        <a:pt x="282717" y="61920"/>
                        <a:pt x="273611" y="64980"/>
                        <a:pt x="265494" y="69850"/>
                      </a:cubicBezTo>
                      <a:cubicBezTo>
                        <a:pt x="260202" y="73025"/>
                        <a:pt x="254641" y="75788"/>
                        <a:pt x="249619" y="79375"/>
                      </a:cubicBezTo>
                      <a:cubicBezTo>
                        <a:pt x="213199" y="105389"/>
                        <a:pt x="233935" y="97303"/>
                        <a:pt x="211519" y="104775"/>
                      </a:cubicBezTo>
                      <a:cubicBezTo>
                        <a:pt x="206227" y="109008"/>
                        <a:pt x="201196" y="113589"/>
                        <a:pt x="195644" y="117475"/>
                      </a:cubicBezTo>
                      <a:cubicBezTo>
                        <a:pt x="190588" y="121014"/>
                        <a:pt x="184640" y="123211"/>
                        <a:pt x="179769" y="127000"/>
                      </a:cubicBezTo>
                      <a:cubicBezTo>
                        <a:pt x="175043" y="130676"/>
                        <a:pt x="172050" y="136379"/>
                        <a:pt x="167069" y="139700"/>
                      </a:cubicBezTo>
                      <a:cubicBezTo>
                        <a:pt x="162327" y="142861"/>
                        <a:pt x="156402" y="143735"/>
                        <a:pt x="151194" y="146050"/>
                      </a:cubicBezTo>
                      <a:cubicBezTo>
                        <a:pt x="146869" y="147972"/>
                        <a:pt x="142819" y="150478"/>
                        <a:pt x="138494" y="152400"/>
                      </a:cubicBezTo>
                      <a:cubicBezTo>
                        <a:pt x="133286" y="154715"/>
                        <a:pt x="127717" y="156201"/>
                        <a:pt x="122619" y="158750"/>
                      </a:cubicBezTo>
                      <a:cubicBezTo>
                        <a:pt x="119206" y="160457"/>
                        <a:pt x="116714" y="163893"/>
                        <a:pt x="113094" y="165100"/>
                      </a:cubicBezTo>
                      <a:cubicBezTo>
                        <a:pt x="100065" y="169443"/>
                        <a:pt x="46800" y="171425"/>
                        <a:pt x="46419" y="171450"/>
                      </a:cubicBezTo>
                      <a:cubicBezTo>
                        <a:pt x="43244" y="172508"/>
                        <a:pt x="40123" y="173744"/>
                        <a:pt x="36894" y="174625"/>
                      </a:cubicBezTo>
                      <a:cubicBezTo>
                        <a:pt x="28474" y="176921"/>
                        <a:pt x="11494" y="180975"/>
                        <a:pt x="11494" y="180975"/>
                      </a:cubicBezTo>
                      <a:cubicBezTo>
                        <a:pt x="2036" y="190433"/>
                        <a:pt x="-5391" y="192693"/>
                        <a:pt x="5144" y="209550"/>
                      </a:cubicBezTo>
                      <a:cubicBezTo>
                        <a:pt x="6985" y="212495"/>
                        <a:pt x="23149" y="217869"/>
                        <a:pt x="27369" y="219075"/>
                      </a:cubicBezTo>
                      <a:cubicBezTo>
                        <a:pt x="31565" y="220274"/>
                        <a:pt x="22077" y="216429"/>
                        <a:pt x="21019" y="215900"/>
                      </a:cubicBezTo>
                      <a:close/>
                    </a:path>
                  </a:pathLst>
                </a:custGeom>
                <a:solidFill>
                  <a:srgbClr val="B5D820"/>
                </a:solidFill>
                <a:ln w="12700" cap="flat" cmpd="sng" algn="ctr">
                  <a:solidFill>
                    <a:srgbClr val="B5D820">
                      <a:lumMod val="75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>
                    <a:defRPr/>
                  </a:pPr>
                  <a:endParaRPr lang="en-US" kern="0">
                    <a:solidFill>
                      <a:srgbClr val="FFFFFF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869" name="Oval 868">
                  <a:extLst>
                    <a:ext uri="{FF2B5EF4-FFF2-40B4-BE49-F238E27FC236}">
                      <a16:creationId xmlns:a16="http://schemas.microsoft.com/office/drawing/2014/main" id="{2C2F6559-BF01-2A9E-1651-ED4328C96081}"/>
                    </a:ext>
                  </a:extLst>
                </p:cNvPr>
                <p:cNvSpPr/>
                <p:nvPr/>
              </p:nvSpPr>
              <p:spPr>
                <a:xfrm>
                  <a:off x="9986336" y="4396166"/>
                  <a:ext cx="188865" cy="116426"/>
                </a:xfrm>
                <a:prstGeom prst="ellipse">
                  <a:avLst/>
                </a:prstGeom>
                <a:solidFill>
                  <a:srgbClr val="B5D820">
                    <a:lumMod val="50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>
                    <a:defRPr/>
                  </a:pPr>
                  <a:endParaRPr lang="en-US" kern="0">
                    <a:solidFill>
                      <a:srgbClr val="FFFFFF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870" name="Group 869">
                <a:extLst>
                  <a:ext uri="{FF2B5EF4-FFF2-40B4-BE49-F238E27FC236}">
                    <a16:creationId xmlns:a16="http://schemas.microsoft.com/office/drawing/2014/main" id="{9A51D295-E085-6A1E-77B2-33606C241F5F}"/>
                  </a:ext>
                </a:extLst>
              </p:cNvPr>
              <p:cNvGrpSpPr/>
              <p:nvPr/>
            </p:nvGrpSpPr>
            <p:grpSpPr>
              <a:xfrm rot="18882816">
                <a:off x="2772576" y="4733575"/>
                <a:ext cx="189928" cy="70302"/>
                <a:chOff x="9602406" y="4324350"/>
                <a:chExt cx="925894" cy="244781"/>
              </a:xfrm>
            </p:grpSpPr>
            <p:sp>
              <p:nvSpPr>
                <p:cNvPr id="871" name="Freeform: Shape 3315">
                  <a:extLst>
                    <a:ext uri="{FF2B5EF4-FFF2-40B4-BE49-F238E27FC236}">
                      <a16:creationId xmlns:a16="http://schemas.microsoft.com/office/drawing/2014/main" id="{3EEEF92D-7AAD-5D57-7FF0-FCF2B63CA43C}"/>
                    </a:ext>
                  </a:extLst>
                </p:cNvPr>
                <p:cNvSpPr/>
                <p:nvPr/>
              </p:nvSpPr>
              <p:spPr>
                <a:xfrm>
                  <a:off x="9602406" y="4324350"/>
                  <a:ext cx="925894" cy="244781"/>
                </a:xfrm>
                <a:custGeom>
                  <a:avLst/>
                  <a:gdLst>
                    <a:gd name="connsiteX0" fmla="*/ 21019 w 925894"/>
                    <a:gd name="connsiteY0" fmla="*/ 215900 h 244781"/>
                    <a:gd name="connsiteX1" fmla="*/ 21019 w 925894"/>
                    <a:gd name="connsiteY1" fmla="*/ 215900 h 244781"/>
                    <a:gd name="connsiteX2" fmla="*/ 109919 w 925894"/>
                    <a:gd name="connsiteY2" fmla="*/ 228600 h 244781"/>
                    <a:gd name="connsiteX3" fmla="*/ 163894 w 925894"/>
                    <a:gd name="connsiteY3" fmla="*/ 234950 h 244781"/>
                    <a:gd name="connsiteX4" fmla="*/ 186119 w 925894"/>
                    <a:gd name="connsiteY4" fmla="*/ 238125 h 244781"/>
                    <a:gd name="connsiteX5" fmla="*/ 459169 w 925894"/>
                    <a:gd name="connsiteY5" fmla="*/ 241300 h 244781"/>
                    <a:gd name="connsiteX6" fmla="*/ 716344 w 925894"/>
                    <a:gd name="connsiteY6" fmla="*/ 241300 h 244781"/>
                    <a:gd name="connsiteX7" fmla="*/ 779844 w 925894"/>
                    <a:gd name="connsiteY7" fmla="*/ 231775 h 244781"/>
                    <a:gd name="connsiteX8" fmla="*/ 805244 w 925894"/>
                    <a:gd name="connsiteY8" fmla="*/ 228600 h 244781"/>
                    <a:gd name="connsiteX9" fmla="*/ 849694 w 925894"/>
                    <a:gd name="connsiteY9" fmla="*/ 222250 h 244781"/>
                    <a:gd name="connsiteX10" fmla="*/ 875094 w 925894"/>
                    <a:gd name="connsiteY10" fmla="*/ 215900 h 244781"/>
                    <a:gd name="connsiteX11" fmla="*/ 884619 w 925894"/>
                    <a:gd name="connsiteY11" fmla="*/ 212725 h 244781"/>
                    <a:gd name="connsiteX12" fmla="*/ 910019 w 925894"/>
                    <a:gd name="connsiteY12" fmla="*/ 203200 h 244781"/>
                    <a:gd name="connsiteX13" fmla="*/ 925894 w 925894"/>
                    <a:gd name="connsiteY13" fmla="*/ 184150 h 244781"/>
                    <a:gd name="connsiteX14" fmla="*/ 824294 w 925894"/>
                    <a:gd name="connsiteY14" fmla="*/ 174625 h 244781"/>
                    <a:gd name="connsiteX15" fmla="*/ 789369 w 925894"/>
                    <a:gd name="connsiteY15" fmla="*/ 155575 h 244781"/>
                    <a:gd name="connsiteX16" fmla="*/ 776669 w 925894"/>
                    <a:gd name="connsiteY16" fmla="*/ 152400 h 244781"/>
                    <a:gd name="connsiteX17" fmla="*/ 767144 w 925894"/>
                    <a:gd name="connsiteY17" fmla="*/ 142875 h 244781"/>
                    <a:gd name="connsiteX18" fmla="*/ 757619 w 925894"/>
                    <a:gd name="connsiteY18" fmla="*/ 136525 h 244781"/>
                    <a:gd name="connsiteX19" fmla="*/ 751269 w 925894"/>
                    <a:gd name="connsiteY19" fmla="*/ 127000 h 244781"/>
                    <a:gd name="connsiteX20" fmla="*/ 735394 w 925894"/>
                    <a:gd name="connsiteY20" fmla="*/ 114300 h 244781"/>
                    <a:gd name="connsiteX21" fmla="*/ 716344 w 925894"/>
                    <a:gd name="connsiteY21" fmla="*/ 95250 h 244781"/>
                    <a:gd name="connsiteX22" fmla="*/ 697294 w 925894"/>
                    <a:gd name="connsiteY22" fmla="*/ 82550 h 244781"/>
                    <a:gd name="connsiteX23" fmla="*/ 687769 w 925894"/>
                    <a:gd name="connsiteY23" fmla="*/ 73025 h 244781"/>
                    <a:gd name="connsiteX24" fmla="*/ 671894 w 925894"/>
                    <a:gd name="connsiteY24" fmla="*/ 63500 h 244781"/>
                    <a:gd name="connsiteX25" fmla="*/ 652844 w 925894"/>
                    <a:gd name="connsiteY25" fmla="*/ 50800 h 244781"/>
                    <a:gd name="connsiteX26" fmla="*/ 640144 w 925894"/>
                    <a:gd name="connsiteY26" fmla="*/ 44450 h 244781"/>
                    <a:gd name="connsiteX27" fmla="*/ 627444 w 925894"/>
                    <a:gd name="connsiteY27" fmla="*/ 34925 h 244781"/>
                    <a:gd name="connsiteX28" fmla="*/ 617919 w 925894"/>
                    <a:gd name="connsiteY28" fmla="*/ 31750 h 244781"/>
                    <a:gd name="connsiteX29" fmla="*/ 589344 w 925894"/>
                    <a:gd name="connsiteY29" fmla="*/ 12700 h 244781"/>
                    <a:gd name="connsiteX30" fmla="*/ 570294 w 925894"/>
                    <a:gd name="connsiteY30" fmla="*/ 6350 h 244781"/>
                    <a:gd name="connsiteX31" fmla="*/ 541719 w 925894"/>
                    <a:gd name="connsiteY31" fmla="*/ 3175 h 244781"/>
                    <a:gd name="connsiteX32" fmla="*/ 522669 w 925894"/>
                    <a:gd name="connsiteY32" fmla="*/ 0 h 244781"/>
                    <a:gd name="connsiteX33" fmla="*/ 398844 w 925894"/>
                    <a:gd name="connsiteY33" fmla="*/ 3175 h 244781"/>
                    <a:gd name="connsiteX34" fmla="*/ 370269 w 925894"/>
                    <a:gd name="connsiteY34" fmla="*/ 15875 h 244781"/>
                    <a:gd name="connsiteX35" fmla="*/ 354394 w 925894"/>
                    <a:gd name="connsiteY35" fmla="*/ 22225 h 244781"/>
                    <a:gd name="connsiteX36" fmla="*/ 344869 w 925894"/>
                    <a:gd name="connsiteY36" fmla="*/ 28575 h 244781"/>
                    <a:gd name="connsiteX37" fmla="*/ 319469 w 925894"/>
                    <a:gd name="connsiteY37" fmla="*/ 41275 h 244781"/>
                    <a:gd name="connsiteX38" fmla="*/ 303594 w 925894"/>
                    <a:gd name="connsiteY38" fmla="*/ 47625 h 244781"/>
                    <a:gd name="connsiteX39" fmla="*/ 290894 w 925894"/>
                    <a:gd name="connsiteY39" fmla="*/ 57150 h 244781"/>
                    <a:gd name="connsiteX40" fmla="*/ 265494 w 925894"/>
                    <a:gd name="connsiteY40" fmla="*/ 69850 h 244781"/>
                    <a:gd name="connsiteX41" fmla="*/ 249619 w 925894"/>
                    <a:gd name="connsiteY41" fmla="*/ 79375 h 244781"/>
                    <a:gd name="connsiteX42" fmla="*/ 211519 w 925894"/>
                    <a:gd name="connsiteY42" fmla="*/ 104775 h 244781"/>
                    <a:gd name="connsiteX43" fmla="*/ 195644 w 925894"/>
                    <a:gd name="connsiteY43" fmla="*/ 117475 h 244781"/>
                    <a:gd name="connsiteX44" fmla="*/ 179769 w 925894"/>
                    <a:gd name="connsiteY44" fmla="*/ 127000 h 244781"/>
                    <a:gd name="connsiteX45" fmla="*/ 167069 w 925894"/>
                    <a:gd name="connsiteY45" fmla="*/ 139700 h 244781"/>
                    <a:gd name="connsiteX46" fmla="*/ 151194 w 925894"/>
                    <a:gd name="connsiteY46" fmla="*/ 146050 h 244781"/>
                    <a:gd name="connsiteX47" fmla="*/ 138494 w 925894"/>
                    <a:gd name="connsiteY47" fmla="*/ 152400 h 244781"/>
                    <a:gd name="connsiteX48" fmla="*/ 122619 w 925894"/>
                    <a:gd name="connsiteY48" fmla="*/ 158750 h 244781"/>
                    <a:gd name="connsiteX49" fmla="*/ 113094 w 925894"/>
                    <a:gd name="connsiteY49" fmla="*/ 165100 h 244781"/>
                    <a:gd name="connsiteX50" fmla="*/ 46419 w 925894"/>
                    <a:gd name="connsiteY50" fmla="*/ 171450 h 244781"/>
                    <a:gd name="connsiteX51" fmla="*/ 36894 w 925894"/>
                    <a:gd name="connsiteY51" fmla="*/ 174625 h 244781"/>
                    <a:gd name="connsiteX52" fmla="*/ 11494 w 925894"/>
                    <a:gd name="connsiteY52" fmla="*/ 180975 h 244781"/>
                    <a:gd name="connsiteX53" fmla="*/ 5144 w 925894"/>
                    <a:gd name="connsiteY53" fmla="*/ 209550 h 244781"/>
                    <a:gd name="connsiteX54" fmla="*/ 27369 w 925894"/>
                    <a:gd name="connsiteY54" fmla="*/ 219075 h 244781"/>
                    <a:gd name="connsiteX55" fmla="*/ 21019 w 925894"/>
                    <a:gd name="connsiteY55" fmla="*/ 215900 h 2447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</a:cxnLst>
                  <a:rect l="l" t="t" r="r" b="b"/>
                  <a:pathLst>
                    <a:path w="925894" h="244781">
                      <a:moveTo>
                        <a:pt x="21019" y="215900"/>
                      </a:moveTo>
                      <a:lnTo>
                        <a:pt x="21019" y="215900"/>
                      </a:lnTo>
                      <a:cubicBezTo>
                        <a:pt x="105946" y="230887"/>
                        <a:pt x="44361" y="221576"/>
                        <a:pt x="109919" y="228600"/>
                      </a:cubicBezTo>
                      <a:cubicBezTo>
                        <a:pt x="127932" y="230530"/>
                        <a:pt x="145918" y="232703"/>
                        <a:pt x="163894" y="234950"/>
                      </a:cubicBezTo>
                      <a:cubicBezTo>
                        <a:pt x="171320" y="235878"/>
                        <a:pt x="178637" y="237964"/>
                        <a:pt x="186119" y="238125"/>
                      </a:cubicBezTo>
                      <a:lnTo>
                        <a:pt x="459169" y="241300"/>
                      </a:lnTo>
                      <a:cubicBezTo>
                        <a:pt x="557346" y="244027"/>
                        <a:pt x="615030" y="247535"/>
                        <a:pt x="716344" y="241300"/>
                      </a:cubicBezTo>
                      <a:cubicBezTo>
                        <a:pt x="737707" y="239985"/>
                        <a:pt x="758656" y="234802"/>
                        <a:pt x="779844" y="231775"/>
                      </a:cubicBezTo>
                      <a:cubicBezTo>
                        <a:pt x="788291" y="230568"/>
                        <a:pt x="796797" y="229807"/>
                        <a:pt x="805244" y="228600"/>
                      </a:cubicBezTo>
                      <a:cubicBezTo>
                        <a:pt x="869332" y="219445"/>
                        <a:pt x="769366" y="232291"/>
                        <a:pt x="849694" y="222250"/>
                      </a:cubicBezTo>
                      <a:cubicBezTo>
                        <a:pt x="871467" y="214992"/>
                        <a:pt x="844443" y="223563"/>
                        <a:pt x="875094" y="215900"/>
                      </a:cubicBezTo>
                      <a:cubicBezTo>
                        <a:pt x="878341" y="215088"/>
                        <a:pt x="881401" y="213644"/>
                        <a:pt x="884619" y="212725"/>
                      </a:cubicBezTo>
                      <a:cubicBezTo>
                        <a:pt x="895698" y="209560"/>
                        <a:pt x="900155" y="210246"/>
                        <a:pt x="910019" y="203200"/>
                      </a:cubicBezTo>
                      <a:cubicBezTo>
                        <a:pt x="917797" y="197644"/>
                        <a:pt x="920831" y="191745"/>
                        <a:pt x="925894" y="184150"/>
                      </a:cubicBezTo>
                      <a:cubicBezTo>
                        <a:pt x="888561" y="159261"/>
                        <a:pt x="938340" y="190037"/>
                        <a:pt x="824294" y="174625"/>
                      </a:cubicBezTo>
                      <a:cubicBezTo>
                        <a:pt x="796282" y="170840"/>
                        <a:pt x="806447" y="162894"/>
                        <a:pt x="789369" y="155575"/>
                      </a:cubicBezTo>
                      <a:cubicBezTo>
                        <a:pt x="785358" y="153856"/>
                        <a:pt x="780902" y="153458"/>
                        <a:pt x="776669" y="152400"/>
                      </a:cubicBezTo>
                      <a:cubicBezTo>
                        <a:pt x="773494" y="149225"/>
                        <a:pt x="770593" y="145750"/>
                        <a:pt x="767144" y="142875"/>
                      </a:cubicBezTo>
                      <a:cubicBezTo>
                        <a:pt x="764213" y="140432"/>
                        <a:pt x="760317" y="139223"/>
                        <a:pt x="757619" y="136525"/>
                      </a:cubicBezTo>
                      <a:cubicBezTo>
                        <a:pt x="754921" y="133827"/>
                        <a:pt x="753967" y="129698"/>
                        <a:pt x="751269" y="127000"/>
                      </a:cubicBezTo>
                      <a:cubicBezTo>
                        <a:pt x="746477" y="122208"/>
                        <a:pt x="740408" y="118858"/>
                        <a:pt x="735394" y="114300"/>
                      </a:cubicBezTo>
                      <a:cubicBezTo>
                        <a:pt x="728749" y="108259"/>
                        <a:pt x="723816" y="100231"/>
                        <a:pt x="716344" y="95250"/>
                      </a:cubicBezTo>
                      <a:cubicBezTo>
                        <a:pt x="709994" y="91017"/>
                        <a:pt x="702690" y="87946"/>
                        <a:pt x="697294" y="82550"/>
                      </a:cubicBezTo>
                      <a:cubicBezTo>
                        <a:pt x="694119" y="79375"/>
                        <a:pt x="691361" y="75719"/>
                        <a:pt x="687769" y="73025"/>
                      </a:cubicBezTo>
                      <a:cubicBezTo>
                        <a:pt x="682832" y="69322"/>
                        <a:pt x="677100" y="66813"/>
                        <a:pt x="671894" y="63500"/>
                      </a:cubicBezTo>
                      <a:cubicBezTo>
                        <a:pt x="665455" y="59403"/>
                        <a:pt x="659670" y="54213"/>
                        <a:pt x="652844" y="50800"/>
                      </a:cubicBezTo>
                      <a:cubicBezTo>
                        <a:pt x="648611" y="48683"/>
                        <a:pt x="644158" y="46958"/>
                        <a:pt x="640144" y="44450"/>
                      </a:cubicBezTo>
                      <a:cubicBezTo>
                        <a:pt x="635657" y="41645"/>
                        <a:pt x="632038" y="37550"/>
                        <a:pt x="627444" y="34925"/>
                      </a:cubicBezTo>
                      <a:cubicBezTo>
                        <a:pt x="624538" y="33265"/>
                        <a:pt x="620810" y="33436"/>
                        <a:pt x="617919" y="31750"/>
                      </a:cubicBezTo>
                      <a:cubicBezTo>
                        <a:pt x="608031" y="25982"/>
                        <a:pt x="600204" y="16320"/>
                        <a:pt x="589344" y="12700"/>
                      </a:cubicBezTo>
                      <a:cubicBezTo>
                        <a:pt x="582994" y="10583"/>
                        <a:pt x="576858" y="7663"/>
                        <a:pt x="570294" y="6350"/>
                      </a:cubicBezTo>
                      <a:cubicBezTo>
                        <a:pt x="560896" y="4470"/>
                        <a:pt x="551219" y="4442"/>
                        <a:pt x="541719" y="3175"/>
                      </a:cubicBezTo>
                      <a:cubicBezTo>
                        <a:pt x="535338" y="2324"/>
                        <a:pt x="529019" y="1058"/>
                        <a:pt x="522669" y="0"/>
                      </a:cubicBezTo>
                      <a:cubicBezTo>
                        <a:pt x="481394" y="1058"/>
                        <a:pt x="440041" y="429"/>
                        <a:pt x="398844" y="3175"/>
                      </a:cubicBezTo>
                      <a:cubicBezTo>
                        <a:pt x="379941" y="4435"/>
                        <a:pt x="383216" y="9402"/>
                        <a:pt x="370269" y="15875"/>
                      </a:cubicBezTo>
                      <a:cubicBezTo>
                        <a:pt x="365171" y="18424"/>
                        <a:pt x="359492" y="19676"/>
                        <a:pt x="354394" y="22225"/>
                      </a:cubicBezTo>
                      <a:cubicBezTo>
                        <a:pt x="350981" y="23932"/>
                        <a:pt x="348219" y="26748"/>
                        <a:pt x="344869" y="28575"/>
                      </a:cubicBezTo>
                      <a:cubicBezTo>
                        <a:pt x="336559" y="33108"/>
                        <a:pt x="328258" y="37759"/>
                        <a:pt x="319469" y="41275"/>
                      </a:cubicBezTo>
                      <a:cubicBezTo>
                        <a:pt x="314177" y="43392"/>
                        <a:pt x="308576" y="44857"/>
                        <a:pt x="303594" y="47625"/>
                      </a:cubicBezTo>
                      <a:cubicBezTo>
                        <a:pt x="298968" y="50195"/>
                        <a:pt x="295465" y="54484"/>
                        <a:pt x="290894" y="57150"/>
                      </a:cubicBezTo>
                      <a:cubicBezTo>
                        <a:pt x="282717" y="61920"/>
                        <a:pt x="273611" y="64980"/>
                        <a:pt x="265494" y="69850"/>
                      </a:cubicBezTo>
                      <a:cubicBezTo>
                        <a:pt x="260202" y="73025"/>
                        <a:pt x="254641" y="75788"/>
                        <a:pt x="249619" y="79375"/>
                      </a:cubicBezTo>
                      <a:cubicBezTo>
                        <a:pt x="213199" y="105389"/>
                        <a:pt x="233935" y="97303"/>
                        <a:pt x="211519" y="104775"/>
                      </a:cubicBezTo>
                      <a:cubicBezTo>
                        <a:pt x="206227" y="109008"/>
                        <a:pt x="201196" y="113589"/>
                        <a:pt x="195644" y="117475"/>
                      </a:cubicBezTo>
                      <a:cubicBezTo>
                        <a:pt x="190588" y="121014"/>
                        <a:pt x="184640" y="123211"/>
                        <a:pt x="179769" y="127000"/>
                      </a:cubicBezTo>
                      <a:cubicBezTo>
                        <a:pt x="175043" y="130676"/>
                        <a:pt x="172050" y="136379"/>
                        <a:pt x="167069" y="139700"/>
                      </a:cubicBezTo>
                      <a:cubicBezTo>
                        <a:pt x="162327" y="142861"/>
                        <a:pt x="156402" y="143735"/>
                        <a:pt x="151194" y="146050"/>
                      </a:cubicBezTo>
                      <a:cubicBezTo>
                        <a:pt x="146869" y="147972"/>
                        <a:pt x="142819" y="150478"/>
                        <a:pt x="138494" y="152400"/>
                      </a:cubicBezTo>
                      <a:cubicBezTo>
                        <a:pt x="133286" y="154715"/>
                        <a:pt x="127717" y="156201"/>
                        <a:pt x="122619" y="158750"/>
                      </a:cubicBezTo>
                      <a:cubicBezTo>
                        <a:pt x="119206" y="160457"/>
                        <a:pt x="116714" y="163893"/>
                        <a:pt x="113094" y="165100"/>
                      </a:cubicBezTo>
                      <a:cubicBezTo>
                        <a:pt x="100065" y="169443"/>
                        <a:pt x="46800" y="171425"/>
                        <a:pt x="46419" y="171450"/>
                      </a:cubicBezTo>
                      <a:cubicBezTo>
                        <a:pt x="43244" y="172508"/>
                        <a:pt x="40123" y="173744"/>
                        <a:pt x="36894" y="174625"/>
                      </a:cubicBezTo>
                      <a:cubicBezTo>
                        <a:pt x="28474" y="176921"/>
                        <a:pt x="11494" y="180975"/>
                        <a:pt x="11494" y="180975"/>
                      </a:cubicBezTo>
                      <a:cubicBezTo>
                        <a:pt x="2036" y="190433"/>
                        <a:pt x="-5391" y="192693"/>
                        <a:pt x="5144" y="209550"/>
                      </a:cubicBezTo>
                      <a:cubicBezTo>
                        <a:pt x="6985" y="212495"/>
                        <a:pt x="23149" y="217869"/>
                        <a:pt x="27369" y="219075"/>
                      </a:cubicBezTo>
                      <a:cubicBezTo>
                        <a:pt x="31565" y="220274"/>
                        <a:pt x="22077" y="216429"/>
                        <a:pt x="21019" y="215900"/>
                      </a:cubicBezTo>
                      <a:close/>
                    </a:path>
                  </a:pathLst>
                </a:custGeom>
                <a:solidFill>
                  <a:srgbClr val="B5D820"/>
                </a:solidFill>
                <a:ln w="12700" cap="flat" cmpd="sng" algn="ctr">
                  <a:solidFill>
                    <a:srgbClr val="B5D820">
                      <a:lumMod val="75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>
                    <a:defRPr/>
                  </a:pPr>
                  <a:endParaRPr lang="en-US" kern="0">
                    <a:solidFill>
                      <a:srgbClr val="FFFFFF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872" name="Oval 871">
                  <a:extLst>
                    <a:ext uri="{FF2B5EF4-FFF2-40B4-BE49-F238E27FC236}">
                      <a16:creationId xmlns:a16="http://schemas.microsoft.com/office/drawing/2014/main" id="{4BD555EB-3942-45E6-E02B-20944B602C7A}"/>
                    </a:ext>
                  </a:extLst>
                </p:cNvPr>
                <p:cNvSpPr/>
                <p:nvPr/>
              </p:nvSpPr>
              <p:spPr>
                <a:xfrm>
                  <a:off x="9986336" y="4396166"/>
                  <a:ext cx="188865" cy="116426"/>
                </a:xfrm>
                <a:prstGeom prst="ellipse">
                  <a:avLst/>
                </a:prstGeom>
                <a:solidFill>
                  <a:srgbClr val="B5D820">
                    <a:lumMod val="50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>
                    <a:defRPr/>
                  </a:pPr>
                  <a:endParaRPr lang="en-US" kern="0">
                    <a:solidFill>
                      <a:srgbClr val="FFFFFF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873" name="Group 872">
                <a:extLst>
                  <a:ext uri="{FF2B5EF4-FFF2-40B4-BE49-F238E27FC236}">
                    <a16:creationId xmlns:a16="http://schemas.microsoft.com/office/drawing/2014/main" id="{3F03A218-8EC4-4E9B-CC61-3A0829E729CB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20190456">
                <a:off x="2940495" y="2067439"/>
                <a:ext cx="164406" cy="249291"/>
                <a:chOff x="5245432" y="2368937"/>
                <a:chExt cx="259652" cy="446987"/>
              </a:xfrm>
            </p:grpSpPr>
            <p:grpSp>
              <p:nvGrpSpPr>
                <p:cNvPr id="874" name="Graphic 169">
                  <a:extLst>
                    <a:ext uri="{FF2B5EF4-FFF2-40B4-BE49-F238E27FC236}">
                      <a16:creationId xmlns:a16="http://schemas.microsoft.com/office/drawing/2014/main" id="{4BB0E495-6B9F-9B5A-8D1D-EDC19287CFA9}"/>
                    </a:ext>
                  </a:extLst>
                </p:cNvPr>
                <p:cNvGrpSpPr/>
                <p:nvPr/>
              </p:nvGrpSpPr>
              <p:grpSpPr>
                <a:xfrm>
                  <a:off x="5245432" y="2368937"/>
                  <a:ext cx="259652" cy="446987"/>
                  <a:chOff x="3690486" y="2366556"/>
                  <a:chExt cx="259652" cy="446987"/>
                </a:xfrm>
              </p:grpSpPr>
              <p:grpSp>
                <p:nvGrpSpPr>
                  <p:cNvPr id="890" name="Graphic 169">
                    <a:extLst>
                      <a:ext uri="{FF2B5EF4-FFF2-40B4-BE49-F238E27FC236}">
                        <a16:creationId xmlns:a16="http://schemas.microsoft.com/office/drawing/2014/main" id="{CFB2E539-7874-BCE2-8C53-D8789C2F1CDA}"/>
                      </a:ext>
                    </a:extLst>
                  </p:cNvPr>
                  <p:cNvGrpSpPr/>
                  <p:nvPr/>
                </p:nvGrpSpPr>
                <p:grpSpPr>
                  <a:xfrm>
                    <a:off x="3690486" y="2366556"/>
                    <a:ext cx="259652" cy="446987"/>
                    <a:chOff x="3690486" y="2366556"/>
                    <a:chExt cx="259652" cy="446987"/>
                  </a:xfrm>
                </p:grpSpPr>
                <p:sp>
                  <p:nvSpPr>
                    <p:cNvPr id="892" name="Freeform: Shape 3313">
                      <a:extLst>
                        <a:ext uri="{FF2B5EF4-FFF2-40B4-BE49-F238E27FC236}">
                          <a16:creationId xmlns:a16="http://schemas.microsoft.com/office/drawing/2014/main" id="{B3BE6F2A-144B-06DF-9F24-70A1DE3D6F1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697923" y="2374236"/>
                      <a:ext cx="240780" cy="430734"/>
                    </a:xfrm>
                    <a:custGeom>
                      <a:avLst/>
                      <a:gdLst>
                        <a:gd name="connsiteX0" fmla="*/ 143849 w 188541"/>
                        <a:gd name="connsiteY0" fmla="*/ 453490 h 454436"/>
                        <a:gd name="connsiteX1" fmla="*/ 188521 w 188541"/>
                        <a:gd name="connsiteY1" fmla="*/ 400436 h 454436"/>
                        <a:gd name="connsiteX2" fmla="*/ 182330 w 188541"/>
                        <a:gd name="connsiteY2" fmla="*/ 51535 h 454436"/>
                        <a:gd name="connsiteX3" fmla="*/ 139277 w 188541"/>
                        <a:gd name="connsiteY3" fmla="*/ 5 h 454436"/>
                        <a:gd name="connsiteX4" fmla="*/ 94128 w 188541"/>
                        <a:gd name="connsiteY4" fmla="*/ 862 h 454436"/>
                        <a:gd name="connsiteX5" fmla="*/ 48980 w 188541"/>
                        <a:gd name="connsiteY5" fmla="*/ 767 h 454436"/>
                        <a:gd name="connsiteX6" fmla="*/ 5927 w 188541"/>
                        <a:gd name="connsiteY6" fmla="*/ 52392 h 454436"/>
                        <a:gd name="connsiteX7" fmla="*/ 21 w 188541"/>
                        <a:gd name="connsiteY7" fmla="*/ 401007 h 454436"/>
                        <a:gd name="connsiteX8" fmla="*/ 44598 w 188541"/>
                        <a:gd name="connsiteY8" fmla="*/ 453966 h 454436"/>
                        <a:gd name="connsiteX9" fmla="*/ 94128 w 188541"/>
                        <a:gd name="connsiteY9" fmla="*/ 454252 h 454436"/>
                        <a:gd name="connsiteX10" fmla="*/ 143753 w 188541"/>
                        <a:gd name="connsiteY10" fmla="*/ 453490 h 45443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188541" h="454436">
                          <a:moveTo>
                            <a:pt x="143849" y="453490"/>
                          </a:moveTo>
                          <a:cubicBezTo>
                            <a:pt x="169280" y="453109"/>
                            <a:pt x="189283" y="429296"/>
                            <a:pt x="188521" y="400436"/>
                          </a:cubicBezTo>
                          <a:lnTo>
                            <a:pt x="182330" y="51535"/>
                          </a:lnTo>
                          <a:cubicBezTo>
                            <a:pt x="181568" y="22674"/>
                            <a:pt x="162232" y="-376"/>
                            <a:pt x="139277" y="5"/>
                          </a:cubicBezTo>
                          <a:lnTo>
                            <a:pt x="94128" y="862"/>
                          </a:lnTo>
                          <a:cubicBezTo>
                            <a:pt x="79079" y="1338"/>
                            <a:pt x="64029" y="862"/>
                            <a:pt x="48980" y="767"/>
                          </a:cubicBezTo>
                          <a:cubicBezTo>
                            <a:pt x="26024" y="481"/>
                            <a:pt x="6689" y="23627"/>
                            <a:pt x="5927" y="52392"/>
                          </a:cubicBezTo>
                          <a:lnTo>
                            <a:pt x="21" y="401007"/>
                          </a:lnTo>
                          <a:cubicBezTo>
                            <a:pt x="-741" y="429773"/>
                            <a:pt x="19262" y="453585"/>
                            <a:pt x="44598" y="453966"/>
                          </a:cubicBezTo>
                          <a:cubicBezTo>
                            <a:pt x="61076" y="454157"/>
                            <a:pt x="77555" y="454728"/>
                            <a:pt x="94128" y="454252"/>
                          </a:cubicBezTo>
                          <a:lnTo>
                            <a:pt x="143753" y="453490"/>
                          </a:lnTo>
                          <a:close/>
                        </a:path>
                      </a:pathLst>
                    </a:custGeom>
                    <a:solidFill>
                      <a:srgbClr val="ECE2A6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>
                        <a:defRPr/>
                      </a:pPr>
                      <a:endParaRPr lang="en-US" sz="1600" kern="0">
                        <a:solidFill>
                          <a:srgbClr val="000000"/>
                        </a:solidFill>
                        <a:latin typeface="Arial" panose="020B0604020202020204"/>
                      </a:endParaRPr>
                    </a:p>
                  </p:txBody>
                </p:sp>
                <p:sp>
                  <p:nvSpPr>
                    <p:cNvPr id="893" name="Freeform: Shape 3314">
                      <a:extLst>
                        <a:ext uri="{FF2B5EF4-FFF2-40B4-BE49-F238E27FC236}">
                          <a16:creationId xmlns:a16="http://schemas.microsoft.com/office/drawing/2014/main" id="{317BC464-B795-A4AA-DFFB-7DFE127306F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690486" y="2366556"/>
                      <a:ext cx="259652" cy="446987"/>
                    </a:xfrm>
                    <a:custGeom>
                      <a:avLst/>
                      <a:gdLst>
                        <a:gd name="connsiteX0" fmla="*/ 56416 w 203319"/>
                        <a:gd name="connsiteY0" fmla="*/ 17913 h 471583"/>
                        <a:gd name="connsiteX1" fmla="*/ 101660 w 203319"/>
                        <a:gd name="connsiteY1" fmla="*/ 18008 h 471583"/>
                        <a:gd name="connsiteX2" fmla="*/ 146904 w 203319"/>
                        <a:gd name="connsiteY2" fmla="*/ 17151 h 471583"/>
                        <a:gd name="connsiteX3" fmla="*/ 182908 w 203319"/>
                        <a:gd name="connsiteY3" fmla="*/ 60204 h 471583"/>
                        <a:gd name="connsiteX4" fmla="*/ 188623 w 203319"/>
                        <a:gd name="connsiteY4" fmla="*/ 409105 h 471583"/>
                        <a:gd name="connsiteX5" fmla="*/ 151285 w 203319"/>
                        <a:gd name="connsiteY5" fmla="*/ 453396 h 471583"/>
                        <a:gd name="connsiteX6" fmla="*/ 101755 w 203319"/>
                        <a:gd name="connsiteY6" fmla="*/ 454158 h 471583"/>
                        <a:gd name="connsiteX7" fmla="*/ 52320 w 203319"/>
                        <a:gd name="connsiteY7" fmla="*/ 453872 h 471583"/>
                        <a:gd name="connsiteX8" fmla="*/ 15078 w 203319"/>
                        <a:gd name="connsiteY8" fmla="*/ 409676 h 471583"/>
                        <a:gd name="connsiteX9" fmla="*/ 20412 w 203319"/>
                        <a:gd name="connsiteY9" fmla="*/ 61061 h 471583"/>
                        <a:gd name="connsiteX10" fmla="*/ 56416 w 203319"/>
                        <a:gd name="connsiteY10" fmla="*/ 17913 h 471583"/>
                        <a:gd name="connsiteX11" fmla="*/ 56607 w 203319"/>
                        <a:gd name="connsiteY11" fmla="*/ 768 h 471583"/>
                        <a:gd name="connsiteX12" fmla="*/ 6410 w 203319"/>
                        <a:gd name="connsiteY12" fmla="*/ 60871 h 471583"/>
                        <a:gd name="connsiteX13" fmla="*/ 28 w 203319"/>
                        <a:gd name="connsiteY13" fmla="*/ 409486 h 471583"/>
                        <a:gd name="connsiteX14" fmla="*/ 51939 w 203319"/>
                        <a:gd name="connsiteY14" fmla="*/ 471113 h 471583"/>
                        <a:gd name="connsiteX15" fmla="*/ 101565 w 203319"/>
                        <a:gd name="connsiteY15" fmla="*/ 471398 h 471583"/>
                        <a:gd name="connsiteX16" fmla="*/ 151285 w 203319"/>
                        <a:gd name="connsiteY16" fmla="*/ 470636 h 471583"/>
                        <a:gd name="connsiteX17" fmla="*/ 203292 w 203319"/>
                        <a:gd name="connsiteY17" fmla="*/ 408914 h 471583"/>
                        <a:gd name="connsiteX18" fmla="*/ 196624 w 203319"/>
                        <a:gd name="connsiteY18" fmla="*/ 60014 h 471583"/>
                        <a:gd name="connsiteX19" fmla="*/ 146618 w 203319"/>
                        <a:gd name="connsiteY19" fmla="*/ 6 h 471583"/>
                        <a:gd name="connsiteX20" fmla="*/ 101660 w 203319"/>
                        <a:gd name="connsiteY20" fmla="*/ 863 h 471583"/>
                        <a:gd name="connsiteX21" fmla="*/ 56607 w 203319"/>
                        <a:gd name="connsiteY21" fmla="*/ 768 h 4715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</a:cxnLst>
                      <a:rect l="l" t="t" r="r" b="b"/>
                      <a:pathLst>
                        <a:path w="203319" h="471583">
                          <a:moveTo>
                            <a:pt x="56416" y="17913"/>
                          </a:moveTo>
                          <a:cubicBezTo>
                            <a:pt x="71466" y="18008"/>
                            <a:pt x="86610" y="18580"/>
                            <a:pt x="101660" y="18008"/>
                          </a:cubicBezTo>
                          <a:lnTo>
                            <a:pt x="146904" y="17151"/>
                          </a:lnTo>
                          <a:cubicBezTo>
                            <a:pt x="166144" y="16770"/>
                            <a:pt x="182337" y="36106"/>
                            <a:pt x="182908" y="60204"/>
                          </a:cubicBezTo>
                          <a:lnTo>
                            <a:pt x="188623" y="409105"/>
                          </a:lnTo>
                          <a:cubicBezTo>
                            <a:pt x="189195" y="433203"/>
                            <a:pt x="172526" y="453110"/>
                            <a:pt x="151285" y="453396"/>
                          </a:cubicBezTo>
                          <a:lnTo>
                            <a:pt x="101755" y="454158"/>
                          </a:lnTo>
                          <a:cubicBezTo>
                            <a:pt x="85182" y="454634"/>
                            <a:pt x="68799" y="454158"/>
                            <a:pt x="52320" y="453872"/>
                          </a:cubicBezTo>
                          <a:cubicBezTo>
                            <a:pt x="31175" y="453587"/>
                            <a:pt x="14506" y="433679"/>
                            <a:pt x="15078" y="409676"/>
                          </a:cubicBezTo>
                          <a:lnTo>
                            <a:pt x="20412" y="61061"/>
                          </a:lnTo>
                          <a:cubicBezTo>
                            <a:pt x="20983" y="36963"/>
                            <a:pt x="37176" y="17627"/>
                            <a:pt x="56416" y="17913"/>
                          </a:cubicBezTo>
                          <a:moveTo>
                            <a:pt x="56607" y="768"/>
                          </a:moveTo>
                          <a:cubicBezTo>
                            <a:pt x="29937" y="387"/>
                            <a:pt x="7362" y="27438"/>
                            <a:pt x="6410" y="60871"/>
                          </a:cubicBezTo>
                          <a:lnTo>
                            <a:pt x="28" y="409486"/>
                          </a:lnTo>
                          <a:cubicBezTo>
                            <a:pt x="-924" y="442919"/>
                            <a:pt x="22412" y="470636"/>
                            <a:pt x="51939" y="471113"/>
                          </a:cubicBezTo>
                          <a:cubicBezTo>
                            <a:pt x="68513" y="471303"/>
                            <a:pt x="84991" y="471875"/>
                            <a:pt x="101565" y="471398"/>
                          </a:cubicBezTo>
                          <a:lnTo>
                            <a:pt x="151285" y="470636"/>
                          </a:lnTo>
                          <a:cubicBezTo>
                            <a:pt x="180908" y="470160"/>
                            <a:pt x="204244" y="442347"/>
                            <a:pt x="203292" y="408914"/>
                          </a:cubicBezTo>
                          <a:lnTo>
                            <a:pt x="196624" y="60014"/>
                          </a:lnTo>
                          <a:cubicBezTo>
                            <a:pt x="195767" y="26486"/>
                            <a:pt x="173193" y="-470"/>
                            <a:pt x="146618" y="6"/>
                          </a:cubicBezTo>
                          <a:lnTo>
                            <a:pt x="101660" y="863"/>
                          </a:lnTo>
                          <a:cubicBezTo>
                            <a:pt x="86706" y="1340"/>
                            <a:pt x="71656" y="863"/>
                            <a:pt x="56607" y="768"/>
                          </a:cubicBezTo>
                          <a:close/>
                        </a:path>
                      </a:pathLst>
                    </a:custGeom>
                    <a:solidFill>
                      <a:srgbClr val="5B6C10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>
                        <a:defRPr/>
                      </a:pPr>
                      <a:endParaRPr lang="en-US" sz="1600" kern="0">
                        <a:solidFill>
                          <a:srgbClr val="000000"/>
                        </a:solidFill>
                        <a:latin typeface="Arial" panose="020B0604020202020204"/>
                      </a:endParaRPr>
                    </a:p>
                  </p:txBody>
                </p:sp>
              </p:grpSp>
              <p:sp>
                <p:nvSpPr>
                  <p:cNvPr id="891" name="Freeform: Shape 3312">
                    <a:extLst>
                      <a:ext uri="{FF2B5EF4-FFF2-40B4-BE49-F238E27FC236}">
                        <a16:creationId xmlns:a16="http://schemas.microsoft.com/office/drawing/2014/main" id="{09A0BFB9-F717-DD9E-27F3-37B8FF3D83F1}"/>
                      </a:ext>
                    </a:extLst>
                  </p:cNvPr>
                  <p:cNvSpPr/>
                  <p:nvPr/>
                </p:nvSpPr>
                <p:spPr>
                  <a:xfrm>
                    <a:off x="3771346" y="2693433"/>
                    <a:ext cx="94779" cy="76790"/>
                  </a:xfrm>
                  <a:custGeom>
                    <a:avLst/>
                    <a:gdLst>
                      <a:gd name="connsiteX0" fmla="*/ 3 w 94779"/>
                      <a:gd name="connsiteY0" fmla="*/ 38202 h 76790"/>
                      <a:gd name="connsiteX1" fmla="*/ 47342 w 94779"/>
                      <a:gd name="connsiteY1" fmla="*/ 76778 h 76790"/>
                      <a:gd name="connsiteX2" fmla="*/ 94777 w 94779"/>
                      <a:gd name="connsiteY2" fmla="*/ 37630 h 76790"/>
                      <a:gd name="connsiteX3" fmla="*/ 47437 w 94779"/>
                      <a:gd name="connsiteY3" fmla="*/ 6 h 76790"/>
                      <a:gd name="connsiteX4" fmla="*/ 98 w 94779"/>
                      <a:gd name="connsiteY4" fmla="*/ 38106 h 7679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94779" h="76790">
                        <a:moveTo>
                          <a:pt x="3" y="38202"/>
                        </a:moveTo>
                        <a:cubicBezTo>
                          <a:pt x="-283" y="59157"/>
                          <a:pt x="20863" y="77349"/>
                          <a:pt x="47342" y="76778"/>
                        </a:cubicBezTo>
                        <a:cubicBezTo>
                          <a:pt x="73822" y="76397"/>
                          <a:pt x="95062" y="58871"/>
                          <a:pt x="94777" y="37630"/>
                        </a:cubicBezTo>
                        <a:cubicBezTo>
                          <a:pt x="94491" y="16389"/>
                          <a:pt x="73250" y="-375"/>
                          <a:pt x="47437" y="6"/>
                        </a:cubicBezTo>
                        <a:cubicBezTo>
                          <a:pt x="21529" y="578"/>
                          <a:pt x="384" y="16770"/>
                          <a:pt x="98" y="38106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grpSp>
              <p:nvGrpSpPr>
                <p:cNvPr id="875" name="Group 874">
                  <a:extLst>
                    <a:ext uri="{FF2B5EF4-FFF2-40B4-BE49-F238E27FC236}">
                      <a16:creationId xmlns:a16="http://schemas.microsoft.com/office/drawing/2014/main" id="{B2ED4078-7E4A-93C8-92BC-EB04FE6BF9FE}"/>
                    </a:ext>
                  </a:extLst>
                </p:cNvPr>
                <p:cNvGrpSpPr/>
                <p:nvPr/>
              </p:nvGrpSpPr>
              <p:grpSpPr>
                <a:xfrm>
                  <a:off x="5292918" y="2417361"/>
                  <a:ext cx="169678" cy="159027"/>
                  <a:chOff x="3727662" y="2369589"/>
                  <a:chExt cx="136588" cy="128016"/>
                </a:xfrm>
                <a:solidFill>
                  <a:srgbClr val="3C1053"/>
                </a:solidFill>
              </p:grpSpPr>
              <p:sp>
                <p:nvSpPr>
                  <p:cNvPr id="876" name="Freeform: Shape 3297">
                    <a:extLst>
                      <a:ext uri="{FF2B5EF4-FFF2-40B4-BE49-F238E27FC236}">
                        <a16:creationId xmlns:a16="http://schemas.microsoft.com/office/drawing/2014/main" id="{9A0A8C85-485E-B5CD-C943-E0529C57BECE}"/>
                      </a:ext>
                    </a:extLst>
                  </p:cNvPr>
                  <p:cNvSpPr/>
                  <p:nvPr/>
                </p:nvSpPr>
                <p:spPr>
                  <a:xfrm>
                    <a:off x="3739283" y="2389782"/>
                    <a:ext cx="33146" cy="33147"/>
                  </a:xfrm>
                  <a:custGeom>
                    <a:avLst/>
                    <a:gdLst>
                      <a:gd name="connsiteX0" fmla="*/ 33147 w 33146"/>
                      <a:gd name="connsiteY0" fmla="*/ 16574 h 33147"/>
                      <a:gd name="connsiteX1" fmla="*/ 16574 w 33146"/>
                      <a:gd name="connsiteY1" fmla="*/ 33147 h 33147"/>
                      <a:gd name="connsiteX2" fmla="*/ 0 w 33146"/>
                      <a:gd name="connsiteY2" fmla="*/ 16574 h 33147"/>
                      <a:gd name="connsiteX3" fmla="*/ 16574 w 33146"/>
                      <a:gd name="connsiteY3" fmla="*/ 0 h 33147"/>
                      <a:gd name="connsiteX4" fmla="*/ 33147 w 33146"/>
                      <a:gd name="connsiteY4" fmla="*/ 16574 h 331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3146" h="33147">
                        <a:moveTo>
                          <a:pt x="33147" y="16574"/>
                        </a:moveTo>
                        <a:cubicBezTo>
                          <a:pt x="33147" y="25727"/>
                          <a:pt x="25727" y="33147"/>
                          <a:pt x="16574" y="33147"/>
                        </a:cubicBezTo>
                        <a:cubicBezTo>
                          <a:pt x="7420" y="33147"/>
                          <a:pt x="0" y="25727"/>
                          <a:pt x="0" y="16574"/>
                        </a:cubicBezTo>
                        <a:cubicBezTo>
                          <a:pt x="0" y="7420"/>
                          <a:pt x="7420" y="0"/>
                          <a:pt x="16574" y="0"/>
                        </a:cubicBezTo>
                        <a:cubicBezTo>
                          <a:pt x="25727" y="0"/>
                          <a:pt x="33147" y="7420"/>
                          <a:pt x="33147" y="16574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877" name="Freeform: Shape 3298">
                    <a:extLst>
                      <a:ext uri="{FF2B5EF4-FFF2-40B4-BE49-F238E27FC236}">
                        <a16:creationId xmlns:a16="http://schemas.microsoft.com/office/drawing/2014/main" id="{54E1ADC6-377A-EED8-8A74-C9EC855A0E56}"/>
                      </a:ext>
                    </a:extLst>
                  </p:cNvPr>
                  <p:cNvSpPr/>
                  <p:nvPr/>
                </p:nvSpPr>
                <p:spPr>
                  <a:xfrm>
                    <a:off x="3808529" y="2423691"/>
                    <a:ext cx="33147" cy="33147"/>
                  </a:xfrm>
                  <a:custGeom>
                    <a:avLst/>
                    <a:gdLst>
                      <a:gd name="connsiteX0" fmla="*/ 33147 w 33147"/>
                      <a:gd name="connsiteY0" fmla="*/ 16573 h 33147"/>
                      <a:gd name="connsiteX1" fmla="*/ 16574 w 33147"/>
                      <a:gd name="connsiteY1" fmla="*/ 33147 h 33147"/>
                      <a:gd name="connsiteX2" fmla="*/ 0 w 33147"/>
                      <a:gd name="connsiteY2" fmla="*/ 16573 h 33147"/>
                      <a:gd name="connsiteX3" fmla="*/ 16574 w 33147"/>
                      <a:gd name="connsiteY3" fmla="*/ 0 h 33147"/>
                      <a:gd name="connsiteX4" fmla="*/ 33147 w 33147"/>
                      <a:gd name="connsiteY4" fmla="*/ 16573 h 331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3147" h="33147">
                        <a:moveTo>
                          <a:pt x="33147" y="16573"/>
                        </a:moveTo>
                        <a:cubicBezTo>
                          <a:pt x="33147" y="25727"/>
                          <a:pt x="25727" y="33147"/>
                          <a:pt x="16574" y="33147"/>
                        </a:cubicBezTo>
                        <a:cubicBezTo>
                          <a:pt x="7420" y="33147"/>
                          <a:pt x="0" y="25727"/>
                          <a:pt x="0" y="16573"/>
                        </a:cubicBezTo>
                        <a:cubicBezTo>
                          <a:pt x="0" y="7420"/>
                          <a:pt x="7420" y="0"/>
                          <a:pt x="16574" y="0"/>
                        </a:cubicBezTo>
                        <a:cubicBezTo>
                          <a:pt x="25727" y="0"/>
                          <a:pt x="33147" y="7420"/>
                          <a:pt x="33147" y="16573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878" name="Freeform: Shape 3299">
                    <a:extLst>
                      <a:ext uri="{FF2B5EF4-FFF2-40B4-BE49-F238E27FC236}">
                        <a16:creationId xmlns:a16="http://schemas.microsoft.com/office/drawing/2014/main" id="{DA42BFE0-DFD4-CC7D-946C-01E7D4E55A5A}"/>
                      </a:ext>
                    </a:extLst>
                  </p:cNvPr>
                  <p:cNvSpPr/>
                  <p:nvPr/>
                </p:nvSpPr>
                <p:spPr>
                  <a:xfrm>
                    <a:off x="3748998" y="2442741"/>
                    <a:ext cx="16573" cy="16573"/>
                  </a:xfrm>
                  <a:custGeom>
                    <a:avLst/>
                    <a:gdLst>
                      <a:gd name="connsiteX0" fmla="*/ 16574 w 16573"/>
                      <a:gd name="connsiteY0" fmla="*/ 8287 h 16573"/>
                      <a:gd name="connsiteX1" fmla="*/ 8287 w 16573"/>
                      <a:gd name="connsiteY1" fmla="*/ 16573 h 16573"/>
                      <a:gd name="connsiteX2" fmla="*/ 0 w 16573"/>
                      <a:gd name="connsiteY2" fmla="*/ 8287 h 16573"/>
                      <a:gd name="connsiteX3" fmla="*/ 8287 w 16573"/>
                      <a:gd name="connsiteY3" fmla="*/ 0 h 16573"/>
                      <a:gd name="connsiteX4" fmla="*/ 16574 w 16573"/>
                      <a:gd name="connsiteY4" fmla="*/ 8287 h 165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6573" h="16573">
                        <a:moveTo>
                          <a:pt x="16574" y="8287"/>
                        </a:moveTo>
                        <a:cubicBezTo>
                          <a:pt x="16574" y="12863"/>
                          <a:pt x="12863" y="16573"/>
                          <a:pt x="8287" y="16573"/>
                        </a:cubicBezTo>
                        <a:cubicBezTo>
                          <a:pt x="3710" y="16573"/>
                          <a:pt x="0" y="12863"/>
                          <a:pt x="0" y="8287"/>
                        </a:cubicBezTo>
                        <a:cubicBezTo>
                          <a:pt x="0" y="3710"/>
                          <a:pt x="3710" y="0"/>
                          <a:pt x="8287" y="0"/>
                        </a:cubicBezTo>
                        <a:cubicBezTo>
                          <a:pt x="12863" y="0"/>
                          <a:pt x="16574" y="3710"/>
                          <a:pt x="16574" y="8287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879" name="Freeform: Shape 3300">
                    <a:extLst>
                      <a:ext uri="{FF2B5EF4-FFF2-40B4-BE49-F238E27FC236}">
                        <a16:creationId xmlns:a16="http://schemas.microsoft.com/office/drawing/2014/main" id="{F3474780-3553-852A-B780-D6B1DD19A7AA}"/>
                      </a:ext>
                    </a:extLst>
                  </p:cNvPr>
                  <p:cNvSpPr/>
                  <p:nvPr/>
                </p:nvSpPr>
                <p:spPr>
                  <a:xfrm>
                    <a:off x="3780526" y="2389496"/>
                    <a:ext cx="16573" cy="16573"/>
                  </a:xfrm>
                  <a:custGeom>
                    <a:avLst/>
                    <a:gdLst>
                      <a:gd name="connsiteX0" fmla="*/ 16573 w 16573"/>
                      <a:gd name="connsiteY0" fmla="*/ 8287 h 16573"/>
                      <a:gd name="connsiteX1" fmla="*/ 8287 w 16573"/>
                      <a:gd name="connsiteY1" fmla="*/ 16574 h 16573"/>
                      <a:gd name="connsiteX2" fmla="*/ 0 w 16573"/>
                      <a:gd name="connsiteY2" fmla="*/ 8287 h 16573"/>
                      <a:gd name="connsiteX3" fmla="*/ 8287 w 16573"/>
                      <a:gd name="connsiteY3" fmla="*/ 0 h 16573"/>
                      <a:gd name="connsiteX4" fmla="*/ 16573 w 16573"/>
                      <a:gd name="connsiteY4" fmla="*/ 8287 h 165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6573" h="16573">
                        <a:moveTo>
                          <a:pt x="16573" y="8287"/>
                        </a:moveTo>
                        <a:cubicBezTo>
                          <a:pt x="16573" y="12863"/>
                          <a:pt x="12863" y="16574"/>
                          <a:pt x="8287" y="16574"/>
                        </a:cubicBezTo>
                        <a:cubicBezTo>
                          <a:pt x="3710" y="16574"/>
                          <a:pt x="0" y="12863"/>
                          <a:pt x="0" y="8287"/>
                        </a:cubicBezTo>
                        <a:cubicBezTo>
                          <a:pt x="0" y="3710"/>
                          <a:pt x="3710" y="0"/>
                          <a:pt x="8287" y="0"/>
                        </a:cubicBezTo>
                        <a:cubicBezTo>
                          <a:pt x="12863" y="0"/>
                          <a:pt x="16573" y="3710"/>
                          <a:pt x="16573" y="8287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880" name="Freeform: Shape 3301">
                    <a:extLst>
                      <a:ext uri="{FF2B5EF4-FFF2-40B4-BE49-F238E27FC236}">
                        <a16:creationId xmlns:a16="http://schemas.microsoft.com/office/drawing/2014/main" id="{D2364C10-5C38-C24E-440F-B2CD22CB431A}"/>
                      </a:ext>
                    </a:extLst>
                  </p:cNvPr>
                  <p:cNvSpPr/>
                  <p:nvPr/>
                </p:nvSpPr>
                <p:spPr>
                  <a:xfrm>
                    <a:off x="3832913" y="2381210"/>
                    <a:ext cx="16573" cy="16573"/>
                  </a:xfrm>
                  <a:custGeom>
                    <a:avLst/>
                    <a:gdLst>
                      <a:gd name="connsiteX0" fmla="*/ 16574 w 16573"/>
                      <a:gd name="connsiteY0" fmla="*/ 8287 h 16573"/>
                      <a:gd name="connsiteX1" fmla="*/ 8287 w 16573"/>
                      <a:gd name="connsiteY1" fmla="*/ 16573 h 16573"/>
                      <a:gd name="connsiteX2" fmla="*/ 0 w 16573"/>
                      <a:gd name="connsiteY2" fmla="*/ 8287 h 16573"/>
                      <a:gd name="connsiteX3" fmla="*/ 8287 w 16573"/>
                      <a:gd name="connsiteY3" fmla="*/ 0 h 16573"/>
                      <a:gd name="connsiteX4" fmla="*/ 16574 w 16573"/>
                      <a:gd name="connsiteY4" fmla="*/ 8287 h 165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6573" h="16573">
                        <a:moveTo>
                          <a:pt x="16574" y="8287"/>
                        </a:moveTo>
                        <a:cubicBezTo>
                          <a:pt x="16574" y="12863"/>
                          <a:pt x="12863" y="16573"/>
                          <a:pt x="8287" y="16573"/>
                        </a:cubicBezTo>
                        <a:cubicBezTo>
                          <a:pt x="3710" y="16573"/>
                          <a:pt x="0" y="12863"/>
                          <a:pt x="0" y="8287"/>
                        </a:cubicBezTo>
                        <a:cubicBezTo>
                          <a:pt x="0" y="3710"/>
                          <a:pt x="3710" y="0"/>
                          <a:pt x="8287" y="0"/>
                        </a:cubicBezTo>
                        <a:cubicBezTo>
                          <a:pt x="12863" y="0"/>
                          <a:pt x="16574" y="3710"/>
                          <a:pt x="16574" y="8287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881" name="Freeform: Shape 3302">
                    <a:extLst>
                      <a:ext uri="{FF2B5EF4-FFF2-40B4-BE49-F238E27FC236}">
                        <a16:creationId xmlns:a16="http://schemas.microsoft.com/office/drawing/2014/main" id="{7FBD4B7B-6AF4-2D17-B078-1658847D2019}"/>
                      </a:ext>
                    </a:extLst>
                  </p:cNvPr>
                  <p:cNvSpPr/>
                  <p:nvPr/>
                </p:nvSpPr>
                <p:spPr>
                  <a:xfrm>
                    <a:off x="3847677" y="2416738"/>
                    <a:ext cx="16573" cy="16573"/>
                  </a:xfrm>
                  <a:custGeom>
                    <a:avLst/>
                    <a:gdLst>
                      <a:gd name="connsiteX0" fmla="*/ 16573 w 16573"/>
                      <a:gd name="connsiteY0" fmla="*/ 8287 h 16573"/>
                      <a:gd name="connsiteX1" fmla="*/ 8287 w 16573"/>
                      <a:gd name="connsiteY1" fmla="*/ 16574 h 16573"/>
                      <a:gd name="connsiteX2" fmla="*/ 0 w 16573"/>
                      <a:gd name="connsiteY2" fmla="*/ 8287 h 16573"/>
                      <a:gd name="connsiteX3" fmla="*/ 8287 w 16573"/>
                      <a:gd name="connsiteY3" fmla="*/ 0 h 16573"/>
                      <a:gd name="connsiteX4" fmla="*/ 16573 w 16573"/>
                      <a:gd name="connsiteY4" fmla="*/ 8287 h 165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6573" h="16573">
                        <a:moveTo>
                          <a:pt x="16573" y="8287"/>
                        </a:moveTo>
                        <a:cubicBezTo>
                          <a:pt x="16573" y="12863"/>
                          <a:pt x="12863" y="16574"/>
                          <a:pt x="8287" y="16574"/>
                        </a:cubicBezTo>
                        <a:cubicBezTo>
                          <a:pt x="3710" y="16574"/>
                          <a:pt x="0" y="12863"/>
                          <a:pt x="0" y="8287"/>
                        </a:cubicBezTo>
                        <a:cubicBezTo>
                          <a:pt x="0" y="3710"/>
                          <a:pt x="3710" y="0"/>
                          <a:pt x="8287" y="0"/>
                        </a:cubicBezTo>
                        <a:cubicBezTo>
                          <a:pt x="12863" y="0"/>
                          <a:pt x="16573" y="3710"/>
                          <a:pt x="16573" y="8287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882" name="Freeform: Shape 3303">
                    <a:extLst>
                      <a:ext uri="{FF2B5EF4-FFF2-40B4-BE49-F238E27FC236}">
                        <a16:creationId xmlns:a16="http://schemas.microsoft.com/office/drawing/2014/main" id="{E05111C9-102B-8D84-4C54-79FD9AC0E789}"/>
                      </a:ext>
                    </a:extLst>
                  </p:cNvPr>
                  <p:cNvSpPr/>
                  <p:nvPr/>
                </p:nvSpPr>
                <p:spPr>
                  <a:xfrm>
                    <a:off x="3788813" y="2428644"/>
                    <a:ext cx="11620" cy="11620"/>
                  </a:xfrm>
                  <a:custGeom>
                    <a:avLst/>
                    <a:gdLst>
                      <a:gd name="connsiteX0" fmla="*/ 11621 w 11620"/>
                      <a:gd name="connsiteY0" fmla="*/ 5810 h 11620"/>
                      <a:gd name="connsiteX1" fmla="*/ 5810 w 11620"/>
                      <a:gd name="connsiteY1" fmla="*/ 11620 h 11620"/>
                      <a:gd name="connsiteX2" fmla="*/ 0 w 11620"/>
                      <a:gd name="connsiteY2" fmla="*/ 5810 h 11620"/>
                      <a:gd name="connsiteX3" fmla="*/ 5810 w 11620"/>
                      <a:gd name="connsiteY3" fmla="*/ 0 h 11620"/>
                      <a:gd name="connsiteX4" fmla="*/ 11621 w 11620"/>
                      <a:gd name="connsiteY4" fmla="*/ 5810 h 116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620" h="11620">
                        <a:moveTo>
                          <a:pt x="11621" y="5810"/>
                        </a:moveTo>
                        <a:cubicBezTo>
                          <a:pt x="11621" y="9019"/>
                          <a:pt x="9019" y="11620"/>
                          <a:pt x="5810" y="11620"/>
                        </a:cubicBezTo>
                        <a:cubicBezTo>
                          <a:pt x="2601" y="11620"/>
                          <a:pt x="0" y="9019"/>
                          <a:pt x="0" y="5810"/>
                        </a:cubicBezTo>
                        <a:cubicBezTo>
                          <a:pt x="0" y="2601"/>
                          <a:pt x="2601" y="0"/>
                          <a:pt x="5810" y="0"/>
                        </a:cubicBezTo>
                        <a:cubicBezTo>
                          <a:pt x="9019" y="0"/>
                          <a:pt x="11621" y="2601"/>
                          <a:pt x="11621" y="5810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883" name="Freeform: Shape 3304">
                    <a:extLst>
                      <a:ext uri="{FF2B5EF4-FFF2-40B4-BE49-F238E27FC236}">
                        <a16:creationId xmlns:a16="http://schemas.microsoft.com/office/drawing/2014/main" id="{BC3C3ACE-C4BC-F3B1-5C48-D3EE2B6DBBD3}"/>
                      </a:ext>
                    </a:extLst>
                  </p:cNvPr>
                  <p:cNvSpPr/>
                  <p:nvPr/>
                </p:nvSpPr>
                <p:spPr>
                  <a:xfrm>
                    <a:off x="3727662" y="2431121"/>
                    <a:ext cx="11620" cy="11620"/>
                  </a:xfrm>
                  <a:custGeom>
                    <a:avLst/>
                    <a:gdLst>
                      <a:gd name="connsiteX0" fmla="*/ 11620 w 11620"/>
                      <a:gd name="connsiteY0" fmla="*/ 5810 h 11620"/>
                      <a:gd name="connsiteX1" fmla="*/ 5810 w 11620"/>
                      <a:gd name="connsiteY1" fmla="*/ 11620 h 11620"/>
                      <a:gd name="connsiteX2" fmla="*/ 0 w 11620"/>
                      <a:gd name="connsiteY2" fmla="*/ 5810 h 11620"/>
                      <a:gd name="connsiteX3" fmla="*/ 5810 w 11620"/>
                      <a:gd name="connsiteY3" fmla="*/ 0 h 11620"/>
                      <a:gd name="connsiteX4" fmla="*/ 11620 w 11620"/>
                      <a:gd name="connsiteY4" fmla="*/ 5810 h 116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620" h="11620">
                        <a:moveTo>
                          <a:pt x="11620" y="5810"/>
                        </a:moveTo>
                        <a:cubicBezTo>
                          <a:pt x="11620" y="9019"/>
                          <a:pt x="9019" y="11620"/>
                          <a:pt x="5810" y="11620"/>
                        </a:cubicBezTo>
                        <a:cubicBezTo>
                          <a:pt x="2601" y="11620"/>
                          <a:pt x="0" y="9019"/>
                          <a:pt x="0" y="5810"/>
                        </a:cubicBezTo>
                        <a:cubicBezTo>
                          <a:pt x="0" y="2601"/>
                          <a:pt x="2601" y="0"/>
                          <a:pt x="5810" y="0"/>
                        </a:cubicBezTo>
                        <a:cubicBezTo>
                          <a:pt x="9019" y="0"/>
                          <a:pt x="11620" y="2601"/>
                          <a:pt x="11620" y="5810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884" name="Freeform: Shape 3305">
                    <a:extLst>
                      <a:ext uri="{FF2B5EF4-FFF2-40B4-BE49-F238E27FC236}">
                        <a16:creationId xmlns:a16="http://schemas.microsoft.com/office/drawing/2014/main" id="{623EB425-2FFF-FD59-B86F-A52097D48059}"/>
                      </a:ext>
                    </a:extLst>
                  </p:cNvPr>
                  <p:cNvSpPr/>
                  <p:nvPr/>
                </p:nvSpPr>
                <p:spPr>
                  <a:xfrm>
                    <a:off x="3819293" y="2369589"/>
                    <a:ext cx="11620" cy="11620"/>
                  </a:xfrm>
                  <a:custGeom>
                    <a:avLst/>
                    <a:gdLst>
                      <a:gd name="connsiteX0" fmla="*/ 11620 w 11620"/>
                      <a:gd name="connsiteY0" fmla="*/ 5810 h 11620"/>
                      <a:gd name="connsiteX1" fmla="*/ 5810 w 11620"/>
                      <a:gd name="connsiteY1" fmla="*/ 11620 h 11620"/>
                      <a:gd name="connsiteX2" fmla="*/ 0 w 11620"/>
                      <a:gd name="connsiteY2" fmla="*/ 5810 h 11620"/>
                      <a:gd name="connsiteX3" fmla="*/ 5810 w 11620"/>
                      <a:gd name="connsiteY3" fmla="*/ 0 h 11620"/>
                      <a:gd name="connsiteX4" fmla="*/ 11620 w 11620"/>
                      <a:gd name="connsiteY4" fmla="*/ 5810 h 116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620" h="11620">
                        <a:moveTo>
                          <a:pt x="11620" y="5810"/>
                        </a:moveTo>
                        <a:cubicBezTo>
                          <a:pt x="11620" y="9019"/>
                          <a:pt x="9019" y="11620"/>
                          <a:pt x="5810" y="11620"/>
                        </a:cubicBezTo>
                        <a:cubicBezTo>
                          <a:pt x="2601" y="11620"/>
                          <a:pt x="0" y="9019"/>
                          <a:pt x="0" y="5810"/>
                        </a:cubicBezTo>
                        <a:cubicBezTo>
                          <a:pt x="0" y="2601"/>
                          <a:pt x="2601" y="0"/>
                          <a:pt x="5810" y="0"/>
                        </a:cubicBezTo>
                        <a:cubicBezTo>
                          <a:pt x="9019" y="0"/>
                          <a:pt x="11620" y="2601"/>
                          <a:pt x="11620" y="5810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885" name="Freeform: Shape 3306">
                    <a:extLst>
                      <a:ext uri="{FF2B5EF4-FFF2-40B4-BE49-F238E27FC236}">
                        <a16:creationId xmlns:a16="http://schemas.microsoft.com/office/drawing/2014/main" id="{20600C3F-62B8-BB1B-7904-7B6453271EFB}"/>
                      </a:ext>
                    </a:extLst>
                  </p:cNvPr>
                  <p:cNvSpPr/>
                  <p:nvPr/>
                </p:nvSpPr>
                <p:spPr>
                  <a:xfrm>
                    <a:off x="3813387" y="2406260"/>
                    <a:ext cx="7810" cy="7810"/>
                  </a:xfrm>
                  <a:custGeom>
                    <a:avLst/>
                    <a:gdLst>
                      <a:gd name="connsiteX0" fmla="*/ 7811 w 7810"/>
                      <a:gd name="connsiteY0" fmla="*/ 3905 h 7810"/>
                      <a:gd name="connsiteX1" fmla="*/ 3905 w 7810"/>
                      <a:gd name="connsiteY1" fmla="*/ 7810 h 7810"/>
                      <a:gd name="connsiteX2" fmla="*/ 0 w 7810"/>
                      <a:gd name="connsiteY2" fmla="*/ 3905 h 7810"/>
                      <a:gd name="connsiteX3" fmla="*/ 3905 w 7810"/>
                      <a:gd name="connsiteY3" fmla="*/ 0 h 7810"/>
                      <a:gd name="connsiteX4" fmla="*/ 7811 w 7810"/>
                      <a:gd name="connsiteY4" fmla="*/ 3905 h 78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810" h="7810">
                        <a:moveTo>
                          <a:pt x="7811" y="3905"/>
                        </a:moveTo>
                        <a:cubicBezTo>
                          <a:pt x="7811" y="6062"/>
                          <a:pt x="6062" y="7810"/>
                          <a:pt x="3905" y="7810"/>
                        </a:cubicBezTo>
                        <a:cubicBezTo>
                          <a:pt x="1748" y="7810"/>
                          <a:pt x="0" y="6062"/>
                          <a:pt x="0" y="3905"/>
                        </a:cubicBezTo>
                        <a:cubicBezTo>
                          <a:pt x="0" y="1748"/>
                          <a:pt x="1748" y="0"/>
                          <a:pt x="3905" y="0"/>
                        </a:cubicBezTo>
                        <a:cubicBezTo>
                          <a:pt x="6062" y="0"/>
                          <a:pt x="7811" y="1748"/>
                          <a:pt x="7811" y="3905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886" name="Freeform: Shape 3307">
                    <a:extLst>
                      <a:ext uri="{FF2B5EF4-FFF2-40B4-BE49-F238E27FC236}">
                        <a16:creationId xmlns:a16="http://schemas.microsoft.com/office/drawing/2014/main" id="{BA54D806-1FDD-1078-F20C-754E3A94BFCE}"/>
                      </a:ext>
                    </a:extLst>
                  </p:cNvPr>
                  <p:cNvSpPr/>
                  <p:nvPr/>
                </p:nvSpPr>
                <p:spPr>
                  <a:xfrm>
                    <a:off x="3734330" y="2374256"/>
                    <a:ext cx="7810" cy="7810"/>
                  </a:xfrm>
                  <a:custGeom>
                    <a:avLst/>
                    <a:gdLst>
                      <a:gd name="connsiteX0" fmla="*/ 7811 w 7810"/>
                      <a:gd name="connsiteY0" fmla="*/ 3905 h 7810"/>
                      <a:gd name="connsiteX1" fmla="*/ 3905 w 7810"/>
                      <a:gd name="connsiteY1" fmla="*/ 7811 h 7810"/>
                      <a:gd name="connsiteX2" fmla="*/ 0 w 7810"/>
                      <a:gd name="connsiteY2" fmla="*/ 3905 h 7810"/>
                      <a:gd name="connsiteX3" fmla="*/ 3905 w 7810"/>
                      <a:gd name="connsiteY3" fmla="*/ 0 h 7810"/>
                      <a:gd name="connsiteX4" fmla="*/ 7811 w 7810"/>
                      <a:gd name="connsiteY4" fmla="*/ 3905 h 78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810" h="7810">
                        <a:moveTo>
                          <a:pt x="7811" y="3905"/>
                        </a:moveTo>
                        <a:cubicBezTo>
                          <a:pt x="7811" y="6062"/>
                          <a:pt x="6062" y="7811"/>
                          <a:pt x="3905" y="7811"/>
                        </a:cubicBezTo>
                        <a:cubicBezTo>
                          <a:pt x="1748" y="7811"/>
                          <a:pt x="0" y="6062"/>
                          <a:pt x="0" y="3905"/>
                        </a:cubicBezTo>
                        <a:cubicBezTo>
                          <a:pt x="0" y="1748"/>
                          <a:pt x="1748" y="0"/>
                          <a:pt x="3905" y="0"/>
                        </a:cubicBezTo>
                        <a:cubicBezTo>
                          <a:pt x="6062" y="0"/>
                          <a:pt x="7811" y="1748"/>
                          <a:pt x="7811" y="3905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887" name="Freeform: Shape 3308">
                    <a:extLst>
                      <a:ext uri="{FF2B5EF4-FFF2-40B4-BE49-F238E27FC236}">
                        <a16:creationId xmlns:a16="http://schemas.microsoft.com/office/drawing/2014/main" id="{7754161E-8363-B313-9F14-0ADA824A7942}"/>
                      </a:ext>
                    </a:extLst>
                  </p:cNvPr>
                  <p:cNvSpPr/>
                  <p:nvPr/>
                </p:nvSpPr>
                <p:spPr>
                  <a:xfrm>
                    <a:off x="3841962" y="2467601"/>
                    <a:ext cx="11620" cy="11620"/>
                  </a:xfrm>
                  <a:custGeom>
                    <a:avLst/>
                    <a:gdLst>
                      <a:gd name="connsiteX0" fmla="*/ 11621 w 11620"/>
                      <a:gd name="connsiteY0" fmla="*/ 5810 h 11620"/>
                      <a:gd name="connsiteX1" fmla="*/ 5810 w 11620"/>
                      <a:gd name="connsiteY1" fmla="*/ 11620 h 11620"/>
                      <a:gd name="connsiteX2" fmla="*/ 0 w 11620"/>
                      <a:gd name="connsiteY2" fmla="*/ 5810 h 11620"/>
                      <a:gd name="connsiteX3" fmla="*/ 5810 w 11620"/>
                      <a:gd name="connsiteY3" fmla="*/ 0 h 11620"/>
                      <a:gd name="connsiteX4" fmla="*/ 11621 w 11620"/>
                      <a:gd name="connsiteY4" fmla="*/ 5810 h 116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620" h="11620">
                        <a:moveTo>
                          <a:pt x="11621" y="5810"/>
                        </a:moveTo>
                        <a:cubicBezTo>
                          <a:pt x="11621" y="9019"/>
                          <a:pt x="9019" y="11620"/>
                          <a:pt x="5810" y="11620"/>
                        </a:cubicBezTo>
                        <a:cubicBezTo>
                          <a:pt x="2601" y="11620"/>
                          <a:pt x="0" y="9019"/>
                          <a:pt x="0" y="5810"/>
                        </a:cubicBezTo>
                        <a:cubicBezTo>
                          <a:pt x="0" y="2601"/>
                          <a:pt x="2601" y="0"/>
                          <a:pt x="5810" y="0"/>
                        </a:cubicBezTo>
                        <a:cubicBezTo>
                          <a:pt x="9019" y="0"/>
                          <a:pt x="11621" y="2601"/>
                          <a:pt x="11621" y="5810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888" name="Freeform: Shape 3309">
                    <a:extLst>
                      <a:ext uri="{FF2B5EF4-FFF2-40B4-BE49-F238E27FC236}">
                        <a16:creationId xmlns:a16="http://schemas.microsoft.com/office/drawing/2014/main" id="{8EAA4EF1-419A-50CA-CEF2-CC44CFDAAA63}"/>
                      </a:ext>
                    </a:extLst>
                  </p:cNvPr>
                  <p:cNvSpPr/>
                  <p:nvPr/>
                </p:nvSpPr>
                <p:spPr>
                  <a:xfrm>
                    <a:off x="3801100" y="2463696"/>
                    <a:ext cx="11620" cy="11620"/>
                  </a:xfrm>
                  <a:custGeom>
                    <a:avLst/>
                    <a:gdLst>
                      <a:gd name="connsiteX0" fmla="*/ 11620 w 11620"/>
                      <a:gd name="connsiteY0" fmla="*/ 5810 h 11620"/>
                      <a:gd name="connsiteX1" fmla="*/ 5810 w 11620"/>
                      <a:gd name="connsiteY1" fmla="*/ 11621 h 11620"/>
                      <a:gd name="connsiteX2" fmla="*/ 0 w 11620"/>
                      <a:gd name="connsiteY2" fmla="*/ 5810 h 11620"/>
                      <a:gd name="connsiteX3" fmla="*/ 5810 w 11620"/>
                      <a:gd name="connsiteY3" fmla="*/ 0 h 11620"/>
                      <a:gd name="connsiteX4" fmla="*/ 11620 w 11620"/>
                      <a:gd name="connsiteY4" fmla="*/ 5810 h 116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620" h="11620">
                        <a:moveTo>
                          <a:pt x="11620" y="5810"/>
                        </a:moveTo>
                        <a:cubicBezTo>
                          <a:pt x="11620" y="9019"/>
                          <a:pt x="9019" y="11621"/>
                          <a:pt x="5810" y="11621"/>
                        </a:cubicBezTo>
                        <a:cubicBezTo>
                          <a:pt x="2601" y="11621"/>
                          <a:pt x="0" y="9019"/>
                          <a:pt x="0" y="5810"/>
                        </a:cubicBezTo>
                        <a:cubicBezTo>
                          <a:pt x="0" y="2601"/>
                          <a:pt x="2601" y="0"/>
                          <a:pt x="5810" y="0"/>
                        </a:cubicBezTo>
                        <a:cubicBezTo>
                          <a:pt x="9019" y="0"/>
                          <a:pt x="11620" y="2601"/>
                          <a:pt x="11620" y="5810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889" name="Freeform: Shape 3310">
                    <a:extLst>
                      <a:ext uri="{FF2B5EF4-FFF2-40B4-BE49-F238E27FC236}">
                        <a16:creationId xmlns:a16="http://schemas.microsoft.com/office/drawing/2014/main" id="{C9750D1C-B843-28DC-FE76-82CEFA7EB8B9}"/>
                      </a:ext>
                    </a:extLst>
                  </p:cNvPr>
                  <p:cNvSpPr/>
                  <p:nvPr/>
                </p:nvSpPr>
                <p:spPr>
                  <a:xfrm>
                    <a:off x="3735758" y="2471507"/>
                    <a:ext cx="26098" cy="26098"/>
                  </a:xfrm>
                  <a:custGeom>
                    <a:avLst/>
                    <a:gdLst>
                      <a:gd name="connsiteX0" fmla="*/ 26098 w 26098"/>
                      <a:gd name="connsiteY0" fmla="*/ 13049 h 26098"/>
                      <a:gd name="connsiteX1" fmla="*/ 13049 w 26098"/>
                      <a:gd name="connsiteY1" fmla="*/ 26099 h 26098"/>
                      <a:gd name="connsiteX2" fmla="*/ 0 w 26098"/>
                      <a:gd name="connsiteY2" fmla="*/ 13049 h 26098"/>
                      <a:gd name="connsiteX3" fmla="*/ 13049 w 26098"/>
                      <a:gd name="connsiteY3" fmla="*/ 0 h 26098"/>
                      <a:gd name="connsiteX4" fmla="*/ 26098 w 26098"/>
                      <a:gd name="connsiteY4" fmla="*/ 13049 h 260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6098" h="26098">
                        <a:moveTo>
                          <a:pt x="26098" y="13049"/>
                        </a:moveTo>
                        <a:cubicBezTo>
                          <a:pt x="26098" y="20256"/>
                          <a:pt x="20256" y="26099"/>
                          <a:pt x="13049" y="26099"/>
                        </a:cubicBezTo>
                        <a:cubicBezTo>
                          <a:pt x="5842" y="26099"/>
                          <a:pt x="0" y="20256"/>
                          <a:pt x="0" y="13049"/>
                        </a:cubicBezTo>
                        <a:cubicBezTo>
                          <a:pt x="0" y="5842"/>
                          <a:pt x="5842" y="0"/>
                          <a:pt x="13049" y="0"/>
                        </a:cubicBezTo>
                        <a:cubicBezTo>
                          <a:pt x="20256" y="0"/>
                          <a:pt x="26098" y="5842"/>
                          <a:pt x="26098" y="13049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</p:grpSp>
          <p:grpSp>
            <p:nvGrpSpPr>
              <p:cNvPr id="894" name="Group 893">
                <a:extLst>
                  <a:ext uri="{FF2B5EF4-FFF2-40B4-BE49-F238E27FC236}">
                    <a16:creationId xmlns:a16="http://schemas.microsoft.com/office/drawing/2014/main" id="{D470677A-9807-C6C7-E160-E63446F7461F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16777749">
                <a:off x="2320828" y="2824562"/>
                <a:ext cx="144812" cy="283020"/>
                <a:chOff x="5245432" y="2368937"/>
                <a:chExt cx="259652" cy="446987"/>
              </a:xfrm>
            </p:grpSpPr>
            <p:grpSp>
              <p:nvGrpSpPr>
                <p:cNvPr id="895" name="Graphic 169">
                  <a:extLst>
                    <a:ext uri="{FF2B5EF4-FFF2-40B4-BE49-F238E27FC236}">
                      <a16:creationId xmlns:a16="http://schemas.microsoft.com/office/drawing/2014/main" id="{9FBAA5B6-C2B1-1302-88D3-ED3D13C52245}"/>
                    </a:ext>
                  </a:extLst>
                </p:cNvPr>
                <p:cNvGrpSpPr/>
                <p:nvPr/>
              </p:nvGrpSpPr>
              <p:grpSpPr>
                <a:xfrm>
                  <a:off x="5245432" y="2368937"/>
                  <a:ext cx="259652" cy="446987"/>
                  <a:chOff x="3690486" y="2366556"/>
                  <a:chExt cx="259652" cy="446987"/>
                </a:xfrm>
              </p:grpSpPr>
              <p:grpSp>
                <p:nvGrpSpPr>
                  <p:cNvPr id="911" name="Graphic 169">
                    <a:extLst>
                      <a:ext uri="{FF2B5EF4-FFF2-40B4-BE49-F238E27FC236}">
                        <a16:creationId xmlns:a16="http://schemas.microsoft.com/office/drawing/2014/main" id="{743D09F0-B0C0-9744-5446-1EBB20CE9E28}"/>
                      </a:ext>
                    </a:extLst>
                  </p:cNvPr>
                  <p:cNvGrpSpPr/>
                  <p:nvPr/>
                </p:nvGrpSpPr>
                <p:grpSpPr>
                  <a:xfrm>
                    <a:off x="3690486" y="2366556"/>
                    <a:ext cx="259652" cy="446987"/>
                    <a:chOff x="3690486" y="2366556"/>
                    <a:chExt cx="259652" cy="446987"/>
                  </a:xfrm>
                </p:grpSpPr>
                <p:sp>
                  <p:nvSpPr>
                    <p:cNvPr id="913" name="Freeform: Shape 3293">
                      <a:extLst>
                        <a:ext uri="{FF2B5EF4-FFF2-40B4-BE49-F238E27FC236}">
                          <a16:creationId xmlns:a16="http://schemas.microsoft.com/office/drawing/2014/main" id="{E8EACFB4-33DA-59A6-1F55-A5CE36A0E18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697923" y="2374236"/>
                      <a:ext cx="240780" cy="430734"/>
                    </a:xfrm>
                    <a:custGeom>
                      <a:avLst/>
                      <a:gdLst>
                        <a:gd name="connsiteX0" fmla="*/ 143849 w 188541"/>
                        <a:gd name="connsiteY0" fmla="*/ 453490 h 454436"/>
                        <a:gd name="connsiteX1" fmla="*/ 188521 w 188541"/>
                        <a:gd name="connsiteY1" fmla="*/ 400436 h 454436"/>
                        <a:gd name="connsiteX2" fmla="*/ 182330 w 188541"/>
                        <a:gd name="connsiteY2" fmla="*/ 51535 h 454436"/>
                        <a:gd name="connsiteX3" fmla="*/ 139277 w 188541"/>
                        <a:gd name="connsiteY3" fmla="*/ 5 h 454436"/>
                        <a:gd name="connsiteX4" fmla="*/ 94128 w 188541"/>
                        <a:gd name="connsiteY4" fmla="*/ 862 h 454436"/>
                        <a:gd name="connsiteX5" fmla="*/ 48980 w 188541"/>
                        <a:gd name="connsiteY5" fmla="*/ 767 h 454436"/>
                        <a:gd name="connsiteX6" fmla="*/ 5927 w 188541"/>
                        <a:gd name="connsiteY6" fmla="*/ 52392 h 454436"/>
                        <a:gd name="connsiteX7" fmla="*/ 21 w 188541"/>
                        <a:gd name="connsiteY7" fmla="*/ 401007 h 454436"/>
                        <a:gd name="connsiteX8" fmla="*/ 44598 w 188541"/>
                        <a:gd name="connsiteY8" fmla="*/ 453966 h 454436"/>
                        <a:gd name="connsiteX9" fmla="*/ 94128 w 188541"/>
                        <a:gd name="connsiteY9" fmla="*/ 454252 h 454436"/>
                        <a:gd name="connsiteX10" fmla="*/ 143753 w 188541"/>
                        <a:gd name="connsiteY10" fmla="*/ 453490 h 45443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188541" h="454436">
                          <a:moveTo>
                            <a:pt x="143849" y="453490"/>
                          </a:moveTo>
                          <a:cubicBezTo>
                            <a:pt x="169280" y="453109"/>
                            <a:pt x="189283" y="429296"/>
                            <a:pt x="188521" y="400436"/>
                          </a:cubicBezTo>
                          <a:lnTo>
                            <a:pt x="182330" y="51535"/>
                          </a:lnTo>
                          <a:cubicBezTo>
                            <a:pt x="181568" y="22674"/>
                            <a:pt x="162232" y="-376"/>
                            <a:pt x="139277" y="5"/>
                          </a:cubicBezTo>
                          <a:lnTo>
                            <a:pt x="94128" y="862"/>
                          </a:lnTo>
                          <a:cubicBezTo>
                            <a:pt x="79079" y="1338"/>
                            <a:pt x="64029" y="862"/>
                            <a:pt x="48980" y="767"/>
                          </a:cubicBezTo>
                          <a:cubicBezTo>
                            <a:pt x="26024" y="481"/>
                            <a:pt x="6689" y="23627"/>
                            <a:pt x="5927" y="52392"/>
                          </a:cubicBezTo>
                          <a:lnTo>
                            <a:pt x="21" y="401007"/>
                          </a:lnTo>
                          <a:cubicBezTo>
                            <a:pt x="-741" y="429773"/>
                            <a:pt x="19262" y="453585"/>
                            <a:pt x="44598" y="453966"/>
                          </a:cubicBezTo>
                          <a:cubicBezTo>
                            <a:pt x="61076" y="454157"/>
                            <a:pt x="77555" y="454728"/>
                            <a:pt x="94128" y="454252"/>
                          </a:cubicBezTo>
                          <a:lnTo>
                            <a:pt x="143753" y="453490"/>
                          </a:lnTo>
                          <a:close/>
                        </a:path>
                      </a:pathLst>
                    </a:custGeom>
                    <a:solidFill>
                      <a:srgbClr val="ECE2A6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>
                        <a:defRPr/>
                      </a:pPr>
                      <a:endParaRPr lang="en-US" sz="1600" kern="0">
                        <a:solidFill>
                          <a:srgbClr val="000000"/>
                        </a:solidFill>
                        <a:latin typeface="Arial" panose="020B0604020202020204"/>
                      </a:endParaRPr>
                    </a:p>
                  </p:txBody>
                </p:sp>
                <p:sp>
                  <p:nvSpPr>
                    <p:cNvPr id="914" name="Freeform: Shape 3294">
                      <a:extLst>
                        <a:ext uri="{FF2B5EF4-FFF2-40B4-BE49-F238E27FC236}">
                          <a16:creationId xmlns:a16="http://schemas.microsoft.com/office/drawing/2014/main" id="{9BBDE34F-16F4-6823-F447-3E152180626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690486" y="2366556"/>
                      <a:ext cx="259652" cy="446987"/>
                    </a:xfrm>
                    <a:custGeom>
                      <a:avLst/>
                      <a:gdLst>
                        <a:gd name="connsiteX0" fmla="*/ 56416 w 203319"/>
                        <a:gd name="connsiteY0" fmla="*/ 17913 h 471583"/>
                        <a:gd name="connsiteX1" fmla="*/ 101660 w 203319"/>
                        <a:gd name="connsiteY1" fmla="*/ 18008 h 471583"/>
                        <a:gd name="connsiteX2" fmla="*/ 146904 w 203319"/>
                        <a:gd name="connsiteY2" fmla="*/ 17151 h 471583"/>
                        <a:gd name="connsiteX3" fmla="*/ 182908 w 203319"/>
                        <a:gd name="connsiteY3" fmla="*/ 60204 h 471583"/>
                        <a:gd name="connsiteX4" fmla="*/ 188623 w 203319"/>
                        <a:gd name="connsiteY4" fmla="*/ 409105 h 471583"/>
                        <a:gd name="connsiteX5" fmla="*/ 151285 w 203319"/>
                        <a:gd name="connsiteY5" fmla="*/ 453396 h 471583"/>
                        <a:gd name="connsiteX6" fmla="*/ 101755 w 203319"/>
                        <a:gd name="connsiteY6" fmla="*/ 454158 h 471583"/>
                        <a:gd name="connsiteX7" fmla="*/ 52320 w 203319"/>
                        <a:gd name="connsiteY7" fmla="*/ 453872 h 471583"/>
                        <a:gd name="connsiteX8" fmla="*/ 15078 w 203319"/>
                        <a:gd name="connsiteY8" fmla="*/ 409676 h 471583"/>
                        <a:gd name="connsiteX9" fmla="*/ 20412 w 203319"/>
                        <a:gd name="connsiteY9" fmla="*/ 61061 h 471583"/>
                        <a:gd name="connsiteX10" fmla="*/ 56416 w 203319"/>
                        <a:gd name="connsiteY10" fmla="*/ 17913 h 471583"/>
                        <a:gd name="connsiteX11" fmla="*/ 56607 w 203319"/>
                        <a:gd name="connsiteY11" fmla="*/ 768 h 471583"/>
                        <a:gd name="connsiteX12" fmla="*/ 6410 w 203319"/>
                        <a:gd name="connsiteY12" fmla="*/ 60871 h 471583"/>
                        <a:gd name="connsiteX13" fmla="*/ 28 w 203319"/>
                        <a:gd name="connsiteY13" fmla="*/ 409486 h 471583"/>
                        <a:gd name="connsiteX14" fmla="*/ 51939 w 203319"/>
                        <a:gd name="connsiteY14" fmla="*/ 471113 h 471583"/>
                        <a:gd name="connsiteX15" fmla="*/ 101565 w 203319"/>
                        <a:gd name="connsiteY15" fmla="*/ 471398 h 471583"/>
                        <a:gd name="connsiteX16" fmla="*/ 151285 w 203319"/>
                        <a:gd name="connsiteY16" fmla="*/ 470636 h 471583"/>
                        <a:gd name="connsiteX17" fmla="*/ 203292 w 203319"/>
                        <a:gd name="connsiteY17" fmla="*/ 408914 h 471583"/>
                        <a:gd name="connsiteX18" fmla="*/ 196624 w 203319"/>
                        <a:gd name="connsiteY18" fmla="*/ 60014 h 471583"/>
                        <a:gd name="connsiteX19" fmla="*/ 146618 w 203319"/>
                        <a:gd name="connsiteY19" fmla="*/ 6 h 471583"/>
                        <a:gd name="connsiteX20" fmla="*/ 101660 w 203319"/>
                        <a:gd name="connsiteY20" fmla="*/ 863 h 471583"/>
                        <a:gd name="connsiteX21" fmla="*/ 56607 w 203319"/>
                        <a:gd name="connsiteY21" fmla="*/ 768 h 4715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</a:cxnLst>
                      <a:rect l="l" t="t" r="r" b="b"/>
                      <a:pathLst>
                        <a:path w="203319" h="471583">
                          <a:moveTo>
                            <a:pt x="56416" y="17913"/>
                          </a:moveTo>
                          <a:cubicBezTo>
                            <a:pt x="71466" y="18008"/>
                            <a:pt x="86610" y="18580"/>
                            <a:pt x="101660" y="18008"/>
                          </a:cubicBezTo>
                          <a:lnTo>
                            <a:pt x="146904" y="17151"/>
                          </a:lnTo>
                          <a:cubicBezTo>
                            <a:pt x="166144" y="16770"/>
                            <a:pt x="182337" y="36106"/>
                            <a:pt x="182908" y="60204"/>
                          </a:cubicBezTo>
                          <a:lnTo>
                            <a:pt x="188623" y="409105"/>
                          </a:lnTo>
                          <a:cubicBezTo>
                            <a:pt x="189195" y="433203"/>
                            <a:pt x="172526" y="453110"/>
                            <a:pt x="151285" y="453396"/>
                          </a:cubicBezTo>
                          <a:lnTo>
                            <a:pt x="101755" y="454158"/>
                          </a:lnTo>
                          <a:cubicBezTo>
                            <a:pt x="85182" y="454634"/>
                            <a:pt x="68799" y="454158"/>
                            <a:pt x="52320" y="453872"/>
                          </a:cubicBezTo>
                          <a:cubicBezTo>
                            <a:pt x="31175" y="453587"/>
                            <a:pt x="14506" y="433679"/>
                            <a:pt x="15078" y="409676"/>
                          </a:cubicBezTo>
                          <a:lnTo>
                            <a:pt x="20412" y="61061"/>
                          </a:lnTo>
                          <a:cubicBezTo>
                            <a:pt x="20983" y="36963"/>
                            <a:pt x="37176" y="17627"/>
                            <a:pt x="56416" y="17913"/>
                          </a:cubicBezTo>
                          <a:moveTo>
                            <a:pt x="56607" y="768"/>
                          </a:moveTo>
                          <a:cubicBezTo>
                            <a:pt x="29937" y="387"/>
                            <a:pt x="7362" y="27438"/>
                            <a:pt x="6410" y="60871"/>
                          </a:cubicBezTo>
                          <a:lnTo>
                            <a:pt x="28" y="409486"/>
                          </a:lnTo>
                          <a:cubicBezTo>
                            <a:pt x="-924" y="442919"/>
                            <a:pt x="22412" y="470636"/>
                            <a:pt x="51939" y="471113"/>
                          </a:cubicBezTo>
                          <a:cubicBezTo>
                            <a:pt x="68513" y="471303"/>
                            <a:pt x="84991" y="471875"/>
                            <a:pt x="101565" y="471398"/>
                          </a:cubicBezTo>
                          <a:lnTo>
                            <a:pt x="151285" y="470636"/>
                          </a:lnTo>
                          <a:cubicBezTo>
                            <a:pt x="180908" y="470160"/>
                            <a:pt x="204244" y="442347"/>
                            <a:pt x="203292" y="408914"/>
                          </a:cubicBezTo>
                          <a:lnTo>
                            <a:pt x="196624" y="60014"/>
                          </a:lnTo>
                          <a:cubicBezTo>
                            <a:pt x="195767" y="26486"/>
                            <a:pt x="173193" y="-470"/>
                            <a:pt x="146618" y="6"/>
                          </a:cubicBezTo>
                          <a:lnTo>
                            <a:pt x="101660" y="863"/>
                          </a:lnTo>
                          <a:cubicBezTo>
                            <a:pt x="86706" y="1340"/>
                            <a:pt x="71656" y="863"/>
                            <a:pt x="56607" y="768"/>
                          </a:cubicBezTo>
                          <a:close/>
                        </a:path>
                      </a:pathLst>
                    </a:custGeom>
                    <a:solidFill>
                      <a:srgbClr val="5B6C10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>
                        <a:defRPr/>
                      </a:pPr>
                      <a:endParaRPr lang="en-US" sz="1600" kern="0">
                        <a:solidFill>
                          <a:srgbClr val="000000"/>
                        </a:solidFill>
                        <a:latin typeface="Arial" panose="020B0604020202020204"/>
                      </a:endParaRPr>
                    </a:p>
                  </p:txBody>
                </p:sp>
              </p:grpSp>
              <p:sp>
                <p:nvSpPr>
                  <p:cNvPr id="912" name="Freeform: Shape 3292">
                    <a:extLst>
                      <a:ext uri="{FF2B5EF4-FFF2-40B4-BE49-F238E27FC236}">
                        <a16:creationId xmlns:a16="http://schemas.microsoft.com/office/drawing/2014/main" id="{12C5C4BE-E7B9-C5ED-8C57-6A903E6CF846}"/>
                      </a:ext>
                    </a:extLst>
                  </p:cNvPr>
                  <p:cNvSpPr/>
                  <p:nvPr/>
                </p:nvSpPr>
                <p:spPr>
                  <a:xfrm>
                    <a:off x="3771346" y="2693433"/>
                    <a:ext cx="94779" cy="76790"/>
                  </a:xfrm>
                  <a:custGeom>
                    <a:avLst/>
                    <a:gdLst>
                      <a:gd name="connsiteX0" fmla="*/ 3 w 94779"/>
                      <a:gd name="connsiteY0" fmla="*/ 38202 h 76790"/>
                      <a:gd name="connsiteX1" fmla="*/ 47342 w 94779"/>
                      <a:gd name="connsiteY1" fmla="*/ 76778 h 76790"/>
                      <a:gd name="connsiteX2" fmla="*/ 94777 w 94779"/>
                      <a:gd name="connsiteY2" fmla="*/ 37630 h 76790"/>
                      <a:gd name="connsiteX3" fmla="*/ 47437 w 94779"/>
                      <a:gd name="connsiteY3" fmla="*/ 6 h 76790"/>
                      <a:gd name="connsiteX4" fmla="*/ 98 w 94779"/>
                      <a:gd name="connsiteY4" fmla="*/ 38106 h 7679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94779" h="76790">
                        <a:moveTo>
                          <a:pt x="3" y="38202"/>
                        </a:moveTo>
                        <a:cubicBezTo>
                          <a:pt x="-283" y="59157"/>
                          <a:pt x="20863" y="77349"/>
                          <a:pt x="47342" y="76778"/>
                        </a:cubicBezTo>
                        <a:cubicBezTo>
                          <a:pt x="73822" y="76397"/>
                          <a:pt x="95062" y="58871"/>
                          <a:pt x="94777" y="37630"/>
                        </a:cubicBezTo>
                        <a:cubicBezTo>
                          <a:pt x="94491" y="16389"/>
                          <a:pt x="73250" y="-375"/>
                          <a:pt x="47437" y="6"/>
                        </a:cubicBezTo>
                        <a:cubicBezTo>
                          <a:pt x="21529" y="578"/>
                          <a:pt x="384" y="16770"/>
                          <a:pt x="98" y="38106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grpSp>
              <p:nvGrpSpPr>
                <p:cNvPr id="896" name="Group 895">
                  <a:extLst>
                    <a:ext uri="{FF2B5EF4-FFF2-40B4-BE49-F238E27FC236}">
                      <a16:creationId xmlns:a16="http://schemas.microsoft.com/office/drawing/2014/main" id="{92EC3820-B407-20F0-2CD3-50DDDFD02FD8}"/>
                    </a:ext>
                  </a:extLst>
                </p:cNvPr>
                <p:cNvGrpSpPr/>
                <p:nvPr/>
              </p:nvGrpSpPr>
              <p:grpSpPr>
                <a:xfrm>
                  <a:off x="5292918" y="2417361"/>
                  <a:ext cx="169678" cy="159027"/>
                  <a:chOff x="3727662" y="2369589"/>
                  <a:chExt cx="136588" cy="128016"/>
                </a:xfrm>
                <a:solidFill>
                  <a:srgbClr val="3C1053"/>
                </a:solidFill>
              </p:grpSpPr>
              <p:sp>
                <p:nvSpPr>
                  <p:cNvPr id="897" name="Freeform: Shape 3277">
                    <a:extLst>
                      <a:ext uri="{FF2B5EF4-FFF2-40B4-BE49-F238E27FC236}">
                        <a16:creationId xmlns:a16="http://schemas.microsoft.com/office/drawing/2014/main" id="{E956BE7F-87FE-2E13-1AF7-D03F6CF272D1}"/>
                      </a:ext>
                    </a:extLst>
                  </p:cNvPr>
                  <p:cNvSpPr/>
                  <p:nvPr/>
                </p:nvSpPr>
                <p:spPr>
                  <a:xfrm>
                    <a:off x="3739283" y="2389782"/>
                    <a:ext cx="33146" cy="33147"/>
                  </a:xfrm>
                  <a:custGeom>
                    <a:avLst/>
                    <a:gdLst>
                      <a:gd name="connsiteX0" fmla="*/ 33147 w 33146"/>
                      <a:gd name="connsiteY0" fmla="*/ 16574 h 33147"/>
                      <a:gd name="connsiteX1" fmla="*/ 16574 w 33146"/>
                      <a:gd name="connsiteY1" fmla="*/ 33147 h 33147"/>
                      <a:gd name="connsiteX2" fmla="*/ 0 w 33146"/>
                      <a:gd name="connsiteY2" fmla="*/ 16574 h 33147"/>
                      <a:gd name="connsiteX3" fmla="*/ 16574 w 33146"/>
                      <a:gd name="connsiteY3" fmla="*/ 0 h 33147"/>
                      <a:gd name="connsiteX4" fmla="*/ 33147 w 33146"/>
                      <a:gd name="connsiteY4" fmla="*/ 16574 h 331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3146" h="33147">
                        <a:moveTo>
                          <a:pt x="33147" y="16574"/>
                        </a:moveTo>
                        <a:cubicBezTo>
                          <a:pt x="33147" y="25727"/>
                          <a:pt x="25727" y="33147"/>
                          <a:pt x="16574" y="33147"/>
                        </a:cubicBezTo>
                        <a:cubicBezTo>
                          <a:pt x="7420" y="33147"/>
                          <a:pt x="0" y="25727"/>
                          <a:pt x="0" y="16574"/>
                        </a:cubicBezTo>
                        <a:cubicBezTo>
                          <a:pt x="0" y="7420"/>
                          <a:pt x="7420" y="0"/>
                          <a:pt x="16574" y="0"/>
                        </a:cubicBezTo>
                        <a:cubicBezTo>
                          <a:pt x="25727" y="0"/>
                          <a:pt x="33147" y="7420"/>
                          <a:pt x="33147" y="16574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898" name="Freeform: Shape 3278">
                    <a:extLst>
                      <a:ext uri="{FF2B5EF4-FFF2-40B4-BE49-F238E27FC236}">
                        <a16:creationId xmlns:a16="http://schemas.microsoft.com/office/drawing/2014/main" id="{66BBD5BF-0A36-F695-9841-002BCB5D108D}"/>
                      </a:ext>
                    </a:extLst>
                  </p:cNvPr>
                  <p:cNvSpPr/>
                  <p:nvPr/>
                </p:nvSpPr>
                <p:spPr>
                  <a:xfrm>
                    <a:off x="3808529" y="2423691"/>
                    <a:ext cx="33147" cy="33147"/>
                  </a:xfrm>
                  <a:custGeom>
                    <a:avLst/>
                    <a:gdLst>
                      <a:gd name="connsiteX0" fmla="*/ 33147 w 33147"/>
                      <a:gd name="connsiteY0" fmla="*/ 16573 h 33147"/>
                      <a:gd name="connsiteX1" fmla="*/ 16574 w 33147"/>
                      <a:gd name="connsiteY1" fmla="*/ 33147 h 33147"/>
                      <a:gd name="connsiteX2" fmla="*/ 0 w 33147"/>
                      <a:gd name="connsiteY2" fmla="*/ 16573 h 33147"/>
                      <a:gd name="connsiteX3" fmla="*/ 16574 w 33147"/>
                      <a:gd name="connsiteY3" fmla="*/ 0 h 33147"/>
                      <a:gd name="connsiteX4" fmla="*/ 33147 w 33147"/>
                      <a:gd name="connsiteY4" fmla="*/ 16573 h 331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3147" h="33147">
                        <a:moveTo>
                          <a:pt x="33147" y="16573"/>
                        </a:moveTo>
                        <a:cubicBezTo>
                          <a:pt x="33147" y="25727"/>
                          <a:pt x="25727" y="33147"/>
                          <a:pt x="16574" y="33147"/>
                        </a:cubicBezTo>
                        <a:cubicBezTo>
                          <a:pt x="7420" y="33147"/>
                          <a:pt x="0" y="25727"/>
                          <a:pt x="0" y="16573"/>
                        </a:cubicBezTo>
                        <a:cubicBezTo>
                          <a:pt x="0" y="7420"/>
                          <a:pt x="7420" y="0"/>
                          <a:pt x="16574" y="0"/>
                        </a:cubicBezTo>
                        <a:cubicBezTo>
                          <a:pt x="25727" y="0"/>
                          <a:pt x="33147" y="7420"/>
                          <a:pt x="33147" y="16573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899" name="Freeform: Shape 3279">
                    <a:extLst>
                      <a:ext uri="{FF2B5EF4-FFF2-40B4-BE49-F238E27FC236}">
                        <a16:creationId xmlns:a16="http://schemas.microsoft.com/office/drawing/2014/main" id="{C1C5B6B1-5F01-9DE8-C24A-1E209E6874E1}"/>
                      </a:ext>
                    </a:extLst>
                  </p:cNvPr>
                  <p:cNvSpPr/>
                  <p:nvPr/>
                </p:nvSpPr>
                <p:spPr>
                  <a:xfrm>
                    <a:off x="3748998" y="2442741"/>
                    <a:ext cx="16573" cy="16573"/>
                  </a:xfrm>
                  <a:custGeom>
                    <a:avLst/>
                    <a:gdLst>
                      <a:gd name="connsiteX0" fmla="*/ 16574 w 16573"/>
                      <a:gd name="connsiteY0" fmla="*/ 8287 h 16573"/>
                      <a:gd name="connsiteX1" fmla="*/ 8287 w 16573"/>
                      <a:gd name="connsiteY1" fmla="*/ 16573 h 16573"/>
                      <a:gd name="connsiteX2" fmla="*/ 0 w 16573"/>
                      <a:gd name="connsiteY2" fmla="*/ 8287 h 16573"/>
                      <a:gd name="connsiteX3" fmla="*/ 8287 w 16573"/>
                      <a:gd name="connsiteY3" fmla="*/ 0 h 16573"/>
                      <a:gd name="connsiteX4" fmla="*/ 16574 w 16573"/>
                      <a:gd name="connsiteY4" fmla="*/ 8287 h 165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6573" h="16573">
                        <a:moveTo>
                          <a:pt x="16574" y="8287"/>
                        </a:moveTo>
                        <a:cubicBezTo>
                          <a:pt x="16574" y="12863"/>
                          <a:pt x="12863" y="16573"/>
                          <a:pt x="8287" y="16573"/>
                        </a:cubicBezTo>
                        <a:cubicBezTo>
                          <a:pt x="3710" y="16573"/>
                          <a:pt x="0" y="12863"/>
                          <a:pt x="0" y="8287"/>
                        </a:cubicBezTo>
                        <a:cubicBezTo>
                          <a:pt x="0" y="3710"/>
                          <a:pt x="3710" y="0"/>
                          <a:pt x="8287" y="0"/>
                        </a:cubicBezTo>
                        <a:cubicBezTo>
                          <a:pt x="12863" y="0"/>
                          <a:pt x="16574" y="3710"/>
                          <a:pt x="16574" y="8287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00" name="Freeform: Shape 3280">
                    <a:extLst>
                      <a:ext uri="{FF2B5EF4-FFF2-40B4-BE49-F238E27FC236}">
                        <a16:creationId xmlns:a16="http://schemas.microsoft.com/office/drawing/2014/main" id="{374CB5D3-7263-B632-C9AE-2B7516FDC00B}"/>
                      </a:ext>
                    </a:extLst>
                  </p:cNvPr>
                  <p:cNvSpPr/>
                  <p:nvPr/>
                </p:nvSpPr>
                <p:spPr>
                  <a:xfrm>
                    <a:off x="3780526" y="2389496"/>
                    <a:ext cx="16573" cy="16573"/>
                  </a:xfrm>
                  <a:custGeom>
                    <a:avLst/>
                    <a:gdLst>
                      <a:gd name="connsiteX0" fmla="*/ 16573 w 16573"/>
                      <a:gd name="connsiteY0" fmla="*/ 8287 h 16573"/>
                      <a:gd name="connsiteX1" fmla="*/ 8287 w 16573"/>
                      <a:gd name="connsiteY1" fmla="*/ 16574 h 16573"/>
                      <a:gd name="connsiteX2" fmla="*/ 0 w 16573"/>
                      <a:gd name="connsiteY2" fmla="*/ 8287 h 16573"/>
                      <a:gd name="connsiteX3" fmla="*/ 8287 w 16573"/>
                      <a:gd name="connsiteY3" fmla="*/ 0 h 16573"/>
                      <a:gd name="connsiteX4" fmla="*/ 16573 w 16573"/>
                      <a:gd name="connsiteY4" fmla="*/ 8287 h 165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6573" h="16573">
                        <a:moveTo>
                          <a:pt x="16573" y="8287"/>
                        </a:moveTo>
                        <a:cubicBezTo>
                          <a:pt x="16573" y="12863"/>
                          <a:pt x="12863" y="16574"/>
                          <a:pt x="8287" y="16574"/>
                        </a:cubicBezTo>
                        <a:cubicBezTo>
                          <a:pt x="3710" y="16574"/>
                          <a:pt x="0" y="12863"/>
                          <a:pt x="0" y="8287"/>
                        </a:cubicBezTo>
                        <a:cubicBezTo>
                          <a:pt x="0" y="3710"/>
                          <a:pt x="3710" y="0"/>
                          <a:pt x="8287" y="0"/>
                        </a:cubicBezTo>
                        <a:cubicBezTo>
                          <a:pt x="12863" y="0"/>
                          <a:pt x="16573" y="3710"/>
                          <a:pt x="16573" y="8287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01" name="Freeform: Shape 3281">
                    <a:extLst>
                      <a:ext uri="{FF2B5EF4-FFF2-40B4-BE49-F238E27FC236}">
                        <a16:creationId xmlns:a16="http://schemas.microsoft.com/office/drawing/2014/main" id="{7A5F09F0-0493-0E2E-CE77-2C54381F9D89}"/>
                      </a:ext>
                    </a:extLst>
                  </p:cNvPr>
                  <p:cNvSpPr/>
                  <p:nvPr/>
                </p:nvSpPr>
                <p:spPr>
                  <a:xfrm>
                    <a:off x="3832913" y="2381210"/>
                    <a:ext cx="16573" cy="16573"/>
                  </a:xfrm>
                  <a:custGeom>
                    <a:avLst/>
                    <a:gdLst>
                      <a:gd name="connsiteX0" fmla="*/ 16574 w 16573"/>
                      <a:gd name="connsiteY0" fmla="*/ 8287 h 16573"/>
                      <a:gd name="connsiteX1" fmla="*/ 8287 w 16573"/>
                      <a:gd name="connsiteY1" fmla="*/ 16573 h 16573"/>
                      <a:gd name="connsiteX2" fmla="*/ 0 w 16573"/>
                      <a:gd name="connsiteY2" fmla="*/ 8287 h 16573"/>
                      <a:gd name="connsiteX3" fmla="*/ 8287 w 16573"/>
                      <a:gd name="connsiteY3" fmla="*/ 0 h 16573"/>
                      <a:gd name="connsiteX4" fmla="*/ 16574 w 16573"/>
                      <a:gd name="connsiteY4" fmla="*/ 8287 h 165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6573" h="16573">
                        <a:moveTo>
                          <a:pt x="16574" y="8287"/>
                        </a:moveTo>
                        <a:cubicBezTo>
                          <a:pt x="16574" y="12863"/>
                          <a:pt x="12863" y="16573"/>
                          <a:pt x="8287" y="16573"/>
                        </a:cubicBezTo>
                        <a:cubicBezTo>
                          <a:pt x="3710" y="16573"/>
                          <a:pt x="0" y="12863"/>
                          <a:pt x="0" y="8287"/>
                        </a:cubicBezTo>
                        <a:cubicBezTo>
                          <a:pt x="0" y="3710"/>
                          <a:pt x="3710" y="0"/>
                          <a:pt x="8287" y="0"/>
                        </a:cubicBezTo>
                        <a:cubicBezTo>
                          <a:pt x="12863" y="0"/>
                          <a:pt x="16574" y="3710"/>
                          <a:pt x="16574" y="8287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02" name="Freeform: Shape 3282">
                    <a:extLst>
                      <a:ext uri="{FF2B5EF4-FFF2-40B4-BE49-F238E27FC236}">
                        <a16:creationId xmlns:a16="http://schemas.microsoft.com/office/drawing/2014/main" id="{8E70FE59-6435-B629-0AE9-B9F874995B1E}"/>
                      </a:ext>
                    </a:extLst>
                  </p:cNvPr>
                  <p:cNvSpPr/>
                  <p:nvPr/>
                </p:nvSpPr>
                <p:spPr>
                  <a:xfrm>
                    <a:off x="3847677" y="2416738"/>
                    <a:ext cx="16573" cy="16573"/>
                  </a:xfrm>
                  <a:custGeom>
                    <a:avLst/>
                    <a:gdLst>
                      <a:gd name="connsiteX0" fmla="*/ 16573 w 16573"/>
                      <a:gd name="connsiteY0" fmla="*/ 8287 h 16573"/>
                      <a:gd name="connsiteX1" fmla="*/ 8287 w 16573"/>
                      <a:gd name="connsiteY1" fmla="*/ 16574 h 16573"/>
                      <a:gd name="connsiteX2" fmla="*/ 0 w 16573"/>
                      <a:gd name="connsiteY2" fmla="*/ 8287 h 16573"/>
                      <a:gd name="connsiteX3" fmla="*/ 8287 w 16573"/>
                      <a:gd name="connsiteY3" fmla="*/ 0 h 16573"/>
                      <a:gd name="connsiteX4" fmla="*/ 16573 w 16573"/>
                      <a:gd name="connsiteY4" fmla="*/ 8287 h 165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6573" h="16573">
                        <a:moveTo>
                          <a:pt x="16573" y="8287"/>
                        </a:moveTo>
                        <a:cubicBezTo>
                          <a:pt x="16573" y="12863"/>
                          <a:pt x="12863" y="16574"/>
                          <a:pt x="8287" y="16574"/>
                        </a:cubicBezTo>
                        <a:cubicBezTo>
                          <a:pt x="3710" y="16574"/>
                          <a:pt x="0" y="12863"/>
                          <a:pt x="0" y="8287"/>
                        </a:cubicBezTo>
                        <a:cubicBezTo>
                          <a:pt x="0" y="3710"/>
                          <a:pt x="3710" y="0"/>
                          <a:pt x="8287" y="0"/>
                        </a:cubicBezTo>
                        <a:cubicBezTo>
                          <a:pt x="12863" y="0"/>
                          <a:pt x="16573" y="3710"/>
                          <a:pt x="16573" y="8287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03" name="Freeform: Shape 3283">
                    <a:extLst>
                      <a:ext uri="{FF2B5EF4-FFF2-40B4-BE49-F238E27FC236}">
                        <a16:creationId xmlns:a16="http://schemas.microsoft.com/office/drawing/2014/main" id="{F922426B-02D1-C052-F10E-039C4204CB16}"/>
                      </a:ext>
                    </a:extLst>
                  </p:cNvPr>
                  <p:cNvSpPr/>
                  <p:nvPr/>
                </p:nvSpPr>
                <p:spPr>
                  <a:xfrm>
                    <a:off x="3788813" y="2428644"/>
                    <a:ext cx="11620" cy="11620"/>
                  </a:xfrm>
                  <a:custGeom>
                    <a:avLst/>
                    <a:gdLst>
                      <a:gd name="connsiteX0" fmla="*/ 11621 w 11620"/>
                      <a:gd name="connsiteY0" fmla="*/ 5810 h 11620"/>
                      <a:gd name="connsiteX1" fmla="*/ 5810 w 11620"/>
                      <a:gd name="connsiteY1" fmla="*/ 11620 h 11620"/>
                      <a:gd name="connsiteX2" fmla="*/ 0 w 11620"/>
                      <a:gd name="connsiteY2" fmla="*/ 5810 h 11620"/>
                      <a:gd name="connsiteX3" fmla="*/ 5810 w 11620"/>
                      <a:gd name="connsiteY3" fmla="*/ 0 h 11620"/>
                      <a:gd name="connsiteX4" fmla="*/ 11621 w 11620"/>
                      <a:gd name="connsiteY4" fmla="*/ 5810 h 116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620" h="11620">
                        <a:moveTo>
                          <a:pt x="11621" y="5810"/>
                        </a:moveTo>
                        <a:cubicBezTo>
                          <a:pt x="11621" y="9019"/>
                          <a:pt x="9019" y="11620"/>
                          <a:pt x="5810" y="11620"/>
                        </a:cubicBezTo>
                        <a:cubicBezTo>
                          <a:pt x="2601" y="11620"/>
                          <a:pt x="0" y="9019"/>
                          <a:pt x="0" y="5810"/>
                        </a:cubicBezTo>
                        <a:cubicBezTo>
                          <a:pt x="0" y="2601"/>
                          <a:pt x="2601" y="0"/>
                          <a:pt x="5810" y="0"/>
                        </a:cubicBezTo>
                        <a:cubicBezTo>
                          <a:pt x="9019" y="0"/>
                          <a:pt x="11621" y="2601"/>
                          <a:pt x="11621" y="5810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04" name="Freeform: Shape 3284">
                    <a:extLst>
                      <a:ext uri="{FF2B5EF4-FFF2-40B4-BE49-F238E27FC236}">
                        <a16:creationId xmlns:a16="http://schemas.microsoft.com/office/drawing/2014/main" id="{E58EA75A-023F-E4CE-5ED6-81DE1F5FDFB7}"/>
                      </a:ext>
                    </a:extLst>
                  </p:cNvPr>
                  <p:cNvSpPr/>
                  <p:nvPr/>
                </p:nvSpPr>
                <p:spPr>
                  <a:xfrm>
                    <a:off x="3727662" y="2431121"/>
                    <a:ext cx="11620" cy="11620"/>
                  </a:xfrm>
                  <a:custGeom>
                    <a:avLst/>
                    <a:gdLst>
                      <a:gd name="connsiteX0" fmla="*/ 11620 w 11620"/>
                      <a:gd name="connsiteY0" fmla="*/ 5810 h 11620"/>
                      <a:gd name="connsiteX1" fmla="*/ 5810 w 11620"/>
                      <a:gd name="connsiteY1" fmla="*/ 11620 h 11620"/>
                      <a:gd name="connsiteX2" fmla="*/ 0 w 11620"/>
                      <a:gd name="connsiteY2" fmla="*/ 5810 h 11620"/>
                      <a:gd name="connsiteX3" fmla="*/ 5810 w 11620"/>
                      <a:gd name="connsiteY3" fmla="*/ 0 h 11620"/>
                      <a:gd name="connsiteX4" fmla="*/ 11620 w 11620"/>
                      <a:gd name="connsiteY4" fmla="*/ 5810 h 116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620" h="11620">
                        <a:moveTo>
                          <a:pt x="11620" y="5810"/>
                        </a:moveTo>
                        <a:cubicBezTo>
                          <a:pt x="11620" y="9019"/>
                          <a:pt x="9019" y="11620"/>
                          <a:pt x="5810" y="11620"/>
                        </a:cubicBezTo>
                        <a:cubicBezTo>
                          <a:pt x="2601" y="11620"/>
                          <a:pt x="0" y="9019"/>
                          <a:pt x="0" y="5810"/>
                        </a:cubicBezTo>
                        <a:cubicBezTo>
                          <a:pt x="0" y="2601"/>
                          <a:pt x="2601" y="0"/>
                          <a:pt x="5810" y="0"/>
                        </a:cubicBezTo>
                        <a:cubicBezTo>
                          <a:pt x="9019" y="0"/>
                          <a:pt x="11620" y="2601"/>
                          <a:pt x="11620" y="5810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05" name="Freeform: Shape 3285">
                    <a:extLst>
                      <a:ext uri="{FF2B5EF4-FFF2-40B4-BE49-F238E27FC236}">
                        <a16:creationId xmlns:a16="http://schemas.microsoft.com/office/drawing/2014/main" id="{B1886FE1-5437-290B-8BF4-A0712337D13B}"/>
                      </a:ext>
                    </a:extLst>
                  </p:cNvPr>
                  <p:cNvSpPr/>
                  <p:nvPr/>
                </p:nvSpPr>
                <p:spPr>
                  <a:xfrm>
                    <a:off x="3819293" y="2369589"/>
                    <a:ext cx="11620" cy="11620"/>
                  </a:xfrm>
                  <a:custGeom>
                    <a:avLst/>
                    <a:gdLst>
                      <a:gd name="connsiteX0" fmla="*/ 11620 w 11620"/>
                      <a:gd name="connsiteY0" fmla="*/ 5810 h 11620"/>
                      <a:gd name="connsiteX1" fmla="*/ 5810 w 11620"/>
                      <a:gd name="connsiteY1" fmla="*/ 11620 h 11620"/>
                      <a:gd name="connsiteX2" fmla="*/ 0 w 11620"/>
                      <a:gd name="connsiteY2" fmla="*/ 5810 h 11620"/>
                      <a:gd name="connsiteX3" fmla="*/ 5810 w 11620"/>
                      <a:gd name="connsiteY3" fmla="*/ 0 h 11620"/>
                      <a:gd name="connsiteX4" fmla="*/ 11620 w 11620"/>
                      <a:gd name="connsiteY4" fmla="*/ 5810 h 116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620" h="11620">
                        <a:moveTo>
                          <a:pt x="11620" y="5810"/>
                        </a:moveTo>
                        <a:cubicBezTo>
                          <a:pt x="11620" y="9019"/>
                          <a:pt x="9019" y="11620"/>
                          <a:pt x="5810" y="11620"/>
                        </a:cubicBezTo>
                        <a:cubicBezTo>
                          <a:pt x="2601" y="11620"/>
                          <a:pt x="0" y="9019"/>
                          <a:pt x="0" y="5810"/>
                        </a:cubicBezTo>
                        <a:cubicBezTo>
                          <a:pt x="0" y="2601"/>
                          <a:pt x="2601" y="0"/>
                          <a:pt x="5810" y="0"/>
                        </a:cubicBezTo>
                        <a:cubicBezTo>
                          <a:pt x="9019" y="0"/>
                          <a:pt x="11620" y="2601"/>
                          <a:pt x="11620" y="5810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06" name="Freeform: Shape 3286">
                    <a:extLst>
                      <a:ext uri="{FF2B5EF4-FFF2-40B4-BE49-F238E27FC236}">
                        <a16:creationId xmlns:a16="http://schemas.microsoft.com/office/drawing/2014/main" id="{B9C3DA22-0B2B-3584-5000-F1F479B77F57}"/>
                      </a:ext>
                    </a:extLst>
                  </p:cNvPr>
                  <p:cNvSpPr/>
                  <p:nvPr/>
                </p:nvSpPr>
                <p:spPr>
                  <a:xfrm>
                    <a:off x="3813387" y="2406260"/>
                    <a:ext cx="7810" cy="7810"/>
                  </a:xfrm>
                  <a:custGeom>
                    <a:avLst/>
                    <a:gdLst>
                      <a:gd name="connsiteX0" fmla="*/ 7811 w 7810"/>
                      <a:gd name="connsiteY0" fmla="*/ 3905 h 7810"/>
                      <a:gd name="connsiteX1" fmla="*/ 3905 w 7810"/>
                      <a:gd name="connsiteY1" fmla="*/ 7810 h 7810"/>
                      <a:gd name="connsiteX2" fmla="*/ 0 w 7810"/>
                      <a:gd name="connsiteY2" fmla="*/ 3905 h 7810"/>
                      <a:gd name="connsiteX3" fmla="*/ 3905 w 7810"/>
                      <a:gd name="connsiteY3" fmla="*/ 0 h 7810"/>
                      <a:gd name="connsiteX4" fmla="*/ 7811 w 7810"/>
                      <a:gd name="connsiteY4" fmla="*/ 3905 h 78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810" h="7810">
                        <a:moveTo>
                          <a:pt x="7811" y="3905"/>
                        </a:moveTo>
                        <a:cubicBezTo>
                          <a:pt x="7811" y="6062"/>
                          <a:pt x="6062" y="7810"/>
                          <a:pt x="3905" y="7810"/>
                        </a:cubicBezTo>
                        <a:cubicBezTo>
                          <a:pt x="1748" y="7810"/>
                          <a:pt x="0" y="6062"/>
                          <a:pt x="0" y="3905"/>
                        </a:cubicBezTo>
                        <a:cubicBezTo>
                          <a:pt x="0" y="1748"/>
                          <a:pt x="1748" y="0"/>
                          <a:pt x="3905" y="0"/>
                        </a:cubicBezTo>
                        <a:cubicBezTo>
                          <a:pt x="6062" y="0"/>
                          <a:pt x="7811" y="1748"/>
                          <a:pt x="7811" y="3905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07" name="Freeform: Shape 3287">
                    <a:extLst>
                      <a:ext uri="{FF2B5EF4-FFF2-40B4-BE49-F238E27FC236}">
                        <a16:creationId xmlns:a16="http://schemas.microsoft.com/office/drawing/2014/main" id="{593E6985-8A7C-5AF5-DC18-02C392802727}"/>
                      </a:ext>
                    </a:extLst>
                  </p:cNvPr>
                  <p:cNvSpPr/>
                  <p:nvPr/>
                </p:nvSpPr>
                <p:spPr>
                  <a:xfrm>
                    <a:off x="3734330" y="2374256"/>
                    <a:ext cx="7810" cy="7810"/>
                  </a:xfrm>
                  <a:custGeom>
                    <a:avLst/>
                    <a:gdLst>
                      <a:gd name="connsiteX0" fmla="*/ 7811 w 7810"/>
                      <a:gd name="connsiteY0" fmla="*/ 3905 h 7810"/>
                      <a:gd name="connsiteX1" fmla="*/ 3905 w 7810"/>
                      <a:gd name="connsiteY1" fmla="*/ 7811 h 7810"/>
                      <a:gd name="connsiteX2" fmla="*/ 0 w 7810"/>
                      <a:gd name="connsiteY2" fmla="*/ 3905 h 7810"/>
                      <a:gd name="connsiteX3" fmla="*/ 3905 w 7810"/>
                      <a:gd name="connsiteY3" fmla="*/ 0 h 7810"/>
                      <a:gd name="connsiteX4" fmla="*/ 7811 w 7810"/>
                      <a:gd name="connsiteY4" fmla="*/ 3905 h 78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810" h="7810">
                        <a:moveTo>
                          <a:pt x="7811" y="3905"/>
                        </a:moveTo>
                        <a:cubicBezTo>
                          <a:pt x="7811" y="6062"/>
                          <a:pt x="6062" y="7811"/>
                          <a:pt x="3905" y="7811"/>
                        </a:cubicBezTo>
                        <a:cubicBezTo>
                          <a:pt x="1748" y="7811"/>
                          <a:pt x="0" y="6062"/>
                          <a:pt x="0" y="3905"/>
                        </a:cubicBezTo>
                        <a:cubicBezTo>
                          <a:pt x="0" y="1748"/>
                          <a:pt x="1748" y="0"/>
                          <a:pt x="3905" y="0"/>
                        </a:cubicBezTo>
                        <a:cubicBezTo>
                          <a:pt x="6062" y="0"/>
                          <a:pt x="7811" y="1748"/>
                          <a:pt x="7811" y="3905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08" name="Freeform: Shape 3288">
                    <a:extLst>
                      <a:ext uri="{FF2B5EF4-FFF2-40B4-BE49-F238E27FC236}">
                        <a16:creationId xmlns:a16="http://schemas.microsoft.com/office/drawing/2014/main" id="{0D5BB2FC-6AC2-CD71-E5B9-66C6C2B569D4}"/>
                      </a:ext>
                    </a:extLst>
                  </p:cNvPr>
                  <p:cNvSpPr/>
                  <p:nvPr/>
                </p:nvSpPr>
                <p:spPr>
                  <a:xfrm>
                    <a:off x="3841962" y="2467601"/>
                    <a:ext cx="11620" cy="11620"/>
                  </a:xfrm>
                  <a:custGeom>
                    <a:avLst/>
                    <a:gdLst>
                      <a:gd name="connsiteX0" fmla="*/ 11621 w 11620"/>
                      <a:gd name="connsiteY0" fmla="*/ 5810 h 11620"/>
                      <a:gd name="connsiteX1" fmla="*/ 5810 w 11620"/>
                      <a:gd name="connsiteY1" fmla="*/ 11620 h 11620"/>
                      <a:gd name="connsiteX2" fmla="*/ 0 w 11620"/>
                      <a:gd name="connsiteY2" fmla="*/ 5810 h 11620"/>
                      <a:gd name="connsiteX3" fmla="*/ 5810 w 11620"/>
                      <a:gd name="connsiteY3" fmla="*/ 0 h 11620"/>
                      <a:gd name="connsiteX4" fmla="*/ 11621 w 11620"/>
                      <a:gd name="connsiteY4" fmla="*/ 5810 h 116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620" h="11620">
                        <a:moveTo>
                          <a:pt x="11621" y="5810"/>
                        </a:moveTo>
                        <a:cubicBezTo>
                          <a:pt x="11621" y="9019"/>
                          <a:pt x="9019" y="11620"/>
                          <a:pt x="5810" y="11620"/>
                        </a:cubicBezTo>
                        <a:cubicBezTo>
                          <a:pt x="2601" y="11620"/>
                          <a:pt x="0" y="9019"/>
                          <a:pt x="0" y="5810"/>
                        </a:cubicBezTo>
                        <a:cubicBezTo>
                          <a:pt x="0" y="2601"/>
                          <a:pt x="2601" y="0"/>
                          <a:pt x="5810" y="0"/>
                        </a:cubicBezTo>
                        <a:cubicBezTo>
                          <a:pt x="9019" y="0"/>
                          <a:pt x="11621" y="2601"/>
                          <a:pt x="11621" y="5810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09" name="Freeform: Shape 3289">
                    <a:extLst>
                      <a:ext uri="{FF2B5EF4-FFF2-40B4-BE49-F238E27FC236}">
                        <a16:creationId xmlns:a16="http://schemas.microsoft.com/office/drawing/2014/main" id="{ECC9B0DA-E7B8-89D8-8086-83123F3AFE33}"/>
                      </a:ext>
                    </a:extLst>
                  </p:cNvPr>
                  <p:cNvSpPr/>
                  <p:nvPr/>
                </p:nvSpPr>
                <p:spPr>
                  <a:xfrm>
                    <a:off x="3801100" y="2463696"/>
                    <a:ext cx="11620" cy="11620"/>
                  </a:xfrm>
                  <a:custGeom>
                    <a:avLst/>
                    <a:gdLst>
                      <a:gd name="connsiteX0" fmla="*/ 11620 w 11620"/>
                      <a:gd name="connsiteY0" fmla="*/ 5810 h 11620"/>
                      <a:gd name="connsiteX1" fmla="*/ 5810 w 11620"/>
                      <a:gd name="connsiteY1" fmla="*/ 11621 h 11620"/>
                      <a:gd name="connsiteX2" fmla="*/ 0 w 11620"/>
                      <a:gd name="connsiteY2" fmla="*/ 5810 h 11620"/>
                      <a:gd name="connsiteX3" fmla="*/ 5810 w 11620"/>
                      <a:gd name="connsiteY3" fmla="*/ 0 h 11620"/>
                      <a:gd name="connsiteX4" fmla="*/ 11620 w 11620"/>
                      <a:gd name="connsiteY4" fmla="*/ 5810 h 116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620" h="11620">
                        <a:moveTo>
                          <a:pt x="11620" y="5810"/>
                        </a:moveTo>
                        <a:cubicBezTo>
                          <a:pt x="11620" y="9019"/>
                          <a:pt x="9019" y="11621"/>
                          <a:pt x="5810" y="11621"/>
                        </a:cubicBezTo>
                        <a:cubicBezTo>
                          <a:pt x="2601" y="11621"/>
                          <a:pt x="0" y="9019"/>
                          <a:pt x="0" y="5810"/>
                        </a:cubicBezTo>
                        <a:cubicBezTo>
                          <a:pt x="0" y="2601"/>
                          <a:pt x="2601" y="0"/>
                          <a:pt x="5810" y="0"/>
                        </a:cubicBezTo>
                        <a:cubicBezTo>
                          <a:pt x="9019" y="0"/>
                          <a:pt x="11620" y="2601"/>
                          <a:pt x="11620" y="5810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10" name="Freeform: Shape 3290">
                    <a:extLst>
                      <a:ext uri="{FF2B5EF4-FFF2-40B4-BE49-F238E27FC236}">
                        <a16:creationId xmlns:a16="http://schemas.microsoft.com/office/drawing/2014/main" id="{887D0158-03C1-C50D-8B18-B55EE4598B9C}"/>
                      </a:ext>
                    </a:extLst>
                  </p:cNvPr>
                  <p:cNvSpPr/>
                  <p:nvPr/>
                </p:nvSpPr>
                <p:spPr>
                  <a:xfrm>
                    <a:off x="3735758" y="2471507"/>
                    <a:ext cx="26098" cy="26098"/>
                  </a:xfrm>
                  <a:custGeom>
                    <a:avLst/>
                    <a:gdLst>
                      <a:gd name="connsiteX0" fmla="*/ 26098 w 26098"/>
                      <a:gd name="connsiteY0" fmla="*/ 13049 h 26098"/>
                      <a:gd name="connsiteX1" fmla="*/ 13049 w 26098"/>
                      <a:gd name="connsiteY1" fmla="*/ 26099 h 26098"/>
                      <a:gd name="connsiteX2" fmla="*/ 0 w 26098"/>
                      <a:gd name="connsiteY2" fmla="*/ 13049 h 26098"/>
                      <a:gd name="connsiteX3" fmla="*/ 13049 w 26098"/>
                      <a:gd name="connsiteY3" fmla="*/ 0 h 26098"/>
                      <a:gd name="connsiteX4" fmla="*/ 26098 w 26098"/>
                      <a:gd name="connsiteY4" fmla="*/ 13049 h 260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6098" h="26098">
                        <a:moveTo>
                          <a:pt x="26098" y="13049"/>
                        </a:moveTo>
                        <a:cubicBezTo>
                          <a:pt x="26098" y="20256"/>
                          <a:pt x="20256" y="26099"/>
                          <a:pt x="13049" y="26099"/>
                        </a:cubicBezTo>
                        <a:cubicBezTo>
                          <a:pt x="5842" y="26099"/>
                          <a:pt x="0" y="20256"/>
                          <a:pt x="0" y="13049"/>
                        </a:cubicBezTo>
                        <a:cubicBezTo>
                          <a:pt x="0" y="5842"/>
                          <a:pt x="5842" y="0"/>
                          <a:pt x="13049" y="0"/>
                        </a:cubicBezTo>
                        <a:cubicBezTo>
                          <a:pt x="20256" y="0"/>
                          <a:pt x="26098" y="5842"/>
                          <a:pt x="26098" y="13049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</p:grpSp>
          <p:sp>
            <p:nvSpPr>
              <p:cNvPr id="915" name="TextBox 914">
                <a:extLst>
                  <a:ext uri="{FF2B5EF4-FFF2-40B4-BE49-F238E27FC236}">
                    <a16:creationId xmlns:a16="http://schemas.microsoft.com/office/drawing/2014/main" id="{6D71C414-7F79-61CC-4176-B3FBA4986851}"/>
                  </a:ext>
                </a:extLst>
              </p:cNvPr>
              <p:cNvSpPr txBox="1"/>
              <p:nvPr/>
            </p:nvSpPr>
            <p:spPr>
              <a:xfrm>
                <a:off x="2566143" y="2900054"/>
                <a:ext cx="275990" cy="19181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defRPr/>
                </a:pPr>
                <a:r>
                  <a:rPr lang="en-US" sz="900" b="1" kern="0">
                    <a:solidFill>
                      <a:srgbClr val="595959">
                        <a:lumMod val="75000"/>
                      </a:srgbClr>
                    </a:solidFill>
                    <a:latin typeface="Arial" panose="020B0604020202020204"/>
                    <a:cs typeface="Arial" panose="020B0604020202020204" pitchFamily="34" charset="0"/>
                  </a:rPr>
                  <a:t>Goblet </a:t>
                </a:r>
                <a:br>
                  <a:rPr lang="en-US" sz="900" b="1" kern="0">
                    <a:solidFill>
                      <a:srgbClr val="595959">
                        <a:lumMod val="75000"/>
                      </a:srgbClr>
                    </a:solidFill>
                    <a:latin typeface="Arial" panose="020B0604020202020204"/>
                    <a:cs typeface="Arial" panose="020B0604020202020204" pitchFamily="34" charset="0"/>
                  </a:rPr>
                </a:br>
                <a:r>
                  <a:rPr lang="en-US" sz="900" b="1" kern="0">
                    <a:solidFill>
                      <a:srgbClr val="595959">
                        <a:lumMod val="75000"/>
                      </a:srgbClr>
                    </a:solidFill>
                    <a:latin typeface="Arial" panose="020B0604020202020204"/>
                    <a:cs typeface="Arial" panose="020B0604020202020204" pitchFamily="34" charset="0"/>
                  </a:rPr>
                  <a:t>cell</a:t>
                </a:r>
              </a:p>
            </p:txBody>
          </p:sp>
          <p:grpSp>
            <p:nvGrpSpPr>
              <p:cNvPr id="916" name="Group 915">
                <a:extLst>
                  <a:ext uri="{FF2B5EF4-FFF2-40B4-BE49-F238E27FC236}">
                    <a16:creationId xmlns:a16="http://schemas.microsoft.com/office/drawing/2014/main" id="{3B22C3B2-C4C8-3463-4AA8-EB294D22003C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716747" y="4622903"/>
                <a:ext cx="164406" cy="249291"/>
                <a:chOff x="5245432" y="2368937"/>
                <a:chExt cx="259652" cy="446987"/>
              </a:xfrm>
            </p:grpSpPr>
            <p:grpSp>
              <p:nvGrpSpPr>
                <p:cNvPr id="917" name="Graphic 169">
                  <a:extLst>
                    <a:ext uri="{FF2B5EF4-FFF2-40B4-BE49-F238E27FC236}">
                      <a16:creationId xmlns:a16="http://schemas.microsoft.com/office/drawing/2014/main" id="{FA6A74B0-4CB5-0C80-3317-01A3C4FC68DE}"/>
                    </a:ext>
                  </a:extLst>
                </p:cNvPr>
                <p:cNvGrpSpPr/>
                <p:nvPr/>
              </p:nvGrpSpPr>
              <p:grpSpPr>
                <a:xfrm>
                  <a:off x="5245432" y="2368937"/>
                  <a:ext cx="259652" cy="446987"/>
                  <a:chOff x="3690486" y="2366556"/>
                  <a:chExt cx="259652" cy="446987"/>
                </a:xfrm>
              </p:grpSpPr>
              <p:grpSp>
                <p:nvGrpSpPr>
                  <p:cNvPr id="933" name="Graphic 169">
                    <a:extLst>
                      <a:ext uri="{FF2B5EF4-FFF2-40B4-BE49-F238E27FC236}">
                        <a16:creationId xmlns:a16="http://schemas.microsoft.com/office/drawing/2014/main" id="{C1CAF4C5-D202-4B3B-8A9A-8C0BFB83BCE1}"/>
                      </a:ext>
                    </a:extLst>
                  </p:cNvPr>
                  <p:cNvGrpSpPr/>
                  <p:nvPr/>
                </p:nvGrpSpPr>
                <p:grpSpPr>
                  <a:xfrm>
                    <a:off x="3690486" y="2366556"/>
                    <a:ext cx="259652" cy="446987"/>
                    <a:chOff x="3690486" y="2366556"/>
                    <a:chExt cx="259652" cy="446987"/>
                  </a:xfrm>
                </p:grpSpPr>
                <p:sp>
                  <p:nvSpPr>
                    <p:cNvPr id="935" name="Freeform: Shape 3273">
                      <a:extLst>
                        <a:ext uri="{FF2B5EF4-FFF2-40B4-BE49-F238E27FC236}">
                          <a16:creationId xmlns:a16="http://schemas.microsoft.com/office/drawing/2014/main" id="{8821F4E6-78E0-D495-38AC-18FBE9A5679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697923" y="2374236"/>
                      <a:ext cx="240780" cy="430734"/>
                    </a:xfrm>
                    <a:custGeom>
                      <a:avLst/>
                      <a:gdLst>
                        <a:gd name="connsiteX0" fmla="*/ 143849 w 188541"/>
                        <a:gd name="connsiteY0" fmla="*/ 453490 h 454436"/>
                        <a:gd name="connsiteX1" fmla="*/ 188521 w 188541"/>
                        <a:gd name="connsiteY1" fmla="*/ 400436 h 454436"/>
                        <a:gd name="connsiteX2" fmla="*/ 182330 w 188541"/>
                        <a:gd name="connsiteY2" fmla="*/ 51535 h 454436"/>
                        <a:gd name="connsiteX3" fmla="*/ 139277 w 188541"/>
                        <a:gd name="connsiteY3" fmla="*/ 5 h 454436"/>
                        <a:gd name="connsiteX4" fmla="*/ 94128 w 188541"/>
                        <a:gd name="connsiteY4" fmla="*/ 862 h 454436"/>
                        <a:gd name="connsiteX5" fmla="*/ 48980 w 188541"/>
                        <a:gd name="connsiteY5" fmla="*/ 767 h 454436"/>
                        <a:gd name="connsiteX6" fmla="*/ 5927 w 188541"/>
                        <a:gd name="connsiteY6" fmla="*/ 52392 h 454436"/>
                        <a:gd name="connsiteX7" fmla="*/ 21 w 188541"/>
                        <a:gd name="connsiteY7" fmla="*/ 401007 h 454436"/>
                        <a:gd name="connsiteX8" fmla="*/ 44598 w 188541"/>
                        <a:gd name="connsiteY8" fmla="*/ 453966 h 454436"/>
                        <a:gd name="connsiteX9" fmla="*/ 94128 w 188541"/>
                        <a:gd name="connsiteY9" fmla="*/ 454252 h 454436"/>
                        <a:gd name="connsiteX10" fmla="*/ 143753 w 188541"/>
                        <a:gd name="connsiteY10" fmla="*/ 453490 h 45443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188541" h="454436">
                          <a:moveTo>
                            <a:pt x="143849" y="453490"/>
                          </a:moveTo>
                          <a:cubicBezTo>
                            <a:pt x="169280" y="453109"/>
                            <a:pt x="189283" y="429296"/>
                            <a:pt x="188521" y="400436"/>
                          </a:cubicBezTo>
                          <a:lnTo>
                            <a:pt x="182330" y="51535"/>
                          </a:lnTo>
                          <a:cubicBezTo>
                            <a:pt x="181568" y="22674"/>
                            <a:pt x="162232" y="-376"/>
                            <a:pt x="139277" y="5"/>
                          </a:cubicBezTo>
                          <a:lnTo>
                            <a:pt x="94128" y="862"/>
                          </a:lnTo>
                          <a:cubicBezTo>
                            <a:pt x="79079" y="1338"/>
                            <a:pt x="64029" y="862"/>
                            <a:pt x="48980" y="767"/>
                          </a:cubicBezTo>
                          <a:cubicBezTo>
                            <a:pt x="26024" y="481"/>
                            <a:pt x="6689" y="23627"/>
                            <a:pt x="5927" y="52392"/>
                          </a:cubicBezTo>
                          <a:lnTo>
                            <a:pt x="21" y="401007"/>
                          </a:lnTo>
                          <a:cubicBezTo>
                            <a:pt x="-741" y="429773"/>
                            <a:pt x="19262" y="453585"/>
                            <a:pt x="44598" y="453966"/>
                          </a:cubicBezTo>
                          <a:cubicBezTo>
                            <a:pt x="61076" y="454157"/>
                            <a:pt x="77555" y="454728"/>
                            <a:pt x="94128" y="454252"/>
                          </a:cubicBezTo>
                          <a:lnTo>
                            <a:pt x="143753" y="453490"/>
                          </a:lnTo>
                          <a:close/>
                        </a:path>
                      </a:pathLst>
                    </a:custGeom>
                    <a:solidFill>
                      <a:srgbClr val="ECE2A6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>
                        <a:defRPr/>
                      </a:pPr>
                      <a:endParaRPr lang="en-US" sz="1600" kern="0">
                        <a:solidFill>
                          <a:srgbClr val="000000"/>
                        </a:solidFill>
                        <a:latin typeface="Arial" panose="020B0604020202020204"/>
                      </a:endParaRPr>
                    </a:p>
                  </p:txBody>
                </p:sp>
                <p:sp>
                  <p:nvSpPr>
                    <p:cNvPr id="936" name="Freeform: Shape 3274">
                      <a:extLst>
                        <a:ext uri="{FF2B5EF4-FFF2-40B4-BE49-F238E27FC236}">
                          <a16:creationId xmlns:a16="http://schemas.microsoft.com/office/drawing/2014/main" id="{F971673C-18E7-529C-16AC-63823697B10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690486" y="2366556"/>
                      <a:ext cx="259652" cy="446987"/>
                    </a:xfrm>
                    <a:custGeom>
                      <a:avLst/>
                      <a:gdLst>
                        <a:gd name="connsiteX0" fmla="*/ 56416 w 203319"/>
                        <a:gd name="connsiteY0" fmla="*/ 17913 h 471583"/>
                        <a:gd name="connsiteX1" fmla="*/ 101660 w 203319"/>
                        <a:gd name="connsiteY1" fmla="*/ 18008 h 471583"/>
                        <a:gd name="connsiteX2" fmla="*/ 146904 w 203319"/>
                        <a:gd name="connsiteY2" fmla="*/ 17151 h 471583"/>
                        <a:gd name="connsiteX3" fmla="*/ 182908 w 203319"/>
                        <a:gd name="connsiteY3" fmla="*/ 60204 h 471583"/>
                        <a:gd name="connsiteX4" fmla="*/ 188623 w 203319"/>
                        <a:gd name="connsiteY4" fmla="*/ 409105 h 471583"/>
                        <a:gd name="connsiteX5" fmla="*/ 151285 w 203319"/>
                        <a:gd name="connsiteY5" fmla="*/ 453396 h 471583"/>
                        <a:gd name="connsiteX6" fmla="*/ 101755 w 203319"/>
                        <a:gd name="connsiteY6" fmla="*/ 454158 h 471583"/>
                        <a:gd name="connsiteX7" fmla="*/ 52320 w 203319"/>
                        <a:gd name="connsiteY7" fmla="*/ 453872 h 471583"/>
                        <a:gd name="connsiteX8" fmla="*/ 15078 w 203319"/>
                        <a:gd name="connsiteY8" fmla="*/ 409676 h 471583"/>
                        <a:gd name="connsiteX9" fmla="*/ 20412 w 203319"/>
                        <a:gd name="connsiteY9" fmla="*/ 61061 h 471583"/>
                        <a:gd name="connsiteX10" fmla="*/ 56416 w 203319"/>
                        <a:gd name="connsiteY10" fmla="*/ 17913 h 471583"/>
                        <a:gd name="connsiteX11" fmla="*/ 56607 w 203319"/>
                        <a:gd name="connsiteY11" fmla="*/ 768 h 471583"/>
                        <a:gd name="connsiteX12" fmla="*/ 6410 w 203319"/>
                        <a:gd name="connsiteY12" fmla="*/ 60871 h 471583"/>
                        <a:gd name="connsiteX13" fmla="*/ 28 w 203319"/>
                        <a:gd name="connsiteY13" fmla="*/ 409486 h 471583"/>
                        <a:gd name="connsiteX14" fmla="*/ 51939 w 203319"/>
                        <a:gd name="connsiteY14" fmla="*/ 471113 h 471583"/>
                        <a:gd name="connsiteX15" fmla="*/ 101565 w 203319"/>
                        <a:gd name="connsiteY15" fmla="*/ 471398 h 471583"/>
                        <a:gd name="connsiteX16" fmla="*/ 151285 w 203319"/>
                        <a:gd name="connsiteY16" fmla="*/ 470636 h 471583"/>
                        <a:gd name="connsiteX17" fmla="*/ 203292 w 203319"/>
                        <a:gd name="connsiteY17" fmla="*/ 408914 h 471583"/>
                        <a:gd name="connsiteX18" fmla="*/ 196624 w 203319"/>
                        <a:gd name="connsiteY18" fmla="*/ 60014 h 471583"/>
                        <a:gd name="connsiteX19" fmla="*/ 146618 w 203319"/>
                        <a:gd name="connsiteY19" fmla="*/ 6 h 471583"/>
                        <a:gd name="connsiteX20" fmla="*/ 101660 w 203319"/>
                        <a:gd name="connsiteY20" fmla="*/ 863 h 471583"/>
                        <a:gd name="connsiteX21" fmla="*/ 56607 w 203319"/>
                        <a:gd name="connsiteY21" fmla="*/ 768 h 4715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</a:cxnLst>
                      <a:rect l="l" t="t" r="r" b="b"/>
                      <a:pathLst>
                        <a:path w="203319" h="471583">
                          <a:moveTo>
                            <a:pt x="56416" y="17913"/>
                          </a:moveTo>
                          <a:cubicBezTo>
                            <a:pt x="71466" y="18008"/>
                            <a:pt x="86610" y="18580"/>
                            <a:pt x="101660" y="18008"/>
                          </a:cubicBezTo>
                          <a:lnTo>
                            <a:pt x="146904" y="17151"/>
                          </a:lnTo>
                          <a:cubicBezTo>
                            <a:pt x="166144" y="16770"/>
                            <a:pt x="182337" y="36106"/>
                            <a:pt x="182908" y="60204"/>
                          </a:cubicBezTo>
                          <a:lnTo>
                            <a:pt x="188623" y="409105"/>
                          </a:lnTo>
                          <a:cubicBezTo>
                            <a:pt x="189195" y="433203"/>
                            <a:pt x="172526" y="453110"/>
                            <a:pt x="151285" y="453396"/>
                          </a:cubicBezTo>
                          <a:lnTo>
                            <a:pt x="101755" y="454158"/>
                          </a:lnTo>
                          <a:cubicBezTo>
                            <a:pt x="85182" y="454634"/>
                            <a:pt x="68799" y="454158"/>
                            <a:pt x="52320" y="453872"/>
                          </a:cubicBezTo>
                          <a:cubicBezTo>
                            <a:pt x="31175" y="453587"/>
                            <a:pt x="14506" y="433679"/>
                            <a:pt x="15078" y="409676"/>
                          </a:cubicBezTo>
                          <a:lnTo>
                            <a:pt x="20412" y="61061"/>
                          </a:lnTo>
                          <a:cubicBezTo>
                            <a:pt x="20983" y="36963"/>
                            <a:pt x="37176" y="17627"/>
                            <a:pt x="56416" y="17913"/>
                          </a:cubicBezTo>
                          <a:moveTo>
                            <a:pt x="56607" y="768"/>
                          </a:moveTo>
                          <a:cubicBezTo>
                            <a:pt x="29937" y="387"/>
                            <a:pt x="7362" y="27438"/>
                            <a:pt x="6410" y="60871"/>
                          </a:cubicBezTo>
                          <a:lnTo>
                            <a:pt x="28" y="409486"/>
                          </a:lnTo>
                          <a:cubicBezTo>
                            <a:pt x="-924" y="442919"/>
                            <a:pt x="22412" y="470636"/>
                            <a:pt x="51939" y="471113"/>
                          </a:cubicBezTo>
                          <a:cubicBezTo>
                            <a:pt x="68513" y="471303"/>
                            <a:pt x="84991" y="471875"/>
                            <a:pt x="101565" y="471398"/>
                          </a:cubicBezTo>
                          <a:lnTo>
                            <a:pt x="151285" y="470636"/>
                          </a:lnTo>
                          <a:cubicBezTo>
                            <a:pt x="180908" y="470160"/>
                            <a:pt x="204244" y="442347"/>
                            <a:pt x="203292" y="408914"/>
                          </a:cubicBezTo>
                          <a:lnTo>
                            <a:pt x="196624" y="60014"/>
                          </a:lnTo>
                          <a:cubicBezTo>
                            <a:pt x="195767" y="26486"/>
                            <a:pt x="173193" y="-470"/>
                            <a:pt x="146618" y="6"/>
                          </a:cubicBezTo>
                          <a:lnTo>
                            <a:pt x="101660" y="863"/>
                          </a:lnTo>
                          <a:cubicBezTo>
                            <a:pt x="86706" y="1340"/>
                            <a:pt x="71656" y="863"/>
                            <a:pt x="56607" y="768"/>
                          </a:cubicBezTo>
                          <a:close/>
                        </a:path>
                      </a:pathLst>
                    </a:custGeom>
                    <a:solidFill>
                      <a:srgbClr val="5B6C10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>
                        <a:defRPr/>
                      </a:pPr>
                      <a:endParaRPr lang="en-US" sz="1600" kern="0">
                        <a:solidFill>
                          <a:srgbClr val="000000"/>
                        </a:solidFill>
                        <a:latin typeface="Arial" panose="020B0604020202020204"/>
                      </a:endParaRPr>
                    </a:p>
                  </p:txBody>
                </p:sp>
              </p:grpSp>
              <p:sp>
                <p:nvSpPr>
                  <p:cNvPr id="934" name="Freeform: Shape 3272">
                    <a:extLst>
                      <a:ext uri="{FF2B5EF4-FFF2-40B4-BE49-F238E27FC236}">
                        <a16:creationId xmlns:a16="http://schemas.microsoft.com/office/drawing/2014/main" id="{007191D7-346E-F4C1-8A5F-11A5CCEB3172}"/>
                      </a:ext>
                    </a:extLst>
                  </p:cNvPr>
                  <p:cNvSpPr/>
                  <p:nvPr/>
                </p:nvSpPr>
                <p:spPr>
                  <a:xfrm>
                    <a:off x="3771346" y="2693433"/>
                    <a:ext cx="94779" cy="76790"/>
                  </a:xfrm>
                  <a:custGeom>
                    <a:avLst/>
                    <a:gdLst>
                      <a:gd name="connsiteX0" fmla="*/ 3 w 94779"/>
                      <a:gd name="connsiteY0" fmla="*/ 38202 h 76790"/>
                      <a:gd name="connsiteX1" fmla="*/ 47342 w 94779"/>
                      <a:gd name="connsiteY1" fmla="*/ 76778 h 76790"/>
                      <a:gd name="connsiteX2" fmla="*/ 94777 w 94779"/>
                      <a:gd name="connsiteY2" fmla="*/ 37630 h 76790"/>
                      <a:gd name="connsiteX3" fmla="*/ 47437 w 94779"/>
                      <a:gd name="connsiteY3" fmla="*/ 6 h 76790"/>
                      <a:gd name="connsiteX4" fmla="*/ 98 w 94779"/>
                      <a:gd name="connsiteY4" fmla="*/ 38106 h 7679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94779" h="76790">
                        <a:moveTo>
                          <a:pt x="3" y="38202"/>
                        </a:moveTo>
                        <a:cubicBezTo>
                          <a:pt x="-283" y="59157"/>
                          <a:pt x="20863" y="77349"/>
                          <a:pt x="47342" y="76778"/>
                        </a:cubicBezTo>
                        <a:cubicBezTo>
                          <a:pt x="73822" y="76397"/>
                          <a:pt x="95062" y="58871"/>
                          <a:pt x="94777" y="37630"/>
                        </a:cubicBezTo>
                        <a:cubicBezTo>
                          <a:pt x="94491" y="16389"/>
                          <a:pt x="73250" y="-375"/>
                          <a:pt x="47437" y="6"/>
                        </a:cubicBezTo>
                        <a:cubicBezTo>
                          <a:pt x="21529" y="578"/>
                          <a:pt x="384" y="16770"/>
                          <a:pt x="98" y="38106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grpSp>
              <p:nvGrpSpPr>
                <p:cNvPr id="918" name="Group 917">
                  <a:extLst>
                    <a:ext uri="{FF2B5EF4-FFF2-40B4-BE49-F238E27FC236}">
                      <a16:creationId xmlns:a16="http://schemas.microsoft.com/office/drawing/2014/main" id="{00A61BB5-A9A2-1AB9-FFBD-D0796DFBD889}"/>
                    </a:ext>
                  </a:extLst>
                </p:cNvPr>
                <p:cNvGrpSpPr/>
                <p:nvPr/>
              </p:nvGrpSpPr>
              <p:grpSpPr>
                <a:xfrm>
                  <a:off x="5292918" y="2417361"/>
                  <a:ext cx="169678" cy="159027"/>
                  <a:chOff x="3727662" y="2369589"/>
                  <a:chExt cx="136588" cy="128016"/>
                </a:xfrm>
                <a:solidFill>
                  <a:srgbClr val="3C1053"/>
                </a:solidFill>
              </p:grpSpPr>
              <p:sp>
                <p:nvSpPr>
                  <p:cNvPr id="919" name="Freeform: Shape 3257">
                    <a:extLst>
                      <a:ext uri="{FF2B5EF4-FFF2-40B4-BE49-F238E27FC236}">
                        <a16:creationId xmlns:a16="http://schemas.microsoft.com/office/drawing/2014/main" id="{0D4E797E-C35D-33A0-9B56-61540EA65588}"/>
                      </a:ext>
                    </a:extLst>
                  </p:cNvPr>
                  <p:cNvSpPr/>
                  <p:nvPr/>
                </p:nvSpPr>
                <p:spPr>
                  <a:xfrm>
                    <a:off x="3739283" y="2389782"/>
                    <a:ext cx="33146" cy="33147"/>
                  </a:xfrm>
                  <a:custGeom>
                    <a:avLst/>
                    <a:gdLst>
                      <a:gd name="connsiteX0" fmla="*/ 33147 w 33146"/>
                      <a:gd name="connsiteY0" fmla="*/ 16574 h 33147"/>
                      <a:gd name="connsiteX1" fmla="*/ 16574 w 33146"/>
                      <a:gd name="connsiteY1" fmla="*/ 33147 h 33147"/>
                      <a:gd name="connsiteX2" fmla="*/ 0 w 33146"/>
                      <a:gd name="connsiteY2" fmla="*/ 16574 h 33147"/>
                      <a:gd name="connsiteX3" fmla="*/ 16574 w 33146"/>
                      <a:gd name="connsiteY3" fmla="*/ 0 h 33147"/>
                      <a:gd name="connsiteX4" fmla="*/ 33147 w 33146"/>
                      <a:gd name="connsiteY4" fmla="*/ 16574 h 331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3146" h="33147">
                        <a:moveTo>
                          <a:pt x="33147" y="16574"/>
                        </a:moveTo>
                        <a:cubicBezTo>
                          <a:pt x="33147" y="25727"/>
                          <a:pt x="25727" y="33147"/>
                          <a:pt x="16574" y="33147"/>
                        </a:cubicBezTo>
                        <a:cubicBezTo>
                          <a:pt x="7420" y="33147"/>
                          <a:pt x="0" y="25727"/>
                          <a:pt x="0" y="16574"/>
                        </a:cubicBezTo>
                        <a:cubicBezTo>
                          <a:pt x="0" y="7420"/>
                          <a:pt x="7420" y="0"/>
                          <a:pt x="16574" y="0"/>
                        </a:cubicBezTo>
                        <a:cubicBezTo>
                          <a:pt x="25727" y="0"/>
                          <a:pt x="33147" y="7420"/>
                          <a:pt x="33147" y="16574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20" name="Freeform: Shape 3258">
                    <a:extLst>
                      <a:ext uri="{FF2B5EF4-FFF2-40B4-BE49-F238E27FC236}">
                        <a16:creationId xmlns:a16="http://schemas.microsoft.com/office/drawing/2014/main" id="{83021B59-00C7-A434-F129-9F1171CCE11F}"/>
                      </a:ext>
                    </a:extLst>
                  </p:cNvPr>
                  <p:cNvSpPr/>
                  <p:nvPr/>
                </p:nvSpPr>
                <p:spPr>
                  <a:xfrm>
                    <a:off x="3808529" y="2423691"/>
                    <a:ext cx="33147" cy="33147"/>
                  </a:xfrm>
                  <a:custGeom>
                    <a:avLst/>
                    <a:gdLst>
                      <a:gd name="connsiteX0" fmla="*/ 33147 w 33147"/>
                      <a:gd name="connsiteY0" fmla="*/ 16573 h 33147"/>
                      <a:gd name="connsiteX1" fmla="*/ 16574 w 33147"/>
                      <a:gd name="connsiteY1" fmla="*/ 33147 h 33147"/>
                      <a:gd name="connsiteX2" fmla="*/ 0 w 33147"/>
                      <a:gd name="connsiteY2" fmla="*/ 16573 h 33147"/>
                      <a:gd name="connsiteX3" fmla="*/ 16574 w 33147"/>
                      <a:gd name="connsiteY3" fmla="*/ 0 h 33147"/>
                      <a:gd name="connsiteX4" fmla="*/ 33147 w 33147"/>
                      <a:gd name="connsiteY4" fmla="*/ 16573 h 331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3147" h="33147">
                        <a:moveTo>
                          <a:pt x="33147" y="16573"/>
                        </a:moveTo>
                        <a:cubicBezTo>
                          <a:pt x="33147" y="25727"/>
                          <a:pt x="25727" y="33147"/>
                          <a:pt x="16574" y="33147"/>
                        </a:cubicBezTo>
                        <a:cubicBezTo>
                          <a:pt x="7420" y="33147"/>
                          <a:pt x="0" y="25727"/>
                          <a:pt x="0" y="16573"/>
                        </a:cubicBezTo>
                        <a:cubicBezTo>
                          <a:pt x="0" y="7420"/>
                          <a:pt x="7420" y="0"/>
                          <a:pt x="16574" y="0"/>
                        </a:cubicBezTo>
                        <a:cubicBezTo>
                          <a:pt x="25727" y="0"/>
                          <a:pt x="33147" y="7420"/>
                          <a:pt x="33147" y="16573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21" name="Freeform: Shape 3259">
                    <a:extLst>
                      <a:ext uri="{FF2B5EF4-FFF2-40B4-BE49-F238E27FC236}">
                        <a16:creationId xmlns:a16="http://schemas.microsoft.com/office/drawing/2014/main" id="{9C88F68B-C49B-F6E1-F51C-67E6A74B1989}"/>
                      </a:ext>
                    </a:extLst>
                  </p:cNvPr>
                  <p:cNvSpPr/>
                  <p:nvPr/>
                </p:nvSpPr>
                <p:spPr>
                  <a:xfrm>
                    <a:off x="3748998" y="2442741"/>
                    <a:ext cx="16573" cy="16573"/>
                  </a:xfrm>
                  <a:custGeom>
                    <a:avLst/>
                    <a:gdLst>
                      <a:gd name="connsiteX0" fmla="*/ 16574 w 16573"/>
                      <a:gd name="connsiteY0" fmla="*/ 8287 h 16573"/>
                      <a:gd name="connsiteX1" fmla="*/ 8287 w 16573"/>
                      <a:gd name="connsiteY1" fmla="*/ 16573 h 16573"/>
                      <a:gd name="connsiteX2" fmla="*/ 0 w 16573"/>
                      <a:gd name="connsiteY2" fmla="*/ 8287 h 16573"/>
                      <a:gd name="connsiteX3" fmla="*/ 8287 w 16573"/>
                      <a:gd name="connsiteY3" fmla="*/ 0 h 16573"/>
                      <a:gd name="connsiteX4" fmla="*/ 16574 w 16573"/>
                      <a:gd name="connsiteY4" fmla="*/ 8287 h 165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6573" h="16573">
                        <a:moveTo>
                          <a:pt x="16574" y="8287"/>
                        </a:moveTo>
                        <a:cubicBezTo>
                          <a:pt x="16574" y="12863"/>
                          <a:pt x="12863" y="16573"/>
                          <a:pt x="8287" y="16573"/>
                        </a:cubicBezTo>
                        <a:cubicBezTo>
                          <a:pt x="3710" y="16573"/>
                          <a:pt x="0" y="12863"/>
                          <a:pt x="0" y="8287"/>
                        </a:cubicBezTo>
                        <a:cubicBezTo>
                          <a:pt x="0" y="3710"/>
                          <a:pt x="3710" y="0"/>
                          <a:pt x="8287" y="0"/>
                        </a:cubicBezTo>
                        <a:cubicBezTo>
                          <a:pt x="12863" y="0"/>
                          <a:pt x="16574" y="3710"/>
                          <a:pt x="16574" y="8287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22" name="Freeform: Shape 3260">
                    <a:extLst>
                      <a:ext uri="{FF2B5EF4-FFF2-40B4-BE49-F238E27FC236}">
                        <a16:creationId xmlns:a16="http://schemas.microsoft.com/office/drawing/2014/main" id="{B0E0CC82-0125-9FF8-FB2E-00EDC27B9C32}"/>
                      </a:ext>
                    </a:extLst>
                  </p:cNvPr>
                  <p:cNvSpPr/>
                  <p:nvPr/>
                </p:nvSpPr>
                <p:spPr>
                  <a:xfrm>
                    <a:off x="3780526" y="2389496"/>
                    <a:ext cx="16573" cy="16573"/>
                  </a:xfrm>
                  <a:custGeom>
                    <a:avLst/>
                    <a:gdLst>
                      <a:gd name="connsiteX0" fmla="*/ 16573 w 16573"/>
                      <a:gd name="connsiteY0" fmla="*/ 8287 h 16573"/>
                      <a:gd name="connsiteX1" fmla="*/ 8287 w 16573"/>
                      <a:gd name="connsiteY1" fmla="*/ 16574 h 16573"/>
                      <a:gd name="connsiteX2" fmla="*/ 0 w 16573"/>
                      <a:gd name="connsiteY2" fmla="*/ 8287 h 16573"/>
                      <a:gd name="connsiteX3" fmla="*/ 8287 w 16573"/>
                      <a:gd name="connsiteY3" fmla="*/ 0 h 16573"/>
                      <a:gd name="connsiteX4" fmla="*/ 16573 w 16573"/>
                      <a:gd name="connsiteY4" fmla="*/ 8287 h 165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6573" h="16573">
                        <a:moveTo>
                          <a:pt x="16573" y="8287"/>
                        </a:moveTo>
                        <a:cubicBezTo>
                          <a:pt x="16573" y="12863"/>
                          <a:pt x="12863" y="16574"/>
                          <a:pt x="8287" y="16574"/>
                        </a:cubicBezTo>
                        <a:cubicBezTo>
                          <a:pt x="3710" y="16574"/>
                          <a:pt x="0" y="12863"/>
                          <a:pt x="0" y="8287"/>
                        </a:cubicBezTo>
                        <a:cubicBezTo>
                          <a:pt x="0" y="3710"/>
                          <a:pt x="3710" y="0"/>
                          <a:pt x="8287" y="0"/>
                        </a:cubicBezTo>
                        <a:cubicBezTo>
                          <a:pt x="12863" y="0"/>
                          <a:pt x="16573" y="3710"/>
                          <a:pt x="16573" y="8287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23" name="Freeform: Shape 3261">
                    <a:extLst>
                      <a:ext uri="{FF2B5EF4-FFF2-40B4-BE49-F238E27FC236}">
                        <a16:creationId xmlns:a16="http://schemas.microsoft.com/office/drawing/2014/main" id="{CBBBD10A-B12C-6E4A-0CC4-24F01BE88D46}"/>
                      </a:ext>
                    </a:extLst>
                  </p:cNvPr>
                  <p:cNvSpPr/>
                  <p:nvPr/>
                </p:nvSpPr>
                <p:spPr>
                  <a:xfrm>
                    <a:off x="3832913" y="2381210"/>
                    <a:ext cx="16573" cy="16573"/>
                  </a:xfrm>
                  <a:custGeom>
                    <a:avLst/>
                    <a:gdLst>
                      <a:gd name="connsiteX0" fmla="*/ 16574 w 16573"/>
                      <a:gd name="connsiteY0" fmla="*/ 8287 h 16573"/>
                      <a:gd name="connsiteX1" fmla="*/ 8287 w 16573"/>
                      <a:gd name="connsiteY1" fmla="*/ 16573 h 16573"/>
                      <a:gd name="connsiteX2" fmla="*/ 0 w 16573"/>
                      <a:gd name="connsiteY2" fmla="*/ 8287 h 16573"/>
                      <a:gd name="connsiteX3" fmla="*/ 8287 w 16573"/>
                      <a:gd name="connsiteY3" fmla="*/ 0 h 16573"/>
                      <a:gd name="connsiteX4" fmla="*/ 16574 w 16573"/>
                      <a:gd name="connsiteY4" fmla="*/ 8287 h 165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6573" h="16573">
                        <a:moveTo>
                          <a:pt x="16574" y="8287"/>
                        </a:moveTo>
                        <a:cubicBezTo>
                          <a:pt x="16574" y="12863"/>
                          <a:pt x="12863" y="16573"/>
                          <a:pt x="8287" y="16573"/>
                        </a:cubicBezTo>
                        <a:cubicBezTo>
                          <a:pt x="3710" y="16573"/>
                          <a:pt x="0" y="12863"/>
                          <a:pt x="0" y="8287"/>
                        </a:cubicBezTo>
                        <a:cubicBezTo>
                          <a:pt x="0" y="3710"/>
                          <a:pt x="3710" y="0"/>
                          <a:pt x="8287" y="0"/>
                        </a:cubicBezTo>
                        <a:cubicBezTo>
                          <a:pt x="12863" y="0"/>
                          <a:pt x="16574" y="3710"/>
                          <a:pt x="16574" y="8287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24" name="Freeform: Shape 3262">
                    <a:extLst>
                      <a:ext uri="{FF2B5EF4-FFF2-40B4-BE49-F238E27FC236}">
                        <a16:creationId xmlns:a16="http://schemas.microsoft.com/office/drawing/2014/main" id="{81CED560-74D1-983F-BB7B-D560E4A96EB9}"/>
                      </a:ext>
                    </a:extLst>
                  </p:cNvPr>
                  <p:cNvSpPr/>
                  <p:nvPr/>
                </p:nvSpPr>
                <p:spPr>
                  <a:xfrm>
                    <a:off x="3847677" y="2416738"/>
                    <a:ext cx="16573" cy="16573"/>
                  </a:xfrm>
                  <a:custGeom>
                    <a:avLst/>
                    <a:gdLst>
                      <a:gd name="connsiteX0" fmla="*/ 16573 w 16573"/>
                      <a:gd name="connsiteY0" fmla="*/ 8287 h 16573"/>
                      <a:gd name="connsiteX1" fmla="*/ 8287 w 16573"/>
                      <a:gd name="connsiteY1" fmla="*/ 16574 h 16573"/>
                      <a:gd name="connsiteX2" fmla="*/ 0 w 16573"/>
                      <a:gd name="connsiteY2" fmla="*/ 8287 h 16573"/>
                      <a:gd name="connsiteX3" fmla="*/ 8287 w 16573"/>
                      <a:gd name="connsiteY3" fmla="*/ 0 h 16573"/>
                      <a:gd name="connsiteX4" fmla="*/ 16573 w 16573"/>
                      <a:gd name="connsiteY4" fmla="*/ 8287 h 165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6573" h="16573">
                        <a:moveTo>
                          <a:pt x="16573" y="8287"/>
                        </a:moveTo>
                        <a:cubicBezTo>
                          <a:pt x="16573" y="12863"/>
                          <a:pt x="12863" y="16574"/>
                          <a:pt x="8287" y="16574"/>
                        </a:cubicBezTo>
                        <a:cubicBezTo>
                          <a:pt x="3710" y="16574"/>
                          <a:pt x="0" y="12863"/>
                          <a:pt x="0" y="8287"/>
                        </a:cubicBezTo>
                        <a:cubicBezTo>
                          <a:pt x="0" y="3710"/>
                          <a:pt x="3710" y="0"/>
                          <a:pt x="8287" y="0"/>
                        </a:cubicBezTo>
                        <a:cubicBezTo>
                          <a:pt x="12863" y="0"/>
                          <a:pt x="16573" y="3710"/>
                          <a:pt x="16573" y="8287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25" name="Freeform: Shape 3263">
                    <a:extLst>
                      <a:ext uri="{FF2B5EF4-FFF2-40B4-BE49-F238E27FC236}">
                        <a16:creationId xmlns:a16="http://schemas.microsoft.com/office/drawing/2014/main" id="{816CCA6D-44FB-A076-4378-4EFA263A579A}"/>
                      </a:ext>
                    </a:extLst>
                  </p:cNvPr>
                  <p:cNvSpPr/>
                  <p:nvPr/>
                </p:nvSpPr>
                <p:spPr>
                  <a:xfrm>
                    <a:off x="3788813" y="2428644"/>
                    <a:ext cx="11620" cy="11620"/>
                  </a:xfrm>
                  <a:custGeom>
                    <a:avLst/>
                    <a:gdLst>
                      <a:gd name="connsiteX0" fmla="*/ 11621 w 11620"/>
                      <a:gd name="connsiteY0" fmla="*/ 5810 h 11620"/>
                      <a:gd name="connsiteX1" fmla="*/ 5810 w 11620"/>
                      <a:gd name="connsiteY1" fmla="*/ 11620 h 11620"/>
                      <a:gd name="connsiteX2" fmla="*/ 0 w 11620"/>
                      <a:gd name="connsiteY2" fmla="*/ 5810 h 11620"/>
                      <a:gd name="connsiteX3" fmla="*/ 5810 w 11620"/>
                      <a:gd name="connsiteY3" fmla="*/ 0 h 11620"/>
                      <a:gd name="connsiteX4" fmla="*/ 11621 w 11620"/>
                      <a:gd name="connsiteY4" fmla="*/ 5810 h 116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620" h="11620">
                        <a:moveTo>
                          <a:pt x="11621" y="5810"/>
                        </a:moveTo>
                        <a:cubicBezTo>
                          <a:pt x="11621" y="9019"/>
                          <a:pt x="9019" y="11620"/>
                          <a:pt x="5810" y="11620"/>
                        </a:cubicBezTo>
                        <a:cubicBezTo>
                          <a:pt x="2601" y="11620"/>
                          <a:pt x="0" y="9019"/>
                          <a:pt x="0" y="5810"/>
                        </a:cubicBezTo>
                        <a:cubicBezTo>
                          <a:pt x="0" y="2601"/>
                          <a:pt x="2601" y="0"/>
                          <a:pt x="5810" y="0"/>
                        </a:cubicBezTo>
                        <a:cubicBezTo>
                          <a:pt x="9019" y="0"/>
                          <a:pt x="11621" y="2601"/>
                          <a:pt x="11621" y="5810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26" name="Freeform: Shape 3264">
                    <a:extLst>
                      <a:ext uri="{FF2B5EF4-FFF2-40B4-BE49-F238E27FC236}">
                        <a16:creationId xmlns:a16="http://schemas.microsoft.com/office/drawing/2014/main" id="{486DCE39-4E45-7746-5006-9C0350EEDB6F}"/>
                      </a:ext>
                    </a:extLst>
                  </p:cNvPr>
                  <p:cNvSpPr/>
                  <p:nvPr/>
                </p:nvSpPr>
                <p:spPr>
                  <a:xfrm>
                    <a:off x="3727662" y="2431121"/>
                    <a:ext cx="11620" cy="11620"/>
                  </a:xfrm>
                  <a:custGeom>
                    <a:avLst/>
                    <a:gdLst>
                      <a:gd name="connsiteX0" fmla="*/ 11620 w 11620"/>
                      <a:gd name="connsiteY0" fmla="*/ 5810 h 11620"/>
                      <a:gd name="connsiteX1" fmla="*/ 5810 w 11620"/>
                      <a:gd name="connsiteY1" fmla="*/ 11620 h 11620"/>
                      <a:gd name="connsiteX2" fmla="*/ 0 w 11620"/>
                      <a:gd name="connsiteY2" fmla="*/ 5810 h 11620"/>
                      <a:gd name="connsiteX3" fmla="*/ 5810 w 11620"/>
                      <a:gd name="connsiteY3" fmla="*/ 0 h 11620"/>
                      <a:gd name="connsiteX4" fmla="*/ 11620 w 11620"/>
                      <a:gd name="connsiteY4" fmla="*/ 5810 h 116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620" h="11620">
                        <a:moveTo>
                          <a:pt x="11620" y="5810"/>
                        </a:moveTo>
                        <a:cubicBezTo>
                          <a:pt x="11620" y="9019"/>
                          <a:pt x="9019" y="11620"/>
                          <a:pt x="5810" y="11620"/>
                        </a:cubicBezTo>
                        <a:cubicBezTo>
                          <a:pt x="2601" y="11620"/>
                          <a:pt x="0" y="9019"/>
                          <a:pt x="0" y="5810"/>
                        </a:cubicBezTo>
                        <a:cubicBezTo>
                          <a:pt x="0" y="2601"/>
                          <a:pt x="2601" y="0"/>
                          <a:pt x="5810" y="0"/>
                        </a:cubicBezTo>
                        <a:cubicBezTo>
                          <a:pt x="9019" y="0"/>
                          <a:pt x="11620" y="2601"/>
                          <a:pt x="11620" y="5810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27" name="Freeform: Shape 3265">
                    <a:extLst>
                      <a:ext uri="{FF2B5EF4-FFF2-40B4-BE49-F238E27FC236}">
                        <a16:creationId xmlns:a16="http://schemas.microsoft.com/office/drawing/2014/main" id="{512FA1DF-71EA-FF3F-2627-F5646841EBA9}"/>
                      </a:ext>
                    </a:extLst>
                  </p:cNvPr>
                  <p:cNvSpPr/>
                  <p:nvPr/>
                </p:nvSpPr>
                <p:spPr>
                  <a:xfrm>
                    <a:off x="3819293" y="2369589"/>
                    <a:ext cx="11620" cy="11620"/>
                  </a:xfrm>
                  <a:custGeom>
                    <a:avLst/>
                    <a:gdLst>
                      <a:gd name="connsiteX0" fmla="*/ 11620 w 11620"/>
                      <a:gd name="connsiteY0" fmla="*/ 5810 h 11620"/>
                      <a:gd name="connsiteX1" fmla="*/ 5810 w 11620"/>
                      <a:gd name="connsiteY1" fmla="*/ 11620 h 11620"/>
                      <a:gd name="connsiteX2" fmla="*/ 0 w 11620"/>
                      <a:gd name="connsiteY2" fmla="*/ 5810 h 11620"/>
                      <a:gd name="connsiteX3" fmla="*/ 5810 w 11620"/>
                      <a:gd name="connsiteY3" fmla="*/ 0 h 11620"/>
                      <a:gd name="connsiteX4" fmla="*/ 11620 w 11620"/>
                      <a:gd name="connsiteY4" fmla="*/ 5810 h 116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620" h="11620">
                        <a:moveTo>
                          <a:pt x="11620" y="5810"/>
                        </a:moveTo>
                        <a:cubicBezTo>
                          <a:pt x="11620" y="9019"/>
                          <a:pt x="9019" y="11620"/>
                          <a:pt x="5810" y="11620"/>
                        </a:cubicBezTo>
                        <a:cubicBezTo>
                          <a:pt x="2601" y="11620"/>
                          <a:pt x="0" y="9019"/>
                          <a:pt x="0" y="5810"/>
                        </a:cubicBezTo>
                        <a:cubicBezTo>
                          <a:pt x="0" y="2601"/>
                          <a:pt x="2601" y="0"/>
                          <a:pt x="5810" y="0"/>
                        </a:cubicBezTo>
                        <a:cubicBezTo>
                          <a:pt x="9019" y="0"/>
                          <a:pt x="11620" y="2601"/>
                          <a:pt x="11620" y="5810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28" name="Freeform: Shape 3266">
                    <a:extLst>
                      <a:ext uri="{FF2B5EF4-FFF2-40B4-BE49-F238E27FC236}">
                        <a16:creationId xmlns:a16="http://schemas.microsoft.com/office/drawing/2014/main" id="{51A95EAB-F2ED-31F1-D8DB-C457CE80E87D}"/>
                      </a:ext>
                    </a:extLst>
                  </p:cNvPr>
                  <p:cNvSpPr/>
                  <p:nvPr/>
                </p:nvSpPr>
                <p:spPr>
                  <a:xfrm>
                    <a:off x="3813387" y="2406260"/>
                    <a:ext cx="7810" cy="7810"/>
                  </a:xfrm>
                  <a:custGeom>
                    <a:avLst/>
                    <a:gdLst>
                      <a:gd name="connsiteX0" fmla="*/ 7811 w 7810"/>
                      <a:gd name="connsiteY0" fmla="*/ 3905 h 7810"/>
                      <a:gd name="connsiteX1" fmla="*/ 3905 w 7810"/>
                      <a:gd name="connsiteY1" fmla="*/ 7810 h 7810"/>
                      <a:gd name="connsiteX2" fmla="*/ 0 w 7810"/>
                      <a:gd name="connsiteY2" fmla="*/ 3905 h 7810"/>
                      <a:gd name="connsiteX3" fmla="*/ 3905 w 7810"/>
                      <a:gd name="connsiteY3" fmla="*/ 0 h 7810"/>
                      <a:gd name="connsiteX4" fmla="*/ 7811 w 7810"/>
                      <a:gd name="connsiteY4" fmla="*/ 3905 h 78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810" h="7810">
                        <a:moveTo>
                          <a:pt x="7811" y="3905"/>
                        </a:moveTo>
                        <a:cubicBezTo>
                          <a:pt x="7811" y="6062"/>
                          <a:pt x="6062" y="7810"/>
                          <a:pt x="3905" y="7810"/>
                        </a:cubicBezTo>
                        <a:cubicBezTo>
                          <a:pt x="1748" y="7810"/>
                          <a:pt x="0" y="6062"/>
                          <a:pt x="0" y="3905"/>
                        </a:cubicBezTo>
                        <a:cubicBezTo>
                          <a:pt x="0" y="1748"/>
                          <a:pt x="1748" y="0"/>
                          <a:pt x="3905" y="0"/>
                        </a:cubicBezTo>
                        <a:cubicBezTo>
                          <a:pt x="6062" y="0"/>
                          <a:pt x="7811" y="1748"/>
                          <a:pt x="7811" y="3905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29" name="Freeform: Shape 3267">
                    <a:extLst>
                      <a:ext uri="{FF2B5EF4-FFF2-40B4-BE49-F238E27FC236}">
                        <a16:creationId xmlns:a16="http://schemas.microsoft.com/office/drawing/2014/main" id="{22BFB830-AB55-7A1F-0D07-763C6B58A331}"/>
                      </a:ext>
                    </a:extLst>
                  </p:cNvPr>
                  <p:cNvSpPr/>
                  <p:nvPr/>
                </p:nvSpPr>
                <p:spPr>
                  <a:xfrm>
                    <a:off x="3734330" y="2374256"/>
                    <a:ext cx="7810" cy="7810"/>
                  </a:xfrm>
                  <a:custGeom>
                    <a:avLst/>
                    <a:gdLst>
                      <a:gd name="connsiteX0" fmla="*/ 7811 w 7810"/>
                      <a:gd name="connsiteY0" fmla="*/ 3905 h 7810"/>
                      <a:gd name="connsiteX1" fmla="*/ 3905 w 7810"/>
                      <a:gd name="connsiteY1" fmla="*/ 7811 h 7810"/>
                      <a:gd name="connsiteX2" fmla="*/ 0 w 7810"/>
                      <a:gd name="connsiteY2" fmla="*/ 3905 h 7810"/>
                      <a:gd name="connsiteX3" fmla="*/ 3905 w 7810"/>
                      <a:gd name="connsiteY3" fmla="*/ 0 h 7810"/>
                      <a:gd name="connsiteX4" fmla="*/ 7811 w 7810"/>
                      <a:gd name="connsiteY4" fmla="*/ 3905 h 78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810" h="7810">
                        <a:moveTo>
                          <a:pt x="7811" y="3905"/>
                        </a:moveTo>
                        <a:cubicBezTo>
                          <a:pt x="7811" y="6062"/>
                          <a:pt x="6062" y="7811"/>
                          <a:pt x="3905" y="7811"/>
                        </a:cubicBezTo>
                        <a:cubicBezTo>
                          <a:pt x="1748" y="7811"/>
                          <a:pt x="0" y="6062"/>
                          <a:pt x="0" y="3905"/>
                        </a:cubicBezTo>
                        <a:cubicBezTo>
                          <a:pt x="0" y="1748"/>
                          <a:pt x="1748" y="0"/>
                          <a:pt x="3905" y="0"/>
                        </a:cubicBezTo>
                        <a:cubicBezTo>
                          <a:pt x="6062" y="0"/>
                          <a:pt x="7811" y="1748"/>
                          <a:pt x="7811" y="3905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30" name="Freeform: Shape 3268">
                    <a:extLst>
                      <a:ext uri="{FF2B5EF4-FFF2-40B4-BE49-F238E27FC236}">
                        <a16:creationId xmlns:a16="http://schemas.microsoft.com/office/drawing/2014/main" id="{42F620CA-8059-D1CD-8855-7D6182997159}"/>
                      </a:ext>
                    </a:extLst>
                  </p:cNvPr>
                  <p:cNvSpPr/>
                  <p:nvPr/>
                </p:nvSpPr>
                <p:spPr>
                  <a:xfrm>
                    <a:off x="3841962" y="2467601"/>
                    <a:ext cx="11620" cy="11620"/>
                  </a:xfrm>
                  <a:custGeom>
                    <a:avLst/>
                    <a:gdLst>
                      <a:gd name="connsiteX0" fmla="*/ 11621 w 11620"/>
                      <a:gd name="connsiteY0" fmla="*/ 5810 h 11620"/>
                      <a:gd name="connsiteX1" fmla="*/ 5810 w 11620"/>
                      <a:gd name="connsiteY1" fmla="*/ 11620 h 11620"/>
                      <a:gd name="connsiteX2" fmla="*/ 0 w 11620"/>
                      <a:gd name="connsiteY2" fmla="*/ 5810 h 11620"/>
                      <a:gd name="connsiteX3" fmla="*/ 5810 w 11620"/>
                      <a:gd name="connsiteY3" fmla="*/ 0 h 11620"/>
                      <a:gd name="connsiteX4" fmla="*/ 11621 w 11620"/>
                      <a:gd name="connsiteY4" fmla="*/ 5810 h 116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620" h="11620">
                        <a:moveTo>
                          <a:pt x="11621" y="5810"/>
                        </a:moveTo>
                        <a:cubicBezTo>
                          <a:pt x="11621" y="9019"/>
                          <a:pt x="9019" y="11620"/>
                          <a:pt x="5810" y="11620"/>
                        </a:cubicBezTo>
                        <a:cubicBezTo>
                          <a:pt x="2601" y="11620"/>
                          <a:pt x="0" y="9019"/>
                          <a:pt x="0" y="5810"/>
                        </a:cubicBezTo>
                        <a:cubicBezTo>
                          <a:pt x="0" y="2601"/>
                          <a:pt x="2601" y="0"/>
                          <a:pt x="5810" y="0"/>
                        </a:cubicBezTo>
                        <a:cubicBezTo>
                          <a:pt x="9019" y="0"/>
                          <a:pt x="11621" y="2601"/>
                          <a:pt x="11621" y="5810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31" name="Freeform: Shape 3269">
                    <a:extLst>
                      <a:ext uri="{FF2B5EF4-FFF2-40B4-BE49-F238E27FC236}">
                        <a16:creationId xmlns:a16="http://schemas.microsoft.com/office/drawing/2014/main" id="{CF0456FA-3E36-CB26-D5F1-526E7F4DF668}"/>
                      </a:ext>
                    </a:extLst>
                  </p:cNvPr>
                  <p:cNvSpPr/>
                  <p:nvPr/>
                </p:nvSpPr>
                <p:spPr>
                  <a:xfrm>
                    <a:off x="3801100" y="2463696"/>
                    <a:ext cx="11620" cy="11620"/>
                  </a:xfrm>
                  <a:custGeom>
                    <a:avLst/>
                    <a:gdLst>
                      <a:gd name="connsiteX0" fmla="*/ 11620 w 11620"/>
                      <a:gd name="connsiteY0" fmla="*/ 5810 h 11620"/>
                      <a:gd name="connsiteX1" fmla="*/ 5810 w 11620"/>
                      <a:gd name="connsiteY1" fmla="*/ 11621 h 11620"/>
                      <a:gd name="connsiteX2" fmla="*/ 0 w 11620"/>
                      <a:gd name="connsiteY2" fmla="*/ 5810 h 11620"/>
                      <a:gd name="connsiteX3" fmla="*/ 5810 w 11620"/>
                      <a:gd name="connsiteY3" fmla="*/ 0 h 11620"/>
                      <a:gd name="connsiteX4" fmla="*/ 11620 w 11620"/>
                      <a:gd name="connsiteY4" fmla="*/ 5810 h 116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620" h="11620">
                        <a:moveTo>
                          <a:pt x="11620" y="5810"/>
                        </a:moveTo>
                        <a:cubicBezTo>
                          <a:pt x="11620" y="9019"/>
                          <a:pt x="9019" y="11621"/>
                          <a:pt x="5810" y="11621"/>
                        </a:cubicBezTo>
                        <a:cubicBezTo>
                          <a:pt x="2601" y="11621"/>
                          <a:pt x="0" y="9019"/>
                          <a:pt x="0" y="5810"/>
                        </a:cubicBezTo>
                        <a:cubicBezTo>
                          <a:pt x="0" y="2601"/>
                          <a:pt x="2601" y="0"/>
                          <a:pt x="5810" y="0"/>
                        </a:cubicBezTo>
                        <a:cubicBezTo>
                          <a:pt x="9019" y="0"/>
                          <a:pt x="11620" y="2601"/>
                          <a:pt x="11620" y="5810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32" name="Freeform: Shape 3270">
                    <a:extLst>
                      <a:ext uri="{FF2B5EF4-FFF2-40B4-BE49-F238E27FC236}">
                        <a16:creationId xmlns:a16="http://schemas.microsoft.com/office/drawing/2014/main" id="{03CC5019-C591-C5F3-8739-F0033B3E7FCD}"/>
                      </a:ext>
                    </a:extLst>
                  </p:cNvPr>
                  <p:cNvSpPr/>
                  <p:nvPr/>
                </p:nvSpPr>
                <p:spPr>
                  <a:xfrm>
                    <a:off x="3735758" y="2471507"/>
                    <a:ext cx="26098" cy="26098"/>
                  </a:xfrm>
                  <a:custGeom>
                    <a:avLst/>
                    <a:gdLst>
                      <a:gd name="connsiteX0" fmla="*/ 26098 w 26098"/>
                      <a:gd name="connsiteY0" fmla="*/ 13049 h 26098"/>
                      <a:gd name="connsiteX1" fmla="*/ 13049 w 26098"/>
                      <a:gd name="connsiteY1" fmla="*/ 26099 h 26098"/>
                      <a:gd name="connsiteX2" fmla="*/ 0 w 26098"/>
                      <a:gd name="connsiteY2" fmla="*/ 13049 h 26098"/>
                      <a:gd name="connsiteX3" fmla="*/ 13049 w 26098"/>
                      <a:gd name="connsiteY3" fmla="*/ 0 h 26098"/>
                      <a:gd name="connsiteX4" fmla="*/ 26098 w 26098"/>
                      <a:gd name="connsiteY4" fmla="*/ 13049 h 260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6098" h="26098">
                        <a:moveTo>
                          <a:pt x="26098" y="13049"/>
                        </a:moveTo>
                        <a:cubicBezTo>
                          <a:pt x="26098" y="20256"/>
                          <a:pt x="20256" y="26099"/>
                          <a:pt x="13049" y="26099"/>
                        </a:cubicBezTo>
                        <a:cubicBezTo>
                          <a:pt x="5842" y="26099"/>
                          <a:pt x="0" y="20256"/>
                          <a:pt x="0" y="13049"/>
                        </a:cubicBezTo>
                        <a:cubicBezTo>
                          <a:pt x="0" y="5842"/>
                          <a:pt x="5842" y="0"/>
                          <a:pt x="13049" y="0"/>
                        </a:cubicBezTo>
                        <a:cubicBezTo>
                          <a:pt x="20256" y="0"/>
                          <a:pt x="26098" y="5842"/>
                          <a:pt x="26098" y="13049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</p:grpSp>
          <p:grpSp>
            <p:nvGrpSpPr>
              <p:cNvPr id="937" name="Group 936">
                <a:extLst>
                  <a:ext uri="{FF2B5EF4-FFF2-40B4-BE49-F238E27FC236}">
                    <a16:creationId xmlns:a16="http://schemas.microsoft.com/office/drawing/2014/main" id="{B5B9B3AD-DCB5-BB2A-3ABF-AE31460BBF4A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flipH="1">
                <a:off x="4400117" y="4524565"/>
                <a:ext cx="161379" cy="345037"/>
                <a:chOff x="5926138" y="3011488"/>
                <a:chExt cx="339725" cy="838200"/>
              </a:xfrm>
            </p:grpSpPr>
            <p:grpSp>
              <p:nvGrpSpPr>
                <p:cNvPr id="938" name="Group 15">
                  <a:extLst>
                    <a:ext uri="{FF2B5EF4-FFF2-40B4-BE49-F238E27FC236}">
                      <a16:creationId xmlns:a16="http://schemas.microsoft.com/office/drawing/2014/main" id="{C46A0EDD-8B6E-5CFA-554B-81469E8E160D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942" name="AutoShape 14">
                    <a:extLst>
                      <a:ext uri="{FF2B5EF4-FFF2-40B4-BE49-F238E27FC236}">
                        <a16:creationId xmlns:a16="http://schemas.microsoft.com/office/drawing/2014/main" id="{30A28C45-5AB0-E34F-D866-A14156606BCE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43" name="Freeform 16">
                    <a:extLst>
                      <a:ext uri="{FF2B5EF4-FFF2-40B4-BE49-F238E27FC236}">
                        <a16:creationId xmlns:a16="http://schemas.microsoft.com/office/drawing/2014/main" id="{693FFBFD-857C-61DF-CFE3-682BE4D224C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3" y="2063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44" name="Freeform 17">
                    <a:extLst>
                      <a:ext uri="{FF2B5EF4-FFF2-40B4-BE49-F238E27FC236}">
                        <a16:creationId xmlns:a16="http://schemas.microsoft.com/office/drawing/2014/main" id="{42C7D884-C2B6-24F7-12AC-F71C38BAAB28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45" name="Freeform 18">
                    <a:extLst>
                      <a:ext uri="{FF2B5EF4-FFF2-40B4-BE49-F238E27FC236}">
                        <a16:creationId xmlns:a16="http://schemas.microsoft.com/office/drawing/2014/main" id="{7706D519-F431-3326-56FD-0A5AB3D9D49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46" name="Freeform 19">
                    <a:extLst>
                      <a:ext uri="{FF2B5EF4-FFF2-40B4-BE49-F238E27FC236}">
                        <a16:creationId xmlns:a16="http://schemas.microsoft.com/office/drawing/2014/main" id="{19F810D3-D6EC-6F4D-DC2C-3D5930BF068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47" name="Freeform 20">
                    <a:extLst>
                      <a:ext uri="{FF2B5EF4-FFF2-40B4-BE49-F238E27FC236}">
                        <a16:creationId xmlns:a16="http://schemas.microsoft.com/office/drawing/2014/main" id="{7BD40E8F-829E-7A95-C396-9796D0CBA9C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48" name="Freeform 21">
                    <a:extLst>
                      <a:ext uri="{FF2B5EF4-FFF2-40B4-BE49-F238E27FC236}">
                        <a16:creationId xmlns:a16="http://schemas.microsoft.com/office/drawing/2014/main" id="{EB2C1BDF-2B47-A662-94DC-FAE63F594B8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49" name="Freeform 22">
                    <a:extLst>
                      <a:ext uri="{FF2B5EF4-FFF2-40B4-BE49-F238E27FC236}">
                        <a16:creationId xmlns:a16="http://schemas.microsoft.com/office/drawing/2014/main" id="{1547B041-116B-E6E6-2BA6-D4DCE9E523D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50" name="Freeform 23">
                    <a:extLst>
                      <a:ext uri="{FF2B5EF4-FFF2-40B4-BE49-F238E27FC236}">
                        <a16:creationId xmlns:a16="http://schemas.microsoft.com/office/drawing/2014/main" id="{977C306F-2A06-FBD5-0D72-61EBFC262D6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939" name="Freeform 5101">
                  <a:extLst>
                    <a:ext uri="{FF2B5EF4-FFF2-40B4-BE49-F238E27FC236}">
                      <a16:creationId xmlns:a16="http://schemas.microsoft.com/office/drawing/2014/main" id="{5F708B11-274D-9077-44E3-C2E1D3206300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940" name="Freeform 5101">
                  <a:extLst>
                    <a:ext uri="{FF2B5EF4-FFF2-40B4-BE49-F238E27FC236}">
                      <a16:creationId xmlns:a16="http://schemas.microsoft.com/office/drawing/2014/main" id="{59BE2D6F-1029-8E09-5A5E-D510056C3C20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941" name="Freeform 5101">
                  <a:extLst>
                    <a:ext uri="{FF2B5EF4-FFF2-40B4-BE49-F238E27FC236}">
                      <a16:creationId xmlns:a16="http://schemas.microsoft.com/office/drawing/2014/main" id="{262B9C02-BADE-F34D-64B9-81541BBDF662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951" name="Group 950">
                <a:extLst>
                  <a:ext uri="{FF2B5EF4-FFF2-40B4-BE49-F238E27FC236}">
                    <a16:creationId xmlns:a16="http://schemas.microsoft.com/office/drawing/2014/main" id="{1322DB2D-BD88-49D4-5B71-6FC8668061B7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576108" y="4526518"/>
                <a:ext cx="161379" cy="345037"/>
                <a:chOff x="5926138" y="3011488"/>
                <a:chExt cx="339725" cy="838200"/>
              </a:xfrm>
            </p:grpSpPr>
            <p:grpSp>
              <p:nvGrpSpPr>
                <p:cNvPr id="952" name="Group 15">
                  <a:extLst>
                    <a:ext uri="{FF2B5EF4-FFF2-40B4-BE49-F238E27FC236}">
                      <a16:creationId xmlns:a16="http://schemas.microsoft.com/office/drawing/2014/main" id="{0A9CF84E-5E61-93BC-69DC-CBB35A50FC71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926138" y="3011488"/>
                  <a:ext cx="339725" cy="838200"/>
                  <a:chOff x="3733" y="1897"/>
                  <a:chExt cx="214" cy="528"/>
                </a:xfrm>
              </p:grpSpPr>
              <p:sp>
                <p:nvSpPr>
                  <p:cNvPr id="956" name="AutoShape 14">
                    <a:extLst>
                      <a:ext uri="{FF2B5EF4-FFF2-40B4-BE49-F238E27FC236}">
                        <a16:creationId xmlns:a16="http://schemas.microsoft.com/office/drawing/2014/main" id="{F294A116-D169-4497-F138-9A142B217FC7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733" y="1897"/>
                    <a:ext cx="214" cy="52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57" name="Freeform 16">
                    <a:extLst>
                      <a:ext uri="{FF2B5EF4-FFF2-40B4-BE49-F238E27FC236}">
                        <a16:creationId xmlns:a16="http://schemas.microsoft.com/office/drawing/2014/main" id="{16D4CF85-18A6-6E41-51D8-7D289C6681C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3" y="2063"/>
                    <a:ext cx="197" cy="355"/>
                  </a:xfrm>
                  <a:custGeom>
                    <a:avLst/>
                    <a:gdLst>
                      <a:gd name="T0" fmla="*/ 61 w 80"/>
                      <a:gd name="T1" fmla="*/ 147 h 148"/>
                      <a:gd name="T2" fmla="*/ 79 w 80"/>
                      <a:gd name="T3" fmla="*/ 125 h 148"/>
                      <a:gd name="T4" fmla="*/ 77 w 80"/>
                      <a:gd name="T5" fmla="*/ 22 h 148"/>
                      <a:gd name="T6" fmla="*/ 59 w 80"/>
                      <a:gd name="T7" fmla="*/ 0 h 148"/>
                      <a:gd name="T8" fmla="*/ 40 w 80"/>
                      <a:gd name="T9" fmla="*/ 1 h 148"/>
                      <a:gd name="T10" fmla="*/ 21 w 80"/>
                      <a:gd name="T11" fmla="*/ 1 h 148"/>
                      <a:gd name="T12" fmla="*/ 3 w 80"/>
                      <a:gd name="T13" fmla="*/ 22 h 148"/>
                      <a:gd name="T14" fmla="*/ 0 w 80"/>
                      <a:gd name="T15" fmla="*/ 125 h 148"/>
                      <a:gd name="T16" fmla="*/ 19 w 80"/>
                      <a:gd name="T17" fmla="*/ 148 h 148"/>
                      <a:gd name="T18" fmla="*/ 40 w 80"/>
                      <a:gd name="T19" fmla="*/ 148 h 148"/>
                      <a:gd name="T20" fmla="*/ 61 w 80"/>
                      <a:gd name="T21" fmla="*/ 147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0" h="148">
                        <a:moveTo>
                          <a:pt x="61" y="147"/>
                        </a:moveTo>
                        <a:cubicBezTo>
                          <a:pt x="71" y="147"/>
                          <a:pt x="80" y="137"/>
                          <a:pt x="79" y="125"/>
                        </a:cubicBezTo>
                        <a:cubicBezTo>
                          <a:pt x="77" y="22"/>
                          <a:pt x="77" y="22"/>
                          <a:pt x="77" y="22"/>
                        </a:cubicBezTo>
                        <a:cubicBezTo>
                          <a:pt x="76" y="10"/>
                          <a:pt x="68" y="0"/>
                          <a:pt x="59" y="0"/>
                        </a:cubicBezTo>
                        <a:cubicBezTo>
                          <a:pt x="40" y="1"/>
                          <a:pt x="40" y="1"/>
                          <a:pt x="40" y="1"/>
                        </a:cubicBezTo>
                        <a:cubicBezTo>
                          <a:pt x="33" y="1"/>
                          <a:pt x="27" y="1"/>
                          <a:pt x="21" y="1"/>
                        </a:cubicBezTo>
                        <a:cubicBezTo>
                          <a:pt x="11" y="1"/>
                          <a:pt x="3" y="10"/>
                          <a:pt x="3" y="22"/>
                        </a:cubicBezTo>
                        <a:cubicBezTo>
                          <a:pt x="0" y="125"/>
                          <a:pt x="0" y="125"/>
                          <a:pt x="0" y="125"/>
                        </a:cubicBezTo>
                        <a:cubicBezTo>
                          <a:pt x="0" y="137"/>
                          <a:pt x="8" y="147"/>
                          <a:pt x="19" y="148"/>
                        </a:cubicBezTo>
                        <a:cubicBezTo>
                          <a:pt x="26" y="148"/>
                          <a:pt x="33" y="148"/>
                          <a:pt x="40" y="148"/>
                        </a:cubicBezTo>
                        <a:lnTo>
                          <a:pt x="61" y="147"/>
                        </a:lnTo>
                        <a:close/>
                      </a:path>
                    </a:pathLst>
                  </a:custGeom>
                  <a:solidFill>
                    <a:srgbClr val="F9CEA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58" name="Freeform 17">
                    <a:extLst>
                      <a:ext uri="{FF2B5EF4-FFF2-40B4-BE49-F238E27FC236}">
                        <a16:creationId xmlns:a16="http://schemas.microsoft.com/office/drawing/2014/main" id="{4A6B3422-5905-A22E-085D-381057D89F0F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736" y="2055"/>
                    <a:ext cx="211" cy="370"/>
                  </a:xfrm>
                  <a:custGeom>
                    <a:avLst/>
                    <a:gdLst>
                      <a:gd name="T0" fmla="*/ 24 w 86"/>
                      <a:gd name="T1" fmla="*/ 7 h 154"/>
                      <a:gd name="T2" fmla="*/ 43 w 86"/>
                      <a:gd name="T3" fmla="*/ 7 h 154"/>
                      <a:gd name="T4" fmla="*/ 62 w 86"/>
                      <a:gd name="T5" fmla="*/ 7 h 154"/>
                      <a:gd name="T6" fmla="*/ 77 w 86"/>
                      <a:gd name="T7" fmla="*/ 25 h 154"/>
                      <a:gd name="T8" fmla="*/ 79 w 86"/>
                      <a:gd name="T9" fmla="*/ 128 h 154"/>
                      <a:gd name="T10" fmla="*/ 64 w 86"/>
                      <a:gd name="T11" fmla="*/ 147 h 154"/>
                      <a:gd name="T12" fmla="*/ 43 w 86"/>
                      <a:gd name="T13" fmla="*/ 147 h 154"/>
                      <a:gd name="T14" fmla="*/ 22 w 86"/>
                      <a:gd name="T15" fmla="*/ 147 h 154"/>
                      <a:gd name="T16" fmla="*/ 6 w 86"/>
                      <a:gd name="T17" fmla="*/ 128 h 154"/>
                      <a:gd name="T18" fmla="*/ 9 w 86"/>
                      <a:gd name="T19" fmla="*/ 25 h 154"/>
                      <a:gd name="T20" fmla="*/ 24 w 86"/>
                      <a:gd name="T21" fmla="*/ 7 h 154"/>
                      <a:gd name="T22" fmla="*/ 24 w 86"/>
                      <a:gd name="T23" fmla="*/ 0 h 154"/>
                      <a:gd name="T24" fmla="*/ 3 w 86"/>
                      <a:gd name="T25" fmla="*/ 25 h 154"/>
                      <a:gd name="T26" fmla="*/ 0 w 86"/>
                      <a:gd name="T27" fmla="*/ 128 h 154"/>
                      <a:gd name="T28" fmla="*/ 22 w 86"/>
                      <a:gd name="T29" fmla="*/ 154 h 154"/>
                      <a:gd name="T30" fmla="*/ 43 w 86"/>
                      <a:gd name="T31" fmla="*/ 154 h 154"/>
                      <a:gd name="T32" fmla="*/ 64 w 86"/>
                      <a:gd name="T33" fmla="*/ 154 h 154"/>
                      <a:gd name="T34" fmla="*/ 85 w 86"/>
                      <a:gd name="T35" fmla="*/ 128 h 154"/>
                      <a:gd name="T36" fmla="*/ 83 w 86"/>
                      <a:gd name="T37" fmla="*/ 25 h 154"/>
                      <a:gd name="T38" fmla="*/ 62 w 86"/>
                      <a:gd name="T39" fmla="*/ 0 h 154"/>
                      <a:gd name="T40" fmla="*/ 43 w 86"/>
                      <a:gd name="T41" fmla="*/ 0 h 154"/>
                      <a:gd name="T42" fmla="*/ 24 w 86"/>
                      <a:gd name="T43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86" h="154">
                        <a:moveTo>
                          <a:pt x="24" y="7"/>
                        </a:moveTo>
                        <a:cubicBezTo>
                          <a:pt x="30" y="7"/>
                          <a:pt x="36" y="8"/>
                          <a:pt x="43" y="7"/>
                        </a:cubicBezTo>
                        <a:cubicBezTo>
                          <a:pt x="62" y="7"/>
                          <a:pt x="62" y="7"/>
                          <a:pt x="62" y="7"/>
                        </a:cubicBezTo>
                        <a:cubicBezTo>
                          <a:pt x="70" y="7"/>
                          <a:pt x="77" y="15"/>
                          <a:pt x="77" y="25"/>
                        </a:cubicBezTo>
                        <a:cubicBezTo>
                          <a:pt x="79" y="128"/>
                          <a:pt x="79" y="128"/>
                          <a:pt x="79" y="128"/>
                        </a:cubicBezTo>
                        <a:cubicBezTo>
                          <a:pt x="79" y="138"/>
                          <a:pt x="72" y="147"/>
                          <a:pt x="64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36" y="147"/>
                          <a:pt x="29" y="147"/>
                          <a:pt x="22" y="147"/>
                        </a:cubicBezTo>
                        <a:cubicBezTo>
                          <a:pt x="13" y="147"/>
                          <a:pt x="6" y="138"/>
                          <a:pt x="6" y="128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9" y="15"/>
                          <a:pt x="16" y="7"/>
                          <a:pt x="24" y="7"/>
                        </a:cubicBezTo>
                        <a:moveTo>
                          <a:pt x="24" y="0"/>
                        </a:moveTo>
                        <a:cubicBezTo>
                          <a:pt x="13" y="0"/>
                          <a:pt x="3" y="11"/>
                          <a:pt x="3" y="25"/>
                        </a:cubicBezTo>
                        <a:cubicBezTo>
                          <a:pt x="0" y="128"/>
                          <a:pt x="0" y="128"/>
                          <a:pt x="0" y="128"/>
                        </a:cubicBezTo>
                        <a:cubicBezTo>
                          <a:pt x="0" y="142"/>
                          <a:pt x="9" y="154"/>
                          <a:pt x="22" y="154"/>
                        </a:cubicBezTo>
                        <a:cubicBezTo>
                          <a:pt x="29" y="154"/>
                          <a:pt x="36" y="154"/>
                          <a:pt x="43" y="154"/>
                        </a:cubicBezTo>
                        <a:cubicBezTo>
                          <a:pt x="64" y="154"/>
                          <a:pt x="64" y="154"/>
                          <a:pt x="64" y="154"/>
                        </a:cubicBezTo>
                        <a:cubicBezTo>
                          <a:pt x="76" y="154"/>
                          <a:pt x="86" y="142"/>
                          <a:pt x="85" y="128"/>
                        </a:cubicBezTo>
                        <a:cubicBezTo>
                          <a:pt x="83" y="25"/>
                          <a:pt x="83" y="25"/>
                          <a:pt x="83" y="25"/>
                        </a:cubicBezTo>
                        <a:cubicBezTo>
                          <a:pt x="82" y="11"/>
                          <a:pt x="73" y="0"/>
                          <a:pt x="62" y="0"/>
                        </a:cubicBezTo>
                        <a:cubicBezTo>
                          <a:pt x="43" y="0"/>
                          <a:pt x="43" y="0"/>
                          <a:pt x="43" y="0"/>
                        </a:cubicBezTo>
                        <a:cubicBezTo>
                          <a:pt x="36" y="0"/>
                          <a:pt x="30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59" name="Freeform 18">
                    <a:extLst>
                      <a:ext uri="{FF2B5EF4-FFF2-40B4-BE49-F238E27FC236}">
                        <a16:creationId xmlns:a16="http://schemas.microsoft.com/office/drawing/2014/main" id="{C31440E2-273B-1BAB-B61D-5F64FEA4CC2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8" y="1899"/>
                    <a:ext cx="44" cy="185"/>
                  </a:xfrm>
                  <a:custGeom>
                    <a:avLst/>
                    <a:gdLst>
                      <a:gd name="T0" fmla="*/ 15 w 18"/>
                      <a:gd name="T1" fmla="*/ 6 h 77"/>
                      <a:gd name="T2" fmla="*/ 11 w 18"/>
                      <a:gd name="T3" fmla="*/ 39 h 77"/>
                      <a:gd name="T4" fmla="*/ 12 w 18"/>
                      <a:gd name="T5" fmla="*/ 72 h 77"/>
                      <a:gd name="T6" fmla="*/ 8 w 18"/>
                      <a:gd name="T7" fmla="*/ 77 h 77"/>
                      <a:gd name="T8" fmla="*/ 3 w 18"/>
                      <a:gd name="T9" fmla="*/ 72 h 77"/>
                      <a:gd name="T10" fmla="*/ 2 w 18"/>
                      <a:gd name="T11" fmla="*/ 38 h 77"/>
                      <a:gd name="T12" fmla="*/ 7 w 18"/>
                      <a:gd name="T13" fmla="*/ 10 h 77"/>
                      <a:gd name="T14" fmla="*/ 15 w 18"/>
                      <a:gd name="T15" fmla="*/ 6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" h="77">
                        <a:moveTo>
                          <a:pt x="15" y="6"/>
                        </a:moveTo>
                        <a:cubicBezTo>
                          <a:pt x="18" y="18"/>
                          <a:pt x="14" y="28"/>
                          <a:pt x="11" y="39"/>
                        </a:cubicBezTo>
                        <a:cubicBezTo>
                          <a:pt x="9" y="50"/>
                          <a:pt x="11" y="61"/>
                          <a:pt x="12" y="72"/>
                        </a:cubicBezTo>
                        <a:cubicBezTo>
                          <a:pt x="12" y="75"/>
                          <a:pt x="10" y="77"/>
                          <a:pt x="8" y="77"/>
                        </a:cubicBezTo>
                        <a:cubicBezTo>
                          <a:pt x="5" y="77"/>
                          <a:pt x="4" y="75"/>
                          <a:pt x="3" y="72"/>
                        </a:cubicBezTo>
                        <a:cubicBezTo>
                          <a:pt x="2" y="61"/>
                          <a:pt x="0" y="50"/>
                          <a:pt x="2" y="38"/>
                        </a:cubicBezTo>
                        <a:cubicBezTo>
                          <a:pt x="4" y="29"/>
                          <a:pt x="10" y="20"/>
                          <a:pt x="7" y="10"/>
                        </a:cubicBezTo>
                        <a:cubicBezTo>
                          <a:pt x="6" y="3"/>
                          <a:pt x="14" y="0"/>
                          <a:pt x="15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60" name="Freeform 19">
                    <a:extLst>
                      <a:ext uri="{FF2B5EF4-FFF2-40B4-BE49-F238E27FC236}">
                        <a16:creationId xmlns:a16="http://schemas.microsoft.com/office/drawing/2014/main" id="{3F47298C-DF55-A159-EAB2-52308646445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1" y="1897"/>
                    <a:ext cx="34" cy="178"/>
                  </a:xfrm>
                  <a:custGeom>
                    <a:avLst/>
                    <a:gdLst>
                      <a:gd name="T0" fmla="*/ 10 w 14"/>
                      <a:gd name="T1" fmla="*/ 4 h 74"/>
                      <a:gd name="T2" fmla="*/ 13 w 14"/>
                      <a:gd name="T3" fmla="*/ 23 h 74"/>
                      <a:gd name="T4" fmla="*/ 11 w 14"/>
                      <a:gd name="T5" fmla="*/ 39 h 74"/>
                      <a:gd name="T6" fmla="*/ 9 w 14"/>
                      <a:gd name="T7" fmla="*/ 47 h 74"/>
                      <a:gd name="T8" fmla="*/ 9 w 14"/>
                      <a:gd name="T9" fmla="*/ 49 h 74"/>
                      <a:gd name="T10" fmla="*/ 9 w 14"/>
                      <a:gd name="T11" fmla="*/ 49 h 74"/>
                      <a:gd name="T12" fmla="*/ 9 w 14"/>
                      <a:gd name="T13" fmla="*/ 51 h 74"/>
                      <a:gd name="T14" fmla="*/ 9 w 14"/>
                      <a:gd name="T15" fmla="*/ 59 h 74"/>
                      <a:gd name="T16" fmla="*/ 9 w 14"/>
                      <a:gd name="T17" fmla="*/ 63 h 74"/>
                      <a:gd name="T18" fmla="*/ 9 w 14"/>
                      <a:gd name="T19" fmla="*/ 63 h 74"/>
                      <a:gd name="T20" fmla="*/ 10 w 14"/>
                      <a:gd name="T21" fmla="*/ 64 h 74"/>
                      <a:gd name="T22" fmla="*/ 1 w 14"/>
                      <a:gd name="T23" fmla="*/ 67 h 74"/>
                      <a:gd name="T24" fmla="*/ 0 w 14"/>
                      <a:gd name="T25" fmla="*/ 52 h 74"/>
                      <a:gd name="T26" fmla="*/ 2 w 14"/>
                      <a:gd name="T27" fmla="*/ 39 h 74"/>
                      <a:gd name="T28" fmla="*/ 5 w 14"/>
                      <a:gd name="T29" fmla="*/ 25 h 74"/>
                      <a:gd name="T30" fmla="*/ 2 w 14"/>
                      <a:gd name="T31" fmla="*/ 7 h 74"/>
                      <a:gd name="T32" fmla="*/ 5 w 14"/>
                      <a:gd name="T33" fmla="*/ 1 h 74"/>
                      <a:gd name="T34" fmla="*/ 10 w 14"/>
                      <a:gd name="T35" fmla="*/ 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" h="74">
                        <a:moveTo>
                          <a:pt x="10" y="4"/>
                        </a:moveTo>
                        <a:cubicBezTo>
                          <a:pt x="11" y="11"/>
                          <a:pt x="12" y="17"/>
                          <a:pt x="13" y="23"/>
                        </a:cubicBezTo>
                        <a:cubicBezTo>
                          <a:pt x="14" y="29"/>
                          <a:pt x="13" y="34"/>
                          <a:pt x="11" y="39"/>
                        </a:cubicBezTo>
                        <a:cubicBezTo>
                          <a:pt x="11" y="41"/>
                          <a:pt x="10" y="44"/>
                          <a:pt x="9" y="47"/>
                        </a:cubicBezTo>
                        <a:cubicBezTo>
                          <a:pt x="9" y="49"/>
                          <a:pt x="9" y="49"/>
                          <a:pt x="9" y="49"/>
                        </a:cubicBezTo>
                        <a:cubicBezTo>
                          <a:pt x="9" y="48"/>
                          <a:pt x="9" y="49"/>
                          <a:pt x="9" y="49"/>
                        </a:cubicBezTo>
                        <a:cubicBezTo>
                          <a:pt x="9" y="51"/>
                          <a:pt x="9" y="51"/>
                          <a:pt x="9" y="51"/>
                        </a:cubicBezTo>
                        <a:cubicBezTo>
                          <a:pt x="9" y="53"/>
                          <a:pt x="9" y="56"/>
                          <a:pt x="9" y="59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10" y="64"/>
                          <a:pt x="9" y="63"/>
                          <a:pt x="9" y="63"/>
                        </a:cubicBezTo>
                        <a:cubicBezTo>
                          <a:pt x="10" y="64"/>
                          <a:pt x="10" y="64"/>
                          <a:pt x="10" y="64"/>
                        </a:cubicBezTo>
                        <a:cubicBezTo>
                          <a:pt x="11" y="71"/>
                          <a:pt x="3" y="74"/>
                          <a:pt x="1" y="67"/>
                        </a:cubicBezTo>
                        <a:cubicBezTo>
                          <a:pt x="0" y="63"/>
                          <a:pt x="0" y="57"/>
                          <a:pt x="0" y="52"/>
                        </a:cubicBezTo>
                        <a:cubicBezTo>
                          <a:pt x="0" y="48"/>
                          <a:pt x="1" y="43"/>
                          <a:pt x="2" y="39"/>
                        </a:cubicBezTo>
                        <a:cubicBezTo>
                          <a:pt x="4" y="34"/>
                          <a:pt x="5" y="30"/>
                          <a:pt x="5" y="25"/>
                        </a:cubicBezTo>
                        <a:cubicBezTo>
                          <a:pt x="4" y="19"/>
                          <a:pt x="3" y="13"/>
                          <a:pt x="2" y="7"/>
                        </a:cubicBezTo>
                        <a:cubicBezTo>
                          <a:pt x="2" y="4"/>
                          <a:pt x="3" y="1"/>
                          <a:pt x="5" y="1"/>
                        </a:cubicBezTo>
                        <a:cubicBezTo>
                          <a:pt x="7" y="0"/>
                          <a:pt x="10" y="1"/>
                          <a:pt x="10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61" name="Freeform 20">
                    <a:extLst>
                      <a:ext uri="{FF2B5EF4-FFF2-40B4-BE49-F238E27FC236}">
                        <a16:creationId xmlns:a16="http://schemas.microsoft.com/office/drawing/2014/main" id="{935C7164-027A-57F2-FF49-4347F291C04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" y="1902"/>
                    <a:ext cx="39" cy="170"/>
                  </a:xfrm>
                  <a:custGeom>
                    <a:avLst/>
                    <a:gdLst>
                      <a:gd name="T0" fmla="*/ 9 w 16"/>
                      <a:gd name="T1" fmla="*/ 6 h 71"/>
                      <a:gd name="T2" fmla="*/ 16 w 16"/>
                      <a:gd name="T3" fmla="*/ 20 h 71"/>
                      <a:gd name="T4" fmla="*/ 16 w 16"/>
                      <a:gd name="T5" fmla="*/ 29 h 71"/>
                      <a:gd name="T6" fmla="*/ 15 w 16"/>
                      <a:gd name="T7" fmla="*/ 35 h 71"/>
                      <a:gd name="T8" fmla="*/ 15 w 16"/>
                      <a:gd name="T9" fmla="*/ 36 h 71"/>
                      <a:gd name="T10" fmla="*/ 15 w 16"/>
                      <a:gd name="T11" fmla="*/ 37 h 71"/>
                      <a:gd name="T12" fmla="*/ 16 w 16"/>
                      <a:gd name="T13" fmla="*/ 64 h 71"/>
                      <a:gd name="T14" fmla="*/ 7 w 16"/>
                      <a:gd name="T15" fmla="*/ 64 h 71"/>
                      <a:gd name="T16" fmla="*/ 6 w 16"/>
                      <a:gd name="T17" fmla="*/ 38 h 71"/>
                      <a:gd name="T18" fmla="*/ 7 w 16"/>
                      <a:gd name="T19" fmla="*/ 32 h 71"/>
                      <a:gd name="T20" fmla="*/ 8 w 16"/>
                      <a:gd name="T21" fmla="*/ 26 h 71"/>
                      <a:gd name="T22" fmla="*/ 8 w 16"/>
                      <a:gd name="T23" fmla="*/ 25 h 71"/>
                      <a:gd name="T24" fmla="*/ 8 w 16"/>
                      <a:gd name="T25" fmla="*/ 24 h 71"/>
                      <a:gd name="T26" fmla="*/ 2 w 16"/>
                      <a:gd name="T27" fmla="*/ 11 h 71"/>
                      <a:gd name="T28" fmla="*/ 9 w 16"/>
                      <a:gd name="T29" fmla="*/ 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" h="71">
                        <a:moveTo>
                          <a:pt x="9" y="6"/>
                        </a:moveTo>
                        <a:cubicBezTo>
                          <a:pt x="11" y="11"/>
                          <a:pt x="14" y="15"/>
                          <a:pt x="16" y="20"/>
                        </a:cubicBezTo>
                        <a:cubicBezTo>
                          <a:pt x="16" y="23"/>
                          <a:pt x="16" y="26"/>
                          <a:pt x="16" y="29"/>
                        </a:cubicBezTo>
                        <a:cubicBezTo>
                          <a:pt x="16" y="31"/>
                          <a:pt x="15" y="33"/>
                          <a:pt x="15" y="35"/>
                        </a:cubicBezTo>
                        <a:cubicBezTo>
                          <a:pt x="14" y="38"/>
                          <a:pt x="15" y="35"/>
                          <a:pt x="15" y="36"/>
                        </a:cubicBezTo>
                        <a:cubicBezTo>
                          <a:pt x="15" y="36"/>
                          <a:pt x="15" y="36"/>
                          <a:pt x="15" y="37"/>
                        </a:cubicBezTo>
                        <a:cubicBezTo>
                          <a:pt x="15" y="46"/>
                          <a:pt x="15" y="55"/>
                          <a:pt x="16" y="64"/>
                        </a:cubicBezTo>
                        <a:cubicBezTo>
                          <a:pt x="16" y="71"/>
                          <a:pt x="7" y="71"/>
                          <a:pt x="7" y="64"/>
                        </a:cubicBezTo>
                        <a:cubicBezTo>
                          <a:pt x="7" y="55"/>
                          <a:pt x="6" y="46"/>
                          <a:pt x="6" y="38"/>
                        </a:cubicBezTo>
                        <a:cubicBezTo>
                          <a:pt x="6" y="36"/>
                          <a:pt x="7" y="34"/>
                          <a:pt x="7" y="32"/>
                        </a:cubicBezTo>
                        <a:cubicBezTo>
                          <a:pt x="7" y="30"/>
                          <a:pt x="8" y="28"/>
                          <a:pt x="8" y="26"/>
                        </a:cubicBezTo>
                        <a:cubicBezTo>
                          <a:pt x="8" y="26"/>
                          <a:pt x="8" y="24"/>
                          <a:pt x="8" y="25"/>
                        </a:cubicBezTo>
                        <a:cubicBezTo>
                          <a:pt x="8" y="25"/>
                          <a:pt x="8" y="24"/>
                          <a:pt x="8" y="24"/>
                        </a:cubicBezTo>
                        <a:cubicBezTo>
                          <a:pt x="7" y="20"/>
                          <a:pt x="4" y="16"/>
                          <a:pt x="2" y="11"/>
                        </a:cubicBezTo>
                        <a:cubicBezTo>
                          <a:pt x="0" y="5"/>
                          <a:pt x="7" y="0"/>
                          <a:pt x="9" y="6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62" name="Freeform 21">
                    <a:extLst>
                      <a:ext uri="{FF2B5EF4-FFF2-40B4-BE49-F238E27FC236}">
                        <a16:creationId xmlns:a16="http://schemas.microsoft.com/office/drawing/2014/main" id="{86E690D1-22DD-AAFD-E3A7-09B0255C994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87" y="1909"/>
                    <a:ext cx="27" cy="171"/>
                  </a:xfrm>
                  <a:custGeom>
                    <a:avLst/>
                    <a:gdLst>
                      <a:gd name="T0" fmla="*/ 8 w 11"/>
                      <a:gd name="T1" fmla="*/ 4 h 71"/>
                      <a:gd name="T2" fmla="*/ 10 w 11"/>
                      <a:gd name="T3" fmla="*/ 24 h 71"/>
                      <a:gd name="T4" fmla="*/ 9 w 11"/>
                      <a:gd name="T5" fmla="*/ 35 h 71"/>
                      <a:gd name="T6" fmla="*/ 10 w 11"/>
                      <a:gd name="T7" fmla="*/ 62 h 71"/>
                      <a:gd name="T8" fmla="*/ 1 w 11"/>
                      <a:gd name="T9" fmla="*/ 64 h 71"/>
                      <a:gd name="T10" fmla="*/ 0 w 11"/>
                      <a:gd name="T11" fmla="*/ 48 h 71"/>
                      <a:gd name="T12" fmla="*/ 0 w 11"/>
                      <a:gd name="T13" fmla="*/ 39 h 71"/>
                      <a:gd name="T14" fmla="*/ 0 w 11"/>
                      <a:gd name="T15" fmla="*/ 39 h 71"/>
                      <a:gd name="T16" fmla="*/ 1 w 11"/>
                      <a:gd name="T17" fmla="*/ 36 h 71"/>
                      <a:gd name="T18" fmla="*/ 2 w 11"/>
                      <a:gd name="T19" fmla="*/ 25 h 71"/>
                      <a:gd name="T20" fmla="*/ 0 w 11"/>
                      <a:gd name="T21" fmla="*/ 7 h 71"/>
                      <a:gd name="T22" fmla="*/ 3 w 11"/>
                      <a:gd name="T23" fmla="*/ 0 h 71"/>
                      <a:gd name="T24" fmla="*/ 8 w 11"/>
                      <a:gd name="T25" fmla="*/ 4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" h="71">
                        <a:moveTo>
                          <a:pt x="8" y="4"/>
                        </a:moveTo>
                        <a:cubicBezTo>
                          <a:pt x="9" y="11"/>
                          <a:pt x="10" y="17"/>
                          <a:pt x="10" y="24"/>
                        </a:cubicBezTo>
                        <a:cubicBezTo>
                          <a:pt x="10" y="28"/>
                          <a:pt x="10" y="31"/>
                          <a:pt x="9" y="35"/>
                        </a:cubicBezTo>
                        <a:cubicBezTo>
                          <a:pt x="9" y="44"/>
                          <a:pt x="7" y="53"/>
                          <a:pt x="10" y="62"/>
                        </a:cubicBezTo>
                        <a:cubicBezTo>
                          <a:pt x="11" y="68"/>
                          <a:pt x="3" y="71"/>
                          <a:pt x="1" y="64"/>
                        </a:cubicBezTo>
                        <a:cubicBezTo>
                          <a:pt x="0" y="59"/>
                          <a:pt x="0" y="53"/>
                          <a:pt x="0" y="48"/>
                        </a:cubicBezTo>
                        <a:cubicBezTo>
                          <a:pt x="0" y="45"/>
                          <a:pt x="0" y="42"/>
                          <a:pt x="0" y="39"/>
                        </a:cubicBezTo>
                        <a:cubicBezTo>
                          <a:pt x="1" y="37"/>
                          <a:pt x="0" y="40"/>
                          <a:pt x="0" y="39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1" y="32"/>
                          <a:pt x="2" y="29"/>
                          <a:pt x="2" y="25"/>
                        </a:cubicBezTo>
                        <a:cubicBezTo>
                          <a:pt x="2" y="19"/>
                          <a:pt x="1" y="13"/>
                          <a:pt x="0" y="7"/>
                        </a:cubicBezTo>
                        <a:cubicBezTo>
                          <a:pt x="0" y="4"/>
                          <a:pt x="1" y="1"/>
                          <a:pt x="3" y="0"/>
                        </a:cubicBezTo>
                        <a:cubicBezTo>
                          <a:pt x="5" y="0"/>
                          <a:pt x="8" y="1"/>
                          <a:pt x="8" y="4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63" name="Freeform 22">
                    <a:extLst>
                      <a:ext uri="{FF2B5EF4-FFF2-40B4-BE49-F238E27FC236}">
                        <a16:creationId xmlns:a16="http://schemas.microsoft.com/office/drawing/2014/main" id="{49684669-6E4F-AAF8-5AE3-BC90937D362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40" y="1897"/>
                    <a:ext cx="40" cy="202"/>
                  </a:xfrm>
                  <a:custGeom>
                    <a:avLst/>
                    <a:gdLst>
                      <a:gd name="T0" fmla="*/ 13 w 16"/>
                      <a:gd name="T1" fmla="*/ 7 h 84"/>
                      <a:gd name="T2" fmla="*/ 11 w 16"/>
                      <a:gd name="T3" fmla="*/ 36 h 84"/>
                      <a:gd name="T4" fmla="*/ 13 w 16"/>
                      <a:gd name="T5" fmla="*/ 72 h 84"/>
                      <a:gd name="T6" fmla="*/ 5 w 16"/>
                      <a:gd name="T7" fmla="*/ 78 h 84"/>
                      <a:gd name="T8" fmla="*/ 2 w 16"/>
                      <a:gd name="T9" fmla="*/ 40 h 84"/>
                      <a:gd name="T10" fmla="*/ 5 w 16"/>
                      <a:gd name="T11" fmla="*/ 23 h 84"/>
                      <a:gd name="T12" fmla="*/ 5 w 16"/>
                      <a:gd name="T13" fmla="*/ 9 h 84"/>
                      <a:gd name="T14" fmla="*/ 13 w 16"/>
                      <a:gd name="T15" fmla="*/ 7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84">
                        <a:moveTo>
                          <a:pt x="13" y="7"/>
                        </a:moveTo>
                        <a:cubicBezTo>
                          <a:pt x="15" y="16"/>
                          <a:pt x="13" y="27"/>
                          <a:pt x="11" y="36"/>
                        </a:cubicBezTo>
                        <a:cubicBezTo>
                          <a:pt x="10" y="48"/>
                          <a:pt x="8" y="61"/>
                          <a:pt x="13" y="72"/>
                        </a:cubicBezTo>
                        <a:cubicBezTo>
                          <a:pt x="16" y="78"/>
                          <a:pt x="8" y="84"/>
                          <a:pt x="5" y="78"/>
                        </a:cubicBezTo>
                        <a:cubicBezTo>
                          <a:pt x="0" y="66"/>
                          <a:pt x="1" y="53"/>
                          <a:pt x="2" y="40"/>
                        </a:cubicBezTo>
                        <a:cubicBezTo>
                          <a:pt x="3" y="34"/>
                          <a:pt x="4" y="28"/>
                          <a:pt x="5" y="23"/>
                        </a:cubicBezTo>
                        <a:cubicBezTo>
                          <a:pt x="5" y="19"/>
                          <a:pt x="5" y="14"/>
                          <a:pt x="5" y="9"/>
                        </a:cubicBezTo>
                        <a:cubicBezTo>
                          <a:pt x="3" y="3"/>
                          <a:pt x="11" y="0"/>
                          <a:pt x="13" y="7"/>
                        </a:cubicBezTo>
                        <a:close/>
                      </a:path>
                    </a:pathLst>
                  </a:custGeom>
                  <a:solidFill>
                    <a:srgbClr val="F3964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64" name="Freeform 23">
                    <a:extLst>
                      <a:ext uri="{FF2B5EF4-FFF2-40B4-BE49-F238E27FC236}">
                        <a16:creationId xmlns:a16="http://schemas.microsoft.com/office/drawing/2014/main" id="{CC6BCE42-879F-CFD2-D5EE-B8509AB54CE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0" y="2305"/>
                    <a:ext cx="98" cy="77"/>
                  </a:xfrm>
                  <a:custGeom>
                    <a:avLst/>
                    <a:gdLst>
                      <a:gd name="T0" fmla="*/ 0 w 40"/>
                      <a:gd name="T1" fmla="*/ 16 h 32"/>
                      <a:gd name="T2" fmla="*/ 20 w 40"/>
                      <a:gd name="T3" fmla="*/ 32 h 32"/>
                      <a:gd name="T4" fmla="*/ 40 w 40"/>
                      <a:gd name="T5" fmla="*/ 16 h 32"/>
                      <a:gd name="T6" fmla="*/ 20 w 40"/>
                      <a:gd name="T7" fmla="*/ 0 h 32"/>
                      <a:gd name="T8" fmla="*/ 0 w 40"/>
                      <a:gd name="T9" fmla="*/ 1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32">
                        <a:moveTo>
                          <a:pt x="0" y="16"/>
                        </a:moveTo>
                        <a:cubicBezTo>
                          <a:pt x="0" y="25"/>
                          <a:pt x="9" y="32"/>
                          <a:pt x="20" y="32"/>
                        </a:cubicBezTo>
                        <a:cubicBezTo>
                          <a:pt x="31" y="32"/>
                          <a:pt x="40" y="25"/>
                          <a:pt x="40" y="16"/>
                        </a:cubicBezTo>
                        <a:cubicBezTo>
                          <a:pt x="40" y="7"/>
                          <a:pt x="31" y="0"/>
                          <a:pt x="20" y="0"/>
                        </a:cubicBezTo>
                        <a:cubicBezTo>
                          <a:pt x="10" y="0"/>
                          <a:pt x="1" y="7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18C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953" name="Freeform 5101">
                  <a:extLst>
                    <a:ext uri="{FF2B5EF4-FFF2-40B4-BE49-F238E27FC236}">
                      <a16:creationId xmlns:a16="http://schemas.microsoft.com/office/drawing/2014/main" id="{9984C43A-B2DA-1A22-CFA9-EBDB20767DA0}"/>
                    </a:ext>
                  </a:extLst>
                </p:cNvPr>
                <p:cNvSpPr/>
                <p:nvPr/>
              </p:nvSpPr>
              <p:spPr>
                <a:xfrm>
                  <a:off x="5997530" y="3560376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954" name="Freeform 5101">
                  <a:extLst>
                    <a:ext uri="{FF2B5EF4-FFF2-40B4-BE49-F238E27FC236}">
                      <a16:creationId xmlns:a16="http://schemas.microsoft.com/office/drawing/2014/main" id="{D3570788-7DE3-CC0A-13D0-540C51610F21}"/>
                    </a:ext>
                  </a:extLst>
                </p:cNvPr>
                <p:cNvSpPr/>
                <p:nvPr/>
              </p:nvSpPr>
              <p:spPr>
                <a:xfrm>
                  <a:off x="6096000" y="3473637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955" name="Freeform 5101">
                  <a:extLst>
                    <a:ext uri="{FF2B5EF4-FFF2-40B4-BE49-F238E27FC236}">
                      <a16:creationId xmlns:a16="http://schemas.microsoft.com/office/drawing/2014/main" id="{DF11C13D-6476-08F2-2449-10D24B2B1B94}"/>
                    </a:ext>
                  </a:extLst>
                </p:cNvPr>
                <p:cNvSpPr/>
                <p:nvPr/>
              </p:nvSpPr>
              <p:spPr>
                <a:xfrm>
                  <a:off x="6156325" y="3599388"/>
                  <a:ext cx="61165" cy="58551"/>
                </a:xfrm>
                <a:custGeom>
                  <a:avLst/>
                  <a:gdLst>
                    <a:gd name="connsiteX0" fmla="*/ 37937 w 38042"/>
                    <a:gd name="connsiteY0" fmla="*/ 17935 h 36416"/>
                    <a:gd name="connsiteX1" fmla="*/ 19011 w 38042"/>
                    <a:gd name="connsiteY1" fmla="*/ 36221 h 36416"/>
                    <a:gd name="connsiteX2" fmla="*/ 86 w 38042"/>
                    <a:gd name="connsiteY2" fmla="*/ 18525 h 36416"/>
                    <a:gd name="connsiteX3" fmla="*/ 19011 w 38042"/>
                    <a:gd name="connsiteY3" fmla="*/ 239 h 36416"/>
                    <a:gd name="connsiteX4" fmla="*/ 37937 w 38042"/>
                    <a:gd name="connsiteY4" fmla="*/ 17935 h 36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42" h="36416">
                      <a:moveTo>
                        <a:pt x="37937" y="17935"/>
                      </a:moveTo>
                      <a:cubicBezTo>
                        <a:pt x="36753" y="27373"/>
                        <a:pt x="29657" y="37991"/>
                        <a:pt x="19011" y="36221"/>
                      </a:cubicBezTo>
                      <a:cubicBezTo>
                        <a:pt x="10732" y="35041"/>
                        <a:pt x="1269" y="27373"/>
                        <a:pt x="86" y="18525"/>
                      </a:cubicBezTo>
                      <a:cubicBezTo>
                        <a:pt x="-1096" y="8497"/>
                        <a:pt x="10140" y="2009"/>
                        <a:pt x="19011" y="239"/>
                      </a:cubicBezTo>
                      <a:cubicBezTo>
                        <a:pt x="30248" y="-1530"/>
                        <a:pt x="39119" y="6728"/>
                        <a:pt x="37937" y="17935"/>
                      </a:cubicBezTo>
                      <a:close/>
                    </a:path>
                  </a:pathLst>
                </a:custGeom>
                <a:solidFill>
                  <a:srgbClr val="F3AD51"/>
                </a:solidFill>
                <a:ln w="59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600" b="1" kern="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965" name="Group 964">
                <a:extLst>
                  <a:ext uri="{FF2B5EF4-FFF2-40B4-BE49-F238E27FC236}">
                    <a16:creationId xmlns:a16="http://schemas.microsoft.com/office/drawing/2014/main" id="{BF5A8E06-987D-94F4-E61A-96D326D22DFB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7080621">
                <a:off x="4502745" y="3489266"/>
                <a:ext cx="144812" cy="283020"/>
                <a:chOff x="5245432" y="2368937"/>
                <a:chExt cx="259652" cy="446987"/>
              </a:xfrm>
            </p:grpSpPr>
            <p:grpSp>
              <p:nvGrpSpPr>
                <p:cNvPr id="966" name="Graphic 169">
                  <a:extLst>
                    <a:ext uri="{FF2B5EF4-FFF2-40B4-BE49-F238E27FC236}">
                      <a16:creationId xmlns:a16="http://schemas.microsoft.com/office/drawing/2014/main" id="{894AD73B-25BA-1A17-0150-439987B66C73}"/>
                    </a:ext>
                  </a:extLst>
                </p:cNvPr>
                <p:cNvGrpSpPr/>
                <p:nvPr/>
              </p:nvGrpSpPr>
              <p:grpSpPr>
                <a:xfrm>
                  <a:off x="5245432" y="2368937"/>
                  <a:ext cx="259652" cy="446987"/>
                  <a:chOff x="3690486" y="2366556"/>
                  <a:chExt cx="259652" cy="446987"/>
                </a:xfrm>
              </p:grpSpPr>
              <p:grpSp>
                <p:nvGrpSpPr>
                  <p:cNvPr id="982" name="Graphic 169">
                    <a:extLst>
                      <a:ext uri="{FF2B5EF4-FFF2-40B4-BE49-F238E27FC236}">
                        <a16:creationId xmlns:a16="http://schemas.microsoft.com/office/drawing/2014/main" id="{8E6E1083-C9F4-4382-C8FC-DB346D215DFB}"/>
                      </a:ext>
                    </a:extLst>
                  </p:cNvPr>
                  <p:cNvGrpSpPr/>
                  <p:nvPr/>
                </p:nvGrpSpPr>
                <p:grpSpPr>
                  <a:xfrm>
                    <a:off x="3690486" y="2366556"/>
                    <a:ext cx="259652" cy="446987"/>
                    <a:chOff x="3690486" y="2366556"/>
                    <a:chExt cx="259652" cy="446987"/>
                  </a:xfrm>
                </p:grpSpPr>
                <p:sp>
                  <p:nvSpPr>
                    <p:cNvPr id="984" name="Freeform: Shape 3227">
                      <a:extLst>
                        <a:ext uri="{FF2B5EF4-FFF2-40B4-BE49-F238E27FC236}">
                          <a16:creationId xmlns:a16="http://schemas.microsoft.com/office/drawing/2014/main" id="{352C88B4-06E5-7B1C-300F-6DC3E92707B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697923" y="2374236"/>
                      <a:ext cx="240780" cy="430734"/>
                    </a:xfrm>
                    <a:custGeom>
                      <a:avLst/>
                      <a:gdLst>
                        <a:gd name="connsiteX0" fmla="*/ 143849 w 188541"/>
                        <a:gd name="connsiteY0" fmla="*/ 453490 h 454436"/>
                        <a:gd name="connsiteX1" fmla="*/ 188521 w 188541"/>
                        <a:gd name="connsiteY1" fmla="*/ 400436 h 454436"/>
                        <a:gd name="connsiteX2" fmla="*/ 182330 w 188541"/>
                        <a:gd name="connsiteY2" fmla="*/ 51535 h 454436"/>
                        <a:gd name="connsiteX3" fmla="*/ 139277 w 188541"/>
                        <a:gd name="connsiteY3" fmla="*/ 5 h 454436"/>
                        <a:gd name="connsiteX4" fmla="*/ 94128 w 188541"/>
                        <a:gd name="connsiteY4" fmla="*/ 862 h 454436"/>
                        <a:gd name="connsiteX5" fmla="*/ 48980 w 188541"/>
                        <a:gd name="connsiteY5" fmla="*/ 767 h 454436"/>
                        <a:gd name="connsiteX6" fmla="*/ 5927 w 188541"/>
                        <a:gd name="connsiteY6" fmla="*/ 52392 h 454436"/>
                        <a:gd name="connsiteX7" fmla="*/ 21 w 188541"/>
                        <a:gd name="connsiteY7" fmla="*/ 401007 h 454436"/>
                        <a:gd name="connsiteX8" fmla="*/ 44598 w 188541"/>
                        <a:gd name="connsiteY8" fmla="*/ 453966 h 454436"/>
                        <a:gd name="connsiteX9" fmla="*/ 94128 w 188541"/>
                        <a:gd name="connsiteY9" fmla="*/ 454252 h 454436"/>
                        <a:gd name="connsiteX10" fmla="*/ 143753 w 188541"/>
                        <a:gd name="connsiteY10" fmla="*/ 453490 h 45443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188541" h="454436">
                          <a:moveTo>
                            <a:pt x="143849" y="453490"/>
                          </a:moveTo>
                          <a:cubicBezTo>
                            <a:pt x="169280" y="453109"/>
                            <a:pt x="189283" y="429296"/>
                            <a:pt x="188521" y="400436"/>
                          </a:cubicBezTo>
                          <a:lnTo>
                            <a:pt x="182330" y="51535"/>
                          </a:lnTo>
                          <a:cubicBezTo>
                            <a:pt x="181568" y="22674"/>
                            <a:pt x="162232" y="-376"/>
                            <a:pt x="139277" y="5"/>
                          </a:cubicBezTo>
                          <a:lnTo>
                            <a:pt x="94128" y="862"/>
                          </a:lnTo>
                          <a:cubicBezTo>
                            <a:pt x="79079" y="1338"/>
                            <a:pt x="64029" y="862"/>
                            <a:pt x="48980" y="767"/>
                          </a:cubicBezTo>
                          <a:cubicBezTo>
                            <a:pt x="26024" y="481"/>
                            <a:pt x="6689" y="23627"/>
                            <a:pt x="5927" y="52392"/>
                          </a:cubicBezTo>
                          <a:lnTo>
                            <a:pt x="21" y="401007"/>
                          </a:lnTo>
                          <a:cubicBezTo>
                            <a:pt x="-741" y="429773"/>
                            <a:pt x="19262" y="453585"/>
                            <a:pt x="44598" y="453966"/>
                          </a:cubicBezTo>
                          <a:cubicBezTo>
                            <a:pt x="61076" y="454157"/>
                            <a:pt x="77555" y="454728"/>
                            <a:pt x="94128" y="454252"/>
                          </a:cubicBezTo>
                          <a:lnTo>
                            <a:pt x="143753" y="453490"/>
                          </a:lnTo>
                          <a:close/>
                        </a:path>
                      </a:pathLst>
                    </a:custGeom>
                    <a:solidFill>
                      <a:srgbClr val="ECE2A6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>
                        <a:defRPr/>
                      </a:pPr>
                      <a:endParaRPr lang="en-US" sz="1600" kern="0">
                        <a:solidFill>
                          <a:srgbClr val="000000"/>
                        </a:solidFill>
                        <a:latin typeface="Arial" panose="020B0604020202020204"/>
                      </a:endParaRPr>
                    </a:p>
                  </p:txBody>
                </p:sp>
                <p:sp>
                  <p:nvSpPr>
                    <p:cNvPr id="985" name="Freeform: Shape 3228">
                      <a:extLst>
                        <a:ext uri="{FF2B5EF4-FFF2-40B4-BE49-F238E27FC236}">
                          <a16:creationId xmlns:a16="http://schemas.microsoft.com/office/drawing/2014/main" id="{F3CF77FB-6777-DDFF-2C04-327929961F5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690486" y="2366556"/>
                      <a:ext cx="259652" cy="446987"/>
                    </a:xfrm>
                    <a:custGeom>
                      <a:avLst/>
                      <a:gdLst>
                        <a:gd name="connsiteX0" fmla="*/ 56416 w 203319"/>
                        <a:gd name="connsiteY0" fmla="*/ 17913 h 471583"/>
                        <a:gd name="connsiteX1" fmla="*/ 101660 w 203319"/>
                        <a:gd name="connsiteY1" fmla="*/ 18008 h 471583"/>
                        <a:gd name="connsiteX2" fmla="*/ 146904 w 203319"/>
                        <a:gd name="connsiteY2" fmla="*/ 17151 h 471583"/>
                        <a:gd name="connsiteX3" fmla="*/ 182908 w 203319"/>
                        <a:gd name="connsiteY3" fmla="*/ 60204 h 471583"/>
                        <a:gd name="connsiteX4" fmla="*/ 188623 w 203319"/>
                        <a:gd name="connsiteY4" fmla="*/ 409105 h 471583"/>
                        <a:gd name="connsiteX5" fmla="*/ 151285 w 203319"/>
                        <a:gd name="connsiteY5" fmla="*/ 453396 h 471583"/>
                        <a:gd name="connsiteX6" fmla="*/ 101755 w 203319"/>
                        <a:gd name="connsiteY6" fmla="*/ 454158 h 471583"/>
                        <a:gd name="connsiteX7" fmla="*/ 52320 w 203319"/>
                        <a:gd name="connsiteY7" fmla="*/ 453872 h 471583"/>
                        <a:gd name="connsiteX8" fmla="*/ 15078 w 203319"/>
                        <a:gd name="connsiteY8" fmla="*/ 409676 h 471583"/>
                        <a:gd name="connsiteX9" fmla="*/ 20412 w 203319"/>
                        <a:gd name="connsiteY9" fmla="*/ 61061 h 471583"/>
                        <a:gd name="connsiteX10" fmla="*/ 56416 w 203319"/>
                        <a:gd name="connsiteY10" fmla="*/ 17913 h 471583"/>
                        <a:gd name="connsiteX11" fmla="*/ 56607 w 203319"/>
                        <a:gd name="connsiteY11" fmla="*/ 768 h 471583"/>
                        <a:gd name="connsiteX12" fmla="*/ 6410 w 203319"/>
                        <a:gd name="connsiteY12" fmla="*/ 60871 h 471583"/>
                        <a:gd name="connsiteX13" fmla="*/ 28 w 203319"/>
                        <a:gd name="connsiteY13" fmla="*/ 409486 h 471583"/>
                        <a:gd name="connsiteX14" fmla="*/ 51939 w 203319"/>
                        <a:gd name="connsiteY14" fmla="*/ 471113 h 471583"/>
                        <a:gd name="connsiteX15" fmla="*/ 101565 w 203319"/>
                        <a:gd name="connsiteY15" fmla="*/ 471398 h 471583"/>
                        <a:gd name="connsiteX16" fmla="*/ 151285 w 203319"/>
                        <a:gd name="connsiteY16" fmla="*/ 470636 h 471583"/>
                        <a:gd name="connsiteX17" fmla="*/ 203292 w 203319"/>
                        <a:gd name="connsiteY17" fmla="*/ 408914 h 471583"/>
                        <a:gd name="connsiteX18" fmla="*/ 196624 w 203319"/>
                        <a:gd name="connsiteY18" fmla="*/ 60014 h 471583"/>
                        <a:gd name="connsiteX19" fmla="*/ 146618 w 203319"/>
                        <a:gd name="connsiteY19" fmla="*/ 6 h 471583"/>
                        <a:gd name="connsiteX20" fmla="*/ 101660 w 203319"/>
                        <a:gd name="connsiteY20" fmla="*/ 863 h 471583"/>
                        <a:gd name="connsiteX21" fmla="*/ 56607 w 203319"/>
                        <a:gd name="connsiteY21" fmla="*/ 768 h 4715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</a:cxnLst>
                      <a:rect l="l" t="t" r="r" b="b"/>
                      <a:pathLst>
                        <a:path w="203319" h="471583">
                          <a:moveTo>
                            <a:pt x="56416" y="17913"/>
                          </a:moveTo>
                          <a:cubicBezTo>
                            <a:pt x="71466" y="18008"/>
                            <a:pt x="86610" y="18580"/>
                            <a:pt x="101660" y="18008"/>
                          </a:cubicBezTo>
                          <a:lnTo>
                            <a:pt x="146904" y="17151"/>
                          </a:lnTo>
                          <a:cubicBezTo>
                            <a:pt x="166144" y="16770"/>
                            <a:pt x="182337" y="36106"/>
                            <a:pt x="182908" y="60204"/>
                          </a:cubicBezTo>
                          <a:lnTo>
                            <a:pt x="188623" y="409105"/>
                          </a:lnTo>
                          <a:cubicBezTo>
                            <a:pt x="189195" y="433203"/>
                            <a:pt x="172526" y="453110"/>
                            <a:pt x="151285" y="453396"/>
                          </a:cubicBezTo>
                          <a:lnTo>
                            <a:pt x="101755" y="454158"/>
                          </a:lnTo>
                          <a:cubicBezTo>
                            <a:pt x="85182" y="454634"/>
                            <a:pt x="68799" y="454158"/>
                            <a:pt x="52320" y="453872"/>
                          </a:cubicBezTo>
                          <a:cubicBezTo>
                            <a:pt x="31175" y="453587"/>
                            <a:pt x="14506" y="433679"/>
                            <a:pt x="15078" y="409676"/>
                          </a:cubicBezTo>
                          <a:lnTo>
                            <a:pt x="20412" y="61061"/>
                          </a:lnTo>
                          <a:cubicBezTo>
                            <a:pt x="20983" y="36963"/>
                            <a:pt x="37176" y="17627"/>
                            <a:pt x="56416" y="17913"/>
                          </a:cubicBezTo>
                          <a:moveTo>
                            <a:pt x="56607" y="768"/>
                          </a:moveTo>
                          <a:cubicBezTo>
                            <a:pt x="29937" y="387"/>
                            <a:pt x="7362" y="27438"/>
                            <a:pt x="6410" y="60871"/>
                          </a:cubicBezTo>
                          <a:lnTo>
                            <a:pt x="28" y="409486"/>
                          </a:lnTo>
                          <a:cubicBezTo>
                            <a:pt x="-924" y="442919"/>
                            <a:pt x="22412" y="470636"/>
                            <a:pt x="51939" y="471113"/>
                          </a:cubicBezTo>
                          <a:cubicBezTo>
                            <a:pt x="68513" y="471303"/>
                            <a:pt x="84991" y="471875"/>
                            <a:pt x="101565" y="471398"/>
                          </a:cubicBezTo>
                          <a:lnTo>
                            <a:pt x="151285" y="470636"/>
                          </a:lnTo>
                          <a:cubicBezTo>
                            <a:pt x="180908" y="470160"/>
                            <a:pt x="204244" y="442347"/>
                            <a:pt x="203292" y="408914"/>
                          </a:cubicBezTo>
                          <a:lnTo>
                            <a:pt x="196624" y="60014"/>
                          </a:lnTo>
                          <a:cubicBezTo>
                            <a:pt x="195767" y="26486"/>
                            <a:pt x="173193" y="-470"/>
                            <a:pt x="146618" y="6"/>
                          </a:cubicBezTo>
                          <a:lnTo>
                            <a:pt x="101660" y="863"/>
                          </a:lnTo>
                          <a:cubicBezTo>
                            <a:pt x="86706" y="1340"/>
                            <a:pt x="71656" y="863"/>
                            <a:pt x="56607" y="768"/>
                          </a:cubicBezTo>
                          <a:close/>
                        </a:path>
                      </a:pathLst>
                    </a:custGeom>
                    <a:solidFill>
                      <a:srgbClr val="5B6C10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>
                        <a:defRPr/>
                      </a:pPr>
                      <a:endParaRPr lang="en-US" sz="1600" kern="0">
                        <a:solidFill>
                          <a:srgbClr val="000000"/>
                        </a:solidFill>
                        <a:latin typeface="Arial" panose="020B0604020202020204"/>
                      </a:endParaRPr>
                    </a:p>
                  </p:txBody>
                </p:sp>
              </p:grpSp>
              <p:sp>
                <p:nvSpPr>
                  <p:cNvPr id="983" name="Freeform: Shape 3226">
                    <a:extLst>
                      <a:ext uri="{FF2B5EF4-FFF2-40B4-BE49-F238E27FC236}">
                        <a16:creationId xmlns:a16="http://schemas.microsoft.com/office/drawing/2014/main" id="{78DE322B-9CA4-41AB-4C36-996FD9420943}"/>
                      </a:ext>
                    </a:extLst>
                  </p:cNvPr>
                  <p:cNvSpPr/>
                  <p:nvPr/>
                </p:nvSpPr>
                <p:spPr>
                  <a:xfrm>
                    <a:off x="3771346" y="2693433"/>
                    <a:ext cx="94779" cy="76790"/>
                  </a:xfrm>
                  <a:custGeom>
                    <a:avLst/>
                    <a:gdLst>
                      <a:gd name="connsiteX0" fmla="*/ 3 w 94779"/>
                      <a:gd name="connsiteY0" fmla="*/ 38202 h 76790"/>
                      <a:gd name="connsiteX1" fmla="*/ 47342 w 94779"/>
                      <a:gd name="connsiteY1" fmla="*/ 76778 h 76790"/>
                      <a:gd name="connsiteX2" fmla="*/ 94777 w 94779"/>
                      <a:gd name="connsiteY2" fmla="*/ 37630 h 76790"/>
                      <a:gd name="connsiteX3" fmla="*/ 47437 w 94779"/>
                      <a:gd name="connsiteY3" fmla="*/ 6 h 76790"/>
                      <a:gd name="connsiteX4" fmla="*/ 98 w 94779"/>
                      <a:gd name="connsiteY4" fmla="*/ 38106 h 7679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94779" h="76790">
                        <a:moveTo>
                          <a:pt x="3" y="38202"/>
                        </a:moveTo>
                        <a:cubicBezTo>
                          <a:pt x="-283" y="59157"/>
                          <a:pt x="20863" y="77349"/>
                          <a:pt x="47342" y="76778"/>
                        </a:cubicBezTo>
                        <a:cubicBezTo>
                          <a:pt x="73822" y="76397"/>
                          <a:pt x="95062" y="58871"/>
                          <a:pt x="94777" y="37630"/>
                        </a:cubicBezTo>
                        <a:cubicBezTo>
                          <a:pt x="94491" y="16389"/>
                          <a:pt x="73250" y="-375"/>
                          <a:pt x="47437" y="6"/>
                        </a:cubicBezTo>
                        <a:cubicBezTo>
                          <a:pt x="21529" y="578"/>
                          <a:pt x="384" y="16770"/>
                          <a:pt x="98" y="38106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grpSp>
              <p:nvGrpSpPr>
                <p:cNvPr id="967" name="Group 966">
                  <a:extLst>
                    <a:ext uri="{FF2B5EF4-FFF2-40B4-BE49-F238E27FC236}">
                      <a16:creationId xmlns:a16="http://schemas.microsoft.com/office/drawing/2014/main" id="{3F063402-C895-CBEB-BF58-EE7E5E9C0266}"/>
                    </a:ext>
                  </a:extLst>
                </p:cNvPr>
                <p:cNvGrpSpPr/>
                <p:nvPr/>
              </p:nvGrpSpPr>
              <p:grpSpPr>
                <a:xfrm>
                  <a:off x="5292918" y="2417361"/>
                  <a:ext cx="169678" cy="159027"/>
                  <a:chOff x="3727662" y="2369589"/>
                  <a:chExt cx="136588" cy="128016"/>
                </a:xfrm>
                <a:solidFill>
                  <a:srgbClr val="3C1053"/>
                </a:solidFill>
              </p:grpSpPr>
              <p:sp>
                <p:nvSpPr>
                  <p:cNvPr id="968" name="Freeform: Shape 3211">
                    <a:extLst>
                      <a:ext uri="{FF2B5EF4-FFF2-40B4-BE49-F238E27FC236}">
                        <a16:creationId xmlns:a16="http://schemas.microsoft.com/office/drawing/2014/main" id="{719D8ECC-6591-8BC1-AF30-8B3C9FDBA1CB}"/>
                      </a:ext>
                    </a:extLst>
                  </p:cNvPr>
                  <p:cNvSpPr/>
                  <p:nvPr/>
                </p:nvSpPr>
                <p:spPr>
                  <a:xfrm>
                    <a:off x="3739283" y="2389782"/>
                    <a:ext cx="33146" cy="33147"/>
                  </a:xfrm>
                  <a:custGeom>
                    <a:avLst/>
                    <a:gdLst>
                      <a:gd name="connsiteX0" fmla="*/ 33147 w 33146"/>
                      <a:gd name="connsiteY0" fmla="*/ 16574 h 33147"/>
                      <a:gd name="connsiteX1" fmla="*/ 16574 w 33146"/>
                      <a:gd name="connsiteY1" fmla="*/ 33147 h 33147"/>
                      <a:gd name="connsiteX2" fmla="*/ 0 w 33146"/>
                      <a:gd name="connsiteY2" fmla="*/ 16574 h 33147"/>
                      <a:gd name="connsiteX3" fmla="*/ 16574 w 33146"/>
                      <a:gd name="connsiteY3" fmla="*/ 0 h 33147"/>
                      <a:gd name="connsiteX4" fmla="*/ 33147 w 33146"/>
                      <a:gd name="connsiteY4" fmla="*/ 16574 h 331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3146" h="33147">
                        <a:moveTo>
                          <a:pt x="33147" y="16574"/>
                        </a:moveTo>
                        <a:cubicBezTo>
                          <a:pt x="33147" y="25727"/>
                          <a:pt x="25727" y="33147"/>
                          <a:pt x="16574" y="33147"/>
                        </a:cubicBezTo>
                        <a:cubicBezTo>
                          <a:pt x="7420" y="33147"/>
                          <a:pt x="0" y="25727"/>
                          <a:pt x="0" y="16574"/>
                        </a:cubicBezTo>
                        <a:cubicBezTo>
                          <a:pt x="0" y="7420"/>
                          <a:pt x="7420" y="0"/>
                          <a:pt x="16574" y="0"/>
                        </a:cubicBezTo>
                        <a:cubicBezTo>
                          <a:pt x="25727" y="0"/>
                          <a:pt x="33147" y="7420"/>
                          <a:pt x="33147" y="16574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69" name="Freeform: Shape 3212">
                    <a:extLst>
                      <a:ext uri="{FF2B5EF4-FFF2-40B4-BE49-F238E27FC236}">
                        <a16:creationId xmlns:a16="http://schemas.microsoft.com/office/drawing/2014/main" id="{3E806CD4-6059-C742-2078-E176E3B199FE}"/>
                      </a:ext>
                    </a:extLst>
                  </p:cNvPr>
                  <p:cNvSpPr/>
                  <p:nvPr/>
                </p:nvSpPr>
                <p:spPr>
                  <a:xfrm>
                    <a:off x="3808529" y="2423691"/>
                    <a:ext cx="33147" cy="33147"/>
                  </a:xfrm>
                  <a:custGeom>
                    <a:avLst/>
                    <a:gdLst>
                      <a:gd name="connsiteX0" fmla="*/ 33147 w 33147"/>
                      <a:gd name="connsiteY0" fmla="*/ 16573 h 33147"/>
                      <a:gd name="connsiteX1" fmla="*/ 16574 w 33147"/>
                      <a:gd name="connsiteY1" fmla="*/ 33147 h 33147"/>
                      <a:gd name="connsiteX2" fmla="*/ 0 w 33147"/>
                      <a:gd name="connsiteY2" fmla="*/ 16573 h 33147"/>
                      <a:gd name="connsiteX3" fmla="*/ 16574 w 33147"/>
                      <a:gd name="connsiteY3" fmla="*/ 0 h 33147"/>
                      <a:gd name="connsiteX4" fmla="*/ 33147 w 33147"/>
                      <a:gd name="connsiteY4" fmla="*/ 16573 h 331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3147" h="33147">
                        <a:moveTo>
                          <a:pt x="33147" y="16573"/>
                        </a:moveTo>
                        <a:cubicBezTo>
                          <a:pt x="33147" y="25727"/>
                          <a:pt x="25727" y="33147"/>
                          <a:pt x="16574" y="33147"/>
                        </a:cubicBezTo>
                        <a:cubicBezTo>
                          <a:pt x="7420" y="33147"/>
                          <a:pt x="0" y="25727"/>
                          <a:pt x="0" y="16573"/>
                        </a:cubicBezTo>
                        <a:cubicBezTo>
                          <a:pt x="0" y="7420"/>
                          <a:pt x="7420" y="0"/>
                          <a:pt x="16574" y="0"/>
                        </a:cubicBezTo>
                        <a:cubicBezTo>
                          <a:pt x="25727" y="0"/>
                          <a:pt x="33147" y="7420"/>
                          <a:pt x="33147" y="16573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70" name="Freeform: Shape 3213">
                    <a:extLst>
                      <a:ext uri="{FF2B5EF4-FFF2-40B4-BE49-F238E27FC236}">
                        <a16:creationId xmlns:a16="http://schemas.microsoft.com/office/drawing/2014/main" id="{E5CF45E4-1EC1-BAFA-5F63-B1F7D66D11F4}"/>
                      </a:ext>
                    </a:extLst>
                  </p:cNvPr>
                  <p:cNvSpPr/>
                  <p:nvPr/>
                </p:nvSpPr>
                <p:spPr>
                  <a:xfrm>
                    <a:off x="3748998" y="2442741"/>
                    <a:ext cx="16573" cy="16573"/>
                  </a:xfrm>
                  <a:custGeom>
                    <a:avLst/>
                    <a:gdLst>
                      <a:gd name="connsiteX0" fmla="*/ 16574 w 16573"/>
                      <a:gd name="connsiteY0" fmla="*/ 8287 h 16573"/>
                      <a:gd name="connsiteX1" fmla="*/ 8287 w 16573"/>
                      <a:gd name="connsiteY1" fmla="*/ 16573 h 16573"/>
                      <a:gd name="connsiteX2" fmla="*/ 0 w 16573"/>
                      <a:gd name="connsiteY2" fmla="*/ 8287 h 16573"/>
                      <a:gd name="connsiteX3" fmla="*/ 8287 w 16573"/>
                      <a:gd name="connsiteY3" fmla="*/ 0 h 16573"/>
                      <a:gd name="connsiteX4" fmla="*/ 16574 w 16573"/>
                      <a:gd name="connsiteY4" fmla="*/ 8287 h 165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6573" h="16573">
                        <a:moveTo>
                          <a:pt x="16574" y="8287"/>
                        </a:moveTo>
                        <a:cubicBezTo>
                          <a:pt x="16574" y="12863"/>
                          <a:pt x="12863" y="16573"/>
                          <a:pt x="8287" y="16573"/>
                        </a:cubicBezTo>
                        <a:cubicBezTo>
                          <a:pt x="3710" y="16573"/>
                          <a:pt x="0" y="12863"/>
                          <a:pt x="0" y="8287"/>
                        </a:cubicBezTo>
                        <a:cubicBezTo>
                          <a:pt x="0" y="3710"/>
                          <a:pt x="3710" y="0"/>
                          <a:pt x="8287" y="0"/>
                        </a:cubicBezTo>
                        <a:cubicBezTo>
                          <a:pt x="12863" y="0"/>
                          <a:pt x="16574" y="3710"/>
                          <a:pt x="16574" y="8287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71" name="Freeform: Shape 3214">
                    <a:extLst>
                      <a:ext uri="{FF2B5EF4-FFF2-40B4-BE49-F238E27FC236}">
                        <a16:creationId xmlns:a16="http://schemas.microsoft.com/office/drawing/2014/main" id="{75980B85-D782-D1D0-1DC9-56838DD3A5C7}"/>
                      </a:ext>
                    </a:extLst>
                  </p:cNvPr>
                  <p:cNvSpPr/>
                  <p:nvPr/>
                </p:nvSpPr>
                <p:spPr>
                  <a:xfrm>
                    <a:off x="3780526" y="2389496"/>
                    <a:ext cx="16573" cy="16573"/>
                  </a:xfrm>
                  <a:custGeom>
                    <a:avLst/>
                    <a:gdLst>
                      <a:gd name="connsiteX0" fmla="*/ 16573 w 16573"/>
                      <a:gd name="connsiteY0" fmla="*/ 8287 h 16573"/>
                      <a:gd name="connsiteX1" fmla="*/ 8287 w 16573"/>
                      <a:gd name="connsiteY1" fmla="*/ 16574 h 16573"/>
                      <a:gd name="connsiteX2" fmla="*/ 0 w 16573"/>
                      <a:gd name="connsiteY2" fmla="*/ 8287 h 16573"/>
                      <a:gd name="connsiteX3" fmla="*/ 8287 w 16573"/>
                      <a:gd name="connsiteY3" fmla="*/ 0 h 16573"/>
                      <a:gd name="connsiteX4" fmla="*/ 16573 w 16573"/>
                      <a:gd name="connsiteY4" fmla="*/ 8287 h 165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6573" h="16573">
                        <a:moveTo>
                          <a:pt x="16573" y="8287"/>
                        </a:moveTo>
                        <a:cubicBezTo>
                          <a:pt x="16573" y="12863"/>
                          <a:pt x="12863" y="16574"/>
                          <a:pt x="8287" y="16574"/>
                        </a:cubicBezTo>
                        <a:cubicBezTo>
                          <a:pt x="3710" y="16574"/>
                          <a:pt x="0" y="12863"/>
                          <a:pt x="0" y="8287"/>
                        </a:cubicBezTo>
                        <a:cubicBezTo>
                          <a:pt x="0" y="3710"/>
                          <a:pt x="3710" y="0"/>
                          <a:pt x="8287" y="0"/>
                        </a:cubicBezTo>
                        <a:cubicBezTo>
                          <a:pt x="12863" y="0"/>
                          <a:pt x="16573" y="3710"/>
                          <a:pt x="16573" y="8287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72" name="Freeform: Shape 3215">
                    <a:extLst>
                      <a:ext uri="{FF2B5EF4-FFF2-40B4-BE49-F238E27FC236}">
                        <a16:creationId xmlns:a16="http://schemas.microsoft.com/office/drawing/2014/main" id="{BD21005C-EFBA-9CD9-AC89-B844D5124394}"/>
                      </a:ext>
                    </a:extLst>
                  </p:cNvPr>
                  <p:cNvSpPr/>
                  <p:nvPr/>
                </p:nvSpPr>
                <p:spPr>
                  <a:xfrm>
                    <a:off x="3832913" y="2381210"/>
                    <a:ext cx="16573" cy="16573"/>
                  </a:xfrm>
                  <a:custGeom>
                    <a:avLst/>
                    <a:gdLst>
                      <a:gd name="connsiteX0" fmla="*/ 16574 w 16573"/>
                      <a:gd name="connsiteY0" fmla="*/ 8287 h 16573"/>
                      <a:gd name="connsiteX1" fmla="*/ 8287 w 16573"/>
                      <a:gd name="connsiteY1" fmla="*/ 16573 h 16573"/>
                      <a:gd name="connsiteX2" fmla="*/ 0 w 16573"/>
                      <a:gd name="connsiteY2" fmla="*/ 8287 h 16573"/>
                      <a:gd name="connsiteX3" fmla="*/ 8287 w 16573"/>
                      <a:gd name="connsiteY3" fmla="*/ 0 h 16573"/>
                      <a:gd name="connsiteX4" fmla="*/ 16574 w 16573"/>
                      <a:gd name="connsiteY4" fmla="*/ 8287 h 165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6573" h="16573">
                        <a:moveTo>
                          <a:pt x="16574" y="8287"/>
                        </a:moveTo>
                        <a:cubicBezTo>
                          <a:pt x="16574" y="12863"/>
                          <a:pt x="12863" y="16573"/>
                          <a:pt x="8287" y="16573"/>
                        </a:cubicBezTo>
                        <a:cubicBezTo>
                          <a:pt x="3710" y="16573"/>
                          <a:pt x="0" y="12863"/>
                          <a:pt x="0" y="8287"/>
                        </a:cubicBezTo>
                        <a:cubicBezTo>
                          <a:pt x="0" y="3710"/>
                          <a:pt x="3710" y="0"/>
                          <a:pt x="8287" y="0"/>
                        </a:cubicBezTo>
                        <a:cubicBezTo>
                          <a:pt x="12863" y="0"/>
                          <a:pt x="16574" y="3710"/>
                          <a:pt x="16574" y="8287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73" name="Freeform: Shape 3216">
                    <a:extLst>
                      <a:ext uri="{FF2B5EF4-FFF2-40B4-BE49-F238E27FC236}">
                        <a16:creationId xmlns:a16="http://schemas.microsoft.com/office/drawing/2014/main" id="{AE9986AF-CECC-928F-6BE7-FEB6E5B96527}"/>
                      </a:ext>
                    </a:extLst>
                  </p:cNvPr>
                  <p:cNvSpPr/>
                  <p:nvPr/>
                </p:nvSpPr>
                <p:spPr>
                  <a:xfrm>
                    <a:off x="3847677" y="2416738"/>
                    <a:ext cx="16573" cy="16573"/>
                  </a:xfrm>
                  <a:custGeom>
                    <a:avLst/>
                    <a:gdLst>
                      <a:gd name="connsiteX0" fmla="*/ 16573 w 16573"/>
                      <a:gd name="connsiteY0" fmla="*/ 8287 h 16573"/>
                      <a:gd name="connsiteX1" fmla="*/ 8287 w 16573"/>
                      <a:gd name="connsiteY1" fmla="*/ 16574 h 16573"/>
                      <a:gd name="connsiteX2" fmla="*/ 0 w 16573"/>
                      <a:gd name="connsiteY2" fmla="*/ 8287 h 16573"/>
                      <a:gd name="connsiteX3" fmla="*/ 8287 w 16573"/>
                      <a:gd name="connsiteY3" fmla="*/ 0 h 16573"/>
                      <a:gd name="connsiteX4" fmla="*/ 16573 w 16573"/>
                      <a:gd name="connsiteY4" fmla="*/ 8287 h 165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6573" h="16573">
                        <a:moveTo>
                          <a:pt x="16573" y="8287"/>
                        </a:moveTo>
                        <a:cubicBezTo>
                          <a:pt x="16573" y="12863"/>
                          <a:pt x="12863" y="16574"/>
                          <a:pt x="8287" y="16574"/>
                        </a:cubicBezTo>
                        <a:cubicBezTo>
                          <a:pt x="3710" y="16574"/>
                          <a:pt x="0" y="12863"/>
                          <a:pt x="0" y="8287"/>
                        </a:cubicBezTo>
                        <a:cubicBezTo>
                          <a:pt x="0" y="3710"/>
                          <a:pt x="3710" y="0"/>
                          <a:pt x="8287" y="0"/>
                        </a:cubicBezTo>
                        <a:cubicBezTo>
                          <a:pt x="12863" y="0"/>
                          <a:pt x="16573" y="3710"/>
                          <a:pt x="16573" y="8287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74" name="Freeform: Shape 3217">
                    <a:extLst>
                      <a:ext uri="{FF2B5EF4-FFF2-40B4-BE49-F238E27FC236}">
                        <a16:creationId xmlns:a16="http://schemas.microsoft.com/office/drawing/2014/main" id="{74B70D84-2661-8495-F3CD-098C4BA52CF3}"/>
                      </a:ext>
                    </a:extLst>
                  </p:cNvPr>
                  <p:cNvSpPr/>
                  <p:nvPr/>
                </p:nvSpPr>
                <p:spPr>
                  <a:xfrm>
                    <a:off x="3788813" y="2428644"/>
                    <a:ext cx="11620" cy="11620"/>
                  </a:xfrm>
                  <a:custGeom>
                    <a:avLst/>
                    <a:gdLst>
                      <a:gd name="connsiteX0" fmla="*/ 11621 w 11620"/>
                      <a:gd name="connsiteY0" fmla="*/ 5810 h 11620"/>
                      <a:gd name="connsiteX1" fmla="*/ 5810 w 11620"/>
                      <a:gd name="connsiteY1" fmla="*/ 11620 h 11620"/>
                      <a:gd name="connsiteX2" fmla="*/ 0 w 11620"/>
                      <a:gd name="connsiteY2" fmla="*/ 5810 h 11620"/>
                      <a:gd name="connsiteX3" fmla="*/ 5810 w 11620"/>
                      <a:gd name="connsiteY3" fmla="*/ 0 h 11620"/>
                      <a:gd name="connsiteX4" fmla="*/ 11621 w 11620"/>
                      <a:gd name="connsiteY4" fmla="*/ 5810 h 116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620" h="11620">
                        <a:moveTo>
                          <a:pt x="11621" y="5810"/>
                        </a:moveTo>
                        <a:cubicBezTo>
                          <a:pt x="11621" y="9019"/>
                          <a:pt x="9019" y="11620"/>
                          <a:pt x="5810" y="11620"/>
                        </a:cubicBezTo>
                        <a:cubicBezTo>
                          <a:pt x="2601" y="11620"/>
                          <a:pt x="0" y="9019"/>
                          <a:pt x="0" y="5810"/>
                        </a:cubicBezTo>
                        <a:cubicBezTo>
                          <a:pt x="0" y="2601"/>
                          <a:pt x="2601" y="0"/>
                          <a:pt x="5810" y="0"/>
                        </a:cubicBezTo>
                        <a:cubicBezTo>
                          <a:pt x="9019" y="0"/>
                          <a:pt x="11621" y="2601"/>
                          <a:pt x="11621" y="5810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75" name="Freeform: Shape 3218">
                    <a:extLst>
                      <a:ext uri="{FF2B5EF4-FFF2-40B4-BE49-F238E27FC236}">
                        <a16:creationId xmlns:a16="http://schemas.microsoft.com/office/drawing/2014/main" id="{E7977959-4209-4CBB-9588-D1D7D54E254C}"/>
                      </a:ext>
                    </a:extLst>
                  </p:cNvPr>
                  <p:cNvSpPr/>
                  <p:nvPr/>
                </p:nvSpPr>
                <p:spPr>
                  <a:xfrm>
                    <a:off x="3727662" y="2431121"/>
                    <a:ext cx="11620" cy="11620"/>
                  </a:xfrm>
                  <a:custGeom>
                    <a:avLst/>
                    <a:gdLst>
                      <a:gd name="connsiteX0" fmla="*/ 11620 w 11620"/>
                      <a:gd name="connsiteY0" fmla="*/ 5810 h 11620"/>
                      <a:gd name="connsiteX1" fmla="*/ 5810 w 11620"/>
                      <a:gd name="connsiteY1" fmla="*/ 11620 h 11620"/>
                      <a:gd name="connsiteX2" fmla="*/ 0 w 11620"/>
                      <a:gd name="connsiteY2" fmla="*/ 5810 h 11620"/>
                      <a:gd name="connsiteX3" fmla="*/ 5810 w 11620"/>
                      <a:gd name="connsiteY3" fmla="*/ 0 h 11620"/>
                      <a:gd name="connsiteX4" fmla="*/ 11620 w 11620"/>
                      <a:gd name="connsiteY4" fmla="*/ 5810 h 116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620" h="11620">
                        <a:moveTo>
                          <a:pt x="11620" y="5810"/>
                        </a:moveTo>
                        <a:cubicBezTo>
                          <a:pt x="11620" y="9019"/>
                          <a:pt x="9019" y="11620"/>
                          <a:pt x="5810" y="11620"/>
                        </a:cubicBezTo>
                        <a:cubicBezTo>
                          <a:pt x="2601" y="11620"/>
                          <a:pt x="0" y="9019"/>
                          <a:pt x="0" y="5810"/>
                        </a:cubicBezTo>
                        <a:cubicBezTo>
                          <a:pt x="0" y="2601"/>
                          <a:pt x="2601" y="0"/>
                          <a:pt x="5810" y="0"/>
                        </a:cubicBezTo>
                        <a:cubicBezTo>
                          <a:pt x="9019" y="0"/>
                          <a:pt x="11620" y="2601"/>
                          <a:pt x="11620" y="5810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76" name="Freeform: Shape 3219">
                    <a:extLst>
                      <a:ext uri="{FF2B5EF4-FFF2-40B4-BE49-F238E27FC236}">
                        <a16:creationId xmlns:a16="http://schemas.microsoft.com/office/drawing/2014/main" id="{65630BA1-D6F1-864D-1C9B-0BED453AB602}"/>
                      </a:ext>
                    </a:extLst>
                  </p:cNvPr>
                  <p:cNvSpPr/>
                  <p:nvPr/>
                </p:nvSpPr>
                <p:spPr>
                  <a:xfrm>
                    <a:off x="3819293" y="2369589"/>
                    <a:ext cx="11620" cy="11620"/>
                  </a:xfrm>
                  <a:custGeom>
                    <a:avLst/>
                    <a:gdLst>
                      <a:gd name="connsiteX0" fmla="*/ 11620 w 11620"/>
                      <a:gd name="connsiteY0" fmla="*/ 5810 h 11620"/>
                      <a:gd name="connsiteX1" fmla="*/ 5810 w 11620"/>
                      <a:gd name="connsiteY1" fmla="*/ 11620 h 11620"/>
                      <a:gd name="connsiteX2" fmla="*/ 0 w 11620"/>
                      <a:gd name="connsiteY2" fmla="*/ 5810 h 11620"/>
                      <a:gd name="connsiteX3" fmla="*/ 5810 w 11620"/>
                      <a:gd name="connsiteY3" fmla="*/ 0 h 11620"/>
                      <a:gd name="connsiteX4" fmla="*/ 11620 w 11620"/>
                      <a:gd name="connsiteY4" fmla="*/ 5810 h 116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620" h="11620">
                        <a:moveTo>
                          <a:pt x="11620" y="5810"/>
                        </a:moveTo>
                        <a:cubicBezTo>
                          <a:pt x="11620" y="9019"/>
                          <a:pt x="9019" y="11620"/>
                          <a:pt x="5810" y="11620"/>
                        </a:cubicBezTo>
                        <a:cubicBezTo>
                          <a:pt x="2601" y="11620"/>
                          <a:pt x="0" y="9019"/>
                          <a:pt x="0" y="5810"/>
                        </a:cubicBezTo>
                        <a:cubicBezTo>
                          <a:pt x="0" y="2601"/>
                          <a:pt x="2601" y="0"/>
                          <a:pt x="5810" y="0"/>
                        </a:cubicBezTo>
                        <a:cubicBezTo>
                          <a:pt x="9019" y="0"/>
                          <a:pt x="11620" y="2601"/>
                          <a:pt x="11620" y="5810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77" name="Freeform: Shape 3220">
                    <a:extLst>
                      <a:ext uri="{FF2B5EF4-FFF2-40B4-BE49-F238E27FC236}">
                        <a16:creationId xmlns:a16="http://schemas.microsoft.com/office/drawing/2014/main" id="{78A76D89-F2C8-7413-0425-D096A51AE1BB}"/>
                      </a:ext>
                    </a:extLst>
                  </p:cNvPr>
                  <p:cNvSpPr/>
                  <p:nvPr/>
                </p:nvSpPr>
                <p:spPr>
                  <a:xfrm>
                    <a:off x="3813387" y="2406260"/>
                    <a:ext cx="7810" cy="7810"/>
                  </a:xfrm>
                  <a:custGeom>
                    <a:avLst/>
                    <a:gdLst>
                      <a:gd name="connsiteX0" fmla="*/ 7811 w 7810"/>
                      <a:gd name="connsiteY0" fmla="*/ 3905 h 7810"/>
                      <a:gd name="connsiteX1" fmla="*/ 3905 w 7810"/>
                      <a:gd name="connsiteY1" fmla="*/ 7810 h 7810"/>
                      <a:gd name="connsiteX2" fmla="*/ 0 w 7810"/>
                      <a:gd name="connsiteY2" fmla="*/ 3905 h 7810"/>
                      <a:gd name="connsiteX3" fmla="*/ 3905 w 7810"/>
                      <a:gd name="connsiteY3" fmla="*/ 0 h 7810"/>
                      <a:gd name="connsiteX4" fmla="*/ 7811 w 7810"/>
                      <a:gd name="connsiteY4" fmla="*/ 3905 h 78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810" h="7810">
                        <a:moveTo>
                          <a:pt x="7811" y="3905"/>
                        </a:moveTo>
                        <a:cubicBezTo>
                          <a:pt x="7811" y="6062"/>
                          <a:pt x="6062" y="7810"/>
                          <a:pt x="3905" y="7810"/>
                        </a:cubicBezTo>
                        <a:cubicBezTo>
                          <a:pt x="1748" y="7810"/>
                          <a:pt x="0" y="6062"/>
                          <a:pt x="0" y="3905"/>
                        </a:cubicBezTo>
                        <a:cubicBezTo>
                          <a:pt x="0" y="1748"/>
                          <a:pt x="1748" y="0"/>
                          <a:pt x="3905" y="0"/>
                        </a:cubicBezTo>
                        <a:cubicBezTo>
                          <a:pt x="6062" y="0"/>
                          <a:pt x="7811" y="1748"/>
                          <a:pt x="7811" y="3905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78" name="Freeform: Shape 3221">
                    <a:extLst>
                      <a:ext uri="{FF2B5EF4-FFF2-40B4-BE49-F238E27FC236}">
                        <a16:creationId xmlns:a16="http://schemas.microsoft.com/office/drawing/2014/main" id="{C04024CA-E480-D693-00EB-B775EED469B4}"/>
                      </a:ext>
                    </a:extLst>
                  </p:cNvPr>
                  <p:cNvSpPr/>
                  <p:nvPr/>
                </p:nvSpPr>
                <p:spPr>
                  <a:xfrm>
                    <a:off x="3734330" y="2374256"/>
                    <a:ext cx="7810" cy="7810"/>
                  </a:xfrm>
                  <a:custGeom>
                    <a:avLst/>
                    <a:gdLst>
                      <a:gd name="connsiteX0" fmla="*/ 7811 w 7810"/>
                      <a:gd name="connsiteY0" fmla="*/ 3905 h 7810"/>
                      <a:gd name="connsiteX1" fmla="*/ 3905 w 7810"/>
                      <a:gd name="connsiteY1" fmla="*/ 7811 h 7810"/>
                      <a:gd name="connsiteX2" fmla="*/ 0 w 7810"/>
                      <a:gd name="connsiteY2" fmla="*/ 3905 h 7810"/>
                      <a:gd name="connsiteX3" fmla="*/ 3905 w 7810"/>
                      <a:gd name="connsiteY3" fmla="*/ 0 h 7810"/>
                      <a:gd name="connsiteX4" fmla="*/ 7811 w 7810"/>
                      <a:gd name="connsiteY4" fmla="*/ 3905 h 78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810" h="7810">
                        <a:moveTo>
                          <a:pt x="7811" y="3905"/>
                        </a:moveTo>
                        <a:cubicBezTo>
                          <a:pt x="7811" y="6062"/>
                          <a:pt x="6062" y="7811"/>
                          <a:pt x="3905" y="7811"/>
                        </a:cubicBezTo>
                        <a:cubicBezTo>
                          <a:pt x="1748" y="7811"/>
                          <a:pt x="0" y="6062"/>
                          <a:pt x="0" y="3905"/>
                        </a:cubicBezTo>
                        <a:cubicBezTo>
                          <a:pt x="0" y="1748"/>
                          <a:pt x="1748" y="0"/>
                          <a:pt x="3905" y="0"/>
                        </a:cubicBezTo>
                        <a:cubicBezTo>
                          <a:pt x="6062" y="0"/>
                          <a:pt x="7811" y="1748"/>
                          <a:pt x="7811" y="3905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79" name="Freeform: Shape 3222">
                    <a:extLst>
                      <a:ext uri="{FF2B5EF4-FFF2-40B4-BE49-F238E27FC236}">
                        <a16:creationId xmlns:a16="http://schemas.microsoft.com/office/drawing/2014/main" id="{4FD720A7-3855-A70E-3101-1C545E5C5089}"/>
                      </a:ext>
                    </a:extLst>
                  </p:cNvPr>
                  <p:cNvSpPr/>
                  <p:nvPr/>
                </p:nvSpPr>
                <p:spPr>
                  <a:xfrm>
                    <a:off x="3841962" y="2467601"/>
                    <a:ext cx="11620" cy="11620"/>
                  </a:xfrm>
                  <a:custGeom>
                    <a:avLst/>
                    <a:gdLst>
                      <a:gd name="connsiteX0" fmla="*/ 11621 w 11620"/>
                      <a:gd name="connsiteY0" fmla="*/ 5810 h 11620"/>
                      <a:gd name="connsiteX1" fmla="*/ 5810 w 11620"/>
                      <a:gd name="connsiteY1" fmla="*/ 11620 h 11620"/>
                      <a:gd name="connsiteX2" fmla="*/ 0 w 11620"/>
                      <a:gd name="connsiteY2" fmla="*/ 5810 h 11620"/>
                      <a:gd name="connsiteX3" fmla="*/ 5810 w 11620"/>
                      <a:gd name="connsiteY3" fmla="*/ 0 h 11620"/>
                      <a:gd name="connsiteX4" fmla="*/ 11621 w 11620"/>
                      <a:gd name="connsiteY4" fmla="*/ 5810 h 116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620" h="11620">
                        <a:moveTo>
                          <a:pt x="11621" y="5810"/>
                        </a:moveTo>
                        <a:cubicBezTo>
                          <a:pt x="11621" y="9019"/>
                          <a:pt x="9019" y="11620"/>
                          <a:pt x="5810" y="11620"/>
                        </a:cubicBezTo>
                        <a:cubicBezTo>
                          <a:pt x="2601" y="11620"/>
                          <a:pt x="0" y="9019"/>
                          <a:pt x="0" y="5810"/>
                        </a:cubicBezTo>
                        <a:cubicBezTo>
                          <a:pt x="0" y="2601"/>
                          <a:pt x="2601" y="0"/>
                          <a:pt x="5810" y="0"/>
                        </a:cubicBezTo>
                        <a:cubicBezTo>
                          <a:pt x="9019" y="0"/>
                          <a:pt x="11621" y="2601"/>
                          <a:pt x="11621" y="5810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80" name="Freeform: Shape 3223">
                    <a:extLst>
                      <a:ext uri="{FF2B5EF4-FFF2-40B4-BE49-F238E27FC236}">
                        <a16:creationId xmlns:a16="http://schemas.microsoft.com/office/drawing/2014/main" id="{F75838E1-C5ED-0CBD-1F91-17DAD75CE758}"/>
                      </a:ext>
                    </a:extLst>
                  </p:cNvPr>
                  <p:cNvSpPr/>
                  <p:nvPr/>
                </p:nvSpPr>
                <p:spPr>
                  <a:xfrm>
                    <a:off x="3801100" y="2463696"/>
                    <a:ext cx="11620" cy="11620"/>
                  </a:xfrm>
                  <a:custGeom>
                    <a:avLst/>
                    <a:gdLst>
                      <a:gd name="connsiteX0" fmla="*/ 11620 w 11620"/>
                      <a:gd name="connsiteY0" fmla="*/ 5810 h 11620"/>
                      <a:gd name="connsiteX1" fmla="*/ 5810 w 11620"/>
                      <a:gd name="connsiteY1" fmla="*/ 11621 h 11620"/>
                      <a:gd name="connsiteX2" fmla="*/ 0 w 11620"/>
                      <a:gd name="connsiteY2" fmla="*/ 5810 h 11620"/>
                      <a:gd name="connsiteX3" fmla="*/ 5810 w 11620"/>
                      <a:gd name="connsiteY3" fmla="*/ 0 h 11620"/>
                      <a:gd name="connsiteX4" fmla="*/ 11620 w 11620"/>
                      <a:gd name="connsiteY4" fmla="*/ 5810 h 116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620" h="11620">
                        <a:moveTo>
                          <a:pt x="11620" y="5810"/>
                        </a:moveTo>
                        <a:cubicBezTo>
                          <a:pt x="11620" y="9019"/>
                          <a:pt x="9019" y="11621"/>
                          <a:pt x="5810" y="11621"/>
                        </a:cubicBezTo>
                        <a:cubicBezTo>
                          <a:pt x="2601" y="11621"/>
                          <a:pt x="0" y="9019"/>
                          <a:pt x="0" y="5810"/>
                        </a:cubicBezTo>
                        <a:cubicBezTo>
                          <a:pt x="0" y="2601"/>
                          <a:pt x="2601" y="0"/>
                          <a:pt x="5810" y="0"/>
                        </a:cubicBezTo>
                        <a:cubicBezTo>
                          <a:pt x="9019" y="0"/>
                          <a:pt x="11620" y="2601"/>
                          <a:pt x="11620" y="5810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81" name="Freeform: Shape 3224">
                    <a:extLst>
                      <a:ext uri="{FF2B5EF4-FFF2-40B4-BE49-F238E27FC236}">
                        <a16:creationId xmlns:a16="http://schemas.microsoft.com/office/drawing/2014/main" id="{9F3345F7-4302-7A62-98CD-E5B8061F4FD9}"/>
                      </a:ext>
                    </a:extLst>
                  </p:cNvPr>
                  <p:cNvSpPr/>
                  <p:nvPr/>
                </p:nvSpPr>
                <p:spPr>
                  <a:xfrm>
                    <a:off x="3735758" y="2471507"/>
                    <a:ext cx="26098" cy="26098"/>
                  </a:xfrm>
                  <a:custGeom>
                    <a:avLst/>
                    <a:gdLst>
                      <a:gd name="connsiteX0" fmla="*/ 26098 w 26098"/>
                      <a:gd name="connsiteY0" fmla="*/ 13049 h 26098"/>
                      <a:gd name="connsiteX1" fmla="*/ 13049 w 26098"/>
                      <a:gd name="connsiteY1" fmla="*/ 26099 h 26098"/>
                      <a:gd name="connsiteX2" fmla="*/ 0 w 26098"/>
                      <a:gd name="connsiteY2" fmla="*/ 13049 h 26098"/>
                      <a:gd name="connsiteX3" fmla="*/ 13049 w 26098"/>
                      <a:gd name="connsiteY3" fmla="*/ 0 h 26098"/>
                      <a:gd name="connsiteX4" fmla="*/ 26098 w 26098"/>
                      <a:gd name="connsiteY4" fmla="*/ 13049 h 260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6098" h="26098">
                        <a:moveTo>
                          <a:pt x="26098" y="13049"/>
                        </a:moveTo>
                        <a:cubicBezTo>
                          <a:pt x="26098" y="20256"/>
                          <a:pt x="20256" y="26099"/>
                          <a:pt x="13049" y="26099"/>
                        </a:cubicBezTo>
                        <a:cubicBezTo>
                          <a:pt x="5842" y="26099"/>
                          <a:pt x="0" y="20256"/>
                          <a:pt x="0" y="13049"/>
                        </a:cubicBezTo>
                        <a:cubicBezTo>
                          <a:pt x="0" y="5842"/>
                          <a:pt x="5842" y="0"/>
                          <a:pt x="13049" y="0"/>
                        </a:cubicBezTo>
                        <a:cubicBezTo>
                          <a:pt x="20256" y="0"/>
                          <a:pt x="26098" y="5842"/>
                          <a:pt x="26098" y="13049"/>
                        </a:cubicBezTo>
                        <a:close/>
                      </a:path>
                    </a:pathLst>
                  </a:custGeom>
                  <a:solidFill>
                    <a:srgbClr val="5B6C10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</p:grpSp>
          <p:sp>
            <p:nvSpPr>
              <p:cNvPr id="986" name="TextBox 985">
                <a:extLst>
                  <a:ext uri="{FF2B5EF4-FFF2-40B4-BE49-F238E27FC236}">
                    <a16:creationId xmlns:a16="http://schemas.microsoft.com/office/drawing/2014/main" id="{DF12D0DB-F7B4-6605-E5E4-A3C2EF24EF91}"/>
                  </a:ext>
                </a:extLst>
              </p:cNvPr>
              <p:cNvSpPr txBox="1"/>
              <p:nvPr/>
            </p:nvSpPr>
            <p:spPr>
              <a:xfrm>
                <a:off x="1067380" y="4886045"/>
                <a:ext cx="504090" cy="9590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defRPr/>
                </a:pPr>
                <a:r>
                  <a:rPr lang="en-US" sz="900" b="1" kern="0">
                    <a:solidFill>
                      <a:srgbClr val="595959">
                        <a:lumMod val="75000"/>
                      </a:srgbClr>
                    </a:solidFill>
                    <a:latin typeface="Arial" panose="020B0604020202020204"/>
                    <a:cs typeface="Arial" panose="020B0604020202020204" pitchFamily="34" charset="0"/>
                  </a:rPr>
                  <a:t>Epithelial cell</a:t>
                </a:r>
              </a:p>
            </p:txBody>
          </p:sp>
          <p:grpSp>
            <p:nvGrpSpPr>
              <p:cNvPr id="987" name="Group 986">
                <a:extLst>
                  <a:ext uri="{FF2B5EF4-FFF2-40B4-BE49-F238E27FC236}">
                    <a16:creationId xmlns:a16="http://schemas.microsoft.com/office/drawing/2014/main" id="{549D34AC-BFBD-3296-52B4-E69E65ED3469}"/>
                  </a:ext>
                </a:extLst>
              </p:cNvPr>
              <p:cNvGrpSpPr/>
              <p:nvPr/>
            </p:nvGrpSpPr>
            <p:grpSpPr>
              <a:xfrm rot="1994610">
                <a:off x="2958148" y="3603656"/>
                <a:ext cx="215626" cy="61923"/>
                <a:chOff x="9602406" y="4324350"/>
                <a:chExt cx="925894" cy="244781"/>
              </a:xfrm>
            </p:grpSpPr>
            <p:sp>
              <p:nvSpPr>
                <p:cNvPr id="988" name="Freeform: Shape 3207">
                  <a:extLst>
                    <a:ext uri="{FF2B5EF4-FFF2-40B4-BE49-F238E27FC236}">
                      <a16:creationId xmlns:a16="http://schemas.microsoft.com/office/drawing/2014/main" id="{E2C1C239-20DB-FD2F-BE1C-8E56E15A27B7}"/>
                    </a:ext>
                  </a:extLst>
                </p:cNvPr>
                <p:cNvSpPr/>
                <p:nvPr/>
              </p:nvSpPr>
              <p:spPr>
                <a:xfrm>
                  <a:off x="9602406" y="4324350"/>
                  <a:ext cx="925894" cy="244781"/>
                </a:xfrm>
                <a:custGeom>
                  <a:avLst/>
                  <a:gdLst>
                    <a:gd name="connsiteX0" fmla="*/ 21019 w 925894"/>
                    <a:gd name="connsiteY0" fmla="*/ 215900 h 244781"/>
                    <a:gd name="connsiteX1" fmla="*/ 21019 w 925894"/>
                    <a:gd name="connsiteY1" fmla="*/ 215900 h 244781"/>
                    <a:gd name="connsiteX2" fmla="*/ 109919 w 925894"/>
                    <a:gd name="connsiteY2" fmla="*/ 228600 h 244781"/>
                    <a:gd name="connsiteX3" fmla="*/ 163894 w 925894"/>
                    <a:gd name="connsiteY3" fmla="*/ 234950 h 244781"/>
                    <a:gd name="connsiteX4" fmla="*/ 186119 w 925894"/>
                    <a:gd name="connsiteY4" fmla="*/ 238125 h 244781"/>
                    <a:gd name="connsiteX5" fmla="*/ 459169 w 925894"/>
                    <a:gd name="connsiteY5" fmla="*/ 241300 h 244781"/>
                    <a:gd name="connsiteX6" fmla="*/ 716344 w 925894"/>
                    <a:gd name="connsiteY6" fmla="*/ 241300 h 244781"/>
                    <a:gd name="connsiteX7" fmla="*/ 779844 w 925894"/>
                    <a:gd name="connsiteY7" fmla="*/ 231775 h 244781"/>
                    <a:gd name="connsiteX8" fmla="*/ 805244 w 925894"/>
                    <a:gd name="connsiteY8" fmla="*/ 228600 h 244781"/>
                    <a:gd name="connsiteX9" fmla="*/ 849694 w 925894"/>
                    <a:gd name="connsiteY9" fmla="*/ 222250 h 244781"/>
                    <a:gd name="connsiteX10" fmla="*/ 875094 w 925894"/>
                    <a:gd name="connsiteY10" fmla="*/ 215900 h 244781"/>
                    <a:gd name="connsiteX11" fmla="*/ 884619 w 925894"/>
                    <a:gd name="connsiteY11" fmla="*/ 212725 h 244781"/>
                    <a:gd name="connsiteX12" fmla="*/ 910019 w 925894"/>
                    <a:gd name="connsiteY12" fmla="*/ 203200 h 244781"/>
                    <a:gd name="connsiteX13" fmla="*/ 925894 w 925894"/>
                    <a:gd name="connsiteY13" fmla="*/ 184150 h 244781"/>
                    <a:gd name="connsiteX14" fmla="*/ 824294 w 925894"/>
                    <a:gd name="connsiteY14" fmla="*/ 174625 h 244781"/>
                    <a:gd name="connsiteX15" fmla="*/ 789369 w 925894"/>
                    <a:gd name="connsiteY15" fmla="*/ 155575 h 244781"/>
                    <a:gd name="connsiteX16" fmla="*/ 776669 w 925894"/>
                    <a:gd name="connsiteY16" fmla="*/ 152400 h 244781"/>
                    <a:gd name="connsiteX17" fmla="*/ 767144 w 925894"/>
                    <a:gd name="connsiteY17" fmla="*/ 142875 h 244781"/>
                    <a:gd name="connsiteX18" fmla="*/ 757619 w 925894"/>
                    <a:gd name="connsiteY18" fmla="*/ 136525 h 244781"/>
                    <a:gd name="connsiteX19" fmla="*/ 751269 w 925894"/>
                    <a:gd name="connsiteY19" fmla="*/ 127000 h 244781"/>
                    <a:gd name="connsiteX20" fmla="*/ 735394 w 925894"/>
                    <a:gd name="connsiteY20" fmla="*/ 114300 h 244781"/>
                    <a:gd name="connsiteX21" fmla="*/ 716344 w 925894"/>
                    <a:gd name="connsiteY21" fmla="*/ 95250 h 244781"/>
                    <a:gd name="connsiteX22" fmla="*/ 697294 w 925894"/>
                    <a:gd name="connsiteY22" fmla="*/ 82550 h 244781"/>
                    <a:gd name="connsiteX23" fmla="*/ 687769 w 925894"/>
                    <a:gd name="connsiteY23" fmla="*/ 73025 h 244781"/>
                    <a:gd name="connsiteX24" fmla="*/ 671894 w 925894"/>
                    <a:gd name="connsiteY24" fmla="*/ 63500 h 244781"/>
                    <a:gd name="connsiteX25" fmla="*/ 652844 w 925894"/>
                    <a:gd name="connsiteY25" fmla="*/ 50800 h 244781"/>
                    <a:gd name="connsiteX26" fmla="*/ 640144 w 925894"/>
                    <a:gd name="connsiteY26" fmla="*/ 44450 h 244781"/>
                    <a:gd name="connsiteX27" fmla="*/ 627444 w 925894"/>
                    <a:gd name="connsiteY27" fmla="*/ 34925 h 244781"/>
                    <a:gd name="connsiteX28" fmla="*/ 617919 w 925894"/>
                    <a:gd name="connsiteY28" fmla="*/ 31750 h 244781"/>
                    <a:gd name="connsiteX29" fmla="*/ 589344 w 925894"/>
                    <a:gd name="connsiteY29" fmla="*/ 12700 h 244781"/>
                    <a:gd name="connsiteX30" fmla="*/ 570294 w 925894"/>
                    <a:gd name="connsiteY30" fmla="*/ 6350 h 244781"/>
                    <a:gd name="connsiteX31" fmla="*/ 541719 w 925894"/>
                    <a:gd name="connsiteY31" fmla="*/ 3175 h 244781"/>
                    <a:gd name="connsiteX32" fmla="*/ 522669 w 925894"/>
                    <a:gd name="connsiteY32" fmla="*/ 0 h 244781"/>
                    <a:gd name="connsiteX33" fmla="*/ 398844 w 925894"/>
                    <a:gd name="connsiteY33" fmla="*/ 3175 h 244781"/>
                    <a:gd name="connsiteX34" fmla="*/ 370269 w 925894"/>
                    <a:gd name="connsiteY34" fmla="*/ 15875 h 244781"/>
                    <a:gd name="connsiteX35" fmla="*/ 354394 w 925894"/>
                    <a:gd name="connsiteY35" fmla="*/ 22225 h 244781"/>
                    <a:gd name="connsiteX36" fmla="*/ 344869 w 925894"/>
                    <a:gd name="connsiteY36" fmla="*/ 28575 h 244781"/>
                    <a:gd name="connsiteX37" fmla="*/ 319469 w 925894"/>
                    <a:gd name="connsiteY37" fmla="*/ 41275 h 244781"/>
                    <a:gd name="connsiteX38" fmla="*/ 303594 w 925894"/>
                    <a:gd name="connsiteY38" fmla="*/ 47625 h 244781"/>
                    <a:gd name="connsiteX39" fmla="*/ 290894 w 925894"/>
                    <a:gd name="connsiteY39" fmla="*/ 57150 h 244781"/>
                    <a:gd name="connsiteX40" fmla="*/ 265494 w 925894"/>
                    <a:gd name="connsiteY40" fmla="*/ 69850 h 244781"/>
                    <a:gd name="connsiteX41" fmla="*/ 249619 w 925894"/>
                    <a:gd name="connsiteY41" fmla="*/ 79375 h 244781"/>
                    <a:gd name="connsiteX42" fmla="*/ 211519 w 925894"/>
                    <a:gd name="connsiteY42" fmla="*/ 104775 h 244781"/>
                    <a:gd name="connsiteX43" fmla="*/ 195644 w 925894"/>
                    <a:gd name="connsiteY43" fmla="*/ 117475 h 244781"/>
                    <a:gd name="connsiteX44" fmla="*/ 179769 w 925894"/>
                    <a:gd name="connsiteY44" fmla="*/ 127000 h 244781"/>
                    <a:gd name="connsiteX45" fmla="*/ 167069 w 925894"/>
                    <a:gd name="connsiteY45" fmla="*/ 139700 h 244781"/>
                    <a:gd name="connsiteX46" fmla="*/ 151194 w 925894"/>
                    <a:gd name="connsiteY46" fmla="*/ 146050 h 244781"/>
                    <a:gd name="connsiteX47" fmla="*/ 138494 w 925894"/>
                    <a:gd name="connsiteY47" fmla="*/ 152400 h 244781"/>
                    <a:gd name="connsiteX48" fmla="*/ 122619 w 925894"/>
                    <a:gd name="connsiteY48" fmla="*/ 158750 h 244781"/>
                    <a:gd name="connsiteX49" fmla="*/ 113094 w 925894"/>
                    <a:gd name="connsiteY49" fmla="*/ 165100 h 244781"/>
                    <a:gd name="connsiteX50" fmla="*/ 46419 w 925894"/>
                    <a:gd name="connsiteY50" fmla="*/ 171450 h 244781"/>
                    <a:gd name="connsiteX51" fmla="*/ 36894 w 925894"/>
                    <a:gd name="connsiteY51" fmla="*/ 174625 h 244781"/>
                    <a:gd name="connsiteX52" fmla="*/ 11494 w 925894"/>
                    <a:gd name="connsiteY52" fmla="*/ 180975 h 244781"/>
                    <a:gd name="connsiteX53" fmla="*/ 5144 w 925894"/>
                    <a:gd name="connsiteY53" fmla="*/ 209550 h 244781"/>
                    <a:gd name="connsiteX54" fmla="*/ 27369 w 925894"/>
                    <a:gd name="connsiteY54" fmla="*/ 219075 h 244781"/>
                    <a:gd name="connsiteX55" fmla="*/ 21019 w 925894"/>
                    <a:gd name="connsiteY55" fmla="*/ 215900 h 2447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</a:cxnLst>
                  <a:rect l="l" t="t" r="r" b="b"/>
                  <a:pathLst>
                    <a:path w="925894" h="244781">
                      <a:moveTo>
                        <a:pt x="21019" y="215900"/>
                      </a:moveTo>
                      <a:lnTo>
                        <a:pt x="21019" y="215900"/>
                      </a:lnTo>
                      <a:cubicBezTo>
                        <a:pt x="105946" y="230887"/>
                        <a:pt x="44361" y="221576"/>
                        <a:pt x="109919" y="228600"/>
                      </a:cubicBezTo>
                      <a:cubicBezTo>
                        <a:pt x="127932" y="230530"/>
                        <a:pt x="145918" y="232703"/>
                        <a:pt x="163894" y="234950"/>
                      </a:cubicBezTo>
                      <a:cubicBezTo>
                        <a:pt x="171320" y="235878"/>
                        <a:pt x="178637" y="237964"/>
                        <a:pt x="186119" y="238125"/>
                      </a:cubicBezTo>
                      <a:lnTo>
                        <a:pt x="459169" y="241300"/>
                      </a:lnTo>
                      <a:cubicBezTo>
                        <a:pt x="557346" y="244027"/>
                        <a:pt x="615030" y="247535"/>
                        <a:pt x="716344" y="241300"/>
                      </a:cubicBezTo>
                      <a:cubicBezTo>
                        <a:pt x="737707" y="239985"/>
                        <a:pt x="758656" y="234802"/>
                        <a:pt x="779844" y="231775"/>
                      </a:cubicBezTo>
                      <a:cubicBezTo>
                        <a:pt x="788291" y="230568"/>
                        <a:pt x="796797" y="229807"/>
                        <a:pt x="805244" y="228600"/>
                      </a:cubicBezTo>
                      <a:cubicBezTo>
                        <a:pt x="869332" y="219445"/>
                        <a:pt x="769366" y="232291"/>
                        <a:pt x="849694" y="222250"/>
                      </a:cubicBezTo>
                      <a:cubicBezTo>
                        <a:pt x="871467" y="214992"/>
                        <a:pt x="844443" y="223563"/>
                        <a:pt x="875094" y="215900"/>
                      </a:cubicBezTo>
                      <a:cubicBezTo>
                        <a:pt x="878341" y="215088"/>
                        <a:pt x="881401" y="213644"/>
                        <a:pt x="884619" y="212725"/>
                      </a:cubicBezTo>
                      <a:cubicBezTo>
                        <a:pt x="895698" y="209560"/>
                        <a:pt x="900155" y="210246"/>
                        <a:pt x="910019" y="203200"/>
                      </a:cubicBezTo>
                      <a:cubicBezTo>
                        <a:pt x="917797" y="197644"/>
                        <a:pt x="920831" y="191745"/>
                        <a:pt x="925894" y="184150"/>
                      </a:cubicBezTo>
                      <a:cubicBezTo>
                        <a:pt x="888561" y="159261"/>
                        <a:pt x="938340" y="190037"/>
                        <a:pt x="824294" y="174625"/>
                      </a:cubicBezTo>
                      <a:cubicBezTo>
                        <a:pt x="796282" y="170840"/>
                        <a:pt x="806447" y="162894"/>
                        <a:pt x="789369" y="155575"/>
                      </a:cubicBezTo>
                      <a:cubicBezTo>
                        <a:pt x="785358" y="153856"/>
                        <a:pt x="780902" y="153458"/>
                        <a:pt x="776669" y="152400"/>
                      </a:cubicBezTo>
                      <a:cubicBezTo>
                        <a:pt x="773494" y="149225"/>
                        <a:pt x="770593" y="145750"/>
                        <a:pt x="767144" y="142875"/>
                      </a:cubicBezTo>
                      <a:cubicBezTo>
                        <a:pt x="764213" y="140432"/>
                        <a:pt x="760317" y="139223"/>
                        <a:pt x="757619" y="136525"/>
                      </a:cubicBezTo>
                      <a:cubicBezTo>
                        <a:pt x="754921" y="133827"/>
                        <a:pt x="753967" y="129698"/>
                        <a:pt x="751269" y="127000"/>
                      </a:cubicBezTo>
                      <a:cubicBezTo>
                        <a:pt x="746477" y="122208"/>
                        <a:pt x="740408" y="118858"/>
                        <a:pt x="735394" y="114300"/>
                      </a:cubicBezTo>
                      <a:cubicBezTo>
                        <a:pt x="728749" y="108259"/>
                        <a:pt x="723816" y="100231"/>
                        <a:pt x="716344" y="95250"/>
                      </a:cubicBezTo>
                      <a:cubicBezTo>
                        <a:pt x="709994" y="91017"/>
                        <a:pt x="702690" y="87946"/>
                        <a:pt x="697294" y="82550"/>
                      </a:cubicBezTo>
                      <a:cubicBezTo>
                        <a:pt x="694119" y="79375"/>
                        <a:pt x="691361" y="75719"/>
                        <a:pt x="687769" y="73025"/>
                      </a:cubicBezTo>
                      <a:cubicBezTo>
                        <a:pt x="682832" y="69322"/>
                        <a:pt x="677100" y="66813"/>
                        <a:pt x="671894" y="63500"/>
                      </a:cubicBezTo>
                      <a:cubicBezTo>
                        <a:pt x="665455" y="59403"/>
                        <a:pt x="659670" y="54213"/>
                        <a:pt x="652844" y="50800"/>
                      </a:cubicBezTo>
                      <a:cubicBezTo>
                        <a:pt x="648611" y="48683"/>
                        <a:pt x="644158" y="46958"/>
                        <a:pt x="640144" y="44450"/>
                      </a:cubicBezTo>
                      <a:cubicBezTo>
                        <a:pt x="635657" y="41645"/>
                        <a:pt x="632038" y="37550"/>
                        <a:pt x="627444" y="34925"/>
                      </a:cubicBezTo>
                      <a:cubicBezTo>
                        <a:pt x="624538" y="33265"/>
                        <a:pt x="620810" y="33436"/>
                        <a:pt x="617919" y="31750"/>
                      </a:cubicBezTo>
                      <a:cubicBezTo>
                        <a:pt x="608031" y="25982"/>
                        <a:pt x="600204" y="16320"/>
                        <a:pt x="589344" y="12700"/>
                      </a:cubicBezTo>
                      <a:cubicBezTo>
                        <a:pt x="582994" y="10583"/>
                        <a:pt x="576858" y="7663"/>
                        <a:pt x="570294" y="6350"/>
                      </a:cubicBezTo>
                      <a:cubicBezTo>
                        <a:pt x="560896" y="4470"/>
                        <a:pt x="551219" y="4442"/>
                        <a:pt x="541719" y="3175"/>
                      </a:cubicBezTo>
                      <a:cubicBezTo>
                        <a:pt x="535338" y="2324"/>
                        <a:pt x="529019" y="1058"/>
                        <a:pt x="522669" y="0"/>
                      </a:cubicBezTo>
                      <a:cubicBezTo>
                        <a:pt x="481394" y="1058"/>
                        <a:pt x="440041" y="429"/>
                        <a:pt x="398844" y="3175"/>
                      </a:cubicBezTo>
                      <a:cubicBezTo>
                        <a:pt x="379941" y="4435"/>
                        <a:pt x="383216" y="9402"/>
                        <a:pt x="370269" y="15875"/>
                      </a:cubicBezTo>
                      <a:cubicBezTo>
                        <a:pt x="365171" y="18424"/>
                        <a:pt x="359492" y="19676"/>
                        <a:pt x="354394" y="22225"/>
                      </a:cubicBezTo>
                      <a:cubicBezTo>
                        <a:pt x="350981" y="23932"/>
                        <a:pt x="348219" y="26748"/>
                        <a:pt x="344869" y="28575"/>
                      </a:cubicBezTo>
                      <a:cubicBezTo>
                        <a:pt x="336559" y="33108"/>
                        <a:pt x="328258" y="37759"/>
                        <a:pt x="319469" y="41275"/>
                      </a:cubicBezTo>
                      <a:cubicBezTo>
                        <a:pt x="314177" y="43392"/>
                        <a:pt x="308576" y="44857"/>
                        <a:pt x="303594" y="47625"/>
                      </a:cubicBezTo>
                      <a:cubicBezTo>
                        <a:pt x="298968" y="50195"/>
                        <a:pt x="295465" y="54484"/>
                        <a:pt x="290894" y="57150"/>
                      </a:cubicBezTo>
                      <a:cubicBezTo>
                        <a:pt x="282717" y="61920"/>
                        <a:pt x="273611" y="64980"/>
                        <a:pt x="265494" y="69850"/>
                      </a:cubicBezTo>
                      <a:cubicBezTo>
                        <a:pt x="260202" y="73025"/>
                        <a:pt x="254641" y="75788"/>
                        <a:pt x="249619" y="79375"/>
                      </a:cubicBezTo>
                      <a:cubicBezTo>
                        <a:pt x="213199" y="105389"/>
                        <a:pt x="233935" y="97303"/>
                        <a:pt x="211519" y="104775"/>
                      </a:cubicBezTo>
                      <a:cubicBezTo>
                        <a:pt x="206227" y="109008"/>
                        <a:pt x="201196" y="113589"/>
                        <a:pt x="195644" y="117475"/>
                      </a:cubicBezTo>
                      <a:cubicBezTo>
                        <a:pt x="190588" y="121014"/>
                        <a:pt x="184640" y="123211"/>
                        <a:pt x="179769" y="127000"/>
                      </a:cubicBezTo>
                      <a:cubicBezTo>
                        <a:pt x="175043" y="130676"/>
                        <a:pt x="172050" y="136379"/>
                        <a:pt x="167069" y="139700"/>
                      </a:cubicBezTo>
                      <a:cubicBezTo>
                        <a:pt x="162327" y="142861"/>
                        <a:pt x="156402" y="143735"/>
                        <a:pt x="151194" y="146050"/>
                      </a:cubicBezTo>
                      <a:cubicBezTo>
                        <a:pt x="146869" y="147972"/>
                        <a:pt x="142819" y="150478"/>
                        <a:pt x="138494" y="152400"/>
                      </a:cubicBezTo>
                      <a:cubicBezTo>
                        <a:pt x="133286" y="154715"/>
                        <a:pt x="127717" y="156201"/>
                        <a:pt x="122619" y="158750"/>
                      </a:cubicBezTo>
                      <a:cubicBezTo>
                        <a:pt x="119206" y="160457"/>
                        <a:pt x="116714" y="163893"/>
                        <a:pt x="113094" y="165100"/>
                      </a:cubicBezTo>
                      <a:cubicBezTo>
                        <a:pt x="100065" y="169443"/>
                        <a:pt x="46800" y="171425"/>
                        <a:pt x="46419" y="171450"/>
                      </a:cubicBezTo>
                      <a:cubicBezTo>
                        <a:pt x="43244" y="172508"/>
                        <a:pt x="40123" y="173744"/>
                        <a:pt x="36894" y="174625"/>
                      </a:cubicBezTo>
                      <a:cubicBezTo>
                        <a:pt x="28474" y="176921"/>
                        <a:pt x="11494" y="180975"/>
                        <a:pt x="11494" y="180975"/>
                      </a:cubicBezTo>
                      <a:cubicBezTo>
                        <a:pt x="2036" y="190433"/>
                        <a:pt x="-5391" y="192693"/>
                        <a:pt x="5144" y="209550"/>
                      </a:cubicBezTo>
                      <a:cubicBezTo>
                        <a:pt x="6985" y="212495"/>
                        <a:pt x="23149" y="217869"/>
                        <a:pt x="27369" y="219075"/>
                      </a:cubicBezTo>
                      <a:cubicBezTo>
                        <a:pt x="31565" y="220274"/>
                        <a:pt x="22077" y="216429"/>
                        <a:pt x="21019" y="215900"/>
                      </a:cubicBezTo>
                      <a:close/>
                    </a:path>
                  </a:pathLst>
                </a:custGeom>
                <a:solidFill>
                  <a:srgbClr val="B5D820"/>
                </a:solidFill>
                <a:ln w="12700" cap="flat" cmpd="sng" algn="ctr">
                  <a:solidFill>
                    <a:srgbClr val="B5D820">
                      <a:lumMod val="75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>
                    <a:defRPr/>
                  </a:pPr>
                  <a:endParaRPr lang="en-US" kern="0">
                    <a:solidFill>
                      <a:srgbClr val="FFFFFF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989" name="Oval 988">
                  <a:extLst>
                    <a:ext uri="{FF2B5EF4-FFF2-40B4-BE49-F238E27FC236}">
                      <a16:creationId xmlns:a16="http://schemas.microsoft.com/office/drawing/2014/main" id="{EB313B8A-6F73-DEB8-695B-05E69ACAD2AA}"/>
                    </a:ext>
                  </a:extLst>
                </p:cNvPr>
                <p:cNvSpPr/>
                <p:nvPr/>
              </p:nvSpPr>
              <p:spPr>
                <a:xfrm>
                  <a:off x="9986336" y="4396166"/>
                  <a:ext cx="188865" cy="116426"/>
                </a:xfrm>
                <a:prstGeom prst="ellipse">
                  <a:avLst/>
                </a:prstGeom>
                <a:solidFill>
                  <a:srgbClr val="B5D820">
                    <a:lumMod val="50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>
                    <a:defRPr/>
                  </a:pPr>
                  <a:endParaRPr lang="en-US" kern="0">
                    <a:solidFill>
                      <a:srgbClr val="FFFFFF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993" name="Group 992">
                <a:extLst>
                  <a:ext uri="{FF2B5EF4-FFF2-40B4-BE49-F238E27FC236}">
                    <a16:creationId xmlns:a16="http://schemas.microsoft.com/office/drawing/2014/main" id="{1C2CF471-AC41-C7ED-D5CD-EED8E933DDE7}"/>
                  </a:ext>
                </a:extLst>
              </p:cNvPr>
              <p:cNvGrpSpPr/>
              <p:nvPr/>
            </p:nvGrpSpPr>
            <p:grpSpPr>
              <a:xfrm rot="21502538">
                <a:off x="3910700" y="4644217"/>
                <a:ext cx="215626" cy="61923"/>
                <a:chOff x="9602406" y="4324350"/>
                <a:chExt cx="925894" cy="244781"/>
              </a:xfrm>
            </p:grpSpPr>
            <p:sp>
              <p:nvSpPr>
                <p:cNvPr id="994" name="Freeform: Shape 3203">
                  <a:extLst>
                    <a:ext uri="{FF2B5EF4-FFF2-40B4-BE49-F238E27FC236}">
                      <a16:creationId xmlns:a16="http://schemas.microsoft.com/office/drawing/2014/main" id="{CC729731-9C3D-D265-7E53-1F520042CB16}"/>
                    </a:ext>
                  </a:extLst>
                </p:cNvPr>
                <p:cNvSpPr/>
                <p:nvPr/>
              </p:nvSpPr>
              <p:spPr>
                <a:xfrm>
                  <a:off x="9602406" y="4324350"/>
                  <a:ext cx="925894" cy="244781"/>
                </a:xfrm>
                <a:custGeom>
                  <a:avLst/>
                  <a:gdLst>
                    <a:gd name="connsiteX0" fmla="*/ 21019 w 925894"/>
                    <a:gd name="connsiteY0" fmla="*/ 215900 h 244781"/>
                    <a:gd name="connsiteX1" fmla="*/ 21019 w 925894"/>
                    <a:gd name="connsiteY1" fmla="*/ 215900 h 244781"/>
                    <a:gd name="connsiteX2" fmla="*/ 109919 w 925894"/>
                    <a:gd name="connsiteY2" fmla="*/ 228600 h 244781"/>
                    <a:gd name="connsiteX3" fmla="*/ 163894 w 925894"/>
                    <a:gd name="connsiteY3" fmla="*/ 234950 h 244781"/>
                    <a:gd name="connsiteX4" fmla="*/ 186119 w 925894"/>
                    <a:gd name="connsiteY4" fmla="*/ 238125 h 244781"/>
                    <a:gd name="connsiteX5" fmla="*/ 459169 w 925894"/>
                    <a:gd name="connsiteY5" fmla="*/ 241300 h 244781"/>
                    <a:gd name="connsiteX6" fmla="*/ 716344 w 925894"/>
                    <a:gd name="connsiteY6" fmla="*/ 241300 h 244781"/>
                    <a:gd name="connsiteX7" fmla="*/ 779844 w 925894"/>
                    <a:gd name="connsiteY7" fmla="*/ 231775 h 244781"/>
                    <a:gd name="connsiteX8" fmla="*/ 805244 w 925894"/>
                    <a:gd name="connsiteY8" fmla="*/ 228600 h 244781"/>
                    <a:gd name="connsiteX9" fmla="*/ 849694 w 925894"/>
                    <a:gd name="connsiteY9" fmla="*/ 222250 h 244781"/>
                    <a:gd name="connsiteX10" fmla="*/ 875094 w 925894"/>
                    <a:gd name="connsiteY10" fmla="*/ 215900 h 244781"/>
                    <a:gd name="connsiteX11" fmla="*/ 884619 w 925894"/>
                    <a:gd name="connsiteY11" fmla="*/ 212725 h 244781"/>
                    <a:gd name="connsiteX12" fmla="*/ 910019 w 925894"/>
                    <a:gd name="connsiteY12" fmla="*/ 203200 h 244781"/>
                    <a:gd name="connsiteX13" fmla="*/ 925894 w 925894"/>
                    <a:gd name="connsiteY13" fmla="*/ 184150 h 244781"/>
                    <a:gd name="connsiteX14" fmla="*/ 824294 w 925894"/>
                    <a:gd name="connsiteY14" fmla="*/ 174625 h 244781"/>
                    <a:gd name="connsiteX15" fmla="*/ 789369 w 925894"/>
                    <a:gd name="connsiteY15" fmla="*/ 155575 h 244781"/>
                    <a:gd name="connsiteX16" fmla="*/ 776669 w 925894"/>
                    <a:gd name="connsiteY16" fmla="*/ 152400 h 244781"/>
                    <a:gd name="connsiteX17" fmla="*/ 767144 w 925894"/>
                    <a:gd name="connsiteY17" fmla="*/ 142875 h 244781"/>
                    <a:gd name="connsiteX18" fmla="*/ 757619 w 925894"/>
                    <a:gd name="connsiteY18" fmla="*/ 136525 h 244781"/>
                    <a:gd name="connsiteX19" fmla="*/ 751269 w 925894"/>
                    <a:gd name="connsiteY19" fmla="*/ 127000 h 244781"/>
                    <a:gd name="connsiteX20" fmla="*/ 735394 w 925894"/>
                    <a:gd name="connsiteY20" fmla="*/ 114300 h 244781"/>
                    <a:gd name="connsiteX21" fmla="*/ 716344 w 925894"/>
                    <a:gd name="connsiteY21" fmla="*/ 95250 h 244781"/>
                    <a:gd name="connsiteX22" fmla="*/ 697294 w 925894"/>
                    <a:gd name="connsiteY22" fmla="*/ 82550 h 244781"/>
                    <a:gd name="connsiteX23" fmla="*/ 687769 w 925894"/>
                    <a:gd name="connsiteY23" fmla="*/ 73025 h 244781"/>
                    <a:gd name="connsiteX24" fmla="*/ 671894 w 925894"/>
                    <a:gd name="connsiteY24" fmla="*/ 63500 h 244781"/>
                    <a:gd name="connsiteX25" fmla="*/ 652844 w 925894"/>
                    <a:gd name="connsiteY25" fmla="*/ 50800 h 244781"/>
                    <a:gd name="connsiteX26" fmla="*/ 640144 w 925894"/>
                    <a:gd name="connsiteY26" fmla="*/ 44450 h 244781"/>
                    <a:gd name="connsiteX27" fmla="*/ 627444 w 925894"/>
                    <a:gd name="connsiteY27" fmla="*/ 34925 h 244781"/>
                    <a:gd name="connsiteX28" fmla="*/ 617919 w 925894"/>
                    <a:gd name="connsiteY28" fmla="*/ 31750 h 244781"/>
                    <a:gd name="connsiteX29" fmla="*/ 589344 w 925894"/>
                    <a:gd name="connsiteY29" fmla="*/ 12700 h 244781"/>
                    <a:gd name="connsiteX30" fmla="*/ 570294 w 925894"/>
                    <a:gd name="connsiteY30" fmla="*/ 6350 h 244781"/>
                    <a:gd name="connsiteX31" fmla="*/ 541719 w 925894"/>
                    <a:gd name="connsiteY31" fmla="*/ 3175 h 244781"/>
                    <a:gd name="connsiteX32" fmla="*/ 522669 w 925894"/>
                    <a:gd name="connsiteY32" fmla="*/ 0 h 244781"/>
                    <a:gd name="connsiteX33" fmla="*/ 398844 w 925894"/>
                    <a:gd name="connsiteY33" fmla="*/ 3175 h 244781"/>
                    <a:gd name="connsiteX34" fmla="*/ 370269 w 925894"/>
                    <a:gd name="connsiteY34" fmla="*/ 15875 h 244781"/>
                    <a:gd name="connsiteX35" fmla="*/ 354394 w 925894"/>
                    <a:gd name="connsiteY35" fmla="*/ 22225 h 244781"/>
                    <a:gd name="connsiteX36" fmla="*/ 344869 w 925894"/>
                    <a:gd name="connsiteY36" fmla="*/ 28575 h 244781"/>
                    <a:gd name="connsiteX37" fmla="*/ 319469 w 925894"/>
                    <a:gd name="connsiteY37" fmla="*/ 41275 h 244781"/>
                    <a:gd name="connsiteX38" fmla="*/ 303594 w 925894"/>
                    <a:gd name="connsiteY38" fmla="*/ 47625 h 244781"/>
                    <a:gd name="connsiteX39" fmla="*/ 290894 w 925894"/>
                    <a:gd name="connsiteY39" fmla="*/ 57150 h 244781"/>
                    <a:gd name="connsiteX40" fmla="*/ 265494 w 925894"/>
                    <a:gd name="connsiteY40" fmla="*/ 69850 h 244781"/>
                    <a:gd name="connsiteX41" fmla="*/ 249619 w 925894"/>
                    <a:gd name="connsiteY41" fmla="*/ 79375 h 244781"/>
                    <a:gd name="connsiteX42" fmla="*/ 211519 w 925894"/>
                    <a:gd name="connsiteY42" fmla="*/ 104775 h 244781"/>
                    <a:gd name="connsiteX43" fmla="*/ 195644 w 925894"/>
                    <a:gd name="connsiteY43" fmla="*/ 117475 h 244781"/>
                    <a:gd name="connsiteX44" fmla="*/ 179769 w 925894"/>
                    <a:gd name="connsiteY44" fmla="*/ 127000 h 244781"/>
                    <a:gd name="connsiteX45" fmla="*/ 167069 w 925894"/>
                    <a:gd name="connsiteY45" fmla="*/ 139700 h 244781"/>
                    <a:gd name="connsiteX46" fmla="*/ 151194 w 925894"/>
                    <a:gd name="connsiteY46" fmla="*/ 146050 h 244781"/>
                    <a:gd name="connsiteX47" fmla="*/ 138494 w 925894"/>
                    <a:gd name="connsiteY47" fmla="*/ 152400 h 244781"/>
                    <a:gd name="connsiteX48" fmla="*/ 122619 w 925894"/>
                    <a:gd name="connsiteY48" fmla="*/ 158750 h 244781"/>
                    <a:gd name="connsiteX49" fmla="*/ 113094 w 925894"/>
                    <a:gd name="connsiteY49" fmla="*/ 165100 h 244781"/>
                    <a:gd name="connsiteX50" fmla="*/ 46419 w 925894"/>
                    <a:gd name="connsiteY50" fmla="*/ 171450 h 244781"/>
                    <a:gd name="connsiteX51" fmla="*/ 36894 w 925894"/>
                    <a:gd name="connsiteY51" fmla="*/ 174625 h 244781"/>
                    <a:gd name="connsiteX52" fmla="*/ 11494 w 925894"/>
                    <a:gd name="connsiteY52" fmla="*/ 180975 h 244781"/>
                    <a:gd name="connsiteX53" fmla="*/ 5144 w 925894"/>
                    <a:gd name="connsiteY53" fmla="*/ 209550 h 244781"/>
                    <a:gd name="connsiteX54" fmla="*/ 27369 w 925894"/>
                    <a:gd name="connsiteY54" fmla="*/ 219075 h 244781"/>
                    <a:gd name="connsiteX55" fmla="*/ 21019 w 925894"/>
                    <a:gd name="connsiteY55" fmla="*/ 215900 h 2447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</a:cxnLst>
                  <a:rect l="l" t="t" r="r" b="b"/>
                  <a:pathLst>
                    <a:path w="925894" h="244781">
                      <a:moveTo>
                        <a:pt x="21019" y="215900"/>
                      </a:moveTo>
                      <a:lnTo>
                        <a:pt x="21019" y="215900"/>
                      </a:lnTo>
                      <a:cubicBezTo>
                        <a:pt x="105946" y="230887"/>
                        <a:pt x="44361" y="221576"/>
                        <a:pt x="109919" y="228600"/>
                      </a:cubicBezTo>
                      <a:cubicBezTo>
                        <a:pt x="127932" y="230530"/>
                        <a:pt x="145918" y="232703"/>
                        <a:pt x="163894" y="234950"/>
                      </a:cubicBezTo>
                      <a:cubicBezTo>
                        <a:pt x="171320" y="235878"/>
                        <a:pt x="178637" y="237964"/>
                        <a:pt x="186119" y="238125"/>
                      </a:cubicBezTo>
                      <a:lnTo>
                        <a:pt x="459169" y="241300"/>
                      </a:lnTo>
                      <a:cubicBezTo>
                        <a:pt x="557346" y="244027"/>
                        <a:pt x="615030" y="247535"/>
                        <a:pt x="716344" y="241300"/>
                      </a:cubicBezTo>
                      <a:cubicBezTo>
                        <a:pt x="737707" y="239985"/>
                        <a:pt x="758656" y="234802"/>
                        <a:pt x="779844" y="231775"/>
                      </a:cubicBezTo>
                      <a:cubicBezTo>
                        <a:pt x="788291" y="230568"/>
                        <a:pt x="796797" y="229807"/>
                        <a:pt x="805244" y="228600"/>
                      </a:cubicBezTo>
                      <a:cubicBezTo>
                        <a:pt x="869332" y="219445"/>
                        <a:pt x="769366" y="232291"/>
                        <a:pt x="849694" y="222250"/>
                      </a:cubicBezTo>
                      <a:cubicBezTo>
                        <a:pt x="871467" y="214992"/>
                        <a:pt x="844443" y="223563"/>
                        <a:pt x="875094" y="215900"/>
                      </a:cubicBezTo>
                      <a:cubicBezTo>
                        <a:pt x="878341" y="215088"/>
                        <a:pt x="881401" y="213644"/>
                        <a:pt x="884619" y="212725"/>
                      </a:cubicBezTo>
                      <a:cubicBezTo>
                        <a:pt x="895698" y="209560"/>
                        <a:pt x="900155" y="210246"/>
                        <a:pt x="910019" y="203200"/>
                      </a:cubicBezTo>
                      <a:cubicBezTo>
                        <a:pt x="917797" y="197644"/>
                        <a:pt x="920831" y="191745"/>
                        <a:pt x="925894" y="184150"/>
                      </a:cubicBezTo>
                      <a:cubicBezTo>
                        <a:pt x="888561" y="159261"/>
                        <a:pt x="938340" y="190037"/>
                        <a:pt x="824294" y="174625"/>
                      </a:cubicBezTo>
                      <a:cubicBezTo>
                        <a:pt x="796282" y="170840"/>
                        <a:pt x="806447" y="162894"/>
                        <a:pt x="789369" y="155575"/>
                      </a:cubicBezTo>
                      <a:cubicBezTo>
                        <a:pt x="785358" y="153856"/>
                        <a:pt x="780902" y="153458"/>
                        <a:pt x="776669" y="152400"/>
                      </a:cubicBezTo>
                      <a:cubicBezTo>
                        <a:pt x="773494" y="149225"/>
                        <a:pt x="770593" y="145750"/>
                        <a:pt x="767144" y="142875"/>
                      </a:cubicBezTo>
                      <a:cubicBezTo>
                        <a:pt x="764213" y="140432"/>
                        <a:pt x="760317" y="139223"/>
                        <a:pt x="757619" y="136525"/>
                      </a:cubicBezTo>
                      <a:cubicBezTo>
                        <a:pt x="754921" y="133827"/>
                        <a:pt x="753967" y="129698"/>
                        <a:pt x="751269" y="127000"/>
                      </a:cubicBezTo>
                      <a:cubicBezTo>
                        <a:pt x="746477" y="122208"/>
                        <a:pt x="740408" y="118858"/>
                        <a:pt x="735394" y="114300"/>
                      </a:cubicBezTo>
                      <a:cubicBezTo>
                        <a:pt x="728749" y="108259"/>
                        <a:pt x="723816" y="100231"/>
                        <a:pt x="716344" y="95250"/>
                      </a:cubicBezTo>
                      <a:cubicBezTo>
                        <a:pt x="709994" y="91017"/>
                        <a:pt x="702690" y="87946"/>
                        <a:pt x="697294" y="82550"/>
                      </a:cubicBezTo>
                      <a:cubicBezTo>
                        <a:pt x="694119" y="79375"/>
                        <a:pt x="691361" y="75719"/>
                        <a:pt x="687769" y="73025"/>
                      </a:cubicBezTo>
                      <a:cubicBezTo>
                        <a:pt x="682832" y="69322"/>
                        <a:pt x="677100" y="66813"/>
                        <a:pt x="671894" y="63500"/>
                      </a:cubicBezTo>
                      <a:cubicBezTo>
                        <a:pt x="665455" y="59403"/>
                        <a:pt x="659670" y="54213"/>
                        <a:pt x="652844" y="50800"/>
                      </a:cubicBezTo>
                      <a:cubicBezTo>
                        <a:pt x="648611" y="48683"/>
                        <a:pt x="644158" y="46958"/>
                        <a:pt x="640144" y="44450"/>
                      </a:cubicBezTo>
                      <a:cubicBezTo>
                        <a:pt x="635657" y="41645"/>
                        <a:pt x="632038" y="37550"/>
                        <a:pt x="627444" y="34925"/>
                      </a:cubicBezTo>
                      <a:cubicBezTo>
                        <a:pt x="624538" y="33265"/>
                        <a:pt x="620810" y="33436"/>
                        <a:pt x="617919" y="31750"/>
                      </a:cubicBezTo>
                      <a:cubicBezTo>
                        <a:pt x="608031" y="25982"/>
                        <a:pt x="600204" y="16320"/>
                        <a:pt x="589344" y="12700"/>
                      </a:cubicBezTo>
                      <a:cubicBezTo>
                        <a:pt x="582994" y="10583"/>
                        <a:pt x="576858" y="7663"/>
                        <a:pt x="570294" y="6350"/>
                      </a:cubicBezTo>
                      <a:cubicBezTo>
                        <a:pt x="560896" y="4470"/>
                        <a:pt x="551219" y="4442"/>
                        <a:pt x="541719" y="3175"/>
                      </a:cubicBezTo>
                      <a:cubicBezTo>
                        <a:pt x="535338" y="2324"/>
                        <a:pt x="529019" y="1058"/>
                        <a:pt x="522669" y="0"/>
                      </a:cubicBezTo>
                      <a:cubicBezTo>
                        <a:pt x="481394" y="1058"/>
                        <a:pt x="440041" y="429"/>
                        <a:pt x="398844" y="3175"/>
                      </a:cubicBezTo>
                      <a:cubicBezTo>
                        <a:pt x="379941" y="4435"/>
                        <a:pt x="383216" y="9402"/>
                        <a:pt x="370269" y="15875"/>
                      </a:cubicBezTo>
                      <a:cubicBezTo>
                        <a:pt x="365171" y="18424"/>
                        <a:pt x="359492" y="19676"/>
                        <a:pt x="354394" y="22225"/>
                      </a:cubicBezTo>
                      <a:cubicBezTo>
                        <a:pt x="350981" y="23932"/>
                        <a:pt x="348219" y="26748"/>
                        <a:pt x="344869" y="28575"/>
                      </a:cubicBezTo>
                      <a:cubicBezTo>
                        <a:pt x="336559" y="33108"/>
                        <a:pt x="328258" y="37759"/>
                        <a:pt x="319469" y="41275"/>
                      </a:cubicBezTo>
                      <a:cubicBezTo>
                        <a:pt x="314177" y="43392"/>
                        <a:pt x="308576" y="44857"/>
                        <a:pt x="303594" y="47625"/>
                      </a:cubicBezTo>
                      <a:cubicBezTo>
                        <a:pt x="298968" y="50195"/>
                        <a:pt x="295465" y="54484"/>
                        <a:pt x="290894" y="57150"/>
                      </a:cubicBezTo>
                      <a:cubicBezTo>
                        <a:pt x="282717" y="61920"/>
                        <a:pt x="273611" y="64980"/>
                        <a:pt x="265494" y="69850"/>
                      </a:cubicBezTo>
                      <a:cubicBezTo>
                        <a:pt x="260202" y="73025"/>
                        <a:pt x="254641" y="75788"/>
                        <a:pt x="249619" y="79375"/>
                      </a:cubicBezTo>
                      <a:cubicBezTo>
                        <a:pt x="213199" y="105389"/>
                        <a:pt x="233935" y="97303"/>
                        <a:pt x="211519" y="104775"/>
                      </a:cubicBezTo>
                      <a:cubicBezTo>
                        <a:pt x="206227" y="109008"/>
                        <a:pt x="201196" y="113589"/>
                        <a:pt x="195644" y="117475"/>
                      </a:cubicBezTo>
                      <a:cubicBezTo>
                        <a:pt x="190588" y="121014"/>
                        <a:pt x="184640" y="123211"/>
                        <a:pt x="179769" y="127000"/>
                      </a:cubicBezTo>
                      <a:cubicBezTo>
                        <a:pt x="175043" y="130676"/>
                        <a:pt x="172050" y="136379"/>
                        <a:pt x="167069" y="139700"/>
                      </a:cubicBezTo>
                      <a:cubicBezTo>
                        <a:pt x="162327" y="142861"/>
                        <a:pt x="156402" y="143735"/>
                        <a:pt x="151194" y="146050"/>
                      </a:cubicBezTo>
                      <a:cubicBezTo>
                        <a:pt x="146869" y="147972"/>
                        <a:pt x="142819" y="150478"/>
                        <a:pt x="138494" y="152400"/>
                      </a:cubicBezTo>
                      <a:cubicBezTo>
                        <a:pt x="133286" y="154715"/>
                        <a:pt x="127717" y="156201"/>
                        <a:pt x="122619" y="158750"/>
                      </a:cubicBezTo>
                      <a:cubicBezTo>
                        <a:pt x="119206" y="160457"/>
                        <a:pt x="116714" y="163893"/>
                        <a:pt x="113094" y="165100"/>
                      </a:cubicBezTo>
                      <a:cubicBezTo>
                        <a:pt x="100065" y="169443"/>
                        <a:pt x="46800" y="171425"/>
                        <a:pt x="46419" y="171450"/>
                      </a:cubicBezTo>
                      <a:cubicBezTo>
                        <a:pt x="43244" y="172508"/>
                        <a:pt x="40123" y="173744"/>
                        <a:pt x="36894" y="174625"/>
                      </a:cubicBezTo>
                      <a:cubicBezTo>
                        <a:pt x="28474" y="176921"/>
                        <a:pt x="11494" y="180975"/>
                        <a:pt x="11494" y="180975"/>
                      </a:cubicBezTo>
                      <a:cubicBezTo>
                        <a:pt x="2036" y="190433"/>
                        <a:pt x="-5391" y="192693"/>
                        <a:pt x="5144" y="209550"/>
                      </a:cubicBezTo>
                      <a:cubicBezTo>
                        <a:pt x="6985" y="212495"/>
                        <a:pt x="23149" y="217869"/>
                        <a:pt x="27369" y="219075"/>
                      </a:cubicBezTo>
                      <a:cubicBezTo>
                        <a:pt x="31565" y="220274"/>
                        <a:pt x="22077" y="216429"/>
                        <a:pt x="21019" y="215900"/>
                      </a:cubicBezTo>
                      <a:close/>
                    </a:path>
                  </a:pathLst>
                </a:custGeom>
                <a:solidFill>
                  <a:srgbClr val="B5D820"/>
                </a:solidFill>
                <a:ln w="12700" cap="flat" cmpd="sng" algn="ctr">
                  <a:solidFill>
                    <a:srgbClr val="B5D820">
                      <a:lumMod val="75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>
                    <a:defRPr/>
                  </a:pPr>
                  <a:endParaRPr lang="en-US" kern="0">
                    <a:solidFill>
                      <a:srgbClr val="FFFFFF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995" name="Oval 994">
                  <a:extLst>
                    <a:ext uri="{FF2B5EF4-FFF2-40B4-BE49-F238E27FC236}">
                      <a16:creationId xmlns:a16="http://schemas.microsoft.com/office/drawing/2014/main" id="{5DD0179A-2BB1-EC8E-B4C9-63EB6A75F0D7}"/>
                    </a:ext>
                  </a:extLst>
                </p:cNvPr>
                <p:cNvSpPr/>
                <p:nvPr/>
              </p:nvSpPr>
              <p:spPr>
                <a:xfrm>
                  <a:off x="9986336" y="4396166"/>
                  <a:ext cx="188865" cy="116426"/>
                </a:xfrm>
                <a:prstGeom prst="ellipse">
                  <a:avLst/>
                </a:prstGeom>
                <a:solidFill>
                  <a:srgbClr val="B5D820">
                    <a:lumMod val="50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>
                    <a:defRPr/>
                  </a:pPr>
                  <a:endParaRPr lang="en-US" kern="0">
                    <a:solidFill>
                      <a:srgbClr val="FFFFFF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996" name="Group 995">
                <a:extLst>
                  <a:ext uri="{FF2B5EF4-FFF2-40B4-BE49-F238E27FC236}">
                    <a16:creationId xmlns:a16="http://schemas.microsoft.com/office/drawing/2014/main" id="{B4FD105C-8939-3D41-C3A5-0CE613874FC4}"/>
                  </a:ext>
                </a:extLst>
              </p:cNvPr>
              <p:cNvGrpSpPr/>
              <p:nvPr/>
            </p:nvGrpSpPr>
            <p:grpSpPr>
              <a:xfrm rot="1045385">
                <a:off x="2994654" y="4670327"/>
                <a:ext cx="215626" cy="61923"/>
                <a:chOff x="9602406" y="4324350"/>
                <a:chExt cx="925894" cy="244781"/>
              </a:xfrm>
            </p:grpSpPr>
            <p:sp>
              <p:nvSpPr>
                <p:cNvPr id="997" name="Freeform: Shape 3201">
                  <a:extLst>
                    <a:ext uri="{FF2B5EF4-FFF2-40B4-BE49-F238E27FC236}">
                      <a16:creationId xmlns:a16="http://schemas.microsoft.com/office/drawing/2014/main" id="{220990D2-D834-C19C-BC9A-8F80A10ABA65}"/>
                    </a:ext>
                  </a:extLst>
                </p:cNvPr>
                <p:cNvSpPr/>
                <p:nvPr/>
              </p:nvSpPr>
              <p:spPr>
                <a:xfrm>
                  <a:off x="9602406" y="4324350"/>
                  <a:ext cx="925894" cy="244781"/>
                </a:xfrm>
                <a:custGeom>
                  <a:avLst/>
                  <a:gdLst>
                    <a:gd name="connsiteX0" fmla="*/ 21019 w 925894"/>
                    <a:gd name="connsiteY0" fmla="*/ 215900 h 244781"/>
                    <a:gd name="connsiteX1" fmla="*/ 21019 w 925894"/>
                    <a:gd name="connsiteY1" fmla="*/ 215900 h 244781"/>
                    <a:gd name="connsiteX2" fmla="*/ 109919 w 925894"/>
                    <a:gd name="connsiteY2" fmla="*/ 228600 h 244781"/>
                    <a:gd name="connsiteX3" fmla="*/ 163894 w 925894"/>
                    <a:gd name="connsiteY3" fmla="*/ 234950 h 244781"/>
                    <a:gd name="connsiteX4" fmla="*/ 186119 w 925894"/>
                    <a:gd name="connsiteY4" fmla="*/ 238125 h 244781"/>
                    <a:gd name="connsiteX5" fmla="*/ 459169 w 925894"/>
                    <a:gd name="connsiteY5" fmla="*/ 241300 h 244781"/>
                    <a:gd name="connsiteX6" fmla="*/ 716344 w 925894"/>
                    <a:gd name="connsiteY6" fmla="*/ 241300 h 244781"/>
                    <a:gd name="connsiteX7" fmla="*/ 779844 w 925894"/>
                    <a:gd name="connsiteY7" fmla="*/ 231775 h 244781"/>
                    <a:gd name="connsiteX8" fmla="*/ 805244 w 925894"/>
                    <a:gd name="connsiteY8" fmla="*/ 228600 h 244781"/>
                    <a:gd name="connsiteX9" fmla="*/ 849694 w 925894"/>
                    <a:gd name="connsiteY9" fmla="*/ 222250 h 244781"/>
                    <a:gd name="connsiteX10" fmla="*/ 875094 w 925894"/>
                    <a:gd name="connsiteY10" fmla="*/ 215900 h 244781"/>
                    <a:gd name="connsiteX11" fmla="*/ 884619 w 925894"/>
                    <a:gd name="connsiteY11" fmla="*/ 212725 h 244781"/>
                    <a:gd name="connsiteX12" fmla="*/ 910019 w 925894"/>
                    <a:gd name="connsiteY12" fmla="*/ 203200 h 244781"/>
                    <a:gd name="connsiteX13" fmla="*/ 925894 w 925894"/>
                    <a:gd name="connsiteY13" fmla="*/ 184150 h 244781"/>
                    <a:gd name="connsiteX14" fmla="*/ 824294 w 925894"/>
                    <a:gd name="connsiteY14" fmla="*/ 174625 h 244781"/>
                    <a:gd name="connsiteX15" fmla="*/ 789369 w 925894"/>
                    <a:gd name="connsiteY15" fmla="*/ 155575 h 244781"/>
                    <a:gd name="connsiteX16" fmla="*/ 776669 w 925894"/>
                    <a:gd name="connsiteY16" fmla="*/ 152400 h 244781"/>
                    <a:gd name="connsiteX17" fmla="*/ 767144 w 925894"/>
                    <a:gd name="connsiteY17" fmla="*/ 142875 h 244781"/>
                    <a:gd name="connsiteX18" fmla="*/ 757619 w 925894"/>
                    <a:gd name="connsiteY18" fmla="*/ 136525 h 244781"/>
                    <a:gd name="connsiteX19" fmla="*/ 751269 w 925894"/>
                    <a:gd name="connsiteY19" fmla="*/ 127000 h 244781"/>
                    <a:gd name="connsiteX20" fmla="*/ 735394 w 925894"/>
                    <a:gd name="connsiteY20" fmla="*/ 114300 h 244781"/>
                    <a:gd name="connsiteX21" fmla="*/ 716344 w 925894"/>
                    <a:gd name="connsiteY21" fmla="*/ 95250 h 244781"/>
                    <a:gd name="connsiteX22" fmla="*/ 697294 w 925894"/>
                    <a:gd name="connsiteY22" fmla="*/ 82550 h 244781"/>
                    <a:gd name="connsiteX23" fmla="*/ 687769 w 925894"/>
                    <a:gd name="connsiteY23" fmla="*/ 73025 h 244781"/>
                    <a:gd name="connsiteX24" fmla="*/ 671894 w 925894"/>
                    <a:gd name="connsiteY24" fmla="*/ 63500 h 244781"/>
                    <a:gd name="connsiteX25" fmla="*/ 652844 w 925894"/>
                    <a:gd name="connsiteY25" fmla="*/ 50800 h 244781"/>
                    <a:gd name="connsiteX26" fmla="*/ 640144 w 925894"/>
                    <a:gd name="connsiteY26" fmla="*/ 44450 h 244781"/>
                    <a:gd name="connsiteX27" fmla="*/ 627444 w 925894"/>
                    <a:gd name="connsiteY27" fmla="*/ 34925 h 244781"/>
                    <a:gd name="connsiteX28" fmla="*/ 617919 w 925894"/>
                    <a:gd name="connsiteY28" fmla="*/ 31750 h 244781"/>
                    <a:gd name="connsiteX29" fmla="*/ 589344 w 925894"/>
                    <a:gd name="connsiteY29" fmla="*/ 12700 h 244781"/>
                    <a:gd name="connsiteX30" fmla="*/ 570294 w 925894"/>
                    <a:gd name="connsiteY30" fmla="*/ 6350 h 244781"/>
                    <a:gd name="connsiteX31" fmla="*/ 541719 w 925894"/>
                    <a:gd name="connsiteY31" fmla="*/ 3175 h 244781"/>
                    <a:gd name="connsiteX32" fmla="*/ 522669 w 925894"/>
                    <a:gd name="connsiteY32" fmla="*/ 0 h 244781"/>
                    <a:gd name="connsiteX33" fmla="*/ 398844 w 925894"/>
                    <a:gd name="connsiteY33" fmla="*/ 3175 h 244781"/>
                    <a:gd name="connsiteX34" fmla="*/ 370269 w 925894"/>
                    <a:gd name="connsiteY34" fmla="*/ 15875 h 244781"/>
                    <a:gd name="connsiteX35" fmla="*/ 354394 w 925894"/>
                    <a:gd name="connsiteY35" fmla="*/ 22225 h 244781"/>
                    <a:gd name="connsiteX36" fmla="*/ 344869 w 925894"/>
                    <a:gd name="connsiteY36" fmla="*/ 28575 h 244781"/>
                    <a:gd name="connsiteX37" fmla="*/ 319469 w 925894"/>
                    <a:gd name="connsiteY37" fmla="*/ 41275 h 244781"/>
                    <a:gd name="connsiteX38" fmla="*/ 303594 w 925894"/>
                    <a:gd name="connsiteY38" fmla="*/ 47625 h 244781"/>
                    <a:gd name="connsiteX39" fmla="*/ 290894 w 925894"/>
                    <a:gd name="connsiteY39" fmla="*/ 57150 h 244781"/>
                    <a:gd name="connsiteX40" fmla="*/ 265494 w 925894"/>
                    <a:gd name="connsiteY40" fmla="*/ 69850 h 244781"/>
                    <a:gd name="connsiteX41" fmla="*/ 249619 w 925894"/>
                    <a:gd name="connsiteY41" fmla="*/ 79375 h 244781"/>
                    <a:gd name="connsiteX42" fmla="*/ 211519 w 925894"/>
                    <a:gd name="connsiteY42" fmla="*/ 104775 h 244781"/>
                    <a:gd name="connsiteX43" fmla="*/ 195644 w 925894"/>
                    <a:gd name="connsiteY43" fmla="*/ 117475 h 244781"/>
                    <a:gd name="connsiteX44" fmla="*/ 179769 w 925894"/>
                    <a:gd name="connsiteY44" fmla="*/ 127000 h 244781"/>
                    <a:gd name="connsiteX45" fmla="*/ 167069 w 925894"/>
                    <a:gd name="connsiteY45" fmla="*/ 139700 h 244781"/>
                    <a:gd name="connsiteX46" fmla="*/ 151194 w 925894"/>
                    <a:gd name="connsiteY46" fmla="*/ 146050 h 244781"/>
                    <a:gd name="connsiteX47" fmla="*/ 138494 w 925894"/>
                    <a:gd name="connsiteY47" fmla="*/ 152400 h 244781"/>
                    <a:gd name="connsiteX48" fmla="*/ 122619 w 925894"/>
                    <a:gd name="connsiteY48" fmla="*/ 158750 h 244781"/>
                    <a:gd name="connsiteX49" fmla="*/ 113094 w 925894"/>
                    <a:gd name="connsiteY49" fmla="*/ 165100 h 244781"/>
                    <a:gd name="connsiteX50" fmla="*/ 46419 w 925894"/>
                    <a:gd name="connsiteY50" fmla="*/ 171450 h 244781"/>
                    <a:gd name="connsiteX51" fmla="*/ 36894 w 925894"/>
                    <a:gd name="connsiteY51" fmla="*/ 174625 h 244781"/>
                    <a:gd name="connsiteX52" fmla="*/ 11494 w 925894"/>
                    <a:gd name="connsiteY52" fmla="*/ 180975 h 244781"/>
                    <a:gd name="connsiteX53" fmla="*/ 5144 w 925894"/>
                    <a:gd name="connsiteY53" fmla="*/ 209550 h 244781"/>
                    <a:gd name="connsiteX54" fmla="*/ 27369 w 925894"/>
                    <a:gd name="connsiteY54" fmla="*/ 219075 h 244781"/>
                    <a:gd name="connsiteX55" fmla="*/ 21019 w 925894"/>
                    <a:gd name="connsiteY55" fmla="*/ 215900 h 2447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</a:cxnLst>
                  <a:rect l="l" t="t" r="r" b="b"/>
                  <a:pathLst>
                    <a:path w="925894" h="244781">
                      <a:moveTo>
                        <a:pt x="21019" y="215900"/>
                      </a:moveTo>
                      <a:lnTo>
                        <a:pt x="21019" y="215900"/>
                      </a:lnTo>
                      <a:cubicBezTo>
                        <a:pt x="105946" y="230887"/>
                        <a:pt x="44361" y="221576"/>
                        <a:pt x="109919" y="228600"/>
                      </a:cubicBezTo>
                      <a:cubicBezTo>
                        <a:pt x="127932" y="230530"/>
                        <a:pt x="145918" y="232703"/>
                        <a:pt x="163894" y="234950"/>
                      </a:cubicBezTo>
                      <a:cubicBezTo>
                        <a:pt x="171320" y="235878"/>
                        <a:pt x="178637" y="237964"/>
                        <a:pt x="186119" y="238125"/>
                      </a:cubicBezTo>
                      <a:lnTo>
                        <a:pt x="459169" y="241300"/>
                      </a:lnTo>
                      <a:cubicBezTo>
                        <a:pt x="557346" y="244027"/>
                        <a:pt x="615030" y="247535"/>
                        <a:pt x="716344" y="241300"/>
                      </a:cubicBezTo>
                      <a:cubicBezTo>
                        <a:pt x="737707" y="239985"/>
                        <a:pt x="758656" y="234802"/>
                        <a:pt x="779844" y="231775"/>
                      </a:cubicBezTo>
                      <a:cubicBezTo>
                        <a:pt x="788291" y="230568"/>
                        <a:pt x="796797" y="229807"/>
                        <a:pt x="805244" y="228600"/>
                      </a:cubicBezTo>
                      <a:cubicBezTo>
                        <a:pt x="869332" y="219445"/>
                        <a:pt x="769366" y="232291"/>
                        <a:pt x="849694" y="222250"/>
                      </a:cubicBezTo>
                      <a:cubicBezTo>
                        <a:pt x="871467" y="214992"/>
                        <a:pt x="844443" y="223563"/>
                        <a:pt x="875094" y="215900"/>
                      </a:cubicBezTo>
                      <a:cubicBezTo>
                        <a:pt x="878341" y="215088"/>
                        <a:pt x="881401" y="213644"/>
                        <a:pt x="884619" y="212725"/>
                      </a:cubicBezTo>
                      <a:cubicBezTo>
                        <a:pt x="895698" y="209560"/>
                        <a:pt x="900155" y="210246"/>
                        <a:pt x="910019" y="203200"/>
                      </a:cubicBezTo>
                      <a:cubicBezTo>
                        <a:pt x="917797" y="197644"/>
                        <a:pt x="920831" y="191745"/>
                        <a:pt x="925894" y="184150"/>
                      </a:cubicBezTo>
                      <a:cubicBezTo>
                        <a:pt x="888561" y="159261"/>
                        <a:pt x="938340" y="190037"/>
                        <a:pt x="824294" y="174625"/>
                      </a:cubicBezTo>
                      <a:cubicBezTo>
                        <a:pt x="796282" y="170840"/>
                        <a:pt x="806447" y="162894"/>
                        <a:pt x="789369" y="155575"/>
                      </a:cubicBezTo>
                      <a:cubicBezTo>
                        <a:pt x="785358" y="153856"/>
                        <a:pt x="780902" y="153458"/>
                        <a:pt x="776669" y="152400"/>
                      </a:cubicBezTo>
                      <a:cubicBezTo>
                        <a:pt x="773494" y="149225"/>
                        <a:pt x="770593" y="145750"/>
                        <a:pt x="767144" y="142875"/>
                      </a:cubicBezTo>
                      <a:cubicBezTo>
                        <a:pt x="764213" y="140432"/>
                        <a:pt x="760317" y="139223"/>
                        <a:pt x="757619" y="136525"/>
                      </a:cubicBezTo>
                      <a:cubicBezTo>
                        <a:pt x="754921" y="133827"/>
                        <a:pt x="753967" y="129698"/>
                        <a:pt x="751269" y="127000"/>
                      </a:cubicBezTo>
                      <a:cubicBezTo>
                        <a:pt x="746477" y="122208"/>
                        <a:pt x="740408" y="118858"/>
                        <a:pt x="735394" y="114300"/>
                      </a:cubicBezTo>
                      <a:cubicBezTo>
                        <a:pt x="728749" y="108259"/>
                        <a:pt x="723816" y="100231"/>
                        <a:pt x="716344" y="95250"/>
                      </a:cubicBezTo>
                      <a:cubicBezTo>
                        <a:pt x="709994" y="91017"/>
                        <a:pt x="702690" y="87946"/>
                        <a:pt x="697294" y="82550"/>
                      </a:cubicBezTo>
                      <a:cubicBezTo>
                        <a:pt x="694119" y="79375"/>
                        <a:pt x="691361" y="75719"/>
                        <a:pt x="687769" y="73025"/>
                      </a:cubicBezTo>
                      <a:cubicBezTo>
                        <a:pt x="682832" y="69322"/>
                        <a:pt x="677100" y="66813"/>
                        <a:pt x="671894" y="63500"/>
                      </a:cubicBezTo>
                      <a:cubicBezTo>
                        <a:pt x="665455" y="59403"/>
                        <a:pt x="659670" y="54213"/>
                        <a:pt x="652844" y="50800"/>
                      </a:cubicBezTo>
                      <a:cubicBezTo>
                        <a:pt x="648611" y="48683"/>
                        <a:pt x="644158" y="46958"/>
                        <a:pt x="640144" y="44450"/>
                      </a:cubicBezTo>
                      <a:cubicBezTo>
                        <a:pt x="635657" y="41645"/>
                        <a:pt x="632038" y="37550"/>
                        <a:pt x="627444" y="34925"/>
                      </a:cubicBezTo>
                      <a:cubicBezTo>
                        <a:pt x="624538" y="33265"/>
                        <a:pt x="620810" y="33436"/>
                        <a:pt x="617919" y="31750"/>
                      </a:cubicBezTo>
                      <a:cubicBezTo>
                        <a:pt x="608031" y="25982"/>
                        <a:pt x="600204" y="16320"/>
                        <a:pt x="589344" y="12700"/>
                      </a:cubicBezTo>
                      <a:cubicBezTo>
                        <a:pt x="582994" y="10583"/>
                        <a:pt x="576858" y="7663"/>
                        <a:pt x="570294" y="6350"/>
                      </a:cubicBezTo>
                      <a:cubicBezTo>
                        <a:pt x="560896" y="4470"/>
                        <a:pt x="551219" y="4442"/>
                        <a:pt x="541719" y="3175"/>
                      </a:cubicBezTo>
                      <a:cubicBezTo>
                        <a:pt x="535338" y="2324"/>
                        <a:pt x="529019" y="1058"/>
                        <a:pt x="522669" y="0"/>
                      </a:cubicBezTo>
                      <a:cubicBezTo>
                        <a:pt x="481394" y="1058"/>
                        <a:pt x="440041" y="429"/>
                        <a:pt x="398844" y="3175"/>
                      </a:cubicBezTo>
                      <a:cubicBezTo>
                        <a:pt x="379941" y="4435"/>
                        <a:pt x="383216" y="9402"/>
                        <a:pt x="370269" y="15875"/>
                      </a:cubicBezTo>
                      <a:cubicBezTo>
                        <a:pt x="365171" y="18424"/>
                        <a:pt x="359492" y="19676"/>
                        <a:pt x="354394" y="22225"/>
                      </a:cubicBezTo>
                      <a:cubicBezTo>
                        <a:pt x="350981" y="23932"/>
                        <a:pt x="348219" y="26748"/>
                        <a:pt x="344869" y="28575"/>
                      </a:cubicBezTo>
                      <a:cubicBezTo>
                        <a:pt x="336559" y="33108"/>
                        <a:pt x="328258" y="37759"/>
                        <a:pt x="319469" y="41275"/>
                      </a:cubicBezTo>
                      <a:cubicBezTo>
                        <a:pt x="314177" y="43392"/>
                        <a:pt x="308576" y="44857"/>
                        <a:pt x="303594" y="47625"/>
                      </a:cubicBezTo>
                      <a:cubicBezTo>
                        <a:pt x="298968" y="50195"/>
                        <a:pt x="295465" y="54484"/>
                        <a:pt x="290894" y="57150"/>
                      </a:cubicBezTo>
                      <a:cubicBezTo>
                        <a:pt x="282717" y="61920"/>
                        <a:pt x="273611" y="64980"/>
                        <a:pt x="265494" y="69850"/>
                      </a:cubicBezTo>
                      <a:cubicBezTo>
                        <a:pt x="260202" y="73025"/>
                        <a:pt x="254641" y="75788"/>
                        <a:pt x="249619" y="79375"/>
                      </a:cubicBezTo>
                      <a:cubicBezTo>
                        <a:pt x="213199" y="105389"/>
                        <a:pt x="233935" y="97303"/>
                        <a:pt x="211519" y="104775"/>
                      </a:cubicBezTo>
                      <a:cubicBezTo>
                        <a:pt x="206227" y="109008"/>
                        <a:pt x="201196" y="113589"/>
                        <a:pt x="195644" y="117475"/>
                      </a:cubicBezTo>
                      <a:cubicBezTo>
                        <a:pt x="190588" y="121014"/>
                        <a:pt x="184640" y="123211"/>
                        <a:pt x="179769" y="127000"/>
                      </a:cubicBezTo>
                      <a:cubicBezTo>
                        <a:pt x="175043" y="130676"/>
                        <a:pt x="172050" y="136379"/>
                        <a:pt x="167069" y="139700"/>
                      </a:cubicBezTo>
                      <a:cubicBezTo>
                        <a:pt x="162327" y="142861"/>
                        <a:pt x="156402" y="143735"/>
                        <a:pt x="151194" y="146050"/>
                      </a:cubicBezTo>
                      <a:cubicBezTo>
                        <a:pt x="146869" y="147972"/>
                        <a:pt x="142819" y="150478"/>
                        <a:pt x="138494" y="152400"/>
                      </a:cubicBezTo>
                      <a:cubicBezTo>
                        <a:pt x="133286" y="154715"/>
                        <a:pt x="127717" y="156201"/>
                        <a:pt x="122619" y="158750"/>
                      </a:cubicBezTo>
                      <a:cubicBezTo>
                        <a:pt x="119206" y="160457"/>
                        <a:pt x="116714" y="163893"/>
                        <a:pt x="113094" y="165100"/>
                      </a:cubicBezTo>
                      <a:cubicBezTo>
                        <a:pt x="100065" y="169443"/>
                        <a:pt x="46800" y="171425"/>
                        <a:pt x="46419" y="171450"/>
                      </a:cubicBezTo>
                      <a:cubicBezTo>
                        <a:pt x="43244" y="172508"/>
                        <a:pt x="40123" y="173744"/>
                        <a:pt x="36894" y="174625"/>
                      </a:cubicBezTo>
                      <a:cubicBezTo>
                        <a:pt x="28474" y="176921"/>
                        <a:pt x="11494" y="180975"/>
                        <a:pt x="11494" y="180975"/>
                      </a:cubicBezTo>
                      <a:cubicBezTo>
                        <a:pt x="2036" y="190433"/>
                        <a:pt x="-5391" y="192693"/>
                        <a:pt x="5144" y="209550"/>
                      </a:cubicBezTo>
                      <a:cubicBezTo>
                        <a:pt x="6985" y="212495"/>
                        <a:pt x="23149" y="217869"/>
                        <a:pt x="27369" y="219075"/>
                      </a:cubicBezTo>
                      <a:cubicBezTo>
                        <a:pt x="31565" y="220274"/>
                        <a:pt x="22077" y="216429"/>
                        <a:pt x="21019" y="215900"/>
                      </a:cubicBezTo>
                      <a:close/>
                    </a:path>
                  </a:pathLst>
                </a:custGeom>
                <a:solidFill>
                  <a:srgbClr val="B5D820"/>
                </a:solidFill>
                <a:ln w="12700" cap="flat" cmpd="sng" algn="ctr">
                  <a:solidFill>
                    <a:srgbClr val="B5D820">
                      <a:lumMod val="75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>
                    <a:defRPr/>
                  </a:pPr>
                  <a:endParaRPr lang="en-US" kern="0">
                    <a:solidFill>
                      <a:srgbClr val="FFFFFF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998" name="Oval 997">
                  <a:extLst>
                    <a:ext uri="{FF2B5EF4-FFF2-40B4-BE49-F238E27FC236}">
                      <a16:creationId xmlns:a16="http://schemas.microsoft.com/office/drawing/2014/main" id="{2FC979B3-B7C1-00CE-6BF0-92765781ED8E}"/>
                    </a:ext>
                  </a:extLst>
                </p:cNvPr>
                <p:cNvSpPr/>
                <p:nvPr/>
              </p:nvSpPr>
              <p:spPr>
                <a:xfrm>
                  <a:off x="9986336" y="4396166"/>
                  <a:ext cx="188865" cy="116426"/>
                </a:xfrm>
                <a:prstGeom prst="ellipse">
                  <a:avLst/>
                </a:prstGeom>
                <a:solidFill>
                  <a:srgbClr val="B5D820">
                    <a:lumMod val="50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>
                    <a:defRPr/>
                  </a:pPr>
                  <a:endParaRPr lang="en-US" kern="0">
                    <a:solidFill>
                      <a:srgbClr val="FFFFFF"/>
                    </a:solidFill>
                    <a:latin typeface="Arial" panose="020B0604020202020204"/>
                  </a:endParaRPr>
                </a:p>
              </p:txBody>
            </p:sp>
          </p:grpSp>
          <p:sp>
            <p:nvSpPr>
              <p:cNvPr id="999" name="TextBox 998">
                <a:extLst>
                  <a:ext uri="{FF2B5EF4-FFF2-40B4-BE49-F238E27FC236}">
                    <a16:creationId xmlns:a16="http://schemas.microsoft.com/office/drawing/2014/main" id="{182C09D4-ED68-B601-FCCE-298B5219C60B}"/>
                  </a:ext>
                </a:extLst>
              </p:cNvPr>
              <p:cNvSpPr txBox="1"/>
              <p:nvPr/>
            </p:nvSpPr>
            <p:spPr>
              <a:xfrm>
                <a:off x="2860874" y="2754979"/>
                <a:ext cx="394451" cy="9590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defRPr/>
                </a:pPr>
                <a:r>
                  <a:rPr lang="en-US" sz="900" b="1" kern="0">
                    <a:solidFill>
                      <a:srgbClr val="595959">
                        <a:lumMod val="75000"/>
                      </a:srgbClr>
                    </a:solidFill>
                    <a:latin typeface="Arial" panose="020B0604020202020204"/>
                    <a:cs typeface="Arial" panose="020B0604020202020204" pitchFamily="34" charset="0"/>
                  </a:rPr>
                  <a:t>Eosinophil</a:t>
                </a:r>
              </a:p>
            </p:txBody>
          </p:sp>
          <p:grpSp>
            <p:nvGrpSpPr>
              <p:cNvPr id="1000" name="Group 999">
                <a:extLst>
                  <a:ext uri="{FF2B5EF4-FFF2-40B4-BE49-F238E27FC236}">
                    <a16:creationId xmlns:a16="http://schemas.microsoft.com/office/drawing/2014/main" id="{B569633F-8CE7-61C8-AF68-7F70ACAD87B2}"/>
                  </a:ext>
                </a:extLst>
              </p:cNvPr>
              <p:cNvGrpSpPr/>
              <p:nvPr/>
            </p:nvGrpSpPr>
            <p:grpSpPr>
              <a:xfrm rot="5815646">
                <a:off x="3791803" y="2628327"/>
                <a:ext cx="288842" cy="375852"/>
                <a:chOff x="3957270" y="1839751"/>
                <a:chExt cx="517273" cy="592876"/>
              </a:xfrm>
            </p:grpSpPr>
            <p:grpSp>
              <p:nvGrpSpPr>
                <p:cNvPr id="1001" name="Receptors">
                  <a:extLst>
                    <a:ext uri="{FF2B5EF4-FFF2-40B4-BE49-F238E27FC236}">
                      <a16:creationId xmlns:a16="http://schemas.microsoft.com/office/drawing/2014/main" id="{924C90C6-0301-6B3A-A5EB-6BC098F3E0E1}"/>
                    </a:ext>
                  </a:extLst>
                </p:cNvPr>
                <p:cNvGrpSpPr/>
                <p:nvPr/>
              </p:nvGrpSpPr>
              <p:grpSpPr>
                <a:xfrm rot="9229536" flipH="1">
                  <a:off x="4152195" y="2092004"/>
                  <a:ext cx="229444" cy="191923"/>
                  <a:chOff x="3098615" y="2684115"/>
                  <a:chExt cx="232213" cy="190739"/>
                </a:xfrm>
              </p:grpSpPr>
              <p:grpSp>
                <p:nvGrpSpPr>
                  <p:cNvPr id="1095" name="Group 1094">
                    <a:extLst>
                      <a:ext uri="{FF2B5EF4-FFF2-40B4-BE49-F238E27FC236}">
                        <a16:creationId xmlns:a16="http://schemas.microsoft.com/office/drawing/2014/main" id="{A9A963E1-DA9D-E20E-DC84-D616A16DC106}"/>
                      </a:ext>
                    </a:extLst>
                  </p:cNvPr>
                  <p:cNvGrpSpPr/>
                  <p:nvPr/>
                </p:nvGrpSpPr>
                <p:grpSpPr>
                  <a:xfrm rot="886797">
                    <a:off x="3098615" y="2684115"/>
                    <a:ext cx="100965" cy="152400"/>
                    <a:chOff x="935355" y="3352800"/>
                    <a:chExt cx="100965" cy="152400"/>
                  </a:xfrm>
                </p:grpSpPr>
                <p:sp>
                  <p:nvSpPr>
                    <p:cNvPr id="1099" name="Freeform: Shape 6604">
                      <a:extLst>
                        <a:ext uri="{FF2B5EF4-FFF2-40B4-BE49-F238E27FC236}">
                          <a16:creationId xmlns:a16="http://schemas.microsoft.com/office/drawing/2014/main" id="{89F50D4B-6099-A91B-92A3-55852E776A7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35355" y="3352800"/>
                      <a:ext cx="100965" cy="76200"/>
                    </a:xfrm>
                    <a:custGeom>
                      <a:avLst/>
                      <a:gdLst>
                        <a:gd name="connsiteX0" fmla="*/ 0 w 100965"/>
                        <a:gd name="connsiteY0" fmla="*/ 0 h 76200"/>
                        <a:gd name="connsiteX1" fmla="*/ 0 w 100965"/>
                        <a:gd name="connsiteY1" fmla="*/ 76200 h 76200"/>
                        <a:gd name="connsiteX2" fmla="*/ 100965 w 100965"/>
                        <a:gd name="connsiteY2" fmla="*/ 76200 h 76200"/>
                        <a:gd name="connsiteX3" fmla="*/ 100965 w 100965"/>
                        <a:gd name="connsiteY3" fmla="*/ 1905 h 762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00965" h="76200">
                          <a:moveTo>
                            <a:pt x="0" y="0"/>
                          </a:moveTo>
                          <a:lnTo>
                            <a:pt x="0" y="76200"/>
                          </a:lnTo>
                          <a:lnTo>
                            <a:pt x="100965" y="76200"/>
                          </a:lnTo>
                          <a:lnTo>
                            <a:pt x="100965" y="1905"/>
                          </a:lnTo>
                        </a:path>
                      </a:pathLst>
                    </a:custGeom>
                    <a:noFill/>
                    <a:ln w="19050" cap="rnd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cxnSp>
                  <p:nvCxnSpPr>
                    <p:cNvPr id="1100" name="Straight Connector 1099">
                      <a:extLst>
                        <a:ext uri="{FF2B5EF4-FFF2-40B4-BE49-F238E27FC236}">
                          <a16:creationId xmlns:a16="http://schemas.microsoft.com/office/drawing/2014/main" id="{5CA7470F-C56C-28C0-99AF-7516650ECCDF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985837" y="3429000"/>
                      <a:ext cx="0" cy="76200"/>
                    </a:xfrm>
                    <a:prstGeom prst="line">
                      <a:avLst/>
                    </a:prstGeom>
                    <a:noFill/>
                    <a:ln w="19050" cap="rnd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096" name="Group 1095">
                    <a:extLst>
                      <a:ext uri="{FF2B5EF4-FFF2-40B4-BE49-F238E27FC236}">
                        <a16:creationId xmlns:a16="http://schemas.microsoft.com/office/drawing/2014/main" id="{4604FD84-C0C8-A2EC-37DE-DAB93FA199F0}"/>
                      </a:ext>
                    </a:extLst>
                  </p:cNvPr>
                  <p:cNvGrpSpPr/>
                  <p:nvPr/>
                </p:nvGrpSpPr>
                <p:grpSpPr>
                  <a:xfrm rot="886797">
                    <a:off x="3229863" y="2722454"/>
                    <a:ext cx="100965" cy="152400"/>
                    <a:chOff x="935355" y="3352800"/>
                    <a:chExt cx="100965" cy="152400"/>
                  </a:xfrm>
                </p:grpSpPr>
                <p:sp>
                  <p:nvSpPr>
                    <p:cNvPr id="1097" name="Freeform: Shape 6602">
                      <a:extLst>
                        <a:ext uri="{FF2B5EF4-FFF2-40B4-BE49-F238E27FC236}">
                          <a16:creationId xmlns:a16="http://schemas.microsoft.com/office/drawing/2014/main" id="{C733BC0E-8427-F4E6-3137-9F4ADED126E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35355" y="3352800"/>
                      <a:ext cx="100965" cy="76200"/>
                    </a:xfrm>
                    <a:custGeom>
                      <a:avLst/>
                      <a:gdLst>
                        <a:gd name="connsiteX0" fmla="*/ 0 w 100965"/>
                        <a:gd name="connsiteY0" fmla="*/ 0 h 76200"/>
                        <a:gd name="connsiteX1" fmla="*/ 0 w 100965"/>
                        <a:gd name="connsiteY1" fmla="*/ 76200 h 76200"/>
                        <a:gd name="connsiteX2" fmla="*/ 100965 w 100965"/>
                        <a:gd name="connsiteY2" fmla="*/ 76200 h 76200"/>
                        <a:gd name="connsiteX3" fmla="*/ 100965 w 100965"/>
                        <a:gd name="connsiteY3" fmla="*/ 1905 h 762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00965" h="76200">
                          <a:moveTo>
                            <a:pt x="0" y="0"/>
                          </a:moveTo>
                          <a:lnTo>
                            <a:pt x="0" y="76200"/>
                          </a:lnTo>
                          <a:lnTo>
                            <a:pt x="100965" y="76200"/>
                          </a:lnTo>
                          <a:lnTo>
                            <a:pt x="100965" y="1905"/>
                          </a:lnTo>
                        </a:path>
                      </a:pathLst>
                    </a:custGeom>
                    <a:noFill/>
                    <a:ln w="19050" cap="rnd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cxnSp>
                  <p:nvCxnSpPr>
                    <p:cNvPr id="1098" name="Straight Connector 1097">
                      <a:extLst>
                        <a:ext uri="{FF2B5EF4-FFF2-40B4-BE49-F238E27FC236}">
                          <a16:creationId xmlns:a16="http://schemas.microsoft.com/office/drawing/2014/main" id="{630C2587-7EEB-34A0-E07C-341B11DA8880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985837" y="3429000"/>
                      <a:ext cx="0" cy="76200"/>
                    </a:xfrm>
                    <a:prstGeom prst="line">
                      <a:avLst/>
                    </a:prstGeom>
                    <a:noFill/>
                    <a:ln w="19050" cap="rnd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</a:ln>
                    <a:effectLst/>
                  </p:spPr>
                </p:cxnSp>
              </p:grpSp>
            </p:grpSp>
            <p:grpSp>
              <p:nvGrpSpPr>
                <p:cNvPr id="1002" name="Group 1001">
                  <a:extLst>
                    <a:ext uri="{FF2B5EF4-FFF2-40B4-BE49-F238E27FC236}">
                      <a16:creationId xmlns:a16="http://schemas.microsoft.com/office/drawing/2014/main" id="{1417C798-48BB-2543-EAF0-3B7E472765DA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 rot="9533769" flipH="1">
                  <a:off x="3957270" y="1839751"/>
                  <a:ext cx="333804" cy="344130"/>
                  <a:chOff x="10593932" y="3239058"/>
                  <a:chExt cx="296031" cy="305188"/>
                </a:xfrm>
              </p:grpSpPr>
              <p:sp>
                <p:nvSpPr>
                  <p:cNvPr id="1023" name="Oval 1022">
                    <a:extLst>
                      <a:ext uri="{FF2B5EF4-FFF2-40B4-BE49-F238E27FC236}">
                        <a16:creationId xmlns:a16="http://schemas.microsoft.com/office/drawing/2014/main" id="{6252D8AE-807D-C197-AFF6-838DEC1A43DD}"/>
                      </a:ext>
                    </a:extLst>
                  </p:cNvPr>
                  <p:cNvSpPr/>
                  <p:nvPr/>
                </p:nvSpPr>
                <p:spPr>
                  <a:xfrm rot="8224245">
                    <a:off x="10593932" y="3239058"/>
                    <a:ext cx="296031" cy="305188"/>
                  </a:xfrm>
                  <a:prstGeom prst="ellipse">
                    <a:avLst/>
                  </a:prstGeom>
                  <a:gradFill>
                    <a:gsLst>
                      <a:gs pos="0">
                        <a:srgbClr val="0D3759">
                          <a:lumMod val="20000"/>
                          <a:lumOff val="80000"/>
                        </a:srgbClr>
                      </a:gs>
                      <a:gs pos="99000">
                        <a:srgbClr val="0D3759"/>
                      </a:gs>
                    </a:gsLst>
                    <a:path path="circle">
                      <a:fillToRect l="50000" t="50000" r="50000" b="50000"/>
                    </a:path>
                  </a:gradFill>
                  <a:ln w="9525" cap="flat" cmpd="sng" algn="ctr">
                    <a:solidFill>
                      <a:srgbClr val="0D3759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>
                      <a:defRPr/>
                    </a:pPr>
                    <a:endParaRPr lang="en-US" sz="1600" kern="0">
                      <a:solidFill>
                        <a:srgbClr val="FFFFFF"/>
                      </a:solidFill>
                      <a:latin typeface="Arial" panose="020B0604020202020204"/>
                    </a:endParaRPr>
                  </a:p>
                </p:txBody>
              </p:sp>
              <p:grpSp>
                <p:nvGrpSpPr>
                  <p:cNvPr id="1024" name="Group 1023">
                    <a:extLst>
                      <a:ext uri="{FF2B5EF4-FFF2-40B4-BE49-F238E27FC236}">
                        <a16:creationId xmlns:a16="http://schemas.microsoft.com/office/drawing/2014/main" id="{F6122F61-9B8A-2451-9789-0B6F706AFB8F}"/>
                      </a:ext>
                    </a:extLst>
                  </p:cNvPr>
                  <p:cNvGrpSpPr/>
                  <p:nvPr/>
                </p:nvGrpSpPr>
                <p:grpSpPr>
                  <a:xfrm>
                    <a:off x="10609815" y="3262291"/>
                    <a:ext cx="241573" cy="266299"/>
                    <a:chOff x="10609815" y="3262291"/>
                    <a:chExt cx="241573" cy="266299"/>
                  </a:xfrm>
                </p:grpSpPr>
                <p:grpSp>
                  <p:nvGrpSpPr>
                    <p:cNvPr id="1025" name="Group 1024">
                      <a:extLst>
                        <a:ext uri="{FF2B5EF4-FFF2-40B4-BE49-F238E27FC236}">
                          <a16:creationId xmlns:a16="http://schemas.microsoft.com/office/drawing/2014/main" id="{AEC7EF40-A111-95C4-3D0C-AA400CE6B632}"/>
                        </a:ext>
                      </a:extLst>
                    </p:cNvPr>
                    <p:cNvGrpSpPr/>
                    <p:nvPr/>
                  </p:nvGrpSpPr>
                  <p:grpSpPr>
                    <a:xfrm rot="5697808">
                      <a:off x="10602700" y="3291446"/>
                      <a:ext cx="177879" cy="163650"/>
                      <a:chOff x="8770428" y="4145225"/>
                      <a:chExt cx="307647" cy="276804"/>
                    </a:xfrm>
                    <a:solidFill>
                      <a:srgbClr val="824A78"/>
                    </a:solidFill>
                  </p:grpSpPr>
                  <p:sp>
                    <p:nvSpPr>
                      <p:cNvPr id="1077" name="Freeform: Shape 62">
                        <a:extLst>
                          <a:ext uri="{FF2B5EF4-FFF2-40B4-BE49-F238E27FC236}">
                            <a16:creationId xmlns:a16="http://schemas.microsoft.com/office/drawing/2014/main" id="{90952C40-5401-1358-53B3-2FC0D408D4FD}"/>
                          </a:ext>
                        </a:extLst>
                      </p:cNvPr>
                      <p:cNvSpPr/>
                      <p:nvPr/>
                    </p:nvSpPr>
                    <p:spPr>
                      <a:xfrm rot="5813516">
                        <a:off x="8823930" y="4215604"/>
                        <a:ext cx="27432" cy="27432"/>
                      </a:xfrm>
                      <a:custGeom>
                        <a:avLst/>
                        <a:gdLst>
                          <a:gd name="connsiteX0" fmla="*/ 32385 w 80010"/>
                          <a:gd name="connsiteY0" fmla="*/ 8118 h 64150"/>
                          <a:gd name="connsiteX1" fmla="*/ 32385 w 80010"/>
                          <a:gd name="connsiteY1" fmla="*/ 8118 h 64150"/>
                          <a:gd name="connsiteX2" fmla="*/ 3810 w 80010"/>
                          <a:gd name="connsiteY2" fmla="*/ 10023 h 64150"/>
                          <a:gd name="connsiteX3" fmla="*/ 0 w 80010"/>
                          <a:gd name="connsiteY3" fmla="*/ 21453 h 64150"/>
                          <a:gd name="connsiteX4" fmla="*/ 7620 w 80010"/>
                          <a:gd name="connsiteY4" fmla="*/ 42408 h 64150"/>
                          <a:gd name="connsiteX5" fmla="*/ 13335 w 80010"/>
                          <a:gd name="connsiteY5" fmla="*/ 46218 h 64150"/>
                          <a:gd name="connsiteX6" fmla="*/ 19050 w 80010"/>
                          <a:gd name="connsiteY6" fmla="*/ 51933 h 64150"/>
                          <a:gd name="connsiteX7" fmla="*/ 68580 w 80010"/>
                          <a:gd name="connsiteY7" fmla="*/ 55743 h 64150"/>
                          <a:gd name="connsiteX8" fmla="*/ 72390 w 80010"/>
                          <a:gd name="connsiteY8" fmla="*/ 50028 h 64150"/>
                          <a:gd name="connsiteX9" fmla="*/ 78105 w 80010"/>
                          <a:gd name="connsiteY9" fmla="*/ 44313 h 64150"/>
                          <a:gd name="connsiteX10" fmla="*/ 80010 w 80010"/>
                          <a:gd name="connsiteY10" fmla="*/ 38598 h 64150"/>
                          <a:gd name="connsiteX11" fmla="*/ 78105 w 80010"/>
                          <a:gd name="connsiteY11" fmla="*/ 27168 h 64150"/>
                          <a:gd name="connsiteX12" fmla="*/ 60960 w 80010"/>
                          <a:gd name="connsiteY12" fmla="*/ 21453 h 64150"/>
                          <a:gd name="connsiteX13" fmla="*/ 53340 w 80010"/>
                          <a:gd name="connsiteY13" fmla="*/ 23358 h 64150"/>
                          <a:gd name="connsiteX14" fmla="*/ 57150 w 80010"/>
                          <a:gd name="connsiteY14" fmla="*/ 11928 h 64150"/>
                          <a:gd name="connsiteX15" fmla="*/ 59055 w 80010"/>
                          <a:gd name="connsiteY15" fmla="*/ 6213 h 64150"/>
                          <a:gd name="connsiteX16" fmla="*/ 34290 w 80010"/>
                          <a:gd name="connsiteY16" fmla="*/ 498 h 64150"/>
                          <a:gd name="connsiteX17" fmla="*/ 32385 w 80010"/>
                          <a:gd name="connsiteY17" fmla="*/ 8118 h 64150"/>
                          <a:gd name="connsiteX0" fmla="*/ 32385 w 80010"/>
                          <a:gd name="connsiteY0" fmla="*/ 8118 h 64150"/>
                          <a:gd name="connsiteX1" fmla="*/ 32385 w 80010"/>
                          <a:gd name="connsiteY1" fmla="*/ 8118 h 64150"/>
                          <a:gd name="connsiteX2" fmla="*/ 3810 w 80010"/>
                          <a:gd name="connsiteY2" fmla="*/ 10023 h 64150"/>
                          <a:gd name="connsiteX3" fmla="*/ 0 w 80010"/>
                          <a:gd name="connsiteY3" fmla="*/ 21453 h 64150"/>
                          <a:gd name="connsiteX4" fmla="*/ 7620 w 80010"/>
                          <a:gd name="connsiteY4" fmla="*/ 42408 h 64150"/>
                          <a:gd name="connsiteX5" fmla="*/ 13335 w 80010"/>
                          <a:gd name="connsiteY5" fmla="*/ 46218 h 64150"/>
                          <a:gd name="connsiteX6" fmla="*/ 19050 w 80010"/>
                          <a:gd name="connsiteY6" fmla="*/ 51933 h 64150"/>
                          <a:gd name="connsiteX7" fmla="*/ 68580 w 80010"/>
                          <a:gd name="connsiteY7" fmla="*/ 55743 h 64150"/>
                          <a:gd name="connsiteX8" fmla="*/ 72390 w 80010"/>
                          <a:gd name="connsiteY8" fmla="*/ 50028 h 64150"/>
                          <a:gd name="connsiteX9" fmla="*/ 78105 w 80010"/>
                          <a:gd name="connsiteY9" fmla="*/ 44313 h 64150"/>
                          <a:gd name="connsiteX10" fmla="*/ 80010 w 80010"/>
                          <a:gd name="connsiteY10" fmla="*/ 38598 h 64150"/>
                          <a:gd name="connsiteX11" fmla="*/ 78105 w 80010"/>
                          <a:gd name="connsiteY11" fmla="*/ 27168 h 64150"/>
                          <a:gd name="connsiteX12" fmla="*/ 60960 w 80010"/>
                          <a:gd name="connsiteY12" fmla="*/ 21453 h 64150"/>
                          <a:gd name="connsiteX13" fmla="*/ 53340 w 80010"/>
                          <a:gd name="connsiteY13" fmla="*/ 23358 h 64150"/>
                          <a:gd name="connsiteX14" fmla="*/ 57150 w 80010"/>
                          <a:gd name="connsiteY14" fmla="*/ 11928 h 64150"/>
                          <a:gd name="connsiteX15" fmla="*/ 59055 w 80010"/>
                          <a:gd name="connsiteY15" fmla="*/ 6213 h 64150"/>
                          <a:gd name="connsiteX16" fmla="*/ 34290 w 80010"/>
                          <a:gd name="connsiteY16" fmla="*/ 498 h 64150"/>
                          <a:gd name="connsiteX17" fmla="*/ 32385 w 80010"/>
                          <a:gd name="connsiteY17" fmla="*/ 8118 h 64150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179 h 56211"/>
                          <a:gd name="connsiteX1" fmla="*/ 32385 w 80010"/>
                          <a:gd name="connsiteY1" fmla="*/ 179 h 56211"/>
                          <a:gd name="connsiteX2" fmla="*/ 3810 w 80010"/>
                          <a:gd name="connsiteY2" fmla="*/ 2084 h 56211"/>
                          <a:gd name="connsiteX3" fmla="*/ 0 w 80010"/>
                          <a:gd name="connsiteY3" fmla="*/ 13514 h 56211"/>
                          <a:gd name="connsiteX4" fmla="*/ 7620 w 80010"/>
                          <a:gd name="connsiteY4" fmla="*/ 34469 h 56211"/>
                          <a:gd name="connsiteX5" fmla="*/ 13335 w 80010"/>
                          <a:gd name="connsiteY5" fmla="*/ 38279 h 56211"/>
                          <a:gd name="connsiteX6" fmla="*/ 19050 w 80010"/>
                          <a:gd name="connsiteY6" fmla="*/ 43994 h 56211"/>
                          <a:gd name="connsiteX7" fmla="*/ 68580 w 80010"/>
                          <a:gd name="connsiteY7" fmla="*/ 47804 h 56211"/>
                          <a:gd name="connsiteX8" fmla="*/ 72390 w 80010"/>
                          <a:gd name="connsiteY8" fmla="*/ 42089 h 56211"/>
                          <a:gd name="connsiteX9" fmla="*/ 78105 w 80010"/>
                          <a:gd name="connsiteY9" fmla="*/ 36374 h 56211"/>
                          <a:gd name="connsiteX10" fmla="*/ 80010 w 80010"/>
                          <a:gd name="connsiteY10" fmla="*/ 30659 h 56211"/>
                          <a:gd name="connsiteX11" fmla="*/ 78105 w 80010"/>
                          <a:gd name="connsiteY11" fmla="*/ 19229 h 56211"/>
                          <a:gd name="connsiteX12" fmla="*/ 60960 w 80010"/>
                          <a:gd name="connsiteY12" fmla="*/ 13514 h 56211"/>
                          <a:gd name="connsiteX13" fmla="*/ 53340 w 80010"/>
                          <a:gd name="connsiteY13" fmla="*/ 15419 h 56211"/>
                          <a:gd name="connsiteX14" fmla="*/ 57150 w 80010"/>
                          <a:gd name="connsiteY14" fmla="*/ 3989 h 56211"/>
                          <a:gd name="connsiteX15" fmla="*/ 32385 w 80010"/>
                          <a:gd name="connsiteY15" fmla="*/ 179 h 56211"/>
                          <a:gd name="connsiteX0" fmla="*/ 32385 w 80010"/>
                          <a:gd name="connsiteY0" fmla="*/ 179 h 56211"/>
                          <a:gd name="connsiteX1" fmla="*/ 32385 w 80010"/>
                          <a:gd name="connsiteY1" fmla="*/ 179 h 56211"/>
                          <a:gd name="connsiteX2" fmla="*/ 3810 w 80010"/>
                          <a:gd name="connsiteY2" fmla="*/ 2084 h 56211"/>
                          <a:gd name="connsiteX3" fmla="*/ 0 w 80010"/>
                          <a:gd name="connsiteY3" fmla="*/ 13514 h 56211"/>
                          <a:gd name="connsiteX4" fmla="*/ 7620 w 80010"/>
                          <a:gd name="connsiteY4" fmla="*/ 34469 h 56211"/>
                          <a:gd name="connsiteX5" fmla="*/ 13335 w 80010"/>
                          <a:gd name="connsiteY5" fmla="*/ 38279 h 56211"/>
                          <a:gd name="connsiteX6" fmla="*/ 19050 w 80010"/>
                          <a:gd name="connsiteY6" fmla="*/ 43994 h 56211"/>
                          <a:gd name="connsiteX7" fmla="*/ 68580 w 80010"/>
                          <a:gd name="connsiteY7" fmla="*/ 47804 h 56211"/>
                          <a:gd name="connsiteX8" fmla="*/ 72390 w 80010"/>
                          <a:gd name="connsiteY8" fmla="*/ 42089 h 56211"/>
                          <a:gd name="connsiteX9" fmla="*/ 78105 w 80010"/>
                          <a:gd name="connsiteY9" fmla="*/ 36374 h 56211"/>
                          <a:gd name="connsiteX10" fmla="*/ 80010 w 80010"/>
                          <a:gd name="connsiteY10" fmla="*/ 30659 h 56211"/>
                          <a:gd name="connsiteX11" fmla="*/ 78105 w 80010"/>
                          <a:gd name="connsiteY11" fmla="*/ 19229 h 56211"/>
                          <a:gd name="connsiteX12" fmla="*/ 60960 w 80010"/>
                          <a:gd name="connsiteY12" fmla="*/ 13514 h 56211"/>
                          <a:gd name="connsiteX13" fmla="*/ 53340 w 80010"/>
                          <a:gd name="connsiteY13" fmla="*/ 15419 h 56211"/>
                          <a:gd name="connsiteX14" fmla="*/ 40048 w 80010"/>
                          <a:gd name="connsiteY14" fmla="*/ 8639 h 56211"/>
                          <a:gd name="connsiteX15" fmla="*/ 32385 w 80010"/>
                          <a:gd name="connsiteY15" fmla="*/ 179 h 56211"/>
                          <a:gd name="connsiteX0" fmla="*/ 32385 w 80010"/>
                          <a:gd name="connsiteY0" fmla="*/ 179 h 52171"/>
                          <a:gd name="connsiteX1" fmla="*/ 32385 w 80010"/>
                          <a:gd name="connsiteY1" fmla="*/ 179 h 52171"/>
                          <a:gd name="connsiteX2" fmla="*/ 3810 w 80010"/>
                          <a:gd name="connsiteY2" fmla="*/ 2084 h 52171"/>
                          <a:gd name="connsiteX3" fmla="*/ 0 w 80010"/>
                          <a:gd name="connsiteY3" fmla="*/ 13514 h 52171"/>
                          <a:gd name="connsiteX4" fmla="*/ 7620 w 80010"/>
                          <a:gd name="connsiteY4" fmla="*/ 34469 h 52171"/>
                          <a:gd name="connsiteX5" fmla="*/ 13335 w 80010"/>
                          <a:gd name="connsiteY5" fmla="*/ 38279 h 52171"/>
                          <a:gd name="connsiteX6" fmla="*/ 19050 w 80010"/>
                          <a:gd name="connsiteY6" fmla="*/ 43994 h 52171"/>
                          <a:gd name="connsiteX7" fmla="*/ 68580 w 80010"/>
                          <a:gd name="connsiteY7" fmla="*/ 47804 h 52171"/>
                          <a:gd name="connsiteX8" fmla="*/ 72390 w 80010"/>
                          <a:gd name="connsiteY8" fmla="*/ 42089 h 52171"/>
                          <a:gd name="connsiteX9" fmla="*/ 78105 w 80010"/>
                          <a:gd name="connsiteY9" fmla="*/ 36374 h 52171"/>
                          <a:gd name="connsiteX10" fmla="*/ 80010 w 80010"/>
                          <a:gd name="connsiteY10" fmla="*/ 30659 h 52171"/>
                          <a:gd name="connsiteX11" fmla="*/ 78105 w 80010"/>
                          <a:gd name="connsiteY11" fmla="*/ 19229 h 52171"/>
                          <a:gd name="connsiteX12" fmla="*/ 60960 w 80010"/>
                          <a:gd name="connsiteY12" fmla="*/ 13514 h 52171"/>
                          <a:gd name="connsiteX13" fmla="*/ 53340 w 80010"/>
                          <a:gd name="connsiteY13" fmla="*/ 15419 h 52171"/>
                          <a:gd name="connsiteX14" fmla="*/ 40048 w 80010"/>
                          <a:gd name="connsiteY14" fmla="*/ 8639 h 52171"/>
                          <a:gd name="connsiteX15" fmla="*/ 32385 w 80010"/>
                          <a:gd name="connsiteY15" fmla="*/ 179 h 52171"/>
                          <a:gd name="connsiteX0" fmla="*/ 32385 w 80010"/>
                          <a:gd name="connsiteY0" fmla="*/ 179 h 52432"/>
                          <a:gd name="connsiteX1" fmla="*/ 32385 w 80010"/>
                          <a:gd name="connsiteY1" fmla="*/ 179 h 52432"/>
                          <a:gd name="connsiteX2" fmla="*/ 3810 w 80010"/>
                          <a:gd name="connsiteY2" fmla="*/ 2084 h 52432"/>
                          <a:gd name="connsiteX3" fmla="*/ 0 w 80010"/>
                          <a:gd name="connsiteY3" fmla="*/ 13514 h 52432"/>
                          <a:gd name="connsiteX4" fmla="*/ 7620 w 80010"/>
                          <a:gd name="connsiteY4" fmla="*/ 34469 h 52432"/>
                          <a:gd name="connsiteX5" fmla="*/ 13335 w 80010"/>
                          <a:gd name="connsiteY5" fmla="*/ 38279 h 52432"/>
                          <a:gd name="connsiteX6" fmla="*/ 19050 w 80010"/>
                          <a:gd name="connsiteY6" fmla="*/ 43994 h 52432"/>
                          <a:gd name="connsiteX7" fmla="*/ 68580 w 80010"/>
                          <a:gd name="connsiteY7" fmla="*/ 47804 h 52432"/>
                          <a:gd name="connsiteX8" fmla="*/ 72390 w 80010"/>
                          <a:gd name="connsiteY8" fmla="*/ 42089 h 52432"/>
                          <a:gd name="connsiteX9" fmla="*/ 78105 w 80010"/>
                          <a:gd name="connsiteY9" fmla="*/ 36374 h 52432"/>
                          <a:gd name="connsiteX10" fmla="*/ 80010 w 80010"/>
                          <a:gd name="connsiteY10" fmla="*/ 30659 h 52432"/>
                          <a:gd name="connsiteX11" fmla="*/ 78105 w 80010"/>
                          <a:gd name="connsiteY11" fmla="*/ 19229 h 52432"/>
                          <a:gd name="connsiteX12" fmla="*/ 60960 w 80010"/>
                          <a:gd name="connsiteY12" fmla="*/ 13514 h 52432"/>
                          <a:gd name="connsiteX13" fmla="*/ 53340 w 80010"/>
                          <a:gd name="connsiteY13" fmla="*/ 15419 h 52432"/>
                          <a:gd name="connsiteX14" fmla="*/ 40048 w 80010"/>
                          <a:gd name="connsiteY14" fmla="*/ 8639 h 52432"/>
                          <a:gd name="connsiteX15" fmla="*/ 32385 w 80010"/>
                          <a:gd name="connsiteY15" fmla="*/ 179 h 52432"/>
                          <a:gd name="connsiteX0" fmla="*/ 32385 w 80010"/>
                          <a:gd name="connsiteY0" fmla="*/ 179 h 55651"/>
                          <a:gd name="connsiteX1" fmla="*/ 32385 w 80010"/>
                          <a:gd name="connsiteY1" fmla="*/ 179 h 55651"/>
                          <a:gd name="connsiteX2" fmla="*/ 3810 w 80010"/>
                          <a:gd name="connsiteY2" fmla="*/ 2084 h 55651"/>
                          <a:gd name="connsiteX3" fmla="*/ 0 w 80010"/>
                          <a:gd name="connsiteY3" fmla="*/ 13514 h 55651"/>
                          <a:gd name="connsiteX4" fmla="*/ 7620 w 80010"/>
                          <a:gd name="connsiteY4" fmla="*/ 34469 h 55651"/>
                          <a:gd name="connsiteX5" fmla="*/ 13335 w 80010"/>
                          <a:gd name="connsiteY5" fmla="*/ 38279 h 55651"/>
                          <a:gd name="connsiteX6" fmla="*/ 19050 w 80010"/>
                          <a:gd name="connsiteY6" fmla="*/ 43994 h 55651"/>
                          <a:gd name="connsiteX7" fmla="*/ 48058 w 80010"/>
                          <a:gd name="connsiteY7" fmla="*/ 52454 h 55651"/>
                          <a:gd name="connsiteX8" fmla="*/ 72390 w 80010"/>
                          <a:gd name="connsiteY8" fmla="*/ 42089 h 55651"/>
                          <a:gd name="connsiteX9" fmla="*/ 78105 w 80010"/>
                          <a:gd name="connsiteY9" fmla="*/ 36374 h 55651"/>
                          <a:gd name="connsiteX10" fmla="*/ 80010 w 80010"/>
                          <a:gd name="connsiteY10" fmla="*/ 30659 h 55651"/>
                          <a:gd name="connsiteX11" fmla="*/ 78105 w 80010"/>
                          <a:gd name="connsiteY11" fmla="*/ 19229 h 55651"/>
                          <a:gd name="connsiteX12" fmla="*/ 60960 w 80010"/>
                          <a:gd name="connsiteY12" fmla="*/ 13514 h 55651"/>
                          <a:gd name="connsiteX13" fmla="*/ 53340 w 80010"/>
                          <a:gd name="connsiteY13" fmla="*/ 15419 h 55651"/>
                          <a:gd name="connsiteX14" fmla="*/ 40048 w 80010"/>
                          <a:gd name="connsiteY14" fmla="*/ 8639 h 55651"/>
                          <a:gd name="connsiteX15" fmla="*/ 32385 w 80010"/>
                          <a:gd name="connsiteY15" fmla="*/ 179 h 55651"/>
                          <a:gd name="connsiteX0" fmla="*/ 32385 w 80010"/>
                          <a:gd name="connsiteY0" fmla="*/ 179 h 53227"/>
                          <a:gd name="connsiteX1" fmla="*/ 32385 w 80010"/>
                          <a:gd name="connsiteY1" fmla="*/ 179 h 53227"/>
                          <a:gd name="connsiteX2" fmla="*/ 3810 w 80010"/>
                          <a:gd name="connsiteY2" fmla="*/ 2084 h 53227"/>
                          <a:gd name="connsiteX3" fmla="*/ 0 w 80010"/>
                          <a:gd name="connsiteY3" fmla="*/ 13514 h 53227"/>
                          <a:gd name="connsiteX4" fmla="*/ 7620 w 80010"/>
                          <a:gd name="connsiteY4" fmla="*/ 34469 h 53227"/>
                          <a:gd name="connsiteX5" fmla="*/ 13335 w 80010"/>
                          <a:gd name="connsiteY5" fmla="*/ 38279 h 53227"/>
                          <a:gd name="connsiteX6" fmla="*/ 19050 w 80010"/>
                          <a:gd name="connsiteY6" fmla="*/ 43994 h 53227"/>
                          <a:gd name="connsiteX7" fmla="*/ 48058 w 80010"/>
                          <a:gd name="connsiteY7" fmla="*/ 52454 h 53227"/>
                          <a:gd name="connsiteX8" fmla="*/ 72390 w 80010"/>
                          <a:gd name="connsiteY8" fmla="*/ 42089 h 53227"/>
                          <a:gd name="connsiteX9" fmla="*/ 78105 w 80010"/>
                          <a:gd name="connsiteY9" fmla="*/ 36374 h 53227"/>
                          <a:gd name="connsiteX10" fmla="*/ 80010 w 80010"/>
                          <a:gd name="connsiteY10" fmla="*/ 30659 h 53227"/>
                          <a:gd name="connsiteX11" fmla="*/ 78105 w 80010"/>
                          <a:gd name="connsiteY11" fmla="*/ 19229 h 53227"/>
                          <a:gd name="connsiteX12" fmla="*/ 60960 w 80010"/>
                          <a:gd name="connsiteY12" fmla="*/ 13514 h 53227"/>
                          <a:gd name="connsiteX13" fmla="*/ 53340 w 80010"/>
                          <a:gd name="connsiteY13" fmla="*/ 15419 h 53227"/>
                          <a:gd name="connsiteX14" fmla="*/ 40048 w 80010"/>
                          <a:gd name="connsiteY14" fmla="*/ 8639 h 53227"/>
                          <a:gd name="connsiteX15" fmla="*/ 32385 w 80010"/>
                          <a:gd name="connsiteY15" fmla="*/ 179 h 5322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80010" h="53227">
                            <a:moveTo>
                              <a:pt x="32385" y="179"/>
                            </a:moveTo>
                            <a:lnTo>
                              <a:pt x="32385" y="179"/>
                            </a:lnTo>
                            <a:cubicBezTo>
                              <a:pt x="22860" y="814"/>
                              <a:pt x="12637" y="-1551"/>
                              <a:pt x="3810" y="2084"/>
                            </a:cubicBezTo>
                            <a:cubicBezTo>
                              <a:pt x="96" y="3613"/>
                              <a:pt x="0" y="13514"/>
                              <a:pt x="0" y="13514"/>
                            </a:cubicBezTo>
                            <a:cubicBezTo>
                              <a:pt x="1410" y="20563"/>
                              <a:pt x="2165" y="29014"/>
                              <a:pt x="7620" y="34469"/>
                            </a:cubicBezTo>
                            <a:cubicBezTo>
                              <a:pt x="9239" y="36088"/>
                              <a:pt x="11576" y="36813"/>
                              <a:pt x="13335" y="38279"/>
                            </a:cubicBezTo>
                            <a:cubicBezTo>
                              <a:pt x="15405" y="40004"/>
                              <a:pt x="17145" y="42089"/>
                              <a:pt x="19050" y="43994"/>
                            </a:cubicBezTo>
                            <a:cubicBezTo>
                              <a:pt x="36453" y="53990"/>
                              <a:pt x="29632" y="54059"/>
                              <a:pt x="48058" y="52454"/>
                            </a:cubicBezTo>
                            <a:cubicBezTo>
                              <a:pt x="50339" y="52255"/>
                              <a:pt x="67382" y="44769"/>
                              <a:pt x="72390" y="42089"/>
                            </a:cubicBezTo>
                            <a:cubicBezTo>
                              <a:pt x="77398" y="39409"/>
                              <a:pt x="76200" y="38279"/>
                              <a:pt x="78105" y="36374"/>
                            </a:cubicBezTo>
                            <a:cubicBezTo>
                              <a:pt x="78740" y="34469"/>
                              <a:pt x="80010" y="32667"/>
                              <a:pt x="80010" y="30659"/>
                            </a:cubicBezTo>
                            <a:cubicBezTo>
                              <a:pt x="80010" y="26796"/>
                              <a:pt x="79832" y="22684"/>
                              <a:pt x="78105" y="19229"/>
                            </a:cubicBezTo>
                            <a:cubicBezTo>
                              <a:pt x="75670" y="14359"/>
                              <a:pt x="63693" y="13970"/>
                              <a:pt x="60960" y="13514"/>
                            </a:cubicBezTo>
                            <a:cubicBezTo>
                              <a:pt x="58420" y="14149"/>
                              <a:pt x="56825" y="16231"/>
                              <a:pt x="53340" y="15419"/>
                            </a:cubicBezTo>
                            <a:cubicBezTo>
                              <a:pt x="49855" y="14607"/>
                              <a:pt x="39095" y="11497"/>
                              <a:pt x="40048" y="8639"/>
                            </a:cubicBezTo>
                            <a:lnTo>
                              <a:pt x="32385" y="179"/>
                            </a:lnTo>
                            <a:close/>
                          </a:path>
                        </a:pathLst>
                      </a:custGeom>
                      <a:solidFill>
                        <a:srgbClr val="0D3759"/>
                      </a:solidFill>
                      <a:ln w="3175" cap="flat" cmpd="sng" algn="ctr">
                        <a:solidFill>
                          <a:srgbClr val="F2E8F8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78" name="Freeform: Shape 63">
                        <a:extLst>
                          <a:ext uri="{FF2B5EF4-FFF2-40B4-BE49-F238E27FC236}">
                            <a16:creationId xmlns:a16="http://schemas.microsoft.com/office/drawing/2014/main" id="{228BA8CE-72AA-F0C3-7022-66A1892BD26D}"/>
                          </a:ext>
                        </a:extLst>
                      </p:cNvPr>
                      <p:cNvSpPr/>
                      <p:nvPr/>
                    </p:nvSpPr>
                    <p:spPr>
                      <a:xfrm rot="6799576">
                        <a:off x="8855933" y="4253069"/>
                        <a:ext cx="27432" cy="27432"/>
                      </a:xfrm>
                      <a:custGeom>
                        <a:avLst/>
                        <a:gdLst>
                          <a:gd name="connsiteX0" fmla="*/ 32385 w 80010"/>
                          <a:gd name="connsiteY0" fmla="*/ 8118 h 64150"/>
                          <a:gd name="connsiteX1" fmla="*/ 32385 w 80010"/>
                          <a:gd name="connsiteY1" fmla="*/ 8118 h 64150"/>
                          <a:gd name="connsiteX2" fmla="*/ 3810 w 80010"/>
                          <a:gd name="connsiteY2" fmla="*/ 10023 h 64150"/>
                          <a:gd name="connsiteX3" fmla="*/ 0 w 80010"/>
                          <a:gd name="connsiteY3" fmla="*/ 21453 h 64150"/>
                          <a:gd name="connsiteX4" fmla="*/ 7620 w 80010"/>
                          <a:gd name="connsiteY4" fmla="*/ 42408 h 64150"/>
                          <a:gd name="connsiteX5" fmla="*/ 13335 w 80010"/>
                          <a:gd name="connsiteY5" fmla="*/ 46218 h 64150"/>
                          <a:gd name="connsiteX6" fmla="*/ 19050 w 80010"/>
                          <a:gd name="connsiteY6" fmla="*/ 51933 h 64150"/>
                          <a:gd name="connsiteX7" fmla="*/ 68580 w 80010"/>
                          <a:gd name="connsiteY7" fmla="*/ 55743 h 64150"/>
                          <a:gd name="connsiteX8" fmla="*/ 72390 w 80010"/>
                          <a:gd name="connsiteY8" fmla="*/ 50028 h 64150"/>
                          <a:gd name="connsiteX9" fmla="*/ 78105 w 80010"/>
                          <a:gd name="connsiteY9" fmla="*/ 44313 h 64150"/>
                          <a:gd name="connsiteX10" fmla="*/ 80010 w 80010"/>
                          <a:gd name="connsiteY10" fmla="*/ 38598 h 64150"/>
                          <a:gd name="connsiteX11" fmla="*/ 78105 w 80010"/>
                          <a:gd name="connsiteY11" fmla="*/ 27168 h 64150"/>
                          <a:gd name="connsiteX12" fmla="*/ 60960 w 80010"/>
                          <a:gd name="connsiteY12" fmla="*/ 21453 h 64150"/>
                          <a:gd name="connsiteX13" fmla="*/ 53340 w 80010"/>
                          <a:gd name="connsiteY13" fmla="*/ 23358 h 64150"/>
                          <a:gd name="connsiteX14" fmla="*/ 57150 w 80010"/>
                          <a:gd name="connsiteY14" fmla="*/ 11928 h 64150"/>
                          <a:gd name="connsiteX15" fmla="*/ 59055 w 80010"/>
                          <a:gd name="connsiteY15" fmla="*/ 6213 h 64150"/>
                          <a:gd name="connsiteX16" fmla="*/ 34290 w 80010"/>
                          <a:gd name="connsiteY16" fmla="*/ 498 h 64150"/>
                          <a:gd name="connsiteX17" fmla="*/ 32385 w 80010"/>
                          <a:gd name="connsiteY17" fmla="*/ 8118 h 64150"/>
                          <a:gd name="connsiteX0" fmla="*/ 32385 w 80010"/>
                          <a:gd name="connsiteY0" fmla="*/ 8118 h 64150"/>
                          <a:gd name="connsiteX1" fmla="*/ 32385 w 80010"/>
                          <a:gd name="connsiteY1" fmla="*/ 8118 h 64150"/>
                          <a:gd name="connsiteX2" fmla="*/ 3810 w 80010"/>
                          <a:gd name="connsiteY2" fmla="*/ 10023 h 64150"/>
                          <a:gd name="connsiteX3" fmla="*/ 0 w 80010"/>
                          <a:gd name="connsiteY3" fmla="*/ 21453 h 64150"/>
                          <a:gd name="connsiteX4" fmla="*/ 7620 w 80010"/>
                          <a:gd name="connsiteY4" fmla="*/ 42408 h 64150"/>
                          <a:gd name="connsiteX5" fmla="*/ 13335 w 80010"/>
                          <a:gd name="connsiteY5" fmla="*/ 46218 h 64150"/>
                          <a:gd name="connsiteX6" fmla="*/ 19050 w 80010"/>
                          <a:gd name="connsiteY6" fmla="*/ 51933 h 64150"/>
                          <a:gd name="connsiteX7" fmla="*/ 68580 w 80010"/>
                          <a:gd name="connsiteY7" fmla="*/ 55743 h 64150"/>
                          <a:gd name="connsiteX8" fmla="*/ 72390 w 80010"/>
                          <a:gd name="connsiteY8" fmla="*/ 50028 h 64150"/>
                          <a:gd name="connsiteX9" fmla="*/ 78105 w 80010"/>
                          <a:gd name="connsiteY9" fmla="*/ 44313 h 64150"/>
                          <a:gd name="connsiteX10" fmla="*/ 80010 w 80010"/>
                          <a:gd name="connsiteY10" fmla="*/ 38598 h 64150"/>
                          <a:gd name="connsiteX11" fmla="*/ 78105 w 80010"/>
                          <a:gd name="connsiteY11" fmla="*/ 27168 h 64150"/>
                          <a:gd name="connsiteX12" fmla="*/ 60960 w 80010"/>
                          <a:gd name="connsiteY12" fmla="*/ 21453 h 64150"/>
                          <a:gd name="connsiteX13" fmla="*/ 53340 w 80010"/>
                          <a:gd name="connsiteY13" fmla="*/ 23358 h 64150"/>
                          <a:gd name="connsiteX14" fmla="*/ 57150 w 80010"/>
                          <a:gd name="connsiteY14" fmla="*/ 11928 h 64150"/>
                          <a:gd name="connsiteX15" fmla="*/ 59055 w 80010"/>
                          <a:gd name="connsiteY15" fmla="*/ 6213 h 64150"/>
                          <a:gd name="connsiteX16" fmla="*/ 34290 w 80010"/>
                          <a:gd name="connsiteY16" fmla="*/ 498 h 64150"/>
                          <a:gd name="connsiteX17" fmla="*/ 32385 w 80010"/>
                          <a:gd name="connsiteY17" fmla="*/ 8118 h 64150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179 h 56211"/>
                          <a:gd name="connsiteX1" fmla="*/ 32385 w 80010"/>
                          <a:gd name="connsiteY1" fmla="*/ 179 h 56211"/>
                          <a:gd name="connsiteX2" fmla="*/ 3810 w 80010"/>
                          <a:gd name="connsiteY2" fmla="*/ 2084 h 56211"/>
                          <a:gd name="connsiteX3" fmla="*/ 0 w 80010"/>
                          <a:gd name="connsiteY3" fmla="*/ 13514 h 56211"/>
                          <a:gd name="connsiteX4" fmla="*/ 7620 w 80010"/>
                          <a:gd name="connsiteY4" fmla="*/ 34469 h 56211"/>
                          <a:gd name="connsiteX5" fmla="*/ 13335 w 80010"/>
                          <a:gd name="connsiteY5" fmla="*/ 38279 h 56211"/>
                          <a:gd name="connsiteX6" fmla="*/ 19050 w 80010"/>
                          <a:gd name="connsiteY6" fmla="*/ 43994 h 56211"/>
                          <a:gd name="connsiteX7" fmla="*/ 68580 w 80010"/>
                          <a:gd name="connsiteY7" fmla="*/ 47804 h 56211"/>
                          <a:gd name="connsiteX8" fmla="*/ 72390 w 80010"/>
                          <a:gd name="connsiteY8" fmla="*/ 42089 h 56211"/>
                          <a:gd name="connsiteX9" fmla="*/ 78105 w 80010"/>
                          <a:gd name="connsiteY9" fmla="*/ 36374 h 56211"/>
                          <a:gd name="connsiteX10" fmla="*/ 80010 w 80010"/>
                          <a:gd name="connsiteY10" fmla="*/ 30659 h 56211"/>
                          <a:gd name="connsiteX11" fmla="*/ 78105 w 80010"/>
                          <a:gd name="connsiteY11" fmla="*/ 19229 h 56211"/>
                          <a:gd name="connsiteX12" fmla="*/ 60960 w 80010"/>
                          <a:gd name="connsiteY12" fmla="*/ 13514 h 56211"/>
                          <a:gd name="connsiteX13" fmla="*/ 53340 w 80010"/>
                          <a:gd name="connsiteY13" fmla="*/ 15419 h 56211"/>
                          <a:gd name="connsiteX14" fmla="*/ 57150 w 80010"/>
                          <a:gd name="connsiteY14" fmla="*/ 3989 h 56211"/>
                          <a:gd name="connsiteX15" fmla="*/ 32385 w 80010"/>
                          <a:gd name="connsiteY15" fmla="*/ 179 h 56211"/>
                          <a:gd name="connsiteX0" fmla="*/ 32385 w 80010"/>
                          <a:gd name="connsiteY0" fmla="*/ 179 h 56211"/>
                          <a:gd name="connsiteX1" fmla="*/ 32385 w 80010"/>
                          <a:gd name="connsiteY1" fmla="*/ 179 h 56211"/>
                          <a:gd name="connsiteX2" fmla="*/ 3810 w 80010"/>
                          <a:gd name="connsiteY2" fmla="*/ 2084 h 56211"/>
                          <a:gd name="connsiteX3" fmla="*/ 0 w 80010"/>
                          <a:gd name="connsiteY3" fmla="*/ 13514 h 56211"/>
                          <a:gd name="connsiteX4" fmla="*/ 7620 w 80010"/>
                          <a:gd name="connsiteY4" fmla="*/ 34469 h 56211"/>
                          <a:gd name="connsiteX5" fmla="*/ 13335 w 80010"/>
                          <a:gd name="connsiteY5" fmla="*/ 38279 h 56211"/>
                          <a:gd name="connsiteX6" fmla="*/ 19050 w 80010"/>
                          <a:gd name="connsiteY6" fmla="*/ 43994 h 56211"/>
                          <a:gd name="connsiteX7" fmla="*/ 68580 w 80010"/>
                          <a:gd name="connsiteY7" fmla="*/ 47804 h 56211"/>
                          <a:gd name="connsiteX8" fmla="*/ 72390 w 80010"/>
                          <a:gd name="connsiteY8" fmla="*/ 42089 h 56211"/>
                          <a:gd name="connsiteX9" fmla="*/ 78105 w 80010"/>
                          <a:gd name="connsiteY9" fmla="*/ 36374 h 56211"/>
                          <a:gd name="connsiteX10" fmla="*/ 80010 w 80010"/>
                          <a:gd name="connsiteY10" fmla="*/ 30659 h 56211"/>
                          <a:gd name="connsiteX11" fmla="*/ 78105 w 80010"/>
                          <a:gd name="connsiteY11" fmla="*/ 19229 h 56211"/>
                          <a:gd name="connsiteX12" fmla="*/ 60960 w 80010"/>
                          <a:gd name="connsiteY12" fmla="*/ 13514 h 56211"/>
                          <a:gd name="connsiteX13" fmla="*/ 53340 w 80010"/>
                          <a:gd name="connsiteY13" fmla="*/ 15419 h 56211"/>
                          <a:gd name="connsiteX14" fmla="*/ 40048 w 80010"/>
                          <a:gd name="connsiteY14" fmla="*/ 8639 h 56211"/>
                          <a:gd name="connsiteX15" fmla="*/ 32385 w 80010"/>
                          <a:gd name="connsiteY15" fmla="*/ 179 h 56211"/>
                          <a:gd name="connsiteX0" fmla="*/ 32385 w 80010"/>
                          <a:gd name="connsiteY0" fmla="*/ 179 h 52171"/>
                          <a:gd name="connsiteX1" fmla="*/ 32385 w 80010"/>
                          <a:gd name="connsiteY1" fmla="*/ 179 h 52171"/>
                          <a:gd name="connsiteX2" fmla="*/ 3810 w 80010"/>
                          <a:gd name="connsiteY2" fmla="*/ 2084 h 52171"/>
                          <a:gd name="connsiteX3" fmla="*/ 0 w 80010"/>
                          <a:gd name="connsiteY3" fmla="*/ 13514 h 52171"/>
                          <a:gd name="connsiteX4" fmla="*/ 7620 w 80010"/>
                          <a:gd name="connsiteY4" fmla="*/ 34469 h 52171"/>
                          <a:gd name="connsiteX5" fmla="*/ 13335 w 80010"/>
                          <a:gd name="connsiteY5" fmla="*/ 38279 h 52171"/>
                          <a:gd name="connsiteX6" fmla="*/ 19050 w 80010"/>
                          <a:gd name="connsiteY6" fmla="*/ 43994 h 52171"/>
                          <a:gd name="connsiteX7" fmla="*/ 68580 w 80010"/>
                          <a:gd name="connsiteY7" fmla="*/ 47804 h 52171"/>
                          <a:gd name="connsiteX8" fmla="*/ 72390 w 80010"/>
                          <a:gd name="connsiteY8" fmla="*/ 42089 h 52171"/>
                          <a:gd name="connsiteX9" fmla="*/ 78105 w 80010"/>
                          <a:gd name="connsiteY9" fmla="*/ 36374 h 52171"/>
                          <a:gd name="connsiteX10" fmla="*/ 80010 w 80010"/>
                          <a:gd name="connsiteY10" fmla="*/ 30659 h 52171"/>
                          <a:gd name="connsiteX11" fmla="*/ 78105 w 80010"/>
                          <a:gd name="connsiteY11" fmla="*/ 19229 h 52171"/>
                          <a:gd name="connsiteX12" fmla="*/ 60960 w 80010"/>
                          <a:gd name="connsiteY12" fmla="*/ 13514 h 52171"/>
                          <a:gd name="connsiteX13" fmla="*/ 53340 w 80010"/>
                          <a:gd name="connsiteY13" fmla="*/ 15419 h 52171"/>
                          <a:gd name="connsiteX14" fmla="*/ 40048 w 80010"/>
                          <a:gd name="connsiteY14" fmla="*/ 8639 h 52171"/>
                          <a:gd name="connsiteX15" fmla="*/ 32385 w 80010"/>
                          <a:gd name="connsiteY15" fmla="*/ 179 h 52171"/>
                          <a:gd name="connsiteX0" fmla="*/ 32385 w 80010"/>
                          <a:gd name="connsiteY0" fmla="*/ 179 h 52432"/>
                          <a:gd name="connsiteX1" fmla="*/ 32385 w 80010"/>
                          <a:gd name="connsiteY1" fmla="*/ 179 h 52432"/>
                          <a:gd name="connsiteX2" fmla="*/ 3810 w 80010"/>
                          <a:gd name="connsiteY2" fmla="*/ 2084 h 52432"/>
                          <a:gd name="connsiteX3" fmla="*/ 0 w 80010"/>
                          <a:gd name="connsiteY3" fmla="*/ 13514 h 52432"/>
                          <a:gd name="connsiteX4" fmla="*/ 7620 w 80010"/>
                          <a:gd name="connsiteY4" fmla="*/ 34469 h 52432"/>
                          <a:gd name="connsiteX5" fmla="*/ 13335 w 80010"/>
                          <a:gd name="connsiteY5" fmla="*/ 38279 h 52432"/>
                          <a:gd name="connsiteX6" fmla="*/ 19050 w 80010"/>
                          <a:gd name="connsiteY6" fmla="*/ 43994 h 52432"/>
                          <a:gd name="connsiteX7" fmla="*/ 68580 w 80010"/>
                          <a:gd name="connsiteY7" fmla="*/ 47804 h 52432"/>
                          <a:gd name="connsiteX8" fmla="*/ 72390 w 80010"/>
                          <a:gd name="connsiteY8" fmla="*/ 42089 h 52432"/>
                          <a:gd name="connsiteX9" fmla="*/ 78105 w 80010"/>
                          <a:gd name="connsiteY9" fmla="*/ 36374 h 52432"/>
                          <a:gd name="connsiteX10" fmla="*/ 80010 w 80010"/>
                          <a:gd name="connsiteY10" fmla="*/ 30659 h 52432"/>
                          <a:gd name="connsiteX11" fmla="*/ 78105 w 80010"/>
                          <a:gd name="connsiteY11" fmla="*/ 19229 h 52432"/>
                          <a:gd name="connsiteX12" fmla="*/ 60960 w 80010"/>
                          <a:gd name="connsiteY12" fmla="*/ 13514 h 52432"/>
                          <a:gd name="connsiteX13" fmla="*/ 53340 w 80010"/>
                          <a:gd name="connsiteY13" fmla="*/ 15419 h 52432"/>
                          <a:gd name="connsiteX14" fmla="*/ 40048 w 80010"/>
                          <a:gd name="connsiteY14" fmla="*/ 8639 h 52432"/>
                          <a:gd name="connsiteX15" fmla="*/ 32385 w 80010"/>
                          <a:gd name="connsiteY15" fmla="*/ 179 h 52432"/>
                          <a:gd name="connsiteX0" fmla="*/ 32385 w 80010"/>
                          <a:gd name="connsiteY0" fmla="*/ 179 h 55651"/>
                          <a:gd name="connsiteX1" fmla="*/ 32385 w 80010"/>
                          <a:gd name="connsiteY1" fmla="*/ 179 h 55651"/>
                          <a:gd name="connsiteX2" fmla="*/ 3810 w 80010"/>
                          <a:gd name="connsiteY2" fmla="*/ 2084 h 55651"/>
                          <a:gd name="connsiteX3" fmla="*/ 0 w 80010"/>
                          <a:gd name="connsiteY3" fmla="*/ 13514 h 55651"/>
                          <a:gd name="connsiteX4" fmla="*/ 7620 w 80010"/>
                          <a:gd name="connsiteY4" fmla="*/ 34469 h 55651"/>
                          <a:gd name="connsiteX5" fmla="*/ 13335 w 80010"/>
                          <a:gd name="connsiteY5" fmla="*/ 38279 h 55651"/>
                          <a:gd name="connsiteX6" fmla="*/ 19050 w 80010"/>
                          <a:gd name="connsiteY6" fmla="*/ 43994 h 55651"/>
                          <a:gd name="connsiteX7" fmla="*/ 48058 w 80010"/>
                          <a:gd name="connsiteY7" fmla="*/ 52454 h 55651"/>
                          <a:gd name="connsiteX8" fmla="*/ 72390 w 80010"/>
                          <a:gd name="connsiteY8" fmla="*/ 42089 h 55651"/>
                          <a:gd name="connsiteX9" fmla="*/ 78105 w 80010"/>
                          <a:gd name="connsiteY9" fmla="*/ 36374 h 55651"/>
                          <a:gd name="connsiteX10" fmla="*/ 80010 w 80010"/>
                          <a:gd name="connsiteY10" fmla="*/ 30659 h 55651"/>
                          <a:gd name="connsiteX11" fmla="*/ 78105 w 80010"/>
                          <a:gd name="connsiteY11" fmla="*/ 19229 h 55651"/>
                          <a:gd name="connsiteX12" fmla="*/ 60960 w 80010"/>
                          <a:gd name="connsiteY12" fmla="*/ 13514 h 55651"/>
                          <a:gd name="connsiteX13" fmla="*/ 53340 w 80010"/>
                          <a:gd name="connsiteY13" fmla="*/ 15419 h 55651"/>
                          <a:gd name="connsiteX14" fmla="*/ 40048 w 80010"/>
                          <a:gd name="connsiteY14" fmla="*/ 8639 h 55651"/>
                          <a:gd name="connsiteX15" fmla="*/ 32385 w 80010"/>
                          <a:gd name="connsiteY15" fmla="*/ 179 h 55651"/>
                          <a:gd name="connsiteX0" fmla="*/ 32385 w 80010"/>
                          <a:gd name="connsiteY0" fmla="*/ 179 h 53227"/>
                          <a:gd name="connsiteX1" fmla="*/ 32385 w 80010"/>
                          <a:gd name="connsiteY1" fmla="*/ 179 h 53227"/>
                          <a:gd name="connsiteX2" fmla="*/ 3810 w 80010"/>
                          <a:gd name="connsiteY2" fmla="*/ 2084 h 53227"/>
                          <a:gd name="connsiteX3" fmla="*/ 0 w 80010"/>
                          <a:gd name="connsiteY3" fmla="*/ 13514 h 53227"/>
                          <a:gd name="connsiteX4" fmla="*/ 7620 w 80010"/>
                          <a:gd name="connsiteY4" fmla="*/ 34469 h 53227"/>
                          <a:gd name="connsiteX5" fmla="*/ 13335 w 80010"/>
                          <a:gd name="connsiteY5" fmla="*/ 38279 h 53227"/>
                          <a:gd name="connsiteX6" fmla="*/ 19050 w 80010"/>
                          <a:gd name="connsiteY6" fmla="*/ 43994 h 53227"/>
                          <a:gd name="connsiteX7" fmla="*/ 48058 w 80010"/>
                          <a:gd name="connsiteY7" fmla="*/ 52454 h 53227"/>
                          <a:gd name="connsiteX8" fmla="*/ 72390 w 80010"/>
                          <a:gd name="connsiteY8" fmla="*/ 42089 h 53227"/>
                          <a:gd name="connsiteX9" fmla="*/ 78105 w 80010"/>
                          <a:gd name="connsiteY9" fmla="*/ 36374 h 53227"/>
                          <a:gd name="connsiteX10" fmla="*/ 80010 w 80010"/>
                          <a:gd name="connsiteY10" fmla="*/ 30659 h 53227"/>
                          <a:gd name="connsiteX11" fmla="*/ 78105 w 80010"/>
                          <a:gd name="connsiteY11" fmla="*/ 19229 h 53227"/>
                          <a:gd name="connsiteX12" fmla="*/ 60960 w 80010"/>
                          <a:gd name="connsiteY12" fmla="*/ 13514 h 53227"/>
                          <a:gd name="connsiteX13" fmla="*/ 53340 w 80010"/>
                          <a:gd name="connsiteY13" fmla="*/ 15419 h 53227"/>
                          <a:gd name="connsiteX14" fmla="*/ 40048 w 80010"/>
                          <a:gd name="connsiteY14" fmla="*/ 8639 h 53227"/>
                          <a:gd name="connsiteX15" fmla="*/ 32385 w 80010"/>
                          <a:gd name="connsiteY15" fmla="*/ 179 h 5322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80010" h="53227">
                            <a:moveTo>
                              <a:pt x="32385" y="179"/>
                            </a:moveTo>
                            <a:lnTo>
                              <a:pt x="32385" y="179"/>
                            </a:lnTo>
                            <a:cubicBezTo>
                              <a:pt x="22860" y="814"/>
                              <a:pt x="12637" y="-1551"/>
                              <a:pt x="3810" y="2084"/>
                            </a:cubicBezTo>
                            <a:cubicBezTo>
                              <a:pt x="96" y="3613"/>
                              <a:pt x="0" y="13514"/>
                              <a:pt x="0" y="13514"/>
                            </a:cubicBezTo>
                            <a:cubicBezTo>
                              <a:pt x="1410" y="20563"/>
                              <a:pt x="2165" y="29014"/>
                              <a:pt x="7620" y="34469"/>
                            </a:cubicBezTo>
                            <a:cubicBezTo>
                              <a:pt x="9239" y="36088"/>
                              <a:pt x="11576" y="36813"/>
                              <a:pt x="13335" y="38279"/>
                            </a:cubicBezTo>
                            <a:cubicBezTo>
                              <a:pt x="15405" y="40004"/>
                              <a:pt x="17145" y="42089"/>
                              <a:pt x="19050" y="43994"/>
                            </a:cubicBezTo>
                            <a:cubicBezTo>
                              <a:pt x="36453" y="53990"/>
                              <a:pt x="29632" y="54059"/>
                              <a:pt x="48058" y="52454"/>
                            </a:cubicBezTo>
                            <a:cubicBezTo>
                              <a:pt x="50339" y="52255"/>
                              <a:pt x="67382" y="44769"/>
                              <a:pt x="72390" y="42089"/>
                            </a:cubicBezTo>
                            <a:cubicBezTo>
                              <a:pt x="77398" y="39409"/>
                              <a:pt x="76200" y="38279"/>
                              <a:pt x="78105" y="36374"/>
                            </a:cubicBezTo>
                            <a:cubicBezTo>
                              <a:pt x="78740" y="34469"/>
                              <a:pt x="80010" y="32667"/>
                              <a:pt x="80010" y="30659"/>
                            </a:cubicBezTo>
                            <a:cubicBezTo>
                              <a:pt x="80010" y="26796"/>
                              <a:pt x="79832" y="22684"/>
                              <a:pt x="78105" y="19229"/>
                            </a:cubicBezTo>
                            <a:cubicBezTo>
                              <a:pt x="75670" y="14359"/>
                              <a:pt x="63693" y="13970"/>
                              <a:pt x="60960" y="13514"/>
                            </a:cubicBezTo>
                            <a:cubicBezTo>
                              <a:pt x="58420" y="14149"/>
                              <a:pt x="56825" y="16231"/>
                              <a:pt x="53340" y="15419"/>
                            </a:cubicBezTo>
                            <a:cubicBezTo>
                              <a:pt x="49855" y="14607"/>
                              <a:pt x="39095" y="11497"/>
                              <a:pt x="40048" y="8639"/>
                            </a:cubicBezTo>
                            <a:lnTo>
                              <a:pt x="32385" y="179"/>
                            </a:lnTo>
                            <a:close/>
                          </a:path>
                        </a:pathLst>
                      </a:custGeom>
                      <a:solidFill>
                        <a:srgbClr val="0D3759"/>
                      </a:solidFill>
                      <a:ln w="3175" cap="flat" cmpd="sng" algn="ctr">
                        <a:solidFill>
                          <a:srgbClr val="F2E8F8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79" name="Freeform: Shape 64">
                        <a:extLst>
                          <a:ext uri="{FF2B5EF4-FFF2-40B4-BE49-F238E27FC236}">
                            <a16:creationId xmlns:a16="http://schemas.microsoft.com/office/drawing/2014/main" id="{0DA1A469-72A8-B1AA-5AD2-55C6C22DBEB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950061" y="4188172"/>
                        <a:ext cx="27432" cy="27432"/>
                      </a:xfrm>
                      <a:custGeom>
                        <a:avLst/>
                        <a:gdLst>
                          <a:gd name="connsiteX0" fmla="*/ 32385 w 80010"/>
                          <a:gd name="connsiteY0" fmla="*/ 8118 h 64150"/>
                          <a:gd name="connsiteX1" fmla="*/ 32385 w 80010"/>
                          <a:gd name="connsiteY1" fmla="*/ 8118 h 64150"/>
                          <a:gd name="connsiteX2" fmla="*/ 3810 w 80010"/>
                          <a:gd name="connsiteY2" fmla="*/ 10023 h 64150"/>
                          <a:gd name="connsiteX3" fmla="*/ 0 w 80010"/>
                          <a:gd name="connsiteY3" fmla="*/ 21453 h 64150"/>
                          <a:gd name="connsiteX4" fmla="*/ 7620 w 80010"/>
                          <a:gd name="connsiteY4" fmla="*/ 42408 h 64150"/>
                          <a:gd name="connsiteX5" fmla="*/ 13335 w 80010"/>
                          <a:gd name="connsiteY5" fmla="*/ 46218 h 64150"/>
                          <a:gd name="connsiteX6" fmla="*/ 19050 w 80010"/>
                          <a:gd name="connsiteY6" fmla="*/ 51933 h 64150"/>
                          <a:gd name="connsiteX7" fmla="*/ 68580 w 80010"/>
                          <a:gd name="connsiteY7" fmla="*/ 55743 h 64150"/>
                          <a:gd name="connsiteX8" fmla="*/ 72390 w 80010"/>
                          <a:gd name="connsiteY8" fmla="*/ 50028 h 64150"/>
                          <a:gd name="connsiteX9" fmla="*/ 78105 w 80010"/>
                          <a:gd name="connsiteY9" fmla="*/ 44313 h 64150"/>
                          <a:gd name="connsiteX10" fmla="*/ 80010 w 80010"/>
                          <a:gd name="connsiteY10" fmla="*/ 38598 h 64150"/>
                          <a:gd name="connsiteX11" fmla="*/ 78105 w 80010"/>
                          <a:gd name="connsiteY11" fmla="*/ 27168 h 64150"/>
                          <a:gd name="connsiteX12" fmla="*/ 60960 w 80010"/>
                          <a:gd name="connsiteY12" fmla="*/ 21453 h 64150"/>
                          <a:gd name="connsiteX13" fmla="*/ 53340 w 80010"/>
                          <a:gd name="connsiteY13" fmla="*/ 23358 h 64150"/>
                          <a:gd name="connsiteX14" fmla="*/ 57150 w 80010"/>
                          <a:gd name="connsiteY14" fmla="*/ 11928 h 64150"/>
                          <a:gd name="connsiteX15" fmla="*/ 59055 w 80010"/>
                          <a:gd name="connsiteY15" fmla="*/ 6213 h 64150"/>
                          <a:gd name="connsiteX16" fmla="*/ 34290 w 80010"/>
                          <a:gd name="connsiteY16" fmla="*/ 498 h 64150"/>
                          <a:gd name="connsiteX17" fmla="*/ 32385 w 80010"/>
                          <a:gd name="connsiteY17" fmla="*/ 8118 h 64150"/>
                          <a:gd name="connsiteX0" fmla="*/ 32385 w 80010"/>
                          <a:gd name="connsiteY0" fmla="*/ 8118 h 64150"/>
                          <a:gd name="connsiteX1" fmla="*/ 32385 w 80010"/>
                          <a:gd name="connsiteY1" fmla="*/ 8118 h 64150"/>
                          <a:gd name="connsiteX2" fmla="*/ 3810 w 80010"/>
                          <a:gd name="connsiteY2" fmla="*/ 10023 h 64150"/>
                          <a:gd name="connsiteX3" fmla="*/ 0 w 80010"/>
                          <a:gd name="connsiteY3" fmla="*/ 21453 h 64150"/>
                          <a:gd name="connsiteX4" fmla="*/ 7620 w 80010"/>
                          <a:gd name="connsiteY4" fmla="*/ 42408 h 64150"/>
                          <a:gd name="connsiteX5" fmla="*/ 13335 w 80010"/>
                          <a:gd name="connsiteY5" fmla="*/ 46218 h 64150"/>
                          <a:gd name="connsiteX6" fmla="*/ 19050 w 80010"/>
                          <a:gd name="connsiteY6" fmla="*/ 51933 h 64150"/>
                          <a:gd name="connsiteX7" fmla="*/ 68580 w 80010"/>
                          <a:gd name="connsiteY7" fmla="*/ 55743 h 64150"/>
                          <a:gd name="connsiteX8" fmla="*/ 72390 w 80010"/>
                          <a:gd name="connsiteY8" fmla="*/ 50028 h 64150"/>
                          <a:gd name="connsiteX9" fmla="*/ 78105 w 80010"/>
                          <a:gd name="connsiteY9" fmla="*/ 44313 h 64150"/>
                          <a:gd name="connsiteX10" fmla="*/ 80010 w 80010"/>
                          <a:gd name="connsiteY10" fmla="*/ 38598 h 64150"/>
                          <a:gd name="connsiteX11" fmla="*/ 78105 w 80010"/>
                          <a:gd name="connsiteY11" fmla="*/ 27168 h 64150"/>
                          <a:gd name="connsiteX12" fmla="*/ 60960 w 80010"/>
                          <a:gd name="connsiteY12" fmla="*/ 21453 h 64150"/>
                          <a:gd name="connsiteX13" fmla="*/ 53340 w 80010"/>
                          <a:gd name="connsiteY13" fmla="*/ 23358 h 64150"/>
                          <a:gd name="connsiteX14" fmla="*/ 57150 w 80010"/>
                          <a:gd name="connsiteY14" fmla="*/ 11928 h 64150"/>
                          <a:gd name="connsiteX15" fmla="*/ 59055 w 80010"/>
                          <a:gd name="connsiteY15" fmla="*/ 6213 h 64150"/>
                          <a:gd name="connsiteX16" fmla="*/ 34290 w 80010"/>
                          <a:gd name="connsiteY16" fmla="*/ 498 h 64150"/>
                          <a:gd name="connsiteX17" fmla="*/ 32385 w 80010"/>
                          <a:gd name="connsiteY17" fmla="*/ 8118 h 64150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179 h 56211"/>
                          <a:gd name="connsiteX1" fmla="*/ 32385 w 80010"/>
                          <a:gd name="connsiteY1" fmla="*/ 179 h 56211"/>
                          <a:gd name="connsiteX2" fmla="*/ 3810 w 80010"/>
                          <a:gd name="connsiteY2" fmla="*/ 2084 h 56211"/>
                          <a:gd name="connsiteX3" fmla="*/ 0 w 80010"/>
                          <a:gd name="connsiteY3" fmla="*/ 13514 h 56211"/>
                          <a:gd name="connsiteX4" fmla="*/ 7620 w 80010"/>
                          <a:gd name="connsiteY4" fmla="*/ 34469 h 56211"/>
                          <a:gd name="connsiteX5" fmla="*/ 13335 w 80010"/>
                          <a:gd name="connsiteY5" fmla="*/ 38279 h 56211"/>
                          <a:gd name="connsiteX6" fmla="*/ 19050 w 80010"/>
                          <a:gd name="connsiteY6" fmla="*/ 43994 h 56211"/>
                          <a:gd name="connsiteX7" fmla="*/ 68580 w 80010"/>
                          <a:gd name="connsiteY7" fmla="*/ 47804 h 56211"/>
                          <a:gd name="connsiteX8" fmla="*/ 72390 w 80010"/>
                          <a:gd name="connsiteY8" fmla="*/ 42089 h 56211"/>
                          <a:gd name="connsiteX9" fmla="*/ 78105 w 80010"/>
                          <a:gd name="connsiteY9" fmla="*/ 36374 h 56211"/>
                          <a:gd name="connsiteX10" fmla="*/ 80010 w 80010"/>
                          <a:gd name="connsiteY10" fmla="*/ 30659 h 56211"/>
                          <a:gd name="connsiteX11" fmla="*/ 78105 w 80010"/>
                          <a:gd name="connsiteY11" fmla="*/ 19229 h 56211"/>
                          <a:gd name="connsiteX12" fmla="*/ 60960 w 80010"/>
                          <a:gd name="connsiteY12" fmla="*/ 13514 h 56211"/>
                          <a:gd name="connsiteX13" fmla="*/ 53340 w 80010"/>
                          <a:gd name="connsiteY13" fmla="*/ 15419 h 56211"/>
                          <a:gd name="connsiteX14" fmla="*/ 57150 w 80010"/>
                          <a:gd name="connsiteY14" fmla="*/ 3989 h 56211"/>
                          <a:gd name="connsiteX15" fmla="*/ 32385 w 80010"/>
                          <a:gd name="connsiteY15" fmla="*/ 179 h 56211"/>
                          <a:gd name="connsiteX0" fmla="*/ 32385 w 80010"/>
                          <a:gd name="connsiteY0" fmla="*/ 179 h 56211"/>
                          <a:gd name="connsiteX1" fmla="*/ 32385 w 80010"/>
                          <a:gd name="connsiteY1" fmla="*/ 179 h 56211"/>
                          <a:gd name="connsiteX2" fmla="*/ 3810 w 80010"/>
                          <a:gd name="connsiteY2" fmla="*/ 2084 h 56211"/>
                          <a:gd name="connsiteX3" fmla="*/ 0 w 80010"/>
                          <a:gd name="connsiteY3" fmla="*/ 13514 h 56211"/>
                          <a:gd name="connsiteX4" fmla="*/ 7620 w 80010"/>
                          <a:gd name="connsiteY4" fmla="*/ 34469 h 56211"/>
                          <a:gd name="connsiteX5" fmla="*/ 13335 w 80010"/>
                          <a:gd name="connsiteY5" fmla="*/ 38279 h 56211"/>
                          <a:gd name="connsiteX6" fmla="*/ 19050 w 80010"/>
                          <a:gd name="connsiteY6" fmla="*/ 43994 h 56211"/>
                          <a:gd name="connsiteX7" fmla="*/ 68580 w 80010"/>
                          <a:gd name="connsiteY7" fmla="*/ 47804 h 56211"/>
                          <a:gd name="connsiteX8" fmla="*/ 72390 w 80010"/>
                          <a:gd name="connsiteY8" fmla="*/ 42089 h 56211"/>
                          <a:gd name="connsiteX9" fmla="*/ 78105 w 80010"/>
                          <a:gd name="connsiteY9" fmla="*/ 36374 h 56211"/>
                          <a:gd name="connsiteX10" fmla="*/ 80010 w 80010"/>
                          <a:gd name="connsiteY10" fmla="*/ 30659 h 56211"/>
                          <a:gd name="connsiteX11" fmla="*/ 78105 w 80010"/>
                          <a:gd name="connsiteY11" fmla="*/ 19229 h 56211"/>
                          <a:gd name="connsiteX12" fmla="*/ 60960 w 80010"/>
                          <a:gd name="connsiteY12" fmla="*/ 13514 h 56211"/>
                          <a:gd name="connsiteX13" fmla="*/ 53340 w 80010"/>
                          <a:gd name="connsiteY13" fmla="*/ 15419 h 56211"/>
                          <a:gd name="connsiteX14" fmla="*/ 40048 w 80010"/>
                          <a:gd name="connsiteY14" fmla="*/ 8639 h 56211"/>
                          <a:gd name="connsiteX15" fmla="*/ 32385 w 80010"/>
                          <a:gd name="connsiteY15" fmla="*/ 179 h 56211"/>
                          <a:gd name="connsiteX0" fmla="*/ 32385 w 80010"/>
                          <a:gd name="connsiteY0" fmla="*/ 179 h 52171"/>
                          <a:gd name="connsiteX1" fmla="*/ 32385 w 80010"/>
                          <a:gd name="connsiteY1" fmla="*/ 179 h 52171"/>
                          <a:gd name="connsiteX2" fmla="*/ 3810 w 80010"/>
                          <a:gd name="connsiteY2" fmla="*/ 2084 h 52171"/>
                          <a:gd name="connsiteX3" fmla="*/ 0 w 80010"/>
                          <a:gd name="connsiteY3" fmla="*/ 13514 h 52171"/>
                          <a:gd name="connsiteX4" fmla="*/ 7620 w 80010"/>
                          <a:gd name="connsiteY4" fmla="*/ 34469 h 52171"/>
                          <a:gd name="connsiteX5" fmla="*/ 13335 w 80010"/>
                          <a:gd name="connsiteY5" fmla="*/ 38279 h 52171"/>
                          <a:gd name="connsiteX6" fmla="*/ 19050 w 80010"/>
                          <a:gd name="connsiteY6" fmla="*/ 43994 h 52171"/>
                          <a:gd name="connsiteX7" fmla="*/ 68580 w 80010"/>
                          <a:gd name="connsiteY7" fmla="*/ 47804 h 52171"/>
                          <a:gd name="connsiteX8" fmla="*/ 72390 w 80010"/>
                          <a:gd name="connsiteY8" fmla="*/ 42089 h 52171"/>
                          <a:gd name="connsiteX9" fmla="*/ 78105 w 80010"/>
                          <a:gd name="connsiteY9" fmla="*/ 36374 h 52171"/>
                          <a:gd name="connsiteX10" fmla="*/ 80010 w 80010"/>
                          <a:gd name="connsiteY10" fmla="*/ 30659 h 52171"/>
                          <a:gd name="connsiteX11" fmla="*/ 78105 w 80010"/>
                          <a:gd name="connsiteY11" fmla="*/ 19229 h 52171"/>
                          <a:gd name="connsiteX12" fmla="*/ 60960 w 80010"/>
                          <a:gd name="connsiteY12" fmla="*/ 13514 h 52171"/>
                          <a:gd name="connsiteX13" fmla="*/ 53340 w 80010"/>
                          <a:gd name="connsiteY13" fmla="*/ 15419 h 52171"/>
                          <a:gd name="connsiteX14" fmla="*/ 40048 w 80010"/>
                          <a:gd name="connsiteY14" fmla="*/ 8639 h 52171"/>
                          <a:gd name="connsiteX15" fmla="*/ 32385 w 80010"/>
                          <a:gd name="connsiteY15" fmla="*/ 179 h 52171"/>
                          <a:gd name="connsiteX0" fmla="*/ 32385 w 80010"/>
                          <a:gd name="connsiteY0" fmla="*/ 179 h 52432"/>
                          <a:gd name="connsiteX1" fmla="*/ 32385 w 80010"/>
                          <a:gd name="connsiteY1" fmla="*/ 179 h 52432"/>
                          <a:gd name="connsiteX2" fmla="*/ 3810 w 80010"/>
                          <a:gd name="connsiteY2" fmla="*/ 2084 h 52432"/>
                          <a:gd name="connsiteX3" fmla="*/ 0 w 80010"/>
                          <a:gd name="connsiteY3" fmla="*/ 13514 h 52432"/>
                          <a:gd name="connsiteX4" fmla="*/ 7620 w 80010"/>
                          <a:gd name="connsiteY4" fmla="*/ 34469 h 52432"/>
                          <a:gd name="connsiteX5" fmla="*/ 13335 w 80010"/>
                          <a:gd name="connsiteY5" fmla="*/ 38279 h 52432"/>
                          <a:gd name="connsiteX6" fmla="*/ 19050 w 80010"/>
                          <a:gd name="connsiteY6" fmla="*/ 43994 h 52432"/>
                          <a:gd name="connsiteX7" fmla="*/ 68580 w 80010"/>
                          <a:gd name="connsiteY7" fmla="*/ 47804 h 52432"/>
                          <a:gd name="connsiteX8" fmla="*/ 72390 w 80010"/>
                          <a:gd name="connsiteY8" fmla="*/ 42089 h 52432"/>
                          <a:gd name="connsiteX9" fmla="*/ 78105 w 80010"/>
                          <a:gd name="connsiteY9" fmla="*/ 36374 h 52432"/>
                          <a:gd name="connsiteX10" fmla="*/ 80010 w 80010"/>
                          <a:gd name="connsiteY10" fmla="*/ 30659 h 52432"/>
                          <a:gd name="connsiteX11" fmla="*/ 78105 w 80010"/>
                          <a:gd name="connsiteY11" fmla="*/ 19229 h 52432"/>
                          <a:gd name="connsiteX12" fmla="*/ 60960 w 80010"/>
                          <a:gd name="connsiteY12" fmla="*/ 13514 h 52432"/>
                          <a:gd name="connsiteX13" fmla="*/ 53340 w 80010"/>
                          <a:gd name="connsiteY13" fmla="*/ 15419 h 52432"/>
                          <a:gd name="connsiteX14" fmla="*/ 40048 w 80010"/>
                          <a:gd name="connsiteY14" fmla="*/ 8639 h 52432"/>
                          <a:gd name="connsiteX15" fmla="*/ 32385 w 80010"/>
                          <a:gd name="connsiteY15" fmla="*/ 179 h 52432"/>
                          <a:gd name="connsiteX0" fmla="*/ 32385 w 80010"/>
                          <a:gd name="connsiteY0" fmla="*/ 179 h 55651"/>
                          <a:gd name="connsiteX1" fmla="*/ 32385 w 80010"/>
                          <a:gd name="connsiteY1" fmla="*/ 179 h 55651"/>
                          <a:gd name="connsiteX2" fmla="*/ 3810 w 80010"/>
                          <a:gd name="connsiteY2" fmla="*/ 2084 h 55651"/>
                          <a:gd name="connsiteX3" fmla="*/ 0 w 80010"/>
                          <a:gd name="connsiteY3" fmla="*/ 13514 h 55651"/>
                          <a:gd name="connsiteX4" fmla="*/ 7620 w 80010"/>
                          <a:gd name="connsiteY4" fmla="*/ 34469 h 55651"/>
                          <a:gd name="connsiteX5" fmla="*/ 13335 w 80010"/>
                          <a:gd name="connsiteY5" fmla="*/ 38279 h 55651"/>
                          <a:gd name="connsiteX6" fmla="*/ 19050 w 80010"/>
                          <a:gd name="connsiteY6" fmla="*/ 43994 h 55651"/>
                          <a:gd name="connsiteX7" fmla="*/ 48058 w 80010"/>
                          <a:gd name="connsiteY7" fmla="*/ 52454 h 55651"/>
                          <a:gd name="connsiteX8" fmla="*/ 72390 w 80010"/>
                          <a:gd name="connsiteY8" fmla="*/ 42089 h 55651"/>
                          <a:gd name="connsiteX9" fmla="*/ 78105 w 80010"/>
                          <a:gd name="connsiteY9" fmla="*/ 36374 h 55651"/>
                          <a:gd name="connsiteX10" fmla="*/ 80010 w 80010"/>
                          <a:gd name="connsiteY10" fmla="*/ 30659 h 55651"/>
                          <a:gd name="connsiteX11" fmla="*/ 78105 w 80010"/>
                          <a:gd name="connsiteY11" fmla="*/ 19229 h 55651"/>
                          <a:gd name="connsiteX12" fmla="*/ 60960 w 80010"/>
                          <a:gd name="connsiteY12" fmla="*/ 13514 h 55651"/>
                          <a:gd name="connsiteX13" fmla="*/ 53340 w 80010"/>
                          <a:gd name="connsiteY13" fmla="*/ 15419 h 55651"/>
                          <a:gd name="connsiteX14" fmla="*/ 40048 w 80010"/>
                          <a:gd name="connsiteY14" fmla="*/ 8639 h 55651"/>
                          <a:gd name="connsiteX15" fmla="*/ 32385 w 80010"/>
                          <a:gd name="connsiteY15" fmla="*/ 179 h 55651"/>
                          <a:gd name="connsiteX0" fmla="*/ 32385 w 80010"/>
                          <a:gd name="connsiteY0" fmla="*/ 179 h 53227"/>
                          <a:gd name="connsiteX1" fmla="*/ 32385 w 80010"/>
                          <a:gd name="connsiteY1" fmla="*/ 179 h 53227"/>
                          <a:gd name="connsiteX2" fmla="*/ 3810 w 80010"/>
                          <a:gd name="connsiteY2" fmla="*/ 2084 h 53227"/>
                          <a:gd name="connsiteX3" fmla="*/ 0 w 80010"/>
                          <a:gd name="connsiteY3" fmla="*/ 13514 h 53227"/>
                          <a:gd name="connsiteX4" fmla="*/ 7620 w 80010"/>
                          <a:gd name="connsiteY4" fmla="*/ 34469 h 53227"/>
                          <a:gd name="connsiteX5" fmla="*/ 13335 w 80010"/>
                          <a:gd name="connsiteY5" fmla="*/ 38279 h 53227"/>
                          <a:gd name="connsiteX6" fmla="*/ 19050 w 80010"/>
                          <a:gd name="connsiteY6" fmla="*/ 43994 h 53227"/>
                          <a:gd name="connsiteX7" fmla="*/ 48058 w 80010"/>
                          <a:gd name="connsiteY7" fmla="*/ 52454 h 53227"/>
                          <a:gd name="connsiteX8" fmla="*/ 72390 w 80010"/>
                          <a:gd name="connsiteY8" fmla="*/ 42089 h 53227"/>
                          <a:gd name="connsiteX9" fmla="*/ 78105 w 80010"/>
                          <a:gd name="connsiteY9" fmla="*/ 36374 h 53227"/>
                          <a:gd name="connsiteX10" fmla="*/ 80010 w 80010"/>
                          <a:gd name="connsiteY10" fmla="*/ 30659 h 53227"/>
                          <a:gd name="connsiteX11" fmla="*/ 78105 w 80010"/>
                          <a:gd name="connsiteY11" fmla="*/ 19229 h 53227"/>
                          <a:gd name="connsiteX12" fmla="*/ 60960 w 80010"/>
                          <a:gd name="connsiteY12" fmla="*/ 13514 h 53227"/>
                          <a:gd name="connsiteX13" fmla="*/ 53340 w 80010"/>
                          <a:gd name="connsiteY13" fmla="*/ 15419 h 53227"/>
                          <a:gd name="connsiteX14" fmla="*/ 40048 w 80010"/>
                          <a:gd name="connsiteY14" fmla="*/ 8639 h 53227"/>
                          <a:gd name="connsiteX15" fmla="*/ 32385 w 80010"/>
                          <a:gd name="connsiteY15" fmla="*/ 179 h 5322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80010" h="53227">
                            <a:moveTo>
                              <a:pt x="32385" y="179"/>
                            </a:moveTo>
                            <a:lnTo>
                              <a:pt x="32385" y="179"/>
                            </a:lnTo>
                            <a:cubicBezTo>
                              <a:pt x="22860" y="814"/>
                              <a:pt x="12637" y="-1551"/>
                              <a:pt x="3810" y="2084"/>
                            </a:cubicBezTo>
                            <a:cubicBezTo>
                              <a:pt x="96" y="3613"/>
                              <a:pt x="0" y="13514"/>
                              <a:pt x="0" y="13514"/>
                            </a:cubicBezTo>
                            <a:cubicBezTo>
                              <a:pt x="1410" y="20563"/>
                              <a:pt x="2165" y="29014"/>
                              <a:pt x="7620" y="34469"/>
                            </a:cubicBezTo>
                            <a:cubicBezTo>
                              <a:pt x="9239" y="36088"/>
                              <a:pt x="11576" y="36813"/>
                              <a:pt x="13335" y="38279"/>
                            </a:cubicBezTo>
                            <a:cubicBezTo>
                              <a:pt x="15405" y="40004"/>
                              <a:pt x="17145" y="42089"/>
                              <a:pt x="19050" y="43994"/>
                            </a:cubicBezTo>
                            <a:cubicBezTo>
                              <a:pt x="36453" y="53990"/>
                              <a:pt x="29632" y="54059"/>
                              <a:pt x="48058" y="52454"/>
                            </a:cubicBezTo>
                            <a:cubicBezTo>
                              <a:pt x="50339" y="52255"/>
                              <a:pt x="67382" y="44769"/>
                              <a:pt x="72390" y="42089"/>
                            </a:cubicBezTo>
                            <a:cubicBezTo>
                              <a:pt x="77398" y="39409"/>
                              <a:pt x="76200" y="38279"/>
                              <a:pt x="78105" y="36374"/>
                            </a:cubicBezTo>
                            <a:cubicBezTo>
                              <a:pt x="78740" y="34469"/>
                              <a:pt x="80010" y="32667"/>
                              <a:pt x="80010" y="30659"/>
                            </a:cubicBezTo>
                            <a:cubicBezTo>
                              <a:pt x="80010" y="26796"/>
                              <a:pt x="79832" y="22684"/>
                              <a:pt x="78105" y="19229"/>
                            </a:cubicBezTo>
                            <a:cubicBezTo>
                              <a:pt x="75670" y="14359"/>
                              <a:pt x="63693" y="13970"/>
                              <a:pt x="60960" y="13514"/>
                            </a:cubicBezTo>
                            <a:cubicBezTo>
                              <a:pt x="58420" y="14149"/>
                              <a:pt x="56825" y="16231"/>
                              <a:pt x="53340" y="15419"/>
                            </a:cubicBezTo>
                            <a:cubicBezTo>
                              <a:pt x="49855" y="14607"/>
                              <a:pt x="39095" y="11497"/>
                              <a:pt x="40048" y="8639"/>
                            </a:cubicBezTo>
                            <a:lnTo>
                              <a:pt x="32385" y="179"/>
                            </a:lnTo>
                            <a:close/>
                          </a:path>
                        </a:pathLst>
                      </a:custGeom>
                      <a:solidFill>
                        <a:srgbClr val="0D3759"/>
                      </a:solidFill>
                      <a:ln w="3175" cap="flat" cmpd="sng" algn="ctr">
                        <a:solidFill>
                          <a:srgbClr val="F2E8F8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80" name="Freeform: Shape 65">
                        <a:extLst>
                          <a:ext uri="{FF2B5EF4-FFF2-40B4-BE49-F238E27FC236}">
                            <a16:creationId xmlns:a16="http://schemas.microsoft.com/office/drawing/2014/main" id="{C9966067-399C-1A68-2BE7-0CB794315A91}"/>
                          </a:ext>
                        </a:extLst>
                      </p:cNvPr>
                      <p:cNvSpPr/>
                      <p:nvPr/>
                    </p:nvSpPr>
                    <p:spPr>
                      <a:xfrm rot="15284729">
                        <a:off x="8851362" y="4146483"/>
                        <a:ext cx="27432" cy="27432"/>
                      </a:xfrm>
                      <a:custGeom>
                        <a:avLst/>
                        <a:gdLst>
                          <a:gd name="connsiteX0" fmla="*/ 32385 w 80010"/>
                          <a:gd name="connsiteY0" fmla="*/ 8118 h 64150"/>
                          <a:gd name="connsiteX1" fmla="*/ 32385 w 80010"/>
                          <a:gd name="connsiteY1" fmla="*/ 8118 h 64150"/>
                          <a:gd name="connsiteX2" fmla="*/ 3810 w 80010"/>
                          <a:gd name="connsiteY2" fmla="*/ 10023 h 64150"/>
                          <a:gd name="connsiteX3" fmla="*/ 0 w 80010"/>
                          <a:gd name="connsiteY3" fmla="*/ 21453 h 64150"/>
                          <a:gd name="connsiteX4" fmla="*/ 7620 w 80010"/>
                          <a:gd name="connsiteY4" fmla="*/ 42408 h 64150"/>
                          <a:gd name="connsiteX5" fmla="*/ 13335 w 80010"/>
                          <a:gd name="connsiteY5" fmla="*/ 46218 h 64150"/>
                          <a:gd name="connsiteX6" fmla="*/ 19050 w 80010"/>
                          <a:gd name="connsiteY6" fmla="*/ 51933 h 64150"/>
                          <a:gd name="connsiteX7" fmla="*/ 68580 w 80010"/>
                          <a:gd name="connsiteY7" fmla="*/ 55743 h 64150"/>
                          <a:gd name="connsiteX8" fmla="*/ 72390 w 80010"/>
                          <a:gd name="connsiteY8" fmla="*/ 50028 h 64150"/>
                          <a:gd name="connsiteX9" fmla="*/ 78105 w 80010"/>
                          <a:gd name="connsiteY9" fmla="*/ 44313 h 64150"/>
                          <a:gd name="connsiteX10" fmla="*/ 80010 w 80010"/>
                          <a:gd name="connsiteY10" fmla="*/ 38598 h 64150"/>
                          <a:gd name="connsiteX11" fmla="*/ 78105 w 80010"/>
                          <a:gd name="connsiteY11" fmla="*/ 27168 h 64150"/>
                          <a:gd name="connsiteX12" fmla="*/ 60960 w 80010"/>
                          <a:gd name="connsiteY12" fmla="*/ 21453 h 64150"/>
                          <a:gd name="connsiteX13" fmla="*/ 53340 w 80010"/>
                          <a:gd name="connsiteY13" fmla="*/ 23358 h 64150"/>
                          <a:gd name="connsiteX14" fmla="*/ 57150 w 80010"/>
                          <a:gd name="connsiteY14" fmla="*/ 11928 h 64150"/>
                          <a:gd name="connsiteX15" fmla="*/ 59055 w 80010"/>
                          <a:gd name="connsiteY15" fmla="*/ 6213 h 64150"/>
                          <a:gd name="connsiteX16" fmla="*/ 34290 w 80010"/>
                          <a:gd name="connsiteY16" fmla="*/ 498 h 64150"/>
                          <a:gd name="connsiteX17" fmla="*/ 32385 w 80010"/>
                          <a:gd name="connsiteY17" fmla="*/ 8118 h 64150"/>
                          <a:gd name="connsiteX0" fmla="*/ 32385 w 80010"/>
                          <a:gd name="connsiteY0" fmla="*/ 8118 h 64150"/>
                          <a:gd name="connsiteX1" fmla="*/ 32385 w 80010"/>
                          <a:gd name="connsiteY1" fmla="*/ 8118 h 64150"/>
                          <a:gd name="connsiteX2" fmla="*/ 3810 w 80010"/>
                          <a:gd name="connsiteY2" fmla="*/ 10023 h 64150"/>
                          <a:gd name="connsiteX3" fmla="*/ 0 w 80010"/>
                          <a:gd name="connsiteY3" fmla="*/ 21453 h 64150"/>
                          <a:gd name="connsiteX4" fmla="*/ 7620 w 80010"/>
                          <a:gd name="connsiteY4" fmla="*/ 42408 h 64150"/>
                          <a:gd name="connsiteX5" fmla="*/ 13335 w 80010"/>
                          <a:gd name="connsiteY5" fmla="*/ 46218 h 64150"/>
                          <a:gd name="connsiteX6" fmla="*/ 19050 w 80010"/>
                          <a:gd name="connsiteY6" fmla="*/ 51933 h 64150"/>
                          <a:gd name="connsiteX7" fmla="*/ 68580 w 80010"/>
                          <a:gd name="connsiteY7" fmla="*/ 55743 h 64150"/>
                          <a:gd name="connsiteX8" fmla="*/ 72390 w 80010"/>
                          <a:gd name="connsiteY8" fmla="*/ 50028 h 64150"/>
                          <a:gd name="connsiteX9" fmla="*/ 78105 w 80010"/>
                          <a:gd name="connsiteY9" fmla="*/ 44313 h 64150"/>
                          <a:gd name="connsiteX10" fmla="*/ 80010 w 80010"/>
                          <a:gd name="connsiteY10" fmla="*/ 38598 h 64150"/>
                          <a:gd name="connsiteX11" fmla="*/ 78105 w 80010"/>
                          <a:gd name="connsiteY11" fmla="*/ 27168 h 64150"/>
                          <a:gd name="connsiteX12" fmla="*/ 60960 w 80010"/>
                          <a:gd name="connsiteY12" fmla="*/ 21453 h 64150"/>
                          <a:gd name="connsiteX13" fmla="*/ 53340 w 80010"/>
                          <a:gd name="connsiteY13" fmla="*/ 23358 h 64150"/>
                          <a:gd name="connsiteX14" fmla="*/ 57150 w 80010"/>
                          <a:gd name="connsiteY14" fmla="*/ 11928 h 64150"/>
                          <a:gd name="connsiteX15" fmla="*/ 59055 w 80010"/>
                          <a:gd name="connsiteY15" fmla="*/ 6213 h 64150"/>
                          <a:gd name="connsiteX16" fmla="*/ 34290 w 80010"/>
                          <a:gd name="connsiteY16" fmla="*/ 498 h 64150"/>
                          <a:gd name="connsiteX17" fmla="*/ 32385 w 80010"/>
                          <a:gd name="connsiteY17" fmla="*/ 8118 h 64150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179 h 56211"/>
                          <a:gd name="connsiteX1" fmla="*/ 32385 w 80010"/>
                          <a:gd name="connsiteY1" fmla="*/ 179 h 56211"/>
                          <a:gd name="connsiteX2" fmla="*/ 3810 w 80010"/>
                          <a:gd name="connsiteY2" fmla="*/ 2084 h 56211"/>
                          <a:gd name="connsiteX3" fmla="*/ 0 w 80010"/>
                          <a:gd name="connsiteY3" fmla="*/ 13514 h 56211"/>
                          <a:gd name="connsiteX4" fmla="*/ 7620 w 80010"/>
                          <a:gd name="connsiteY4" fmla="*/ 34469 h 56211"/>
                          <a:gd name="connsiteX5" fmla="*/ 13335 w 80010"/>
                          <a:gd name="connsiteY5" fmla="*/ 38279 h 56211"/>
                          <a:gd name="connsiteX6" fmla="*/ 19050 w 80010"/>
                          <a:gd name="connsiteY6" fmla="*/ 43994 h 56211"/>
                          <a:gd name="connsiteX7" fmla="*/ 68580 w 80010"/>
                          <a:gd name="connsiteY7" fmla="*/ 47804 h 56211"/>
                          <a:gd name="connsiteX8" fmla="*/ 72390 w 80010"/>
                          <a:gd name="connsiteY8" fmla="*/ 42089 h 56211"/>
                          <a:gd name="connsiteX9" fmla="*/ 78105 w 80010"/>
                          <a:gd name="connsiteY9" fmla="*/ 36374 h 56211"/>
                          <a:gd name="connsiteX10" fmla="*/ 80010 w 80010"/>
                          <a:gd name="connsiteY10" fmla="*/ 30659 h 56211"/>
                          <a:gd name="connsiteX11" fmla="*/ 78105 w 80010"/>
                          <a:gd name="connsiteY11" fmla="*/ 19229 h 56211"/>
                          <a:gd name="connsiteX12" fmla="*/ 60960 w 80010"/>
                          <a:gd name="connsiteY12" fmla="*/ 13514 h 56211"/>
                          <a:gd name="connsiteX13" fmla="*/ 53340 w 80010"/>
                          <a:gd name="connsiteY13" fmla="*/ 15419 h 56211"/>
                          <a:gd name="connsiteX14" fmla="*/ 57150 w 80010"/>
                          <a:gd name="connsiteY14" fmla="*/ 3989 h 56211"/>
                          <a:gd name="connsiteX15" fmla="*/ 32385 w 80010"/>
                          <a:gd name="connsiteY15" fmla="*/ 179 h 56211"/>
                          <a:gd name="connsiteX0" fmla="*/ 32385 w 80010"/>
                          <a:gd name="connsiteY0" fmla="*/ 179 h 56211"/>
                          <a:gd name="connsiteX1" fmla="*/ 32385 w 80010"/>
                          <a:gd name="connsiteY1" fmla="*/ 179 h 56211"/>
                          <a:gd name="connsiteX2" fmla="*/ 3810 w 80010"/>
                          <a:gd name="connsiteY2" fmla="*/ 2084 h 56211"/>
                          <a:gd name="connsiteX3" fmla="*/ 0 w 80010"/>
                          <a:gd name="connsiteY3" fmla="*/ 13514 h 56211"/>
                          <a:gd name="connsiteX4" fmla="*/ 7620 w 80010"/>
                          <a:gd name="connsiteY4" fmla="*/ 34469 h 56211"/>
                          <a:gd name="connsiteX5" fmla="*/ 13335 w 80010"/>
                          <a:gd name="connsiteY5" fmla="*/ 38279 h 56211"/>
                          <a:gd name="connsiteX6" fmla="*/ 19050 w 80010"/>
                          <a:gd name="connsiteY6" fmla="*/ 43994 h 56211"/>
                          <a:gd name="connsiteX7" fmla="*/ 68580 w 80010"/>
                          <a:gd name="connsiteY7" fmla="*/ 47804 h 56211"/>
                          <a:gd name="connsiteX8" fmla="*/ 72390 w 80010"/>
                          <a:gd name="connsiteY8" fmla="*/ 42089 h 56211"/>
                          <a:gd name="connsiteX9" fmla="*/ 78105 w 80010"/>
                          <a:gd name="connsiteY9" fmla="*/ 36374 h 56211"/>
                          <a:gd name="connsiteX10" fmla="*/ 80010 w 80010"/>
                          <a:gd name="connsiteY10" fmla="*/ 30659 h 56211"/>
                          <a:gd name="connsiteX11" fmla="*/ 78105 w 80010"/>
                          <a:gd name="connsiteY11" fmla="*/ 19229 h 56211"/>
                          <a:gd name="connsiteX12" fmla="*/ 60960 w 80010"/>
                          <a:gd name="connsiteY12" fmla="*/ 13514 h 56211"/>
                          <a:gd name="connsiteX13" fmla="*/ 53340 w 80010"/>
                          <a:gd name="connsiteY13" fmla="*/ 15419 h 56211"/>
                          <a:gd name="connsiteX14" fmla="*/ 40048 w 80010"/>
                          <a:gd name="connsiteY14" fmla="*/ 8639 h 56211"/>
                          <a:gd name="connsiteX15" fmla="*/ 32385 w 80010"/>
                          <a:gd name="connsiteY15" fmla="*/ 179 h 56211"/>
                          <a:gd name="connsiteX0" fmla="*/ 32385 w 80010"/>
                          <a:gd name="connsiteY0" fmla="*/ 179 h 52171"/>
                          <a:gd name="connsiteX1" fmla="*/ 32385 w 80010"/>
                          <a:gd name="connsiteY1" fmla="*/ 179 h 52171"/>
                          <a:gd name="connsiteX2" fmla="*/ 3810 w 80010"/>
                          <a:gd name="connsiteY2" fmla="*/ 2084 h 52171"/>
                          <a:gd name="connsiteX3" fmla="*/ 0 w 80010"/>
                          <a:gd name="connsiteY3" fmla="*/ 13514 h 52171"/>
                          <a:gd name="connsiteX4" fmla="*/ 7620 w 80010"/>
                          <a:gd name="connsiteY4" fmla="*/ 34469 h 52171"/>
                          <a:gd name="connsiteX5" fmla="*/ 13335 w 80010"/>
                          <a:gd name="connsiteY5" fmla="*/ 38279 h 52171"/>
                          <a:gd name="connsiteX6" fmla="*/ 19050 w 80010"/>
                          <a:gd name="connsiteY6" fmla="*/ 43994 h 52171"/>
                          <a:gd name="connsiteX7" fmla="*/ 68580 w 80010"/>
                          <a:gd name="connsiteY7" fmla="*/ 47804 h 52171"/>
                          <a:gd name="connsiteX8" fmla="*/ 72390 w 80010"/>
                          <a:gd name="connsiteY8" fmla="*/ 42089 h 52171"/>
                          <a:gd name="connsiteX9" fmla="*/ 78105 w 80010"/>
                          <a:gd name="connsiteY9" fmla="*/ 36374 h 52171"/>
                          <a:gd name="connsiteX10" fmla="*/ 80010 w 80010"/>
                          <a:gd name="connsiteY10" fmla="*/ 30659 h 52171"/>
                          <a:gd name="connsiteX11" fmla="*/ 78105 w 80010"/>
                          <a:gd name="connsiteY11" fmla="*/ 19229 h 52171"/>
                          <a:gd name="connsiteX12" fmla="*/ 60960 w 80010"/>
                          <a:gd name="connsiteY12" fmla="*/ 13514 h 52171"/>
                          <a:gd name="connsiteX13" fmla="*/ 53340 w 80010"/>
                          <a:gd name="connsiteY13" fmla="*/ 15419 h 52171"/>
                          <a:gd name="connsiteX14" fmla="*/ 40048 w 80010"/>
                          <a:gd name="connsiteY14" fmla="*/ 8639 h 52171"/>
                          <a:gd name="connsiteX15" fmla="*/ 32385 w 80010"/>
                          <a:gd name="connsiteY15" fmla="*/ 179 h 52171"/>
                          <a:gd name="connsiteX0" fmla="*/ 32385 w 80010"/>
                          <a:gd name="connsiteY0" fmla="*/ 179 h 52432"/>
                          <a:gd name="connsiteX1" fmla="*/ 32385 w 80010"/>
                          <a:gd name="connsiteY1" fmla="*/ 179 h 52432"/>
                          <a:gd name="connsiteX2" fmla="*/ 3810 w 80010"/>
                          <a:gd name="connsiteY2" fmla="*/ 2084 h 52432"/>
                          <a:gd name="connsiteX3" fmla="*/ 0 w 80010"/>
                          <a:gd name="connsiteY3" fmla="*/ 13514 h 52432"/>
                          <a:gd name="connsiteX4" fmla="*/ 7620 w 80010"/>
                          <a:gd name="connsiteY4" fmla="*/ 34469 h 52432"/>
                          <a:gd name="connsiteX5" fmla="*/ 13335 w 80010"/>
                          <a:gd name="connsiteY5" fmla="*/ 38279 h 52432"/>
                          <a:gd name="connsiteX6" fmla="*/ 19050 w 80010"/>
                          <a:gd name="connsiteY6" fmla="*/ 43994 h 52432"/>
                          <a:gd name="connsiteX7" fmla="*/ 68580 w 80010"/>
                          <a:gd name="connsiteY7" fmla="*/ 47804 h 52432"/>
                          <a:gd name="connsiteX8" fmla="*/ 72390 w 80010"/>
                          <a:gd name="connsiteY8" fmla="*/ 42089 h 52432"/>
                          <a:gd name="connsiteX9" fmla="*/ 78105 w 80010"/>
                          <a:gd name="connsiteY9" fmla="*/ 36374 h 52432"/>
                          <a:gd name="connsiteX10" fmla="*/ 80010 w 80010"/>
                          <a:gd name="connsiteY10" fmla="*/ 30659 h 52432"/>
                          <a:gd name="connsiteX11" fmla="*/ 78105 w 80010"/>
                          <a:gd name="connsiteY11" fmla="*/ 19229 h 52432"/>
                          <a:gd name="connsiteX12" fmla="*/ 60960 w 80010"/>
                          <a:gd name="connsiteY12" fmla="*/ 13514 h 52432"/>
                          <a:gd name="connsiteX13" fmla="*/ 53340 w 80010"/>
                          <a:gd name="connsiteY13" fmla="*/ 15419 h 52432"/>
                          <a:gd name="connsiteX14" fmla="*/ 40048 w 80010"/>
                          <a:gd name="connsiteY14" fmla="*/ 8639 h 52432"/>
                          <a:gd name="connsiteX15" fmla="*/ 32385 w 80010"/>
                          <a:gd name="connsiteY15" fmla="*/ 179 h 52432"/>
                          <a:gd name="connsiteX0" fmla="*/ 32385 w 80010"/>
                          <a:gd name="connsiteY0" fmla="*/ 179 h 55651"/>
                          <a:gd name="connsiteX1" fmla="*/ 32385 w 80010"/>
                          <a:gd name="connsiteY1" fmla="*/ 179 h 55651"/>
                          <a:gd name="connsiteX2" fmla="*/ 3810 w 80010"/>
                          <a:gd name="connsiteY2" fmla="*/ 2084 h 55651"/>
                          <a:gd name="connsiteX3" fmla="*/ 0 w 80010"/>
                          <a:gd name="connsiteY3" fmla="*/ 13514 h 55651"/>
                          <a:gd name="connsiteX4" fmla="*/ 7620 w 80010"/>
                          <a:gd name="connsiteY4" fmla="*/ 34469 h 55651"/>
                          <a:gd name="connsiteX5" fmla="*/ 13335 w 80010"/>
                          <a:gd name="connsiteY5" fmla="*/ 38279 h 55651"/>
                          <a:gd name="connsiteX6" fmla="*/ 19050 w 80010"/>
                          <a:gd name="connsiteY6" fmla="*/ 43994 h 55651"/>
                          <a:gd name="connsiteX7" fmla="*/ 48058 w 80010"/>
                          <a:gd name="connsiteY7" fmla="*/ 52454 h 55651"/>
                          <a:gd name="connsiteX8" fmla="*/ 72390 w 80010"/>
                          <a:gd name="connsiteY8" fmla="*/ 42089 h 55651"/>
                          <a:gd name="connsiteX9" fmla="*/ 78105 w 80010"/>
                          <a:gd name="connsiteY9" fmla="*/ 36374 h 55651"/>
                          <a:gd name="connsiteX10" fmla="*/ 80010 w 80010"/>
                          <a:gd name="connsiteY10" fmla="*/ 30659 h 55651"/>
                          <a:gd name="connsiteX11" fmla="*/ 78105 w 80010"/>
                          <a:gd name="connsiteY11" fmla="*/ 19229 h 55651"/>
                          <a:gd name="connsiteX12" fmla="*/ 60960 w 80010"/>
                          <a:gd name="connsiteY12" fmla="*/ 13514 h 55651"/>
                          <a:gd name="connsiteX13" fmla="*/ 53340 w 80010"/>
                          <a:gd name="connsiteY13" fmla="*/ 15419 h 55651"/>
                          <a:gd name="connsiteX14" fmla="*/ 40048 w 80010"/>
                          <a:gd name="connsiteY14" fmla="*/ 8639 h 55651"/>
                          <a:gd name="connsiteX15" fmla="*/ 32385 w 80010"/>
                          <a:gd name="connsiteY15" fmla="*/ 179 h 55651"/>
                          <a:gd name="connsiteX0" fmla="*/ 32385 w 80010"/>
                          <a:gd name="connsiteY0" fmla="*/ 179 h 53227"/>
                          <a:gd name="connsiteX1" fmla="*/ 32385 w 80010"/>
                          <a:gd name="connsiteY1" fmla="*/ 179 h 53227"/>
                          <a:gd name="connsiteX2" fmla="*/ 3810 w 80010"/>
                          <a:gd name="connsiteY2" fmla="*/ 2084 h 53227"/>
                          <a:gd name="connsiteX3" fmla="*/ 0 w 80010"/>
                          <a:gd name="connsiteY3" fmla="*/ 13514 h 53227"/>
                          <a:gd name="connsiteX4" fmla="*/ 7620 w 80010"/>
                          <a:gd name="connsiteY4" fmla="*/ 34469 h 53227"/>
                          <a:gd name="connsiteX5" fmla="*/ 13335 w 80010"/>
                          <a:gd name="connsiteY5" fmla="*/ 38279 h 53227"/>
                          <a:gd name="connsiteX6" fmla="*/ 19050 w 80010"/>
                          <a:gd name="connsiteY6" fmla="*/ 43994 h 53227"/>
                          <a:gd name="connsiteX7" fmla="*/ 48058 w 80010"/>
                          <a:gd name="connsiteY7" fmla="*/ 52454 h 53227"/>
                          <a:gd name="connsiteX8" fmla="*/ 72390 w 80010"/>
                          <a:gd name="connsiteY8" fmla="*/ 42089 h 53227"/>
                          <a:gd name="connsiteX9" fmla="*/ 78105 w 80010"/>
                          <a:gd name="connsiteY9" fmla="*/ 36374 h 53227"/>
                          <a:gd name="connsiteX10" fmla="*/ 80010 w 80010"/>
                          <a:gd name="connsiteY10" fmla="*/ 30659 h 53227"/>
                          <a:gd name="connsiteX11" fmla="*/ 78105 w 80010"/>
                          <a:gd name="connsiteY11" fmla="*/ 19229 h 53227"/>
                          <a:gd name="connsiteX12" fmla="*/ 60960 w 80010"/>
                          <a:gd name="connsiteY12" fmla="*/ 13514 h 53227"/>
                          <a:gd name="connsiteX13" fmla="*/ 53340 w 80010"/>
                          <a:gd name="connsiteY13" fmla="*/ 15419 h 53227"/>
                          <a:gd name="connsiteX14" fmla="*/ 40048 w 80010"/>
                          <a:gd name="connsiteY14" fmla="*/ 8639 h 53227"/>
                          <a:gd name="connsiteX15" fmla="*/ 32385 w 80010"/>
                          <a:gd name="connsiteY15" fmla="*/ 179 h 5322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80010" h="53227">
                            <a:moveTo>
                              <a:pt x="32385" y="179"/>
                            </a:moveTo>
                            <a:lnTo>
                              <a:pt x="32385" y="179"/>
                            </a:lnTo>
                            <a:cubicBezTo>
                              <a:pt x="22860" y="814"/>
                              <a:pt x="12637" y="-1551"/>
                              <a:pt x="3810" y="2084"/>
                            </a:cubicBezTo>
                            <a:cubicBezTo>
                              <a:pt x="96" y="3613"/>
                              <a:pt x="0" y="13514"/>
                              <a:pt x="0" y="13514"/>
                            </a:cubicBezTo>
                            <a:cubicBezTo>
                              <a:pt x="1410" y="20563"/>
                              <a:pt x="2165" y="29014"/>
                              <a:pt x="7620" y="34469"/>
                            </a:cubicBezTo>
                            <a:cubicBezTo>
                              <a:pt x="9239" y="36088"/>
                              <a:pt x="11576" y="36813"/>
                              <a:pt x="13335" y="38279"/>
                            </a:cubicBezTo>
                            <a:cubicBezTo>
                              <a:pt x="15405" y="40004"/>
                              <a:pt x="17145" y="42089"/>
                              <a:pt x="19050" y="43994"/>
                            </a:cubicBezTo>
                            <a:cubicBezTo>
                              <a:pt x="36453" y="53990"/>
                              <a:pt x="29632" y="54059"/>
                              <a:pt x="48058" y="52454"/>
                            </a:cubicBezTo>
                            <a:cubicBezTo>
                              <a:pt x="50339" y="52255"/>
                              <a:pt x="67382" y="44769"/>
                              <a:pt x="72390" y="42089"/>
                            </a:cubicBezTo>
                            <a:cubicBezTo>
                              <a:pt x="77398" y="39409"/>
                              <a:pt x="76200" y="38279"/>
                              <a:pt x="78105" y="36374"/>
                            </a:cubicBezTo>
                            <a:cubicBezTo>
                              <a:pt x="78740" y="34469"/>
                              <a:pt x="80010" y="32667"/>
                              <a:pt x="80010" y="30659"/>
                            </a:cubicBezTo>
                            <a:cubicBezTo>
                              <a:pt x="80010" y="26796"/>
                              <a:pt x="79832" y="22684"/>
                              <a:pt x="78105" y="19229"/>
                            </a:cubicBezTo>
                            <a:cubicBezTo>
                              <a:pt x="75670" y="14359"/>
                              <a:pt x="63693" y="13970"/>
                              <a:pt x="60960" y="13514"/>
                            </a:cubicBezTo>
                            <a:cubicBezTo>
                              <a:pt x="58420" y="14149"/>
                              <a:pt x="56825" y="16231"/>
                              <a:pt x="53340" y="15419"/>
                            </a:cubicBezTo>
                            <a:cubicBezTo>
                              <a:pt x="49855" y="14607"/>
                              <a:pt x="39095" y="11497"/>
                              <a:pt x="40048" y="8639"/>
                            </a:cubicBezTo>
                            <a:lnTo>
                              <a:pt x="32385" y="179"/>
                            </a:lnTo>
                            <a:close/>
                          </a:path>
                        </a:pathLst>
                      </a:custGeom>
                      <a:grpFill/>
                      <a:ln w="3175" cap="flat" cmpd="sng" algn="ctr">
                        <a:solidFill>
                          <a:srgbClr val="F2E8F8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81" name="Freeform: Shape 66">
                        <a:extLst>
                          <a:ext uri="{FF2B5EF4-FFF2-40B4-BE49-F238E27FC236}">
                            <a16:creationId xmlns:a16="http://schemas.microsoft.com/office/drawing/2014/main" id="{1B49A1CE-4DEC-7FD8-B050-0C839F700CF2}"/>
                          </a:ext>
                        </a:extLst>
                      </p:cNvPr>
                      <p:cNvSpPr/>
                      <p:nvPr/>
                    </p:nvSpPr>
                    <p:spPr>
                      <a:xfrm rot="4030563">
                        <a:off x="8954046" y="4390351"/>
                        <a:ext cx="27432" cy="27432"/>
                      </a:xfrm>
                      <a:custGeom>
                        <a:avLst/>
                        <a:gdLst>
                          <a:gd name="connsiteX0" fmla="*/ 32385 w 80010"/>
                          <a:gd name="connsiteY0" fmla="*/ 8118 h 64150"/>
                          <a:gd name="connsiteX1" fmla="*/ 32385 w 80010"/>
                          <a:gd name="connsiteY1" fmla="*/ 8118 h 64150"/>
                          <a:gd name="connsiteX2" fmla="*/ 3810 w 80010"/>
                          <a:gd name="connsiteY2" fmla="*/ 10023 h 64150"/>
                          <a:gd name="connsiteX3" fmla="*/ 0 w 80010"/>
                          <a:gd name="connsiteY3" fmla="*/ 21453 h 64150"/>
                          <a:gd name="connsiteX4" fmla="*/ 7620 w 80010"/>
                          <a:gd name="connsiteY4" fmla="*/ 42408 h 64150"/>
                          <a:gd name="connsiteX5" fmla="*/ 13335 w 80010"/>
                          <a:gd name="connsiteY5" fmla="*/ 46218 h 64150"/>
                          <a:gd name="connsiteX6" fmla="*/ 19050 w 80010"/>
                          <a:gd name="connsiteY6" fmla="*/ 51933 h 64150"/>
                          <a:gd name="connsiteX7" fmla="*/ 68580 w 80010"/>
                          <a:gd name="connsiteY7" fmla="*/ 55743 h 64150"/>
                          <a:gd name="connsiteX8" fmla="*/ 72390 w 80010"/>
                          <a:gd name="connsiteY8" fmla="*/ 50028 h 64150"/>
                          <a:gd name="connsiteX9" fmla="*/ 78105 w 80010"/>
                          <a:gd name="connsiteY9" fmla="*/ 44313 h 64150"/>
                          <a:gd name="connsiteX10" fmla="*/ 80010 w 80010"/>
                          <a:gd name="connsiteY10" fmla="*/ 38598 h 64150"/>
                          <a:gd name="connsiteX11" fmla="*/ 78105 w 80010"/>
                          <a:gd name="connsiteY11" fmla="*/ 27168 h 64150"/>
                          <a:gd name="connsiteX12" fmla="*/ 60960 w 80010"/>
                          <a:gd name="connsiteY12" fmla="*/ 21453 h 64150"/>
                          <a:gd name="connsiteX13" fmla="*/ 53340 w 80010"/>
                          <a:gd name="connsiteY13" fmla="*/ 23358 h 64150"/>
                          <a:gd name="connsiteX14" fmla="*/ 57150 w 80010"/>
                          <a:gd name="connsiteY14" fmla="*/ 11928 h 64150"/>
                          <a:gd name="connsiteX15" fmla="*/ 59055 w 80010"/>
                          <a:gd name="connsiteY15" fmla="*/ 6213 h 64150"/>
                          <a:gd name="connsiteX16" fmla="*/ 34290 w 80010"/>
                          <a:gd name="connsiteY16" fmla="*/ 498 h 64150"/>
                          <a:gd name="connsiteX17" fmla="*/ 32385 w 80010"/>
                          <a:gd name="connsiteY17" fmla="*/ 8118 h 64150"/>
                          <a:gd name="connsiteX0" fmla="*/ 32385 w 80010"/>
                          <a:gd name="connsiteY0" fmla="*/ 8118 h 64150"/>
                          <a:gd name="connsiteX1" fmla="*/ 32385 w 80010"/>
                          <a:gd name="connsiteY1" fmla="*/ 8118 h 64150"/>
                          <a:gd name="connsiteX2" fmla="*/ 3810 w 80010"/>
                          <a:gd name="connsiteY2" fmla="*/ 10023 h 64150"/>
                          <a:gd name="connsiteX3" fmla="*/ 0 w 80010"/>
                          <a:gd name="connsiteY3" fmla="*/ 21453 h 64150"/>
                          <a:gd name="connsiteX4" fmla="*/ 7620 w 80010"/>
                          <a:gd name="connsiteY4" fmla="*/ 42408 h 64150"/>
                          <a:gd name="connsiteX5" fmla="*/ 13335 w 80010"/>
                          <a:gd name="connsiteY5" fmla="*/ 46218 h 64150"/>
                          <a:gd name="connsiteX6" fmla="*/ 19050 w 80010"/>
                          <a:gd name="connsiteY6" fmla="*/ 51933 h 64150"/>
                          <a:gd name="connsiteX7" fmla="*/ 68580 w 80010"/>
                          <a:gd name="connsiteY7" fmla="*/ 55743 h 64150"/>
                          <a:gd name="connsiteX8" fmla="*/ 72390 w 80010"/>
                          <a:gd name="connsiteY8" fmla="*/ 50028 h 64150"/>
                          <a:gd name="connsiteX9" fmla="*/ 78105 w 80010"/>
                          <a:gd name="connsiteY9" fmla="*/ 44313 h 64150"/>
                          <a:gd name="connsiteX10" fmla="*/ 80010 w 80010"/>
                          <a:gd name="connsiteY10" fmla="*/ 38598 h 64150"/>
                          <a:gd name="connsiteX11" fmla="*/ 78105 w 80010"/>
                          <a:gd name="connsiteY11" fmla="*/ 27168 h 64150"/>
                          <a:gd name="connsiteX12" fmla="*/ 60960 w 80010"/>
                          <a:gd name="connsiteY12" fmla="*/ 21453 h 64150"/>
                          <a:gd name="connsiteX13" fmla="*/ 53340 w 80010"/>
                          <a:gd name="connsiteY13" fmla="*/ 23358 h 64150"/>
                          <a:gd name="connsiteX14" fmla="*/ 57150 w 80010"/>
                          <a:gd name="connsiteY14" fmla="*/ 11928 h 64150"/>
                          <a:gd name="connsiteX15" fmla="*/ 59055 w 80010"/>
                          <a:gd name="connsiteY15" fmla="*/ 6213 h 64150"/>
                          <a:gd name="connsiteX16" fmla="*/ 34290 w 80010"/>
                          <a:gd name="connsiteY16" fmla="*/ 498 h 64150"/>
                          <a:gd name="connsiteX17" fmla="*/ 32385 w 80010"/>
                          <a:gd name="connsiteY17" fmla="*/ 8118 h 64150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179 h 56211"/>
                          <a:gd name="connsiteX1" fmla="*/ 32385 w 80010"/>
                          <a:gd name="connsiteY1" fmla="*/ 179 h 56211"/>
                          <a:gd name="connsiteX2" fmla="*/ 3810 w 80010"/>
                          <a:gd name="connsiteY2" fmla="*/ 2084 h 56211"/>
                          <a:gd name="connsiteX3" fmla="*/ 0 w 80010"/>
                          <a:gd name="connsiteY3" fmla="*/ 13514 h 56211"/>
                          <a:gd name="connsiteX4" fmla="*/ 7620 w 80010"/>
                          <a:gd name="connsiteY4" fmla="*/ 34469 h 56211"/>
                          <a:gd name="connsiteX5" fmla="*/ 13335 w 80010"/>
                          <a:gd name="connsiteY5" fmla="*/ 38279 h 56211"/>
                          <a:gd name="connsiteX6" fmla="*/ 19050 w 80010"/>
                          <a:gd name="connsiteY6" fmla="*/ 43994 h 56211"/>
                          <a:gd name="connsiteX7" fmla="*/ 68580 w 80010"/>
                          <a:gd name="connsiteY7" fmla="*/ 47804 h 56211"/>
                          <a:gd name="connsiteX8" fmla="*/ 72390 w 80010"/>
                          <a:gd name="connsiteY8" fmla="*/ 42089 h 56211"/>
                          <a:gd name="connsiteX9" fmla="*/ 78105 w 80010"/>
                          <a:gd name="connsiteY9" fmla="*/ 36374 h 56211"/>
                          <a:gd name="connsiteX10" fmla="*/ 80010 w 80010"/>
                          <a:gd name="connsiteY10" fmla="*/ 30659 h 56211"/>
                          <a:gd name="connsiteX11" fmla="*/ 78105 w 80010"/>
                          <a:gd name="connsiteY11" fmla="*/ 19229 h 56211"/>
                          <a:gd name="connsiteX12" fmla="*/ 60960 w 80010"/>
                          <a:gd name="connsiteY12" fmla="*/ 13514 h 56211"/>
                          <a:gd name="connsiteX13" fmla="*/ 53340 w 80010"/>
                          <a:gd name="connsiteY13" fmla="*/ 15419 h 56211"/>
                          <a:gd name="connsiteX14" fmla="*/ 57150 w 80010"/>
                          <a:gd name="connsiteY14" fmla="*/ 3989 h 56211"/>
                          <a:gd name="connsiteX15" fmla="*/ 32385 w 80010"/>
                          <a:gd name="connsiteY15" fmla="*/ 179 h 56211"/>
                          <a:gd name="connsiteX0" fmla="*/ 32385 w 80010"/>
                          <a:gd name="connsiteY0" fmla="*/ 179 h 56211"/>
                          <a:gd name="connsiteX1" fmla="*/ 32385 w 80010"/>
                          <a:gd name="connsiteY1" fmla="*/ 179 h 56211"/>
                          <a:gd name="connsiteX2" fmla="*/ 3810 w 80010"/>
                          <a:gd name="connsiteY2" fmla="*/ 2084 h 56211"/>
                          <a:gd name="connsiteX3" fmla="*/ 0 w 80010"/>
                          <a:gd name="connsiteY3" fmla="*/ 13514 h 56211"/>
                          <a:gd name="connsiteX4" fmla="*/ 7620 w 80010"/>
                          <a:gd name="connsiteY4" fmla="*/ 34469 h 56211"/>
                          <a:gd name="connsiteX5" fmla="*/ 13335 w 80010"/>
                          <a:gd name="connsiteY5" fmla="*/ 38279 h 56211"/>
                          <a:gd name="connsiteX6" fmla="*/ 19050 w 80010"/>
                          <a:gd name="connsiteY6" fmla="*/ 43994 h 56211"/>
                          <a:gd name="connsiteX7" fmla="*/ 68580 w 80010"/>
                          <a:gd name="connsiteY7" fmla="*/ 47804 h 56211"/>
                          <a:gd name="connsiteX8" fmla="*/ 72390 w 80010"/>
                          <a:gd name="connsiteY8" fmla="*/ 42089 h 56211"/>
                          <a:gd name="connsiteX9" fmla="*/ 78105 w 80010"/>
                          <a:gd name="connsiteY9" fmla="*/ 36374 h 56211"/>
                          <a:gd name="connsiteX10" fmla="*/ 80010 w 80010"/>
                          <a:gd name="connsiteY10" fmla="*/ 30659 h 56211"/>
                          <a:gd name="connsiteX11" fmla="*/ 78105 w 80010"/>
                          <a:gd name="connsiteY11" fmla="*/ 19229 h 56211"/>
                          <a:gd name="connsiteX12" fmla="*/ 60960 w 80010"/>
                          <a:gd name="connsiteY12" fmla="*/ 13514 h 56211"/>
                          <a:gd name="connsiteX13" fmla="*/ 53340 w 80010"/>
                          <a:gd name="connsiteY13" fmla="*/ 15419 h 56211"/>
                          <a:gd name="connsiteX14" fmla="*/ 40048 w 80010"/>
                          <a:gd name="connsiteY14" fmla="*/ 8639 h 56211"/>
                          <a:gd name="connsiteX15" fmla="*/ 32385 w 80010"/>
                          <a:gd name="connsiteY15" fmla="*/ 179 h 56211"/>
                          <a:gd name="connsiteX0" fmla="*/ 32385 w 80010"/>
                          <a:gd name="connsiteY0" fmla="*/ 179 h 52171"/>
                          <a:gd name="connsiteX1" fmla="*/ 32385 w 80010"/>
                          <a:gd name="connsiteY1" fmla="*/ 179 h 52171"/>
                          <a:gd name="connsiteX2" fmla="*/ 3810 w 80010"/>
                          <a:gd name="connsiteY2" fmla="*/ 2084 h 52171"/>
                          <a:gd name="connsiteX3" fmla="*/ 0 w 80010"/>
                          <a:gd name="connsiteY3" fmla="*/ 13514 h 52171"/>
                          <a:gd name="connsiteX4" fmla="*/ 7620 w 80010"/>
                          <a:gd name="connsiteY4" fmla="*/ 34469 h 52171"/>
                          <a:gd name="connsiteX5" fmla="*/ 13335 w 80010"/>
                          <a:gd name="connsiteY5" fmla="*/ 38279 h 52171"/>
                          <a:gd name="connsiteX6" fmla="*/ 19050 w 80010"/>
                          <a:gd name="connsiteY6" fmla="*/ 43994 h 52171"/>
                          <a:gd name="connsiteX7" fmla="*/ 68580 w 80010"/>
                          <a:gd name="connsiteY7" fmla="*/ 47804 h 52171"/>
                          <a:gd name="connsiteX8" fmla="*/ 72390 w 80010"/>
                          <a:gd name="connsiteY8" fmla="*/ 42089 h 52171"/>
                          <a:gd name="connsiteX9" fmla="*/ 78105 w 80010"/>
                          <a:gd name="connsiteY9" fmla="*/ 36374 h 52171"/>
                          <a:gd name="connsiteX10" fmla="*/ 80010 w 80010"/>
                          <a:gd name="connsiteY10" fmla="*/ 30659 h 52171"/>
                          <a:gd name="connsiteX11" fmla="*/ 78105 w 80010"/>
                          <a:gd name="connsiteY11" fmla="*/ 19229 h 52171"/>
                          <a:gd name="connsiteX12" fmla="*/ 60960 w 80010"/>
                          <a:gd name="connsiteY12" fmla="*/ 13514 h 52171"/>
                          <a:gd name="connsiteX13" fmla="*/ 53340 w 80010"/>
                          <a:gd name="connsiteY13" fmla="*/ 15419 h 52171"/>
                          <a:gd name="connsiteX14" fmla="*/ 40048 w 80010"/>
                          <a:gd name="connsiteY14" fmla="*/ 8639 h 52171"/>
                          <a:gd name="connsiteX15" fmla="*/ 32385 w 80010"/>
                          <a:gd name="connsiteY15" fmla="*/ 179 h 52171"/>
                          <a:gd name="connsiteX0" fmla="*/ 32385 w 80010"/>
                          <a:gd name="connsiteY0" fmla="*/ 179 h 52432"/>
                          <a:gd name="connsiteX1" fmla="*/ 32385 w 80010"/>
                          <a:gd name="connsiteY1" fmla="*/ 179 h 52432"/>
                          <a:gd name="connsiteX2" fmla="*/ 3810 w 80010"/>
                          <a:gd name="connsiteY2" fmla="*/ 2084 h 52432"/>
                          <a:gd name="connsiteX3" fmla="*/ 0 w 80010"/>
                          <a:gd name="connsiteY3" fmla="*/ 13514 h 52432"/>
                          <a:gd name="connsiteX4" fmla="*/ 7620 w 80010"/>
                          <a:gd name="connsiteY4" fmla="*/ 34469 h 52432"/>
                          <a:gd name="connsiteX5" fmla="*/ 13335 w 80010"/>
                          <a:gd name="connsiteY5" fmla="*/ 38279 h 52432"/>
                          <a:gd name="connsiteX6" fmla="*/ 19050 w 80010"/>
                          <a:gd name="connsiteY6" fmla="*/ 43994 h 52432"/>
                          <a:gd name="connsiteX7" fmla="*/ 68580 w 80010"/>
                          <a:gd name="connsiteY7" fmla="*/ 47804 h 52432"/>
                          <a:gd name="connsiteX8" fmla="*/ 72390 w 80010"/>
                          <a:gd name="connsiteY8" fmla="*/ 42089 h 52432"/>
                          <a:gd name="connsiteX9" fmla="*/ 78105 w 80010"/>
                          <a:gd name="connsiteY9" fmla="*/ 36374 h 52432"/>
                          <a:gd name="connsiteX10" fmla="*/ 80010 w 80010"/>
                          <a:gd name="connsiteY10" fmla="*/ 30659 h 52432"/>
                          <a:gd name="connsiteX11" fmla="*/ 78105 w 80010"/>
                          <a:gd name="connsiteY11" fmla="*/ 19229 h 52432"/>
                          <a:gd name="connsiteX12" fmla="*/ 60960 w 80010"/>
                          <a:gd name="connsiteY12" fmla="*/ 13514 h 52432"/>
                          <a:gd name="connsiteX13" fmla="*/ 53340 w 80010"/>
                          <a:gd name="connsiteY13" fmla="*/ 15419 h 52432"/>
                          <a:gd name="connsiteX14" fmla="*/ 40048 w 80010"/>
                          <a:gd name="connsiteY14" fmla="*/ 8639 h 52432"/>
                          <a:gd name="connsiteX15" fmla="*/ 32385 w 80010"/>
                          <a:gd name="connsiteY15" fmla="*/ 179 h 52432"/>
                          <a:gd name="connsiteX0" fmla="*/ 32385 w 80010"/>
                          <a:gd name="connsiteY0" fmla="*/ 179 h 55651"/>
                          <a:gd name="connsiteX1" fmla="*/ 32385 w 80010"/>
                          <a:gd name="connsiteY1" fmla="*/ 179 h 55651"/>
                          <a:gd name="connsiteX2" fmla="*/ 3810 w 80010"/>
                          <a:gd name="connsiteY2" fmla="*/ 2084 h 55651"/>
                          <a:gd name="connsiteX3" fmla="*/ 0 w 80010"/>
                          <a:gd name="connsiteY3" fmla="*/ 13514 h 55651"/>
                          <a:gd name="connsiteX4" fmla="*/ 7620 w 80010"/>
                          <a:gd name="connsiteY4" fmla="*/ 34469 h 55651"/>
                          <a:gd name="connsiteX5" fmla="*/ 13335 w 80010"/>
                          <a:gd name="connsiteY5" fmla="*/ 38279 h 55651"/>
                          <a:gd name="connsiteX6" fmla="*/ 19050 w 80010"/>
                          <a:gd name="connsiteY6" fmla="*/ 43994 h 55651"/>
                          <a:gd name="connsiteX7" fmla="*/ 48058 w 80010"/>
                          <a:gd name="connsiteY7" fmla="*/ 52454 h 55651"/>
                          <a:gd name="connsiteX8" fmla="*/ 72390 w 80010"/>
                          <a:gd name="connsiteY8" fmla="*/ 42089 h 55651"/>
                          <a:gd name="connsiteX9" fmla="*/ 78105 w 80010"/>
                          <a:gd name="connsiteY9" fmla="*/ 36374 h 55651"/>
                          <a:gd name="connsiteX10" fmla="*/ 80010 w 80010"/>
                          <a:gd name="connsiteY10" fmla="*/ 30659 h 55651"/>
                          <a:gd name="connsiteX11" fmla="*/ 78105 w 80010"/>
                          <a:gd name="connsiteY11" fmla="*/ 19229 h 55651"/>
                          <a:gd name="connsiteX12" fmla="*/ 60960 w 80010"/>
                          <a:gd name="connsiteY12" fmla="*/ 13514 h 55651"/>
                          <a:gd name="connsiteX13" fmla="*/ 53340 w 80010"/>
                          <a:gd name="connsiteY13" fmla="*/ 15419 h 55651"/>
                          <a:gd name="connsiteX14" fmla="*/ 40048 w 80010"/>
                          <a:gd name="connsiteY14" fmla="*/ 8639 h 55651"/>
                          <a:gd name="connsiteX15" fmla="*/ 32385 w 80010"/>
                          <a:gd name="connsiteY15" fmla="*/ 179 h 55651"/>
                          <a:gd name="connsiteX0" fmla="*/ 32385 w 80010"/>
                          <a:gd name="connsiteY0" fmla="*/ 179 h 53227"/>
                          <a:gd name="connsiteX1" fmla="*/ 32385 w 80010"/>
                          <a:gd name="connsiteY1" fmla="*/ 179 h 53227"/>
                          <a:gd name="connsiteX2" fmla="*/ 3810 w 80010"/>
                          <a:gd name="connsiteY2" fmla="*/ 2084 h 53227"/>
                          <a:gd name="connsiteX3" fmla="*/ 0 w 80010"/>
                          <a:gd name="connsiteY3" fmla="*/ 13514 h 53227"/>
                          <a:gd name="connsiteX4" fmla="*/ 7620 w 80010"/>
                          <a:gd name="connsiteY4" fmla="*/ 34469 h 53227"/>
                          <a:gd name="connsiteX5" fmla="*/ 13335 w 80010"/>
                          <a:gd name="connsiteY5" fmla="*/ 38279 h 53227"/>
                          <a:gd name="connsiteX6" fmla="*/ 19050 w 80010"/>
                          <a:gd name="connsiteY6" fmla="*/ 43994 h 53227"/>
                          <a:gd name="connsiteX7" fmla="*/ 48058 w 80010"/>
                          <a:gd name="connsiteY7" fmla="*/ 52454 h 53227"/>
                          <a:gd name="connsiteX8" fmla="*/ 72390 w 80010"/>
                          <a:gd name="connsiteY8" fmla="*/ 42089 h 53227"/>
                          <a:gd name="connsiteX9" fmla="*/ 78105 w 80010"/>
                          <a:gd name="connsiteY9" fmla="*/ 36374 h 53227"/>
                          <a:gd name="connsiteX10" fmla="*/ 80010 w 80010"/>
                          <a:gd name="connsiteY10" fmla="*/ 30659 h 53227"/>
                          <a:gd name="connsiteX11" fmla="*/ 78105 w 80010"/>
                          <a:gd name="connsiteY11" fmla="*/ 19229 h 53227"/>
                          <a:gd name="connsiteX12" fmla="*/ 60960 w 80010"/>
                          <a:gd name="connsiteY12" fmla="*/ 13514 h 53227"/>
                          <a:gd name="connsiteX13" fmla="*/ 53340 w 80010"/>
                          <a:gd name="connsiteY13" fmla="*/ 15419 h 53227"/>
                          <a:gd name="connsiteX14" fmla="*/ 40048 w 80010"/>
                          <a:gd name="connsiteY14" fmla="*/ 8639 h 53227"/>
                          <a:gd name="connsiteX15" fmla="*/ 32385 w 80010"/>
                          <a:gd name="connsiteY15" fmla="*/ 179 h 5322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80010" h="53227">
                            <a:moveTo>
                              <a:pt x="32385" y="179"/>
                            </a:moveTo>
                            <a:lnTo>
                              <a:pt x="32385" y="179"/>
                            </a:lnTo>
                            <a:cubicBezTo>
                              <a:pt x="22860" y="814"/>
                              <a:pt x="12637" y="-1551"/>
                              <a:pt x="3810" y="2084"/>
                            </a:cubicBezTo>
                            <a:cubicBezTo>
                              <a:pt x="96" y="3613"/>
                              <a:pt x="0" y="13514"/>
                              <a:pt x="0" y="13514"/>
                            </a:cubicBezTo>
                            <a:cubicBezTo>
                              <a:pt x="1410" y="20563"/>
                              <a:pt x="2165" y="29014"/>
                              <a:pt x="7620" y="34469"/>
                            </a:cubicBezTo>
                            <a:cubicBezTo>
                              <a:pt x="9239" y="36088"/>
                              <a:pt x="11576" y="36813"/>
                              <a:pt x="13335" y="38279"/>
                            </a:cubicBezTo>
                            <a:cubicBezTo>
                              <a:pt x="15405" y="40004"/>
                              <a:pt x="17145" y="42089"/>
                              <a:pt x="19050" y="43994"/>
                            </a:cubicBezTo>
                            <a:cubicBezTo>
                              <a:pt x="36453" y="53990"/>
                              <a:pt x="29632" y="54059"/>
                              <a:pt x="48058" y="52454"/>
                            </a:cubicBezTo>
                            <a:cubicBezTo>
                              <a:pt x="50339" y="52255"/>
                              <a:pt x="67382" y="44769"/>
                              <a:pt x="72390" y="42089"/>
                            </a:cubicBezTo>
                            <a:cubicBezTo>
                              <a:pt x="77398" y="39409"/>
                              <a:pt x="76200" y="38279"/>
                              <a:pt x="78105" y="36374"/>
                            </a:cubicBezTo>
                            <a:cubicBezTo>
                              <a:pt x="78740" y="34469"/>
                              <a:pt x="80010" y="32667"/>
                              <a:pt x="80010" y="30659"/>
                            </a:cubicBezTo>
                            <a:cubicBezTo>
                              <a:pt x="80010" y="26796"/>
                              <a:pt x="79832" y="22684"/>
                              <a:pt x="78105" y="19229"/>
                            </a:cubicBezTo>
                            <a:cubicBezTo>
                              <a:pt x="75670" y="14359"/>
                              <a:pt x="63693" y="13970"/>
                              <a:pt x="60960" y="13514"/>
                            </a:cubicBezTo>
                            <a:cubicBezTo>
                              <a:pt x="58420" y="14149"/>
                              <a:pt x="56825" y="16231"/>
                              <a:pt x="53340" y="15419"/>
                            </a:cubicBezTo>
                            <a:cubicBezTo>
                              <a:pt x="49855" y="14607"/>
                              <a:pt x="39095" y="11497"/>
                              <a:pt x="40048" y="8639"/>
                            </a:cubicBezTo>
                            <a:lnTo>
                              <a:pt x="32385" y="179"/>
                            </a:lnTo>
                            <a:close/>
                          </a:path>
                        </a:pathLst>
                      </a:custGeom>
                      <a:grpFill/>
                      <a:ln w="3175" cap="flat" cmpd="sng" algn="ctr">
                        <a:solidFill>
                          <a:srgbClr val="F2E8F8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82" name="Freeform: Shape 67">
                        <a:extLst>
                          <a:ext uri="{FF2B5EF4-FFF2-40B4-BE49-F238E27FC236}">
                            <a16:creationId xmlns:a16="http://schemas.microsoft.com/office/drawing/2014/main" id="{21AEA62F-43E5-0AB9-8D0B-CD354F70ACA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878794" y="4215604"/>
                        <a:ext cx="27432" cy="27432"/>
                      </a:xfrm>
                      <a:custGeom>
                        <a:avLst/>
                        <a:gdLst>
                          <a:gd name="connsiteX0" fmla="*/ 32385 w 80010"/>
                          <a:gd name="connsiteY0" fmla="*/ 8118 h 64150"/>
                          <a:gd name="connsiteX1" fmla="*/ 32385 w 80010"/>
                          <a:gd name="connsiteY1" fmla="*/ 8118 h 64150"/>
                          <a:gd name="connsiteX2" fmla="*/ 3810 w 80010"/>
                          <a:gd name="connsiteY2" fmla="*/ 10023 h 64150"/>
                          <a:gd name="connsiteX3" fmla="*/ 0 w 80010"/>
                          <a:gd name="connsiteY3" fmla="*/ 21453 h 64150"/>
                          <a:gd name="connsiteX4" fmla="*/ 7620 w 80010"/>
                          <a:gd name="connsiteY4" fmla="*/ 42408 h 64150"/>
                          <a:gd name="connsiteX5" fmla="*/ 13335 w 80010"/>
                          <a:gd name="connsiteY5" fmla="*/ 46218 h 64150"/>
                          <a:gd name="connsiteX6" fmla="*/ 19050 w 80010"/>
                          <a:gd name="connsiteY6" fmla="*/ 51933 h 64150"/>
                          <a:gd name="connsiteX7" fmla="*/ 68580 w 80010"/>
                          <a:gd name="connsiteY7" fmla="*/ 55743 h 64150"/>
                          <a:gd name="connsiteX8" fmla="*/ 72390 w 80010"/>
                          <a:gd name="connsiteY8" fmla="*/ 50028 h 64150"/>
                          <a:gd name="connsiteX9" fmla="*/ 78105 w 80010"/>
                          <a:gd name="connsiteY9" fmla="*/ 44313 h 64150"/>
                          <a:gd name="connsiteX10" fmla="*/ 80010 w 80010"/>
                          <a:gd name="connsiteY10" fmla="*/ 38598 h 64150"/>
                          <a:gd name="connsiteX11" fmla="*/ 78105 w 80010"/>
                          <a:gd name="connsiteY11" fmla="*/ 27168 h 64150"/>
                          <a:gd name="connsiteX12" fmla="*/ 60960 w 80010"/>
                          <a:gd name="connsiteY12" fmla="*/ 21453 h 64150"/>
                          <a:gd name="connsiteX13" fmla="*/ 53340 w 80010"/>
                          <a:gd name="connsiteY13" fmla="*/ 23358 h 64150"/>
                          <a:gd name="connsiteX14" fmla="*/ 57150 w 80010"/>
                          <a:gd name="connsiteY14" fmla="*/ 11928 h 64150"/>
                          <a:gd name="connsiteX15" fmla="*/ 59055 w 80010"/>
                          <a:gd name="connsiteY15" fmla="*/ 6213 h 64150"/>
                          <a:gd name="connsiteX16" fmla="*/ 34290 w 80010"/>
                          <a:gd name="connsiteY16" fmla="*/ 498 h 64150"/>
                          <a:gd name="connsiteX17" fmla="*/ 32385 w 80010"/>
                          <a:gd name="connsiteY17" fmla="*/ 8118 h 64150"/>
                          <a:gd name="connsiteX0" fmla="*/ 32385 w 80010"/>
                          <a:gd name="connsiteY0" fmla="*/ 8118 h 64150"/>
                          <a:gd name="connsiteX1" fmla="*/ 32385 w 80010"/>
                          <a:gd name="connsiteY1" fmla="*/ 8118 h 64150"/>
                          <a:gd name="connsiteX2" fmla="*/ 3810 w 80010"/>
                          <a:gd name="connsiteY2" fmla="*/ 10023 h 64150"/>
                          <a:gd name="connsiteX3" fmla="*/ 0 w 80010"/>
                          <a:gd name="connsiteY3" fmla="*/ 21453 h 64150"/>
                          <a:gd name="connsiteX4" fmla="*/ 7620 w 80010"/>
                          <a:gd name="connsiteY4" fmla="*/ 42408 h 64150"/>
                          <a:gd name="connsiteX5" fmla="*/ 13335 w 80010"/>
                          <a:gd name="connsiteY5" fmla="*/ 46218 h 64150"/>
                          <a:gd name="connsiteX6" fmla="*/ 19050 w 80010"/>
                          <a:gd name="connsiteY6" fmla="*/ 51933 h 64150"/>
                          <a:gd name="connsiteX7" fmla="*/ 68580 w 80010"/>
                          <a:gd name="connsiteY7" fmla="*/ 55743 h 64150"/>
                          <a:gd name="connsiteX8" fmla="*/ 72390 w 80010"/>
                          <a:gd name="connsiteY8" fmla="*/ 50028 h 64150"/>
                          <a:gd name="connsiteX9" fmla="*/ 78105 w 80010"/>
                          <a:gd name="connsiteY9" fmla="*/ 44313 h 64150"/>
                          <a:gd name="connsiteX10" fmla="*/ 80010 w 80010"/>
                          <a:gd name="connsiteY10" fmla="*/ 38598 h 64150"/>
                          <a:gd name="connsiteX11" fmla="*/ 78105 w 80010"/>
                          <a:gd name="connsiteY11" fmla="*/ 27168 h 64150"/>
                          <a:gd name="connsiteX12" fmla="*/ 60960 w 80010"/>
                          <a:gd name="connsiteY12" fmla="*/ 21453 h 64150"/>
                          <a:gd name="connsiteX13" fmla="*/ 53340 w 80010"/>
                          <a:gd name="connsiteY13" fmla="*/ 23358 h 64150"/>
                          <a:gd name="connsiteX14" fmla="*/ 57150 w 80010"/>
                          <a:gd name="connsiteY14" fmla="*/ 11928 h 64150"/>
                          <a:gd name="connsiteX15" fmla="*/ 59055 w 80010"/>
                          <a:gd name="connsiteY15" fmla="*/ 6213 h 64150"/>
                          <a:gd name="connsiteX16" fmla="*/ 34290 w 80010"/>
                          <a:gd name="connsiteY16" fmla="*/ 498 h 64150"/>
                          <a:gd name="connsiteX17" fmla="*/ 32385 w 80010"/>
                          <a:gd name="connsiteY17" fmla="*/ 8118 h 64150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179 h 56211"/>
                          <a:gd name="connsiteX1" fmla="*/ 32385 w 80010"/>
                          <a:gd name="connsiteY1" fmla="*/ 179 h 56211"/>
                          <a:gd name="connsiteX2" fmla="*/ 3810 w 80010"/>
                          <a:gd name="connsiteY2" fmla="*/ 2084 h 56211"/>
                          <a:gd name="connsiteX3" fmla="*/ 0 w 80010"/>
                          <a:gd name="connsiteY3" fmla="*/ 13514 h 56211"/>
                          <a:gd name="connsiteX4" fmla="*/ 7620 w 80010"/>
                          <a:gd name="connsiteY4" fmla="*/ 34469 h 56211"/>
                          <a:gd name="connsiteX5" fmla="*/ 13335 w 80010"/>
                          <a:gd name="connsiteY5" fmla="*/ 38279 h 56211"/>
                          <a:gd name="connsiteX6" fmla="*/ 19050 w 80010"/>
                          <a:gd name="connsiteY6" fmla="*/ 43994 h 56211"/>
                          <a:gd name="connsiteX7" fmla="*/ 68580 w 80010"/>
                          <a:gd name="connsiteY7" fmla="*/ 47804 h 56211"/>
                          <a:gd name="connsiteX8" fmla="*/ 72390 w 80010"/>
                          <a:gd name="connsiteY8" fmla="*/ 42089 h 56211"/>
                          <a:gd name="connsiteX9" fmla="*/ 78105 w 80010"/>
                          <a:gd name="connsiteY9" fmla="*/ 36374 h 56211"/>
                          <a:gd name="connsiteX10" fmla="*/ 80010 w 80010"/>
                          <a:gd name="connsiteY10" fmla="*/ 30659 h 56211"/>
                          <a:gd name="connsiteX11" fmla="*/ 78105 w 80010"/>
                          <a:gd name="connsiteY11" fmla="*/ 19229 h 56211"/>
                          <a:gd name="connsiteX12" fmla="*/ 60960 w 80010"/>
                          <a:gd name="connsiteY12" fmla="*/ 13514 h 56211"/>
                          <a:gd name="connsiteX13" fmla="*/ 53340 w 80010"/>
                          <a:gd name="connsiteY13" fmla="*/ 15419 h 56211"/>
                          <a:gd name="connsiteX14" fmla="*/ 57150 w 80010"/>
                          <a:gd name="connsiteY14" fmla="*/ 3989 h 56211"/>
                          <a:gd name="connsiteX15" fmla="*/ 32385 w 80010"/>
                          <a:gd name="connsiteY15" fmla="*/ 179 h 56211"/>
                          <a:gd name="connsiteX0" fmla="*/ 32385 w 80010"/>
                          <a:gd name="connsiteY0" fmla="*/ 179 h 56211"/>
                          <a:gd name="connsiteX1" fmla="*/ 32385 w 80010"/>
                          <a:gd name="connsiteY1" fmla="*/ 179 h 56211"/>
                          <a:gd name="connsiteX2" fmla="*/ 3810 w 80010"/>
                          <a:gd name="connsiteY2" fmla="*/ 2084 h 56211"/>
                          <a:gd name="connsiteX3" fmla="*/ 0 w 80010"/>
                          <a:gd name="connsiteY3" fmla="*/ 13514 h 56211"/>
                          <a:gd name="connsiteX4" fmla="*/ 7620 w 80010"/>
                          <a:gd name="connsiteY4" fmla="*/ 34469 h 56211"/>
                          <a:gd name="connsiteX5" fmla="*/ 13335 w 80010"/>
                          <a:gd name="connsiteY5" fmla="*/ 38279 h 56211"/>
                          <a:gd name="connsiteX6" fmla="*/ 19050 w 80010"/>
                          <a:gd name="connsiteY6" fmla="*/ 43994 h 56211"/>
                          <a:gd name="connsiteX7" fmla="*/ 68580 w 80010"/>
                          <a:gd name="connsiteY7" fmla="*/ 47804 h 56211"/>
                          <a:gd name="connsiteX8" fmla="*/ 72390 w 80010"/>
                          <a:gd name="connsiteY8" fmla="*/ 42089 h 56211"/>
                          <a:gd name="connsiteX9" fmla="*/ 78105 w 80010"/>
                          <a:gd name="connsiteY9" fmla="*/ 36374 h 56211"/>
                          <a:gd name="connsiteX10" fmla="*/ 80010 w 80010"/>
                          <a:gd name="connsiteY10" fmla="*/ 30659 h 56211"/>
                          <a:gd name="connsiteX11" fmla="*/ 78105 w 80010"/>
                          <a:gd name="connsiteY11" fmla="*/ 19229 h 56211"/>
                          <a:gd name="connsiteX12" fmla="*/ 60960 w 80010"/>
                          <a:gd name="connsiteY12" fmla="*/ 13514 h 56211"/>
                          <a:gd name="connsiteX13" fmla="*/ 53340 w 80010"/>
                          <a:gd name="connsiteY13" fmla="*/ 15419 h 56211"/>
                          <a:gd name="connsiteX14" fmla="*/ 40048 w 80010"/>
                          <a:gd name="connsiteY14" fmla="*/ 8639 h 56211"/>
                          <a:gd name="connsiteX15" fmla="*/ 32385 w 80010"/>
                          <a:gd name="connsiteY15" fmla="*/ 179 h 56211"/>
                          <a:gd name="connsiteX0" fmla="*/ 32385 w 80010"/>
                          <a:gd name="connsiteY0" fmla="*/ 179 h 52171"/>
                          <a:gd name="connsiteX1" fmla="*/ 32385 w 80010"/>
                          <a:gd name="connsiteY1" fmla="*/ 179 h 52171"/>
                          <a:gd name="connsiteX2" fmla="*/ 3810 w 80010"/>
                          <a:gd name="connsiteY2" fmla="*/ 2084 h 52171"/>
                          <a:gd name="connsiteX3" fmla="*/ 0 w 80010"/>
                          <a:gd name="connsiteY3" fmla="*/ 13514 h 52171"/>
                          <a:gd name="connsiteX4" fmla="*/ 7620 w 80010"/>
                          <a:gd name="connsiteY4" fmla="*/ 34469 h 52171"/>
                          <a:gd name="connsiteX5" fmla="*/ 13335 w 80010"/>
                          <a:gd name="connsiteY5" fmla="*/ 38279 h 52171"/>
                          <a:gd name="connsiteX6" fmla="*/ 19050 w 80010"/>
                          <a:gd name="connsiteY6" fmla="*/ 43994 h 52171"/>
                          <a:gd name="connsiteX7" fmla="*/ 68580 w 80010"/>
                          <a:gd name="connsiteY7" fmla="*/ 47804 h 52171"/>
                          <a:gd name="connsiteX8" fmla="*/ 72390 w 80010"/>
                          <a:gd name="connsiteY8" fmla="*/ 42089 h 52171"/>
                          <a:gd name="connsiteX9" fmla="*/ 78105 w 80010"/>
                          <a:gd name="connsiteY9" fmla="*/ 36374 h 52171"/>
                          <a:gd name="connsiteX10" fmla="*/ 80010 w 80010"/>
                          <a:gd name="connsiteY10" fmla="*/ 30659 h 52171"/>
                          <a:gd name="connsiteX11" fmla="*/ 78105 w 80010"/>
                          <a:gd name="connsiteY11" fmla="*/ 19229 h 52171"/>
                          <a:gd name="connsiteX12" fmla="*/ 60960 w 80010"/>
                          <a:gd name="connsiteY12" fmla="*/ 13514 h 52171"/>
                          <a:gd name="connsiteX13" fmla="*/ 53340 w 80010"/>
                          <a:gd name="connsiteY13" fmla="*/ 15419 h 52171"/>
                          <a:gd name="connsiteX14" fmla="*/ 40048 w 80010"/>
                          <a:gd name="connsiteY14" fmla="*/ 8639 h 52171"/>
                          <a:gd name="connsiteX15" fmla="*/ 32385 w 80010"/>
                          <a:gd name="connsiteY15" fmla="*/ 179 h 52171"/>
                          <a:gd name="connsiteX0" fmla="*/ 32385 w 80010"/>
                          <a:gd name="connsiteY0" fmla="*/ 179 h 52432"/>
                          <a:gd name="connsiteX1" fmla="*/ 32385 w 80010"/>
                          <a:gd name="connsiteY1" fmla="*/ 179 h 52432"/>
                          <a:gd name="connsiteX2" fmla="*/ 3810 w 80010"/>
                          <a:gd name="connsiteY2" fmla="*/ 2084 h 52432"/>
                          <a:gd name="connsiteX3" fmla="*/ 0 w 80010"/>
                          <a:gd name="connsiteY3" fmla="*/ 13514 h 52432"/>
                          <a:gd name="connsiteX4" fmla="*/ 7620 w 80010"/>
                          <a:gd name="connsiteY4" fmla="*/ 34469 h 52432"/>
                          <a:gd name="connsiteX5" fmla="*/ 13335 w 80010"/>
                          <a:gd name="connsiteY5" fmla="*/ 38279 h 52432"/>
                          <a:gd name="connsiteX6" fmla="*/ 19050 w 80010"/>
                          <a:gd name="connsiteY6" fmla="*/ 43994 h 52432"/>
                          <a:gd name="connsiteX7" fmla="*/ 68580 w 80010"/>
                          <a:gd name="connsiteY7" fmla="*/ 47804 h 52432"/>
                          <a:gd name="connsiteX8" fmla="*/ 72390 w 80010"/>
                          <a:gd name="connsiteY8" fmla="*/ 42089 h 52432"/>
                          <a:gd name="connsiteX9" fmla="*/ 78105 w 80010"/>
                          <a:gd name="connsiteY9" fmla="*/ 36374 h 52432"/>
                          <a:gd name="connsiteX10" fmla="*/ 80010 w 80010"/>
                          <a:gd name="connsiteY10" fmla="*/ 30659 h 52432"/>
                          <a:gd name="connsiteX11" fmla="*/ 78105 w 80010"/>
                          <a:gd name="connsiteY11" fmla="*/ 19229 h 52432"/>
                          <a:gd name="connsiteX12" fmla="*/ 60960 w 80010"/>
                          <a:gd name="connsiteY12" fmla="*/ 13514 h 52432"/>
                          <a:gd name="connsiteX13" fmla="*/ 53340 w 80010"/>
                          <a:gd name="connsiteY13" fmla="*/ 15419 h 52432"/>
                          <a:gd name="connsiteX14" fmla="*/ 40048 w 80010"/>
                          <a:gd name="connsiteY14" fmla="*/ 8639 h 52432"/>
                          <a:gd name="connsiteX15" fmla="*/ 32385 w 80010"/>
                          <a:gd name="connsiteY15" fmla="*/ 179 h 52432"/>
                          <a:gd name="connsiteX0" fmla="*/ 32385 w 80010"/>
                          <a:gd name="connsiteY0" fmla="*/ 179 h 55651"/>
                          <a:gd name="connsiteX1" fmla="*/ 32385 w 80010"/>
                          <a:gd name="connsiteY1" fmla="*/ 179 h 55651"/>
                          <a:gd name="connsiteX2" fmla="*/ 3810 w 80010"/>
                          <a:gd name="connsiteY2" fmla="*/ 2084 h 55651"/>
                          <a:gd name="connsiteX3" fmla="*/ 0 w 80010"/>
                          <a:gd name="connsiteY3" fmla="*/ 13514 h 55651"/>
                          <a:gd name="connsiteX4" fmla="*/ 7620 w 80010"/>
                          <a:gd name="connsiteY4" fmla="*/ 34469 h 55651"/>
                          <a:gd name="connsiteX5" fmla="*/ 13335 w 80010"/>
                          <a:gd name="connsiteY5" fmla="*/ 38279 h 55651"/>
                          <a:gd name="connsiteX6" fmla="*/ 19050 w 80010"/>
                          <a:gd name="connsiteY6" fmla="*/ 43994 h 55651"/>
                          <a:gd name="connsiteX7" fmla="*/ 48058 w 80010"/>
                          <a:gd name="connsiteY7" fmla="*/ 52454 h 55651"/>
                          <a:gd name="connsiteX8" fmla="*/ 72390 w 80010"/>
                          <a:gd name="connsiteY8" fmla="*/ 42089 h 55651"/>
                          <a:gd name="connsiteX9" fmla="*/ 78105 w 80010"/>
                          <a:gd name="connsiteY9" fmla="*/ 36374 h 55651"/>
                          <a:gd name="connsiteX10" fmla="*/ 80010 w 80010"/>
                          <a:gd name="connsiteY10" fmla="*/ 30659 h 55651"/>
                          <a:gd name="connsiteX11" fmla="*/ 78105 w 80010"/>
                          <a:gd name="connsiteY11" fmla="*/ 19229 h 55651"/>
                          <a:gd name="connsiteX12" fmla="*/ 60960 w 80010"/>
                          <a:gd name="connsiteY12" fmla="*/ 13514 h 55651"/>
                          <a:gd name="connsiteX13" fmla="*/ 53340 w 80010"/>
                          <a:gd name="connsiteY13" fmla="*/ 15419 h 55651"/>
                          <a:gd name="connsiteX14" fmla="*/ 40048 w 80010"/>
                          <a:gd name="connsiteY14" fmla="*/ 8639 h 55651"/>
                          <a:gd name="connsiteX15" fmla="*/ 32385 w 80010"/>
                          <a:gd name="connsiteY15" fmla="*/ 179 h 55651"/>
                          <a:gd name="connsiteX0" fmla="*/ 32385 w 80010"/>
                          <a:gd name="connsiteY0" fmla="*/ 179 h 53227"/>
                          <a:gd name="connsiteX1" fmla="*/ 32385 w 80010"/>
                          <a:gd name="connsiteY1" fmla="*/ 179 h 53227"/>
                          <a:gd name="connsiteX2" fmla="*/ 3810 w 80010"/>
                          <a:gd name="connsiteY2" fmla="*/ 2084 h 53227"/>
                          <a:gd name="connsiteX3" fmla="*/ 0 w 80010"/>
                          <a:gd name="connsiteY3" fmla="*/ 13514 h 53227"/>
                          <a:gd name="connsiteX4" fmla="*/ 7620 w 80010"/>
                          <a:gd name="connsiteY4" fmla="*/ 34469 h 53227"/>
                          <a:gd name="connsiteX5" fmla="*/ 13335 w 80010"/>
                          <a:gd name="connsiteY5" fmla="*/ 38279 h 53227"/>
                          <a:gd name="connsiteX6" fmla="*/ 19050 w 80010"/>
                          <a:gd name="connsiteY6" fmla="*/ 43994 h 53227"/>
                          <a:gd name="connsiteX7" fmla="*/ 48058 w 80010"/>
                          <a:gd name="connsiteY7" fmla="*/ 52454 h 53227"/>
                          <a:gd name="connsiteX8" fmla="*/ 72390 w 80010"/>
                          <a:gd name="connsiteY8" fmla="*/ 42089 h 53227"/>
                          <a:gd name="connsiteX9" fmla="*/ 78105 w 80010"/>
                          <a:gd name="connsiteY9" fmla="*/ 36374 h 53227"/>
                          <a:gd name="connsiteX10" fmla="*/ 80010 w 80010"/>
                          <a:gd name="connsiteY10" fmla="*/ 30659 h 53227"/>
                          <a:gd name="connsiteX11" fmla="*/ 78105 w 80010"/>
                          <a:gd name="connsiteY11" fmla="*/ 19229 h 53227"/>
                          <a:gd name="connsiteX12" fmla="*/ 60960 w 80010"/>
                          <a:gd name="connsiteY12" fmla="*/ 13514 h 53227"/>
                          <a:gd name="connsiteX13" fmla="*/ 53340 w 80010"/>
                          <a:gd name="connsiteY13" fmla="*/ 15419 h 53227"/>
                          <a:gd name="connsiteX14" fmla="*/ 40048 w 80010"/>
                          <a:gd name="connsiteY14" fmla="*/ 8639 h 53227"/>
                          <a:gd name="connsiteX15" fmla="*/ 32385 w 80010"/>
                          <a:gd name="connsiteY15" fmla="*/ 179 h 5322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80010" h="53227">
                            <a:moveTo>
                              <a:pt x="32385" y="179"/>
                            </a:moveTo>
                            <a:lnTo>
                              <a:pt x="32385" y="179"/>
                            </a:lnTo>
                            <a:cubicBezTo>
                              <a:pt x="22860" y="814"/>
                              <a:pt x="12637" y="-1551"/>
                              <a:pt x="3810" y="2084"/>
                            </a:cubicBezTo>
                            <a:cubicBezTo>
                              <a:pt x="96" y="3613"/>
                              <a:pt x="0" y="13514"/>
                              <a:pt x="0" y="13514"/>
                            </a:cubicBezTo>
                            <a:cubicBezTo>
                              <a:pt x="1410" y="20563"/>
                              <a:pt x="2165" y="29014"/>
                              <a:pt x="7620" y="34469"/>
                            </a:cubicBezTo>
                            <a:cubicBezTo>
                              <a:pt x="9239" y="36088"/>
                              <a:pt x="11576" y="36813"/>
                              <a:pt x="13335" y="38279"/>
                            </a:cubicBezTo>
                            <a:cubicBezTo>
                              <a:pt x="15405" y="40004"/>
                              <a:pt x="17145" y="42089"/>
                              <a:pt x="19050" y="43994"/>
                            </a:cubicBezTo>
                            <a:cubicBezTo>
                              <a:pt x="36453" y="53990"/>
                              <a:pt x="29632" y="54059"/>
                              <a:pt x="48058" y="52454"/>
                            </a:cubicBezTo>
                            <a:cubicBezTo>
                              <a:pt x="50339" y="52255"/>
                              <a:pt x="67382" y="44769"/>
                              <a:pt x="72390" y="42089"/>
                            </a:cubicBezTo>
                            <a:cubicBezTo>
                              <a:pt x="77398" y="39409"/>
                              <a:pt x="76200" y="38279"/>
                              <a:pt x="78105" y="36374"/>
                            </a:cubicBezTo>
                            <a:cubicBezTo>
                              <a:pt x="78740" y="34469"/>
                              <a:pt x="80010" y="32667"/>
                              <a:pt x="80010" y="30659"/>
                            </a:cubicBezTo>
                            <a:cubicBezTo>
                              <a:pt x="80010" y="26796"/>
                              <a:pt x="79832" y="22684"/>
                              <a:pt x="78105" y="19229"/>
                            </a:cubicBezTo>
                            <a:cubicBezTo>
                              <a:pt x="75670" y="14359"/>
                              <a:pt x="63693" y="13970"/>
                              <a:pt x="60960" y="13514"/>
                            </a:cubicBezTo>
                            <a:cubicBezTo>
                              <a:pt x="58420" y="14149"/>
                              <a:pt x="56825" y="16231"/>
                              <a:pt x="53340" y="15419"/>
                            </a:cubicBezTo>
                            <a:cubicBezTo>
                              <a:pt x="49855" y="14607"/>
                              <a:pt x="39095" y="11497"/>
                              <a:pt x="40048" y="8639"/>
                            </a:cubicBezTo>
                            <a:lnTo>
                              <a:pt x="32385" y="179"/>
                            </a:lnTo>
                            <a:close/>
                          </a:path>
                        </a:pathLst>
                      </a:custGeom>
                      <a:solidFill>
                        <a:srgbClr val="0D3759"/>
                      </a:solidFill>
                      <a:ln w="3175" cap="flat" cmpd="sng" algn="ctr">
                        <a:solidFill>
                          <a:srgbClr val="F2E8F8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83" name="Freeform: Shape 68">
                        <a:extLst>
                          <a:ext uri="{FF2B5EF4-FFF2-40B4-BE49-F238E27FC236}">
                            <a16:creationId xmlns:a16="http://schemas.microsoft.com/office/drawing/2014/main" id="{BA636A1A-FB64-64AC-9EBC-E1FE8AA82962}"/>
                          </a:ext>
                        </a:extLst>
                      </p:cNvPr>
                      <p:cNvSpPr/>
                      <p:nvPr/>
                    </p:nvSpPr>
                    <p:spPr>
                      <a:xfrm rot="1648623">
                        <a:off x="8778238" y="4278378"/>
                        <a:ext cx="27432" cy="36576"/>
                      </a:xfrm>
                      <a:custGeom>
                        <a:avLst/>
                        <a:gdLst>
                          <a:gd name="connsiteX0" fmla="*/ 57150 w 104775"/>
                          <a:gd name="connsiteY0" fmla="*/ 76200 h 127635"/>
                          <a:gd name="connsiteX1" fmla="*/ 57150 w 104775"/>
                          <a:gd name="connsiteY1" fmla="*/ 76200 h 127635"/>
                          <a:gd name="connsiteX2" fmla="*/ 24765 w 104775"/>
                          <a:gd name="connsiteY2" fmla="*/ 80010 h 127635"/>
                          <a:gd name="connsiteX3" fmla="*/ 19050 w 104775"/>
                          <a:gd name="connsiteY3" fmla="*/ 83820 h 127635"/>
                          <a:gd name="connsiteX4" fmla="*/ 19050 w 104775"/>
                          <a:gd name="connsiteY4" fmla="*/ 106680 h 127635"/>
                          <a:gd name="connsiteX5" fmla="*/ 24765 w 104775"/>
                          <a:gd name="connsiteY5" fmla="*/ 110490 h 127635"/>
                          <a:gd name="connsiteX6" fmla="*/ 28575 w 104775"/>
                          <a:gd name="connsiteY6" fmla="*/ 116205 h 127635"/>
                          <a:gd name="connsiteX7" fmla="*/ 32385 w 104775"/>
                          <a:gd name="connsiteY7" fmla="*/ 127635 h 127635"/>
                          <a:gd name="connsiteX8" fmla="*/ 81915 w 104775"/>
                          <a:gd name="connsiteY8" fmla="*/ 125730 h 127635"/>
                          <a:gd name="connsiteX9" fmla="*/ 87630 w 104775"/>
                          <a:gd name="connsiteY9" fmla="*/ 123825 h 127635"/>
                          <a:gd name="connsiteX10" fmla="*/ 89535 w 104775"/>
                          <a:gd name="connsiteY10" fmla="*/ 118110 h 127635"/>
                          <a:gd name="connsiteX11" fmla="*/ 93345 w 104775"/>
                          <a:gd name="connsiteY11" fmla="*/ 112395 h 127635"/>
                          <a:gd name="connsiteX12" fmla="*/ 95250 w 104775"/>
                          <a:gd name="connsiteY12" fmla="*/ 99060 h 127635"/>
                          <a:gd name="connsiteX13" fmla="*/ 100965 w 104775"/>
                          <a:gd name="connsiteY13" fmla="*/ 95250 h 127635"/>
                          <a:gd name="connsiteX14" fmla="*/ 104775 w 104775"/>
                          <a:gd name="connsiteY14" fmla="*/ 83820 h 127635"/>
                          <a:gd name="connsiteX15" fmla="*/ 100965 w 104775"/>
                          <a:gd name="connsiteY15" fmla="*/ 57150 h 127635"/>
                          <a:gd name="connsiteX16" fmla="*/ 99060 w 104775"/>
                          <a:gd name="connsiteY16" fmla="*/ 49530 h 127635"/>
                          <a:gd name="connsiteX17" fmla="*/ 95250 w 104775"/>
                          <a:gd name="connsiteY17" fmla="*/ 43815 h 127635"/>
                          <a:gd name="connsiteX18" fmla="*/ 91440 w 104775"/>
                          <a:gd name="connsiteY18" fmla="*/ 32385 h 127635"/>
                          <a:gd name="connsiteX19" fmla="*/ 81915 w 104775"/>
                          <a:gd name="connsiteY19" fmla="*/ 15240 h 127635"/>
                          <a:gd name="connsiteX20" fmla="*/ 70485 w 104775"/>
                          <a:gd name="connsiteY20" fmla="*/ 3810 h 127635"/>
                          <a:gd name="connsiteX21" fmla="*/ 59055 w 104775"/>
                          <a:gd name="connsiteY21" fmla="*/ 0 h 127635"/>
                          <a:gd name="connsiteX22" fmla="*/ 45720 w 104775"/>
                          <a:gd name="connsiteY22" fmla="*/ 1905 h 127635"/>
                          <a:gd name="connsiteX23" fmla="*/ 43815 w 104775"/>
                          <a:gd name="connsiteY23" fmla="*/ 19050 h 127635"/>
                          <a:gd name="connsiteX24" fmla="*/ 41910 w 104775"/>
                          <a:gd name="connsiteY24" fmla="*/ 30480 h 127635"/>
                          <a:gd name="connsiteX25" fmla="*/ 40005 w 104775"/>
                          <a:gd name="connsiteY25" fmla="*/ 43815 h 127635"/>
                          <a:gd name="connsiteX26" fmla="*/ 28575 w 104775"/>
                          <a:gd name="connsiteY26" fmla="*/ 49530 h 127635"/>
                          <a:gd name="connsiteX27" fmla="*/ 3810 w 104775"/>
                          <a:gd name="connsiteY27" fmla="*/ 51435 h 127635"/>
                          <a:gd name="connsiteX28" fmla="*/ 1905 w 104775"/>
                          <a:gd name="connsiteY28" fmla="*/ 59055 h 127635"/>
                          <a:gd name="connsiteX29" fmla="*/ 0 w 104775"/>
                          <a:gd name="connsiteY29" fmla="*/ 64770 h 127635"/>
                          <a:gd name="connsiteX30" fmla="*/ 5715 w 104775"/>
                          <a:gd name="connsiteY30" fmla="*/ 78105 h 127635"/>
                          <a:gd name="connsiteX31" fmla="*/ 5715 w 104775"/>
                          <a:gd name="connsiteY31" fmla="*/ 81915 h 127635"/>
                          <a:gd name="connsiteX32" fmla="*/ 5715 w 104775"/>
                          <a:gd name="connsiteY32" fmla="*/ 87630 h 127635"/>
                          <a:gd name="connsiteX0" fmla="*/ 57150 w 104775"/>
                          <a:gd name="connsiteY0" fmla="*/ 76200 h 127635"/>
                          <a:gd name="connsiteX1" fmla="*/ 24765 w 104775"/>
                          <a:gd name="connsiteY1" fmla="*/ 80010 h 127635"/>
                          <a:gd name="connsiteX2" fmla="*/ 19050 w 104775"/>
                          <a:gd name="connsiteY2" fmla="*/ 83820 h 127635"/>
                          <a:gd name="connsiteX3" fmla="*/ 19050 w 104775"/>
                          <a:gd name="connsiteY3" fmla="*/ 106680 h 127635"/>
                          <a:gd name="connsiteX4" fmla="*/ 24765 w 104775"/>
                          <a:gd name="connsiteY4" fmla="*/ 110490 h 127635"/>
                          <a:gd name="connsiteX5" fmla="*/ 28575 w 104775"/>
                          <a:gd name="connsiteY5" fmla="*/ 116205 h 127635"/>
                          <a:gd name="connsiteX6" fmla="*/ 32385 w 104775"/>
                          <a:gd name="connsiteY6" fmla="*/ 127635 h 127635"/>
                          <a:gd name="connsiteX7" fmla="*/ 81915 w 104775"/>
                          <a:gd name="connsiteY7" fmla="*/ 125730 h 127635"/>
                          <a:gd name="connsiteX8" fmla="*/ 87630 w 104775"/>
                          <a:gd name="connsiteY8" fmla="*/ 123825 h 127635"/>
                          <a:gd name="connsiteX9" fmla="*/ 89535 w 104775"/>
                          <a:gd name="connsiteY9" fmla="*/ 118110 h 127635"/>
                          <a:gd name="connsiteX10" fmla="*/ 93345 w 104775"/>
                          <a:gd name="connsiteY10" fmla="*/ 112395 h 127635"/>
                          <a:gd name="connsiteX11" fmla="*/ 95250 w 104775"/>
                          <a:gd name="connsiteY11" fmla="*/ 99060 h 127635"/>
                          <a:gd name="connsiteX12" fmla="*/ 100965 w 104775"/>
                          <a:gd name="connsiteY12" fmla="*/ 95250 h 127635"/>
                          <a:gd name="connsiteX13" fmla="*/ 104775 w 104775"/>
                          <a:gd name="connsiteY13" fmla="*/ 83820 h 127635"/>
                          <a:gd name="connsiteX14" fmla="*/ 100965 w 104775"/>
                          <a:gd name="connsiteY14" fmla="*/ 57150 h 127635"/>
                          <a:gd name="connsiteX15" fmla="*/ 99060 w 104775"/>
                          <a:gd name="connsiteY15" fmla="*/ 49530 h 127635"/>
                          <a:gd name="connsiteX16" fmla="*/ 95250 w 104775"/>
                          <a:gd name="connsiteY16" fmla="*/ 43815 h 127635"/>
                          <a:gd name="connsiteX17" fmla="*/ 91440 w 104775"/>
                          <a:gd name="connsiteY17" fmla="*/ 32385 h 127635"/>
                          <a:gd name="connsiteX18" fmla="*/ 81915 w 104775"/>
                          <a:gd name="connsiteY18" fmla="*/ 15240 h 127635"/>
                          <a:gd name="connsiteX19" fmla="*/ 70485 w 104775"/>
                          <a:gd name="connsiteY19" fmla="*/ 3810 h 127635"/>
                          <a:gd name="connsiteX20" fmla="*/ 59055 w 104775"/>
                          <a:gd name="connsiteY20" fmla="*/ 0 h 127635"/>
                          <a:gd name="connsiteX21" fmla="*/ 45720 w 104775"/>
                          <a:gd name="connsiteY21" fmla="*/ 1905 h 127635"/>
                          <a:gd name="connsiteX22" fmla="*/ 43815 w 104775"/>
                          <a:gd name="connsiteY22" fmla="*/ 19050 h 127635"/>
                          <a:gd name="connsiteX23" fmla="*/ 41910 w 104775"/>
                          <a:gd name="connsiteY23" fmla="*/ 30480 h 127635"/>
                          <a:gd name="connsiteX24" fmla="*/ 40005 w 104775"/>
                          <a:gd name="connsiteY24" fmla="*/ 43815 h 127635"/>
                          <a:gd name="connsiteX25" fmla="*/ 28575 w 104775"/>
                          <a:gd name="connsiteY25" fmla="*/ 49530 h 127635"/>
                          <a:gd name="connsiteX26" fmla="*/ 3810 w 104775"/>
                          <a:gd name="connsiteY26" fmla="*/ 51435 h 127635"/>
                          <a:gd name="connsiteX27" fmla="*/ 1905 w 104775"/>
                          <a:gd name="connsiteY27" fmla="*/ 59055 h 127635"/>
                          <a:gd name="connsiteX28" fmla="*/ 0 w 104775"/>
                          <a:gd name="connsiteY28" fmla="*/ 64770 h 127635"/>
                          <a:gd name="connsiteX29" fmla="*/ 5715 w 104775"/>
                          <a:gd name="connsiteY29" fmla="*/ 78105 h 127635"/>
                          <a:gd name="connsiteX30" fmla="*/ 5715 w 104775"/>
                          <a:gd name="connsiteY30" fmla="*/ 81915 h 127635"/>
                          <a:gd name="connsiteX31" fmla="*/ 5715 w 104775"/>
                          <a:gd name="connsiteY31" fmla="*/ 87630 h 127635"/>
                          <a:gd name="connsiteX0" fmla="*/ 24765 w 104775"/>
                          <a:gd name="connsiteY0" fmla="*/ 80010 h 127635"/>
                          <a:gd name="connsiteX1" fmla="*/ 19050 w 104775"/>
                          <a:gd name="connsiteY1" fmla="*/ 83820 h 127635"/>
                          <a:gd name="connsiteX2" fmla="*/ 19050 w 104775"/>
                          <a:gd name="connsiteY2" fmla="*/ 106680 h 127635"/>
                          <a:gd name="connsiteX3" fmla="*/ 24765 w 104775"/>
                          <a:gd name="connsiteY3" fmla="*/ 110490 h 127635"/>
                          <a:gd name="connsiteX4" fmla="*/ 28575 w 104775"/>
                          <a:gd name="connsiteY4" fmla="*/ 116205 h 127635"/>
                          <a:gd name="connsiteX5" fmla="*/ 32385 w 104775"/>
                          <a:gd name="connsiteY5" fmla="*/ 127635 h 127635"/>
                          <a:gd name="connsiteX6" fmla="*/ 81915 w 104775"/>
                          <a:gd name="connsiteY6" fmla="*/ 125730 h 127635"/>
                          <a:gd name="connsiteX7" fmla="*/ 87630 w 104775"/>
                          <a:gd name="connsiteY7" fmla="*/ 123825 h 127635"/>
                          <a:gd name="connsiteX8" fmla="*/ 89535 w 104775"/>
                          <a:gd name="connsiteY8" fmla="*/ 118110 h 127635"/>
                          <a:gd name="connsiteX9" fmla="*/ 93345 w 104775"/>
                          <a:gd name="connsiteY9" fmla="*/ 112395 h 127635"/>
                          <a:gd name="connsiteX10" fmla="*/ 95250 w 104775"/>
                          <a:gd name="connsiteY10" fmla="*/ 99060 h 127635"/>
                          <a:gd name="connsiteX11" fmla="*/ 100965 w 104775"/>
                          <a:gd name="connsiteY11" fmla="*/ 95250 h 127635"/>
                          <a:gd name="connsiteX12" fmla="*/ 104775 w 104775"/>
                          <a:gd name="connsiteY12" fmla="*/ 83820 h 127635"/>
                          <a:gd name="connsiteX13" fmla="*/ 100965 w 104775"/>
                          <a:gd name="connsiteY13" fmla="*/ 57150 h 127635"/>
                          <a:gd name="connsiteX14" fmla="*/ 99060 w 104775"/>
                          <a:gd name="connsiteY14" fmla="*/ 49530 h 127635"/>
                          <a:gd name="connsiteX15" fmla="*/ 95250 w 104775"/>
                          <a:gd name="connsiteY15" fmla="*/ 43815 h 127635"/>
                          <a:gd name="connsiteX16" fmla="*/ 91440 w 104775"/>
                          <a:gd name="connsiteY16" fmla="*/ 32385 h 127635"/>
                          <a:gd name="connsiteX17" fmla="*/ 81915 w 104775"/>
                          <a:gd name="connsiteY17" fmla="*/ 15240 h 127635"/>
                          <a:gd name="connsiteX18" fmla="*/ 70485 w 104775"/>
                          <a:gd name="connsiteY18" fmla="*/ 3810 h 127635"/>
                          <a:gd name="connsiteX19" fmla="*/ 59055 w 104775"/>
                          <a:gd name="connsiteY19" fmla="*/ 0 h 127635"/>
                          <a:gd name="connsiteX20" fmla="*/ 45720 w 104775"/>
                          <a:gd name="connsiteY20" fmla="*/ 1905 h 127635"/>
                          <a:gd name="connsiteX21" fmla="*/ 43815 w 104775"/>
                          <a:gd name="connsiteY21" fmla="*/ 19050 h 127635"/>
                          <a:gd name="connsiteX22" fmla="*/ 41910 w 104775"/>
                          <a:gd name="connsiteY22" fmla="*/ 30480 h 127635"/>
                          <a:gd name="connsiteX23" fmla="*/ 40005 w 104775"/>
                          <a:gd name="connsiteY23" fmla="*/ 43815 h 127635"/>
                          <a:gd name="connsiteX24" fmla="*/ 28575 w 104775"/>
                          <a:gd name="connsiteY24" fmla="*/ 49530 h 127635"/>
                          <a:gd name="connsiteX25" fmla="*/ 3810 w 104775"/>
                          <a:gd name="connsiteY25" fmla="*/ 51435 h 127635"/>
                          <a:gd name="connsiteX26" fmla="*/ 1905 w 104775"/>
                          <a:gd name="connsiteY26" fmla="*/ 59055 h 127635"/>
                          <a:gd name="connsiteX27" fmla="*/ 0 w 104775"/>
                          <a:gd name="connsiteY27" fmla="*/ 64770 h 127635"/>
                          <a:gd name="connsiteX28" fmla="*/ 5715 w 104775"/>
                          <a:gd name="connsiteY28" fmla="*/ 78105 h 127635"/>
                          <a:gd name="connsiteX29" fmla="*/ 5715 w 104775"/>
                          <a:gd name="connsiteY29" fmla="*/ 81915 h 127635"/>
                          <a:gd name="connsiteX30" fmla="*/ 5715 w 104775"/>
                          <a:gd name="connsiteY30" fmla="*/ 87630 h 127635"/>
                          <a:gd name="connsiteX0" fmla="*/ 24765 w 104775"/>
                          <a:gd name="connsiteY0" fmla="*/ 80010 h 127635"/>
                          <a:gd name="connsiteX1" fmla="*/ 19050 w 104775"/>
                          <a:gd name="connsiteY1" fmla="*/ 106680 h 127635"/>
                          <a:gd name="connsiteX2" fmla="*/ 24765 w 104775"/>
                          <a:gd name="connsiteY2" fmla="*/ 110490 h 127635"/>
                          <a:gd name="connsiteX3" fmla="*/ 28575 w 104775"/>
                          <a:gd name="connsiteY3" fmla="*/ 116205 h 127635"/>
                          <a:gd name="connsiteX4" fmla="*/ 32385 w 104775"/>
                          <a:gd name="connsiteY4" fmla="*/ 127635 h 127635"/>
                          <a:gd name="connsiteX5" fmla="*/ 81915 w 104775"/>
                          <a:gd name="connsiteY5" fmla="*/ 125730 h 127635"/>
                          <a:gd name="connsiteX6" fmla="*/ 87630 w 104775"/>
                          <a:gd name="connsiteY6" fmla="*/ 123825 h 127635"/>
                          <a:gd name="connsiteX7" fmla="*/ 89535 w 104775"/>
                          <a:gd name="connsiteY7" fmla="*/ 118110 h 127635"/>
                          <a:gd name="connsiteX8" fmla="*/ 93345 w 104775"/>
                          <a:gd name="connsiteY8" fmla="*/ 112395 h 127635"/>
                          <a:gd name="connsiteX9" fmla="*/ 95250 w 104775"/>
                          <a:gd name="connsiteY9" fmla="*/ 99060 h 127635"/>
                          <a:gd name="connsiteX10" fmla="*/ 100965 w 104775"/>
                          <a:gd name="connsiteY10" fmla="*/ 95250 h 127635"/>
                          <a:gd name="connsiteX11" fmla="*/ 104775 w 104775"/>
                          <a:gd name="connsiteY11" fmla="*/ 83820 h 127635"/>
                          <a:gd name="connsiteX12" fmla="*/ 100965 w 104775"/>
                          <a:gd name="connsiteY12" fmla="*/ 57150 h 127635"/>
                          <a:gd name="connsiteX13" fmla="*/ 99060 w 104775"/>
                          <a:gd name="connsiteY13" fmla="*/ 49530 h 127635"/>
                          <a:gd name="connsiteX14" fmla="*/ 95250 w 104775"/>
                          <a:gd name="connsiteY14" fmla="*/ 43815 h 127635"/>
                          <a:gd name="connsiteX15" fmla="*/ 91440 w 104775"/>
                          <a:gd name="connsiteY15" fmla="*/ 32385 h 127635"/>
                          <a:gd name="connsiteX16" fmla="*/ 81915 w 104775"/>
                          <a:gd name="connsiteY16" fmla="*/ 15240 h 127635"/>
                          <a:gd name="connsiteX17" fmla="*/ 70485 w 104775"/>
                          <a:gd name="connsiteY17" fmla="*/ 3810 h 127635"/>
                          <a:gd name="connsiteX18" fmla="*/ 59055 w 104775"/>
                          <a:gd name="connsiteY18" fmla="*/ 0 h 127635"/>
                          <a:gd name="connsiteX19" fmla="*/ 45720 w 104775"/>
                          <a:gd name="connsiteY19" fmla="*/ 1905 h 127635"/>
                          <a:gd name="connsiteX20" fmla="*/ 43815 w 104775"/>
                          <a:gd name="connsiteY20" fmla="*/ 19050 h 127635"/>
                          <a:gd name="connsiteX21" fmla="*/ 41910 w 104775"/>
                          <a:gd name="connsiteY21" fmla="*/ 30480 h 127635"/>
                          <a:gd name="connsiteX22" fmla="*/ 40005 w 104775"/>
                          <a:gd name="connsiteY22" fmla="*/ 43815 h 127635"/>
                          <a:gd name="connsiteX23" fmla="*/ 28575 w 104775"/>
                          <a:gd name="connsiteY23" fmla="*/ 49530 h 127635"/>
                          <a:gd name="connsiteX24" fmla="*/ 3810 w 104775"/>
                          <a:gd name="connsiteY24" fmla="*/ 51435 h 127635"/>
                          <a:gd name="connsiteX25" fmla="*/ 1905 w 104775"/>
                          <a:gd name="connsiteY25" fmla="*/ 59055 h 127635"/>
                          <a:gd name="connsiteX26" fmla="*/ 0 w 104775"/>
                          <a:gd name="connsiteY26" fmla="*/ 64770 h 127635"/>
                          <a:gd name="connsiteX27" fmla="*/ 5715 w 104775"/>
                          <a:gd name="connsiteY27" fmla="*/ 78105 h 127635"/>
                          <a:gd name="connsiteX28" fmla="*/ 5715 w 104775"/>
                          <a:gd name="connsiteY28" fmla="*/ 81915 h 127635"/>
                          <a:gd name="connsiteX29" fmla="*/ 5715 w 104775"/>
                          <a:gd name="connsiteY29" fmla="*/ 8763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5715 w 104775"/>
                          <a:gd name="connsiteY28" fmla="*/ 8763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17145 w 104775"/>
                          <a:gd name="connsiteY28" fmla="*/ 11049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17145 w 104775"/>
                          <a:gd name="connsiteY28" fmla="*/ 110490 h 127635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81915 w 104775"/>
                          <a:gd name="connsiteY15" fmla="*/ 16019 h 128414"/>
                          <a:gd name="connsiteX16" fmla="*/ 70485 w 104775"/>
                          <a:gd name="connsiteY16" fmla="*/ 4589 h 128414"/>
                          <a:gd name="connsiteX17" fmla="*/ 59055 w 104775"/>
                          <a:gd name="connsiteY17" fmla="*/ 779 h 128414"/>
                          <a:gd name="connsiteX18" fmla="*/ 45720 w 104775"/>
                          <a:gd name="connsiteY18" fmla="*/ 2684 h 128414"/>
                          <a:gd name="connsiteX19" fmla="*/ 41910 w 104775"/>
                          <a:gd name="connsiteY19" fmla="*/ 31259 h 128414"/>
                          <a:gd name="connsiteX20" fmla="*/ 40005 w 104775"/>
                          <a:gd name="connsiteY20" fmla="*/ 44594 h 128414"/>
                          <a:gd name="connsiteX21" fmla="*/ 28575 w 104775"/>
                          <a:gd name="connsiteY21" fmla="*/ 50309 h 128414"/>
                          <a:gd name="connsiteX22" fmla="*/ 3810 w 104775"/>
                          <a:gd name="connsiteY22" fmla="*/ 52214 h 128414"/>
                          <a:gd name="connsiteX23" fmla="*/ 1905 w 104775"/>
                          <a:gd name="connsiteY23" fmla="*/ 59834 h 128414"/>
                          <a:gd name="connsiteX24" fmla="*/ 0 w 104775"/>
                          <a:gd name="connsiteY24" fmla="*/ 65549 h 128414"/>
                          <a:gd name="connsiteX25" fmla="*/ 5715 w 104775"/>
                          <a:gd name="connsiteY25" fmla="*/ 78884 h 128414"/>
                          <a:gd name="connsiteX26" fmla="*/ 5715 w 104775"/>
                          <a:gd name="connsiteY26" fmla="*/ 82694 h 128414"/>
                          <a:gd name="connsiteX27" fmla="*/ 17145 w 104775"/>
                          <a:gd name="connsiteY27" fmla="*/ 111269 h 128414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70485 w 104775"/>
                          <a:gd name="connsiteY15" fmla="*/ 4589 h 128414"/>
                          <a:gd name="connsiteX16" fmla="*/ 59055 w 104775"/>
                          <a:gd name="connsiteY16" fmla="*/ 779 h 128414"/>
                          <a:gd name="connsiteX17" fmla="*/ 45720 w 104775"/>
                          <a:gd name="connsiteY17" fmla="*/ 2684 h 128414"/>
                          <a:gd name="connsiteX18" fmla="*/ 41910 w 104775"/>
                          <a:gd name="connsiteY18" fmla="*/ 31259 h 128414"/>
                          <a:gd name="connsiteX19" fmla="*/ 40005 w 104775"/>
                          <a:gd name="connsiteY19" fmla="*/ 44594 h 128414"/>
                          <a:gd name="connsiteX20" fmla="*/ 28575 w 104775"/>
                          <a:gd name="connsiteY20" fmla="*/ 50309 h 128414"/>
                          <a:gd name="connsiteX21" fmla="*/ 3810 w 104775"/>
                          <a:gd name="connsiteY21" fmla="*/ 52214 h 128414"/>
                          <a:gd name="connsiteX22" fmla="*/ 1905 w 104775"/>
                          <a:gd name="connsiteY22" fmla="*/ 59834 h 128414"/>
                          <a:gd name="connsiteX23" fmla="*/ 0 w 104775"/>
                          <a:gd name="connsiteY23" fmla="*/ 65549 h 128414"/>
                          <a:gd name="connsiteX24" fmla="*/ 5715 w 104775"/>
                          <a:gd name="connsiteY24" fmla="*/ 78884 h 128414"/>
                          <a:gd name="connsiteX25" fmla="*/ 5715 w 104775"/>
                          <a:gd name="connsiteY25" fmla="*/ 82694 h 128414"/>
                          <a:gd name="connsiteX26" fmla="*/ 17145 w 104775"/>
                          <a:gd name="connsiteY26" fmla="*/ 111269 h 128414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70485 w 104775"/>
                          <a:gd name="connsiteY15" fmla="*/ 4589 h 128414"/>
                          <a:gd name="connsiteX16" fmla="*/ 59055 w 104775"/>
                          <a:gd name="connsiteY16" fmla="*/ 779 h 128414"/>
                          <a:gd name="connsiteX17" fmla="*/ 45720 w 104775"/>
                          <a:gd name="connsiteY17" fmla="*/ 2684 h 128414"/>
                          <a:gd name="connsiteX18" fmla="*/ 41910 w 104775"/>
                          <a:gd name="connsiteY18" fmla="*/ 31259 h 128414"/>
                          <a:gd name="connsiteX19" fmla="*/ 40005 w 104775"/>
                          <a:gd name="connsiteY19" fmla="*/ 44594 h 128414"/>
                          <a:gd name="connsiteX20" fmla="*/ 3810 w 104775"/>
                          <a:gd name="connsiteY20" fmla="*/ 52214 h 128414"/>
                          <a:gd name="connsiteX21" fmla="*/ 1905 w 104775"/>
                          <a:gd name="connsiteY21" fmla="*/ 59834 h 128414"/>
                          <a:gd name="connsiteX22" fmla="*/ 0 w 104775"/>
                          <a:gd name="connsiteY22" fmla="*/ 65549 h 128414"/>
                          <a:gd name="connsiteX23" fmla="*/ 5715 w 104775"/>
                          <a:gd name="connsiteY23" fmla="*/ 78884 h 128414"/>
                          <a:gd name="connsiteX24" fmla="*/ 5715 w 104775"/>
                          <a:gd name="connsiteY24" fmla="*/ 82694 h 128414"/>
                          <a:gd name="connsiteX25" fmla="*/ 17145 w 104775"/>
                          <a:gd name="connsiteY25" fmla="*/ 111269 h 128414"/>
                          <a:gd name="connsiteX0" fmla="*/ 19050 w 104775"/>
                          <a:gd name="connsiteY0" fmla="*/ 107492 h 128447"/>
                          <a:gd name="connsiteX1" fmla="*/ 24765 w 104775"/>
                          <a:gd name="connsiteY1" fmla="*/ 111302 h 128447"/>
                          <a:gd name="connsiteX2" fmla="*/ 28575 w 104775"/>
                          <a:gd name="connsiteY2" fmla="*/ 117017 h 128447"/>
                          <a:gd name="connsiteX3" fmla="*/ 32385 w 104775"/>
                          <a:gd name="connsiteY3" fmla="*/ 128447 h 128447"/>
                          <a:gd name="connsiteX4" fmla="*/ 81915 w 104775"/>
                          <a:gd name="connsiteY4" fmla="*/ 126542 h 128447"/>
                          <a:gd name="connsiteX5" fmla="*/ 87630 w 104775"/>
                          <a:gd name="connsiteY5" fmla="*/ 124637 h 128447"/>
                          <a:gd name="connsiteX6" fmla="*/ 89535 w 104775"/>
                          <a:gd name="connsiteY6" fmla="*/ 118922 h 128447"/>
                          <a:gd name="connsiteX7" fmla="*/ 93345 w 104775"/>
                          <a:gd name="connsiteY7" fmla="*/ 113207 h 128447"/>
                          <a:gd name="connsiteX8" fmla="*/ 95250 w 104775"/>
                          <a:gd name="connsiteY8" fmla="*/ 99872 h 128447"/>
                          <a:gd name="connsiteX9" fmla="*/ 100965 w 104775"/>
                          <a:gd name="connsiteY9" fmla="*/ 96062 h 128447"/>
                          <a:gd name="connsiteX10" fmla="*/ 104775 w 104775"/>
                          <a:gd name="connsiteY10" fmla="*/ 84632 h 128447"/>
                          <a:gd name="connsiteX11" fmla="*/ 100965 w 104775"/>
                          <a:gd name="connsiteY11" fmla="*/ 57962 h 128447"/>
                          <a:gd name="connsiteX12" fmla="*/ 99060 w 104775"/>
                          <a:gd name="connsiteY12" fmla="*/ 50342 h 128447"/>
                          <a:gd name="connsiteX13" fmla="*/ 95250 w 104775"/>
                          <a:gd name="connsiteY13" fmla="*/ 44627 h 128447"/>
                          <a:gd name="connsiteX14" fmla="*/ 91440 w 104775"/>
                          <a:gd name="connsiteY14" fmla="*/ 33197 h 128447"/>
                          <a:gd name="connsiteX15" fmla="*/ 70485 w 104775"/>
                          <a:gd name="connsiteY15" fmla="*/ 4622 h 128447"/>
                          <a:gd name="connsiteX16" fmla="*/ 45720 w 104775"/>
                          <a:gd name="connsiteY16" fmla="*/ 2717 h 128447"/>
                          <a:gd name="connsiteX17" fmla="*/ 41910 w 104775"/>
                          <a:gd name="connsiteY17" fmla="*/ 31292 h 128447"/>
                          <a:gd name="connsiteX18" fmla="*/ 40005 w 104775"/>
                          <a:gd name="connsiteY18" fmla="*/ 44627 h 128447"/>
                          <a:gd name="connsiteX19" fmla="*/ 3810 w 104775"/>
                          <a:gd name="connsiteY19" fmla="*/ 52247 h 128447"/>
                          <a:gd name="connsiteX20" fmla="*/ 1905 w 104775"/>
                          <a:gd name="connsiteY20" fmla="*/ 59867 h 128447"/>
                          <a:gd name="connsiteX21" fmla="*/ 0 w 104775"/>
                          <a:gd name="connsiteY21" fmla="*/ 65582 h 128447"/>
                          <a:gd name="connsiteX22" fmla="*/ 5715 w 104775"/>
                          <a:gd name="connsiteY22" fmla="*/ 78917 h 128447"/>
                          <a:gd name="connsiteX23" fmla="*/ 5715 w 104775"/>
                          <a:gd name="connsiteY23" fmla="*/ 82727 h 128447"/>
                          <a:gd name="connsiteX24" fmla="*/ 17145 w 104775"/>
                          <a:gd name="connsiteY24" fmla="*/ 111302 h 128447"/>
                          <a:gd name="connsiteX0" fmla="*/ 19050 w 104775"/>
                          <a:gd name="connsiteY0" fmla="*/ 102874 h 123829"/>
                          <a:gd name="connsiteX1" fmla="*/ 24765 w 104775"/>
                          <a:gd name="connsiteY1" fmla="*/ 106684 h 123829"/>
                          <a:gd name="connsiteX2" fmla="*/ 28575 w 104775"/>
                          <a:gd name="connsiteY2" fmla="*/ 112399 h 123829"/>
                          <a:gd name="connsiteX3" fmla="*/ 32385 w 104775"/>
                          <a:gd name="connsiteY3" fmla="*/ 123829 h 123829"/>
                          <a:gd name="connsiteX4" fmla="*/ 81915 w 104775"/>
                          <a:gd name="connsiteY4" fmla="*/ 121924 h 123829"/>
                          <a:gd name="connsiteX5" fmla="*/ 87630 w 104775"/>
                          <a:gd name="connsiteY5" fmla="*/ 120019 h 123829"/>
                          <a:gd name="connsiteX6" fmla="*/ 89535 w 104775"/>
                          <a:gd name="connsiteY6" fmla="*/ 114304 h 123829"/>
                          <a:gd name="connsiteX7" fmla="*/ 93345 w 104775"/>
                          <a:gd name="connsiteY7" fmla="*/ 108589 h 123829"/>
                          <a:gd name="connsiteX8" fmla="*/ 95250 w 104775"/>
                          <a:gd name="connsiteY8" fmla="*/ 95254 h 123829"/>
                          <a:gd name="connsiteX9" fmla="*/ 100965 w 104775"/>
                          <a:gd name="connsiteY9" fmla="*/ 91444 h 123829"/>
                          <a:gd name="connsiteX10" fmla="*/ 104775 w 104775"/>
                          <a:gd name="connsiteY10" fmla="*/ 80014 h 123829"/>
                          <a:gd name="connsiteX11" fmla="*/ 100965 w 104775"/>
                          <a:gd name="connsiteY11" fmla="*/ 53344 h 123829"/>
                          <a:gd name="connsiteX12" fmla="*/ 99060 w 104775"/>
                          <a:gd name="connsiteY12" fmla="*/ 45724 h 123829"/>
                          <a:gd name="connsiteX13" fmla="*/ 95250 w 104775"/>
                          <a:gd name="connsiteY13" fmla="*/ 40009 h 123829"/>
                          <a:gd name="connsiteX14" fmla="*/ 91440 w 104775"/>
                          <a:gd name="connsiteY14" fmla="*/ 28579 h 123829"/>
                          <a:gd name="connsiteX15" fmla="*/ 70485 w 104775"/>
                          <a:gd name="connsiteY15" fmla="*/ 4 h 123829"/>
                          <a:gd name="connsiteX16" fmla="*/ 41910 w 104775"/>
                          <a:gd name="connsiteY16" fmla="*/ 26674 h 123829"/>
                          <a:gd name="connsiteX17" fmla="*/ 40005 w 104775"/>
                          <a:gd name="connsiteY17" fmla="*/ 40009 h 123829"/>
                          <a:gd name="connsiteX18" fmla="*/ 3810 w 104775"/>
                          <a:gd name="connsiteY18" fmla="*/ 47629 h 123829"/>
                          <a:gd name="connsiteX19" fmla="*/ 1905 w 104775"/>
                          <a:gd name="connsiteY19" fmla="*/ 55249 h 123829"/>
                          <a:gd name="connsiteX20" fmla="*/ 0 w 104775"/>
                          <a:gd name="connsiteY20" fmla="*/ 60964 h 123829"/>
                          <a:gd name="connsiteX21" fmla="*/ 5715 w 104775"/>
                          <a:gd name="connsiteY21" fmla="*/ 74299 h 123829"/>
                          <a:gd name="connsiteX22" fmla="*/ 5715 w 104775"/>
                          <a:gd name="connsiteY22" fmla="*/ 78109 h 123829"/>
                          <a:gd name="connsiteX23" fmla="*/ 17145 w 104775"/>
                          <a:gd name="connsiteY23" fmla="*/ 106684 h 123829"/>
                          <a:gd name="connsiteX0" fmla="*/ 19050 w 104775"/>
                          <a:gd name="connsiteY0" fmla="*/ 77050 h 98005"/>
                          <a:gd name="connsiteX1" fmla="*/ 24765 w 104775"/>
                          <a:gd name="connsiteY1" fmla="*/ 80860 h 98005"/>
                          <a:gd name="connsiteX2" fmla="*/ 28575 w 104775"/>
                          <a:gd name="connsiteY2" fmla="*/ 86575 h 98005"/>
                          <a:gd name="connsiteX3" fmla="*/ 32385 w 104775"/>
                          <a:gd name="connsiteY3" fmla="*/ 98005 h 98005"/>
                          <a:gd name="connsiteX4" fmla="*/ 81915 w 104775"/>
                          <a:gd name="connsiteY4" fmla="*/ 96100 h 98005"/>
                          <a:gd name="connsiteX5" fmla="*/ 87630 w 104775"/>
                          <a:gd name="connsiteY5" fmla="*/ 94195 h 98005"/>
                          <a:gd name="connsiteX6" fmla="*/ 89535 w 104775"/>
                          <a:gd name="connsiteY6" fmla="*/ 88480 h 98005"/>
                          <a:gd name="connsiteX7" fmla="*/ 93345 w 104775"/>
                          <a:gd name="connsiteY7" fmla="*/ 82765 h 98005"/>
                          <a:gd name="connsiteX8" fmla="*/ 95250 w 104775"/>
                          <a:gd name="connsiteY8" fmla="*/ 69430 h 98005"/>
                          <a:gd name="connsiteX9" fmla="*/ 100965 w 104775"/>
                          <a:gd name="connsiteY9" fmla="*/ 65620 h 98005"/>
                          <a:gd name="connsiteX10" fmla="*/ 104775 w 104775"/>
                          <a:gd name="connsiteY10" fmla="*/ 54190 h 98005"/>
                          <a:gd name="connsiteX11" fmla="*/ 100965 w 104775"/>
                          <a:gd name="connsiteY11" fmla="*/ 27520 h 98005"/>
                          <a:gd name="connsiteX12" fmla="*/ 99060 w 104775"/>
                          <a:gd name="connsiteY12" fmla="*/ 19900 h 98005"/>
                          <a:gd name="connsiteX13" fmla="*/ 95250 w 104775"/>
                          <a:gd name="connsiteY13" fmla="*/ 14185 h 98005"/>
                          <a:gd name="connsiteX14" fmla="*/ 91440 w 104775"/>
                          <a:gd name="connsiteY14" fmla="*/ 2755 h 98005"/>
                          <a:gd name="connsiteX15" fmla="*/ 41910 w 104775"/>
                          <a:gd name="connsiteY15" fmla="*/ 850 h 98005"/>
                          <a:gd name="connsiteX16" fmla="*/ 40005 w 104775"/>
                          <a:gd name="connsiteY16" fmla="*/ 14185 h 98005"/>
                          <a:gd name="connsiteX17" fmla="*/ 3810 w 104775"/>
                          <a:gd name="connsiteY17" fmla="*/ 21805 h 98005"/>
                          <a:gd name="connsiteX18" fmla="*/ 1905 w 104775"/>
                          <a:gd name="connsiteY18" fmla="*/ 29425 h 98005"/>
                          <a:gd name="connsiteX19" fmla="*/ 0 w 104775"/>
                          <a:gd name="connsiteY19" fmla="*/ 35140 h 98005"/>
                          <a:gd name="connsiteX20" fmla="*/ 5715 w 104775"/>
                          <a:gd name="connsiteY20" fmla="*/ 48475 h 98005"/>
                          <a:gd name="connsiteX21" fmla="*/ 5715 w 104775"/>
                          <a:gd name="connsiteY21" fmla="*/ 52285 h 98005"/>
                          <a:gd name="connsiteX22" fmla="*/ 17145 w 104775"/>
                          <a:gd name="connsiteY22" fmla="*/ 80860 h 98005"/>
                          <a:gd name="connsiteX0" fmla="*/ 19050 w 104775"/>
                          <a:gd name="connsiteY0" fmla="*/ 76200 h 97155"/>
                          <a:gd name="connsiteX1" fmla="*/ 24765 w 104775"/>
                          <a:gd name="connsiteY1" fmla="*/ 80010 h 97155"/>
                          <a:gd name="connsiteX2" fmla="*/ 28575 w 104775"/>
                          <a:gd name="connsiteY2" fmla="*/ 85725 h 97155"/>
                          <a:gd name="connsiteX3" fmla="*/ 32385 w 104775"/>
                          <a:gd name="connsiteY3" fmla="*/ 97155 h 97155"/>
                          <a:gd name="connsiteX4" fmla="*/ 81915 w 104775"/>
                          <a:gd name="connsiteY4" fmla="*/ 95250 h 97155"/>
                          <a:gd name="connsiteX5" fmla="*/ 87630 w 104775"/>
                          <a:gd name="connsiteY5" fmla="*/ 93345 h 97155"/>
                          <a:gd name="connsiteX6" fmla="*/ 89535 w 104775"/>
                          <a:gd name="connsiteY6" fmla="*/ 87630 h 97155"/>
                          <a:gd name="connsiteX7" fmla="*/ 93345 w 104775"/>
                          <a:gd name="connsiteY7" fmla="*/ 81915 h 97155"/>
                          <a:gd name="connsiteX8" fmla="*/ 95250 w 104775"/>
                          <a:gd name="connsiteY8" fmla="*/ 68580 h 97155"/>
                          <a:gd name="connsiteX9" fmla="*/ 100965 w 104775"/>
                          <a:gd name="connsiteY9" fmla="*/ 64770 h 97155"/>
                          <a:gd name="connsiteX10" fmla="*/ 104775 w 104775"/>
                          <a:gd name="connsiteY10" fmla="*/ 53340 h 97155"/>
                          <a:gd name="connsiteX11" fmla="*/ 100965 w 104775"/>
                          <a:gd name="connsiteY11" fmla="*/ 26670 h 97155"/>
                          <a:gd name="connsiteX12" fmla="*/ 99060 w 104775"/>
                          <a:gd name="connsiteY12" fmla="*/ 19050 h 97155"/>
                          <a:gd name="connsiteX13" fmla="*/ 95250 w 104775"/>
                          <a:gd name="connsiteY13" fmla="*/ 13335 h 97155"/>
                          <a:gd name="connsiteX14" fmla="*/ 41910 w 104775"/>
                          <a:gd name="connsiteY14" fmla="*/ 0 h 97155"/>
                          <a:gd name="connsiteX15" fmla="*/ 40005 w 104775"/>
                          <a:gd name="connsiteY15" fmla="*/ 13335 h 97155"/>
                          <a:gd name="connsiteX16" fmla="*/ 3810 w 104775"/>
                          <a:gd name="connsiteY16" fmla="*/ 20955 h 97155"/>
                          <a:gd name="connsiteX17" fmla="*/ 1905 w 104775"/>
                          <a:gd name="connsiteY17" fmla="*/ 28575 h 97155"/>
                          <a:gd name="connsiteX18" fmla="*/ 0 w 104775"/>
                          <a:gd name="connsiteY18" fmla="*/ 34290 h 97155"/>
                          <a:gd name="connsiteX19" fmla="*/ 5715 w 104775"/>
                          <a:gd name="connsiteY19" fmla="*/ 47625 h 97155"/>
                          <a:gd name="connsiteX20" fmla="*/ 5715 w 104775"/>
                          <a:gd name="connsiteY20" fmla="*/ 51435 h 97155"/>
                          <a:gd name="connsiteX21" fmla="*/ 17145 w 104775"/>
                          <a:gd name="connsiteY21" fmla="*/ 80010 h 97155"/>
                          <a:gd name="connsiteX0" fmla="*/ 19050 w 104775"/>
                          <a:gd name="connsiteY0" fmla="*/ 76298 h 97253"/>
                          <a:gd name="connsiteX1" fmla="*/ 24765 w 104775"/>
                          <a:gd name="connsiteY1" fmla="*/ 80108 h 97253"/>
                          <a:gd name="connsiteX2" fmla="*/ 28575 w 104775"/>
                          <a:gd name="connsiteY2" fmla="*/ 85823 h 97253"/>
                          <a:gd name="connsiteX3" fmla="*/ 32385 w 104775"/>
                          <a:gd name="connsiteY3" fmla="*/ 97253 h 97253"/>
                          <a:gd name="connsiteX4" fmla="*/ 81915 w 104775"/>
                          <a:gd name="connsiteY4" fmla="*/ 95348 h 97253"/>
                          <a:gd name="connsiteX5" fmla="*/ 87630 w 104775"/>
                          <a:gd name="connsiteY5" fmla="*/ 93443 h 97253"/>
                          <a:gd name="connsiteX6" fmla="*/ 89535 w 104775"/>
                          <a:gd name="connsiteY6" fmla="*/ 87728 h 97253"/>
                          <a:gd name="connsiteX7" fmla="*/ 93345 w 104775"/>
                          <a:gd name="connsiteY7" fmla="*/ 82013 h 97253"/>
                          <a:gd name="connsiteX8" fmla="*/ 95250 w 104775"/>
                          <a:gd name="connsiteY8" fmla="*/ 68678 h 97253"/>
                          <a:gd name="connsiteX9" fmla="*/ 100965 w 104775"/>
                          <a:gd name="connsiteY9" fmla="*/ 64868 h 97253"/>
                          <a:gd name="connsiteX10" fmla="*/ 104775 w 104775"/>
                          <a:gd name="connsiteY10" fmla="*/ 53438 h 97253"/>
                          <a:gd name="connsiteX11" fmla="*/ 100965 w 104775"/>
                          <a:gd name="connsiteY11" fmla="*/ 26768 h 97253"/>
                          <a:gd name="connsiteX12" fmla="*/ 99060 w 104775"/>
                          <a:gd name="connsiteY12" fmla="*/ 19148 h 97253"/>
                          <a:gd name="connsiteX13" fmla="*/ 95250 w 104775"/>
                          <a:gd name="connsiteY13" fmla="*/ 13433 h 97253"/>
                          <a:gd name="connsiteX14" fmla="*/ 41910 w 104775"/>
                          <a:gd name="connsiteY14" fmla="*/ 98 h 97253"/>
                          <a:gd name="connsiteX15" fmla="*/ 3810 w 104775"/>
                          <a:gd name="connsiteY15" fmla="*/ 21053 h 97253"/>
                          <a:gd name="connsiteX16" fmla="*/ 1905 w 104775"/>
                          <a:gd name="connsiteY16" fmla="*/ 28673 h 97253"/>
                          <a:gd name="connsiteX17" fmla="*/ 0 w 104775"/>
                          <a:gd name="connsiteY17" fmla="*/ 34388 h 97253"/>
                          <a:gd name="connsiteX18" fmla="*/ 5715 w 104775"/>
                          <a:gd name="connsiteY18" fmla="*/ 47723 h 97253"/>
                          <a:gd name="connsiteX19" fmla="*/ 5715 w 104775"/>
                          <a:gd name="connsiteY19" fmla="*/ 51533 h 97253"/>
                          <a:gd name="connsiteX20" fmla="*/ 17145 w 104775"/>
                          <a:gd name="connsiteY20" fmla="*/ 80108 h 97253"/>
                          <a:gd name="connsiteX0" fmla="*/ 19050 w 104775"/>
                          <a:gd name="connsiteY0" fmla="*/ 76205 h 97160"/>
                          <a:gd name="connsiteX1" fmla="*/ 24765 w 104775"/>
                          <a:gd name="connsiteY1" fmla="*/ 80015 h 97160"/>
                          <a:gd name="connsiteX2" fmla="*/ 28575 w 104775"/>
                          <a:gd name="connsiteY2" fmla="*/ 85730 h 97160"/>
                          <a:gd name="connsiteX3" fmla="*/ 32385 w 104775"/>
                          <a:gd name="connsiteY3" fmla="*/ 97160 h 97160"/>
                          <a:gd name="connsiteX4" fmla="*/ 81915 w 104775"/>
                          <a:gd name="connsiteY4" fmla="*/ 95255 h 97160"/>
                          <a:gd name="connsiteX5" fmla="*/ 87630 w 104775"/>
                          <a:gd name="connsiteY5" fmla="*/ 93350 h 97160"/>
                          <a:gd name="connsiteX6" fmla="*/ 89535 w 104775"/>
                          <a:gd name="connsiteY6" fmla="*/ 87635 h 97160"/>
                          <a:gd name="connsiteX7" fmla="*/ 93345 w 104775"/>
                          <a:gd name="connsiteY7" fmla="*/ 81920 h 97160"/>
                          <a:gd name="connsiteX8" fmla="*/ 95250 w 104775"/>
                          <a:gd name="connsiteY8" fmla="*/ 68585 h 97160"/>
                          <a:gd name="connsiteX9" fmla="*/ 100965 w 104775"/>
                          <a:gd name="connsiteY9" fmla="*/ 64775 h 97160"/>
                          <a:gd name="connsiteX10" fmla="*/ 104775 w 104775"/>
                          <a:gd name="connsiteY10" fmla="*/ 53345 h 97160"/>
                          <a:gd name="connsiteX11" fmla="*/ 100965 w 104775"/>
                          <a:gd name="connsiteY11" fmla="*/ 26675 h 97160"/>
                          <a:gd name="connsiteX12" fmla="*/ 99060 w 104775"/>
                          <a:gd name="connsiteY12" fmla="*/ 19055 h 97160"/>
                          <a:gd name="connsiteX13" fmla="*/ 41910 w 104775"/>
                          <a:gd name="connsiteY13" fmla="*/ 5 h 97160"/>
                          <a:gd name="connsiteX14" fmla="*/ 3810 w 104775"/>
                          <a:gd name="connsiteY14" fmla="*/ 20960 h 97160"/>
                          <a:gd name="connsiteX15" fmla="*/ 1905 w 104775"/>
                          <a:gd name="connsiteY15" fmla="*/ 28580 h 97160"/>
                          <a:gd name="connsiteX16" fmla="*/ 0 w 104775"/>
                          <a:gd name="connsiteY16" fmla="*/ 34295 h 97160"/>
                          <a:gd name="connsiteX17" fmla="*/ 5715 w 104775"/>
                          <a:gd name="connsiteY17" fmla="*/ 47630 h 97160"/>
                          <a:gd name="connsiteX18" fmla="*/ 5715 w 104775"/>
                          <a:gd name="connsiteY18" fmla="*/ 51440 h 97160"/>
                          <a:gd name="connsiteX19" fmla="*/ 17145 w 104775"/>
                          <a:gd name="connsiteY19" fmla="*/ 80015 h 97160"/>
                          <a:gd name="connsiteX0" fmla="*/ 19050 w 105971"/>
                          <a:gd name="connsiteY0" fmla="*/ 76238 h 97193"/>
                          <a:gd name="connsiteX1" fmla="*/ 24765 w 105971"/>
                          <a:gd name="connsiteY1" fmla="*/ 80048 h 97193"/>
                          <a:gd name="connsiteX2" fmla="*/ 28575 w 105971"/>
                          <a:gd name="connsiteY2" fmla="*/ 85763 h 97193"/>
                          <a:gd name="connsiteX3" fmla="*/ 32385 w 105971"/>
                          <a:gd name="connsiteY3" fmla="*/ 97193 h 97193"/>
                          <a:gd name="connsiteX4" fmla="*/ 81915 w 105971"/>
                          <a:gd name="connsiteY4" fmla="*/ 95288 h 97193"/>
                          <a:gd name="connsiteX5" fmla="*/ 87630 w 105971"/>
                          <a:gd name="connsiteY5" fmla="*/ 93383 h 97193"/>
                          <a:gd name="connsiteX6" fmla="*/ 89535 w 105971"/>
                          <a:gd name="connsiteY6" fmla="*/ 87668 h 97193"/>
                          <a:gd name="connsiteX7" fmla="*/ 93345 w 105971"/>
                          <a:gd name="connsiteY7" fmla="*/ 81953 h 97193"/>
                          <a:gd name="connsiteX8" fmla="*/ 95250 w 105971"/>
                          <a:gd name="connsiteY8" fmla="*/ 68618 h 97193"/>
                          <a:gd name="connsiteX9" fmla="*/ 100965 w 105971"/>
                          <a:gd name="connsiteY9" fmla="*/ 64808 h 97193"/>
                          <a:gd name="connsiteX10" fmla="*/ 104775 w 105971"/>
                          <a:gd name="connsiteY10" fmla="*/ 53378 h 97193"/>
                          <a:gd name="connsiteX11" fmla="*/ 100965 w 105971"/>
                          <a:gd name="connsiteY11" fmla="*/ 26708 h 97193"/>
                          <a:gd name="connsiteX12" fmla="*/ 41910 w 105971"/>
                          <a:gd name="connsiteY12" fmla="*/ 38 h 97193"/>
                          <a:gd name="connsiteX13" fmla="*/ 3810 w 105971"/>
                          <a:gd name="connsiteY13" fmla="*/ 20993 h 97193"/>
                          <a:gd name="connsiteX14" fmla="*/ 1905 w 105971"/>
                          <a:gd name="connsiteY14" fmla="*/ 28613 h 97193"/>
                          <a:gd name="connsiteX15" fmla="*/ 0 w 105971"/>
                          <a:gd name="connsiteY15" fmla="*/ 34328 h 97193"/>
                          <a:gd name="connsiteX16" fmla="*/ 5715 w 105971"/>
                          <a:gd name="connsiteY16" fmla="*/ 47663 h 97193"/>
                          <a:gd name="connsiteX17" fmla="*/ 5715 w 105971"/>
                          <a:gd name="connsiteY17" fmla="*/ 51473 h 97193"/>
                          <a:gd name="connsiteX18" fmla="*/ 17145 w 105971"/>
                          <a:gd name="connsiteY18" fmla="*/ 80048 h 97193"/>
                          <a:gd name="connsiteX0" fmla="*/ 19050 w 106250"/>
                          <a:gd name="connsiteY0" fmla="*/ 64875 h 85830"/>
                          <a:gd name="connsiteX1" fmla="*/ 24765 w 106250"/>
                          <a:gd name="connsiteY1" fmla="*/ 68685 h 85830"/>
                          <a:gd name="connsiteX2" fmla="*/ 28575 w 106250"/>
                          <a:gd name="connsiteY2" fmla="*/ 74400 h 85830"/>
                          <a:gd name="connsiteX3" fmla="*/ 32385 w 106250"/>
                          <a:gd name="connsiteY3" fmla="*/ 85830 h 85830"/>
                          <a:gd name="connsiteX4" fmla="*/ 81915 w 106250"/>
                          <a:gd name="connsiteY4" fmla="*/ 83925 h 85830"/>
                          <a:gd name="connsiteX5" fmla="*/ 87630 w 106250"/>
                          <a:gd name="connsiteY5" fmla="*/ 82020 h 85830"/>
                          <a:gd name="connsiteX6" fmla="*/ 89535 w 106250"/>
                          <a:gd name="connsiteY6" fmla="*/ 76305 h 85830"/>
                          <a:gd name="connsiteX7" fmla="*/ 93345 w 106250"/>
                          <a:gd name="connsiteY7" fmla="*/ 70590 h 85830"/>
                          <a:gd name="connsiteX8" fmla="*/ 95250 w 106250"/>
                          <a:gd name="connsiteY8" fmla="*/ 57255 h 85830"/>
                          <a:gd name="connsiteX9" fmla="*/ 100965 w 106250"/>
                          <a:gd name="connsiteY9" fmla="*/ 53445 h 85830"/>
                          <a:gd name="connsiteX10" fmla="*/ 104775 w 106250"/>
                          <a:gd name="connsiteY10" fmla="*/ 42015 h 85830"/>
                          <a:gd name="connsiteX11" fmla="*/ 100965 w 106250"/>
                          <a:gd name="connsiteY11" fmla="*/ 15345 h 85830"/>
                          <a:gd name="connsiteX12" fmla="*/ 38100 w 106250"/>
                          <a:gd name="connsiteY12" fmla="*/ 105 h 85830"/>
                          <a:gd name="connsiteX13" fmla="*/ 3810 w 106250"/>
                          <a:gd name="connsiteY13" fmla="*/ 9630 h 85830"/>
                          <a:gd name="connsiteX14" fmla="*/ 1905 w 106250"/>
                          <a:gd name="connsiteY14" fmla="*/ 17250 h 85830"/>
                          <a:gd name="connsiteX15" fmla="*/ 0 w 106250"/>
                          <a:gd name="connsiteY15" fmla="*/ 22965 h 85830"/>
                          <a:gd name="connsiteX16" fmla="*/ 5715 w 106250"/>
                          <a:gd name="connsiteY16" fmla="*/ 36300 h 85830"/>
                          <a:gd name="connsiteX17" fmla="*/ 5715 w 106250"/>
                          <a:gd name="connsiteY17" fmla="*/ 40110 h 85830"/>
                          <a:gd name="connsiteX18" fmla="*/ 17145 w 106250"/>
                          <a:gd name="connsiteY18" fmla="*/ 68685 h 8583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</a:cxnLst>
                        <a:rect l="l" t="t" r="r" b="b"/>
                        <a:pathLst>
                          <a:path w="106250" h="85830">
                            <a:moveTo>
                              <a:pt x="19050" y="64875"/>
                            </a:moveTo>
                            <a:cubicBezTo>
                              <a:pt x="19050" y="69955"/>
                              <a:pt x="22860" y="67415"/>
                              <a:pt x="24765" y="68685"/>
                            </a:cubicBezTo>
                            <a:cubicBezTo>
                              <a:pt x="26035" y="70590"/>
                              <a:pt x="27645" y="72308"/>
                              <a:pt x="28575" y="74400"/>
                            </a:cubicBezTo>
                            <a:cubicBezTo>
                              <a:pt x="30206" y="78070"/>
                              <a:pt x="32385" y="85830"/>
                              <a:pt x="32385" y="85830"/>
                            </a:cubicBezTo>
                            <a:cubicBezTo>
                              <a:pt x="48895" y="85195"/>
                              <a:pt x="65432" y="85062"/>
                              <a:pt x="81915" y="83925"/>
                            </a:cubicBezTo>
                            <a:cubicBezTo>
                              <a:pt x="83918" y="83787"/>
                              <a:pt x="86210" y="83440"/>
                              <a:pt x="87630" y="82020"/>
                            </a:cubicBezTo>
                            <a:cubicBezTo>
                              <a:pt x="89050" y="80600"/>
                              <a:pt x="88637" y="78101"/>
                              <a:pt x="89535" y="76305"/>
                            </a:cubicBezTo>
                            <a:cubicBezTo>
                              <a:pt x="90559" y="74257"/>
                              <a:pt x="92075" y="72495"/>
                              <a:pt x="93345" y="70590"/>
                            </a:cubicBezTo>
                            <a:cubicBezTo>
                              <a:pt x="93980" y="66145"/>
                              <a:pt x="93426" y="61358"/>
                              <a:pt x="95250" y="57255"/>
                            </a:cubicBezTo>
                            <a:cubicBezTo>
                              <a:pt x="96180" y="55163"/>
                              <a:pt x="99752" y="55387"/>
                              <a:pt x="100965" y="53445"/>
                            </a:cubicBezTo>
                            <a:cubicBezTo>
                              <a:pt x="103094" y="50039"/>
                              <a:pt x="104775" y="42015"/>
                              <a:pt x="104775" y="42015"/>
                            </a:cubicBezTo>
                            <a:cubicBezTo>
                              <a:pt x="101728" y="8500"/>
                              <a:pt x="112077" y="22330"/>
                              <a:pt x="100965" y="15345"/>
                            </a:cubicBezTo>
                            <a:cubicBezTo>
                              <a:pt x="89853" y="8360"/>
                              <a:pt x="54292" y="1057"/>
                              <a:pt x="38100" y="105"/>
                            </a:cubicBezTo>
                            <a:cubicBezTo>
                              <a:pt x="21908" y="-847"/>
                              <a:pt x="10477" y="4868"/>
                              <a:pt x="3810" y="9630"/>
                            </a:cubicBezTo>
                            <a:cubicBezTo>
                              <a:pt x="3175" y="12170"/>
                              <a:pt x="2624" y="14733"/>
                              <a:pt x="1905" y="17250"/>
                            </a:cubicBezTo>
                            <a:cubicBezTo>
                              <a:pt x="1353" y="19181"/>
                              <a:pt x="0" y="20957"/>
                              <a:pt x="0" y="22965"/>
                            </a:cubicBezTo>
                            <a:cubicBezTo>
                              <a:pt x="0" y="32673"/>
                              <a:pt x="2604" y="28523"/>
                              <a:pt x="5715" y="36300"/>
                            </a:cubicBezTo>
                            <a:cubicBezTo>
                              <a:pt x="6187" y="37479"/>
                              <a:pt x="3810" y="34713"/>
                              <a:pt x="5715" y="40110"/>
                            </a:cubicBezTo>
                            <a:cubicBezTo>
                              <a:pt x="7620" y="45507"/>
                              <a:pt x="13335" y="59160"/>
                              <a:pt x="17145" y="68685"/>
                            </a:cubicBezTo>
                          </a:path>
                        </a:pathLst>
                      </a:custGeom>
                      <a:solidFill>
                        <a:srgbClr val="0D3759"/>
                      </a:solidFill>
                      <a:ln w="3175" cap="flat" cmpd="sng" algn="ctr">
                        <a:solidFill>
                          <a:srgbClr val="F2E8F8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84" name="Freeform: Shape 69">
                        <a:extLst>
                          <a:ext uri="{FF2B5EF4-FFF2-40B4-BE49-F238E27FC236}">
                            <a16:creationId xmlns:a16="http://schemas.microsoft.com/office/drawing/2014/main" id="{1F881085-1D2C-D355-FB58-4E877E167370}"/>
                          </a:ext>
                        </a:extLst>
                      </p:cNvPr>
                      <p:cNvSpPr/>
                      <p:nvPr/>
                    </p:nvSpPr>
                    <p:spPr>
                      <a:xfrm rot="20582585">
                        <a:off x="8817085" y="4302941"/>
                        <a:ext cx="27432" cy="36576"/>
                      </a:xfrm>
                      <a:custGeom>
                        <a:avLst/>
                        <a:gdLst>
                          <a:gd name="connsiteX0" fmla="*/ 57150 w 104775"/>
                          <a:gd name="connsiteY0" fmla="*/ 76200 h 127635"/>
                          <a:gd name="connsiteX1" fmla="*/ 57150 w 104775"/>
                          <a:gd name="connsiteY1" fmla="*/ 76200 h 127635"/>
                          <a:gd name="connsiteX2" fmla="*/ 24765 w 104775"/>
                          <a:gd name="connsiteY2" fmla="*/ 80010 h 127635"/>
                          <a:gd name="connsiteX3" fmla="*/ 19050 w 104775"/>
                          <a:gd name="connsiteY3" fmla="*/ 83820 h 127635"/>
                          <a:gd name="connsiteX4" fmla="*/ 19050 w 104775"/>
                          <a:gd name="connsiteY4" fmla="*/ 106680 h 127635"/>
                          <a:gd name="connsiteX5" fmla="*/ 24765 w 104775"/>
                          <a:gd name="connsiteY5" fmla="*/ 110490 h 127635"/>
                          <a:gd name="connsiteX6" fmla="*/ 28575 w 104775"/>
                          <a:gd name="connsiteY6" fmla="*/ 116205 h 127635"/>
                          <a:gd name="connsiteX7" fmla="*/ 32385 w 104775"/>
                          <a:gd name="connsiteY7" fmla="*/ 127635 h 127635"/>
                          <a:gd name="connsiteX8" fmla="*/ 81915 w 104775"/>
                          <a:gd name="connsiteY8" fmla="*/ 125730 h 127635"/>
                          <a:gd name="connsiteX9" fmla="*/ 87630 w 104775"/>
                          <a:gd name="connsiteY9" fmla="*/ 123825 h 127635"/>
                          <a:gd name="connsiteX10" fmla="*/ 89535 w 104775"/>
                          <a:gd name="connsiteY10" fmla="*/ 118110 h 127635"/>
                          <a:gd name="connsiteX11" fmla="*/ 93345 w 104775"/>
                          <a:gd name="connsiteY11" fmla="*/ 112395 h 127635"/>
                          <a:gd name="connsiteX12" fmla="*/ 95250 w 104775"/>
                          <a:gd name="connsiteY12" fmla="*/ 99060 h 127635"/>
                          <a:gd name="connsiteX13" fmla="*/ 100965 w 104775"/>
                          <a:gd name="connsiteY13" fmla="*/ 95250 h 127635"/>
                          <a:gd name="connsiteX14" fmla="*/ 104775 w 104775"/>
                          <a:gd name="connsiteY14" fmla="*/ 83820 h 127635"/>
                          <a:gd name="connsiteX15" fmla="*/ 100965 w 104775"/>
                          <a:gd name="connsiteY15" fmla="*/ 57150 h 127635"/>
                          <a:gd name="connsiteX16" fmla="*/ 99060 w 104775"/>
                          <a:gd name="connsiteY16" fmla="*/ 49530 h 127635"/>
                          <a:gd name="connsiteX17" fmla="*/ 95250 w 104775"/>
                          <a:gd name="connsiteY17" fmla="*/ 43815 h 127635"/>
                          <a:gd name="connsiteX18" fmla="*/ 91440 w 104775"/>
                          <a:gd name="connsiteY18" fmla="*/ 32385 h 127635"/>
                          <a:gd name="connsiteX19" fmla="*/ 81915 w 104775"/>
                          <a:gd name="connsiteY19" fmla="*/ 15240 h 127635"/>
                          <a:gd name="connsiteX20" fmla="*/ 70485 w 104775"/>
                          <a:gd name="connsiteY20" fmla="*/ 3810 h 127635"/>
                          <a:gd name="connsiteX21" fmla="*/ 59055 w 104775"/>
                          <a:gd name="connsiteY21" fmla="*/ 0 h 127635"/>
                          <a:gd name="connsiteX22" fmla="*/ 45720 w 104775"/>
                          <a:gd name="connsiteY22" fmla="*/ 1905 h 127635"/>
                          <a:gd name="connsiteX23" fmla="*/ 43815 w 104775"/>
                          <a:gd name="connsiteY23" fmla="*/ 19050 h 127635"/>
                          <a:gd name="connsiteX24" fmla="*/ 41910 w 104775"/>
                          <a:gd name="connsiteY24" fmla="*/ 30480 h 127635"/>
                          <a:gd name="connsiteX25" fmla="*/ 40005 w 104775"/>
                          <a:gd name="connsiteY25" fmla="*/ 43815 h 127635"/>
                          <a:gd name="connsiteX26" fmla="*/ 28575 w 104775"/>
                          <a:gd name="connsiteY26" fmla="*/ 49530 h 127635"/>
                          <a:gd name="connsiteX27" fmla="*/ 3810 w 104775"/>
                          <a:gd name="connsiteY27" fmla="*/ 51435 h 127635"/>
                          <a:gd name="connsiteX28" fmla="*/ 1905 w 104775"/>
                          <a:gd name="connsiteY28" fmla="*/ 59055 h 127635"/>
                          <a:gd name="connsiteX29" fmla="*/ 0 w 104775"/>
                          <a:gd name="connsiteY29" fmla="*/ 64770 h 127635"/>
                          <a:gd name="connsiteX30" fmla="*/ 5715 w 104775"/>
                          <a:gd name="connsiteY30" fmla="*/ 78105 h 127635"/>
                          <a:gd name="connsiteX31" fmla="*/ 5715 w 104775"/>
                          <a:gd name="connsiteY31" fmla="*/ 81915 h 127635"/>
                          <a:gd name="connsiteX32" fmla="*/ 5715 w 104775"/>
                          <a:gd name="connsiteY32" fmla="*/ 87630 h 127635"/>
                          <a:gd name="connsiteX0" fmla="*/ 57150 w 104775"/>
                          <a:gd name="connsiteY0" fmla="*/ 76200 h 127635"/>
                          <a:gd name="connsiteX1" fmla="*/ 24765 w 104775"/>
                          <a:gd name="connsiteY1" fmla="*/ 80010 h 127635"/>
                          <a:gd name="connsiteX2" fmla="*/ 19050 w 104775"/>
                          <a:gd name="connsiteY2" fmla="*/ 83820 h 127635"/>
                          <a:gd name="connsiteX3" fmla="*/ 19050 w 104775"/>
                          <a:gd name="connsiteY3" fmla="*/ 106680 h 127635"/>
                          <a:gd name="connsiteX4" fmla="*/ 24765 w 104775"/>
                          <a:gd name="connsiteY4" fmla="*/ 110490 h 127635"/>
                          <a:gd name="connsiteX5" fmla="*/ 28575 w 104775"/>
                          <a:gd name="connsiteY5" fmla="*/ 116205 h 127635"/>
                          <a:gd name="connsiteX6" fmla="*/ 32385 w 104775"/>
                          <a:gd name="connsiteY6" fmla="*/ 127635 h 127635"/>
                          <a:gd name="connsiteX7" fmla="*/ 81915 w 104775"/>
                          <a:gd name="connsiteY7" fmla="*/ 125730 h 127635"/>
                          <a:gd name="connsiteX8" fmla="*/ 87630 w 104775"/>
                          <a:gd name="connsiteY8" fmla="*/ 123825 h 127635"/>
                          <a:gd name="connsiteX9" fmla="*/ 89535 w 104775"/>
                          <a:gd name="connsiteY9" fmla="*/ 118110 h 127635"/>
                          <a:gd name="connsiteX10" fmla="*/ 93345 w 104775"/>
                          <a:gd name="connsiteY10" fmla="*/ 112395 h 127635"/>
                          <a:gd name="connsiteX11" fmla="*/ 95250 w 104775"/>
                          <a:gd name="connsiteY11" fmla="*/ 99060 h 127635"/>
                          <a:gd name="connsiteX12" fmla="*/ 100965 w 104775"/>
                          <a:gd name="connsiteY12" fmla="*/ 95250 h 127635"/>
                          <a:gd name="connsiteX13" fmla="*/ 104775 w 104775"/>
                          <a:gd name="connsiteY13" fmla="*/ 83820 h 127635"/>
                          <a:gd name="connsiteX14" fmla="*/ 100965 w 104775"/>
                          <a:gd name="connsiteY14" fmla="*/ 57150 h 127635"/>
                          <a:gd name="connsiteX15" fmla="*/ 99060 w 104775"/>
                          <a:gd name="connsiteY15" fmla="*/ 49530 h 127635"/>
                          <a:gd name="connsiteX16" fmla="*/ 95250 w 104775"/>
                          <a:gd name="connsiteY16" fmla="*/ 43815 h 127635"/>
                          <a:gd name="connsiteX17" fmla="*/ 91440 w 104775"/>
                          <a:gd name="connsiteY17" fmla="*/ 32385 h 127635"/>
                          <a:gd name="connsiteX18" fmla="*/ 81915 w 104775"/>
                          <a:gd name="connsiteY18" fmla="*/ 15240 h 127635"/>
                          <a:gd name="connsiteX19" fmla="*/ 70485 w 104775"/>
                          <a:gd name="connsiteY19" fmla="*/ 3810 h 127635"/>
                          <a:gd name="connsiteX20" fmla="*/ 59055 w 104775"/>
                          <a:gd name="connsiteY20" fmla="*/ 0 h 127635"/>
                          <a:gd name="connsiteX21" fmla="*/ 45720 w 104775"/>
                          <a:gd name="connsiteY21" fmla="*/ 1905 h 127635"/>
                          <a:gd name="connsiteX22" fmla="*/ 43815 w 104775"/>
                          <a:gd name="connsiteY22" fmla="*/ 19050 h 127635"/>
                          <a:gd name="connsiteX23" fmla="*/ 41910 w 104775"/>
                          <a:gd name="connsiteY23" fmla="*/ 30480 h 127635"/>
                          <a:gd name="connsiteX24" fmla="*/ 40005 w 104775"/>
                          <a:gd name="connsiteY24" fmla="*/ 43815 h 127635"/>
                          <a:gd name="connsiteX25" fmla="*/ 28575 w 104775"/>
                          <a:gd name="connsiteY25" fmla="*/ 49530 h 127635"/>
                          <a:gd name="connsiteX26" fmla="*/ 3810 w 104775"/>
                          <a:gd name="connsiteY26" fmla="*/ 51435 h 127635"/>
                          <a:gd name="connsiteX27" fmla="*/ 1905 w 104775"/>
                          <a:gd name="connsiteY27" fmla="*/ 59055 h 127635"/>
                          <a:gd name="connsiteX28" fmla="*/ 0 w 104775"/>
                          <a:gd name="connsiteY28" fmla="*/ 64770 h 127635"/>
                          <a:gd name="connsiteX29" fmla="*/ 5715 w 104775"/>
                          <a:gd name="connsiteY29" fmla="*/ 78105 h 127635"/>
                          <a:gd name="connsiteX30" fmla="*/ 5715 w 104775"/>
                          <a:gd name="connsiteY30" fmla="*/ 81915 h 127635"/>
                          <a:gd name="connsiteX31" fmla="*/ 5715 w 104775"/>
                          <a:gd name="connsiteY31" fmla="*/ 87630 h 127635"/>
                          <a:gd name="connsiteX0" fmla="*/ 24765 w 104775"/>
                          <a:gd name="connsiteY0" fmla="*/ 80010 h 127635"/>
                          <a:gd name="connsiteX1" fmla="*/ 19050 w 104775"/>
                          <a:gd name="connsiteY1" fmla="*/ 83820 h 127635"/>
                          <a:gd name="connsiteX2" fmla="*/ 19050 w 104775"/>
                          <a:gd name="connsiteY2" fmla="*/ 106680 h 127635"/>
                          <a:gd name="connsiteX3" fmla="*/ 24765 w 104775"/>
                          <a:gd name="connsiteY3" fmla="*/ 110490 h 127635"/>
                          <a:gd name="connsiteX4" fmla="*/ 28575 w 104775"/>
                          <a:gd name="connsiteY4" fmla="*/ 116205 h 127635"/>
                          <a:gd name="connsiteX5" fmla="*/ 32385 w 104775"/>
                          <a:gd name="connsiteY5" fmla="*/ 127635 h 127635"/>
                          <a:gd name="connsiteX6" fmla="*/ 81915 w 104775"/>
                          <a:gd name="connsiteY6" fmla="*/ 125730 h 127635"/>
                          <a:gd name="connsiteX7" fmla="*/ 87630 w 104775"/>
                          <a:gd name="connsiteY7" fmla="*/ 123825 h 127635"/>
                          <a:gd name="connsiteX8" fmla="*/ 89535 w 104775"/>
                          <a:gd name="connsiteY8" fmla="*/ 118110 h 127635"/>
                          <a:gd name="connsiteX9" fmla="*/ 93345 w 104775"/>
                          <a:gd name="connsiteY9" fmla="*/ 112395 h 127635"/>
                          <a:gd name="connsiteX10" fmla="*/ 95250 w 104775"/>
                          <a:gd name="connsiteY10" fmla="*/ 99060 h 127635"/>
                          <a:gd name="connsiteX11" fmla="*/ 100965 w 104775"/>
                          <a:gd name="connsiteY11" fmla="*/ 95250 h 127635"/>
                          <a:gd name="connsiteX12" fmla="*/ 104775 w 104775"/>
                          <a:gd name="connsiteY12" fmla="*/ 83820 h 127635"/>
                          <a:gd name="connsiteX13" fmla="*/ 100965 w 104775"/>
                          <a:gd name="connsiteY13" fmla="*/ 57150 h 127635"/>
                          <a:gd name="connsiteX14" fmla="*/ 99060 w 104775"/>
                          <a:gd name="connsiteY14" fmla="*/ 49530 h 127635"/>
                          <a:gd name="connsiteX15" fmla="*/ 95250 w 104775"/>
                          <a:gd name="connsiteY15" fmla="*/ 43815 h 127635"/>
                          <a:gd name="connsiteX16" fmla="*/ 91440 w 104775"/>
                          <a:gd name="connsiteY16" fmla="*/ 32385 h 127635"/>
                          <a:gd name="connsiteX17" fmla="*/ 81915 w 104775"/>
                          <a:gd name="connsiteY17" fmla="*/ 15240 h 127635"/>
                          <a:gd name="connsiteX18" fmla="*/ 70485 w 104775"/>
                          <a:gd name="connsiteY18" fmla="*/ 3810 h 127635"/>
                          <a:gd name="connsiteX19" fmla="*/ 59055 w 104775"/>
                          <a:gd name="connsiteY19" fmla="*/ 0 h 127635"/>
                          <a:gd name="connsiteX20" fmla="*/ 45720 w 104775"/>
                          <a:gd name="connsiteY20" fmla="*/ 1905 h 127635"/>
                          <a:gd name="connsiteX21" fmla="*/ 43815 w 104775"/>
                          <a:gd name="connsiteY21" fmla="*/ 19050 h 127635"/>
                          <a:gd name="connsiteX22" fmla="*/ 41910 w 104775"/>
                          <a:gd name="connsiteY22" fmla="*/ 30480 h 127635"/>
                          <a:gd name="connsiteX23" fmla="*/ 40005 w 104775"/>
                          <a:gd name="connsiteY23" fmla="*/ 43815 h 127635"/>
                          <a:gd name="connsiteX24" fmla="*/ 28575 w 104775"/>
                          <a:gd name="connsiteY24" fmla="*/ 49530 h 127635"/>
                          <a:gd name="connsiteX25" fmla="*/ 3810 w 104775"/>
                          <a:gd name="connsiteY25" fmla="*/ 51435 h 127635"/>
                          <a:gd name="connsiteX26" fmla="*/ 1905 w 104775"/>
                          <a:gd name="connsiteY26" fmla="*/ 59055 h 127635"/>
                          <a:gd name="connsiteX27" fmla="*/ 0 w 104775"/>
                          <a:gd name="connsiteY27" fmla="*/ 64770 h 127635"/>
                          <a:gd name="connsiteX28" fmla="*/ 5715 w 104775"/>
                          <a:gd name="connsiteY28" fmla="*/ 78105 h 127635"/>
                          <a:gd name="connsiteX29" fmla="*/ 5715 w 104775"/>
                          <a:gd name="connsiteY29" fmla="*/ 81915 h 127635"/>
                          <a:gd name="connsiteX30" fmla="*/ 5715 w 104775"/>
                          <a:gd name="connsiteY30" fmla="*/ 87630 h 127635"/>
                          <a:gd name="connsiteX0" fmla="*/ 24765 w 104775"/>
                          <a:gd name="connsiteY0" fmla="*/ 80010 h 127635"/>
                          <a:gd name="connsiteX1" fmla="*/ 19050 w 104775"/>
                          <a:gd name="connsiteY1" fmla="*/ 106680 h 127635"/>
                          <a:gd name="connsiteX2" fmla="*/ 24765 w 104775"/>
                          <a:gd name="connsiteY2" fmla="*/ 110490 h 127635"/>
                          <a:gd name="connsiteX3" fmla="*/ 28575 w 104775"/>
                          <a:gd name="connsiteY3" fmla="*/ 116205 h 127635"/>
                          <a:gd name="connsiteX4" fmla="*/ 32385 w 104775"/>
                          <a:gd name="connsiteY4" fmla="*/ 127635 h 127635"/>
                          <a:gd name="connsiteX5" fmla="*/ 81915 w 104775"/>
                          <a:gd name="connsiteY5" fmla="*/ 125730 h 127635"/>
                          <a:gd name="connsiteX6" fmla="*/ 87630 w 104775"/>
                          <a:gd name="connsiteY6" fmla="*/ 123825 h 127635"/>
                          <a:gd name="connsiteX7" fmla="*/ 89535 w 104775"/>
                          <a:gd name="connsiteY7" fmla="*/ 118110 h 127635"/>
                          <a:gd name="connsiteX8" fmla="*/ 93345 w 104775"/>
                          <a:gd name="connsiteY8" fmla="*/ 112395 h 127635"/>
                          <a:gd name="connsiteX9" fmla="*/ 95250 w 104775"/>
                          <a:gd name="connsiteY9" fmla="*/ 99060 h 127635"/>
                          <a:gd name="connsiteX10" fmla="*/ 100965 w 104775"/>
                          <a:gd name="connsiteY10" fmla="*/ 95250 h 127635"/>
                          <a:gd name="connsiteX11" fmla="*/ 104775 w 104775"/>
                          <a:gd name="connsiteY11" fmla="*/ 83820 h 127635"/>
                          <a:gd name="connsiteX12" fmla="*/ 100965 w 104775"/>
                          <a:gd name="connsiteY12" fmla="*/ 57150 h 127635"/>
                          <a:gd name="connsiteX13" fmla="*/ 99060 w 104775"/>
                          <a:gd name="connsiteY13" fmla="*/ 49530 h 127635"/>
                          <a:gd name="connsiteX14" fmla="*/ 95250 w 104775"/>
                          <a:gd name="connsiteY14" fmla="*/ 43815 h 127635"/>
                          <a:gd name="connsiteX15" fmla="*/ 91440 w 104775"/>
                          <a:gd name="connsiteY15" fmla="*/ 32385 h 127635"/>
                          <a:gd name="connsiteX16" fmla="*/ 81915 w 104775"/>
                          <a:gd name="connsiteY16" fmla="*/ 15240 h 127635"/>
                          <a:gd name="connsiteX17" fmla="*/ 70485 w 104775"/>
                          <a:gd name="connsiteY17" fmla="*/ 3810 h 127635"/>
                          <a:gd name="connsiteX18" fmla="*/ 59055 w 104775"/>
                          <a:gd name="connsiteY18" fmla="*/ 0 h 127635"/>
                          <a:gd name="connsiteX19" fmla="*/ 45720 w 104775"/>
                          <a:gd name="connsiteY19" fmla="*/ 1905 h 127635"/>
                          <a:gd name="connsiteX20" fmla="*/ 43815 w 104775"/>
                          <a:gd name="connsiteY20" fmla="*/ 19050 h 127635"/>
                          <a:gd name="connsiteX21" fmla="*/ 41910 w 104775"/>
                          <a:gd name="connsiteY21" fmla="*/ 30480 h 127635"/>
                          <a:gd name="connsiteX22" fmla="*/ 40005 w 104775"/>
                          <a:gd name="connsiteY22" fmla="*/ 43815 h 127635"/>
                          <a:gd name="connsiteX23" fmla="*/ 28575 w 104775"/>
                          <a:gd name="connsiteY23" fmla="*/ 49530 h 127635"/>
                          <a:gd name="connsiteX24" fmla="*/ 3810 w 104775"/>
                          <a:gd name="connsiteY24" fmla="*/ 51435 h 127635"/>
                          <a:gd name="connsiteX25" fmla="*/ 1905 w 104775"/>
                          <a:gd name="connsiteY25" fmla="*/ 59055 h 127635"/>
                          <a:gd name="connsiteX26" fmla="*/ 0 w 104775"/>
                          <a:gd name="connsiteY26" fmla="*/ 64770 h 127635"/>
                          <a:gd name="connsiteX27" fmla="*/ 5715 w 104775"/>
                          <a:gd name="connsiteY27" fmla="*/ 78105 h 127635"/>
                          <a:gd name="connsiteX28" fmla="*/ 5715 w 104775"/>
                          <a:gd name="connsiteY28" fmla="*/ 81915 h 127635"/>
                          <a:gd name="connsiteX29" fmla="*/ 5715 w 104775"/>
                          <a:gd name="connsiteY29" fmla="*/ 8763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5715 w 104775"/>
                          <a:gd name="connsiteY28" fmla="*/ 8763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17145 w 104775"/>
                          <a:gd name="connsiteY28" fmla="*/ 11049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17145 w 104775"/>
                          <a:gd name="connsiteY28" fmla="*/ 110490 h 127635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81915 w 104775"/>
                          <a:gd name="connsiteY15" fmla="*/ 16019 h 128414"/>
                          <a:gd name="connsiteX16" fmla="*/ 70485 w 104775"/>
                          <a:gd name="connsiteY16" fmla="*/ 4589 h 128414"/>
                          <a:gd name="connsiteX17" fmla="*/ 59055 w 104775"/>
                          <a:gd name="connsiteY17" fmla="*/ 779 h 128414"/>
                          <a:gd name="connsiteX18" fmla="*/ 45720 w 104775"/>
                          <a:gd name="connsiteY18" fmla="*/ 2684 h 128414"/>
                          <a:gd name="connsiteX19" fmla="*/ 41910 w 104775"/>
                          <a:gd name="connsiteY19" fmla="*/ 31259 h 128414"/>
                          <a:gd name="connsiteX20" fmla="*/ 40005 w 104775"/>
                          <a:gd name="connsiteY20" fmla="*/ 44594 h 128414"/>
                          <a:gd name="connsiteX21" fmla="*/ 28575 w 104775"/>
                          <a:gd name="connsiteY21" fmla="*/ 50309 h 128414"/>
                          <a:gd name="connsiteX22" fmla="*/ 3810 w 104775"/>
                          <a:gd name="connsiteY22" fmla="*/ 52214 h 128414"/>
                          <a:gd name="connsiteX23" fmla="*/ 1905 w 104775"/>
                          <a:gd name="connsiteY23" fmla="*/ 59834 h 128414"/>
                          <a:gd name="connsiteX24" fmla="*/ 0 w 104775"/>
                          <a:gd name="connsiteY24" fmla="*/ 65549 h 128414"/>
                          <a:gd name="connsiteX25" fmla="*/ 5715 w 104775"/>
                          <a:gd name="connsiteY25" fmla="*/ 78884 h 128414"/>
                          <a:gd name="connsiteX26" fmla="*/ 5715 w 104775"/>
                          <a:gd name="connsiteY26" fmla="*/ 82694 h 128414"/>
                          <a:gd name="connsiteX27" fmla="*/ 17145 w 104775"/>
                          <a:gd name="connsiteY27" fmla="*/ 111269 h 128414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70485 w 104775"/>
                          <a:gd name="connsiteY15" fmla="*/ 4589 h 128414"/>
                          <a:gd name="connsiteX16" fmla="*/ 59055 w 104775"/>
                          <a:gd name="connsiteY16" fmla="*/ 779 h 128414"/>
                          <a:gd name="connsiteX17" fmla="*/ 45720 w 104775"/>
                          <a:gd name="connsiteY17" fmla="*/ 2684 h 128414"/>
                          <a:gd name="connsiteX18" fmla="*/ 41910 w 104775"/>
                          <a:gd name="connsiteY18" fmla="*/ 31259 h 128414"/>
                          <a:gd name="connsiteX19" fmla="*/ 40005 w 104775"/>
                          <a:gd name="connsiteY19" fmla="*/ 44594 h 128414"/>
                          <a:gd name="connsiteX20" fmla="*/ 28575 w 104775"/>
                          <a:gd name="connsiteY20" fmla="*/ 50309 h 128414"/>
                          <a:gd name="connsiteX21" fmla="*/ 3810 w 104775"/>
                          <a:gd name="connsiteY21" fmla="*/ 52214 h 128414"/>
                          <a:gd name="connsiteX22" fmla="*/ 1905 w 104775"/>
                          <a:gd name="connsiteY22" fmla="*/ 59834 h 128414"/>
                          <a:gd name="connsiteX23" fmla="*/ 0 w 104775"/>
                          <a:gd name="connsiteY23" fmla="*/ 65549 h 128414"/>
                          <a:gd name="connsiteX24" fmla="*/ 5715 w 104775"/>
                          <a:gd name="connsiteY24" fmla="*/ 78884 h 128414"/>
                          <a:gd name="connsiteX25" fmla="*/ 5715 w 104775"/>
                          <a:gd name="connsiteY25" fmla="*/ 82694 h 128414"/>
                          <a:gd name="connsiteX26" fmla="*/ 17145 w 104775"/>
                          <a:gd name="connsiteY26" fmla="*/ 111269 h 128414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70485 w 104775"/>
                          <a:gd name="connsiteY15" fmla="*/ 4589 h 128414"/>
                          <a:gd name="connsiteX16" fmla="*/ 59055 w 104775"/>
                          <a:gd name="connsiteY16" fmla="*/ 779 h 128414"/>
                          <a:gd name="connsiteX17" fmla="*/ 45720 w 104775"/>
                          <a:gd name="connsiteY17" fmla="*/ 2684 h 128414"/>
                          <a:gd name="connsiteX18" fmla="*/ 41910 w 104775"/>
                          <a:gd name="connsiteY18" fmla="*/ 31259 h 128414"/>
                          <a:gd name="connsiteX19" fmla="*/ 40005 w 104775"/>
                          <a:gd name="connsiteY19" fmla="*/ 44594 h 128414"/>
                          <a:gd name="connsiteX20" fmla="*/ 3810 w 104775"/>
                          <a:gd name="connsiteY20" fmla="*/ 52214 h 128414"/>
                          <a:gd name="connsiteX21" fmla="*/ 1905 w 104775"/>
                          <a:gd name="connsiteY21" fmla="*/ 59834 h 128414"/>
                          <a:gd name="connsiteX22" fmla="*/ 0 w 104775"/>
                          <a:gd name="connsiteY22" fmla="*/ 65549 h 128414"/>
                          <a:gd name="connsiteX23" fmla="*/ 5715 w 104775"/>
                          <a:gd name="connsiteY23" fmla="*/ 78884 h 128414"/>
                          <a:gd name="connsiteX24" fmla="*/ 5715 w 104775"/>
                          <a:gd name="connsiteY24" fmla="*/ 82694 h 128414"/>
                          <a:gd name="connsiteX25" fmla="*/ 17145 w 104775"/>
                          <a:gd name="connsiteY25" fmla="*/ 111269 h 128414"/>
                          <a:gd name="connsiteX0" fmla="*/ 19050 w 104775"/>
                          <a:gd name="connsiteY0" fmla="*/ 107492 h 128447"/>
                          <a:gd name="connsiteX1" fmla="*/ 24765 w 104775"/>
                          <a:gd name="connsiteY1" fmla="*/ 111302 h 128447"/>
                          <a:gd name="connsiteX2" fmla="*/ 28575 w 104775"/>
                          <a:gd name="connsiteY2" fmla="*/ 117017 h 128447"/>
                          <a:gd name="connsiteX3" fmla="*/ 32385 w 104775"/>
                          <a:gd name="connsiteY3" fmla="*/ 128447 h 128447"/>
                          <a:gd name="connsiteX4" fmla="*/ 81915 w 104775"/>
                          <a:gd name="connsiteY4" fmla="*/ 126542 h 128447"/>
                          <a:gd name="connsiteX5" fmla="*/ 87630 w 104775"/>
                          <a:gd name="connsiteY5" fmla="*/ 124637 h 128447"/>
                          <a:gd name="connsiteX6" fmla="*/ 89535 w 104775"/>
                          <a:gd name="connsiteY6" fmla="*/ 118922 h 128447"/>
                          <a:gd name="connsiteX7" fmla="*/ 93345 w 104775"/>
                          <a:gd name="connsiteY7" fmla="*/ 113207 h 128447"/>
                          <a:gd name="connsiteX8" fmla="*/ 95250 w 104775"/>
                          <a:gd name="connsiteY8" fmla="*/ 99872 h 128447"/>
                          <a:gd name="connsiteX9" fmla="*/ 100965 w 104775"/>
                          <a:gd name="connsiteY9" fmla="*/ 96062 h 128447"/>
                          <a:gd name="connsiteX10" fmla="*/ 104775 w 104775"/>
                          <a:gd name="connsiteY10" fmla="*/ 84632 h 128447"/>
                          <a:gd name="connsiteX11" fmla="*/ 100965 w 104775"/>
                          <a:gd name="connsiteY11" fmla="*/ 57962 h 128447"/>
                          <a:gd name="connsiteX12" fmla="*/ 99060 w 104775"/>
                          <a:gd name="connsiteY12" fmla="*/ 50342 h 128447"/>
                          <a:gd name="connsiteX13" fmla="*/ 95250 w 104775"/>
                          <a:gd name="connsiteY13" fmla="*/ 44627 h 128447"/>
                          <a:gd name="connsiteX14" fmla="*/ 91440 w 104775"/>
                          <a:gd name="connsiteY14" fmla="*/ 33197 h 128447"/>
                          <a:gd name="connsiteX15" fmla="*/ 70485 w 104775"/>
                          <a:gd name="connsiteY15" fmla="*/ 4622 h 128447"/>
                          <a:gd name="connsiteX16" fmla="*/ 45720 w 104775"/>
                          <a:gd name="connsiteY16" fmla="*/ 2717 h 128447"/>
                          <a:gd name="connsiteX17" fmla="*/ 41910 w 104775"/>
                          <a:gd name="connsiteY17" fmla="*/ 31292 h 128447"/>
                          <a:gd name="connsiteX18" fmla="*/ 40005 w 104775"/>
                          <a:gd name="connsiteY18" fmla="*/ 44627 h 128447"/>
                          <a:gd name="connsiteX19" fmla="*/ 3810 w 104775"/>
                          <a:gd name="connsiteY19" fmla="*/ 52247 h 128447"/>
                          <a:gd name="connsiteX20" fmla="*/ 1905 w 104775"/>
                          <a:gd name="connsiteY20" fmla="*/ 59867 h 128447"/>
                          <a:gd name="connsiteX21" fmla="*/ 0 w 104775"/>
                          <a:gd name="connsiteY21" fmla="*/ 65582 h 128447"/>
                          <a:gd name="connsiteX22" fmla="*/ 5715 w 104775"/>
                          <a:gd name="connsiteY22" fmla="*/ 78917 h 128447"/>
                          <a:gd name="connsiteX23" fmla="*/ 5715 w 104775"/>
                          <a:gd name="connsiteY23" fmla="*/ 82727 h 128447"/>
                          <a:gd name="connsiteX24" fmla="*/ 17145 w 104775"/>
                          <a:gd name="connsiteY24" fmla="*/ 111302 h 128447"/>
                          <a:gd name="connsiteX0" fmla="*/ 19050 w 104775"/>
                          <a:gd name="connsiteY0" fmla="*/ 102874 h 123829"/>
                          <a:gd name="connsiteX1" fmla="*/ 24765 w 104775"/>
                          <a:gd name="connsiteY1" fmla="*/ 106684 h 123829"/>
                          <a:gd name="connsiteX2" fmla="*/ 28575 w 104775"/>
                          <a:gd name="connsiteY2" fmla="*/ 112399 h 123829"/>
                          <a:gd name="connsiteX3" fmla="*/ 32385 w 104775"/>
                          <a:gd name="connsiteY3" fmla="*/ 123829 h 123829"/>
                          <a:gd name="connsiteX4" fmla="*/ 81915 w 104775"/>
                          <a:gd name="connsiteY4" fmla="*/ 121924 h 123829"/>
                          <a:gd name="connsiteX5" fmla="*/ 87630 w 104775"/>
                          <a:gd name="connsiteY5" fmla="*/ 120019 h 123829"/>
                          <a:gd name="connsiteX6" fmla="*/ 89535 w 104775"/>
                          <a:gd name="connsiteY6" fmla="*/ 114304 h 123829"/>
                          <a:gd name="connsiteX7" fmla="*/ 93345 w 104775"/>
                          <a:gd name="connsiteY7" fmla="*/ 108589 h 123829"/>
                          <a:gd name="connsiteX8" fmla="*/ 95250 w 104775"/>
                          <a:gd name="connsiteY8" fmla="*/ 95254 h 123829"/>
                          <a:gd name="connsiteX9" fmla="*/ 100965 w 104775"/>
                          <a:gd name="connsiteY9" fmla="*/ 91444 h 123829"/>
                          <a:gd name="connsiteX10" fmla="*/ 104775 w 104775"/>
                          <a:gd name="connsiteY10" fmla="*/ 80014 h 123829"/>
                          <a:gd name="connsiteX11" fmla="*/ 100965 w 104775"/>
                          <a:gd name="connsiteY11" fmla="*/ 53344 h 123829"/>
                          <a:gd name="connsiteX12" fmla="*/ 99060 w 104775"/>
                          <a:gd name="connsiteY12" fmla="*/ 45724 h 123829"/>
                          <a:gd name="connsiteX13" fmla="*/ 95250 w 104775"/>
                          <a:gd name="connsiteY13" fmla="*/ 40009 h 123829"/>
                          <a:gd name="connsiteX14" fmla="*/ 91440 w 104775"/>
                          <a:gd name="connsiteY14" fmla="*/ 28579 h 123829"/>
                          <a:gd name="connsiteX15" fmla="*/ 70485 w 104775"/>
                          <a:gd name="connsiteY15" fmla="*/ 4 h 123829"/>
                          <a:gd name="connsiteX16" fmla="*/ 41910 w 104775"/>
                          <a:gd name="connsiteY16" fmla="*/ 26674 h 123829"/>
                          <a:gd name="connsiteX17" fmla="*/ 40005 w 104775"/>
                          <a:gd name="connsiteY17" fmla="*/ 40009 h 123829"/>
                          <a:gd name="connsiteX18" fmla="*/ 3810 w 104775"/>
                          <a:gd name="connsiteY18" fmla="*/ 47629 h 123829"/>
                          <a:gd name="connsiteX19" fmla="*/ 1905 w 104775"/>
                          <a:gd name="connsiteY19" fmla="*/ 55249 h 123829"/>
                          <a:gd name="connsiteX20" fmla="*/ 0 w 104775"/>
                          <a:gd name="connsiteY20" fmla="*/ 60964 h 123829"/>
                          <a:gd name="connsiteX21" fmla="*/ 5715 w 104775"/>
                          <a:gd name="connsiteY21" fmla="*/ 74299 h 123829"/>
                          <a:gd name="connsiteX22" fmla="*/ 5715 w 104775"/>
                          <a:gd name="connsiteY22" fmla="*/ 78109 h 123829"/>
                          <a:gd name="connsiteX23" fmla="*/ 17145 w 104775"/>
                          <a:gd name="connsiteY23" fmla="*/ 106684 h 123829"/>
                          <a:gd name="connsiteX0" fmla="*/ 19050 w 104775"/>
                          <a:gd name="connsiteY0" fmla="*/ 77050 h 98005"/>
                          <a:gd name="connsiteX1" fmla="*/ 24765 w 104775"/>
                          <a:gd name="connsiteY1" fmla="*/ 80860 h 98005"/>
                          <a:gd name="connsiteX2" fmla="*/ 28575 w 104775"/>
                          <a:gd name="connsiteY2" fmla="*/ 86575 h 98005"/>
                          <a:gd name="connsiteX3" fmla="*/ 32385 w 104775"/>
                          <a:gd name="connsiteY3" fmla="*/ 98005 h 98005"/>
                          <a:gd name="connsiteX4" fmla="*/ 81915 w 104775"/>
                          <a:gd name="connsiteY4" fmla="*/ 96100 h 98005"/>
                          <a:gd name="connsiteX5" fmla="*/ 87630 w 104775"/>
                          <a:gd name="connsiteY5" fmla="*/ 94195 h 98005"/>
                          <a:gd name="connsiteX6" fmla="*/ 89535 w 104775"/>
                          <a:gd name="connsiteY6" fmla="*/ 88480 h 98005"/>
                          <a:gd name="connsiteX7" fmla="*/ 93345 w 104775"/>
                          <a:gd name="connsiteY7" fmla="*/ 82765 h 98005"/>
                          <a:gd name="connsiteX8" fmla="*/ 95250 w 104775"/>
                          <a:gd name="connsiteY8" fmla="*/ 69430 h 98005"/>
                          <a:gd name="connsiteX9" fmla="*/ 100965 w 104775"/>
                          <a:gd name="connsiteY9" fmla="*/ 65620 h 98005"/>
                          <a:gd name="connsiteX10" fmla="*/ 104775 w 104775"/>
                          <a:gd name="connsiteY10" fmla="*/ 54190 h 98005"/>
                          <a:gd name="connsiteX11" fmla="*/ 100965 w 104775"/>
                          <a:gd name="connsiteY11" fmla="*/ 27520 h 98005"/>
                          <a:gd name="connsiteX12" fmla="*/ 99060 w 104775"/>
                          <a:gd name="connsiteY12" fmla="*/ 19900 h 98005"/>
                          <a:gd name="connsiteX13" fmla="*/ 95250 w 104775"/>
                          <a:gd name="connsiteY13" fmla="*/ 14185 h 98005"/>
                          <a:gd name="connsiteX14" fmla="*/ 91440 w 104775"/>
                          <a:gd name="connsiteY14" fmla="*/ 2755 h 98005"/>
                          <a:gd name="connsiteX15" fmla="*/ 41910 w 104775"/>
                          <a:gd name="connsiteY15" fmla="*/ 850 h 98005"/>
                          <a:gd name="connsiteX16" fmla="*/ 40005 w 104775"/>
                          <a:gd name="connsiteY16" fmla="*/ 14185 h 98005"/>
                          <a:gd name="connsiteX17" fmla="*/ 3810 w 104775"/>
                          <a:gd name="connsiteY17" fmla="*/ 21805 h 98005"/>
                          <a:gd name="connsiteX18" fmla="*/ 1905 w 104775"/>
                          <a:gd name="connsiteY18" fmla="*/ 29425 h 98005"/>
                          <a:gd name="connsiteX19" fmla="*/ 0 w 104775"/>
                          <a:gd name="connsiteY19" fmla="*/ 35140 h 98005"/>
                          <a:gd name="connsiteX20" fmla="*/ 5715 w 104775"/>
                          <a:gd name="connsiteY20" fmla="*/ 48475 h 98005"/>
                          <a:gd name="connsiteX21" fmla="*/ 5715 w 104775"/>
                          <a:gd name="connsiteY21" fmla="*/ 52285 h 98005"/>
                          <a:gd name="connsiteX22" fmla="*/ 17145 w 104775"/>
                          <a:gd name="connsiteY22" fmla="*/ 80860 h 98005"/>
                          <a:gd name="connsiteX0" fmla="*/ 19050 w 104775"/>
                          <a:gd name="connsiteY0" fmla="*/ 76200 h 97155"/>
                          <a:gd name="connsiteX1" fmla="*/ 24765 w 104775"/>
                          <a:gd name="connsiteY1" fmla="*/ 80010 h 97155"/>
                          <a:gd name="connsiteX2" fmla="*/ 28575 w 104775"/>
                          <a:gd name="connsiteY2" fmla="*/ 85725 h 97155"/>
                          <a:gd name="connsiteX3" fmla="*/ 32385 w 104775"/>
                          <a:gd name="connsiteY3" fmla="*/ 97155 h 97155"/>
                          <a:gd name="connsiteX4" fmla="*/ 81915 w 104775"/>
                          <a:gd name="connsiteY4" fmla="*/ 95250 h 97155"/>
                          <a:gd name="connsiteX5" fmla="*/ 87630 w 104775"/>
                          <a:gd name="connsiteY5" fmla="*/ 93345 h 97155"/>
                          <a:gd name="connsiteX6" fmla="*/ 89535 w 104775"/>
                          <a:gd name="connsiteY6" fmla="*/ 87630 h 97155"/>
                          <a:gd name="connsiteX7" fmla="*/ 93345 w 104775"/>
                          <a:gd name="connsiteY7" fmla="*/ 81915 h 97155"/>
                          <a:gd name="connsiteX8" fmla="*/ 95250 w 104775"/>
                          <a:gd name="connsiteY8" fmla="*/ 68580 h 97155"/>
                          <a:gd name="connsiteX9" fmla="*/ 100965 w 104775"/>
                          <a:gd name="connsiteY9" fmla="*/ 64770 h 97155"/>
                          <a:gd name="connsiteX10" fmla="*/ 104775 w 104775"/>
                          <a:gd name="connsiteY10" fmla="*/ 53340 h 97155"/>
                          <a:gd name="connsiteX11" fmla="*/ 100965 w 104775"/>
                          <a:gd name="connsiteY11" fmla="*/ 26670 h 97155"/>
                          <a:gd name="connsiteX12" fmla="*/ 99060 w 104775"/>
                          <a:gd name="connsiteY12" fmla="*/ 19050 h 97155"/>
                          <a:gd name="connsiteX13" fmla="*/ 95250 w 104775"/>
                          <a:gd name="connsiteY13" fmla="*/ 13335 h 97155"/>
                          <a:gd name="connsiteX14" fmla="*/ 41910 w 104775"/>
                          <a:gd name="connsiteY14" fmla="*/ 0 h 97155"/>
                          <a:gd name="connsiteX15" fmla="*/ 40005 w 104775"/>
                          <a:gd name="connsiteY15" fmla="*/ 13335 h 97155"/>
                          <a:gd name="connsiteX16" fmla="*/ 3810 w 104775"/>
                          <a:gd name="connsiteY16" fmla="*/ 20955 h 97155"/>
                          <a:gd name="connsiteX17" fmla="*/ 1905 w 104775"/>
                          <a:gd name="connsiteY17" fmla="*/ 28575 h 97155"/>
                          <a:gd name="connsiteX18" fmla="*/ 0 w 104775"/>
                          <a:gd name="connsiteY18" fmla="*/ 34290 h 97155"/>
                          <a:gd name="connsiteX19" fmla="*/ 5715 w 104775"/>
                          <a:gd name="connsiteY19" fmla="*/ 47625 h 97155"/>
                          <a:gd name="connsiteX20" fmla="*/ 5715 w 104775"/>
                          <a:gd name="connsiteY20" fmla="*/ 51435 h 97155"/>
                          <a:gd name="connsiteX21" fmla="*/ 17145 w 104775"/>
                          <a:gd name="connsiteY21" fmla="*/ 80010 h 97155"/>
                          <a:gd name="connsiteX0" fmla="*/ 19050 w 104775"/>
                          <a:gd name="connsiteY0" fmla="*/ 76298 h 97253"/>
                          <a:gd name="connsiteX1" fmla="*/ 24765 w 104775"/>
                          <a:gd name="connsiteY1" fmla="*/ 80108 h 97253"/>
                          <a:gd name="connsiteX2" fmla="*/ 28575 w 104775"/>
                          <a:gd name="connsiteY2" fmla="*/ 85823 h 97253"/>
                          <a:gd name="connsiteX3" fmla="*/ 32385 w 104775"/>
                          <a:gd name="connsiteY3" fmla="*/ 97253 h 97253"/>
                          <a:gd name="connsiteX4" fmla="*/ 81915 w 104775"/>
                          <a:gd name="connsiteY4" fmla="*/ 95348 h 97253"/>
                          <a:gd name="connsiteX5" fmla="*/ 87630 w 104775"/>
                          <a:gd name="connsiteY5" fmla="*/ 93443 h 97253"/>
                          <a:gd name="connsiteX6" fmla="*/ 89535 w 104775"/>
                          <a:gd name="connsiteY6" fmla="*/ 87728 h 97253"/>
                          <a:gd name="connsiteX7" fmla="*/ 93345 w 104775"/>
                          <a:gd name="connsiteY7" fmla="*/ 82013 h 97253"/>
                          <a:gd name="connsiteX8" fmla="*/ 95250 w 104775"/>
                          <a:gd name="connsiteY8" fmla="*/ 68678 h 97253"/>
                          <a:gd name="connsiteX9" fmla="*/ 100965 w 104775"/>
                          <a:gd name="connsiteY9" fmla="*/ 64868 h 97253"/>
                          <a:gd name="connsiteX10" fmla="*/ 104775 w 104775"/>
                          <a:gd name="connsiteY10" fmla="*/ 53438 h 97253"/>
                          <a:gd name="connsiteX11" fmla="*/ 100965 w 104775"/>
                          <a:gd name="connsiteY11" fmla="*/ 26768 h 97253"/>
                          <a:gd name="connsiteX12" fmla="*/ 99060 w 104775"/>
                          <a:gd name="connsiteY12" fmla="*/ 19148 h 97253"/>
                          <a:gd name="connsiteX13" fmla="*/ 95250 w 104775"/>
                          <a:gd name="connsiteY13" fmla="*/ 13433 h 97253"/>
                          <a:gd name="connsiteX14" fmla="*/ 41910 w 104775"/>
                          <a:gd name="connsiteY14" fmla="*/ 98 h 97253"/>
                          <a:gd name="connsiteX15" fmla="*/ 3810 w 104775"/>
                          <a:gd name="connsiteY15" fmla="*/ 21053 h 97253"/>
                          <a:gd name="connsiteX16" fmla="*/ 1905 w 104775"/>
                          <a:gd name="connsiteY16" fmla="*/ 28673 h 97253"/>
                          <a:gd name="connsiteX17" fmla="*/ 0 w 104775"/>
                          <a:gd name="connsiteY17" fmla="*/ 34388 h 97253"/>
                          <a:gd name="connsiteX18" fmla="*/ 5715 w 104775"/>
                          <a:gd name="connsiteY18" fmla="*/ 47723 h 97253"/>
                          <a:gd name="connsiteX19" fmla="*/ 5715 w 104775"/>
                          <a:gd name="connsiteY19" fmla="*/ 51533 h 97253"/>
                          <a:gd name="connsiteX20" fmla="*/ 17145 w 104775"/>
                          <a:gd name="connsiteY20" fmla="*/ 80108 h 97253"/>
                          <a:gd name="connsiteX0" fmla="*/ 19050 w 104775"/>
                          <a:gd name="connsiteY0" fmla="*/ 76205 h 97160"/>
                          <a:gd name="connsiteX1" fmla="*/ 24765 w 104775"/>
                          <a:gd name="connsiteY1" fmla="*/ 80015 h 97160"/>
                          <a:gd name="connsiteX2" fmla="*/ 28575 w 104775"/>
                          <a:gd name="connsiteY2" fmla="*/ 85730 h 97160"/>
                          <a:gd name="connsiteX3" fmla="*/ 32385 w 104775"/>
                          <a:gd name="connsiteY3" fmla="*/ 97160 h 97160"/>
                          <a:gd name="connsiteX4" fmla="*/ 81915 w 104775"/>
                          <a:gd name="connsiteY4" fmla="*/ 95255 h 97160"/>
                          <a:gd name="connsiteX5" fmla="*/ 87630 w 104775"/>
                          <a:gd name="connsiteY5" fmla="*/ 93350 h 97160"/>
                          <a:gd name="connsiteX6" fmla="*/ 89535 w 104775"/>
                          <a:gd name="connsiteY6" fmla="*/ 87635 h 97160"/>
                          <a:gd name="connsiteX7" fmla="*/ 93345 w 104775"/>
                          <a:gd name="connsiteY7" fmla="*/ 81920 h 97160"/>
                          <a:gd name="connsiteX8" fmla="*/ 95250 w 104775"/>
                          <a:gd name="connsiteY8" fmla="*/ 68585 h 97160"/>
                          <a:gd name="connsiteX9" fmla="*/ 100965 w 104775"/>
                          <a:gd name="connsiteY9" fmla="*/ 64775 h 97160"/>
                          <a:gd name="connsiteX10" fmla="*/ 104775 w 104775"/>
                          <a:gd name="connsiteY10" fmla="*/ 53345 h 97160"/>
                          <a:gd name="connsiteX11" fmla="*/ 100965 w 104775"/>
                          <a:gd name="connsiteY11" fmla="*/ 26675 h 97160"/>
                          <a:gd name="connsiteX12" fmla="*/ 99060 w 104775"/>
                          <a:gd name="connsiteY12" fmla="*/ 19055 h 97160"/>
                          <a:gd name="connsiteX13" fmla="*/ 41910 w 104775"/>
                          <a:gd name="connsiteY13" fmla="*/ 5 h 97160"/>
                          <a:gd name="connsiteX14" fmla="*/ 3810 w 104775"/>
                          <a:gd name="connsiteY14" fmla="*/ 20960 h 97160"/>
                          <a:gd name="connsiteX15" fmla="*/ 1905 w 104775"/>
                          <a:gd name="connsiteY15" fmla="*/ 28580 h 97160"/>
                          <a:gd name="connsiteX16" fmla="*/ 0 w 104775"/>
                          <a:gd name="connsiteY16" fmla="*/ 34295 h 97160"/>
                          <a:gd name="connsiteX17" fmla="*/ 5715 w 104775"/>
                          <a:gd name="connsiteY17" fmla="*/ 47630 h 97160"/>
                          <a:gd name="connsiteX18" fmla="*/ 5715 w 104775"/>
                          <a:gd name="connsiteY18" fmla="*/ 51440 h 97160"/>
                          <a:gd name="connsiteX19" fmla="*/ 17145 w 104775"/>
                          <a:gd name="connsiteY19" fmla="*/ 80015 h 97160"/>
                          <a:gd name="connsiteX0" fmla="*/ 19050 w 105971"/>
                          <a:gd name="connsiteY0" fmla="*/ 76238 h 97193"/>
                          <a:gd name="connsiteX1" fmla="*/ 24765 w 105971"/>
                          <a:gd name="connsiteY1" fmla="*/ 80048 h 97193"/>
                          <a:gd name="connsiteX2" fmla="*/ 28575 w 105971"/>
                          <a:gd name="connsiteY2" fmla="*/ 85763 h 97193"/>
                          <a:gd name="connsiteX3" fmla="*/ 32385 w 105971"/>
                          <a:gd name="connsiteY3" fmla="*/ 97193 h 97193"/>
                          <a:gd name="connsiteX4" fmla="*/ 81915 w 105971"/>
                          <a:gd name="connsiteY4" fmla="*/ 95288 h 97193"/>
                          <a:gd name="connsiteX5" fmla="*/ 87630 w 105971"/>
                          <a:gd name="connsiteY5" fmla="*/ 93383 h 97193"/>
                          <a:gd name="connsiteX6" fmla="*/ 89535 w 105971"/>
                          <a:gd name="connsiteY6" fmla="*/ 87668 h 97193"/>
                          <a:gd name="connsiteX7" fmla="*/ 93345 w 105971"/>
                          <a:gd name="connsiteY7" fmla="*/ 81953 h 97193"/>
                          <a:gd name="connsiteX8" fmla="*/ 95250 w 105971"/>
                          <a:gd name="connsiteY8" fmla="*/ 68618 h 97193"/>
                          <a:gd name="connsiteX9" fmla="*/ 100965 w 105971"/>
                          <a:gd name="connsiteY9" fmla="*/ 64808 h 97193"/>
                          <a:gd name="connsiteX10" fmla="*/ 104775 w 105971"/>
                          <a:gd name="connsiteY10" fmla="*/ 53378 h 97193"/>
                          <a:gd name="connsiteX11" fmla="*/ 100965 w 105971"/>
                          <a:gd name="connsiteY11" fmla="*/ 26708 h 97193"/>
                          <a:gd name="connsiteX12" fmla="*/ 41910 w 105971"/>
                          <a:gd name="connsiteY12" fmla="*/ 38 h 97193"/>
                          <a:gd name="connsiteX13" fmla="*/ 3810 w 105971"/>
                          <a:gd name="connsiteY13" fmla="*/ 20993 h 97193"/>
                          <a:gd name="connsiteX14" fmla="*/ 1905 w 105971"/>
                          <a:gd name="connsiteY14" fmla="*/ 28613 h 97193"/>
                          <a:gd name="connsiteX15" fmla="*/ 0 w 105971"/>
                          <a:gd name="connsiteY15" fmla="*/ 34328 h 97193"/>
                          <a:gd name="connsiteX16" fmla="*/ 5715 w 105971"/>
                          <a:gd name="connsiteY16" fmla="*/ 47663 h 97193"/>
                          <a:gd name="connsiteX17" fmla="*/ 5715 w 105971"/>
                          <a:gd name="connsiteY17" fmla="*/ 51473 h 97193"/>
                          <a:gd name="connsiteX18" fmla="*/ 17145 w 105971"/>
                          <a:gd name="connsiteY18" fmla="*/ 80048 h 97193"/>
                          <a:gd name="connsiteX0" fmla="*/ 19050 w 106250"/>
                          <a:gd name="connsiteY0" fmla="*/ 64875 h 85830"/>
                          <a:gd name="connsiteX1" fmla="*/ 24765 w 106250"/>
                          <a:gd name="connsiteY1" fmla="*/ 68685 h 85830"/>
                          <a:gd name="connsiteX2" fmla="*/ 28575 w 106250"/>
                          <a:gd name="connsiteY2" fmla="*/ 74400 h 85830"/>
                          <a:gd name="connsiteX3" fmla="*/ 32385 w 106250"/>
                          <a:gd name="connsiteY3" fmla="*/ 85830 h 85830"/>
                          <a:gd name="connsiteX4" fmla="*/ 81915 w 106250"/>
                          <a:gd name="connsiteY4" fmla="*/ 83925 h 85830"/>
                          <a:gd name="connsiteX5" fmla="*/ 87630 w 106250"/>
                          <a:gd name="connsiteY5" fmla="*/ 82020 h 85830"/>
                          <a:gd name="connsiteX6" fmla="*/ 89535 w 106250"/>
                          <a:gd name="connsiteY6" fmla="*/ 76305 h 85830"/>
                          <a:gd name="connsiteX7" fmla="*/ 93345 w 106250"/>
                          <a:gd name="connsiteY7" fmla="*/ 70590 h 85830"/>
                          <a:gd name="connsiteX8" fmla="*/ 95250 w 106250"/>
                          <a:gd name="connsiteY8" fmla="*/ 57255 h 85830"/>
                          <a:gd name="connsiteX9" fmla="*/ 100965 w 106250"/>
                          <a:gd name="connsiteY9" fmla="*/ 53445 h 85830"/>
                          <a:gd name="connsiteX10" fmla="*/ 104775 w 106250"/>
                          <a:gd name="connsiteY10" fmla="*/ 42015 h 85830"/>
                          <a:gd name="connsiteX11" fmla="*/ 100965 w 106250"/>
                          <a:gd name="connsiteY11" fmla="*/ 15345 h 85830"/>
                          <a:gd name="connsiteX12" fmla="*/ 38100 w 106250"/>
                          <a:gd name="connsiteY12" fmla="*/ 105 h 85830"/>
                          <a:gd name="connsiteX13" fmla="*/ 3810 w 106250"/>
                          <a:gd name="connsiteY13" fmla="*/ 9630 h 85830"/>
                          <a:gd name="connsiteX14" fmla="*/ 1905 w 106250"/>
                          <a:gd name="connsiteY14" fmla="*/ 17250 h 85830"/>
                          <a:gd name="connsiteX15" fmla="*/ 0 w 106250"/>
                          <a:gd name="connsiteY15" fmla="*/ 22965 h 85830"/>
                          <a:gd name="connsiteX16" fmla="*/ 5715 w 106250"/>
                          <a:gd name="connsiteY16" fmla="*/ 36300 h 85830"/>
                          <a:gd name="connsiteX17" fmla="*/ 5715 w 106250"/>
                          <a:gd name="connsiteY17" fmla="*/ 40110 h 85830"/>
                          <a:gd name="connsiteX18" fmla="*/ 17145 w 106250"/>
                          <a:gd name="connsiteY18" fmla="*/ 68685 h 8583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</a:cxnLst>
                        <a:rect l="l" t="t" r="r" b="b"/>
                        <a:pathLst>
                          <a:path w="106250" h="85830">
                            <a:moveTo>
                              <a:pt x="19050" y="64875"/>
                            </a:moveTo>
                            <a:cubicBezTo>
                              <a:pt x="19050" y="69955"/>
                              <a:pt x="22860" y="67415"/>
                              <a:pt x="24765" y="68685"/>
                            </a:cubicBezTo>
                            <a:cubicBezTo>
                              <a:pt x="26035" y="70590"/>
                              <a:pt x="27645" y="72308"/>
                              <a:pt x="28575" y="74400"/>
                            </a:cubicBezTo>
                            <a:cubicBezTo>
                              <a:pt x="30206" y="78070"/>
                              <a:pt x="32385" y="85830"/>
                              <a:pt x="32385" y="85830"/>
                            </a:cubicBezTo>
                            <a:cubicBezTo>
                              <a:pt x="48895" y="85195"/>
                              <a:pt x="65432" y="85062"/>
                              <a:pt x="81915" y="83925"/>
                            </a:cubicBezTo>
                            <a:cubicBezTo>
                              <a:pt x="83918" y="83787"/>
                              <a:pt x="86210" y="83440"/>
                              <a:pt x="87630" y="82020"/>
                            </a:cubicBezTo>
                            <a:cubicBezTo>
                              <a:pt x="89050" y="80600"/>
                              <a:pt x="88637" y="78101"/>
                              <a:pt x="89535" y="76305"/>
                            </a:cubicBezTo>
                            <a:cubicBezTo>
                              <a:pt x="90559" y="74257"/>
                              <a:pt x="92075" y="72495"/>
                              <a:pt x="93345" y="70590"/>
                            </a:cubicBezTo>
                            <a:cubicBezTo>
                              <a:pt x="93980" y="66145"/>
                              <a:pt x="93426" y="61358"/>
                              <a:pt x="95250" y="57255"/>
                            </a:cubicBezTo>
                            <a:cubicBezTo>
                              <a:pt x="96180" y="55163"/>
                              <a:pt x="99752" y="55387"/>
                              <a:pt x="100965" y="53445"/>
                            </a:cubicBezTo>
                            <a:cubicBezTo>
                              <a:pt x="103094" y="50039"/>
                              <a:pt x="104775" y="42015"/>
                              <a:pt x="104775" y="42015"/>
                            </a:cubicBezTo>
                            <a:cubicBezTo>
                              <a:pt x="101728" y="8500"/>
                              <a:pt x="112077" y="22330"/>
                              <a:pt x="100965" y="15345"/>
                            </a:cubicBezTo>
                            <a:cubicBezTo>
                              <a:pt x="89853" y="8360"/>
                              <a:pt x="54292" y="1057"/>
                              <a:pt x="38100" y="105"/>
                            </a:cubicBezTo>
                            <a:cubicBezTo>
                              <a:pt x="21908" y="-847"/>
                              <a:pt x="10477" y="4868"/>
                              <a:pt x="3810" y="9630"/>
                            </a:cubicBezTo>
                            <a:cubicBezTo>
                              <a:pt x="3175" y="12170"/>
                              <a:pt x="2624" y="14733"/>
                              <a:pt x="1905" y="17250"/>
                            </a:cubicBezTo>
                            <a:cubicBezTo>
                              <a:pt x="1353" y="19181"/>
                              <a:pt x="0" y="20957"/>
                              <a:pt x="0" y="22965"/>
                            </a:cubicBezTo>
                            <a:cubicBezTo>
                              <a:pt x="0" y="32673"/>
                              <a:pt x="2604" y="28523"/>
                              <a:pt x="5715" y="36300"/>
                            </a:cubicBezTo>
                            <a:cubicBezTo>
                              <a:pt x="6187" y="37479"/>
                              <a:pt x="3810" y="34713"/>
                              <a:pt x="5715" y="40110"/>
                            </a:cubicBezTo>
                            <a:cubicBezTo>
                              <a:pt x="7620" y="45507"/>
                              <a:pt x="13335" y="59160"/>
                              <a:pt x="17145" y="68685"/>
                            </a:cubicBezTo>
                          </a:path>
                        </a:pathLst>
                      </a:custGeom>
                      <a:solidFill>
                        <a:srgbClr val="0D3759"/>
                      </a:solidFill>
                      <a:ln w="3175" cap="flat" cmpd="sng" algn="ctr">
                        <a:solidFill>
                          <a:srgbClr val="F2E8F8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85" name="Freeform: Shape 70">
                        <a:extLst>
                          <a:ext uri="{FF2B5EF4-FFF2-40B4-BE49-F238E27FC236}">
                            <a16:creationId xmlns:a16="http://schemas.microsoft.com/office/drawing/2014/main" id="{8B045E6B-2AC2-97B9-EBEE-89D198230231}"/>
                          </a:ext>
                        </a:extLst>
                      </p:cNvPr>
                      <p:cNvSpPr/>
                      <p:nvPr/>
                    </p:nvSpPr>
                    <p:spPr>
                      <a:xfrm rot="17414284">
                        <a:off x="8943702" y="4140653"/>
                        <a:ext cx="27432" cy="36576"/>
                      </a:xfrm>
                      <a:custGeom>
                        <a:avLst/>
                        <a:gdLst>
                          <a:gd name="connsiteX0" fmla="*/ 57150 w 104775"/>
                          <a:gd name="connsiteY0" fmla="*/ 76200 h 127635"/>
                          <a:gd name="connsiteX1" fmla="*/ 57150 w 104775"/>
                          <a:gd name="connsiteY1" fmla="*/ 76200 h 127635"/>
                          <a:gd name="connsiteX2" fmla="*/ 24765 w 104775"/>
                          <a:gd name="connsiteY2" fmla="*/ 80010 h 127635"/>
                          <a:gd name="connsiteX3" fmla="*/ 19050 w 104775"/>
                          <a:gd name="connsiteY3" fmla="*/ 83820 h 127635"/>
                          <a:gd name="connsiteX4" fmla="*/ 19050 w 104775"/>
                          <a:gd name="connsiteY4" fmla="*/ 106680 h 127635"/>
                          <a:gd name="connsiteX5" fmla="*/ 24765 w 104775"/>
                          <a:gd name="connsiteY5" fmla="*/ 110490 h 127635"/>
                          <a:gd name="connsiteX6" fmla="*/ 28575 w 104775"/>
                          <a:gd name="connsiteY6" fmla="*/ 116205 h 127635"/>
                          <a:gd name="connsiteX7" fmla="*/ 32385 w 104775"/>
                          <a:gd name="connsiteY7" fmla="*/ 127635 h 127635"/>
                          <a:gd name="connsiteX8" fmla="*/ 81915 w 104775"/>
                          <a:gd name="connsiteY8" fmla="*/ 125730 h 127635"/>
                          <a:gd name="connsiteX9" fmla="*/ 87630 w 104775"/>
                          <a:gd name="connsiteY9" fmla="*/ 123825 h 127635"/>
                          <a:gd name="connsiteX10" fmla="*/ 89535 w 104775"/>
                          <a:gd name="connsiteY10" fmla="*/ 118110 h 127635"/>
                          <a:gd name="connsiteX11" fmla="*/ 93345 w 104775"/>
                          <a:gd name="connsiteY11" fmla="*/ 112395 h 127635"/>
                          <a:gd name="connsiteX12" fmla="*/ 95250 w 104775"/>
                          <a:gd name="connsiteY12" fmla="*/ 99060 h 127635"/>
                          <a:gd name="connsiteX13" fmla="*/ 100965 w 104775"/>
                          <a:gd name="connsiteY13" fmla="*/ 95250 h 127635"/>
                          <a:gd name="connsiteX14" fmla="*/ 104775 w 104775"/>
                          <a:gd name="connsiteY14" fmla="*/ 83820 h 127635"/>
                          <a:gd name="connsiteX15" fmla="*/ 100965 w 104775"/>
                          <a:gd name="connsiteY15" fmla="*/ 57150 h 127635"/>
                          <a:gd name="connsiteX16" fmla="*/ 99060 w 104775"/>
                          <a:gd name="connsiteY16" fmla="*/ 49530 h 127635"/>
                          <a:gd name="connsiteX17" fmla="*/ 95250 w 104775"/>
                          <a:gd name="connsiteY17" fmla="*/ 43815 h 127635"/>
                          <a:gd name="connsiteX18" fmla="*/ 91440 w 104775"/>
                          <a:gd name="connsiteY18" fmla="*/ 32385 h 127635"/>
                          <a:gd name="connsiteX19" fmla="*/ 81915 w 104775"/>
                          <a:gd name="connsiteY19" fmla="*/ 15240 h 127635"/>
                          <a:gd name="connsiteX20" fmla="*/ 70485 w 104775"/>
                          <a:gd name="connsiteY20" fmla="*/ 3810 h 127635"/>
                          <a:gd name="connsiteX21" fmla="*/ 59055 w 104775"/>
                          <a:gd name="connsiteY21" fmla="*/ 0 h 127635"/>
                          <a:gd name="connsiteX22" fmla="*/ 45720 w 104775"/>
                          <a:gd name="connsiteY22" fmla="*/ 1905 h 127635"/>
                          <a:gd name="connsiteX23" fmla="*/ 43815 w 104775"/>
                          <a:gd name="connsiteY23" fmla="*/ 19050 h 127635"/>
                          <a:gd name="connsiteX24" fmla="*/ 41910 w 104775"/>
                          <a:gd name="connsiteY24" fmla="*/ 30480 h 127635"/>
                          <a:gd name="connsiteX25" fmla="*/ 40005 w 104775"/>
                          <a:gd name="connsiteY25" fmla="*/ 43815 h 127635"/>
                          <a:gd name="connsiteX26" fmla="*/ 28575 w 104775"/>
                          <a:gd name="connsiteY26" fmla="*/ 49530 h 127635"/>
                          <a:gd name="connsiteX27" fmla="*/ 3810 w 104775"/>
                          <a:gd name="connsiteY27" fmla="*/ 51435 h 127635"/>
                          <a:gd name="connsiteX28" fmla="*/ 1905 w 104775"/>
                          <a:gd name="connsiteY28" fmla="*/ 59055 h 127635"/>
                          <a:gd name="connsiteX29" fmla="*/ 0 w 104775"/>
                          <a:gd name="connsiteY29" fmla="*/ 64770 h 127635"/>
                          <a:gd name="connsiteX30" fmla="*/ 5715 w 104775"/>
                          <a:gd name="connsiteY30" fmla="*/ 78105 h 127635"/>
                          <a:gd name="connsiteX31" fmla="*/ 5715 w 104775"/>
                          <a:gd name="connsiteY31" fmla="*/ 81915 h 127635"/>
                          <a:gd name="connsiteX32" fmla="*/ 5715 w 104775"/>
                          <a:gd name="connsiteY32" fmla="*/ 87630 h 127635"/>
                          <a:gd name="connsiteX0" fmla="*/ 57150 w 104775"/>
                          <a:gd name="connsiteY0" fmla="*/ 76200 h 127635"/>
                          <a:gd name="connsiteX1" fmla="*/ 24765 w 104775"/>
                          <a:gd name="connsiteY1" fmla="*/ 80010 h 127635"/>
                          <a:gd name="connsiteX2" fmla="*/ 19050 w 104775"/>
                          <a:gd name="connsiteY2" fmla="*/ 83820 h 127635"/>
                          <a:gd name="connsiteX3" fmla="*/ 19050 w 104775"/>
                          <a:gd name="connsiteY3" fmla="*/ 106680 h 127635"/>
                          <a:gd name="connsiteX4" fmla="*/ 24765 w 104775"/>
                          <a:gd name="connsiteY4" fmla="*/ 110490 h 127635"/>
                          <a:gd name="connsiteX5" fmla="*/ 28575 w 104775"/>
                          <a:gd name="connsiteY5" fmla="*/ 116205 h 127635"/>
                          <a:gd name="connsiteX6" fmla="*/ 32385 w 104775"/>
                          <a:gd name="connsiteY6" fmla="*/ 127635 h 127635"/>
                          <a:gd name="connsiteX7" fmla="*/ 81915 w 104775"/>
                          <a:gd name="connsiteY7" fmla="*/ 125730 h 127635"/>
                          <a:gd name="connsiteX8" fmla="*/ 87630 w 104775"/>
                          <a:gd name="connsiteY8" fmla="*/ 123825 h 127635"/>
                          <a:gd name="connsiteX9" fmla="*/ 89535 w 104775"/>
                          <a:gd name="connsiteY9" fmla="*/ 118110 h 127635"/>
                          <a:gd name="connsiteX10" fmla="*/ 93345 w 104775"/>
                          <a:gd name="connsiteY10" fmla="*/ 112395 h 127635"/>
                          <a:gd name="connsiteX11" fmla="*/ 95250 w 104775"/>
                          <a:gd name="connsiteY11" fmla="*/ 99060 h 127635"/>
                          <a:gd name="connsiteX12" fmla="*/ 100965 w 104775"/>
                          <a:gd name="connsiteY12" fmla="*/ 95250 h 127635"/>
                          <a:gd name="connsiteX13" fmla="*/ 104775 w 104775"/>
                          <a:gd name="connsiteY13" fmla="*/ 83820 h 127635"/>
                          <a:gd name="connsiteX14" fmla="*/ 100965 w 104775"/>
                          <a:gd name="connsiteY14" fmla="*/ 57150 h 127635"/>
                          <a:gd name="connsiteX15" fmla="*/ 99060 w 104775"/>
                          <a:gd name="connsiteY15" fmla="*/ 49530 h 127635"/>
                          <a:gd name="connsiteX16" fmla="*/ 95250 w 104775"/>
                          <a:gd name="connsiteY16" fmla="*/ 43815 h 127635"/>
                          <a:gd name="connsiteX17" fmla="*/ 91440 w 104775"/>
                          <a:gd name="connsiteY17" fmla="*/ 32385 h 127635"/>
                          <a:gd name="connsiteX18" fmla="*/ 81915 w 104775"/>
                          <a:gd name="connsiteY18" fmla="*/ 15240 h 127635"/>
                          <a:gd name="connsiteX19" fmla="*/ 70485 w 104775"/>
                          <a:gd name="connsiteY19" fmla="*/ 3810 h 127635"/>
                          <a:gd name="connsiteX20" fmla="*/ 59055 w 104775"/>
                          <a:gd name="connsiteY20" fmla="*/ 0 h 127635"/>
                          <a:gd name="connsiteX21" fmla="*/ 45720 w 104775"/>
                          <a:gd name="connsiteY21" fmla="*/ 1905 h 127635"/>
                          <a:gd name="connsiteX22" fmla="*/ 43815 w 104775"/>
                          <a:gd name="connsiteY22" fmla="*/ 19050 h 127635"/>
                          <a:gd name="connsiteX23" fmla="*/ 41910 w 104775"/>
                          <a:gd name="connsiteY23" fmla="*/ 30480 h 127635"/>
                          <a:gd name="connsiteX24" fmla="*/ 40005 w 104775"/>
                          <a:gd name="connsiteY24" fmla="*/ 43815 h 127635"/>
                          <a:gd name="connsiteX25" fmla="*/ 28575 w 104775"/>
                          <a:gd name="connsiteY25" fmla="*/ 49530 h 127635"/>
                          <a:gd name="connsiteX26" fmla="*/ 3810 w 104775"/>
                          <a:gd name="connsiteY26" fmla="*/ 51435 h 127635"/>
                          <a:gd name="connsiteX27" fmla="*/ 1905 w 104775"/>
                          <a:gd name="connsiteY27" fmla="*/ 59055 h 127635"/>
                          <a:gd name="connsiteX28" fmla="*/ 0 w 104775"/>
                          <a:gd name="connsiteY28" fmla="*/ 64770 h 127635"/>
                          <a:gd name="connsiteX29" fmla="*/ 5715 w 104775"/>
                          <a:gd name="connsiteY29" fmla="*/ 78105 h 127635"/>
                          <a:gd name="connsiteX30" fmla="*/ 5715 w 104775"/>
                          <a:gd name="connsiteY30" fmla="*/ 81915 h 127635"/>
                          <a:gd name="connsiteX31" fmla="*/ 5715 w 104775"/>
                          <a:gd name="connsiteY31" fmla="*/ 87630 h 127635"/>
                          <a:gd name="connsiteX0" fmla="*/ 24765 w 104775"/>
                          <a:gd name="connsiteY0" fmla="*/ 80010 h 127635"/>
                          <a:gd name="connsiteX1" fmla="*/ 19050 w 104775"/>
                          <a:gd name="connsiteY1" fmla="*/ 83820 h 127635"/>
                          <a:gd name="connsiteX2" fmla="*/ 19050 w 104775"/>
                          <a:gd name="connsiteY2" fmla="*/ 106680 h 127635"/>
                          <a:gd name="connsiteX3" fmla="*/ 24765 w 104775"/>
                          <a:gd name="connsiteY3" fmla="*/ 110490 h 127635"/>
                          <a:gd name="connsiteX4" fmla="*/ 28575 w 104775"/>
                          <a:gd name="connsiteY4" fmla="*/ 116205 h 127635"/>
                          <a:gd name="connsiteX5" fmla="*/ 32385 w 104775"/>
                          <a:gd name="connsiteY5" fmla="*/ 127635 h 127635"/>
                          <a:gd name="connsiteX6" fmla="*/ 81915 w 104775"/>
                          <a:gd name="connsiteY6" fmla="*/ 125730 h 127635"/>
                          <a:gd name="connsiteX7" fmla="*/ 87630 w 104775"/>
                          <a:gd name="connsiteY7" fmla="*/ 123825 h 127635"/>
                          <a:gd name="connsiteX8" fmla="*/ 89535 w 104775"/>
                          <a:gd name="connsiteY8" fmla="*/ 118110 h 127635"/>
                          <a:gd name="connsiteX9" fmla="*/ 93345 w 104775"/>
                          <a:gd name="connsiteY9" fmla="*/ 112395 h 127635"/>
                          <a:gd name="connsiteX10" fmla="*/ 95250 w 104775"/>
                          <a:gd name="connsiteY10" fmla="*/ 99060 h 127635"/>
                          <a:gd name="connsiteX11" fmla="*/ 100965 w 104775"/>
                          <a:gd name="connsiteY11" fmla="*/ 95250 h 127635"/>
                          <a:gd name="connsiteX12" fmla="*/ 104775 w 104775"/>
                          <a:gd name="connsiteY12" fmla="*/ 83820 h 127635"/>
                          <a:gd name="connsiteX13" fmla="*/ 100965 w 104775"/>
                          <a:gd name="connsiteY13" fmla="*/ 57150 h 127635"/>
                          <a:gd name="connsiteX14" fmla="*/ 99060 w 104775"/>
                          <a:gd name="connsiteY14" fmla="*/ 49530 h 127635"/>
                          <a:gd name="connsiteX15" fmla="*/ 95250 w 104775"/>
                          <a:gd name="connsiteY15" fmla="*/ 43815 h 127635"/>
                          <a:gd name="connsiteX16" fmla="*/ 91440 w 104775"/>
                          <a:gd name="connsiteY16" fmla="*/ 32385 h 127635"/>
                          <a:gd name="connsiteX17" fmla="*/ 81915 w 104775"/>
                          <a:gd name="connsiteY17" fmla="*/ 15240 h 127635"/>
                          <a:gd name="connsiteX18" fmla="*/ 70485 w 104775"/>
                          <a:gd name="connsiteY18" fmla="*/ 3810 h 127635"/>
                          <a:gd name="connsiteX19" fmla="*/ 59055 w 104775"/>
                          <a:gd name="connsiteY19" fmla="*/ 0 h 127635"/>
                          <a:gd name="connsiteX20" fmla="*/ 45720 w 104775"/>
                          <a:gd name="connsiteY20" fmla="*/ 1905 h 127635"/>
                          <a:gd name="connsiteX21" fmla="*/ 43815 w 104775"/>
                          <a:gd name="connsiteY21" fmla="*/ 19050 h 127635"/>
                          <a:gd name="connsiteX22" fmla="*/ 41910 w 104775"/>
                          <a:gd name="connsiteY22" fmla="*/ 30480 h 127635"/>
                          <a:gd name="connsiteX23" fmla="*/ 40005 w 104775"/>
                          <a:gd name="connsiteY23" fmla="*/ 43815 h 127635"/>
                          <a:gd name="connsiteX24" fmla="*/ 28575 w 104775"/>
                          <a:gd name="connsiteY24" fmla="*/ 49530 h 127635"/>
                          <a:gd name="connsiteX25" fmla="*/ 3810 w 104775"/>
                          <a:gd name="connsiteY25" fmla="*/ 51435 h 127635"/>
                          <a:gd name="connsiteX26" fmla="*/ 1905 w 104775"/>
                          <a:gd name="connsiteY26" fmla="*/ 59055 h 127635"/>
                          <a:gd name="connsiteX27" fmla="*/ 0 w 104775"/>
                          <a:gd name="connsiteY27" fmla="*/ 64770 h 127635"/>
                          <a:gd name="connsiteX28" fmla="*/ 5715 w 104775"/>
                          <a:gd name="connsiteY28" fmla="*/ 78105 h 127635"/>
                          <a:gd name="connsiteX29" fmla="*/ 5715 w 104775"/>
                          <a:gd name="connsiteY29" fmla="*/ 81915 h 127635"/>
                          <a:gd name="connsiteX30" fmla="*/ 5715 w 104775"/>
                          <a:gd name="connsiteY30" fmla="*/ 87630 h 127635"/>
                          <a:gd name="connsiteX0" fmla="*/ 24765 w 104775"/>
                          <a:gd name="connsiteY0" fmla="*/ 80010 h 127635"/>
                          <a:gd name="connsiteX1" fmla="*/ 19050 w 104775"/>
                          <a:gd name="connsiteY1" fmla="*/ 106680 h 127635"/>
                          <a:gd name="connsiteX2" fmla="*/ 24765 w 104775"/>
                          <a:gd name="connsiteY2" fmla="*/ 110490 h 127635"/>
                          <a:gd name="connsiteX3" fmla="*/ 28575 w 104775"/>
                          <a:gd name="connsiteY3" fmla="*/ 116205 h 127635"/>
                          <a:gd name="connsiteX4" fmla="*/ 32385 w 104775"/>
                          <a:gd name="connsiteY4" fmla="*/ 127635 h 127635"/>
                          <a:gd name="connsiteX5" fmla="*/ 81915 w 104775"/>
                          <a:gd name="connsiteY5" fmla="*/ 125730 h 127635"/>
                          <a:gd name="connsiteX6" fmla="*/ 87630 w 104775"/>
                          <a:gd name="connsiteY6" fmla="*/ 123825 h 127635"/>
                          <a:gd name="connsiteX7" fmla="*/ 89535 w 104775"/>
                          <a:gd name="connsiteY7" fmla="*/ 118110 h 127635"/>
                          <a:gd name="connsiteX8" fmla="*/ 93345 w 104775"/>
                          <a:gd name="connsiteY8" fmla="*/ 112395 h 127635"/>
                          <a:gd name="connsiteX9" fmla="*/ 95250 w 104775"/>
                          <a:gd name="connsiteY9" fmla="*/ 99060 h 127635"/>
                          <a:gd name="connsiteX10" fmla="*/ 100965 w 104775"/>
                          <a:gd name="connsiteY10" fmla="*/ 95250 h 127635"/>
                          <a:gd name="connsiteX11" fmla="*/ 104775 w 104775"/>
                          <a:gd name="connsiteY11" fmla="*/ 83820 h 127635"/>
                          <a:gd name="connsiteX12" fmla="*/ 100965 w 104775"/>
                          <a:gd name="connsiteY12" fmla="*/ 57150 h 127635"/>
                          <a:gd name="connsiteX13" fmla="*/ 99060 w 104775"/>
                          <a:gd name="connsiteY13" fmla="*/ 49530 h 127635"/>
                          <a:gd name="connsiteX14" fmla="*/ 95250 w 104775"/>
                          <a:gd name="connsiteY14" fmla="*/ 43815 h 127635"/>
                          <a:gd name="connsiteX15" fmla="*/ 91440 w 104775"/>
                          <a:gd name="connsiteY15" fmla="*/ 32385 h 127635"/>
                          <a:gd name="connsiteX16" fmla="*/ 81915 w 104775"/>
                          <a:gd name="connsiteY16" fmla="*/ 15240 h 127635"/>
                          <a:gd name="connsiteX17" fmla="*/ 70485 w 104775"/>
                          <a:gd name="connsiteY17" fmla="*/ 3810 h 127635"/>
                          <a:gd name="connsiteX18" fmla="*/ 59055 w 104775"/>
                          <a:gd name="connsiteY18" fmla="*/ 0 h 127635"/>
                          <a:gd name="connsiteX19" fmla="*/ 45720 w 104775"/>
                          <a:gd name="connsiteY19" fmla="*/ 1905 h 127635"/>
                          <a:gd name="connsiteX20" fmla="*/ 43815 w 104775"/>
                          <a:gd name="connsiteY20" fmla="*/ 19050 h 127635"/>
                          <a:gd name="connsiteX21" fmla="*/ 41910 w 104775"/>
                          <a:gd name="connsiteY21" fmla="*/ 30480 h 127635"/>
                          <a:gd name="connsiteX22" fmla="*/ 40005 w 104775"/>
                          <a:gd name="connsiteY22" fmla="*/ 43815 h 127635"/>
                          <a:gd name="connsiteX23" fmla="*/ 28575 w 104775"/>
                          <a:gd name="connsiteY23" fmla="*/ 49530 h 127635"/>
                          <a:gd name="connsiteX24" fmla="*/ 3810 w 104775"/>
                          <a:gd name="connsiteY24" fmla="*/ 51435 h 127635"/>
                          <a:gd name="connsiteX25" fmla="*/ 1905 w 104775"/>
                          <a:gd name="connsiteY25" fmla="*/ 59055 h 127635"/>
                          <a:gd name="connsiteX26" fmla="*/ 0 w 104775"/>
                          <a:gd name="connsiteY26" fmla="*/ 64770 h 127635"/>
                          <a:gd name="connsiteX27" fmla="*/ 5715 w 104775"/>
                          <a:gd name="connsiteY27" fmla="*/ 78105 h 127635"/>
                          <a:gd name="connsiteX28" fmla="*/ 5715 w 104775"/>
                          <a:gd name="connsiteY28" fmla="*/ 81915 h 127635"/>
                          <a:gd name="connsiteX29" fmla="*/ 5715 w 104775"/>
                          <a:gd name="connsiteY29" fmla="*/ 8763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5715 w 104775"/>
                          <a:gd name="connsiteY28" fmla="*/ 8763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17145 w 104775"/>
                          <a:gd name="connsiteY28" fmla="*/ 11049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17145 w 104775"/>
                          <a:gd name="connsiteY28" fmla="*/ 110490 h 127635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81915 w 104775"/>
                          <a:gd name="connsiteY15" fmla="*/ 16019 h 128414"/>
                          <a:gd name="connsiteX16" fmla="*/ 70485 w 104775"/>
                          <a:gd name="connsiteY16" fmla="*/ 4589 h 128414"/>
                          <a:gd name="connsiteX17" fmla="*/ 59055 w 104775"/>
                          <a:gd name="connsiteY17" fmla="*/ 779 h 128414"/>
                          <a:gd name="connsiteX18" fmla="*/ 45720 w 104775"/>
                          <a:gd name="connsiteY18" fmla="*/ 2684 h 128414"/>
                          <a:gd name="connsiteX19" fmla="*/ 41910 w 104775"/>
                          <a:gd name="connsiteY19" fmla="*/ 31259 h 128414"/>
                          <a:gd name="connsiteX20" fmla="*/ 40005 w 104775"/>
                          <a:gd name="connsiteY20" fmla="*/ 44594 h 128414"/>
                          <a:gd name="connsiteX21" fmla="*/ 28575 w 104775"/>
                          <a:gd name="connsiteY21" fmla="*/ 50309 h 128414"/>
                          <a:gd name="connsiteX22" fmla="*/ 3810 w 104775"/>
                          <a:gd name="connsiteY22" fmla="*/ 52214 h 128414"/>
                          <a:gd name="connsiteX23" fmla="*/ 1905 w 104775"/>
                          <a:gd name="connsiteY23" fmla="*/ 59834 h 128414"/>
                          <a:gd name="connsiteX24" fmla="*/ 0 w 104775"/>
                          <a:gd name="connsiteY24" fmla="*/ 65549 h 128414"/>
                          <a:gd name="connsiteX25" fmla="*/ 5715 w 104775"/>
                          <a:gd name="connsiteY25" fmla="*/ 78884 h 128414"/>
                          <a:gd name="connsiteX26" fmla="*/ 5715 w 104775"/>
                          <a:gd name="connsiteY26" fmla="*/ 82694 h 128414"/>
                          <a:gd name="connsiteX27" fmla="*/ 17145 w 104775"/>
                          <a:gd name="connsiteY27" fmla="*/ 111269 h 128414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70485 w 104775"/>
                          <a:gd name="connsiteY15" fmla="*/ 4589 h 128414"/>
                          <a:gd name="connsiteX16" fmla="*/ 59055 w 104775"/>
                          <a:gd name="connsiteY16" fmla="*/ 779 h 128414"/>
                          <a:gd name="connsiteX17" fmla="*/ 45720 w 104775"/>
                          <a:gd name="connsiteY17" fmla="*/ 2684 h 128414"/>
                          <a:gd name="connsiteX18" fmla="*/ 41910 w 104775"/>
                          <a:gd name="connsiteY18" fmla="*/ 31259 h 128414"/>
                          <a:gd name="connsiteX19" fmla="*/ 40005 w 104775"/>
                          <a:gd name="connsiteY19" fmla="*/ 44594 h 128414"/>
                          <a:gd name="connsiteX20" fmla="*/ 28575 w 104775"/>
                          <a:gd name="connsiteY20" fmla="*/ 50309 h 128414"/>
                          <a:gd name="connsiteX21" fmla="*/ 3810 w 104775"/>
                          <a:gd name="connsiteY21" fmla="*/ 52214 h 128414"/>
                          <a:gd name="connsiteX22" fmla="*/ 1905 w 104775"/>
                          <a:gd name="connsiteY22" fmla="*/ 59834 h 128414"/>
                          <a:gd name="connsiteX23" fmla="*/ 0 w 104775"/>
                          <a:gd name="connsiteY23" fmla="*/ 65549 h 128414"/>
                          <a:gd name="connsiteX24" fmla="*/ 5715 w 104775"/>
                          <a:gd name="connsiteY24" fmla="*/ 78884 h 128414"/>
                          <a:gd name="connsiteX25" fmla="*/ 5715 w 104775"/>
                          <a:gd name="connsiteY25" fmla="*/ 82694 h 128414"/>
                          <a:gd name="connsiteX26" fmla="*/ 17145 w 104775"/>
                          <a:gd name="connsiteY26" fmla="*/ 111269 h 128414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70485 w 104775"/>
                          <a:gd name="connsiteY15" fmla="*/ 4589 h 128414"/>
                          <a:gd name="connsiteX16" fmla="*/ 59055 w 104775"/>
                          <a:gd name="connsiteY16" fmla="*/ 779 h 128414"/>
                          <a:gd name="connsiteX17" fmla="*/ 45720 w 104775"/>
                          <a:gd name="connsiteY17" fmla="*/ 2684 h 128414"/>
                          <a:gd name="connsiteX18" fmla="*/ 41910 w 104775"/>
                          <a:gd name="connsiteY18" fmla="*/ 31259 h 128414"/>
                          <a:gd name="connsiteX19" fmla="*/ 40005 w 104775"/>
                          <a:gd name="connsiteY19" fmla="*/ 44594 h 128414"/>
                          <a:gd name="connsiteX20" fmla="*/ 3810 w 104775"/>
                          <a:gd name="connsiteY20" fmla="*/ 52214 h 128414"/>
                          <a:gd name="connsiteX21" fmla="*/ 1905 w 104775"/>
                          <a:gd name="connsiteY21" fmla="*/ 59834 h 128414"/>
                          <a:gd name="connsiteX22" fmla="*/ 0 w 104775"/>
                          <a:gd name="connsiteY22" fmla="*/ 65549 h 128414"/>
                          <a:gd name="connsiteX23" fmla="*/ 5715 w 104775"/>
                          <a:gd name="connsiteY23" fmla="*/ 78884 h 128414"/>
                          <a:gd name="connsiteX24" fmla="*/ 5715 w 104775"/>
                          <a:gd name="connsiteY24" fmla="*/ 82694 h 128414"/>
                          <a:gd name="connsiteX25" fmla="*/ 17145 w 104775"/>
                          <a:gd name="connsiteY25" fmla="*/ 111269 h 128414"/>
                          <a:gd name="connsiteX0" fmla="*/ 19050 w 104775"/>
                          <a:gd name="connsiteY0" fmla="*/ 107492 h 128447"/>
                          <a:gd name="connsiteX1" fmla="*/ 24765 w 104775"/>
                          <a:gd name="connsiteY1" fmla="*/ 111302 h 128447"/>
                          <a:gd name="connsiteX2" fmla="*/ 28575 w 104775"/>
                          <a:gd name="connsiteY2" fmla="*/ 117017 h 128447"/>
                          <a:gd name="connsiteX3" fmla="*/ 32385 w 104775"/>
                          <a:gd name="connsiteY3" fmla="*/ 128447 h 128447"/>
                          <a:gd name="connsiteX4" fmla="*/ 81915 w 104775"/>
                          <a:gd name="connsiteY4" fmla="*/ 126542 h 128447"/>
                          <a:gd name="connsiteX5" fmla="*/ 87630 w 104775"/>
                          <a:gd name="connsiteY5" fmla="*/ 124637 h 128447"/>
                          <a:gd name="connsiteX6" fmla="*/ 89535 w 104775"/>
                          <a:gd name="connsiteY6" fmla="*/ 118922 h 128447"/>
                          <a:gd name="connsiteX7" fmla="*/ 93345 w 104775"/>
                          <a:gd name="connsiteY7" fmla="*/ 113207 h 128447"/>
                          <a:gd name="connsiteX8" fmla="*/ 95250 w 104775"/>
                          <a:gd name="connsiteY8" fmla="*/ 99872 h 128447"/>
                          <a:gd name="connsiteX9" fmla="*/ 100965 w 104775"/>
                          <a:gd name="connsiteY9" fmla="*/ 96062 h 128447"/>
                          <a:gd name="connsiteX10" fmla="*/ 104775 w 104775"/>
                          <a:gd name="connsiteY10" fmla="*/ 84632 h 128447"/>
                          <a:gd name="connsiteX11" fmla="*/ 100965 w 104775"/>
                          <a:gd name="connsiteY11" fmla="*/ 57962 h 128447"/>
                          <a:gd name="connsiteX12" fmla="*/ 99060 w 104775"/>
                          <a:gd name="connsiteY12" fmla="*/ 50342 h 128447"/>
                          <a:gd name="connsiteX13" fmla="*/ 95250 w 104775"/>
                          <a:gd name="connsiteY13" fmla="*/ 44627 h 128447"/>
                          <a:gd name="connsiteX14" fmla="*/ 91440 w 104775"/>
                          <a:gd name="connsiteY14" fmla="*/ 33197 h 128447"/>
                          <a:gd name="connsiteX15" fmla="*/ 70485 w 104775"/>
                          <a:gd name="connsiteY15" fmla="*/ 4622 h 128447"/>
                          <a:gd name="connsiteX16" fmla="*/ 45720 w 104775"/>
                          <a:gd name="connsiteY16" fmla="*/ 2717 h 128447"/>
                          <a:gd name="connsiteX17" fmla="*/ 41910 w 104775"/>
                          <a:gd name="connsiteY17" fmla="*/ 31292 h 128447"/>
                          <a:gd name="connsiteX18" fmla="*/ 40005 w 104775"/>
                          <a:gd name="connsiteY18" fmla="*/ 44627 h 128447"/>
                          <a:gd name="connsiteX19" fmla="*/ 3810 w 104775"/>
                          <a:gd name="connsiteY19" fmla="*/ 52247 h 128447"/>
                          <a:gd name="connsiteX20" fmla="*/ 1905 w 104775"/>
                          <a:gd name="connsiteY20" fmla="*/ 59867 h 128447"/>
                          <a:gd name="connsiteX21" fmla="*/ 0 w 104775"/>
                          <a:gd name="connsiteY21" fmla="*/ 65582 h 128447"/>
                          <a:gd name="connsiteX22" fmla="*/ 5715 w 104775"/>
                          <a:gd name="connsiteY22" fmla="*/ 78917 h 128447"/>
                          <a:gd name="connsiteX23" fmla="*/ 5715 w 104775"/>
                          <a:gd name="connsiteY23" fmla="*/ 82727 h 128447"/>
                          <a:gd name="connsiteX24" fmla="*/ 17145 w 104775"/>
                          <a:gd name="connsiteY24" fmla="*/ 111302 h 128447"/>
                          <a:gd name="connsiteX0" fmla="*/ 19050 w 104775"/>
                          <a:gd name="connsiteY0" fmla="*/ 102874 h 123829"/>
                          <a:gd name="connsiteX1" fmla="*/ 24765 w 104775"/>
                          <a:gd name="connsiteY1" fmla="*/ 106684 h 123829"/>
                          <a:gd name="connsiteX2" fmla="*/ 28575 w 104775"/>
                          <a:gd name="connsiteY2" fmla="*/ 112399 h 123829"/>
                          <a:gd name="connsiteX3" fmla="*/ 32385 w 104775"/>
                          <a:gd name="connsiteY3" fmla="*/ 123829 h 123829"/>
                          <a:gd name="connsiteX4" fmla="*/ 81915 w 104775"/>
                          <a:gd name="connsiteY4" fmla="*/ 121924 h 123829"/>
                          <a:gd name="connsiteX5" fmla="*/ 87630 w 104775"/>
                          <a:gd name="connsiteY5" fmla="*/ 120019 h 123829"/>
                          <a:gd name="connsiteX6" fmla="*/ 89535 w 104775"/>
                          <a:gd name="connsiteY6" fmla="*/ 114304 h 123829"/>
                          <a:gd name="connsiteX7" fmla="*/ 93345 w 104775"/>
                          <a:gd name="connsiteY7" fmla="*/ 108589 h 123829"/>
                          <a:gd name="connsiteX8" fmla="*/ 95250 w 104775"/>
                          <a:gd name="connsiteY8" fmla="*/ 95254 h 123829"/>
                          <a:gd name="connsiteX9" fmla="*/ 100965 w 104775"/>
                          <a:gd name="connsiteY9" fmla="*/ 91444 h 123829"/>
                          <a:gd name="connsiteX10" fmla="*/ 104775 w 104775"/>
                          <a:gd name="connsiteY10" fmla="*/ 80014 h 123829"/>
                          <a:gd name="connsiteX11" fmla="*/ 100965 w 104775"/>
                          <a:gd name="connsiteY11" fmla="*/ 53344 h 123829"/>
                          <a:gd name="connsiteX12" fmla="*/ 99060 w 104775"/>
                          <a:gd name="connsiteY12" fmla="*/ 45724 h 123829"/>
                          <a:gd name="connsiteX13" fmla="*/ 95250 w 104775"/>
                          <a:gd name="connsiteY13" fmla="*/ 40009 h 123829"/>
                          <a:gd name="connsiteX14" fmla="*/ 91440 w 104775"/>
                          <a:gd name="connsiteY14" fmla="*/ 28579 h 123829"/>
                          <a:gd name="connsiteX15" fmla="*/ 70485 w 104775"/>
                          <a:gd name="connsiteY15" fmla="*/ 4 h 123829"/>
                          <a:gd name="connsiteX16" fmla="*/ 41910 w 104775"/>
                          <a:gd name="connsiteY16" fmla="*/ 26674 h 123829"/>
                          <a:gd name="connsiteX17" fmla="*/ 40005 w 104775"/>
                          <a:gd name="connsiteY17" fmla="*/ 40009 h 123829"/>
                          <a:gd name="connsiteX18" fmla="*/ 3810 w 104775"/>
                          <a:gd name="connsiteY18" fmla="*/ 47629 h 123829"/>
                          <a:gd name="connsiteX19" fmla="*/ 1905 w 104775"/>
                          <a:gd name="connsiteY19" fmla="*/ 55249 h 123829"/>
                          <a:gd name="connsiteX20" fmla="*/ 0 w 104775"/>
                          <a:gd name="connsiteY20" fmla="*/ 60964 h 123829"/>
                          <a:gd name="connsiteX21" fmla="*/ 5715 w 104775"/>
                          <a:gd name="connsiteY21" fmla="*/ 74299 h 123829"/>
                          <a:gd name="connsiteX22" fmla="*/ 5715 w 104775"/>
                          <a:gd name="connsiteY22" fmla="*/ 78109 h 123829"/>
                          <a:gd name="connsiteX23" fmla="*/ 17145 w 104775"/>
                          <a:gd name="connsiteY23" fmla="*/ 106684 h 123829"/>
                          <a:gd name="connsiteX0" fmla="*/ 19050 w 104775"/>
                          <a:gd name="connsiteY0" fmla="*/ 77050 h 98005"/>
                          <a:gd name="connsiteX1" fmla="*/ 24765 w 104775"/>
                          <a:gd name="connsiteY1" fmla="*/ 80860 h 98005"/>
                          <a:gd name="connsiteX2" fmla="*/ 28575 w 104775"/>
                          <a:gd name="connsiteY2" fmla="*/ 86575 h 98005"/>
                          <a:gd name="connsiteX3" fmla="*/ 32385 w 104775"/>
                          <a:gd name="connsiteY3" fmla="*/ 98005 h 98005"/>
                          <a:gd name="connsiteX4" fmla="*/ 81915 w 104775"/>
                          <a:gd name="connsiteY4" fmla="*/ 96100 h 98005"/>
                          <a:gd name="connsiteX5" fmla="*/ 87630 w 104775"/>
                          <a:gd name="connsiteY5" fmla="*/ 94195 h 98005"/>
                          <a:gd name="connsiteX6" fmla="*/ 89535 w 104775"/>
                          <a:gd name="connsiteY6" fmla="*/ 88480 h 98005"/>
                          <a:gd name="connsiteX7" fmla="*/ 93345 w 104775"/>
                          <a:gd name="connsiteY7" fmla="*/ 82765 h 98005"/>
                          <a:gd name="connsiteX8" fmla="*/ 95250 w 104775"/>
                          <a:gd name="connsiteY8" fmla="*/ 69430 h 98005"/>
                          <a:gd name="connsiteX9" fmla="*/ 100965 w 104775"/>
                          <a:gd name="connsiteY9" fmla="*/ 65620 h 98005"/>
                          <a:gd name="connsiteX10" fmla="*/ 104775 w 104775"/>
                          <a:gd name="connsiteY10" fmla="*/ 54190 h 98005"/>
                          <a:gd name="connsiteX11" fmla="*/ 100965 w 104775"/>
                          <a:gd name="connsiteY11" fmla="*/ 27520 h 98005"/>
                          <a:gd name="connsiteX12" fmla="*/ 99060 w 104775"/>
                          <a:gd name="connsiteY12" fmla="*/ 19900 h 98005"/>
                          <a:gd name="connsiteX13" fmla="*/ 95250 w 104775"/>
                          <a:gd name="connsiteY13" fmla="*/ 14185 h 98005"/>
                          <a:gd name="connsiteX14" fmla="*/ 91440 w 104775"/>
                          <a:gd name="connsiteY14" fmla="*/ 2755 h 98005"/>
                          <a:gd name="connsiteX15" fmla="*/ 41910 w 104775"/>
                          <a:gd name="connsiteY15" fmla="*/ 850 h 98005"/>
                          <a:gd name="connsiteX16" fmla="*/ 40005 w 104775"/>
                          <a:gd name="connsiteY16" fmla="*/ 14185 h 98005"/>
                          <a:gd name="connsiteX17" fmla="*/ 3810 w 104775"/>
                          <a:gd name="connsiteY17" fmla="*/ 21805 h 98005"/>
                          <a:gd name="connsiteX18" fmla="*/ 1905 w 104775"/>
                          <a:gd name="connsiteY18" fmla="*/ 29425 h 98005"/>
                          <a:gd name="connsiteX19" fmla="*/ 0 w 104775"/>
                          <a:gd name="connsiteY19" fmla="*/ 35140 h 98005"/>
                          <a:gd name="connsiteX20" fmla="*/ 5715 w 104775"/>
                          <a:gd name="connsiteY20" fmla="*/ 48475 h 98005"/>
                          <a:gd name="connsiteX21" fmla="*/ 5715 w 104775"/>
                          <a:gd name="connsiteY21" fmla="*/ 52285 h 98005"/>
                          <a:gd name="connsiteX22" fmla="*/ 17145 w 104775"/>
                          <a:gd name="connsiteY22" fmla="*/ 80860 h 98005"/>
                          <a:gd name="connsiteX0" fmla="*/ 19050 w 104775"/>
                          <a:gd name="connsiteY0" fmla="*/ 76200 h 97155"/>
                          <a:gd name="connsiteX1" fmla="*/ 24765 w 104775"/>
                          <a:gd name="connsiteY1" fmla="*/ 80010 h 97155"/>
                          <a:gd name="connsiteX2" fmla="*/ 28575 w 104775"/>
                          <a:gd name="connsiteY2" fmla="*/ 85725 h 97155"/>
                          <a:gd name="connsiteX3" fmla="*/ 32385 w 104775"/>
                          <a:gd name="connsiteY3" fmla="*/ 97155 h 97155"/>
                          <a:gd name="connsiteX4" fmla="*/ 81915 w 104775"/>
                          <a:gd name="connsiteY4" fmla="*/ 95250 h 97155"/>
                          <a:gd name="connsiteX5" fmla="*/ 87630 w 104775"/>
                          <a:gd name="connsiteY5" fmla="*/ 93345 h 97155"/>
                          <a:gd name="connsiteX6" fmla="*/ 89535 w 104775"/>
                          <a:gd name="connsiteY6" fmla="*/ 87630 h 97155"/>
                          <a:gd name="connsiteX7" fmla="*/ 93345 w 104775"/>
                          <a:gd name="connsiteY7" fmla="*/ 81915 h 97155"/>
                          <a:gd name="connsiteX8" fmla="*/ 95250 w 104775"/>
                          <a:gd name="connsiteY8" fmla="*/ 68580 h 97155"/>
                          <a:gd name="connsiteX9" fmla="*/ 100965 w 104775"/>
                          <a:gd name="connsiteY9" fmla="*/ 64770 h 97155"/>
                          <a:gd name="connsiteX10" fmla="*/ 104775 w 104775"/>
                          <a:gd name="connsiteY10" fmla="*/ 53340 h 97155"/>
                          <a:gd name="connsiteX11" fmla="*/ 100965 w 104775"/>
                          <a:gd name="connsiteY11" fmla="*/ 26670 h 97155"/>
                          <a:gd name="connsiteX12" fmla="*/ 99060 w 104775"/>
                          <a:gd name="connsiteY12" fmla="*/ 19050 h 97155"/>
                          <a:gd name="connsiteX13" fmla="*/ 95250 w 104775"/>
                          <a:gd name="connsiteY13" fmla="*/ 13335 h 97155"/>
                          <a:gd name="connsiteX14" fmla="*/ 41910 w 104775"/>
                          <a:gd name="connsiteY14" fmla="*/ 0 h 97155"/>
                          <a:gd name="connsiteX15" fmla="*/ 40005 w 104775"/>
                          <a:gd name="connsiteY15" fmla="*/ 13335 h 97155"/>
                          <a:gd name="connsiteX16" fmla="*/ 3810 w 104775"/>
                          <a:gd name="connsiteY16" fmla="*/ 20955 h 97155"/>
                          <a:gd name="connsiteX17" fmla="*/ 1905 w 104775"/>
                          <a:gd name="connsiteY17" fmla="*/ 28575 h 97155"/>
                          <a:gd name="connsiteX18" fmla="*/ 0 w 104775"/>
                          <a:gd name="connsiteY18" fmla="*/ 34290 h 97155"/>
                          <a:gd name="connsiteX19" fmla="*/ 5715 w 104775"/>
                          <a:gd name="connsiteY19" fmla="*/ 47625 h 97155"/>
                          <a:gd name="connsiteX20" fmla="*/ 5715 w 104775"/>
                          <a:gd name="connsiteY20" fmla="*/ 51435 h 97155"/>
                          <a:gd name="connsiteX21" fmla="*/ 17145 w 104775"/>
                          <a:gd name="connsiteY21" fmla="*/ 80010 h 97155"/>
                          <a:gd name="connsiteX0" fmla="*/ 19050 w 104775"/>
                          <a:gd name="connsiteY0" fmla="*/ 76298 h 97253"/>
                          <a:gd name="connsiteX1" fmla="*/ 24765 w 104775"/>
                          <a:gd name="connsiteY1" fmla="*/ 80108 h 97253"/>
                          <a:gd name="connsiteX2" fmla="*/ 28575 w 104775"/>
                          <a:gd name="connsiteY2" fmla="*/ 85823 h 97253"/>
                          <a:gd name="connsiteX3" fmla="*/ 32385 w 104775"/>
                          <a:gd name="connsiteY3" fmla="*/ 97253 h 97253"/>
                          <a:gd name="connsiteX4" fmla="*/ 81915 w 104775"/>
                          <a:gd name="connsiteY4" fmla="*/ 95348 h 97253"/>
                          <a:gd name="connsiteX5" fmla="*/ 87630 w 104775"/>
                          <a:gd name="connsiteY5" fmla="*/ 93443 h 97253"/>
                          <a:gd name="connsiteX6" fmla="*/ 89535 w 104775"/>
                          <a:gd name="connsiteY6" fmla="*/ 87728 h 97253"/>
                          <a:gd name="connsiteX7" fmla="*/ 93345 w 104775"/>
                          <a:gd name="connsiteY7" fmla="*/ 82013 h 97253"/>
                          <a:gd name="connsiteX8" fmla="*/ 95250 w 104775"/>
                          <a:gd name="connsiteY8" fmla="*/ 68678 h 97253"/>
                          <a:gd name="connsiteX9" fmla="*/ 100965 w 104775"/>
                          <a:gd name="connsiteY9" fmla="*/ 64868 h 97253"/>
                          <a:gd name="connsiteX10" fmla="*/ 104775 w 104775"/>
                          <a:gd name="connsiteY10" fmla="*/ 53438 h 97253"/>
                          <a:gd name="connsiteX11" fmla="*/ 100965 w 104775"/>
                          <a:gd name="connsiteY11" fmla="*/ 26768 h 97253"/>
                          <a:gd name="connsiteX12" fmla="*/ 99060 w 104775"/>
                          <a:gd name="connsiteY12" fmla="*/ 19148 h 97253"/>
                          <a:gd name="connsiteX13" fmla="*/ 95250 w 104775"/>
                          <a:gd name="connsiteY13" fmla="*/ 13433 h 97253"/>
                          <a:gd name="connsiteX14" fmla="*/ 41910 w 104775"/>
                          <a:gd name="connsiteY14" fmla="*/ 98 h 97253"/>
                          <a:gd name="connsiteX15" fmla="*/ 3810 w 104775"/>
                          <a:gd name="connsiteY15" fmla="*/ 21053 h 97253"/>
                          <a:gd name="connsiteX16" fmla="*/ 1905 w 104775"/>
                          <a:gd name="connsiteY16" fmla="*/ 28673 h 97253"/>
                          <a:gd name="connsiteX17" fmla="*/ 0 w 104775"/>
                          <a:gd name="connsiteY17" fmla="*/ 34388 h 97253"/>
                          <a:gd name="connsiteX18" fmla="*/ 5715 w 104775"/>
                          <a:gd name="connsiteY18" fmla="*/ 47723 h 97253"/>
                          <a:gd name="connsiteX19" fmla="*/ 5715 w 104775"/>
                          <a:gd name="connsiteY19" fmla="*/ 51533 h 97253"/>
                          <a:gd name="connsiteX20" fmla="*/ 17145 w 104775"/>
                          <a:gd name="connsiteY20" fmla="*/ 80108 h 97253"/>
                          <a:gd name="connsiteX0" fmla="*/ 19050 w 104775"/>
                          <a:gd name="connsiteY0" fmla="*/ 76205 h 97160"/>
                          <a:gd name="connsiteX1" fmla="*/ 24765 w 104775"/>
                          <a:gd name="connsiteY1" fmla="*/ 80015 h 97160"/>
                          <a:gd name="connsiteX2" fmla="*/ 28575 w 104775"/>
                          <a:gd name="connsiteY2" fmla="*/ 85730 h 97160"/>
                          <a:gd name="connsiteX3" fmla="*/ 32385 w 104775"/>
                          <a:gd name="connsiteY3" fmla="*/ 97160 h 97160"/>
                          <a:gd name="connsiteX4" fmla="*/ 81915 w 104775"/>
                          <a:gd name="connsiteY4" fmla="*/ 95255 h 97160"/>
                          <a:gd name="connsiteX5" fmla="*/ 87630 w 104775"/>
                          <a:gd name="connsiteY5" fmla="*/ 93350 h 97160"/>
                          <a:gd name="connsiteX6" fmla="*/ 89535 w 104775"/>
                          <a:gd name="connsiteY6" fmla="*/ 87635 h 97160"/>
                          <a:gd name="connsiteX7" fmla="*/ 93345 w 104775"/>
                          <a:gd name="connsiteY7" fmla="*/ 81920 h 97160"/>
                          <a:gd name="connsiteX8" fmla="*/ 95250 w 104775"/>
                          <a:gd name="connsiteY8" fmla="*/ 68585 h 97160"/>
                          <a:gd name="connsiteX9" fmla="*/ 100965 w 104775"/>
                          <a:gd name="connsiteY9" fmla="*/ 64775 h 97160"/>
                          <a:gd name="connsiteX10" fmla="*/ 104775 w 104775"/>
                          <a:gd name="connsiteY10" fmla="*/ 53345 h 97160"/>
                          <a:gd name="connsiteX11" fmla="*/ 100965 w 104775"/>
                          <a:gd name="connsiteY11" fmla="*/ 26675 h 97160"/>
                          <a:gd name="connsiteX12" fmla="*/ 99060 w 104775"/>
                          <a:gd name="connsiteY12" fmla="*/ 19055 h 97160"/>
                          <a:gd name="connsiteX13" fmla="*/ 41910 w 104775"/>
                          <a:gd name="connsiteY13" fmla="*/ 5 h 97160"/>
                          <a:gd name="connsiteX14" fmla="*/ 3810 w 104775"/>
                          <a:gd name="connsiteY14" fmla="*/ 20960 h 97160"/>
                          <a:gd name="connsiteX15" fmla="*/ 1905 w 104775"/>
                          <a:gd name="connsiteY15" fmla="*/ 28580 h 97160"/>
                          <a:gd name="connsiteX16" fmla="*/ 0 w 104775"/>
                          <a:gd name="connsiteY16" fmla="*/ 34295 h 97160"/>
                          <a:gd name="connsiteX17" fmla="*/ 5715 w 104775"/>
                          <a:gd name="connsiteY17" fmla="*/ 47630 h 97160"/>
                          <a:gd name="connsiteX18" fmla="*/ 5715 w 104775"/>
                          <a:gd name="connsiteY18" fmla="*/ 51440 h 97160"/>
                          <a:gd name="connsiteX19" fmla="*/ 17145 w 104775"/>
                          <a:gd name="connsiteY19" fmla="*/ 80015 h 97160"/>
                          <a:gd name="connsiteX0" fmla="*/ 19050 w 105971"/>
                          <a:gd name="connsiteY0" fmla="*/ 76238 h 97193"/>
                          <a:gd name="connsiteX1" fmla="*/ 24765 w 105971"/>
                          <a:gd name="connsiteY1" fmla="*/ 80048 h 97193"/>
                          <a:gd name="connsiteX2" fmla="*/ 28575 w 105971"/>
                          <a:gd name="connsiteY2" fmla="*/ 85763 h 97193"/>
                          <a:gd name="connsiteX3" fmla="*/ 32385 w 105971"/>
                          <a:gd name="connsiteY3" fmla="*/ 97193 h 97193"/>
                          <a:gd name="connsiteX4" fmla="*/ 81915 w 105971"/>
                          <a:gd name="connsiteY4" fmla="*/ 95288 h 97193"/>
                          <a:gd name="connsiteX5" fmla="*/ 87630 w 105971"/>
                          <a:gd name="connsiteY5" fmla="*/ 93383 h 97193"/>
                          <a:gd name="connsiteX6" fmla="*/ 89535 w 105971"/>
                          <a:gd name="connsiteY6" fmla="*/ 87668 h 97193"/>
                          <a:gd name="connsiteX7" fmla="*/ 93345 w 105971"/>
                          <a:gd name="connsiteY7" fmla="*/ 81953 h 97193"/>
                          <a:gd name="connsiteX8" fmla="*/ 95250 w 105971"/>
                          <a:gd name="connsiteY8" fmla="*/ 68618 h 97193"/>
                          <a:gd name="connsiteX9" fmla="*/ 100965 w 105971"/>
                          <a:gd name="connsiteY9" fmla="*/ 64808 h 97193"/>
                          <a:gd name="connsiteX10" fmla="*/ 104775 w 105971"/>
                          <a:gd name="connsiteY10" fmla="*/ 53378 h 97193"/>
                          <a:gd name="connsiteX11" fmla="*/ 100965 w 105971"/>
                          <a:gd name="connsiteY11" fmla="*/ 26708 h 97193"/>
                          <a:gd name="connsiteX12" fmla="*/ 41910 w 105971"/>
                          <a:gd name="connsiteY12" fmla="*/ 38 h 97193"/>
                          <a:gd name="connsiteX13" fmla="*/ 3810 w 105971"/>
                          <a:gd name="connsiteY13" fmla="*/ 20993 h 97193"/>
                          <a:gd name="connsiteX14" fmla="*/ 1905 w 105971"/>
                          <a:gd name="connsiteY14" fmla="*/ 28613 h 97193"/>
                          <a:gd name="connsiteX15" fmla="*/ 0 w 105971"/>
                          <a:gd name="connsiteY15" fmla="*/ 34328 h 97193"/>
                          <a:gd name="connsiteX16" fmla="*/ 5715 w 105971"/>
                          <a:gd name="connsiteY16" fmla="*/ 47663 h 97193"/>
                          <a:gd name="connsiteX17" fmla="*/ 5715 w 105971"/>
                          <a:gd name="connsiteY17" fmla="*/ 51473 h 97193"/>
                          <a:gd name="connsiteX18" fmla="*/ 17145 w 105971"/>
                          <a:gd name="connsiteY18" fmla="*/ 80048 h 97193"/>
                          <a:gd name="connsiteX0" fmla="*/ 19050 w 106250"/>
                          <a:gd name="connsiteY0" fmla="*/ 64875 h 85830"/>
                          <a:gd name="connsiteX1" fmla="*/ 24765 w 106250"/>
                          <a:gd name="connsiteY1" fmla="*/ 68685 h 85830"/>
                          <a:gd name="connsiteX2" fmla="*/ 28575 w 106250"/>
                          <a:gd name="connsiteY2" fmla="*/ 74400 h 85830"/>
                          <a:gd name="connsiteX3" fmla="*/ 32385 w 106250"/>
                          <a:gd name="connsiteY3" fmla="*/ 85830 h 85830"/>
                          <a:gd name="connsiteX4" fmla="*/ 81915 w 106250"/>
                          <a:gd name="connsiteY4" fmla="*/ 83925 h 85830"/>
                          <a:gd name="connsiteX5" fmla="*/ 87630 w 106250"/>
                          <a:gd name="connsiteY5" fmla="*/ 82020 h 85830"/>
                          <a:gd name="connsiteX6" fmla="*/ 89535 w 106250"/>
                          <a:gd name="connsiteY6" fmla="*/ 76305 h 85830"/>
                          <a:gd name="connsiteX7" fmla="*/ 93345 w 106250"/>
                          <a:gd name="connsiteY7" fmla="*/ 70590 h 85830"/>
                          <a:gd name="connsiteX8" fmla="*/ 95250 w 106250"/>
                          <a:gd name="connsiteY8" fmla="*/ 57255 h 85830"/>
                          <a:gd name="connsiteX9" fmla="*/ 100965 w 106250"/>
                          <a:gd name="connsiteY9" fmla="*/ 53445 h 85830"/>
                          <a:gd name="connsiteX10" fmla="*/ 104775 w 106250"/>
                          <a:gd name="connsiteY10" fmla="*/ 42015 h 85830"/>
                          <a:gd name="connsiteX11" fmla="*/ 100965 w 106250"/>
                          <a:gd name="connsiteY11" fmla="*/ 15345 h 85830"/>
                          <a:gd name="connsiteX12" fmla="*/ 38100 w 106250"/>
                          <a:gd name="connsiteY12" fmla="*/ 105 h 85830"/>
                          <a:gd name="connsiteX13" fmla="*/ 3810 w 106250"/>
                          <a:gd name="connsiteY13" fmla="*/ 9630 h 85830"/>
                          <a:gd name="connsiteX14" fmla="*/ 1905 w 106250"/>
                          <a:gd name="connsiteY14" fmla="*/ 17250 h 85830"/>
                          <a:gd name="connsiteX15" fmla="*/ 0 w 106250"/>
                          <a:gd name="connsiteY15" fmla="*/ 22965 h 85830"/>
                          <a:gd name="connsiteX16" fmla="*/ 5715 w 106250"/>
                          <a:gd name="connsiteY16" fmla="*/ 36300 h 85830"/>
                          <a:gd name="connsiteX17" fmla="*/ 5715 w 106250"/>
                          <a:gd name="connsiteY17" fmla="*/ 40110 h 85830"/>
                          <a:gd name="connsiteX18" fmla="*/ 17145 w 106250"/>
                          <a:gd name="connsiteY18" fmla="*/ 68685 h 8583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</a:cxnLst>
                        <a:rect l="l" t="t" r="r" b="b"/>
                        <a:pathLst>
                          <a:path w="106250" h="85830">
                            <a:moveTo>
                              <a:pt x="19050" y="64875"/>
                            </a:moveTo>
                            <a:cubicBezTo>
                              <a:pt x="19050" y="69955"/>
                              <a:pt x="22860" y="67415"/>
                              <a:pt x="24765" y="68685"/>
                            </a:cubicBezTo>
                            <a:cubicBezTo>
                              <a:pt x="26035" y="70590"/>
                              <a:pt x="27645" y="72308"/>
                              <a:pt x="28575" y="74400"/>
                            </a:cubicBezTo>
                            <a:cubicBezTo>
                              <a:pt x="30206" y="78070"/>
                              <a:pt x="32385" y="85830"/>
                              <a:pt x="32385" y="85830"/>
                            </a:cubicBezTo>
                            <a:cubicBezTo>
                              <a:pt x="48895" y="85195"/>
                              <a:pt x="65432" y="85062"/>
                              <a:pt x="81915" y="83925"/>
                            </a:cubicBezTo>
                            <a:cubicBezTo>
                              <a:pt x="83918" y="83787"/>
                              <a:pt x="86210" y="83440"/>
                              <a:pt x="87630" y="82020"/>
                            </a:cubicBezTo>
                            <a:cubicBezTo>
                              <a:pt x="89050" y="80600"/>
                              <a:pt x="88637" y="78101"/>
                              <a:pt x="89535" y="76305"/>
                            </a:cubicBezTo>
                            <a:cubicBezTo>
                              <a:pt x="90559" y="74257"/>
                              <a:pt x="92075" y="72495"/>
                              <a:pt x="93345" y="70590"/>
                            </a:cubicBezTo>
                            <a:cubicBezTo>
                              <a:pt x="93980" y="66145"/>
                              <a:pt x="93426" y="61358"/>
                              <a:pt x="95250" y="57255"/>
                            </a:cubicBezTo>
                            <a:cubicBezTo>
                              <a:pt x="96180" y="55163"/>
                              <a:pt x="99752" y="55387"/>
                              <a:pt x="100965" y="53445"/>
                            </a:cubicBezTo>
                            <a:cubicBezTo>
                              <a:pt x="103094" y="50039"/>
                              <a:pt x="104775" y="42015"/>
                              <a:pt x="104775" y="42015"/>
                            </a:cubicBezTo>
                            <a:cubicBezTo>
                              <a:pt x="101728" y="8500"/>
                              <a:pt x="112077" y="22330"/>
                              <a:pt x="100965" y="15345"/>
                            </a:cubicBezTo>
                            <a:cubicBezTo>
                              <a:pt x="89853" y="8360"/>
                              <a:pt x="54292" y="1057"/>
                              <a:pt x="38100" y="105"/>
                            </a:cubicBezTo>
                            <a:cubicBezTo>
                              <a:pt x="21908" y="-847"/>
                              <a:pt x="10477" y="4868"/>
                              <a:pt x="3810" y="9630"/>
                            </a:cubicBezTo>
                            <a:cubicBezTo>
                              <a:pt x="3175" y="12170"/>
                              <a:pt x="2624" y="14733"/>
                              <a:pt x="1905" y="17250"/>
                            </a:cubicBezTo>
                            <a:cubicBezTo>
                              <a:pt x="1353" y="19181"/>
                              <a:pt x="0" y="20957"/>
                              <a:pt x="0" y="22965"/>
                            </a:cubicBezTo>
                            <a:cubicBezTo>
                              <a:pt x="0" y="32673"/>
                              <a:pt x="2604" y="28523"/>
                              <a:pt x="5715" y="36300"/>
                            </a:cubicBezTo>
                            <a:cubicBezTo>
                              <a:pt x="6187" y="37479"/>
                              <a:pt x="3810" y="34713"/>
                              <a:pt x="5715" y="40110"/>
                            </a:cubicBezTo>
                            <a:cubicBezTo>
                              <a:pt x="7620" y="45507"/>
                              <a:pt x="13335" y="59160"/>
                              <a:pt x="17145" y="68685"/>
                            </a:cubicBezTo>
                          </a:path>
                        </a:pathLst>
                      </a:custGeom>
                      <a:grpFill/>
                      <a:ln w="3175" cap="flat" cmpd="sng" algn="ctr">
                        <a:solidFill>
                          <a:srgbClr val="F2E8F8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86" name="Freeform: Shape 71">
                        <a:extLst>
                          <a:ext uri="{FF2B5EF4-FFF2-40B4-BE49-F238E27FC236}">
                            <a16:creationId xmlns:a16="http://schemas.microsoft.com/office/drawing/2014/main" id="{6D9758C7-DA19-705F-5141-AAB8D521D12C}"/>
                          </a:ext>
                        </a:extLst>
                      </p:cNvPr>
                      <p:cNvSpPr/>
                      <p:nvPr/>
                    </p:nvSpPr>
                    <p:spPr>
                      <a:xfrm rot="9043087">
                        <a:off x="8883430" y="4342996"/>
                        <a:ext cx="27432" cy="36576"/>
                      </a:xfrm>
                      <a:custGeom>
                        <a:avLst/>
                        <a:gdLst>
                          <a:gd name="connsiteX0" fmla="*/ 57150 w 104775"/>
                          <a:gd name="connsiteY0" fmla="*/ 76200 h 127635"/>
                          <a:gd name="connsiteX1" fmla="*/ 57150 w 104775"/>
                          <a:gd name="connsiteY1" fmla="*/ 76200 h 127635"/>
                          <a:gd name="connsiteX2" fmla="*/ 24765 w 104775"/>
                          <a:gd name="connsiteY2" fmla="*/ 80010 h 127635"/>
                          <a:gd name="connsiteX3" fmla="*/ 19050 w 104775"/>
                          <a:gd name="connsiteY3" fmla="*/ 83820 h 127635"/>
                          <a:gd name="connsiteX4" fmla="*/ 19050 w 104775"/>
                          <a:gd name="connsiteY4" fmla="*/ 106680 h 127635"/>
                          <a:gd name="connsiteX5" fmla="*/ 24765 w 104775"/>
                          <a:gd name="connsiteY5" fmla="*/ 110490 h 127635"/>
                          <a:gd name="connsiteX6" fmla="*/ 28575 w 104775"/>
                          <a:gd name="connsiteY6" fmla="*/ 116205 h 127635"/>
                          <a:gd name="connsiteX7" fmla="*/ 32385 w 104775"/>
                          <a:gd name="connsiteY7" fmla="*/ 127635 h 127635"/>
                          <a:gd name="connsiteX8" fmla="*/ 81915 w 104775"/>
                          <a:gd name="connsiteY8" fmla="*/ 125730 h 127635"/>
                          <a:gd name="connsiteX9" fmla="*/ 87630 w 104775"/>
                          <a:gd name="connsiteY9" fmla="*/ 123825 h 127635"/>
                          <a:gd name="connsiteX10" fmla="*/ 89535 w 104775"/>
                          <a:gd name="connsiteY10" fmla="*/ 118110 h 127635"/>
                          <a:gd name="connsiteX11" fmla="*/ 93345 w 104775"/>
                          <a:gd name="connsiteY11" fmla="*/ 112395 h 127635"/>
                          <a:gd name="connsiteX12" fmla="*/ 95250 w 104775"/>
                          <a:gd name="connsiteY12" fmla="*/ 99060 h 127635"/>
                          <a:gd name="connsiteX13" fmla="*/ 100965 w 104775"/>
                          <a:gd name="connsiteY13" fmla="*/ 95250 h 127635"/>
                          <a:gd name="connsiteX14" fmla="*/ 104775 w 104775"/>
                          <a:gd name="connsiteY14" fmla="*/ 83820 h 127635"/>
                          <a:gd name="connsiteX15" fmla="*/ 100965 w 104775"/>
                          <a:gd name="connsiteY15" fmla="*/ 57150 h 127635"/>
                          <a:gd name="connsiteX16" fmla="*/ 99060 w 104775"/>
                          <a:gd name="connsiteY16" fmla="*/ 49530 h 127635"/>
                          <a:gd name="connsiteX17" fmla="*/ 95250 w 104775"/>
                          <a:gd name="connsiteY17" fmla="*/ 43815 h 127635"/>
                          <a:gd name="connsiteX18" fmla="*/ 91440 w 104775"/>
                          <a:gd name="connsiteY18" fmla="*/ 32385 h 127635"/>
                          <a:gd name="connsiteX19" fmla="*/ 81915 w 104775"/>
                          <a:gd name="connsiteY19" fmla="*/ 15240 h 127635"/>
                          <a:gd name="connsiteX20" fmla="*/ 70485 w 104775"/>
                          <a:gd name="connsiteY20" fmla="*/ 3810 h 127635"/>
                          <a:gd name="connsiteX21" fmla="*/ 59055 w 104775"/>
                          <a:gd name="connsiteY21" fmla="*/ 0 h 127635"/>
                          <a:gd name="connsiteX22" fmla="*/ 45720 w 104775"/>
                          <a:gd name="connsiteY22" fmla="*/ 1905 h 127635"/>
                          <a:gd name="connsiteX23" fmla="*/ 43815 w 104775"/>
                          <a:gd name="connsiteY23" fmla="*/ 19050 h 127635"/>
                          <a:gd name="connsiteX24" fmla="*/ 41910 w 104775"/>
                          <a:gd name="connsiteY24" fmla="*/ 30480 h 127635"/>
                          <a:gd name="connsiteX25" fmla="*/ 40005 w 104775"/>
                          <a:gd name="connsiteY25" fmla="*/ 43815 h 127635"/>
                          <a:gd name="connsiteX26" fmla="*/ 28575 w 104775"/>
                          <a:gd name="connsiteY26" fmla="*/ 49530 h 127635"/>
                          <a:gd name="connsiteX27" fmla="*/ 3810 w 104775"/>
                          <a:gd name="connsiteY27" fmla="*/ 51435 h 127635"/>
                          <a:gd name="connsiteX28" fmla="*/ 1905 w 104775"/>
                          <a:gd name="connsiteY28" fmla="*/ 59055 h 127635"/>
                          <a:gd name="connsiteX29" fmla="*/ 0 w 104775"/>
                          <a:gd name="connsiteY29" fmla="*/ 64770 h 127635"/>
                          <a:gd name="connsiteX30" fmla="*/ 5715 w 104775"/>
                          <a:gd name="connsiteY30" fmla="*/ 78105 h 127635"/>
                          <a:gd name="connsiteX31" fmla="*/ 5715 w 104775"/>
                          <a:gd name="connsiteY31" fmla="*/ 81915 h 127635"/>
                          <a:gd name="connsiteX32" fmla="*/ 5715 w 104775"/>
                          <a:gd name="connsiteY32" fmla="*/ 87630 h 127635"/>
                          <a:gd name="connsiteX0" fmla="*/ 57150 w 104775"/>
                          <a:gd name="connsiteY0" fmla="*/ 76200 h 127635"/>
                          <a:gd name="connsiteX1" fmla="*/ 24765 w 104775"/>
                          <a:gd name="connsiteY1" fmla="*/ 80010 h 127635"/>
                          <a:gd name="connsiteX2" fmla="*/ 19050 w 104775"/>
                          <a:gd name="connsiteY2" fmla="*/ 83820 h 127635"/>
                          <a:gd name="connsiteX3" fmla="*/ 19050 w 104775"/>
                          <a:gd name="connsiteY3" fmla="*/ 106680 h 127635"/>
                          <a:gd name="connsiteX4" fmla="*/ 24765 w 104775"/>
                          <a:gd name="connsiteY4" fmla="*/ 110490 h 127635"/>
                          <a:gd name="connsiteX5" fmla="*/ 28575 w 104775"/>
                          <a:gd name="connsiteY5" fmla="*/ 116205 h 127635"/>
                          <a:gd name="connsiteX6" fmla="*/ 32385 w 104775"/>
                          <a:gd name="connsiteY6" fmla="*/ 127635 h 127635"/>
                          <a:gd name="connsiteX7" fmla="*/ 81915 w 104775"/>
                          <a:gd name="connsiteY7" fmla="*/ 125730 h 127635"/>
                          <a:gd name="connsiteX8" fmla="*/ 87630 w 104775"/>
                          <a:gd name="connsiteY8" fmla="*/ 123825 h 127635"/>
                          <a:gd name="connsiteX9" fmla="*/ 89535 w 104775"/>
                          <a:gd name="connsiteY9" fmla="*/ 118110 h 127635"/>
                          <a:gd name="connsiteX10" fmla="*/ 93345 w 104775"/>
                          <a:gd name="connsiteY10" fmla="*/ 112395 h 127635"/>
                          <a:gd name="connsiteX11" fmla="*/ 95250 w 104775"/>
                          <a:gd name="connsiteY11" fmla="*/ 99060 h 127635"/>
                          <a:gd name="connsiteX12" fmla="*/ 100965 w 104775"/>
                          <a:gd name="connsiteY12" fmla="*/ 95250 h 127635"/>
                          <a:gd name="connsiteX13" fmla="*/ 104775 w 104775"/>
                          <a:gd name="connsiteY13" fmla="*/ 83820 h 127635"/>
                          <a:gd name="connsiteX14" fmla="*/ 100965 w 104775"/>
                          <a:gd name="connsiteY14" fmla="*/ 57150 h 127635"/>
                          <a:gd name="connsiteX15" fmla="*/ 99060 w 104775"/>
                          <a:gd name="connsiteY15" fmla="*/ 49530 h 127635"/>
                          <a:gd name="connsiteX16" fmla="*/ 95250 w 104775"/>
                          <a:gd name="connsiteY16" fmla="*/ 43815 h 127635"/>
                          <a:gd name="connsiteX17" fmla="*/ 91440 w 104775"/>
                          <a:gd name="connsiteY17" fmla="*/ 32385 h 127635"/>
                          <a:gd name="connsiteX18" fmla="*/ 81915 w 104775"/>
                          <a:gd name="connsiteY18" fmla="*/ 15240 h 127635"/>
                          <a:gd name="connsiteX19" fmla="*/ 70485 w 104775"/>
                          <a:gd name="connsiteY19" fmla="*/ 3810 h 127635"/>
                          <a:gd name="connsiteX20" fmla="*/ 59055 w 104775"/>
                          <a:gd name="connsiteY20" fmla="*/ 0 h 127635"/>
                          <a:gd name="connsiteX21" fmla="*/ 45720 w 104775"/>
                          <a:gd name="connsiteY21" fmla="*/ 1905 h 127635"/>
                          <a:gd name="connsiteX22" fmla="*/ 43815 w 104775"/>
                          <a:gd name="connsiteY22" fmla="*/ 19050 h 127635"/>
                          <a:gd name="connsiteX23" fmla="*/ 41910 w 104775"/>
                          <a:gd name="connsiteY23" fmla="*/ 30480 h 127635"/>
                          <a:gd name="connsiteX24" fmla="*/ 40005 w 104775"/>
                          <a:gd name="connsiteY24" fmla="*/ 43815 h 127635"/>
                          <a:gd name="connsiteX25" fmla="*/ 28575 w 104775"/>
                          <a:gd name="connsiteY25" fmla="*/ 49530 h 127635"/>
                          <a:gd name="connsiteX26" fmla="*/ 3810 w 104775"/>
                          <a:gd name="connsiteY26" fmla="*/ 51435 h 127635"/>
                          <a:gd name="connsiteX27" fmla="*/ 1905 w 104775"/>
                          <a:gd name="connsiteY27" fmla="*/ 59055 h 127635"/>
                          <a:gd name="connsiteX28" fmla="*/ 0 w 104775"/>
                          <a:gd name="connsiteY28" fmla="*/ 64770 h 127635"/>
                          <a:gd name="connsiteX29" fmla="*/ 5715 w 104775"/>
                          <a:gd name="connsiteY29" fmla="*/ 78105 h 127635"/>
                          <a:gd name="connsiteX30" fmla="*/ 5715 w 104775"/>
                          <a:gd name="connsiteY30" fmla="*/ 81915 h 127635"/>
                          <a:gd name="connsiteX31" fmla="*/ 5715 w 104775"/>
                          <a:gd name="connsiteY31" fmla="*/ 87630 h 127635"/>
                          <a:gd name="connsiteX0" fmla="*/ 24765 w 104775"/>
                          <a:gd name="connsiteY0" fmla="*/ 80010 h 127635"/>
                          <a:gd name="connsiteX1" fmla="*/ 19050 w 104775"/>
                          <a:gd name="connsiteY1" fmla="*/ 83820 h 127635"/>
                          <a:gd name="connsiteX2" fmla="*/ 19050 w 104775"/>
                          <a:gd name="connsiteY2" fmla="*/ 106680 h 127635"/>
                          <a:gd name="connsiteX3" fmla="*/ 24765 w 104775"/>
                          <a:gd name="connsiteY3" fmla="*/ 110490 h 127635"/>
                          <a:gd name="connsiteX4" fmla="*/ 28575 w 104775"/>
                          <a:gd name="connsiteY4" fmla="*/ 116205 h 127635"/>
                          <a:gd name="connsiteX5" fmla="*/ 32385 w 104775"/>
                          <a:gd name="connsiteY5" fmla="*/ 127635 h 127635"/>
                          <a:gd name="connsiteX6" fmla="*/ 81915 w 104775"/>
                          <a:gd name="connsiteY6" fmla="*/ 125730 h 127635"/>
                          <a:gd name="connsiteX7" fmla="*/ 87630 w 104775"/>
                          <a:gd name="connsiteY7" fmla="*/ 123825 h 127635"/>
                          <a:gd name="connsiteX8" fmla="*/ 89535 w 104775"/>
                          <a:gd name="connsiteY8" fmla="*/ 118110 h 127635"/>
                          <a:gd name="connsiteX9" fmla="*/ 93345 w 104775"/>
                          <a:gd name="connsiteY9" fmla="*/ 112395 h 127635"/>
                          <a:gd name="connsiteX10" fmla="*/ 95250 w 104775"/>
                          <a:gd name="connsiteY10" fmla="*/ 99060 h 127635"/>
                          <a:gd name="connsiteX11" fmla="*/ 100965 w 104775"/>
                          <a:gd name="connsiteY11" fmla="*/ 95250 h 127635"/>
                          <a:gd name="connsiteX12" fmla="*/ 104775 w 104775"/>
                          <a:gd name="connsiteY12" fmla="*/ 83820 h 127635"/>
                          <a:gd name="connsiteX13" fmla="*/ 100965 w 104775"/>
                          <a:gd name="connsiteY13" fmla="*/ 57150 h 127635"/>
                          <a:gd name="connsiteX14" fmla="*/ 99060 w 104775"/>
                          <a:gd name="connsiteY14" fmla="*/ 49530 h 127635"/>
                          <a:gd name="connsiteX15" fmla="*/ 95250 w 104775"/>
                          <a:gd name="connsiteY15" fmla="*/ 43815 h 127635"/>
                          <a:gd name="connsiteX16" fmla="*/ 91440 w 104775"/>
                          <a:gd name="connsiteY16" fmla="*/ 32385 h 127635"/>
                          <a:gd name="connsiteX17" fmla="*/ 81915 w 104775"/>
                          <a:gd name="connsiteY17" fmla="*/ 15240 h 127635"/>
                          <a:gd name="connsiteX18" fmla="*/ 70485 w 104775"/>
                          <a:gd name="connsiteY18" fmla="*/ 3810 h 127635"/>
                          <a:gd name="connsiteX19" fmla="*/ 59055 w 104775"/>
                          <a:gd name="connsiteY19" fmla="*/ 0 h 127635"/>
                          <a:gd name="connsiteX20" fmla="*/ 45720 w 104775"/>
                          <a:gd name="connsiteY20" fmla="*/ 1905 h 127635"/>
                          <a:gd name="connsiteX21" fmla="*/ 43815 w 104775"/>
                          <a:gd name="connsiteY21" fmla="*/ 19050 h 127635"/>
                          <a:gd name="connsiteX22" fmla="*/ 41910 w 104775"/>
                          <a:gd name="connsiteY22" fmla="*/ 30480 h 127635"/>
                          <a:gd name="connsiteX23" fmla="*/ 40005 w 104775"/>
                          <a:gd name="connsiteY23" fmla="*/ 43815 h 127635"/>
                          <a:gd name="connsiteX24" fmla="*/ 28575 w 104775"/>
                          <a:gd name="connsiteY24" fmla="*/ 49530 h 127635"/>
                          <a:gd name="connsiteX25" fmla="*/ 3810 w 104775"/>
                          <a:gd name="connsiteY25" fmla="*/ 51435 h 127635"/>
                          <a:gd name="connsiteX26" fmla="*/ 1905 w 104775"/>
                          <a:gd name="connsiteY26" fmla="*/ 59055 h 127635"/>
                          <a:gd name="connsiteX27" fmla="*/ 0 w 104775"/>
                          <a:gd name="connsiteY27" fmla="*/ 64770 h 127635"/>
                          <a:gd name="connsiteX28" fmla="*/ 5715 w 104775"/>
                          <a:gd name="connsiteY28" fmla="*/ 78105 h 127635"/>
                          <a:gd name="connsiteX29" fmla="*/ 5715 w 104775"/>
                          <a:gd name="connsiteY29" fmla="*/ 81915 h 127635"/>
                          <a:gd name="connsiteX30" fmla="*/ 5715 w 104775"/>
                          <a:gd name="connsiteY30" fmla="*/ 87630 h 127635"/>
                          <a:gd name="connsiteX0" fmla="*/ 24765 w 104775"/>
                          <a:gd name="connsiteY0" fmla="*/ 80010 h 127635"/>
                          <a:gd name="connsiteX1" fmla="*/ 19050 w 104775"/>
                          <a:gd name="connsiteY1" fmla="*/ 106680 h 127635"/>
                          <a:gd name="connsiteX2" fmla="*/ 24765 w 104775"/>
                          <a:gd name="connsiteY2" fmla="*/ 110490 h 127635"/>
                          <a:gd name="connsiteX3" fmla="*/ 28575 w 104775"/>
                          <a:gd name="connsiteY3" fmla="*/ 116205 h 127635"/>
                          <a:gd name="connsiteX4" fmla="*/ 32385 w 104775"/>
                          <a:gd name="connsiteY4" fmla="*/ 127635 h 127635"/>
                          <a:gd name="connsiteX5" fmla="*/ 81915 w 104775"/>
                          <a:gd name="connsiteY5" fmla="*/ 125730 h 127635"/>
                          <a:gd name="connsiteX6" fmla="*/ 87630 w 104775"/>
                          <a:gd name="connsiteY6" fmla="*/ 123825 h 127635"/>
                          <a:gd name="connsiteX7" fmla="*/ 89535 w 104775"/>
                          <a:gd name="connsiteY7" fmla="*/ 118110 h 127635"/>
                          <a:gd name="connsiteX8" fmla="*/ 93345 w 104775"/>
                          <a:gd name="connsiteY8" fmla="*/ 112395 h 127635"/>
                          <a:gd name="connsiteX9" fmla="*/ 95250 w 104775"/>
                          <a:gd name="connsiteY9" fmla="*/ 99060 h 127635"/>
                          <a:gd name="connsiteX10" fmla="*/ 100965 w 104775"/>
                          <a:gd name="connsiteY10" fmla="*/ 95250 h 127635"/>
                          <a:gd name="connsiteX11" fmla="*/ 104775 w 104775"/>
                          <a:gd name="connsiteY11" fmla="*/ 83820 h 127635"/>
                          <a:gd name="connsiteX12" fmla="*/ 100965 w 104775"/>
                          <a:gd name="connsiteY12" fmla="*/ 57150 h 127635"/>
                          <a:gd name="connsiteX13" fmla="*/ 99060 w 104775"/>
                          <a:gd name="connsiteY13" fmla="*/ 49530 h 127635"/>
                          <a:gd name="connsiteX14" fmla="*/ 95250 w 104775"/>
                          <a:gd name="connsiteY14" fmla="*/ 43815 h 127635"/>
                          <a:gd name="connsiteX15" fmla="*/ 91440 w 104775"/>
                          <a:gd name="connsiteY15" fmla="*/ 32385 h 127635"/>
                          <a:gd name="connsiteX16" fmla="*/ 81915 w 104775"/>
                          <a:gd name="connsiteY16" fmla="*/ 15240 h 127635"/>
                          <a:gd name="connsiteX17" fmla="*/ 70485 w 104775"/>
                          <a:gd name="connsiteY17" fmla="*/ 3810 h 127635"/>
                          <a:gd name="connsiteX18" fmla="*/ 59055 w 104775"/>
                          <a:gd name="connsiteY18" fmla="*/ 0 h 127635"/>
                          <a:gd name="connsiteX19" fmla="*/ 45720 w 104775"/>
                          <a:gd name="connsiteY19" fmla="*/ 1905 h 127635"/>
                          <a:gd name="connsiteX20" fmla="*/ 43815 w 104775"/>
                          <a:gd name="connsiteY20" fmla="*/ 19050 h 127635"/>
                          <a:gd name="connsiteX21" fmla="*/ 41910 w 104775"/>
                          <a:gd name="connsiteY21" fmla="*/ 30480 h 127635"/>
                          <a:gd name="connsiteX22" fmla="*/ 40005 w 104775"/>
                          <a:gd name="connsiteY22" fmla="*/ 43815 h 127635"/>
                          <a:gd name="connsiteX23" fmla="*/ 28575 w 104775"/>
                          <a:gd name="connsiteY23" fmla="*/ 49530 h 127635"/>
                          <a:gd name="connsiteX24" fmla="*/ 3810 w 104775"/>
                          <a:gd name="connsiteY24" fmla="*/ 51435 h 127635"/>
                          <a:gd name="connsiteX25" fmla="*/ 1905 w 104775"/>
                          <a:gd name="connsiteY25" fmla="*/ 59055 h 127635"/>
                          <a:gd name="connsiteX26" fmla="*/ 0 w 104775"/>
                          <a:gd name="connsiteY26" fmla="*/ 64770 h 127635"/>
                          <a:gd name="connsiteX27" fmla="*/ 5715 w 104775"/>
                          <a:gd name="connsiteY27" fmla="*/ 78105 h 127635"/>
                          <a:gd name="connsiteX28" fmla="*/ 5715 w 104775"/>
                          <a:gd name="connsiteY28" fmla="*/ 81915 h 127635"/>
                          <a:gd name="connsiteX29" fmla="*/ 5715 w 104775"/>
                          <a:gd name="connsiteY29" fmla="*/ 8763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5715 w 104775"/>
                          <a:gd name="connsiteY28" fmla="*/ 8763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17145 w 104775"/>
                          <a:gd name="connsiteY28" fmla="*/ 11049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17145 w 104775"/>
                          <a:gd name="connsiteY28" fmla="*/ 110490 h 127635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81915 w 104775"/>
                          <a:gd name="connsiteY15" fmla="*/ 16019 h 128414"/>
                          <a:gd name="connsiteX16" fmla="*/ 70485 w 104775"/>
                          <a:gd name="connsiteY16" fmla="*/ 4589 h 128414"/>
                          <a:gd name="connsiteX17" fmla="*/ 59055 w 104775"/>
                          <a:gd name="connsiteY17" fmla="*/ 779 h 128414"/>
                          <a:gd name="connsiteX18" fmla="*/ 45720 w 104775"/>
                          <a:gd name="connsiteY18" fmla="*/ 2684 h 128414"/>
                          <a:gd name="connsiteX19" fmla="*/ 41910 w 104775"/>
                          <a:gd name="connsiteY19" fmla="*/ 31259 h 128414"/>
                          <a:gd name="connsiteX20" fmla="*/ 40005 w 104775"/>
                          <a:gd name="connsiteY20" fmla="*/ 44594 h 128414"/>
                          <a:gd name="connsiteX21" fmla="*/ 28575 w 104775"/>
                          <a:gd name="connsiteY21" fmla="*/ 50309 h 128414"/>
                          <a:gd name="connsiteX22" fmla="*/ 3810 w 104775"/>
                          <a:gd name="connsiteY22" fmla="*/ 52214 h 128414"/>
                          <a:gd name="connsiteX23" fmla="*/ 1905 w 104775"/>
                          <a:gd name="connsiteY23" fmla="*/ 59834 h 128414"/>
                          <a:gd name="connsiteX24" fmla="*/ 0 w 104775"/>
                          <a:gd name="connsiteY24" fmla="*/ 65549 h 128414"/>
                          <a:gd name="connsiteX25" fmla="*/ 5715 w 104775"/>
                          <a:gd name="connsiteY25" fmla="*/ 78884 h 128414"/>
                          <a:gd name="connsiteX26" fmla="*/ 5715 w 104775"/>
                          <a:gd name="connsiteY26" fmla="*/ 82694 h 128414"/>
                          <a:gd name="connsiteX27" fmla="*/ 17145 w 104775"/>
                          <a:gd name="connsiteY27" fmla="*/ 111269 h 128414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70485 w 104775"/>
                          <a:gd name="connsiteY15" fmla="*/ 4589 h 128414"/>
                          <a:gd name="connsiteX16" fmla="*/ 59055 w 104775"/>
                          <a:gd name="connsiteY16" fmla="*/ 779 h 128414"/>
                          <a:gd name="connsiteX17" fmla="*/ 45720 w 104775"/>
                          <a:gd name="connsiteY17" fmla="*/ 2684 h 128414"/>
                          <a:gd name="connsiteX18" fmla="*/ 41910 w 104775"/>
                          <a:gd name="connsiteY18" fmla="*/ 31259 h 128414"/>
                          <a:gd name="connsiteX19" fmla="*/ 40005 w 104775"/>
                          <a:gd name="connsiteY19" fmla="*/ 44594 h 128414"/>
                          <a:gd name="connsiteX20" fmla="*/ 28575 w 104775"/>
                          <a:gd name="connsiteY20" fmla="*/ 50309 h 128414"/>
                          <a:gd name="connsiteX21" fmla="*/ 3810 w 104775"/>
                          <a:gd name="connsiteY21" fmla="*/ 52214 h 128414"/>
                          <a:gd name="connsiteX22" fmla="*/ 1905 w 104775"/>
                          <a:gd name="connsiteY22" fmla="*/ 59834 h 128414"/>
                          <a:gd name="connsiteX23" fmla="*/ 0 w 104775"/>
                          <a:gd name="connsiteY23" fmla="*/ 65549 h 128414"/>
                          <a:gd name="connsiteX24" fmla="*/ 5715 w 104775"/>
                          <a:gd name="connsiteY24" fmla="*/ 78884 h 128414"/>
                          <a:gd name="connsiteX25" fmla="*/ 5715 w 104775"/>
                          <a:gd name="connsiteY25" fmla="*/ 82694 h 128414"/>
                          <a:gd name="connsiteX26" fmla="*/ 17145 w 104775"/>
                          <a:gd name="connsiteY26" fmla="*/ 111269 h 128414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70485 w 104775"/>
                          <a:gd name="connsiteY15" fmla="*/ 4589 h 128414"/>
                          <a:gd name="connsiteX16" fmla="*/ 59055 w 104775"/>
                          <a:gd name="connsiteY16" fmla="*/ 779 h 128414"/>
                          <a:gd name="connsiteX17" fmla="*/ 45720 w 104775"/>
                          <a:gd name="connsiteY17" fmla="*/ 2684 h 128414"/>
                          <a:gd name="connsiteX18" fmla="*/ 41910 w 104775"/>
                          <a:gd name="connsiteY18" fmla="*/ 31259 h 128414"/>
                          <a:gd name="connsiteX19" fmla="*/ 40005 w 104775"/>
                          <a:gd name="connsiteY19" fmla="*/ 44594 h 128414"/>
                          <a:gd name="connsiteX20" fmla="*/ 3810 w 104775"/>
                          <a:gd name="connsiteY20" fmla="*/ 52214 h 128414"/>
                          <a:gd name="connsiteX21" fmla="*/ 1905 w 104775"/>
                          <a:gd name="connsiteY21" fmla="*/ 59834 h 128414"/>
                          <a:gd name="connsiteX22" fmla="*/ 0 w 104775"/>
                          <a:gd name="connsiteY22" fmla="*/ 65549 h 128414"/>
                          <a:gd name="connsiteX23" fmla="*/ 5715 w 104775"/>
                          <a:gd name="connsiteY23" fmla="*/ 78884 h 128414"/>
                          <a:gd name="connsiteX24" fmla="*/ 5715 w 104775"/>
                          <a:gd name="connsiteY24" fmla="*/ 82694 h 128414"/>
                          <a:gd name="connsiteX25" fmla="*/ 17145 w 104775"/>
                          <a:gd name="connsiteY25" fmla="*/ 111269 h 128414"/>
                          <a:gd name="connsiteX0" fmla="*/ 19050 w 104775"/>
                          <a:gd name="connsiteY0" fmla="*/ 107492 h 128447"/>
                          <a:gd name="connsiteX1" fmla="*/ 24765 w 104775"/>
                          <a:gd name="connsiteY1" fmla="*/ 111302 h 128447"/>
                          <a:gd name="connsiteX2" fmla="*/ 28575 w 104775"/>
                          <a:gd name="connsiteY2" fmla="*/ 117017 h 128447"/>
                          <a:gd name="connsiteX3" fmla="*/ 32385 w 104775"/>
                          <a:gd name="connsiteY3" fmla="*/ 128447 h 128447"/>
                          <a:gd name="connsiteX4" fmla="*/ 81915 w 104775"/>
                          <a:gd name="connsiteY4" fmla="*/ 126542 h 128447"/>
                          <a:gd name="connsiteX5" fmla="*/ 87630 w 104775"/>
                          <a:gd name="connsiteY5" fmla="*/ 124637 h 128447"/>
                          <a:gd name="connsiteX6" fmla="*/ 89535 w 104775"/>
                          <a:gd name="connsiteY6" fmla="*/ 118922 h 128447"/>
                          <a:gd name="connsiteX7" fmla="*/ 93345 w 104775"/>
                          <a:gd name="connsiteY7" fmla="*/ 113207 h 128447"/>
                          <a:gd name="connsiteX8" fmla="*/ 95250 w 104775"/>
                          <a:gd name="connsiteY8" fmla="*/ 99872 h 128447"/>
                          <a:gd name="connsiteX9" fmla="*/ 100965 w 104775"/>
                          <a:gd name="connsiteY9" fmla="*/ 96062 h 128447"/>
                          <a:gd name="connsiteX10" fmla="*/ 104775 w 104775"/>
                          <a:gd name="connsiteY10" fmla="*/ 84632 h 128447"/>
                          <a:gd name="connsiteX11" fmla="*/ 100965 w 104775"/>
                          <a:gd name="connsiteY11" fmla="*/ 57962 h 128447"/>
                          <a:gd name="connsiteX12" fmla="*/ 99060 w 104775"/>
                          <a:gd name="connsiteY12" fmla="*/ 50342 h 128447"/>
                          <a:gd name="connsiteX13" fmla="*/ 95250 w 104775"/>
                          <a:gd name="connsiteY13" fmla="*/ 44627 h 128447"/>
                          <a:gd name="connsiteX14" fmla="*/ 91440 w 104775"/>
                          <a:gd name="connsiteY14" fmla="*/ 33197 h 128447"/>
                          <a:gd name="connsiteX15" fmla="*/ 70485 w 104775"/>
                          <a:gd name="connsiteY15" fmla="*/ 4622 h 128447"/>
                          <a:gd name="connsiteX16" fmla="*/ 45720 w 104775"/>
                          <a:gd name="connsiteY16" fmla="*/ 2717 h 128447"/>
                          <a:gd name="connsiteX17" fmla="*/ 41910 w 104775"/>
                          <a:gd name="connsiteY17" fmla="*/ 31292 h 128447"/>
                          <a:gd name="connsiteX18" fmla="*/ 40005 w 104775"/>
                          <a:gd name="connsiteY18" fmla="*/ 44627 h 128447"/>
                          <a:gd name="connsiteX19" fmla="*/ 3810 w 104775"/>
                          <a:gd name="connsiteY19" fmla="*/ 52247 h 128447"/>
                          <a:gd name="connsiteX20" fmla="*/ 1905 w 104775"/>
                          <a:gd name="connsiteY20" fmla="*/ 59867 h 128447"/>
                          <a:gd name="connsiteX21" fmla="*/ 0 w 104775"/>
                          <a:gd name="connsiteY21" fmla="*/ 65582 h 128447"/>
                          <a:gd name="connsiteX22" fmla="*/ 5715 w 104775"/>
                          <a:gd name="connsiteY22" fmla="*/ 78917 h 128447"/>
                          <a:gd name="connsiteX23" fmla="*/ 5715 w 104775"/>
                          <a:gd name="connsiteY23" fmla="*/ 82727 h 128447"/>
                          <a:gd name="connsiteX24" fmla="*/ 17145 w 104775"/>
                          <a:gd name="connsiteY24" fmla="*/ 111302 h 128447"/>
                          <a:gd name="connsiteX0" fmla="*/ 19050 w 104775"/>
                          <a:gd name="connsiteY0" fmla="*/ 102874 h 123829"/>
                          <a:gd name="connsiteX1" fmla="*/ 24765 w 104775"/>
                          <a:gd name="connsiteY1" fmla="*/ 106684 h 123829"/>
                          <a:gd name="connsiteX2" fmla="*/ 28575 w 104775"/>
                          <a:gd name="connsiteY2" fmla="*/ 112399 h 123829"/>
                          <a:gd name="connsiteX3" fmla="*/ 32385 w 104775"/>
                          <a:gd name="connsiteY3" fmla="*/ 123829 h 123829"/>
                          <a:gd name="connsiteX4" fmla="*/ 81915 w 104775"/>
                          <a:gd name="connsiteY4" fmla="*/ 121924 h 123829"/>
                          <a:gd name="connsiteX5" fmla="*/ 87630 w 104775"/>
                          <a:gd name="connsiteY5" fmla="*/ 120019 h 123829"/>
                          <a:gd name="connsiteX6" fmla="*/ 89535 w 104775"/>
                          <a:gd name="connsiteY6" fmla="*/ 114304 h 123829"/>
                          <a:gd name="connsiteX7" fmla="*/ 93345 w 104775"/>
                          <a:gd name="connsiteY7" fmla="*/ 108589 h 123829"/>
                          <a:gd name="connsiteX8" fmla="*/ 95250 w 104775"/>
                          <a:gd name="connsiteY8" fmla="*/ 95254 h 123829"/>
                          <a:gd name="connsiteX9" fmla="*/ 100965 w 104775"/>
                          <a:gd name="connsiteY9" fmla="*/ 91444 h 123829"/>
                          <a:gd name="connsiteX10" fmla="*/ 104775 w 104775"/>
                          <a:gd name="connsiteY10" fmla="*/ 80014 h 123829"/>
                          <a:gd name="connsiteX11" fmla="*/ 100965 w 104775"/>
                          <a:gd name="connsiteY11" fmla="*/ 53344 h 123829"/>
                          <a:gd name="connsiteX12" fmla="*/ 99060 w 104775"/>
                          <a:gd name="connsiteY12" fmla="*/ 45724 h 123829"/>
                          <a:gd name="connsiteX13" fmla="*/ 95250 w 104775"/>
                          <a:gd name="connsiteY13" fmla="*/ 40009 h 123829"/>
                          <a:gd name="connsiteX14" fmla="*/ 91440 w 104775"/>
                          <a:gd name="connsiteY14" fmla="*/ 28579 h 123829"/>
                          <a:gd name="connsiteX15" fmla="*/ 70485 w 104775"/>
                          <a:gd name="connsiteY15" fmla="*/ 4 h 123829"/>
                          <a:gd name="connsiteX16" fmla="*/ 41910 w 104775"/>
                          <a:gd name="connsiteY16" fmla="*/ 26674 h 123829"/>
                          <a:gd name="connsiteX17" fmla="*/ 40005 w 104775"/>
                          <a:gd name="connsiteY17" fmla="*/ 40009 h 123829"/>
                          <a:gd name="connsiteX18" fmla="*/ 3810 w 104775"/>
                          <a:gd name="connsiteY18" fmla="*/ 47629 h 123829"/>
                          <a:gd name="connsiteX19" fmla="*/ 1905 w 104775"/>
                          <a:gd name="connsiteY19" fmla="*/ 55249 h 123829"/>
                          <a:gd name="connsiteX20" fmla="*/ 0 w 104775"/>
                          <a:gd name="connsiteY20" fmla="*/ 60964 h 123829"/>
                          <a:gd name="connsiteX21" fmla="*/ 5715 w 104775"/>
                          <a:gd name="connsiteY21" fmla="*/ 74299 h 123829"/>
                          <a:gd name="connsiteX22" fmla="*/ 5715 w 104775"/>
                          <a:gd name="connsiteY22" fmla="*/ 78109 h 123829"/>
                          <a:gd name="connsiteX23" fmla="*/ 17145 w 104775"/>
                          <a:gd name="connsiteY23" fmla="*/ 106684 h 123829"/>
                          <a:gd name="connsiteX0" fmla="*/ 19050 w 104775"/>
                          <a:gd name="connsiteY0" fmla="*/ 77050 h 98005"/>
                          <a:gd name="connsiteX1" fmla="*/ 24765 w 104775"/>
                          <a:gd name="connsiteY1" fmla="*/ 80860 h 98005"/>
                          <a:gd name="connsiteX2" fmla="*/ 28575 w 104775"/>
                          <a:gd name="connsiteY2" fmla="*/ 86575 h 98005"/>
                          <a:gd name="connsiteX3" fmla="*/ 32385 w 104775"/>
                          <a:gd name="connsiteY3" fmla="*/ 98005 h 98005"/>
                          <a:gd name="connsiteX4" fmla="*/ 81915 w 104775"/>
                          <a:gd name="connsiteY4" fmla="*/ 96100 h 98005"/>
                          <a:gd name="connsiteX5" fmla="*/ 87630 w 104775"/>
                          <a:gd name="connsiteY5" fmla="*/ 94195 h 98005"/>
                          <a:gd name="connsiteX6" fmla="*/ 89535 w 104775"/>
                          <a:gd name="connsiteY6" fmla="*/ 88480 h 98005"/>
                          <a:gd name="connsiteX7" fmla="*/ 93345 w 104775"/>
                          <a:gd name="connsiteY7" fmla="*/ 82765 h 98005"/>
                          <a:gd name="connsiteX8" fmla="*/ 95250 w 104775"/>
                          <a:gd name="connsiteY8" fmla="*/ 69430 h 98005"/>
                          <a:gd name="connsiteX9" fmla="*/ 100965 w 104775"/>
                          <a:gd name="connsiteY9" fmla="*/ 65620 h 98005"/>
                          <a:gd name="connsiteX10" fmla="*/ 104775 w 104775"/>
                          <a:gd name="connsiteY10" fmla="*/ 54190 h 98005"/>
                          <a:gd name="connsiteX11" fmla="*/ 100965 w 104775"/>
                          <a:gd name="connsiteY11" fmla="*/ 27520 h 98005"/>
                          <a:gd name="connsiteX12" fmla="*/ 99060 w 104775"/>
                          <a:gd name="connsiteY12" fmla="*/ 19900 h 98005"/>
                          <a:gd name="connsiteX13" fmla="*/ 95250 w 104775"/>
                          <a:gd name="connsiteY13" fmla="*/ 14185 h 98005"/>
                          <a:gd name="connsiteX14" fmla="*/ 91440 w 104775"/>
                          <a:gd name="connsiteY14" fmla="*/ 2755 h 98005"/>
                          <a:gd name="connsiteX15" fmla="*/ 41910 w 104775"/>
                          <a:gd name="connsiteY15" fmla="*/ 850 h 98005"/>
                          <a:gd name="connsiteX16" fmla="*/ 40005 w 104775"/>
                          <a:gd name="connsiteY16" fmla="*/ 14185 h 98005"/>
                          <a:gd name="connsiteX17" fmla="*/ 3810 w 104775"/>
                          <a:gd name="connsiteY17" fmla="*/ 21805 h 98005"/>
                          <a:gd name="connsiteX18" fmla="*/ 1905 w 104775"/>
                          <a:gd name="connsiteY18" fmla="*/ 29425 h 98005"/>
                          <a:gd name="connsiteX19" fmla="*/ 0 w 104775"/>
                          <a:gd name="connsiteY19" fmla="*/ 35140 h 98005"/>
                          <a:gd name="connsiteX20" fmla="*/ 5715 w 104775"/>
                          <a:gd name="connsiteY20" fmla="*/ 48475 h 98005"/>
                          <a:gd name="connsiteX21" fmla="*/ 5715 w 104775"/>
                          <a:gd name="connsiteY21" fmla="*/ 52285 h 98005"/>
                          <a:gd name="connsiteX22" fmla="*/ 17145 w 104775"/>
                          <a:gd name="connsiteY22" fmla="*/ 80860 h 98005"/>
                          <a:gd name="connsiteX0" fmla="*/ 19050 w 104775"/>
                          <a:gd name="connsiteY0" fmla="*/ 76200 h 97155"/>
                          <a:gd name="connsiteX1" fmla="*/ 24765 w 104775"/>
                          <a:gd name="connsiteY1" fmla="*/ 80010 h 97155"/>
                          <a:gd name="connsiteX2" fmla="*/ 28575 w 104775"/>
                          <a:gd name="connsiteY2" fmla="*/ 85725 h 97155"/>
                          <a:gd name="connsiteX3" fmla="*/ 32385 w 104775"/>
                          <a:gd name="connsiteY3" fmla="*/ 97155 h 97155"/>
                          <a:gd name="connsiteX4" fmla="*/ 81915 w 104775"/>
                          <a:gd name="connsiteY4" fmla="*/ 95250 h 97155"/>
                          <a:gd name="connsiteX5" fmla="*/ 87630 w 104775"/>
                          <a:gd name="connsiteY5" fmla="*/ 93345 h 97155"/>
                          <a:gd name="connsiteX6" fmla="*/ 89535 w 104775"/>
                          <a:gd name="connsiteY6" fmla="*/ 87630 h 97155"/>
                          <a:gd name="connsiteX7" fmla="*/ 93345 w 104775"/>
                          <a:gd name="connsiteY7" fmla="*/ 81915 h 97155"/>
                          <a:gd name="connsiteX8" fmla="*/ 95250 w 104775"/>
                          <a:gd name="connsiteY8" fmla="*/ 68580 h 97155"/>
                          <a:gd name="connsiteX9" fmla="*/ 100965 w 104775"/>
                          <a:gd name="connsiteY9" fmla="*/ 64770 h 97155"/>
                          <a:gd name="connsiteX10" fmla="*/ 104775 w 104775"/>
                          <a:gd name="connsiteY10" fmla="*/ 53340 h 97155"/>
                          <a:gd name="connsiteX11" fmla="*/ 100965 w 104775"/>
                          <a:gd name="connsiteY11" fmla="*/ 26670 h 97155"/>
                          <a:gd name="connsiteX12" fmla="*/ 99060 w 104775"/>
                          <a:gd name="connsiteY12" fmla="*/ 19050 h 97155"/>
                          <a:gd name="connsiteX13" fmla="*/ 95250 w 104775"/>
                          <a:gd name="connsiteY13" fmla="*/ 13335 h 97155"/>
                          <a:gd name="connsiteX14" fmla="*/ 41910 w 104775"/>
                          <a:gd name="connsiteY14" fmla="*/ 0 h 97155"/>
                          <a:gd name="connsiteX15" fmla="*/ 40005 w 104775"/>
                          <a:gd name="connsiteY15" fmla="*/ 13335 h 97155"/>
                          <a:gd name="connsiteX16" fmla="*/ 3810 w 104775"/>
                          <a:gd name="connsiteY16" fmla="*/ 20955 h 97155"/>
                          <a:gd name="connsiteX17" fmla="*/ 1905 w 104775"/>
                          <a:gd name="connsiteY17" fmla="*/ 28575 h 97155"/>
                          <a:gd name="connsiteX18" fmla="*/ 0 w 104775"/>
                          <a:gd name="connsiteY18" fmla="*/ 34290 h 97155"/>
                          <a:gd name="connsiteX19" fmla="*/ 5715 w 104775"/>
                          <a:gd name="connsiteY19" fmla="*/ 47625 h 97155"/>
                          <a:gd name="connsiteX20" fmla="*/ 5715 w 104775"/>
                          <a:gd name="connsiteY20" fmla="*/ 51435 h 97155"/>
                          <a:gd name="connsiteX21" fmla="*/ 17145 w 104775"/>
                          <a:gd name="connsiteY21" fmla="*/ 80010 h 97155"/>
                          <a:gd name="connsiteX0" fmla="*/ 19050 w 104775"/>
                          <a:gd name="connsiteY0" fmla="*/ 76298 h 97253"/>
                          <a:gd name="connsiteX1" fmla="*/ 24765 w 104775"/>
                          <a:gd name="connsiteY1" fmla="*/ 80108 h 97253"/>
                          <a:gd name="connsiteX2" fmla="*/ 28575 w 104775"/>
                          <a:gd name="connsiteY2" fmla="*/ 85823 h 97253"/>
                          <a:gd name="connsiteX3" fmla="*/ 32385 w 104775"/>
                          <a:gd name="connsiteY3" fmla="*/ 97253 h 97253"/>
                          <a:gd name="connsiteX4" fmla="*/ 81915 w 104775"/>
                          <a:gd name="connsiteY4" fmla="*/ 95348 h 97253"/>
                          <a:gd name="connsiteX5" fmla="*/ 87630 w 104775"/>
                          <a:gd name="connsiteY5" fmla="*/ 93443 h 97253"/>
                          <a:gd name="connsiteX6" fmla="*/ 89535 w 104775"/>
                          <a:gd name="connsiteY6" fmla="*/ 87728 h 97253"/>
                          <a:gd name="connsiteX7" fmla="*/ 93345 w 104775"/>
                          <a:gd name="connsiteY7" fmla="*/ 82013 h 97253"/>
                          <a:gd name="connsiteX8" fmla="*/ 95250 w 104775"/>
                          <a:gd name="connsiteY8" fmla="*/ 68678 h 97253"/>
                          <a:gd name="connsiteX9" fmla="*/ 100965 w 104775"/>
                          <a:gd name="connsiteY9" fmla="*/ 64868 h 97253"/>
                          <a:gd name="connsiteX10" fmla="*/ 104775 w 104775"/>
                          <a:gd name="connsiteY10" fmla="*/ 53438 h 97253"/>
                          <a:gd name="connsiteX11" fmla="*/ 100965 w 104775"/>
                          <a:gd name="connsiteY11" fmla="*/ 26768 h 97253"/>
                          <a:gd name="connsiteX12" fmla="*/ 99060 w 104775"/>
                          <a:gd name="connsiteY12" fmla="*/ 19148 h 97253"/>
                          <a:gd name="connsiteX13" fmla="*/ 95250 w 104775"/>
                          <a:gd name="connsiteY13" fmla="*/ 13433 h 97253"/>
                          <a:gd name="connsiteX14" fmla="*/ 41910 w 104775"/>
                          <a:gd name="connsiteY14" fmla="*/ 98 h 97253"/>
                          <a:gd name="connsiteX15" fmla="*/ 3810 w 104775"/>
                          <a:gd name="connsiteY15" fmla="*/ 21053 h 97253"/>
                          <a:gd name="connsiteX16" fmla="*/ 1905 w 104775"/>
                          <a:gd name="connsiteY16" fmla="*/ 28673 h 97253"/>
                          <a:gd name="connsiteX17" fmla="*/ 0 w 104775"/>
                          <a:gd name="connsiteY17" fmla="*/ 34388 h 97253"/>
                          <a:gd name="connsiteX18" fmla="*/ 5715 w 104775"/>
                          <a:gd name="connsiteY18" fmla="*/ 47723 h 97253"/>
                          <a:gd name="connsiteX19" fmla="*/ 5715 w 104775"/>
                          <a:gd name="connsiteY19" fmla="*/ 51533 h 97253"/>
                          <a:gd name="connsiteX20" fmla="*/ 17145 w 104775"/>
                          <a:gd name="connsiteY20" fmla="*/ 80108 h 97253"/>
                          <a:gd name="connsiteX0" fmla="*/ 19050 w 104775"/>
                          <a:gd name="connsiteY0" fmla="*/ 76205 h 97160"/>
                          <a:gd name="connsiteX1" fmla="*/ 24765 w 104775"/>
                          <a:gd name="connsiteY1" fmla="*/ 80015 h 97160"/>
                          <a:gd name="connsiteX2" fmla="*/ 28575 w 104775"/>
                          <a:gd name="connsiteY2" fmla="*/ 85730 h 97160"/>
                          <a:gd name="connsiteX3" fmla="*/ 32385 w 104775"/>
                          <a:gd name="connsiteY3" fmla="*/ 97160 h 97160"/>
                          <a:gd name="connsiteX4" fmla="*/ 81915 w 104775"/>
                          <a:gd name="connsiteY4" fmla="*/ 95255 h 97160"/>
                          <a:gd name="connsiteX5" fmla="*/ 87630 w 104775"/>
                          <a:gd name="connsiteY5" fmla="*/ 93350 h 97160"/>
                          <a:gd name="connsiteX6" fmla="*/ 89535 w 104775"/>
                          <a:gd name="connsiteY6" fmla="*/ 87635 h 97160"/>
                          <a:gd name="connsiteX7" fmla="*/ 93345 w 104775"/>
                          <a:gd name="connsiteY7" fmla="*/ 81920 h 97160"/>
                          <a:gd name="connsiteX8" fmla="*/ 95250 w 104775"/>
                          <a:gd name="connsiteY8" fmla="*/ 68585 h 97160"/>
                          <a:gd name="connsiteX9" fmla="*/ 100965 w 104775"/>
                          <a:gd name="connsiteY9" fmla="*/ 64775 h 97160"/>
                          <a:gd name="connsiteX10" fmla="*/ 104775 w 104775"/>
                          <a:gd name="connsiteY10" fmla="*/ 53345 h 97160"/>
                          <a:gd name="connsiteX11" fmla="*/ 100965 w 104775"/>
                          <a:gd name="connsiteY11" fmla="*/ 26675 h 97160"/>
                          <a:gd name="connsiteX12" fmla="*/ 99060 w 104775"/>
                          <a:gd name="connsiteY12" fmla="*/ 19055 h 97160"/>
                          <a:gd name="connsiteX13" fmla="*/ 41910 w 104775"/>
                          <a:gd name="connsiteY13" fmla="*/ 5 h 97160"/>
                          <a:gd name="connsiteX14" fmla="*/ 3810 w 104775"/>
                          <a:gd name="connsiteY14" fmla="*/ 20960 h 97160"/>
                          <a:gd name="connsiteX15" fmla="*/ 1905 w 104775"/>
                          <a:gd name="connsiteY15" fmla="*/ 28580 h 97160"/>
                          <a:gd name="connsiteX16" fmla="*/ 0 w 104775"/>
                          <a:gd name="connsiteY16" fmla="*/ 34295 h 97160"/>
                          <a:gd name="connsiteX17" fmla="*/ 5715 w 104775"/>
                          <a:gd name="connsiteY17" fmla="*/ 47630 h 97160"/>
                          <a:gd name="connsiteX18" fmla="*/ 5715 w 104775"/>
                          <a:gd name="connsiteY18" fmla="*/ 51440 h 97160"/>
                          <a:gd name="connsiteX19" fmla="*/ 17145 w 104775"/>
                          <a:gd name="connsiteY19" fmla="*/ 80015 h 97160"/>
                          <a:gd name="connsiteX0" fmla="*/ 19050 w 105971"/>
                          <a:gd name="connsiteY0" fmla="*/ 76238 h 97193"/>
                          <a:gd name="connsiteX1" fmla="*/ 24765 w 105971"/>
                          <a:gd name="connsiteY1" fmla="*/ 80048 h 97193"/>
                          <a:gd name="connsiteX2" fmla="*/ 28575 w 105971"/>
                          <a:gd name="connsiteY2" fmla="*/ 85763 h 97193"/>
                          <a:gd name="connsiteX3" fmla="*/ 32385 w 105971"/>
                          <a:gd name="connsiteY3" fmla="*/ 97193 h 97193"/>
                          <a:gd name="connsiteX4" fmla="*/ 81915 w 105971"/>
                          <a:gd name="connsiteY4" fmla="*/ 95288 h 97193"/>
                          <a:gd name="connsiteX5" fmla="*/ 87630 w 105971"/>
                          <a:gd name="connsiteY5" fmla="*/ 93383 h 97193"/>
                          <a:gd name="connsiteX6" fmla="*/ 89535 w 105971"/>
                          <a:gd name="connsiteY6" fmla="*/ 87668 h 97193"/>
                          <a:gd name="connsiteX7" fmla="*/ 93345 w 105971"/>
                          <a:gd name="connsiteY7" fmla="*/ 81953 h 97193"/>
                          <a:gd name="connsiteX8" fmla="*/ 95250 w 105971"/>
                          <a:gd name="connsiteY8" fmla="*/ 68618 h 97193"/>
                          <a:gd name="connsiteX9" fmla="*/ 100965 w 105971"/>
                          <a:gd name="connsiteY9" fmla="*/ 64808 h 97193"/>
                          <a:gd name="connsiteX10" fmla="*/ 104775 w 105971"/>
                          <a:gd name="connsiteY10" fmla="*/ 53378 h 97193"/>
                          <a:gd name="connsiteX11" fmla="*/ 100965 w 105971"/>
                          <a:gd name="connsiteY11" fmla="*/ 26708 h 97193"/>
                          <a:gd name="connsiteX12" fmla="*/ 41910 w 105971"/>
                          <a:gd name="connsiteY12" fmla="*/ 38 h 97193"/>
                          <a:gd name="connsiteX13" fmla="*/ 3810 w 105971"/>
                          <a:gd name="connsiteY13" fmla="*/ 20993 h 97193"/>
                          <a:gd name="connsiteX14" fmla="*/ 1905 w 105971"/>
                          <a:gd name="connsiteY14" fmla="*/ 28613 h 97193"/>
                          <a:gd name="connsiteX15" fmla="*/ 0 w 105971"/>
                          <a:gd name="connsiteY15" fmla="*/ 34328 h 97193"/>
                          <a:gd name="connsiteX16" fmla="*/ 5715 w 105971"/>
                          <a:gd name="connsiteY16" fmla="*/ 47663 h 97193"/>
                          <a:gd name="connsiteX17" fmla="*/ 5715 w 105971"/>
                          <a:gd name="connsiteY17" fmla="*/ 51473 h 97193"/>
                          <a:gd name="connsiteX18" fmla="*/ 17145 w 105971"/>
                          <a:gd name="connsiteY18" fmla="*/ 80048 h 97193"/>
                          <a:gd name="connsiteX0" fmla="*/ 19050 w 106250"/>
                          <a:gd name="connsiteY0" fmla="*/ 64875 h 85830"/>
                          <a:gd name="connsiteX1" fmla="*/ 24765 w 106250"/>
                          <a:gd name="connsiteY1" fmla="*/ 68685 h 85830"/>
                          <a:gd name="connsiteX2" fmla="*/ 28575 w 106250"/>
                          <a:gd name="connsiteY2" fmla="*/ 74400 h 85830"/>
                          <a:gd name="connsiteX3" fmla="*/ 32385 w 106250"/>
                          <a:gd name="connsiteY3" fmla="*/ 85830 h 85830"/>
                          <a:gd name="connsiteX4" fmla="*/ 81915 w 106250"/>
                          <a:gd name="connsiteY4" fmla="*/ 83925 h 85830"/>
                          <a:gd name="connsiteX5" fmla="*/ 87630 w 106250"/>
                          <a:gd name="connsiteY5" fmla="*/ 82020 h 85830"/>
                          <a:gd name="connsiteX6" fmla="*/ 89535 w 106250"/>
                          <a:gd name="connsiteY6" fmla="*/ 76305 h 85830"/>
                          <a:gd name="connsiteX7" fmla="*/ 93345 w 106250"/>
                          <a:gd name="connsiteY7" fmla="*/ 70590 h 85830"/>
                          <a:gd name="connsiteX8" fmla="*/ 95250 w 106250"/>
                          <a:gd name="connsiteY8" fmla="*/ 57255 h 85830"/>
                          <a:gd name="connsiteX9" fmla="*/ 100965 w 106250"/>
                          <a:gd name="connsiteY9" fmla="*/ 53445 h 85830"/>
                          <a:gd name="connsiteX10" fmla="*/ 104775 w 106250"/>
                          <a:gd name="connsiteY10" fmla="*/ 42015 h 85830"/>
                          <a:gd name="connsiteX11" fmla="*/ 100965 w 106250"/>
                          <a:gd name="connsiteY11" fmla="*/ 15345 h 85830"/>
                          <a:gd name="connsiteX12" fmla="*/ 38100 w 106250"/>
                          <a:gd name="connsiteY12" fmla="*/ 105 h 85830"/>
                          <a:gd name="connsiteX13" fmla="*/ 3810 w 106250"/>
                          <a:gd name="connsiteY13" fmla="*/ 9630 h 85830"/>
                          <a:gd name="connsiteX14" fmla="*/ 1905 w 106250"/>
                          <a:gd name="connsiteY14" fmla="*/ 17250 h 85830"/>
                          <a:gd name="connsiteX15" fmla="*/ 0 w 106250"/>
                          <a:gd name="connsiteY15" fmla="*/ 22965 h 85830"/>
                          <a:gd name="connsiteX16" fmla="*/ 5715 w 106250"/>
                          <a:gd name="connsiteY16" fmla="*/ 36300 h 85830"/>
                          <a:gd name="connsiteX17" fmla="*/ 5715 w 106250"/>
                          <a:gd name="connsiteY17" fmla="*/ 40110 h 85830"/>
                          <a:gd name="connsiteX18" fmla="*/ 17145 w 106250"/>
                          <a:gd name="connsiteY18" fmla="*/ 68685 h 8583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</a:cxnLst>
                        <a:rect l="l" t="t" r="r" b="b"/>
                        <a:pathLst>
                          <a:path w="106250" h="85830">
                            <a:moveTo>
                              <a:pt x="19050" y="64875"/>
                            </a:moveTo>
                            <a:cubicBezTo>
                              <a:pt x="19050" y="69955"/>
                              <a:pt x="22860" y="67415"/>
                              <a:pt x="24765" y="68685"/>
                            </a:cubicBezTo>
                            <a:cubicBezTo>
                              <a:pt x="26035" y="70590"/>
                              <a:pt x="27645" y="72308"/>
                              <a:pt x="28575" y="74400"/>
                            </a:cubicBezTo>
                            <a:cubicBezTo>
                              <a:pt x="30206" y="78070"/>
                              <a:pt x="32385" y="85830"/>
                              <a:pt x="32385" y="85830"/>
                            </a:cubicBezTo>
                            <a:cubicBezTo>
                              <a:pt x="48895" y="85195"/>
                              <a:pt x="65432" y="85062"/>
                              <a:pt x="81915" y="83925"/>
                            </a:cubicBezTo>
                            <a:cubicBezTo>
                              <a:pt x="83918" y="83787"/>
                              <a:pt x="86210" y="83440"/>
                              <a:pt x="87630" y="82020"/>
                            </a:cubicBezTo>
                            <a:cubicBezTo>
                              <a:pt x="89050" y="80600"/>
                              <a:pt x="88637" y="78101"/>
                              <a:pt x="89535" y="76305"/>
                            </a:cubicBezTo>
                            <a:cubicBezTo>
                              <a:pt x="90559" y="74257"/>
                              <a:pt x="92075" y="72495"/>
                              <a:pt x="93345" y="70590"/>
                            </a:cubicBezTo>
                            <a:cubicBezTo>
                              <a:pt x="93980" y="66145"/>
                              <a:pt x="93426" y="61358"/>
                              <a:pt x="95250" y="57255"/>
                            </a:cubicBezTo>
                            <a:cubicBezTo>
                              <a:pt x="96180" y="55163"/>
                              <a:pt x="99752" y="55387"/>
                              <a:pt x="100965" y="53445"/>
                            </a:cubicBezTo>
                            <a:cubicBezTo>
                              <a:pt x="103094" y="50039"/>
                              <a:pt x="104775" y="42015"/>
                              <a:pt x="104775" y="42015"/>
                            </a:cubicBezTo>
                            <a:cubicBezTo>
                              <a:pt x="101728" y="8500"/>
                              <a:pt x="112077" y="22330"/>
                              <a:pt x="100965" y="15345"/>
                            </a:cubicBezTo>
                            <a:cubicBezTo>
                              <a:pt x="89853" y="8360"/>
                              <a:pt x="54292" y="1057"/>
                              <a:pt x="38100" y="105"/>
                            </a:cubicBezTo>
                            <a:cubicBezTo>
                              <a:pt x="21908" y="-847"/>
                              <a:pt x="10477" y="4868"/>
                              <a:pt x="3810" y="9630"/>
                            </a:cubicBezTo>
                            <a:cubicBezTo>
                              <a:pt x="3175" y="12170"/>
                              <a:pt x="2624" y="14733"/>
                              <a:pt x="1905" y="17250"/>
                            </a:cubicBezTo>
                            <a:cubicBezTo>
                              <a:pt x="1353" y="19181"/>
                              <a:pt x="0" y="20957"/>
                              <a:pt x="0" y="22965"/>
                            </a:cubicBezTo>
                            <a:cubicBezTo>
                              <a:pt x="0" y="32673"/>
                              <a:pt x="2604" y="28523"/>
                              <a:pt x="5715" y="36300"/>
                            </a:cubicBezTo>
                            <a:cubicBezTo>
                              <a:pt x="6187" y="37479"/>
                              <a:pt x="3810" y="34713"/>
                              <a:pt x="5715" y="40110"/>
                            </a:cubicBezTo>
                            <a:cubicBezTo>
                              <a:pt x="7620" y="45507"/>
                              <a:pt x="13335" y="59160"/>
                              <a:pt x="17145" y="68685"/>
                            </a:cubicBezTo>
                          </a:path>
                        </a:pathLst>
                      </a:custGeom>
                      <a:solidFill>
                        <a:srgbClr val="0D3759"/>
                      </a:solidFill>
                      <a:ln w="3175" cap="flat" cmpd="sng" algn="ctr">
                        <a:solidFill>
                          <a:srgbClr val="F2E8F8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87" name="Freeform: Shape 72">
                        <a:extLst>
                          <a:ext uri="{FF2B5EF4-FFF2-40B4-BE49-F238E27FC236}">
                            <a16:creationId xmlns:a16="http://schemas.microsoft.com/office/drawing/2014/main" id="{069EC64E-4FE2-B448-D241-4CE66508255B}"/>
                          </a:ext>
                        </a:extLst>
                      </p:cNvPr>
                      <p:cNvSpPr/>
                      <p:nvPr/>
                    </p:nvSpPr>
                    <p:spPr>
                      <a:xfrm rot="5209521">
                        <a:off x="8961351" y="4317762"/>
                        <a:ext cx="27432" cy="36576"/>
                      </a:xfrm>
                      <a:custGeom>
                        <a:avLst/>
                        <a:gdLst>
                          <a:gd name="connsiteX0" fmla="*/ 57150 w 104775"/>
                          <a:gd name="connsiteY0" fmla="*/ 76200 h 127635"/>
                          <a:gd name="connsiteX1" fmla="*/ 57150 w 104775"/>
                          <a:gd name="connsiteY1" fmla="*/ 76200 h 127635"/>
                          <a:gd name="connsiteX2" fmla="*/ 24765 w 104775"/>
                          <a:gd name="connsiteY2" fmla="*/ 80010 h 127635"/>
                          <a:gd name="connsiteX3" fmla="*/ 19050 w 104775"/>
                          <a:gd name="connsiteY3" fmla="*/ 83820 h 127635"/>
                          <a:gd name="connsiteX4" fmla="*/ 19050 w 104775"/>
                          <a:gd name="connsiteY4" fmla="*/ 106680 h 127635"/>
                          <a:gd name="connsiteX5" fmla="*/ 24765 w 104775"/>
                          <a:gd name="connsiteY5" fmla="*/ 110490 h 127635"/>
                          <a:gd name="connsiteX6" fmla="*/ 28575 w 104775"/>
                          <a:gd name="connsiteY6" fmla="*/ 116205 h 127635"/>
                          <a:gd name="connsiteX7" fmla="*/ 32385 w 104775"/>
                          <a:gd name="connsiteY7" fmla="*/ 127635 h 127635"/>
                          <a:gd name="connsiteX8" fmla="*/ 81915 w 104775"/>
                          <a:gd name="connsiteY8" fmla="*/ 125730 h 127635"/>
                          <a:gd name="connsiteX9" fmla="*/ 87630 w 104775"/>
                          <a:gd name="connsiteY9" fmla="*/ 123825 h 127635"/>
                          <a:gd name="connsiteX10" fmla="*/ 89535 w 104775"/>
                          <a:gd name="connsiteY10" fmla="*/ 118110 h 127635"/>
                          <a:gd name="connsiteX11" fmla="*/ 93345 w 104775"/>
                          <a:gd name="connsiteY11" fmla="*/ 112395 h 127635"/>
                          <a:gd name="connsiteX12" fmla="*/ 95250 w 104775"/>
                          <a:gd name="connsiteY12" fmla="*/ 99060 h 127635"/>
                          <a:gd name="connsiteX13" fmla="*/ 100965 w 104775"/>
                          <a:gd name="connsiteY13" fmla="*/ 95250 h 127635"/>
                          <a:gd name="connsiteX14" fmla="*/ 104775 w 104775"/>
                          <a:gd name="connsiteY14" fmla="*/ 83820 h 127635"/>
                          <a:gd name="connsiteX15" fmla="*/ 100965 w 104775"/>
                          <a:gd name="connsiteY15" fmla="*/ 57150 h 127635"/>
                          <a:gd name="connsiteX16" fmla="*/ 99060 w 104775"/>
                          <a:gd name="connsiteY16" fmla="*/ 49530 h 127635"/>
                          <a:gd name="connsiteX17" fmla="*/ 95250 w 104775"/>
                          <a:gd name="connsiteY17" fmla="*/ 43815 h 127635"/>
                          <a:gd name="connsiteX18" fmla="*/ 91440 w 104775"/>
                          <a:gd name="connsiteY18" fmla="*/ 32385 h 127635"/>
                          <a:gd name="connsiteX19" fmla="*/ 81915 w 104775"/>
                          <a:gd name="connsiteY19" fmla="*/ 15240 h 127635"/>
                          <a:gd name="connsiteX20" fmla="*/ 70485 w 104775"/>
                          <a:gd name="connsiteY20" fmla="*/ 3810 h 127635"/>
                          <a:gd name="connsiteX21" fmla="*/ 59055 w 104775"/>
                          <a:gd name="connsiteY21" fmla="*/ 0 h 127635"/>
                          <a:gd name="connsiteX22" fmla="*/ 45720 w 104775"/>
                          <a:gd name="connsiteY22" fmla="*/ 1905 h 127635"/>
                          <a:gd name="connsiteX23" fmla="*/ 43815 w 104775"/>
                          <a:gd name="connsiteY23" fmla="*/ 19050 h 127635"/>
                          <a:gd name="connsiteX24" fmla="*/ 41910 w 104775"/>
                          <a:gd name="connsiteY24" fmla="*/ 30480 h 127635"/>
                          <a:gd name="connsiteX25" fmla="*/ 40005 w 104775"/>
                          <a:gd name="connsiteY25" fmla="*/ 43815 h 127635"/>
                          <a:gd name="connsiteX26" fmla="*/ 28575 w 104775"/>
                          <a:gd name="connsiteY26" fmla="*/ 49530 h 127635"/>
                          <a:gd name="connsiteX27" fmla="*/ 3810 w 104775"/>
                          <a:gd name="connsiteY27" fmla="*/ 51435 h 127635"/>
                          <a:gd name="connsiteX28" fmla="*/ 1905 w 104775"/>
                          <a:gd name="connsiteY28" fmla="*/ 59055 h 127635"/>
                          <a:gd name="connsiteX29" fmla="*/ 0 w 104775"/>
                          <a:gd name="connsiteY29" fmla="*/ 64770 h 127635"/>
                          <a:gd name="connsiteX30" fmla="*/ 5715 w 104775"/>
                          <a:gd name="connsiteY30" fmla="*/ 78105 h 127635"/>
                          <a:gd name="connsiteX31" fmla="*/ 5715 w 104775"/>
                          <a:gd name="connsiteY31" fmla="*/ 81915 h 127635"/>
                          <a:gd name="connsiteX32" fmla="*/ 5715 w 104775"/>
                          <a:gd name="connsiteY32" fmla="*/ 87630 h 127635"/>
                          <a:gd name="connsiteX0" fmla="*/ 57150 w 104775"/>
                          <a:gd name="connsiteY0" fmla="*/ 76200 h 127635"/>
                          <a:gd name="connsiteX1" fmla="*/ 24765 w 104775"/>
                          <a:gd name="connsiteY1" fmla="*/ 80010 h 127635"/>
                          <a:gd name="connsiteX2" fmla="*/ 19050 w 104775"/>
                          <a:gd name="connsiteY2" fmla="*/ 83820 h 127635"/>
                          <a:gd name="connsiteX3" fmla="*/ 19050 w 104775"/>
                          <a:gd name="connsiteY3" fmla="*/ 106680 h 127635"/>
                          <a:gd name="connsiteX4" fmla="*/ 24765 w 104775"/>
                          <a:gd name="connsiteY4" fmla="*/ 110490 h 127635"/>
                          <a:gd name="connsiteX5" fmla="*/ 28575 w 104775"/>
                          <a:gd name="connsiteY5" fmla="*/ 116205 h 127635"/>
                          <a:gd name="connsiteX6" fmla="*/ 32385 w 104775"/>
                          <a:gd name="connsiteY6" fmla="*/ 127635 h 127635"/>
                          <a:gd name="connsiteX7" fmla="*/ 81915 w 104775"/>
                          <a:gd name="connsiteY7" fmla="*/ 125730 h 127635"/>
                          <a:gd name="connsiteX8" fmla="*/ 87630 w 104775"/>
                          <a:gd name="connsiteY8" fmla="*/ 123825 h 127635"/>
                          <a:gd name="connsiteX9" fmla="*/ 89535 w 104775"/>
                          <a:gd name="connsiteY9" fmla="*/ 118110 h 127635"/>
                          <a:gd name="connsiteX10" fmla="*/ 93345 w 104775"/>
                          <a:gd name="connsiteY10" fmla="*/ 112395 h 127635"/>
                          <a:gd name="connsiteX11" fmla="*/ 95250 w 104775"/>
                          <a:gd name="connsiteY11" fmla="*/ 99060 h 127635"/>
                          <a:gd name="connsiteX12" fmla="*/ 100965 w 104775"/>
                          <a:gd name="connsiteY12" fmla="*/ 95250 h 127635"/>
                          <a:gd name="connsiteX13" fmla="*/ 104775 w 104775"/>
                          <a:gd name="connsiteY13" fmla="*/ 83820 h 127635"/>
                          <a:gd name="connsiteX14" fmla="*/ 100965 w 104775"/>
                          <a:gd name="connsiteY14" fmla="*/ 57150 h 127635"/>
                          <a:gd name="connsiteX15" fmla="*/ 99060 w 104775"/>
                          <a:gd name="connsiteY15" fmla="*/ 49530 h 127635"/>
                          <a:gd name="connsiteX16" fmla="*/ 95250 w 104775"/>
                          <a:gd name="connsiteY16" fmla="*/ 43815 h 127635"/>
                          <a:gd name="connsiteX17" fmla="*/ 91440 w 104775"/>
                          <a:gd name="connsiteY17" fmla="*/ 32385 h 127635"/>
                          <a:gd name="connsiteX18" fmla="*/ 81915 w 104775"/>
                          <a:gd name="connsiteY18" fmla="*/ 15240 h 127635"/>
                          <a:gd name="connsiteX19" fmla="*/ 70485 w 104775"/>
                          <a:gd name="connsiteY19" fmla="*/ 3810 h 127635"/>
                          <a:gd name="connsiteX20" fmla="*/ 59055 w 104775"/>
                          <a:gd name="connsiteY20" fmla="*/ 0 h 127635"/>
                          <a:gd name="connsiteX21" fmla="*/ 45720 w 104775"/>
                          <a:gd name="connsiteY21" fmla="*/ 1905 h 127635"/>
                          <a:gd name="connsiteX22" fmla="*/ 43815 w 104775"/>
                          <a:gd name="connsiteY22" fmla="*/ 19050 h 127635"/>
                          <a:gd name="connsiteX23" fmla="*/ 41910 w 104775"/>
                          <a:gd name="connsiteY23" fmla="*/ 30480 h 127635"/>
                          <a:gd name="connsiteX24" fmla="*/ 40005 w 104775"/>
                          <a:gd name="connsiteY24" fmla="*/ 43815 h 127635"/>
                          <a:gd name="connsiteX25" fmla="*/ 28575 w 104775"/>
                          <a:gd name="connsiteY25" fmla="*/ 49530 h 127635"/>
                          <a:gd name="connsiteX26" fmla="*/ 3810 w 104775"/>
                          <a:gd name="connsiteY26" fmla="*/ 51435 h 127635"/>
                          <a:gd name="connsiteX27" fmla="*/ 1905 w 104775"/>
                          <a:gd name="connsiteY27" fmla="*/ 59055 h 127635"/>
                          <a:gd name="connsiteX28" fmla="*/ 0 w 104775"/>
                          <a:gd name="connsiteY28" fmla="*/ 64770 h 127635"/>
                          <a:gd name="connsiteX29" fmla="*/ 5715 w 104775"/>
                          <a:gd name="connsiteY29" fmla="*/ 78105 h 127635"/>
                          <a:gd name="connsiteX30" fmla="*/ 5715 w 104775"/>
                          <a:gd name="connsiteY30" fmla="*/ 81915 h 127635"/>
                          <a:gd name="connsiteX31" fmla="*/ 5715 w 104775"/>
                          <a:gd name="connsiteY31" fmla="*/ 87630 h 127635"/>
                          <a:gd name="connsiteX0" fmla="*/ 24765 w 104775"/>
                          <a:gd name="connsiteY0" fmla="*/ 80010 h 127635"/>
                          <a:gd name="connsiteX1" fmla="*/ 19050 w 104775"/>
                          <a:gd name="connsiteY1" fmla="*/ 83820 h 127635"/>
                          <a:gd name="connsiteX2" fmla="*/ 19050 w 104775"/>
                          <a:gd name="connsiteY2" fmla="*/ 106680 h 127635"/>
                          <a:gd name="connsiteX3" fmla="*/ 24765 w 104775"/>
                          <a:gd name="connsiteY3" fmla="*/ 110490 h 127635"/>
                          <a:gd name="connsiteX4" fmla="*/ 28575 w 104775"/>
                          <a:gd name="connsiteY4" fmla="*/ 116205 h 127635"/>
                          <a:gd name="connsiteX5" fmla="*/ 32385 w 104775"/>
                          <a:gd name="connsiteY5" fmla="*/ 127635 h 127635"/>
                          <a:gd name="connsiteX6" fmla="*/ 81915 w 104775"/>
                          <a:gd name="connsiteY6" fmla="*/ 125730 h 127635"/>
                          <a:gd name="connsiteX7" fmla="*/ 87630 w 104775"/>
                          <a:gd name="connsiteY7" fmla="*/ 123825 h 127635"/>
                          <a:gd name="connsiteX8" fmla="*/ 89535 w 104775"/>
                          <a:gd name="connsiteY8" fmla="*/ 118110 h 127635"/>
                          <a:gd name="connsiteX9" fmla="*/ 93345 w 104775"/>
                          <a:gd name="connsiteY9" fmla="*/ 112395 h 127635"/>
                          <a:gd name="connsiteX10" fmla="*/ 95250 w 104775"/>
                          <a:gd name="connsiteY10" fmla="*/ 99060 h 127635"/>
                          <a:gd name="connsiteX11" fmla="*/ 100965 w 104775"/>
                          <a:gd name="connsiteY11" fmla="*/ 95250 h 127635"/>
                          <a:gd name="connsiteX12" fmla="*/ 104775 w 104775"/>
                          <a:gd name="connsiteY12" fmla="*/ 83820 h 127635"/>
                          <a:gd name="connsiteX13" fmla="*/ 100965 w 104775"/>
                          <a:gd name="connsiteY13" fmla="*/ 57150 h 127635"/>
                          <a:gd name="connsiteX14" fmla="*/ 99060 w 104775"/>
                          <a:gd name="connsiteY14" fmla="*/ 49530 h 127635"/>
                          <a:gd name="connsiteX15" fmla="*/ 95250 w 104775"/>
                          <a:gd name="connsiteY15" fmla="*/ 43815 h 127635"/>
                          <a:gd name="connsiteX16" fmla="*/ 91440 w 104775"/>
                          <a:gd name="connsiteY16" fmla="*/ 32385 h 127635"/>
                          <a:gd name="connsiteX17" fmla="*/ 81915 w 104775"/>
                          <a:gd name="connsiteY17" fmla="*/ 15240 h 127635"/>
                          <a:gd name="connsiteX18" fmla="*/ 70485 w 104775"/>
                          <a:gd name="connsiteY18" fmla="*/ 3810 h 127635"/>
                          <a:gd name="connsiteX19" fmla="*/ 59055 w 104775"/>
                          <a:gd name="connsiteY19" fmla="*/ 0 h 127635"/>
                          <a:gd name="connsiteX20" fmla="*/ 45720 w 104775"/>
                          <a:gd name="connsiteY20" fmla="*/ 1905 h 127635"/>
                          <a:gd name="connsiteX21" fmla="*/ 43815 w 104775"/>
                          <a:gd name="connsiteY21" fmla="*/ 19050 h 127635"/>
                          <a:gd name="connsiteX22" fmla="*/ 41910 w 104775"/>
                          <a:gd name="connsiteY22" fmla="*/ 30480 h 127635"/>
                          <a:gd name="connsiteX23" fmla="*/ 40005 w 104775"/>
                          <a:gd name="connsiteY23" fmla="*/ 43815 h 127635"/>
                          <a:gd name="connsiteX24" fmla="*/ 28575 w 104775"/>
                          <a:gd name="connsiteY24" fmla="*/ 49530 h 127635"/>
                          <a:gd name="connsiteX25" fmla="*/ 3810 w 104775"/>
                          <a:gd name="connsiteY25" fmla="*/ 51435 h 127635"/>
                          <a:gd name="connsiteX26" fmla="*/ 1905 w 104775"/>
                          <a:gd name="connsiteY26" fmla="*/ 59055 h 127635"/>
                          <a:gd name="connsiteX27" fmla="*/ 0 w 104775"/>
                          <a:gd name="connsiteY27" fmla="*/ 64770 h 127635"/>
                          <a:gd name="connsiteX28" fmla="*/ 5715 w 104775"/>
                          <a:gd name="connsiteY28" fmla="*/ 78105 h 127635"/>
                          <a:gd name="connsiteX29" fmla="*/ 5715 w 104775"/>
                          <a:gd name="connsiteY29" fmla="*/ 81915 h 127635"/>
                          <a:gd name="connsiteX30" fmla="*/ 5715 w 104775"/>
                          <a:gd name="connsiteY30" fmla="*/ 87630 h 127635"/>
                          <a:gd name="connsiteX0" fmla="*/ 24765 w 104775"/>
                          <a:gd name="connsiteY0" fmla="*/ 80010 h 127635"/>
                          <a:gd name="connsiteX1" fmla="*/ 19050 w 104775"/>
                          <a:gd name="connsiteY1" fmla="*/ 106680 h 127635"/>
                          <a:gd name="connsiteX2" fmla="*/ 24765 w 104775"/>
                          <a:gd name="connsiteY2" fmla="*/ 110490 h 127635"/>
                          <a:gd name="connsiteX3" fmla="*/ 28575 w 104775"/>
                          <a:gd name="connsiteY3" fmla="*/ 116205 h 127635"/>
                          <a:gd name="connsiteX4" fmla="*/ 32385 w 104775"/>
                          <a:gd name="connsiteY4" fmla="*/ 127635 h 127635"/>
                          <a:gd name="connsiteX5" fmla="*/ 81915 w 104775"/>
                          <a:gd name="connsiteY5" fmla="*/ 125730 h 127635"/>
                          <a:gd name="connsiteX6" fmla="*/ 87630 w 104775"/>
                          <a:gd name="connsiteY6" fmla="*/ 123825 h 127635"/>
                          <a:gd name="connsiteX7" fmla="*/ 89535 w 104775"/>
                          <a:gd name="connsiteY7" fmla="*/ 118110 h 127635"/>
                          <a:gd name="connsiteX8" fmla="*/ 93345 w 104775"/>
                          <a:gd name="connsiteY8" fmla="*/ 112395 h 127635"/>
                          <a:gd name="connsiteX9" fmla="*/ 95250 w 104775"/>
                          <a:gd name="connsiteY9" fmla="*/ 99060 h 127635"/>
                          <a:gd name="connsiteX10" fmla="*/ 100965 w 104775"/>
                          <a:gd name="connsiteY10" fmla="*/ 95250 h 127635"/>
                          <a:gd name="connsiteX11" fmla="*/ 104775 w 104775"/>
                          <a:gd name="connsiteY11" fmla="*/ 83820 h 127635"/>
                          <a:gd name="connsiteX12" fmla="*/ 100965 w 104775"/>
                          <a:gd name="connsiteY12" fmla="*/ 57150 h 127635"/>
                          <a:gd name="connsiteX13" fmla="*/ 99060 w 104775"/>
                          <a:gd name="connsiteY13" fmla="*/ 49530 h 127635"/>
                          <a:gd name="connsiteX14" fmla="*/ 95250 w 104775"/>
                          <a:gd name="connsiteY14" fmla="*/ 43815 h 127635"/>
                          <a:gd name="connsiteX15" fmla="*/ 91440 w 104775"/>
                          <a:gd name="connsiteY15" fmla="*/ 32385 h 127635"/>
                          <a:gd name="connsiteX16" fmla="*/ 81915 w 104775"/>
                          <a:gd name="connsiteY16" fmla="*/ 15240 h 127635"/>
                          <a:gd name="connsiteX17" fmla="*/ 70485 w 104775"/>
                          <a:gd name="connsiteY17" fmla="*/ 3810 h 127635"/>
                          <a:gd name="connsiteX18" fmla="*/ 59055 w 104775"/>
                          <a:gd name="connsiteY18" fmla="*/ 0 h 127635"/>
                          <a:gd name="connsiteX19" fmla="*/ 45720 w 104775"/>
                          <a:gd name="connsiteY19" fmla="*/ 1905 h 127635"/>
                          <a:gd name="connsiteX20" fmla="*/ 43815 w 104775"/>
                          <a:gd name="connsiteY20" fmla="*/ 19050 h 127635"/>
                          <a:gd name="connsiteX21" fmla="*/ 41910 w 104775"/>
                          <a:gd name="connsiteY21" fmla="*/ 30480 h 127635"/>
                          <a:gd name="connsiteX22" fmla="*/ 40005 w 104775"/>
                          <a:gd name="connsiteY22" fmla="*/ 43815 h 127635"/>
                          <a:gd name="connsiteX23" fmla="*/ 28575 w 104775"/>
                          <a:gd name="connsiteY23" fmla="*/ 49530 h 127635"/>
                          <a:gd name="connsiteX24" fmla="*/ 3810 w 104775"/>
                          <a:gd name="connsiteY24" fmla="*/ 51435 h 127635"/>
                          <a:gd name="connsiteX25" fmla="*/ 1905 w 104775"/>
                          <a:gd name="connsiteY25" fmla="*/ 59055 h 127635"/>
                          <a:gd name="connsiteX26" fmla="*/ 0 w 104775"/>
                          <a:gd name="connsiteY26" fmla="*/ 64770 h 127635"/>
                          <a:gd name="connsiteX27" fmla="*/ 5715 w 104775"/>
                          <a:gd name="connsiteY27" fmla="*/ 78105 h 127635"/>
                          <a:gd name="connsiteX28" fmla="*/ 5715 w 104775"/>
                          <a:gd name="connsiteY28" fmla="*/ 81915 h 127635"/>
                          <a:gd name="connsiteX29" fmla="*/ 5715 w 104775"/>
                          <a:gd name="connsiteY29" fmla="*/ 8763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5715 w 104775"/>
                          <a:gd name="connsiteY28" fmla="*/ 8763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17145 w 104775"/>
                          <a:gd name="connsiteY28" fmla="*/ 11049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17145 w 104775"/>
                          <a:gd name="connsiteY28" fmla="*/ 110490 h 127635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81915 w 104775"/>
                          <a:gd name="connsiteY15" fmla="*/ 16019 h 128414"/>
                          <a:gd name="connsiteX16" fmla="*/ 70485 w 104775"/>
                          <a:gd name="connsiteY16" fmla="*/ 4589 h 128414"/>
                          <a:gd name="connsiteX17" fmla="*/ 59055 w 104775"/>
                          <a:gd name="connsiteY17" fmla="*/ 779 h 128414"/>
                          <a:gd name="connsiteX18" fmla="*/ 45720 w 104775"/>
                          <a:gd name="connsiteY18" fmla="*/ 2684 h 128414"/>
                          <a:gd name="connsiteX19" fmla="*/ 41910 w 104775"/>
                          <a:gd name="connsiteY19" fmla="*/ 31259 h 128414"/>
                          <a:gd name="connsiteX20" fmla="*/ 40005 w 104775"/>
                          <a:gd name="connsiteY20" fmla="*/ 44594 h 128414"/>
                          <a:gd name="connsiteX21" fmla="*/ 28575 w 104775"/>
                          <a:gd name="connsiteY21" fmla="*/ 50309 h 128414"/>
                          <a:gd name="connsiteX22" fmla="*/ 3810 w 104775"/>
                          <a:gd name="connsiteY22" fmla="*/ 52214 h 128414"/>
                          <a:gd name="connsiteX23" fmla="*/ 1905 w 104775"/>
                          <a:gd name="connsiteY23" fmla="*/ 59834 h 128414"/>
                          <a:gd name="connsiteX24" fmla="*/ 0 w 104775"/>
                          <a:gd name="connsiteY24" fmla="*/ 65549 h 128414"/>
                          <a:gd name="connsiteX25" fmla="*/ 5715 w 104775"/>
                          <a:gd name="connsiteY25" fmla="*/ 78884 h 128414"/>
                          <a:gd name="connsiteX26" fmla="*/ 5715 w 104775"/>
                          <a:gd name="connsiteY26" fmla="*/ 82694 h 128414"/>
                          <a:gd name="connsiteX27" fmla="*/ 17145 w 104775"/>
                          <a:gd name="connsiteY27" fmla="*/ 111269 h 128414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70485 w 104775"/>
                          <a:gd name="connsiteY15" fmla="*/ 4589 h 128414"/>
                          <a:gd name="connsiteX16" fmla="*/ 59055 w 104775"/>
                          <a:gd name="connsiteY16" fmla="*/ 779 h 128414"/>
                          <a:gd name="connsiteX17" fmla="*/ 45720 w 104775"/>
                          <a:gd name="connsiteY17" fmla="*/ 2684 h 128414"/>
                          <a:gd name="connsiteX18" fmla="*/ 41910 w 104775"/>
                          <a:gd name="connsiteY18" fmla="*/ 31259 h 128414"/>
                          <a:gd name="connsiteX19" fmla="*/ 40005 w 104775"/>
                          <a:gd name="connsiteY19" fmla="*/ 44594 h 128414"/>
                          <a:gd name="connsiteX20" fmla="*/ 28575 w 104775"/>
                          <a:gd name="connsiteY20" fmla="*/ 50309 h 128414"/>
                          <a:gd name="connsiteX21" fmla="*/ 3810 w 104775"/>
                          <a:gd name="connsiteY21" fmla="*/ 52214 h 128414"/>
                          <a:gd name="connsiteX22" fmla="*/ 1905 w 104775"/>
                          <a:gd name="connsiteY22" fmla="*/ 59834 h 128414"/>
                          <a:gd name="connsiteX23" fmla="*/ 0 w 104775"/>
                          <a:gd name="connsiteY23" fmla="*/ 65549 h 128414"/>
                          <a:gd name="connsiteX24" fmla="*/ 5715 w 104775"/>
                          <a:gd name="connsiteY24" fmla="*/ 78884 h 128414"/>
                          <a:gd name="connsiteX25" fmla="*/ 5715 w 104775"/>
                          <a:gd name="connsiteY25" fmla="*/ 82694 h 128414"/>
                          <a:gd name="connsiteX26" fmla="*/ 17145 w 104775"/>
                          <a:gd name="connsiteY26" fmla="*/ 111269 h 128414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70485 w 104775"/>
                          <a:gd name="connsiteY15" fmla="*/ 4589 h 128414"/>
                          <a:gd name="connsiteX16" fmla="*/ 59055 w 104775"/>
                          <a:gd name="connsiteY16" fmla="*/ 779 h 128414"/>
                          <a:gd name="connsiteX17" fmla="*/ 45720 w 104775"/>
                          <a:gd name="connsiteY17" fmla="*/ 2684 h 128414"/>
                          <a:gd name="connsiteX18" fmla="*/ 41910 w 104775"/>
                          <a:gd name="connsiteY18" fmla="*/ 31259 h 128414"/>
                          <a:gd name="connsiteX19" fmla="*/ 40005 w 104775"/>
                          <a:gd name="connsiteY19" fmla="*/ 44594 h 128414"/>
                          <a:gd name="connsiteX20" fmla="*/ 3810 w 104775"/>
                          <a:gd name="connsiteY20" fmla="*/ 52214 h 128414"/>
                          <a:gd name="connsiteX21" fmla="*/ 1905 w 104775"/>
                          <a:gd name="connsiteY21" fmla="*/ 59834 h 128414"/>
                          <a:gd name="connsiteX22" fmla="*/ 0 w 104775"/>
                          <a:gd name="connsiteY22" fmla="*/ 65549 h 128414"/>
                          <a:gd name="connsiteX23" fmla="*/ 5715 w 104775"/>
                          <a:gd name="connsiteY23" fmla="*/ 78884 h 128414"/>
                          <a:gd name="connsiteX24" fmla="*/ 5715 w 104775"/>
                          <a:gd name="connsiteY24" fmla="*/ 82694 h 128414"/>
                          <a:gd name="connsiteX25" fmla="*/ 17145 w 104775"/>
                          <a:gd name="connsiteY25" fmla="*/ 111269 h 128414"/>
                          <a:gd name="connsiteX0" fmla="*/ 19050 w 104775"/>
                          <a:gd name="connsiteY0" fmla="*/ 107492 h 128447"/>
                          <a:gd name="connsiteX1" fmla="*/ 24765 w 104775"/>
                          <a:gd name="connsiteY1" fmla="*/ 111302 h 128447"/>
                          <a:gd name="connsiteX2" fmla="*/ 28575 w 104775"/>
                          <a:gd name="connsiteY2" fmla="*/ 117017 h 128447"/>
                          <a:gd name="connsiteX3" fmla="*/ 32385 w 104775"/>
                          <a:gd name="connsiteY3" fmla="*/ 128447 h 128447"/>
                          <a:gd name="connsiteX4" fmla="*/ 81915 w 104775"/>
                          <a:gd name="connsiteY4" fmla="*/ 126542 h 128447"/>
                          <a:gd name="connsiteX5" fmla="*/ 87630 w 104775"/>
                          <a:gd name="connsiteY5" fmla="*/ 124637 h 128447"/>
                          <a:gd name="connsiteX6" fmla="*/ 89535 w 104775"/>
                          <a:gd name="connsiteY6" fmla="*/ 118922 h 128447"/>
                          <a:gd name="connsiteX7" fmla="*/ 93345 w 104775"/>
                          <a:gd name="connsiteY7" fmla="*/ 113207 h 128447"/>
                          <a:gd name="connsiteX8" fmla="*/ 95250 w 104775"/>
                          <a:gd name="connsiteY8" fmla="*/ 99872 h 128447"/>
                          <a:gd name="connsiteX9" fmla="*/ 100965 w 104775"/>
                          <a:gd name="connsiteY9" fmla="*/ 96062 h 128447"/>
                          <a:gd name="connsiteX10" fmla="*/ 104775 w 104775"/>
                          <a:gd name="connsiteY10" fmla="*/ 84632 h 128447"/>
                          <a:gd name="connsiteX11" fmla="*/ 100965 w 104775"/>
                          <a:gd name="connsiteY11" fmla="*/ 57962 h 128447"/>
                          <a:gd name="connsiteX12" fmla="*/ 99060 w 104775"/>
                          <a:gd name="connsiteY12" fmla="*/ 50342 h 128447"/>
                          <a:gd name="connsiteX13" fmla="*/ 95250 w 104775"/>
                          <a:gd name="connsiteY13" fmla="*/ 44627 h 128447"/>
                          <a:gd name="connsiteX14" fmla="*/ 91440 w 104775"/>
                          <a:gd name="connsiteY14" fmla="*/ 33197 h 128447"/>
                          <a:gd name="connsiteX15" fmla="*/ 70485 w 104775"/>
                          <a:gd name="connsiteY15" fmla="*/ 4622 h 128447"/>
                          <a:gd name="connsiteX16" fmla="*/ 45720 w 104775"/>
                          <a:gd name="connsiteY16" fmla="*/ 2717 h 128447"/>
                          <a:gd name="connsiteX17" fmla="*/ 41910 w 104775"/>
                          <a:gd name="connsiteY17" fmla="*/ 31292 h 128447"/>
                          <a:gd name="connsiteX18" fmla="*/ 40005 w 104775"/>
                          <a:gd name="connsiteY18" fmla="*/ 44627 h 128447"/>
                          <a:gd name="connsiteX19" fmla="*/ 3810 w 104775"/>
                          <a:gd name="connsiteY19" fmla="*/ 52247 h 128447"/>
                          <a:gd name="connsiteX20" fmla="*/ 1905 w 104775"/>
                          <a:gd name="connsiteY20" fmla="*/ 59867 h 128447"/>
                          <a:gd name="connsiteX21" fmla="*/ 0 w 104775"/>
                          <a:gd name="connsiteY21" fmla="*/ 65582 h 128447"/>
                          <a:gd name="connsiteX22" fmla="*/ 5715 w 104775"/>
                          <a:gd name="connsiteY22" fmla="*/ 78917 h 128447"/>
                          <a:gd name="connsiteX23" fmla="*/ 5715 w 104775"/>
                          <a:gd name="connsiteY23" fmla="*/ 82727 h 128447"/>
                          <a:gd name="connsiteX24" fmla="*/ 17145 w 104775"/>
                          <a:gd name="connsiteY24" fmla="*/ 111302 h 128447"/>
                          <a:gd name="connsiteX0" fmla="*/ 19050 w 104775"/>
                          <a:gd name="connsiteY0" fmla="*/ 102874 h 123829"/>
                          <a:gd name="connsiteX1" fmla="*/ 24765 w 104775"/>
                          <a:gd name="connsiteY1" fmla="*/ 106684 h 123829"/>
                          <a:gd name="connsiteX2" fmla="*/ 28575 w 104775"/>
                          <a:gd name="connsiteY2" fmla="*/ 112399 h 123829"/>
                          <a:gd name="connsiteX3" fmla="*/ 32385 w 104775"/>
                          <a:gd name="connsiteY3" fmla="*/ 123829 h 123829"/>
                          <a:gd name="connsiteX4" fmla="*/ 81915 w 104775"/>
                          <a:gd name="connsiteY4" fmla="*/ 121924 h 123829"/>
                          <a:gd name="connsiteX5" fmla="*/ 87630 w 104775"/>
                          <a:gd name="connsiteY5" fmla="*/ 120019 h 123829"/>
                          <a:gd name="connsiteX6" fmla="*/ 89535 w 104775"/>
                          <a:gd name="connsiteY6" fmla="*/ 114304 h 123829"/>
                          <a:gd name="connsiteX7" fmla="*/ 93345 w 104775"/>
                          <a:gd name="connsiteY7" fmla="*/ 108589 h 123829"/>
                          <a:gd name="connsiteX8" fmla="*/ 95250 w 104775"/>
                          <a:gd name="connsiteY8" fmla="*/ 95254 h 123829"/>
                          <a:gd name="connsiteX9" fmla="*/ 100965 w 104775"/>
                          <a:gd name="connsiteY9" fmla="*/ 91444 h 123829"/>
                          <a:gd name="connsiteX10" fmla="*/ 104775 w 104775"/>
                          <a:gd name="connsiteY10" fmla="*/ 80014 h 123829"/>
                          <a:gd name="connsiteX11" fmla="*/ 100965 w 104775"/>
                          <a:gd name="connsiteY11" fmla="*/ 53344 h 123829"/>
                          <a:gd name="connsiteX12" fmla="*/ 99060 w 104775"/>
                          <a:gd name="connsiteY12" fmla="*/ 45724 h 123829"/>
                          <a:gd name="connsiteX13" fmla="*/ 95250 w 104775"/>
                          <a:gd name="connsiteY13" fmla="*/ 40009 h 123829"/>
                          <a:gd name="connsiteX14" fmla="*/ 91440 w 104775"/>
                          <a:gd name="connsiteY14" fmla="*/ 28579 h 123829"/>
                          <a:gd name="connsiteX15" fmla="*/ 70485 w 104775"/>
                          <a:gd name="connsiteY15" fmla="*/ 4 h 123829"/>
                          <a:gd name="connsiteX16" fmla="*/ 41910 w 104775"/>
                          <a:gd name="connsiteY16" fmla="*/ 26674 h 123829"/>
                          <a:gd name="connsiteX17" fmla="*/ 40005 w 104775"/>
                          <a:gd name="connsiteY17" fmla="*/ 40009 h 123829"/>
                          <a:gd name="connsiteX18" fmla="*/ 3810 w 104775"/>
                          <a:gd name="connsiteY18" fmla="*/ 47629 h 123829"/>
                          <a:gd name="connsiteX19" fmla="*/ 1905 w 104775"/>
                          <a:gd name="connsiteY19" fmla="*/ 55249 h 123829"/>
                          <a:gd name="connsiteX20" fmla="*/ 0 w 104775"/>
                          <a:gd name="connsiteY20" fmla="*/ 60964 h 123829"/>
                          <a:gd name="connsiteX21" fmla="*/ 5715 w 104775"/>
                          <a:gd name="connsiteY21" fmla="*/ 74299 h 123829"/>
                          <a:gd name="connsiteX22" fmla="*/ 5715 w 104775"/>
                          <a:gd name="connsiteY22" fmla="*/ 78109 h 123829"/>
                          <a:gd name="connsiteX23" fmla="*/ 17145 w 104775"/>
                          <a:gd name="connsiteY23" fmla="*/ 106684 h 123829"/>
                          <a:gd name="connsiteX0" fmla="*/ 19050 w 104775"/>
                          <a:gd name="connsiteY0" fmla="*/ 77050 h 98005"/>
                          <a:gd name="connsiteX1" fmla="*/ 24765 w 104775"/>
                          <a:gd name="connsiteY1" fmla="*/ 80860 h 98005"/>
                          <a:gd name="connsiteX2" fmla="*/ 28575 w 104775"/>
                          <a:gd name="connsiteY2" fmla="*/ 86575 h 98005"/>
                          <a:gd name="connsiteX3" fmla="*/ 32385 w 104775"/>
                          <a:gd name="connsiteY3" fmla="*/ 98005 h 98005"/>
                          <a:gd name="connsiteX4" fmla="*/ 81915 w 104775"/>
                          <a:gd name="connsiteY4" fmla="*/ 96100 h 98005"/>
                          <a:gd name="connsiteX5" fmla="*/ 87630 w 104775"/>
                          <a:gd name="connsiteY5" fmla="*/ 94195 h 98005"/>
                          <a:gd name="connsiteX6" fmla="*/ 89535 w 104775"/>
                          <a:gd name="connsiteY6" fmla="*/ 88480 h 98005"/>
                          <a:gd name="connsiteX7" fmla="*/ 93345 w 104775"/>
                          <a:gd name="connsiteY7" fmla="*/ 82765 h 98005"/>
                          <a:gd name="connsiteX8" fmla="*/ 95250 w 104775"/>
                          <a:gd name="connsiteY8" fmla="*/ 69430 h 98005"/>
                          <a:gd name="connsiteX9" fmla="*/ 100965 w 104775"/>
                          <a:gd name="connsiteY9" fmla="*/ 65620 h 98005"/>
                          <a:gd name="connsiteX10" fmla="*/ 104775 w 104775"/>
                          <a:gd name="connsiteY10" fmla="*/ 54190 h 98005"/>
                          <a:gd name="connsiteX11" fmla="*/ 100965 w 104775"/>
                          <a:gd name="connsiteY11" fmla="*/ 27520 h 98005"/>
                          <a:gd name="connsiteX12" fmla="*/ 99060 w 104775"/>
                          <a:gd name="connsiteY12" fmla="*/ 19900 h 98005"/>
                          <a:gd name="connsiteX13" fmla="*/ 95250 w 104775"/>
                          <a:gd name="connsiteY13" fmla="*/ 14185 h 98005"/>
                          <a:gd name="connsiteX14" fmla="*/ 91440 w 104775"/>
                          <a:gd name="connsiteY14" fmla="*/ 2755 h 98005"/>
                          <a:gd name="connsiteX15" fmla="*/ 41910 w 104775"/>
                          <a:gd name="connsiteY15" fmla="*/ 850 h 98005"/>
                          <a:gd name="connsiteX16" fmla="*/ 40005 w 104775"/>
                          <a:gd name="connsiteY16" fmla="*/ 14185 h 98005"/>
                          <a:gd name="connsiteX17" fmla="*/ 3810 w 104775"/>
                          <a:gd name="connsiteY17" fmla="*/ 21805 h 98005"/>
                          <a:gd name="connsiteX18" fmla="*/ 1905 w 104775"/>
                          <a:gd name="connsiteY18" fmla="*/ 29425 h 98005"/>
                          <a:gd name="connsiteX19" fmla="*/ 0 w 104775"/>
                          <a:gd name="connsiteY19" fmla="*/ 35140 h 98005"/>
                          <a:gd name="connsiteX20" fmla="*/ 5715 w 104775"/>
                          <a:gd name="connsiteY20" fmla="*/ 48475 h 98005"/>
                          <a:gd name="connsiteX21" fmla="*/ 5715 w 104775"/>
                          <a:gd name="connsiteY21" fmla="*/ 52285 h 98005"/>
                          <a:gd name="connsiteX22" fmla="*/ 17145 w 104775"/>
                          <a:gd name="connsiteY22" fmla="*/ 80860 h 98005"/>
                          <a:gd name="connsiteX0" fmla="*/ 19050 w 104775"/>
                          <a:gd name="connsiteY0" fmla="*/ 76200 h 97155"/>
                          <a:gd name="connsiteX1" fmla="*/ 24765 w 104775"/>
                          <a:gd name="connsiteY1" fmla="*/ 80010 h 97155"/>
                          <a:gd name="connsiteX2" fmla="*/ 28575 w 104775"/>
                          <a:gd name="connsiteY2" fmla="*/ 85725 h 97155"/>
                          <a:gd name="connsiteX3" fmla="*/ 32385 w 104775"/>
                          <a:gd name="connsiteY3" fmla="*/ 97155 h 97155"/>
                          <a:gd name="connsiteX4" fmla="*/ 81915 w 104775"/>
                          <a:gd name="connsiteY4" fmla="*/ 95250 h 97155"/>
                          <a:gd name="connsiteX5" fmla="*/ 87630 w 104775"/>
                          <a:gd name="connsiteY5" fmla="*/ 93345 h 97155"/>
                          <a:gd name="connsiteX6" fmla="*/ 89535 w 104775"/>
                          <a:gd name="connsiteY6" fmla="*/ 87630 h 97155"/>
                          <a:gd name="connsiteX7" fmla="*/ 93345 w 104775"/>
                          <a:gd name="connsiteY7" fmla="*/ 81915 h 97155"/>
                          <a:gd name="connsiteX8" fmla="*/ 95250 w 104775"/>
                          <a:gd name="connsiteY8" fmla="*/ 68580 h 97155"/>
                          <a:gd name="connsiteX9" fmla="*/ 100965 w 104775"/>
                          <a:gd name="connsiteY9" fmla="*/ 64770 h 97155"/>
                          <a:gd name="connsiteX10" fmla="*/ 104775 w 104775"/>
                          <a:gd name="connsiteY10" fmla="*/ 53340 h 97155"/>
                          <a:gd name="connsiteX11" fmla="*/ 100965 w 104775"/>
                          <a:gd name="connsiteY11" fmla="*/ 26670 h 97155"/>
                          <a:gd name="connsiteX12" fmla="*/ 99060 w 104775"/>
                          <a:gd name="connsiteY12" fmla="*/ 19050 h 97155"/>
                          <a:gd name="connsiteX13" fmla="*/ 95250 w 104775"/>
                          <a:gd name="connsiteY13" fmla="*/ 13335 h 97155"/>
                          <a:gd name="connsiteX14" fmla="*/ 41910 w 104775"/>
                          <a:gd name="connsiteY14" fmla="*/ 0 h 97155"/>
                          <a:gd name="connsiteX15" fmla="*/ 40005 w 104775"/>
                          <a:gd name="connsiteY15" fmla="*/ 13335 h 97155"/>
                          <a:gd name="connsiteX16" fmla="*/ 3810 w 104775"/>
                          <a:gd name="connsiteY16" fmla="*/ 20955 h 97155"/>
                          <a:gd name="connsiteX17" fmla="*/ 1905 w 104775"/>
                          <a:gd name="connsiteY17" fmla="*/ 28575 h 97155"/>
                          <a:gd name="connsiteX18" fmla="*/ 0 w 104775"/>
                          <a:gd name="connsiteY18" fmla="*/ 34290 h 97155"/>
                          <a:gd name="connsiteX19" fmla="*/ 5715 w 104775"/>
                          <a:gd name="connsiteY19" fmla="*/ 47625 h 97155"/>
                          <a:gd name="connsiteX20" fmla="*/ 5715 w 104775"/>
                          <a:gd name="connsiteY20" fmla="*/ 51435 h 97155"/>
                          <a:gd name="connsiteX21" fmla="*/ 17145 w 104775"/>
                          <a:gd name="connsiteY21" fmla="*/ 80010 h 97155"/>
                          <a:gd name="connsiteX0" fmla="*/ 19050 w 104775"/>
                          <a:gd name="connsiteY0" fmla="*/ 76298 h 97253"/>
                          <a:gd name="connsiteX1" fmla="*/ 24765 w 104775"/>
                          <a:gd name="connsiteY1" fmla="*/ 80108 h 97253"/>
                          <a:gd name="connsiteX2" fmla="*/ 28575 w 104775"/>
                          <a:gd name="connsiteY2" fmla="*/ 85823 h 97253"/>
                          <a:gd name="connsiteX3" fmla="*/ 32385 w 104775"/>
                          <a:gd name="connsiteY3" fmla="*/ 97253 h 97253"/>
                          <a:gd name="connsiteX4" fmla="*/ 81915 w 104775"/>
                          <a:gd name="connsiteY4" fmla="*/ 95348 h 97253"/>
                          <a:gd name="connsiteX5" fmla="*/ 87630 w 104775"/>
                          <a:gd name="connsiteY5" fmla="*/ 93443 h 97253"/>
                          <a:gd name="connsiteX6" fmla="*/ 89535 w 104775"/>
                          <a:gd name="connsiteY6" fmla="*/ 87728 h 97253"/>
                          <a:gd name="connsiteX7" fmla="*/ 93345 w 104775"/>
                          <a:gd name="connsiteY7" fmla="*/ 82013 h 97253"/>
                          <a:gd name="connsiteX8" fmla="*/ 95250 w 104775"/>
                          <a:gd name="connsiteY8" fmla="*/ 68678 h 97253"/>
                          <a:gd name="connsiteX9" fmla="*/ 100965 w 104775"/>
                          <a:gd name="connsiteY9" fmla="*/ 64868 h 97253"/>
                          <a:gd name="connsiteX10" fmla="*/ 104775 w 104775"/>
                          <a:gd name="connsiteY10" fmla="*/ 53438 h 97253"/>
                          <a:gd name="connsiteX11" fmla="*/ 100965 w 104775"/>
                          <a:gd name="connsiteY11" fmla="*/ 26768 h 97253"/>
                          <a:gd name="connsiteX12" fmla="*/ 99060 w 104775"/>
                          <a:gd name="connsiteY12" fmla="*/ 19148 h 97253"/>
                          <a:gd name="connsiteX13" fmla="*/ 95250 w 104775"/>
                          <a:gd name="connsiteY13" fmla="*/ 13433 h 97253"/>
                          <a:gd name="connsiteX14" fmla="*/ 41910 w 104775"/>
                          <a:gd name="connsiteY14" fmla="*/ 98 h 97253"/>
                          <a:gd name="connsiteX15" fmla="*/ 3810 w 104775"/>
                          <a:gd name="connsiteY15" fmla="*/ 21053 h 97253"/>
                          <a:gd name="connsiteX16" fmla="*/ 1905 w 104775"/>
                          <a:gd name="connsiteY16" fmla="*/ 28673 h 97253"/>
                          <a:gd name="connsiteX17" fmla="*/ 0 w 104775"/>
                          <a:gd name="connsiteY17" fmla="*/ 34388 h 97253"/>
                          <a:gd name="connsiteX18" fmla="*/ 5715 w 104775"/>
                          <a:gd name="connsiteY18" fmla="*/ 47723 h 97253"/>
                          <a:gd name="connsiteX19" fmla="*/ 5715 w 104775"/>
                          <a:gd name="connsiteY19" fmla="*/ 51533 h 97253"/>
                          <a:gd name="connsiteX20" fmla="*/ 17145 w 104775"/>
                          <a:gd name="connsiteY20" fmla="*/ 80108 h 97253"/>
                          <a:gd name="connsiteX0" fmla="*/ 19050 w 104775"/>
                          <a:gd name="connsiteY0" fmla="*/ 76205 h 97160"/>
                          <a:gd name="connsiteX1" fmla="*/ 24765 w 104775"/>
                          <a:gd name="connsiteY1" fmla="*/ 80015 h 97160"/>
                          <a:gd name="connsiteX2" fmla="*/ 28575 w 104775"/>
                          <a:gd name="connsiteY2" fmla="*/ 85730 h 97160"/>
                          <a:gd name="connsiteX3" fmla="*/ 32385 w 104775"/>
                          <a:gd name="connsiteY3" fmla="*/ 97160 h 97160"/>
                          <a:gd name="connsiteX4" fmla="*/ 81915 w 104775"/>
                          <a:gd name="connsiteY4" fmla="*/ 95255 h 97160"/>
                          <a:gd name="connsiteX5" fmla="*/ 87630 w 104775"/>
                          <a:gd name="connsiteY5" fmla="*/ 93350 h 97160"/>
                          <a:gd name="connsiteX6" fmla="*/ 89535 w 104775"/>
                          <a:gd name="connsiteY6" fmla="*/ 87635 h 97160"/>
                          <a:gd name="connsiteX7" fmla="*/ 93345 w 104775"/>
                          <a:gd name="connsiteY7" fmla="*/ 81920 h 97160"/>
                          <a:gd name="connsiteX8" fmla="*/ 95250 w 104775"/>
                          <a:gd name="connsiteY8" fmla="*/ 68585 h 97160"/>
                          <a:gd name="connsiteX9" fmla="*/ 100965 w 104775"/>
                          <a:gd name="connsiteY9" fmla="*/ 64775 h 97160"/>
                          <a:gd name="connsiteX10" fmla="*/ 104775 w 104775"/>
                          <a:gd name="connsiteY10" fmla="*/ 53345 h 97160"/>
                          <a:gd name="connsiteX11" fmla="*/ 100965 w 104775"/>
                          <a:gd name="connsiteY11" fmla="*/ 26675 h 97160"/>
                          <a:gd name="connsiteX12" fmla="*/ 99060 w 104775"/>
                          <a:gd name="connsiteY12" fmla="*/ 19055 h 97160"/>
                          <a:gd name="connsiteX13" fmla="*/ 41910 w 104775"/>
                          <a:gd name="connsiteY13" fmla="*/ 5 h 97160"/>
                          <a:gd name="connsiteX14" fmla="*/ 3810 w 104775"/>
                          <a:gd name="connsiteY14" fmla="*/ 20960 h 97160"/>
                          <a:gd name="connsiteX15" fmla="*/ 1905 w 104775"/>
                          <a:gd name="connsiteY15" fmla="*/ 28580 h 97160"/>
                          <a:gd name="connsiteX16" fmla="*/ 0 w 104775"/>
                          <a:gd name="connsiteY16" fmla="*/ 34295 h 97160"/>
                          <a:gd name="connsiteX17" fmla="*/ 5715 w 104775"/>
                          <a:gd name="connsiteY17" fmla="*/ 47630 h 97160"/>
                          <a:gd name="connsiteX18" fmla="*/ 5715 w 104775"/>
                          <a:gd name="connsiteY18" fmla="*/ 51440 h 97160"/>
                          <a:gd name="connsiteX19" fmla="*/ 17145 w 104775"/>
                          <a:gd name="connsiteY19" fmla="*/ 80015 h 97160"/>
                          <a:gd name="connsiteX0" fmla="*/ 19050 w 105971"/>
                          <a:gd name="connsiteY0" fmla="*/ 76238 h 97193"/>
                          <a:gd name="connsiteX1" fmla="*/ 24765 w 105971"/>
                          <a:gd name="connsiteY1" fmla="*/ 80048 h 97193"/>
                          <a:gd name="connsiteX2" fmla="*/ 28575 w 105971"/>
                          <a:gd name="connsiteY2" fmla="*/ 85763 h 97193"/>
                          <a:gd name="connsiteX3" fmla="*/ 32385 w 105971"/>
                          <a:gd name="connsiteY3" fmla="*/ 97193 h 97193"/>
                          <a:gd name="connsiteX4" fmla="*/ 81915 w 105971"/>
                          <a:gd name="connsiteY4" fmla="*/ 95288 h 97193"/>
                          <a:gd name="connsiteX5" fmla="*/ 87630 w 105971"/>
                          <a:gd name="connsiteY5" fmla="*/ 93383 h 97193"/>
                          <a:gd name="connsiteX6" fmla="*/ 89535 w 105971"/>
                          <a:gd name="connsiteY6" fmla="*/ 87668 h 97193"/>
                          <a:gd name="connsiteX7" fmla="*/ 93345 w 105971"/>
                          <a:gd name="connsiteY7" fmla="*/ 81953 h 97193"/>
                          <a:gd name="connsiteX8" fmla="*/ 95250 w 105971"/>
                          <a:gd name="connsiteY8" fmla="*/ 68618 h 97193"/>
                          <a:gd name="connsiteX9" fmla="*/ 100965 w 105971"/>
                          <a:gd name="connsiteY9" fmla="*/ 64808 h 97193"/>
                          <a:gd name="connsiteX10" fmla="*/ 104775 w 105971"/>
                          <a:gd name="connsiteY10" fmla="*/ 53378 h 97193"/>
                          <a:gd name="connsiteX11" fmla="*/ 100965 w 105971"/>
                          <a:gd name="connsiteY11" fmla="*/ 26708 h 97193"/>
                          <a:gd name="connsiteX12" fmla="*/ 41910 w 105971"/>
                          <a:gd name="connsiteY12" fmla="*/ 38 h 97193"/>
                          <a:gd name="connsiteX13" fmla="*/ 3810 w 105971"/>
                          <a:gd name="connsiteY13" fmla="*/ 20993 h 97193"/>
                          <a:gd name="connsiteX14" fmla="*/ 1905 w 105971"/>
                          <a:gd name="connsiteY14" fmla="*/ 28613 h 97193"/>
                          <a:gd name="connsiteX15" fmla="*/ 0 w 105971"/>
                          <a:gd name="connsiteY15" fmla="*/ 34328 h 97193"/>
                          <a:gd name="connsiteX16" fmla="*/ 5715 w 105971"/>
                          <a:gd name="connsiteY16" fmla="*/ 47663 h 97193"/>
                          <a:gd name="connsiteX17" fmla="*/ 5715 w 105971"/>
                          <a:gd name="connsiteY17" fmla="*/ 51473 h 97193"/>
                          <a:gd name="connsiteX18" fmla="*/ 17145 w 105971"/>
                          <a:gd name="connsiteY18" fmla="*/ 80048 h 97193"/>
                          <a:gd name="connsiteX0" fmla="*/ 19050 w 106250"/>
                          <a:gd name="connsiteY0" fmla="*/ 64875 h 85830"/>
                          <a:gd name="connsiteX1" fmla="*/ 24765 w 106250"/>
                          <a:gd name="connsiteY1" fmla="*/ 68685 h 85830"/>
                          <a:gd name="connsiteX2" fmla="*/ 28575 w 106250"/>
                          <a:gd name="connsiteY2" fmla="*/ 74400 h 85830"/>
                          <a:gd name="connsiteX3" fmla="*/ 32385 w 106250"/>
                          <a:gd name="connsiteY3" fmla="*/ 85830 h 85830"/>
                          <a:gd name="connsiteX4" fmla="*/ 81915 w 106250"/>
                          <a:gd name="connsiteY4" fmla="*/ 83925 h 85830"/>
                          <a:gd name="connsiteX5" fmla="*/ 87630 w 106250"/>
                          <a:gd name="connsiteY5" fmla="*/ 82020 h 85830"/>
                          <a:gd name="connsiteX6" fmla="*/ 89535 w 106250"/>
                          <a:gd name="connsiteY6" fmla="*/ 76305 h 85830"/>
                          <a:gd name="connsiteX7" fmla="*/ 93345 w 106250"/>
                          <a:gd name="connsiteY7" fmla="*/ 70590 h 85830"/>
                          <a:gd name="connsiteX8" fmla="*/ 95250 w 106250"/>
                          <a:gd name="connsiteY8" fmla="*/ 57255 h 85830"/>
                          <a:gd name="connsiteX9" fmla="*/ 100965 w 106250"/>
                          <a:gd name="connsiteY9" fmla="*/ 53445 h 85830"/>
                          <a:gd name="connsiteX10" fmla="*/ 104775 w 106250"/>
                          <a:gd name="connsiteY10" fmla="*/ 42015 h 85830"/>
                          <a:gd name="connsiteX11" fmla="*/ 100965 w 106250"/>
                          <a:gd name="connsiteY11" fmla="*/ 15345 h 85830"/>
                          <a:gd name="connsiteX12" fmla="*/ 38100 w 106250"/>
                          <a:gd name="connsiteY12" fmla="*/ 105 h 85830"/>
                          <a:gd name="connsiteX13" fmla="*/ 3810 w 106250"/>
                          <a:gd name="connsiteY13" fmla="*/ 9630 h 85830"/>
                          <a:gd name="connsiteX14" fmla="*/ 1905 w 106250"/>
                          <a:gd name="connsiteY14" fmla="*/ 17250 h 85830"/>
                          <a:gd name="connsiteX15" fmla="*/ 0 w 106250"/>
                          <a:gd name="connsiteY15" fmla="*/ 22965 h 85830"/>
                          <a:gd name="connsiteX16" fmla="*/ 5715 w 106250"/>
                          <a:gd name="connsiteY16" fmla="*/ 36300 h 85830"/>
                          <a:gd name="connsiteX17" fmla="*/ 5715 w 106250"/>
                          <a:gd name="connsiteY17" fmla="*/ 40110 h 85830"/>
                          <a:gd name="connsiteX18" fmla="*/ 17145 w 106250"/>
                          <a:gd name="connsiteY18" fmla="*/ 68685 h 8583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</a:cxnLst>
                        <a:rect l="l" t="t" r="r" b="b"/>
                        <a:pathLst>
                          <a:path w="106250" h="85830">
                            <a:moveTo>
                              <a:pt x="19050" y="64875"/>
                            </a:moveTo>
                            <a:cubicBezTo>
                              <a:pt x="19050" y="69955"/>
                              <a:pt x="22860" y="67415"/>
                              <a:pt x="24765" y="68685"/>
                            </a:cubicBezTo>
                            <a:cubicBezTo>
                              <a:pt x="26035" y="70590"/>
                              <a:pt x="27645" y="72308"/>
                              <a:pt x="28575" y="74400"/>
                            </a:cubicBezTo>
                            <a:cubicBezTo>
                              <a:pt x="30206" y="78070"/>
                              <a:pt x="32385" y="85830"/>
                              <a:pt x="32385" y="85830"/>
                            </a:cubicBezTo>
                            <a:cubicBezTo>
                              <a:pt x="48895" y="85195"/>
                              <a:pt x="65432" y="85062"/>
                              <a:pt x="81915" y="83925"/>
                            </a:cubicBezTo>
                            <a:cubicBezTo>
                              <a:pt x="83918" y="83787"/>
                              <a:pt x="86210" y="83440"/>
                              <a:pt x="87630" y="82020"/>
                            </a:cubicBezTo>
                            <a:cubicBezTo>
                              <a:pt x="89050" y="80600"/>
                              <a:pt x="88637" y="78101"/>
                              <a:pt x="89535" y="76305"/>
                            </a:cubicBezTo>
                            <a:cubicBezTo>
                              <a:pt x="90559" y="74257"/>
                              <a:pt x="92075" y="72495"/>
                              <a:pt x="93345" y="70590"/>
                            </a:cubicBezTo>
                            <a:cubicBezTo>
                              <a:pt x="93980" y="66145"/>
                              <a:pt x="93426" y="61358"/>
                              <a:pt x="95250" y="57255"/>
                            </a:cubicBezTo>
                            <a:cubicBezTo>
                              <a:pt x="96180" y="55163"/>
                              <a:pt x="99752" y="55387"/>
                              <a:pt x="100965" y="53445"/>
                            </a:cubicBezTo>
                            <a:cubicBezTo>
                              <a:pt x="103094" y="50039"/>
                              <a:pt x="104775" y="42015"/>
                              <a:pt x="104775" y="42015"/>
                            </a:cubicBezTo>
                            <a:cubicBezTo>
                              <a:pt x="101728" y="8500"/>
                              <a:pt x="112077" y="22330"/>
                              <a:pt x="100965" y="15345"/>
                            </a:cubicBezTo>
                            <a:cubicBezTo>
                              <a:pt x="89853" y="8360"/>
                              <a:pt x="54292" y="1057"/>
                              <a:pt x="38100" y="105"/>
                            </a:cubicBezTo>
                            <a:cubicBezTo>
                              <a:pt x="21908" y="-847"/>
                              <a:pt x="10477" y="4868"/>
                              <a:pt x="3810" y="9630"/>
                            </a:cubicBezTo>
                            <a:cubicBezTo>
                              <a:pt x="3175" y="12170"/>
                              <a:pt x="2624" y="14733"/>
                              <a:pt x="1905" y="17250"/>
                            </a:cubicBezTo>
                            <a:cubicBezTo>
                              <a:pt x="1353" y="19181"/>
                              <a:pt x="0" y="20957"/>
                              <a:pt x="0" y="22965"/>
                            </a:cubicBezTo>
                            <a:cubicBezTo>
                              <a:pt x="0" y="32673"/>
                              <a:pt x="2604" y="28523"/>
                              <a:pt x="5715" y="36300"/>
                            </a:cubicBezTo>
                            <a:cubicBezTo>
                              <a:pt x="6187" y="37479"/>
                              <a:pt x="3810" y="34713"/>
                              <a:pt x="5715" y="40110"/>
                            </a:cubicBezTo>
                            <a:cubicBezTo>
                              <a:pt x="7620" y="45507"/>
                              <a:pt x="13335" y="59160"/>
                              <a:pt x="17145" y="68685"/>
                            </a:cubicBezTo>
                          </a:path>
                        </a:pathLst>
                      </a:custGeom>
                      <a:grpFill/>
                      <a:ln w="3175" cap="flat" cmpd="sng" algn="ctr">
                        <a:solidFill>
                          <a:srgbClr val="F2E8F8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88" name="Freeform: Shape 73">
                        <a:extLst>
                          <a:ext uri="{FF2B5EF4-FFF2-40B4-BE49-F238E27FC236}">
                            <a16:creationId xmlns:a16="http://schemas.microsoft.com/office/drawing/2014/main" id="{574CF221-9103-7E4D-8736-4908D967290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018409" y="4329533"/>
                        <a:ext cx="27432" cy="36576"/>
                      </a:xfrm>
                      <a:custGeom>
                        <a:avLst/>
                        <a:gdLst>
                          <a:gd name="connsiteX0" fmla="*/ 57150 w 104775"/>
                          <a:gd name="connsiteY0" fmla="*/ 76200 h 127635"/>
                          <a:gd name="connsiteX1" fmla="*/ 57150 w 104775"/>
                          <a:gd name="connsiteY1" fmla="*/ 76200 h 127635"/>
                          <a:gd name="connsiteX2" fmla="*/ 24765 w 104775"/>
                          <a:gd name="connsiteY2" fmla="*/ 80010 h 127635"/>
                          <a:gd name="connsiteX3" fmla="*/ 19050 w 104775"/>
                          <a:gd name="connsiteY3" fmla="*/ 83820 h 127635"/>
                          <a:gd name="connsiteX4" fmla="*/ 19050 w 104775"/>
                          <a:gd name="connsiteY4" fmla="*/ 106680 h 127635"/>
                          <a:gd name="connsiteX5" fmla="*/ 24765 w 104775"/>
                          <a:gd name="connsiteY5" fmla="*/ 110490 h 127635"/>
                          <a:gd name="connsiteX6" fmla="*/ 28575 w 104775"/>
                          <a:gd name="connsiteY6" fmla="*/ 116205 h 127635"/>
                          <a:gd name="connsiteX7" fmla="*/ 32385 w 104775"/>
                          <a:gd name="connsiteY7" fmla="*/ 127635 h 127635"/>
                          <a:gd name="connsiteX8" fmla="*/ 81915 w 104775"/>
                          <a:gd name="connsiteY8" fmla="*/ 125730 h 127635"/>
                          <a:gd name="connsiteX9" fmla="*/ 87630 w 104775"/>
                          <a:gd name="connsiteY9" fmla="*/ 123825 h 127635"/>
                          <a:gd name="connsiteX10" fmla="*/ 89535 w 104775"/>
                          <a:gd name="connsiteY10" fmla="*/ 118110 h 127635"/>
                          <a:gd name="connsiteX11" fmla="*/ 93345 w 104775"/>
                          <a:gd name="connsiteY11" fmla="*/ 112395 h 127635"/>
                          <a:gd name="connsiteX12" fmla="*/ 95250 w 104775"/>
                          <a:gd name="connsiteY12" fmla="*/ 99060 h 127635"/>
                          <a:gd name="connsiteX13" fmla="*/ 100965 w 104775"/>
                          <a:gd name="connsiteY13" fmla="*/ 95250 h 127635"/>
                          <a:gd name="connsiteX14" fmla="*/ 104775 w 104775"/>
                          <a:gd name="connsiteY14" fmla="*/ 83820 h 127635"/>
                          <a:gd name="connsiteX15" fmla="*/ 100965 w 104775"/>
                          <a:gd name="connsiteY15" fmla="*/ 57150 h 127635"/>
                          <a:gd name="connsiteX16" fmla="*/ 99060 w 104775"/>
                          <a:gd name="connsiteY16" fmla="*/ 49530 h 127635"/>
                          <a:gd name="connsiteX17" fmla="*/ 95250 w 104775"/>
                          <a:gd name="connsiteY17" fmla="*/ 43815 h 127635"/>
                          <a:gd name="connsiteX18" fmla="*/ 91440 w 104775"/>
                          <a:gd name="connsiteY18" fmla="*/ 32385 h 127635"/>
                          <a:gd name="connsiteX19" fmla="*/ 81915 w 104775"/>
                          <a:gd name="connsiteY19" fmla="*/ 15240 h 127635"/>
                          <a:gd name="connsiteX20" fmla="*/ 70485 w 104775"/>
                          <a:gd name="connsiteY20" fmla="*/ 3810 h 127635"/>
                          <a:gd name="connsiteX21" fmla="*/ 59055 w 104775"/>
                          <a:gd name="connsiteY21" fmla="*/ 0 h 127635"/>
                          <a:gd name="connsiteX22" fmla="*/ 45720 w 104775"/>
                          <a:gd name="connsiteY22" fmla="*/ 1905 h 127635"/>
                          <a:gd name="connsiteX23" fmla="*/ 43815 w 104775"/>
                          <a:gd name="connsiteY23" fmla="*/ 19050 h 127635"/>
                          <a:gd name="connsiteX24" fmla="*/ 41910 w 104775"/>
                          <a:gd name="connsiteY24" fmla="*/ 30480 h 127635"/>
                          <a:gd name="connsiteX25" fmla="*/ 40005 w 104775"/>
                          <a:gd name="connsiteY25" fmla="*/ 43815 h 127635"/>
                          <a:gd name="connsiteX26" fmla="*/ 28575 w 104775"/>
                          <a:gd name="connsiteY26" fmla="*/ 49530 h 127635"/>
                          <a:gd name="connsiteX27" fmla="*/ 3810 w 104775"/>
                          <a:gd name="connsiteY27" fmla="*/ 51435 h 127635"/>
                          <a:gd name="connsiteX28" fmla="*/ 1905 w 104775"/>
                          <a:gd name="connsiteY28" fmla="*/ 59055 h 127635"/>
                          <a:gd name="connsiteX29" fmla="*/ 0 w 104775"/>
                          <a:gd name="connsiteY29" fmla="*/ 64770 h 127635"/>
                          <a:gd name="connsiteX30" fmla="*/ 5715 w 104775"/>
                          <a:gd name="connsiteY30" fmla="*/ 78105 h 127635"/>
                          <a:gd name="connsiteX31" fmla="*/ 5715 w 104775"/>
                          <a:gd name="connsiteY31" fmla="*/ 81915 h 127635"/>
                          <a:gd name="connsiteX32" fmla="*/ 5715 w 104775"/>
                          <a:gd name="connsiteY32" fmla="*/ 87630 h 127635"/>
                          <a:gd name="connsiteX0" fmla="*/ 57150 w 104775"/>
                          <a:gd name="connsiteY0" fmla="*/ 76200 h 127635"/>
                          <a:gd name="connsiteX1" fmla="*/ 24765 w 104775"/>
                          <a:gd name="connsiteY1" fmla="*/ 80010 h 127635"/>
                          <a:gd name="connsiteX2" fmla="*/ 19050 w 104775"/>
                          <a:gd name="connsiteY2" fmla="*/ 83820 h 127635"/>
                          <a:gd name="connsiteX3" fmla="*/ 19050 w 104775"/>
                          <a:gd name="connsiteY3" fmla="*/ 106680 h 127635"/>
                          <a:gd name="connsiteX4" fmla="*/ 24765 w 104775"/>
                          <a:gd name="connsiteY4" fmla="*/ 110490 h 127635"/>
                          <a:gd name="connsiteX5" fmla="*/ 28575 w 104775"/>
                          <a:gd name="connsiteY5" fmla="*/ 116205 h 127635"/>
                          <a:gd name="connsiteX6" fmla="*/ 32385 w 104775"/>
                          <a:gd name="connsiteY6" fmla="*/ 127635 h 127635"/>
                          <a:gd name="connsiteX7" fmla="*/ 81915 w 104775"/>
                          <a:gd name="connsiteY7" fmla="*/ 125730 h 127635"/>
                          <a:gd name="connsiteX8" fmla="*/ 87630 w 104775"/>
                          <a:gd name="connsiteY8" fmla="*/ 123825 h 127635"/>
                          <a:gd name="connsiteX9" fmla="*/ 89535 w 104775"/>
                          <a:gd name="connsiteY9" fmla="*/ 118110 h 127635"/>
                          <a:gd name="connsiteX10" fmla="*/ 93345 w 104775"/>
                          <a:gd name="connsiteY10" fmla="*/ 112395 h 127635"/>
                          <a:gd name="connsiteX11" fmla="*/ 95250 w 104775"/>
                          <a:gd name="connsiteY11" fmla="*/ 99060 h 127635"/>
                          <a:gd name="connsiteX12" fmla="*/ 100965 w 104775"/>
                          <a:gd name="connsiteY12" fmla="*/ 95250 h 127635"/>
                          <a:gd name="connsiteX13" fmla="*/ 104775 w 104775"/>
                          <a:gd name="connsiteY13" fmla="*/ 83820 h 127635"/>
                          <a:gd name="connsiteX14" fmla="*/ 100965 w 104775"/>
                          <a:gd name="connsiteY14" fmla="*/ 57150 h 127635"/>
                          <a:gd name="connsiteX15" fmla="*/ 99060 w 104775"/>
                          <a:gd name="connsiteY15" fmla="*/ 49530 h 127635"/>
                          <a:gd name="connsiteX16" fmla="*/ 95250 w 104775"/>
                          <a:gd name="connsiteY16" fmla="*/ 43815 h 127635"/>
                          <a:gd name="connsiteX17" fmla="*/ 91440 w 104775"/>
                          <a:gd name="connsiteY17" fmla="*/ 32385 h 127635"/>
                          <a:gd name="connsiteX18" fmla="*/ 81915 w 104775"/>
                          <a:gd name="connsiteY18" fmla="*/ 15240 h 127635"/>
                          <a:gd name="connsiteX19" fmla="*/ 70485 w 104775"/>
                          <a:gd name="connsiteY19" fmla="*/ 3810 h 127635"/>
                          <a:gd name="connsiteX20" fmla="*/ 59055 w 104775"/>
                          <a:gd name="connsiteY20" fmla="*/ 0 h 127635"/>
                          <a:gd name="connsiteX21" fmla="*/ 45720 w 104775"/>
                          <a:gd name="connsiteY21" fmla="*/ 1905 h 127635"/>
                          <a:gd name="connsiteX22" fmla="*/ 43815 w 104775"/>
                          <a:gd name="connsiteY22" fmla="*/ 19050 h 127635"/>
                          <a:gd name="connsiteX23" fmla="*/ 41910 w 104775"/>
                          <a:gd name="connsiteY23" fmla="*/ 30480 h 127635"/>
                          <a:gd name="connsiteX24" fmla="*/ 40005 w 104775"/>
                          <a:gd name="connsiteY24" fmla="*/ 43815 h 127635"/>
                          <a:gd name="connsiteX25" fmla="*/ 28575 w 104775"/>
                          <a:gd name="connsiteY25" fmla="*/ 49530 h 127635"/>
                          <a:gd name="connsiteX26" fmla="*/ 3810 w 104775"/>
                          <a:gd name="connsiteY26" fmla="*/ 51435 h 127635"/>
                          <a:gd name="connsiteX27" fmla="*/ 1905 w 104775"/>
                          <a:gd name="connsiteY27" fmla="*/ 59055 h 127635"/>
                          <a:gd name="connsiteX28" fmla="*/ 0 w 104775"/>
                          <a:gd name="connsiteY28" fmla="*/ 64770 h 127635"/>
                          <a:gd name="connsiteX29" fmla="*/ 5715 w 104775"/>
                          <a:gd name="connsiteY29" fmla="*/ 78105 h 127635"/>
                          <a:gd name="connsiteX30" fmla="*/ 5715 w 104775"/>
                          <a:gd name="connsiteY30" fmla="*/ 81915 h 127635"/>
                          <a:gd name="connsiteX31" fmla="*/ 5715 w 104775"/>
                          <a:gd name="connsiteY31" fmla="*/ 87630 h 127635"/>
                          <a:gd name="connsiteX0" fmla="*/ 24765 w 104775"/>
                          <a:gd name="connsiteY0" fmla="*/ 80010 h 127635"/>
                          <a:gd name="connsiteX1" fmla="*/ 19050 w 104775"/>
                          <a:gd name="connsiteY1" fmla="*/ 83820 h 127635"/>
                          <a:gd name="connsiteX2" fmla="*/ 19050 w 104775"/>
                          <a:gd name="connsiteY2" fmla="*/ 106680 h 127635"/>
                          <a:gd name="connsiteX3" fmla="*/ 24765 w 104775"/>
                          <a:gd name="connsiteY3" fmla="*/ 110490 h 127635"/>
                          <a:gd name="connsiteX4" fmla="*/ 28575 w 104775"/>
                          <a:gd name="connsiteY4" fmla="*/ 116205 h 127635"/>
                          <a:gd name="connsiteX5" fmla="*/ 32385 w 104775"/>
                          <a:gd name="connsiteY5" fmla="*/ 127635 h 127635"/>
                          <a:gd name="connsiteX6" fmla="*/ 81915 w 104775"/>
                          <a:gd name="connsiteY6" fmla="*/ 125730 h 127635"/>
                          <a:gd name="connsiteX7" fmla="*/ 87630 w 104775"/>
                          <a:gd name="connsiteY7" fmla="*/ 123825 h 127635"/>
                          <a:gd name="connsiteX8" fmla="*/ 89535 w 104775"/>
                          <a:gd name="connsiteY8" fmla="*/ 118110 h 127635"/>
                          <a:gd name="connsiteX9" fmla="*/ 93345 w 104775"/>
                          <a:gd name="connsiteY9" fmla="*/ 112395 h 127635"/>
                          <a:gd name="connsiteX10" fmla="*/ 95250 w 104775"/>
                          <a:gd name="connsiteY10" fmla="*/ 99060 h 127635"/>
                          <a:gd name="connsiteX11" fmla="*/ 100965 w 104775"/>
                          <a:gd name="connsiteY11" fmla="*/ 95250 h 127635"/>
                          <a:gd name="connsiteX12" fmla="*/ 104775 w 104775"/>
                          <a:gd name="connsiteY12" fmla="*/ 83820 h 127635"/>
                          <a:gd name="connsiteX13" fmla="*/ 100965 w 104775"/>
                          <a:gd name="connsiteY13" fmla="*/ 57150 h 127635"/>
                          <a:gd name="connsiteX14" fmla="*/ 99060 w 104775"/>
                          <a:gd name="connsiteY14" fmla="*/ 49530 h 127635"/>
                          <a:gd name="connsiteX15" fmla="*/ 95250 w 104775"/>
                          <a:gd name="connsiteY15" fmla="*/ 43815 h 127635"/>
                          <a:gd name="connsiteX16" fmla="*/ 91440 w 104775"/>
                          <a:gd name="connsiteY16" fmla="*/ 32385 h 127635"/>
                          <a:gd name="connsiteX17" fmla="*/ 81915 w 104775"/>
                          <a:gd name="connsiteY17" fmla="*/ 15240 h 127635"/>
                          <a:gd name="connsiteX18" fmla="*/ 70485 w 104775"/>
                          <a:gd name="connsiteY18" fmla="*/ 3810 h 127635"/>
                          <a:gd name="connsiteX19" fmla="*/ 59055 w 104775"/>
                          <a:gd name="connsiteY19" fmla="*/ 0 h 127635"/>
                          <a:gd name="connsiteX20" fmla="*/ 45720 w 104775"/>
                          <a:gd name="connsiteY20" fmla="*/ 1905 h 127635"/>
                          <a:gd name="connsiteX21" fmla="*/ 43815 w 104775"/>
                          <a:gd name="connsiteY21" fmla="*/ 19050 h 127635"/>
                          <a:gd name="connsiteX22" fmla="*/ 41910 w 104775"/>
                          <a:gd name="connsiteY22" fmla="*/ 30480 h 127635"/>
                          <a:gd name="connsiteX23" fmla="*/ 40005 w 104775"/>
                          <a:gd name="connsiteY23" fmla="*/ 43815 h 127635"/>
                          <a:gd name="connsiteX24" fmla="*/ 28575 w 104775"/>
                          <a:gd name="connsiteY24" fmla="*/ 49530 h 127635"/>
                          <a:gd name="connsiteX25" fmla="*/ 3810 w 104775"/>
                          <a:gd name="connsiteY25" fmla="*/ 51435 h 127635"/>
                          <a:gd name="connsiteX26" fmla="*/ 1905 w 104775"/>
                          <a:gd name="connsiteY26" fmla="*/ 59055 h 127635"/>
                          <a:gd name="connsiteX27" fmla="*/ 0 w 104775"/>
                          <a:gd name="connsiteY27" fmla="*/ 64770 h 127635"/>
                          <a:gd name="connsiteX28" fmla="*/ 5715 w 104775"/>
                          <a:gd name="connsiteY28" fmla="*/ 78105 h 127635"/>
                          <a:gd name="connsiteX29" fmla="*/ 5715 w 104775"/>
                          <a:gd name="connsiteY29" fmla="*/ 81915 h 127635"/>
                          <a:gd name="connsiteX30" fmla="*/ 5715 w 104775"/>
                          <a:gd name="connsiteY30" fmla="*/ 87630 h 127635"/>
                          <a:gd name="connsiteX0" fmla="*/ 24765 w 104775"/>
                          <a:gd name="connsiteY0" fmla="*/ 80010 h 127635"/>
                          <a:gd name="connsiteX1" fmla="*/ 19050 w 104775"/>
                          <a:gd name="connsiteY1" fmla="*/ 106680 h 127635"/>
                          <a:gd name="connsiteX2" fmla="*/ 24765 w 104775"/>
                          <a:gd name="connsiteY2" fmla="*/ 110490 h 127635"/>
                          <a:gd name="connsiteX3" fmla="*/ 28575 w 104775"/>
                          <a:gd name="connsiteY3" fmla="*/ 116205 h 127635"/>
                          <a:gd name="connsiteX4" fmla="*/ 32385 w 104775"/>
                          <a:gd name="connsiteY4" fmla="*/ 127635 h 127635"/>
                          <a:gd name="connsiteX5" fmla="*/ 81915 w 104775"/>
                          <a:gd name="connsiteY5" fmla="*/ 125730 h 127635"/>
                          <a:gd name="connsiteX6" fmla="*/ 87630 w 104775"/>
                          <a:gd name="connsiteY6" fmla="*/ 123825 h 127635"/>
                          <a:gd name="connsiteX7" fmla="*/ 89535 w 104775"/>
                          <a:gd name="connsiteY7" fmla="*/ 118110 h 127635"/>
                          <a:gd name="connsiteX8" fmla="*/ 93345 w 104775"/>
                          <a:gd name="connsiteY8" fmla="*/ 112395 h 127635"/>
                          <a:gd name="connsiteX9" fmla="*/ 95250 w 104775"/>
                          <a:gd name="connsiteY9" fmla="*/ 99060 h 127635"/>
                          <a:gd name="connsiteX10" fmla="*/ 100965 w 104775"/>
                          <a:gd name="connsiteY10" fmla="*/ 95250 h 127635"/>
                          <a:gd name="connsiteX11" fmla="*/ 104775 w 104775"/>
                          <a:gd name="connsiteY11" fmla="*/ 83820 h 127635"/>
                          <a:gd name="connsiteX12" fmla="*/ 100965 w 104775"/>
                          <a:gd name="connsiteY12" fmla="*/ 57150 h 127635"/>
                          <a:gd name="connsiteX13" fmla="*/ 99060 w 104775"/>
                          <a:gd name="connsiteY13" fmla="*/ 49530 h 127635"/>
                          <a:gd name="connsiteX14" fmla="*/ 95250 w 104775"/>
                          <a:gd name="connsiteY14" fmla="*/ 43815 h 127635"/>
                          <a:gd name="connsiteX15" fmla="*/ 91440 w 104775"/>
                          <a:gd name="connsiteY15" fmla="*/ 32385 h 127635"/>
                          <a:gd name="connsiteX16" fmla="*/ 81915 w 104775"/>
                          <a:gd name="connsiteY16" fmla="*/ 15240 h 127635"/>
                          <a:gd name="connsiteX17" fmla="*/ 70485 w 104775"/>
                          <a:gd name="connsiteY17" fmla="*/ 3810 h 127635"/>
                          <a:gd name="connsiteX18" fmla="*/ 59055 w 104775"/>
                          <a:gd name="connsiteY18" fmla="*/ 0 h 127635"/>
                          <a:gd name="connsiteX19" fmla="*/ 45720 w 104775"/>
                          <a:gd name="connsiteY19" fmla="*/ 1905 h 127635"/>
                          <a:gd name="connsiteX20" fmla="*/ 43815 w 104775"/>
                          <a:gd name="connsiteY20" fmla="*/ 19050 h 127635"/>
                          <a:gd name="connsiteX21" fmla="*/ 41910 w 104775"/>
                          <a:gd name="connsiteY21" fmla="*/ 30480 h 127635"/>
                          <a:gd name="connsiteX22" fmla="*/ 40005 w 104775"/>
                          <a:gd name="connsiteY22" fmla="*/ 43815 h 127635"/>
                          <a:gd name="connsiteX23" fmla="*/ 28575 w 104775"/>
                          <a:gd name="connsiteY23" fmla="*/ 49530 h 127635"/>
                          <a:gd name="connsiteX24" fmla="*/ 3810 w 104775"/>
                          <a:gd name="connsiteY24" fmla="*/ 51435 h 127635"/>
                          <a:gd name="connsiteX25" fmla="*/ 1905 w 104775"/>
                          <a:gd name="connsiteY25" fmla="*/ 59055 h 127635"/>
                          <a:gd name="connsiteX26" fmla="*/ 0 w 104775"/>
                          <a:gd name="connsiteY26" fmla="*/ 64770 h 127635"/>
                          <a:gd name="connsiteX27" fmla="*/ 5715 w 104775"/>
                          <a:gd name="connsiteY27" fmla="*/ 78105 h 127635"/>
                          <a:gd name="connsiteX28" fmla="*/ 5715 w 104775"/>
                          <a:gd name="connsiteY28" fmla="*/ 81915 h 127635"/>
                          <a:gd name="connsiteX29" fmla="*/ 5715 w 104775"/>
                          <a:gd name="connsiteY29" fmla="*/ 8763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5715 w 104775"/>
                          <a:gd name="connsiteY28" fmla="*/ 8763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17145 w 104775"/>
                          <a:gd name="connsiteY28" fmla="*/ 11049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17145 w 104775"/>
                          <a:gd name="connsiteY28" fmla="*/ 110490 h 127635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81915 w 104775"/>
                          <a:gd name="connsiteY15" fmla="*/ 16019 h 128414"/>
                          <a:gd name="connsiteX16" fmla="*/ 70485 w 104775"/>
                          <a:gd name="connsiteY16" fmla="*/ 4589 h 128414"/>
                          <a:gd name="connsiteX17" fmla="*/ 59055 w 104775"/>
                          <a:gd name="connsiteY17" fmla="*/ 779 h 128414"/>
                          <a:gd name="connsiteX18" fmla="*/ 45720 w 104775"/>
                          <a:gd name="connsiteY18" fmla="*/ 2684 h 128414"/>
                          <a:gd name="connsiteX19" fmla="*/ 41910 w 104775"/>
                          <a:gd name="connsiteY19" fmla="*/ 31259 h 128414"/>
                          <a:gd name="connsiteX20" fmla="*/ 40005 w 104775"/>
                          <a:gd name="connsiteY20" fmla="*/ 44594 h 128414"/>
                          <a:gd name="connsiteX21" fmla="*/ 28575 w 104775"/>
                          <a:gd name="connsiteY21" fmla="*/ 50309 h 128414"/>
                          <a:gd name="connsiteX22" fmla="*/ 3810 w 104775"/>
                          <a:gd name="connsiteY22" fmla="*/ 52214 h 128414"/>
                          <a:gd name="connsiteX23" fmla="*/ 1905 w 104775"/>
                          <a:gd name="connsiteY23" fmla="*/ 59834 h 128414"/>
                          <a:gd name="connsiteX24" fmla="*/ 0 w 104775"/>
                          <a:gd name="connsiteY24" fmla="*/ 65549 h 128414"/>
                          <a:gd name="connsiteX25" fmla="*/ 5715 w 104775"/>
                          <a:gd name="connsiteY25" fmla="*/ 78884 h 128414"/>
                          <a:gd name="connsiteX26" fmla="*/ 5715 w 104775"/>
                          <a:gd name="connsiteY26" fmla="*/ 82694 h 128414"/>
                          <a:gd name="connsiteX27" fmla="*/ 17145 w 104775"/>
                          <a:gd name="connsiteY27" fmla="*/ 111269 h 128414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70485 w 104775"/>
                          <a:gd name="connsiteY15" fmla="*/ 4589 h 128414"/>
                          <a:gd name="connsiteX16" fmla="*/ 59055 w 104775"/>
                          <a:gd name="connsiteY16" fmla="*/ 779 h 128414"/>
                          <a:gd name="connsiteX17" fmla="*/ 45720 w 104775"/>
                          <a:gd name="connsiteY17" fmla="*/ 2684 h 128414"/>
                          <a:gd name="connsiteX18" fmla="*/ 41910 w 104775"/>
                          <a:gd name="connsiteY18" fmla="*/ 31259 h 128414"/>
                          <a:gd name="connsiteX19" fmla="*/ 40005 w 104775"/>
                          <a:gd name="connsiteY19" fmla="*/ 44594 h 128414"/>
                          <a:gd name="connsiteX20" fmla="*/ 28575 w 104775"/>
                          <a:gd name="connsiteY20" fmla="*/ 50309 h 128414"/>
                          <a:gd name="connsiteX21" fmla="*/ 3810 w 104775"/>
                          <a:gd name="connsiteY21" fmla="*/ 52214 h 128414"/>
                          <a:gd name="connsiteX22" fmla="*/ 1905 w 104775"/>
                          <a:gd name="connsiteY22" fmla="*/ 59834 h 128414"/>
                          <a:gd name="connsiteX23" fmla="*/ 0 w 104775"/>
                          <a:gd name="connsiteY23" fmla="*/ 65549 h 128414"/>
                          <a:gd name="connsiteX24" fmla="*/ 5715 w 104775"/>
                          <a:gd name="connsiteY24" fmla="*/ 78884 h 128414"/>
                          <a:gd name="connsiteX25" fmla="*/ 5715 w 104775"/>
                          <a:gd name="connsiteY25" fmla="*/ 82694 h 128414"/>
                          <a:gd name="connsiteX26" fmla="*/ 17145 w 104775"/>
                          <a:gd name="connsiteY26" fmla="*/ 111269 h 128414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70485 w 104775"/>
                          <a:gd name="connsiteY15" fmla="*/ 4589 h 128414"/>
                          <a:gd name="connsiteX16" fmla="*/ 59055 w 104775"/>
                          <a:gd name="connsiteY16" fmla="*/ 779 h 128414"/>
                          <a:gd name="connsiteX17" fmla="*/ 45720 w 104775"/>
                          <a:gd name="connsiteY17" fmla="*/ 2684 h 128414"/>
                          <a:gd name="connsiteX18" fmla="*/ 41910 w 104775"/>
                          <a:gd name="connsiteY18" fmla="*/ 31259 h 128414"/>
                          <a:gd name="connsiteX19" fmla="*/ 40005 w 104775"/>
                          <a:gd name="connsiteY19" fmla="*/ 44594 h 128414"/>
                          <a:gd name="connsiteX20" fmla="*/ 3810 w 104775"/>
                          <a:gd name="connsiteY20" fmla="*/ 52214 h 128414"/>
                          <a:gd name="connsiteX21" fmla="*/ 1905 w 104775"/>
                          <a:gd name="connsiteY21" fmla="*/ 59834 h 128414"/>
                          <a:gd name="connsiteX22" fmla="*/ 0 w 104775"/>
                          <a:gd name="connsiteY22" fmla="*/ 65549 h 128414"/>
                          <a:gd name="connsiteX23" fmla="*/ 5715 w 104775"/>
                          <a:gd name="connsiteY23" fmla="*/ 78884 h 128414"/>
                          <a:gd name="connsiteX24" fmla="*/ 5715 w 104775"/>
                          <a:gd name="connsiteY24" fmla="*/ 82694 h 128414"/>
                          <a:gd name="connsiteX25" fmla="*/ 17145 w 104775"/>
                          <a:gd name="connsiteY25" fmla="*/ 111269 h 128414"/>
                          <a:gd name="connsiteX0" fmla="*/ 19050 w 104775"/>
                          <a:gd name="connsiteY0" fmla="*/ 107492 h 128447"/>
                          <a:gd name="connsiteX1" fmla="*/ 24765 w 104775"/>
                          <a:gd name="connsiteY1" fmla="*/ 111302 h 128447"/>
                          <a:gd name="connsiteX2" fmla="*/ 28575 w 104775"/>
                          <a:gd name="connsiteY2" fmla="*/ 117017 h 128447"/>
                          <a:gd name="connsiteX3" fmla="*/ 32385 w 104775"/>
                          <a:gd name="connsiteY3" fmla="*/ 128447 h 128447"/>
                          <a:gd name="connsiteX4" fmla="*/ 81915 w 104775"/>
                          <a:gd name="connsiteY4" fmla="*/ 126542 h 128447"/>
                          <a:gd name="connsiteX5" fmla="*/ 87630 w 104775"/>
                          <a:gd name="connsiteY5" fmla="*/ 124637 h 128447"/>
                          <a:gd name="connsiteX6" fmla="*/ 89535 w 104775"/>
                          <a:gd name="connsiteY6" fmla="*/ 118922 h 128447"/>
                          <a:gd name="connsiteX7" fmla="*/ 93345 w 104775"/>
                          <a:gd name="connsiteY7" fmla="*/ 113207 h 128447"/>
                          <a:gd name="connsiteX8" fmla="*/ 95250 w 104775"/>
                          <a:gd name="connsiteY8" fmla="*/ 99872 h 128447"/>
                          <a:gd name="connsiteX9" fmla="*/ 100965 w 104775"/>
                          <a:gd name="connsiteY9" fmla="*/ 96062 h 128447"/>
                          <a:gd name="connsiteX10" fmla="*/ 104775 w 104775"/>
                          <a:gd name="connsiteY10" fmla="*/ 84632 h 128447"/>
                          <a:gd name="connsiteX11" fmla="*/ 100965 w 104775"/>
                          <a:gd name="connsiteY11" fmla="*/ 57962 h 128447"/>
                          <a:gd name="connsiteX12" fmla="*/ 99060 w 104775"/>
                          <a:gd name="connsiteY12" fmla="*/ 50342 h 128447"/>
                          <a:gd name="connsiteX13" fmla="*/ 95250 w 104775"/>
                          <a:gd name="connsiteY13" fmla="*/ 44627 h 128447"/>
                          <a:gd name="connsiteX14" fmla="*/ 91440 w 104775"/>
                          <a:gd name="connsiteY14" fmla="*/ 33197 h 128447"/>
                          <a:gd name="connsiteX15" fmla="*/ 70485 w 104775"/>
                          <a:gd name="connsiteY15" fmla="*/ 4622 h 128447"/>
                          <a:gd name="connsiteX16" fmla="*/ 45720 w 104775"/>
                          <a:gd name="connsiteY16" fmla="*/ 2717 h 128447"/>
                          <a:gd name="connsiteX17" fmla="*/ 41910 w 104775"/>
                          <a:gd name="connsiteY17" fmla="*/ 31292 h 128447"/>
                          <a:gd name="connsiteX18" fmla="*/ 40005 w 104775"/>
                          <a:gd name="connsiteY18" fmla="*/ 44627 h 128447"/>
                          <a:gd name="connsiteX19" fmla="*/ 3810 w 104775"/>
                          <a:gd name="connsiteY19" fmla="*/ 52247 h 128447"/>
                          <a:gd name="connsiteX20" fmla="*/ 1905 w 104775"/>
                          <a:gd name="connsiteY20" fmla="*/ 59867 h 128447"/>
                          <a:gd name="connsiteX21" fmla="*/ 0 w 104775"/>
                          <a:gd name="connsiteY21" fmla="*/ 65582 h 128447"/>
                          <a:gd name="connsiteX22" fmla="*/ 5715 w 104775"/>
                          <a:gd name="connsiteY22" fmla="*/ 78917 h 128447"/>
                          <a:gd name="connsiteX23" fmla="*/ 5715 w 104775"/>
                          <a:gd name="connsiteY23" fmla="*/ 82727 h 128447"/>
                          <a:gd name="connsiteX24" fmla="*/ 17145 w 104775"/>
                          <a:gd name="connsiteY24" fmla="*/ 111302 h 128447"/>
                          <a:gd name="connsiteX0" fmla="*/ 19050 w 104775"/>
                          <a:gd name="connsiteY0" fmla="*/ 102874 h 123829"/>
                          <a:gd name="connsiteX1" fmla="*/ 24765 w 104775"/>
                          <a:gd name="connsiteY1" fmla="*/ 106684 h 123829"/>
                          <a:gd name="connsiteX2" fmla="*/ 28575 w 104775"/>
                          <a:gd name="connsiteY2" fmla="*/ 112399 h 123829"/>
                          <a:gd name="connsiteX3" fmla="*/ 32385 w 104775"/>
                          <a:gd name="connsiteY3" fmla="*/ 123829 h 123829"/>
                          <a:gd name="connsiteX4" fmla="*/ 81915 w 104775"/>
                          <a:gd name="connsiteY4" fmla="*/ 121924 h 123829"/>
                          <a:gd name="connsiteX5" fmla="*/ 87630 w 104775"/>
                          <a:gd name="connsiteY5" fmla="*/ 120019 h 123829"/>
                          <a:gd name="connsiteX6" fmla="*/ 89535 w 104775"/>
                          <a:gd name="connsiteY6" fmla="*/ 114304 h 123829"/>
                          <a:gd name="connsiteX7" fmla="*/ 93345 w 104775"/>
                          <a:gd name="connsiteY7" fmla="*/ 108589 h 123829"/>
                          <a:gd name="connsiteX8" fmla="*/ 95250 w 104775"/>
                          <a:gd name="connsiteY8" fmla="*/ 95254 h 123829"/>
                          <a:gd name="connsiteX9" fmla="*/ 100965 w 104775"/>
                          <a:gd name="connsiteY9" fmla="*/ 91444 h 123829"/>
                          <a:gd name="connsiteX10" fmla="*/ 104775 w 104775"/>
                          <a:gd name="connsiteY10" fmla="*/ 80014 h 123829"/>
                          <a:gd name="connsiteX11" fmla="*/ 100965 w 104775"/>
                          <a:gd name="connsiteY11" fmla="*/ 53344 h 123829"/>
                          <a:gd name="connsiteX12" fmla="*/ 99060 w 104775"/>
                          <a:gd name="connsiteY12" fmla="*/ 45724 h 123829"/>
                          <a:gd name="connsiteX13" fmla="*/ 95250 w 104775"/>
                          <a:gd name="connsiteY13" fmla="*/ 40009 h 123829"/>
                          <a:gd name="connsiteX14" fmla="*/ 91440 w 104775"/>
                          <a:gd name="connsiteY14" fmla="*/ 28579 h 123829"/>
                          <a:gd name="connsiteX15" fmla="*/ 70485 w 104775"/>
                          <a:gd name="connsiteY15" fmla="*/ 4 h 123829"/>
                          <a:gd name="connsiteX16" fmla="*/ 41910 w 104775"/>
                          <a:gd name="connsiteY16" fmla="*/ 26674 h 123829"/>
                          <a:gd name="connsiteX17" fmla="*/ 40005 w 104775"/>
                          <a:gd name="connsiteY17" fmla="*/ 40009 h 123829"/>
                          <a:gd name="connsiteX18" fmla="*/ 3810 w 104775"/>
                          <a:gd name="connsiteY18" fmla="*/ 47629 h 123829"/>
                          <a:gd name="connsiteX19" fmla="*/ 1905 w 104775"/>
                          <a:gd name="connsiteY19" fmla="*/ 55249 h 123829"/>
                          <a:gd name="connsiteX20" fmla="*/ 0 w 104775"/>
                          <a:gd name="connsiteY20" fmla="*/ 60964 h 123829"/>
                          <a:gd name="connsiteX21" fmla="*/ 5715 w 104775"/>
                          <a:gd name="connsiteY21" fmla="*/ 74299 h 123829"/>
                          <a:gd name="connsiteX22" fmla="*/ 5715 w 104775"/>
                          <a:gd name="connsiteY22" fmla="*/ 78109 h 123829"/>
                          <a:gd name="connsiteX23" fmla="*/ 17145 w 104775"/>
                          <a:gd name="connsiteY23" fmla="*/ 106684 h 123829"/>
                          <a:gd name="connsiteX0" fmla="*/ 19050 w 104775"/>
                          <a:gd name="connsiteY0" fmla="*/ 77050 h 98005"/>
                          <a:gd name="connsiteX1" fmla="*/ 24765 w 104775"/>
                          <a:gd name="connsiteY1" fmla="*/ 80860 h 98005"/>
                          <a:gd name="connsiteX2" fmla="*/ 28575 w 104775"/>
                          <a:gd name="connsiteY2" fmla="*/ 86575 h 98005"/>
                          <a:gd name="connsiteX3" fmla="*/ 32385 w 104775"/>
                          <a:gd name="connsiteY3" fmla="*/ 98005 h 98005"/>
                          <a:gd name="connsiteX4" fmla="*/ 81915 w 104775"/>
                          <a:gd name="connsiteY4" fmla="*/ 96100 h 98005"/>
                          <a:gd name="connsiteX5" fmla="*/ 87630 w 104775"/>
                          <a:gd name="connsiteY5" fmla="*/ 94195 h 98005"/>
                          <a:gd name="connsiteX6" fmla="*/ 89535 w 104775"/>
                          <a:gd name="connsiteY6" fmla="*/ 88480 h 98005"/>
                          <a:gd name="connsiteX7" fmla="*/ 93345 w 104775"/>
                          <a:gd name="connsiteY7" fmla="*/ 82765 h 98005"/>
                          <a:gd name="connsiteX8" fmla="*/ 95250 w 104775"/>
                          <a:gd name="connsiteY8" fmla="*/ 69430 h 98005"/>
                          <a:gd name="connsiteX9" fmla="*/ 100965 w 104775"/>
                          <a:gd name="connsiteY9" fmla="*/ 65620 h 98005"/>
                          <a:gd name="connsiteX10" fmla="*/ 104775 w 104775"/>
                          <a:gd name="connsiteY10" fmla="*/ 54190 h 98005"/>
                          <a:gd name="connsiteX11" fmla="*/ 100965 w 104775"/>
                          <a:gd name="connsiteY11" fmla="*/ 27520 h 98005"/>
                          <a:gd name="connsiteX12" fmla="*/ 99060 w 104775"/>
                          <a:gd name="connsiteY12" fmla="*/ 19900 h 98005"/>
                          <a:gd name="connsiteX13" fmla="*/ 95250 w 104775"/>
                          <a:gd name="connsiteY13" fmla="*/ 14185 h 98005"/>
                          <a:gd name="connsiteX14" fmla="*/ 91440 w 104775"/>
                          <a:gd name="connsiteY14" fmla="*/ 2755 h 98005"/>
                          <a:gd name="connsiteX15" fmla="*/ 41910 w 104775"/>
                          <a:gd name="connsiteY15" fmla="*/ 850 h 98005"/>
                          <a:gd name="connsiteX16" fmla="*/ 40005 w 104775"/>
                          <a:gd name="connsiteY16" fmla="*/ 14185 h 98005"/>
                          <a:gd name="connsiteX17" fmla="*/ 3810 w 104775"/>
                          <a:gd name="connsiteY17" fmla="*/ 21805 h 98005"/>
                          <a:gd name="connsiteX18" fmla="*/ 1905 w 104775"/>
                          <a:gd name="connsiteY18" fmla="*/ 29425 h 98005"/>
                          <a:gd name="connsiteX19" fmla="*/ 0 w 104775"/>
                          <a:gd name="connsiteY19" fmla="*/ 35140 h 98005"/>
                          <a:gd name="connsiteX20" fmla="*/ 5715 w 104775"/>
                          <a:gd name="connsiteY20" fmla="*/ 48475 h 98005"/>
                          <a:gd name="connsiteX21" fmla="*/ 5715 w 104775"/>
                          <a:gd name="connsiteY21" fmla="*/ 52285 h 98005"/>
                          <a:gd name="connsiteX22" fmla="*/ 17145 w 104775"/>
                          <a:gd name="connsiteY22" fmla="*/ 80860 h 98005"/>
                          <a:gd name="connsiteX0" fmla="*/ 19050 w 104775"/>
                          <a:gd name="connsiteY0" fmla="*/ 76200 h 97155"/>
                          <a:gd name="connsiteX1" fmla="*/ 24765 w 104775"/>
                          <a:gd name="connsiteY1" fmla="*/ 80010 h 97155"/>
                          <a:gd name="connsiteX2" fmla="*/ 28575 w 104775"/>
                          <a:gd name="connsiteY2" fmla="*/ 85725 h 97155"/>
                          <a:gd name="connsiteX3" fmla="*/ 32385 w 104775"/>
                          <a:gd name="connsiteY3" fmla="*/ 97155 h 97155"/>
                          <a:gd name="connsiteX4" fmla="*/ 81915 w 104775"/>
                          <a:gd name="connsiteY4" fmla="*/ 95250 h 97155"/>
                          <a:gd name="connsiteX5" fmla="*/ 87630 w 104775"/>
                          <a:gd name="connsiteY5" fmla="*/ 93345 h 97155"/>
                          <a:gd name="connsiteX6" fmla="*/ 89535 w 104775"/>
                          <a:gd name="connsiteY6" fmla="*/ 87630 h 97155"/>
                          <a:gd name="connsiteX7" fmla="*/ 93345 w 104775"/>
                          <a:gd name="connsiteY7" fmla="*/ 81915 h 97155"/>
                          <a:gd name="connsiteX8" fmla="*/ 95250 w 104775"/>
                          <a:gd name="connsiteY8" fmla="*/ 68580 h 97155"/>
                          <a:gd name="connsiteX9" fmla="*/ 100965 w 104775"/>
                          <a:gd name="connsiteY9" fmla="*/ 64770 h 97155"/>
                          <a:gd name="connsiteX10" fmla="*/ 104775 w 104775"/>
                          <a:gd name="connsiteY10" fmla="*/ 53340 h 97155"/>
                          <a:gd name="connsiteX11" fmla="*/ 100965 w 104775"/>
                          <a:gd name="connsiteY11" fmla="*/ 26670 h 97155"/>
                          <a:gd name="connsiteX12" fmla="*/ 99060 w 104775"/>
                          <a:gd name="connsiteY12" fmla="*/ 19050 h 97155"/>
                          <a:gd name="connsiteX13" fmla="*/ 95250 w 104775"/>
                          <a:gd name="connsiteY13" fmla="*/ 13335 h 97155"/>
                          <a:gd name="connsiteX14" fmla="*/ 41910 w 104775"/>
                          <a:gd name="connsiteY14" fmla="*/ 0 h 97155"/>
                          <a:gd name="connsiteX15" fmla="*/ 40005 w 104775"/>
                          <a:gd name="connsiteY15" fmla="*/ 13335 h 97155"/>
                          <a:gd name="connsiteX16" fmla="*/ 3810 w 104775"/>
                          <a:gd name="connsiteY16" fmla="*/ 20955 h 97155"/>
                          <a:gd name="connsiteX17" fmla="*/ 1905 w 104775"/>
                          <a:gd name="connsiteY17" fmla="*/ 28575 h 97155"/>
                          <a:gd name="connsiteX18" fmla="*/ 0 w 104775"/>
                          <a:gd name="connsiteY18" fmla="*/ 34290 h 97155"/>
                          <a:gd name="connsiteX19" fmla="*/ 5715 w 104775"/>
                          <a:gd name="connsiteY19" fmla="*/ 47625 h 97155"/>
                          <a:gd name="connsiteX20" fmla="*/ 5715 w 104775"/>
                          <a:gd name="connsiteY20" fmla="*/ 51435 h 97155"/>
                          <a:gd name="connsiteX21" fmla="*/ 17145 w 104775"/>
                          <a:gd name="connsiteY21" fmla="*/ 80010 h 97155"/>
                          <a:gd name="connsiteX0" fmla="*/ 19050 w 104775"/>
                          <a:gd name="connsiteY0" fmla="*/ 76298 h 97253"/>
                          <a:gd name="connsiteX1" fmla="*/ 24765 w 104775"/>
                          <a:gd name="connsiteY1" fmla="*/ 80108 h 97253"/>
                          <a:gd name="connsiteX2" fmla="*/ 28575 w 104775"/>
                          <a:gd name="connsiteY2" fmla="*/ 85823 h 97253"/>
                          <a:gd name="connsiteX3" fmla="*/ 32385 w 104775"/>
                          <a:gd name="connsiteY3" fmla="*/ 97253 h 97253"/>
                          <a:gd name="connsiteX4" fmla="*/ 81915 w 104775"/>
                          <a:gd name="connsiteY4" fmla="*/ 95348 h 97253"/>
                          <a:gd name="connsiteX5" fmla="*/ 87630 w 104775"/>
                          <a:gd name="connsiteY5" fmla="*/ 93443 h 97253"/>
                          <a:gd name="connsiteX6" fmla="*/ 89535 w 104775"/>
                          <a:gd name="connsiteY6" fmla="*/ 87728 h 97253"/>
                          <a:gd name="connsiteX7" fmla="*/ 93345 w 104775"/>
                          <a:gd name="connsiteY7" fmla="*/ 82013 h 97253"/>
                          <a:gd name="connsiteX8" fmla="*/ 95250 w 104775"/>
                          <a:gd name="connsiteY8" fmla="*/ 68678 h 97253"/>
                          <a:gd name="connsiteX9" fmla="*/ 100965 w 104775"/>
                          <a:gd name="connsiteY9" fmla="*/ 64868 h 97253"/>
                          <a:gd name="connsiteX10" fmla="*/ 104775 w 104775"/>
                          <a:gd name="connsiteY10" fmla="*/ 53438 h 97253"/>
                          <a:gd name="connsiteX11" fmla="*/ 100965 w 104775"/>
                          <a:gd name="connsiteY11" fmla="*/ 26768 h 97253"/>
                          <a:gd name="connsiteX12" fmla="*/ 99060 w 104775"/>
                          <a:gd name="connsiteY12" fmla="*/ 19148 h 97253"/>
                          <a:gd name="connsiteX13" fmla="*/ 95250 w 104775"/>
                          <a:gd name="connsiteY13" fmla="*/ 13433 h 97253"/>
                          <a:gd name="connsiteX14" fmla="*/ 41910 w 104775"/>
                          <a:gd name="connsiteY14" fmla="*/ 98 h 97253"/>
                          <a:gd name="connsiteX15" fmla="*/ 3810 w 104775"/>
                          <a:gd name="connsiteY15" fmla="*/ 21053 h 97253"/>
                          <a:gd name="connsiteX16" fmla="*/ 1905 w 104775"/>
                          <a:gd name="connsiteY16" fmla="*/ 28673 h 97253"/>
                          <a:gd name="connsiteX17" fmla="*/ 0 w 104775"/>
                          <a:gd name="connsiteY17" fmla="*/ 34388 h 97253"/>
                          <a:gd name="connsiteX18" fmla="*/ 5715 w 104775"/>
                          <a:gd name="connsiteY18" fmla="*/ 47723 h 97253"/>
                          <a:gd name="connsiteX19" fmla="*/ 5715 w 104775"/>
                          <a:gd name="connsiteY19" fmla="*/ 51533 h 97253"/>
                          <a:gd name="connsiteX20" fmla="*/ 17145 w 104775"/>
                          <a:gd name="connsiteY20" fmla="*/ 80108 h 97253"/>
                          <a:gd name="connsiteX0" fmla="*/ 19050 w 104775"/>
                          <a:gd name="connsiteY0" fmla="*/ 76205 h 97160"/>
                          <a:gd name="connsiteX1" fmla="*/ 24765 w 104775"/>
                          <a:gd name="connsiteY1" fmla="*/ 80015 h 97160"/>
                          <a:gd name="connsiteX2" fmla="*/ 28575 w 104775"/>
                          <a:gd name="connsiteY2" fmla="*/ 85730 h 97160"/>
                          <a:gd name="connsiteX3" fmla="*/ 32385 w 104775"/>
                          <a:gd name="connsiteY3" fmla="*/ 97160 h 97160"/>
                          <a:gd name="connsiteX4" fmla="*/ 81915 w 104775"/>
                          <a:gd name="connsiteY4" fmla="*/ 95255 h 97160"/>
                          <a:gd name="connsiteX5" fmla="*/ 87630 w 104775"/>
                          <a:gd name="connsiteY5" fmla="*/ 93350 h 97160"/>
                          <a:gd name="connsiteX6" fmla="*/ 89535 w 104775"/>
                          <a:gd name="connsiteY6" fmla="*/ 87635 h 97160"/>
                          <a:gd name="connsiteX7" fmla="*/ 93345 w 104775"/>
                          <a:gd name="connsiteY7" fmla="*/ 81920 h 97160"/>
                          <a:gd name="connsiteX8" fmla="*/ 95250 w 104775"/>
                          <a:gd name="connsiteY8" fmla="*/ 68585 h 97160"/>
                          <a:gd name="connsiteX9" fmla="*/ 100965 w 104775"/>
                          <a:gd name="connsiteY9" fmla="*/ 64775 h 97160"/>
                          <a:gd name="connsiteX10" fmla="*/ 104775 w 104775"/>
                          <a:gd name="connsiteY10" fmla="*/ 53345 h 97160"/>
                          <a:gd name="connsiteX11" fmla="*/ 100965 w 104775"/>
                          <a:gd name="connsiteY11" fmla="*/ 26675 h 97160"/>
                          <a:gd name="connsiteX12" fmla="*/ 99060 w 104775"/>
                          <a:gd name="connsiteY12" fmla="*/ 19055 h 97160"/>
                          <a:gd name="connsiteX13" fmla="*/ 41910 w 104775"/>
                          <a:gd name="connsiteY13" fmla="*/ 5 h 97160"/>
                          <a:gd name="connsiteX14" fmla="*/ 3810 w 104775"/>
                          <a:gd name="connsiteY14" fmla="*/ 20960 h 97160"/>
                          <a:gd name="connsiteX15" fmla="*/ 1905 w 104775"/>
                          <a:gd name="connsiteY15" fmla="*/ 28580 h 97160"/>
                          <a:gd name="connsiteX16" fmla="*/ 0 w 104775"/>
                          <a:gd name="connsiteY16" fmla="*/ 34295 h 97160"/>
                          <a:gd name="connsiteX17" fmla="*/ 5715 w 104775"/>
                          <a:gd name="connsiteY17" fmla="*/ 47630 h 97160"/>
                          <a:gd name="connsiteX18" fmla="*/ 5715 w 104775"/>
                          <a:gd name="connsiteY18" fmla="*/ 51440 h 97160"/>
                          <a:gd name="connsiteX19" fmla="*/ 17145 w 104775"/>
                          <a:gd name="connsiteY19" fmla="*/ 80015 h 97160"/>
                          <a:gd name="connsiteX0" fmla="*/ 19050 w 105971"/>
                          <a:gd name="connsiteY0" fmla="*/ 76238 h 97193"/>
                          <a:gd name="connsiteX1" fmla="*/ 24765 w 105971"/>
                          <a:gd name="connsiteY1" fmla="*/ 80048 h 97193"/>
                          <a:gd name="connsiteX2" fmla="*/ 28575 w 105971"/>
                          <a:gd name="connsiteY2" fmla="*/ 85763 h 97193"/>
                          <a:gd name="connsiteX3" fmla="*/ 32385 w 105971"/>
                          <a:gd name="connsiteY3" fmla="*/ 97193 h 97193"/>
                          <a:gd name="connsiteX4" fmla="*/ 81915 w 105971"/>
                          <a:gd name="connsiteY4" fmla="*/ 95288 h 97193"/>
                          <a:gd name="connsiteX5" fmla="*/ 87630 w 105971"/>
                          <a:gd name="connsiteY5" fmla="*/ 93383 h 97193"/>
                          <a:gd name="connsiteX6" fmla="*/ 89535 w 105971"/>
                          <a:gd name="connsiteY6" fmla="*/ 87668 h 97193"/>
                          <a:gd name="connsiteX7" fmla="*/ 93345 w 105971"/>
                          <a:gd name="connsiteY7" fmla="*/ 81953 h 97193"/>
                          <a:gd name="connsiteX8" fmla="*/ 95250 w 105971"/>
                          <a:gd name="connsiteY8" fmla="*/ 68618 h 97193"/>
                          <a:gd name="connsiteX9" fmla="*/ 100965 w 105971"/>
                          <a:gd name="connsiteY9" fmla="*/ 64808 h 97193"/>
                          <a:gd name="connsiteX10" fmla="*/ 104775 w 105971"/>
                          <a:gd name="connsiteY10" fmla="*/ 53378 h 97193"/>
                          <a:gd name="connsiteX11" fmla="*/ 100965 w 105971"/>
                          <a:gd name="connsiteY11" fmla="*/ 26708 h 97193"/>
                          <a:gd name="connsiteX12" fmla="*/ 41910 w 105971"/>
                          <a:gd name="connsiteY12" fmla="*/ 38 h 97193"/>
                          <a:gd name="connsiteX13" fmla="*/ 3810 w 105971"/>
                          <a:gd name="connsiteY13" fmla="*/ 20993 h 97193"/>
                          <a:gd name="connsiteX14" fmla="*/ 1905 w 105971"/>
                          <a:gd name="connsiteY14" fmla="*/ 28613 h 97193"/>
                          <a:gd name="connsiteX15" fmla="*/ 0 w 105971"/>
                          <a:gd name="connsiteY15" fmla="*/ 34328 h 97193"/>
                          <a:gd name="connsiteX16" fmla="*/ 5715 w 105971"/>
                          <a:gd name="connsiteY16" fmla="*/ 47663 h 97193"/>
                          <a:gd name="connsiteX17" fmla="*/ 5715 w 105971"/>
                          <a:gd name="connsiteY17" fmla="*/ 51473 h 97193"/>
                          <a:gd name="connsiteX18" fmla="*/ 17145 w 105971"/>
                          <a:gd name="connsiteY18" fmla="*/ 80048 h 97193"/>
                          <a:gd name="connsiteX0" fmla="*/ 19050 w 106250"/>
                          <a:gd name="connsiteY0" fmla="*/ 64875 h 85830"/>
                          <a:gd name="connsiteX1" fmla="*/ 24765 w 106250"/>
                          <a:gd name="connsiteY1" fmla="*/ 68685 h 85830"/>
                          <a:gd name="connsiteX2" fmla="*/ 28575 w 106250"/>
                          <a:gd name="connsiteY2" fmla="*/ 74400 h 85830"/>
                          <a:gd name="connsiteX3" fmla="*/ 32385 w 106250"/>
                          <a:gd name="connsiteY3" fmla="*/ 85830 h 85830"/>
                          <a:gd name="connsiteX4" fmla="*/ 81915 w 106250"/>
                          <a:gd name="connsiteY4" fmla="*/ 83925 h 85830"/>
                          <a:gd name="connsiteX5" fmla="*/ 87630 w 106250"/>
                          <a:gd name="connsiteY5" fmla="*/ 82020 h 85830"/>
                          <a:gd name="connsiteX6" fmla="*/ 89535 w 106250"/>
                          <a:gd name="connsiteY6" fmla="*/ 76305 h 85830"/>
                          <a:gd name="connsiteX7" fmla="*/ 93345 w 106250"/>
                          <a:gd name="connsiteY7" fmla="*/ 70590 h 85830"/>
                          <a:gd name="connsiteX8" fmla="*/ 95250 w 106250"/>
                          <a:gd name="connsiteY8" fmla="*/ 57255 h 85830"/>
                          <a:gd name="connsiteX9" fmla="*/ 100965 w 106250"/>
                          <a:gd name="connsiteY9" fmla="*/ 53445 h 85830"/>
                          <a:gd name="connsiteX10" fmla="*/ 104775 w 106250"/>
                          <a:gd name="connsiteY10" fmla="*/ 42015 h 85830"/>
                          <a:gd name="connsiteX11" fmla="*/ 100965 w 106250"/>
                          <a:gd name="connsiteY11" fmla="*/ 15345 h 85830"/>
                          <a:gd name="connsiteX12" fmla="*/ 38100 w 106250"/>
                          <a:gd name="connsiteY12" fmla="*/ 105 h 85830"/>
                          <a:gd name="connsiteX13" fmla="*/ 3810 w 106250"/>
                          <a:gd name="connsiteY13" fmla="*/ 9630 h 85830"/>
                          <a:gd name="connsiteX14" fmla="*/ 1905 w 106250"/>
                          <a:gd name="connsiteY14" fmla="*/ 17250 h 85830"/>
                          <a:gd name="connsiteX15" fmla="*/ 0 w 106250"/>
                          <a:gd name="connsiteY15" fmla="*/ 22965 h 85830"/>
                          <a:gd name="connsiteX16" fmla="*/ 5715 w 106250"/>
                          <a:gd name="connsiteY16" fmla="*/ 36300 h 85830"/>
                          <a:gd name="connsiteX17" fmla="*/ 5715 w 106250"/>
                          <a:gd name="connsiteY17" fmla="*/ 40110 h 85830"/>
                          <a:gd name="connsiteX18" fmla="*/ 17145 w 106250"/>
                          <a:gd name="connsiteY18" fmla="*/ 68685 h 8583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</a:cxnLst>
                        <a:rect l="l" t="t" r="r" b="b"/>
                        <a:pathLst>
                          <a:path w="106250" h="85830">
                            <a:moveTo>
                              <a:pt x="19050" y="64875"/>
                            </a:moveTo>
                            <a:cubicBezTo>
                              <a:pt x="19050" y="69955"/>
                              <a:pt x="22860" y="67415"/>
                              <a:pt x="24765" y="68685"/>
                            </a:cubicBezTo>
                            <a:cubicBezTo>
                              <a:pt x="26035" y="70590"/>
                              <a:pt x="27645" y="72308"/>
                              <a:pt x="28575" y="74400"/>
                            </a:cubicBezTo>
                            <a:cubicBezTo>
                              <a:pt x="30206" y="78070"/>
                              <a:pt x="32385" y="85830"/>
                              <a:pt x="32385" y="85830"/>
                            </a:cubicBezTo>
                            <a:cubicBezTo>
                              <a:pt x="48895" y="85195"/>
                              <a:pt x="65432" y="85062"/>
                              <a:pt x="81915" y="83925"/>
                            </a:cubicBezTo>
                            <a:cubicBezTo>
                              <a:pt x="83918" y="83787"/>
                              <a:pt x="86210" y="83440"/>
                              <a:pt x="87630" y="82020"/>
                            </a:cubicBezTo>
                            <a:cubicBezTo>
                              <a:pt x="89050" y="80600"/>
                              <a:pt x="88637" y="78101"/>
                              <a:pt x="89535" y="76305"/>
                            </a:cubicBezTo>
                            <a:cubicBezTo>
                              <a:pt x="90559" y="74257"/>
                              <a:pt x="92075" y="72495"/>
                              <a:pt x="93345" y="70590"/>
                            </a:cubicBezTo>
                            <a:cubicBezTo>
                              <a:pt x="93980" y="66145"/>
                              <a:pt x="93426" y="61358"/>
                              <a:pt x="95250" y="57255"/>
                            </a:cubicBezTo>
                            <a:cubicBezTo>
                              <a:pt x="96180" y="55163"/>
                              <a:pt x="99752" y="55387"/>
                              <a:pt x="100965" y="53445"/>
                            </a:cubicBezTo>
                            <a:cubicBezTo>
                              <a:pt x="103094" y="50039"/>
                              <a:pt x="104775" y="42015"/>
                              <a:pt x="104775" y="42015"/>
                            </a:cubicBezTo>
                            <a:cubicBezTo>
                              <a:pt x="101728" y="8500"/>
                              <a:pt x="112077" y="22330"/>
                              <a:pt x="100965" y="15345"/>
                            </a:cubicBezTo>
                            <a:cubicBezTo>
                              <a:pt x="89853" y="8360"/>
                              <a:pt x="54292" y="1057"/>
                              <a:pt x="38100" y="105"/>
                            </a:cubicBezTo>
                            <a:cubicBezTo>
                              <a:pt x="21908" y="-847"/>
                              <a:pt x="10477" y="4868"/>
                              <a:pt x="3810" y="9630"/>
                            </a:cubicBezTo>
                            <a:cubicBezTo>
                              <a:pt x="3175" y="12170"/>
                              <a:pt x="2624" y="14733"/>
                              <a:pt x="1905" y="17250"/>
                            </a:cubicBezTo>
                            <a:cubicBezTo>
                              <a:pt x="1353" y="19181"/>
                              <a:pt x="0" y="20957"/>
                              <a:pt x="0" y="22965"/>
                            </a:cubicBezTo>
                            <a:cubicBezTo>
                              <a:pt x="0" y="32673"/>
                              <a:pt x="2604" y="28523"/>
                              <a:pt x="5715" y="36300"/>
                            </a:cubicBezTo>
                            <a:cubicBezTo>
                              <a:pt x="6187" y="37479"/>
                              <a:pt x="3810" y="34713"/>
                              <a:pt x="5715" y="40110"/>
                            </a:cubicBezTo>
                            <a:cubicBezTo>
                              <a:pt x="7620" y="45507"/>
                              <a:pt x="13335" y="59160"/>
                              <a:pt x="17145" y="68685"/>
                            </a:cubicBezTo>
                          </a:path>
                        </a:pathLst>
                      </a:custGeom>
                      <a:solidFill>
                        <a:srgbClr val="0D3759"/>
                      </a:solidFill>
                      <a:ln w="3175" cap="flat" cmpd="sng" algn="ctr">
                        <a:solidFill>
                          <a:srgbClr val="F2E8F8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89" name="Rectangle: Rounded Corners 74">
                        <a:extLst>
                          <a:ext uri="{FF2B5EF4-FFF2-40B4-BE49-F238E27FC236}">
                            <a16:creationId xmlns:a16="http://schemas.microsoft.com/office/drawing/2014/main" id="{44839CC1-D6A1-FD37-ACD6-7C5FC0E2101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886901" y="4403741"/>
                        <a:ext cx="27432" cy="18288"/>
                      </a:xfrm>
                      <a:prstGeom prst="roundRect">
                        <a:avLst/>
                      </a:prstGeom>
                      <a:solidFill>
                        <a:srgbClr val="0D3759"/>
                      </a:solidFill>
                      <a:ln w="3175" cap="flat" cmpd="sng" algn="ctr">
                        <a:solidFill>
                          <a:srgbClr val="F2E8F8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90" name="Rectangle: Rounded Corners 75">
                        <a:extLst>
                          <a:ext uri="{FF2B5EF4-FFF2-40B4-BE49-F238E27FC236}">
                            <a16:creationId xmlns:a16="http://schemas.microsoft.com/office/drawing/2014/main" id="{41F4C80D-ECF0-A343-FC51-2A5534A9D7F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858174" y="4291371"/>
                        <a:ext cx="27432" cy="18288"/>
                      </a:xfrm>
                      <a:prstGeom prst="roundRect">
                        <a:avLst/>
                      </a:prstGeom>
                      <a:solidFill>
                        <a:srgbClr val="0D3759"/>
                      </a:solidFill>
                      <a:ln w="3175" cap="flat" cmpd="sng" algn="ctr">
                        <a:solidFill>
                          <a:srgbClr val="F2E8F8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91" name="Rectangle: Rounded Corners 76">
                        <a:extLst>
                          <a:ext uri="{FF2B5EF4-FFF2-40B4-BE49-F238E27FC236}">
                            <a16:creationId xmlns:a16="http://schemas.microsoft.com/office/drawing/2014/main" id="{538C4F80-FB31-BD2C-80B4-E5370595A35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770428" y="4196137"/>
                        <a:ext cx="27432" cy="18288"/>
                      </a:xfrm>
                      <a:prstGeom prst="roundRect">
                        <a:avLst/>
                      </a:prstGeom>
                      <a:solidFill>
                        <a:srgbClr val="0D3759"/>
                      </a:solidFill>
                      <a:ln w="3175" cap="flat" cmpd="sng" algn="ctr">
                        <a:solidFill>
                          <a:srgbClr val="F2E8F8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92" name="Rectangle: Rounded Corners 77">
                        <a:extLst>
                          <a:ext uri="{FF2B5EF4-FFF2-40B4-BE49-F238E27FC236}">
                            <a16:creationId xmlns:a16="http://schemas.microsoft.com/office/drawing/2014/main" id="{D51E97A4-E2CB-8E4D-8E76-1B1831B379D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924873" y="4240076"/>
                        <a:ext cx="27432" cy="18288"/>
                      </a:xfrm>
                      <a:prstGeom prst="roundRect">
                        <a:avLst/>
                      </a:prstGeom>
                      <a:solidFill>
                        <a:srgbClr val="0D3759"/>
                      </a:solidFill>
                      <a:ln w="3175" cap="flat" cmpd="sng" algn="ctr">
                        <a:solidFill>
                          <a:srgbClr val="F2E8F8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93" name="Rectangle: Rounded Corners 78">
                        <a:extLst>
                          <a:ext uri="{FF2B5EF4-FFF2-40B4-BE49-F238E27FC236}">
                            <a16:creationId xmlns:a16="http://schemas.microsoft.com/office/drawing/2014/main" id="{8F9543DC-DFE1-1229-0117-4D0C3780469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050643" y="4293981"/>
                        <a:ext cx="27432" cy="18288"/>
                      </a:xfrm>
                      <a:prstGeom prst="roundRect">
                        <a:avLst/>
                      </a:prstGeom>
                      <a:solidFill>
                        <a:srgbClr val="0D3759"/>
                      </a:solidFill>
                      <a:ln w="3175" cap="flat" cmpd="sng" algn="ctr">
                        <a:solidFill>
                          <a:srgbClr val="F2E8F8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94" name="Rectangle: Rounded Corners 79">
                        <a:extLst>
                          <a:ext uri="{FF2B5EF4-FFF2-40B4-BE49-F238E27FC236}">
                            <a16:creationId xmlns:a16="http://schemas.microsoft.com/office/drawing/2014/main" id="{D8771489-B68E-257B-8969-AA973E303FD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817085" y="4394597"/>
                        <a:ext cx="27432" cy="18288"/>
                      </a:xfrm>
                      <a:prstGeom prst="roundRect">
                        <a:avLst/>
                      </a:prstGeom>
                      <a:solidFill>
                        <a:srgbClr val="0D3759"/>
                      </a:solidFill>
                      <a:ln w="3175" cap="flat" cmpd="sng" algn="ctr">
                        <a:solidFill>
                          <a:srgbClr val="F2E8F8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</p:grpSp>
                <p:grpSp>
                  <p:nvGrpSpPr>
                    <p:cNvPr id="1026" name="Group 1025">
                      <a:extLst>
                        <a:ext uri="{FF2B5EF4-FFF2-40B4-BE49-F238E27FC236}">
                          <a16:creationId xmlns:a16="http://schemas.microsoft.com/office/drawing/2014/main" id="{EA643D67-8185-598F-42DD-E8B7142558B7}"/>
                        </a:ext>
                      </a:extLst>
                    </p:cNvPr>
                    <p:cNvGrpSpPr/>
                    <p:nvPr/>
                  </p:nvGrpSpPr>
                  <p:grpSpPr>
                    <a:xfrm rot="14018184">
                      <a:off x="10664494" y="3278426"/>
                      <a:ext cx="187514" cy="155243"/>
                      <a:chOff x="8770428" y="4145225"/>
                      <a:chExt cx="307647" cy="276804"/>
                    </a:xfrm>
                    <a:solidFill>
                      <a:srgbClr val="824A78"/>
                    </a:solidFill>
                  </p:grpSpPr>
                  <p:sp>
                    <p:nvSpPr>
                      <p:cNvPr id="1061" name="Freeform: Shape 46">
                        <a:extLst>
                          <a:ext uri="{FF2B5EF4-FFF2-40B4-BE49-F238E27FC236}">
                            <a16:creationId xmlns:a16="http://schemas.microsoft.com/office/drawing/2014/main" id="{22D84151-1323-9359-3112-06C4CFF8A1FE}"/>
                          </a:ext>
                        </a:extLst>
                      </p:cNvPr>
                      <p:cNvSpPr/>
                      <p:nvPr/>
                    </p:nvSpPr>
                    <p:spPr>
                      <a:xfrm rot="5813516">
                        <a:off x="8823930" y="4215604"/>
                        <a:ext cx="27432" cy="27432"/>
                      </a:xfrm>
                      <a:custGeom>
                        <a:avLst/>
                        <a:gdLst>
                          <a:gd name="connsiteX0" fmla="*/ 32385 w 80010"/>
                          <a:gd name="connsiteY0" fmla="*/ 8118 h 64150"/>
                          <a:gd name="connsiteX1" fmla="*/ 32385 w 80010"/>
                          <a:gd name="connsiteY1" fmla="*/ 8118 h 64150"/>
                          <a:gd name="connsiteX2" fmla="*/ 3810 w 80010"/>
                          <a:gd name="connsiteY2" fmla="*/ 10023 h 64150"/>
                          <a:gd name="connsiteX3" fmla="*/ 0 w 80010"/>
                          <a:gd name="connsiteY3" fmla="*/ 21453 h 64150"/>
                          <a:gd name="connsiteX4" fmla="*/ 7620 w 80010"/>
                          <a:gd name="connsiteY4" fmla="*/ 42408 h 64150"/>
                          <a:gd name="connsiteX5" fmla="*/ 13335 w 80010"/>
                          <a:gd name="connsiteY5" fmla="*/ 46218 h 64150"/>
                          <a:gd name="connsiteX6" fmla="*/ 19050 w 80010"/>
                          <a:gd name="connsiteY6" fmla="*/ 51933 h 64150"/>
                          <a:gd name="connsiteX7" fmla="*/ 68580 w 80010"/>
                          <a:gd name="connsiteY7" fmla="*/ 55743 h 64150"/>
                          <a:gd name="connsiteX8" fmla="*/ 72390 w 80010"/>
                          <a:gd name="connsiteY8" fmla="*/ 50028 h 64150"/>
                          <a:gd name="connsiteX9" fmla="*/ 78105 w 80010"/>
                          <a:gd name="connsiteY9" fmla="*/ 44313 h 64150"/>
                          <a:gd name="connsiteX10" fmla="*/ 80010 w 80010"/>
                          <a:gd name="connsiteY10" fmla="*/ 38598 h 64150"/>
                          <a:gd name="connsiteX11" fmla="*/ 78105 w 80010"/>
                          <a:gd name="connsiteY11" fmla="*/ 27168 h 64150"/>
                          <a:gd name="connsiteX12" fmla="*/ 60960 w 80010"/>
                          <a:gd name="connsiteY12" fmla="*/ 21453 h 64150"/>
                          <a:gd name="connsiteX13" fmla="*/ 53340 w 80010"/>
                          <a:gd name="connsiteY13" fmla="*/ 23358 h 64150"/>
                          <a:gd name="connsiteX14" fmla="*/ 57150 w 80010"/>
                          <a:gd name="connsiteY14" fmla="*/ 11928 h 64150"/>
                          <a:gd name="connsiteX15" fmla="*/ 59055 w 80010"/>
                          <a:gd name="connsiteY15" fmla="*/ 6213 h 64150"/>
                          <a:gd name="connsiteX16" fmla="*/ 34290 w 80010"/>
                          <a:gd name="connsiteY16" fmla="*/ 498 h 64150"/>
                          <a:gd name="connsiteX17" fmla="*/ 32385 w 80010"/>
                          <a:gd name="connsiteY17" fmla="*/ 8118 h 64150"/>
                          <a:gd name="connsiteX0" fmla="*/ 32385 w 80010"/>
                          <a:gd name="connsiteY0" fmla="*/ 8118 h 64150"/>
                          <a:gd name="connsiteX1" fmla="*/ 32385 w 80010"/>
                          <a:gd name="connsiteY1" fmla="*/ 8118 h 64150"/>
                          <a:gd name="connsiteX2" fmla="*/ 3810 w 80010"/>
                          <a:gd name="connsiteY2" fmla="*/ 10023 h 64150"/>
                          <a:gd name="connsiteX3" fmla="*/ 0 w 80010"/>
                          <a:gd name="connsiteY3" fmla="*/ 21453 h 64150"/>
                          <a:gd name="connsiteX4" fmla="*/ 7620 w 80010"/>
                          <a:gd name="connsiteY4" fmla="*/ 42408 h 64150"/>
                          <a:gd name="connsiteX5" fmla="*/ 13335 w 80010"/>
                          <a:gd name="connsiteY5" fmla="*/ 46218 h 64150"/>
                          <a:gd name="connsiteX6" fmla="*/ 19050 w 80010"/>
                          <a:gd name="connsiteY6" fmla="*/ 51933 h 64150"/>
                          <a:gd name="connsiteX7" fmla="*/ 68580 w 80010"/>
                          <a:gd name="connsiteY7" fmla="*/ 55743 h 64150"/>
                          <a:gd name="connsiteX8" fmla="*/ 72390 w 80010"/>
                          <a:gd name="connsiteY8" fmla="*/ 50028 h 64150"/>
                          <a:gd name="connsiteX9" fmla="*/ 78105 w 80010"/>
                          <a:gd name="connsiteY9" fmla="*/ 44313 h 64150"/>
                          <a:gd name="connsiteX10" fmla="*/ 80010 w 80010"/>
                          <a:gd name="connsiteY10" fmla="*/ 38598 h 64150"/>
                          <a:gd name="connsiteX11" fmla="*/ 78105 w 80010"/>
                          <a:gd name="connsiteY11" fmla="*/ 27168 h 64150"/>
                          <a:gd name="connsiteX12" fmla="*/ 60960 w 80010"/>
                          <a:gd name="connsiteY12" fmla="*/ 21453 h 64150"/>
                          <a:gd name="connsiteX13" fmla="*/ 53340 w 80010"/>
                          <a:gd name="connsiteY13" fmla="*/ 23358 h 64150"/>
                          <a:gd name="connsiteX14" fmla="*/ 57150 w 80010"/>
                          <a:gd name="connsiteY14" fmla="*/ 11928 h 64150"/>
                          <a:gd name="connsiteX15" fmla="*/ 59055 w 80010"/>
                          <a:gd name="connsiteY15" fmla="*/ 6213 h 64150"/>
                          <a:gd name="connsiteX16" fmla="*/ 34290 w 80010"/>
                          <a:gd name="connsiteY16" fmla="*/ 498 h 64150"/>
                          <a:gd name="connsiteX17" fmla="*/ 32385 w 80010"/>
                          <a:gd name="connsiteY17" fmla="*/ 8118 h 64150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179 h 56211"/>
                          <a:gd name="connsiteX1" fmla="*/ 32385 w 80010"/>
                          <a:gd name="connsiteY1" fmla="*/ 179 h 56211"/>
                          <a:gd name="connsiteX2" fmla="*/ 3810 w 80010"/>
                          <a:gd name="connsiteY2" fmla="*/ 2084 h 56211"/>
                          <a:gd name="connsiteX3" fmla="*/ 0 w 80010"/>
                          <a:gd name="connsiteY3" fmla="*/ 13514 h 56211"/>
                          <a:gd name="connsiteX4" fmla="*/ 7620 w 80010"/>
                          <a:gd name="connsiteY4" fmla="*/ 34469 h 56211"/>
                          <a:gd name="connsiteX5" fmla="*/ 13335 w 80010"/>
                          <a:gd name="connsiteY5" fmla="*/ 38279 h 56211"/>
                          <a:gd name="connsiteX6" fmla="*/ 19050 w 80010"/>
                          <a:gd name="connsiteY6" fmla="*/ 43994 h 56211"/>
                          <a:gd name="connsiteX7" fmla="*/ 68580 w 80010"/>
                          <a:gd name="connsiteY7" fmla="*/ 47804 h 56211"/>
                          <a:gd name="connsiteX8" fmla="*/ 72390 w 80010"/>
                          <a:gd name="connsiteY8" fmla="*/ 42089 h 56211"/>
                          <a:gd name="connsiteX9" fmla="*/ 78105 w 80010"/>
                          <a:gd name="connsiteY9" fmla="*/ 36374 h 56211"/>
                          <a:gd name="connsiteX10" fmla="*/ 80010 w 80010"/>
                          <a:gd name="connsiteY10" fmla="*/ 30659 h 56211"/>
                          <a:gd name="connsiteX11" fmla="*/ 78105 w 80010"/>
                          <a:gd name="connsiteY11" fmla="*/ 19229 h 56211"/>
                          <a:gd name="connsiteX12" fmla="*/ 60960 w 80010"/>
                          <a:gd name="connsiteY12" fmla="*/ 13514 h 56211"/>
                          <a:gd name="connsiteX13" fmla="*/ 53340 w 80010"/>
                          <a:gd name="connsiteY13" fmla="*/ 15419 h 56211"/>
                          <a:gd name="connsiteX14" fmla="*/ 57150 w 80010"/>
                          <a:gd name="connsiteY14" fmla="*/ 3989 h 56211"/>
                          <a:gd name="connsiteX15" fmla="*/ 32385 w 80010"/>
                          <a:gd name="connsiteY15" fmla="*/ 179 h 56211"/>
                          <a:gd name="connsiteX0" fmla="*/ 32385 w 80010"/>
                          <a:gd name="connsiteY0" fmla="*/ 179 h 56211"/>
                          <a:gd name="connsiteX1" fmla="*/ 32385 w 80010"/>
                          <a:gd name="connsiteY1" fmla="*/ 179 h 56211"/>
                          <a:gd name="connsiteX2" fmla="*/ 3810 w 80010"/>
                          <a:gd name="connsiteY2" fmla="*/ 2084 h 56211"/>
                          <a:gd name="connsiteX3" fmla="*/ 0 w 80010"/>
                          <a:gd name="connsiteY3" fmla="*/ 13514 h 56211"/>
                          <a:gd name="connsiteX4" fmla="*/ 7620 w 80010"/>
                          <a:gd name="connsiteY4" fmla="*/ 34469 h 56211"/>
                          <a:gd name="connsiteX5" fmla="*/ 13335 w 80010"/>
                          <a:gd name="connsiteY5" fmla="*/ 38279 h 56211"/>
                          <a:gd name="connsiteX6" fmla="*/ 19050 w 80010"/>
                          <a:gd name="connsiteY6" fmla="*/ 43994 h 56211"/>
                          <a:gd name="connsiteX7" fmla="*/ 68580 w 80010"/>
                          <a:gd name="connsiteY7" fmla="*/ 47804 h 56211"/>
                          <a:gd name="connsiteX8" fmla="*/ 72390 w 80010"/>
                          <a:gd name="connsiteY8" fmla="*/ 42089 h 56211"/>
                          <a:gd name="connsiteX9" fmla="*/ 78105 w 80010"/>
                          <a:gd name="connsiteY9" fmla="*/ 36374 h 56211"/>
                          <a:gd name="connsiteX10" fmla="*/ 80010 w 80010"/>
                          <a:gd name="connsiteY10" fmla="*/ 30659 h 56211"/>
                          <a:gd name="connsiteX11" fmla="*/ 78105 w 80010"/>
                          <a:gd name="connsiteY11" fmla="*/ 19229 h 56211"/>
                          <a:gd name="connsiteX12" fmla="*/ 60960 w 80010"/>
                          <a:gd name="connsiteY12" fmla="*/ 13514 h 56211"/>
                          <a:gd name="connsiteX13" fmla="*/ 53340 w 80010"/>
                          <a:gd name="connsiteY13" fmla="*/ 15419 h 56211"/>
                          <a:gd name="connsiteX14" fmla="*/ 40048 w 80010"/>
                          <a:gd name="connsiteY14" fmla="*/ 8639 h 56211"/>
                          <a:gd name="connsiteX15" fmla="*/ 32385 w 80010"/>
                          <a:gd name="connsiteY15" fmla="*/ 179 h 56211"/>
                          <a:gd name="connsiteX0" fmla="*/ 32385 w 80010"/>
                          <a:gd name="connsiteY0" fmla="*/ 179 h 52171"/>
                          <a:gd name="connsiteX1" fmla="*/ 32385 w 80010"/>
                          <a:gd name="connsiteY1" fmla="*/ 179 h 52171"/>
                          <a:gd name="connsiteX2" fmla="*/ 3810 w 80010"/>
                          <a:gd name="connsiteY2" fmla="*/ 2084 h 52171"/>
                          <a:gd name="connsiteX3" fmla="*/ 0 w 80010"/>
                          <a:gd name="connsiteY3" fmla="*/ 13514 h 52171"/>
                          <a:gd name="connsiteX4" fmla="*/ 7620 w 80010"/>
                          <a:gd name="connsiteY4" fmla="*/ 34469 h 52171"/>
                          <a:gd name="connsiteX5" fmla="*/ 13335 w 80010"/>
                          <a:gd name="connsiteY5" fmla="*/ 38279 h 52171"/>
                          <a:gd name="connsiteX6" fmla="*/ 19050 w 80010"/>
                          <a:gd name="connsiteY6" fmla="*/ 43994 h 52171"/>
                          <a:gd name="connsiteX7" fmla="*/ 68580 w 80010"/>
                          <a:gd name="connsiteY7" fmla="*/ 47804 h 52171"/>
                          <a:gd name="connsiteX8" fmla="*/ 72390 w 80010"/>
                          <a:gd name="connsiteY8" fmla="*/ 42089 h 52171"/>
                          <a:gd name="connsiteX9" fmla="*/ 78105 w 80010"/>
                          <a:gd name="connsiteY9" fmla="*/ 36374 h 52171"/>
                          <a:gd name="connsiteX10" fmla="*/ 80010 w 80010"/>
                          <a:gd name="connsiteY10" fmla="*/ 30659 h 52171"/>
                          <a:gd name="connsiteX11" fmla="*/ 78105 w 80010"/>
                          <a:gd name="connsiteY11" fmla="*/ 19229 h 52171"/>
                          <a:gd name="connsiteX12" fmla="*/ 60960 w 80010"/>
                          <a:gd name="connsiteY12" fmla="*/ 13514 h 52171"/>
                          <a:gd name="connsiteX13" fmla="*/ 53340 w 80010"/>
                          <a:gd name="connsiteY13" fmla="*/ 15419 h 52171"/>
                          <a:gd name="connsiteX14" fmla="*/ 40048 w 80010"/>
                          <a:gd name="connsiteY14" fmla="*/ 8639 h 52171"/>
                          <a:gd name="connsiteX15" fmla="*/ 32385 w 80010"/>
                          <a:gd name="connsiteY15" fmla="*/ 179 h 52171"/>
                          <a:gd name="connsiteX0" fmla="*/ 32385 w 80010"/>
                          <a:gd name="connsiteY0" fmla="*/ 179 h 52432"/>
                          <a:gd name="connsiteX1" fmla="*/ 32385 w 80010"/>
                          <a:gd name="connsiteY1" fmla="*/ 179 h 52432"/>
                          <a:gd name="connsiteX2" fmla="*/ 3810 w 80010"/>
                          <a:gd name="connsiteY2" fmla="*/ 2084 h 52432"/>
                          <a:gd name="connsiteX3" fmla="*/ 0 w 80010"/>
                          <a:gd name="connsiteY3" fmla="*/ 13514 h 52432"/>
                          <a:gd name="connsiteX4" fmla="*/ 7620 w 80010"/>
                          <a:gd name="connsiteY4" fmla="*/ 34469 h 52432"/>
                          <a:gd name="connsiteX5" fmla="*/ 13335 w 80010"/>
                          <a:gd name="connsiteY5" fmla="*/ 38279 h 52432"/>
                          <a:gd name="connsiteX6" fmla="*/ 19050 w 80010"/>
                          <a:gd name="connsiteY6" fmla="*/ 43994 h 52432"/>
                          <a:gd name="connsiteX7" fmla="*/ 68580 w 80010"/>
                          <a:gd name="connsiteY7" fmla="*/ 47804 h 52432"/>
                          <a:gd name="connsiteX8" fmla="*/ 72390 w 80010"/>
                          <a:gd name="connsiteY8" fmla="*/ 42089 h 52432"/>
                          <a:gd name="connsiteX9" fmla="*/ 78105 w 80010"/>
                          <a:gd name="connsiteY9" fmla="*/ 36374 h 52432"/>
                          <a:gd name="connsiteX10" fmla="*/ 80010 w 80010"/>
                          <a:gd name="connsiteY10" fmla="*/ 30659 h 52432"/>
                          <a:gd name="connsiteX11" fmla="*/ 78105 w 80010"/>
                          <a:gd name="connsiteY11" fmla="*/ 19229 h 52432"/>
                          <a:gd name="connsiteX12" fmla="*/ 60960 w 80010"/>
                          <a:gd name="connsiteY12" fmla="*/ 13514 h 52432"/>
                          <a:gd name="connsiteX13" fmla="*/ 53340 w 80010"/>
                          <a:gd name="connsiteY13" fmla="*/ 15419 h 52432"/>
                          <a:gd name="connsiteX14" fmla="*/ 40048 w 80010"/>
                          <a:gd name="connsiteY14" fmla="*/ 8639 h 52432"/>
                          <a:gd name="connsiteX15" fmla="*/ 32385 w 80010"/>
                          <a:gd name="connsiteY15" fmla="*/ 179 h 52432"/>
                          <a:gd name="connsiteX0" fmla="*/ 32385 w 80010"/>
                          <a:gd name="connsiteY0" fmla="*/ 179 h 55651"/>
                          <a:gd name="connsiteX1" fmla="*/ 32385 w 80010"/>
                          <a:gd name="connsiteY1" fmla="*/ 179 h 55651"/>
                          <a:gd name="connsiteX2" fmla="*/ 3810 w 80010"/>
                          <a:gd name="connsiteY2" fmla="*/ 2084 h 55651"/>
                          <a:gd name="connsiteX3" fmla="*/ 0 w 80010"/>
                          <a:gd name="connsiteY3" fmla="*/ 13514 h 55651"/>
                          <a:gd name="connsiteX4" fmla="*/ 7620 w 80010"/>
                          <a:gd name="connsiteY4" fmla="*/ 34469 h 55651"/>
                          <a:gd name="connsiteX5" fmla="*/ 13335 w 80010"/>
                          <a:gd name="connsiteY5" fmla="*/ 38279 h 55651"/>
                          <a:gd name="connsiteX6" fmla="*/ 19050 w 80010"/>
                          <a:gd name="connsiteY6" fmla="*/ 43994 h 55651"/>
                          <a:gd name="connsiteX7" fmla="*/ 48058 w 80010"/>
                          <a:gd name="connsiteY7" fmla="*/ 52454 h 55651"/>
                          <a:gd name="connsiteX8" fmla="*/ 72390 w 80010"/>
                          <a:gd name="connsiteY8" fmla="*/ 42089 h 55651"/>
                          <a:gd name="connsiteX9" fmla="*/ 78105 w 80010"/>
                          <a:gd name="connsiteY9" fmla="*/ 36374 h 55651"/>
                          <a:gd name="connsiteX10" fmla="*/ 80010 w 80010"/>
                          <a:gd name="connsiteY10" fmla="*/ 30659 h 55651"/>
                          <a:gd name="connsiteX11" fmla="*/ 78105 w 80010"/>
                          <a:gd name="connsiteY11" fmla="*/ 19229 h 55651"/>
                          <a:gd name="connsiteX12" fmla="*/ 60960 w 80010"/>
                          <a:gd name="connsiteY12" fmla="*/ 13514 h 55651"/>
                          <a:gd name="connsiteX13" fmla="*/ 53340 w 80010"/>
                          <a:gd name="connsiteY13" fmla="*/ 15419 h 55651"/>
                          <a:gd name="connsiteX14" fmla="*/ 40048 w 80010"/>
                          <a:gd name="connsiteY14" fmla="*/ 8639 h 55651"/>
                          <a:gd name="connsiteX15" fmla="*/ 32385 w 80010"/>
                          <a:gd name="connsiteY15" fmla="*/ 179 h 55651"/>
                          <a:gd name="connsiteX0" fmla="*/ 32385 w 80010"/>
                          <a:gd name="connsiteY0" fmla="*/ 179 h 53227"/>
                          <a:gd name="connsiteX1" fmla="*/ 32385 w 80010"/>
                          <a:gd name="connsiteY1" fmla="*/ 179 h 53227"/>
                          <a:gd name="connsiteX2" fmla="*/ 3810 w 80010"/>
                          <a:gd name="connsiteY2" fmla="*/ 2084 h 53227"/>
                          <a:gd name="connsiteX3" fmla="*/ 0 w 80010"/>
                          <a:gd name="connsiteY3" fmla="*/ 13514 h 53227"/>
                          <a:gd name="connsiteX4" fmla="*/ 7620 w 80010"/>
                          <a:gd name="connsiteY4" fmla="*/ 34469 h 53227"/>
                          <a:gd name="connsiteX5" fmla="*/ 13335 w 80010"/>
                          <a:gd name="connsiteY5" fmla="*/ 38279 h 53227"/>
                          <a:gd name="connsiteX6" fmla="*/ 19050 w 80010"/>
                          <a:gd name="connsiteY6" fmla="*/ 43994 h 53227"/>
                          <a:gd name="connsiteX7" fmla="*/ 48058 w 80010"/>
                          <a:gd name="connsiteY7" fmla="*/ 52454 h 53227"/>
                          <a:gd name="connsiteX8" fmla="*/ 72390 w 80010"/>
                          <a:gd name="connsiteY8" fmla="*/ 42089 h 53227"/>
                          <a:gd name="connsiteX9" fmla="*/ 78105 w 80010"/>
                          <a:gd name="connsiteY9" fmla="*/ 36374 h 53227"/>
                          <a:gd name="connsiteX10" fmla="*/ 80010 w 80010"/>
                          <a:gd name="connsiteY10" fmla="*/ 30659 h 53227"/>
                          <a:gd name="connsiteX11" fmla="*/ 78105 w 80010"/>
                          <a:gd name="connsiteY11" fmla="*/ 19229 h 53227"/>
                          <a:gd name="connsiteX12" fmla="*/ 60960 w 80010"/>
                          <a:gd name="connsiteY12" fmla="*/ 13514 h 53227"/>
                          <a:gd name="connsiteX13" fmla="*/ 53340 w 80010"/>
                          <a:gd name="connsiteY13" fmla="*/ 15419 h 53227"/>
                          <a:gd name="connsiteX14" fmla="*/ 40048 w 80010"/>
                          <a:gd name="connsiteY14" fmla="*/ 8639 h 53227"/>
                          <a:gd name="connsiteX15" fmla="*/ 32385 w 80010"/>
                          <a:gd name="connsiteY15" fmla="*/ 179 h 5322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80010" h="53227">
                            <a:moveTo>
                              <a:pt x="32385" y="179"/>
                            </a:moveTo>
                            <a:lnTo>
                              <a:pt x="32385" y="179"/>
                            </a:lnTo>
                            <a:cubicBezTo>
                              <a:pt x="22860" y="814"/>
                              <a:pt x="12637" y="-1551"/>
                              <a:pt x="3810" y="2084"/>
                            </a:cubicBezTo>
                            <a:cubicBezTo>
                              <a:pt x="96" y="3613"/>
                              <a:pt x="0" y="13514"/>
                              <a:pt x="0" y="13514"/>
                            </a:cubicBezTo>
                            <a:cubicBezTo>
                              <a:pt x="1410" y="20563"/>
                              <a:pt x="2165" y="29014"/>
                              <a:pt x="7620" y="34469"/>
                            </a:cubicBezTo>
                            <a:cubicBezTo>
                              <a:pt x="9239" y="36088"/>
                              <a:pt x="11576" y="36813"/>
                              <a:pt x="13335" y="38279"/>
                            </a:cubicBezTo>
                            <a:cubicBezTo>
                              <a:pt x="15405" y="40004"/>
                              <a:pt x="17145" y="42089"/>
                              <a:pt x="19050" y="43994"/>
                            </a:cubicBezTo>
                            <a:cubicBezTo>
                              <a:pt x="36453" y="53990"/>
                              <a:pt x="29632" y="54059"/>
                              <a:pt x="48058" y="52454"/>
                            </a:cubicBezTo>
                            <a:cubicBezTo>
                              <a:pt x="50339" y="52255"/>
                              <a:pt x="67382" y="44769"/>
                              <a:pt x="72390" y="42089"/>
                            </a:cubicBezTo>
                            <a:cubicBezTo>
                              <a:pt x="77398" y="39409"/>
                              <a:pt x="76200" y="38279"/>
                              <a:pt x="78105" y="36374"/>
                            </a:cubicBezTo>
                            <a:cubicBezTo>
                              <a:pt x="78740" y="34469"/>
                              <a:pt x="80010" y="32667"/>
                              <a:pt x="80010" y="30659"/>
                            </a:cubicBezTo>
                            <a:cubicBezTo>
                              <a:pt x="80010" y="26796"/>
                              <a:pt x="79832" y="22684"/>
                              <a:pt x="78105" y="19229"/>
                            </a:cubicBezTo>
                            <a:cubicBezTo>
                              <a:pt x="75670" y="14359"/>
                              <a:pt x="63693" y="13970"/>
                              <a:pt x="60960" y="13514"/>
                            </a:cubicBezTo>
                            <a:cubicBezTo>
                              <a:pt x="58420" y="14149"/>
                              <a:pt x="56825" y="16231"/>
                              <a:pt x="53340" y="15419"/>
                            </a:cubicBezTo>
                            <a:cubicBezTo>
                              <a:pt x="49855" y="14607"/>
                              <a:pt x="39095" y="11497"/>
                              <a:pt x="40048" y="8639"/>
                            </a:cubicBezTo>
                            <a:lnTo>
                              <a:pt x="32385" y="179"/>
                            </a:lnTo>
                            <a:close/>
                          </a:path>
                        </a:pathLst>
                      </a:custGeom>
                      <a:grpFill/>
                      <a:ln w="3175" cap="flat" cmpd="sng" algn="ctr">
                        <a:solidFill>
                          <a:srgbClr val="F2E8F8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62" name="Freeform: Shape 47">
                        <a:extLst>
                          <a:ext uri="{FF2B5EF4-FFF2-40B4-BE49-F238E27FC236}">
                            <a16:creationId xmlns:a16="http://schemas.microsoft.com/office/drawing/2014/main" id="{4A71B79E-51A3-27C8-9817-23530172BE17}"/>
                          </a:ext>
                        </a:extLst>
                      </p:cNvPr>
                      <p:cNvSpPr/>
                      <p:nvPr/>
                    </p:nvSpPr>
                    <p:spPr>
                      <a:xfrm rot="15284729">
                        <a:off x="8851362" y="4146483"/>
                        <a:ext cx="27432" cy="27432"/>
                      </a:xfrm>
                      <a:custGeom>
                        <a:avLst/>
                        <a:gdLst>
                          <a:gd name="connsiteX0" fmla="*/ 32385 w 80010"/>
                          <a:gd name="connsiteY0" fmla="*/ 8118 h 64150"/>
                          <a:gd name="connsiteX1" fmla="*/ 32385 w 80010"/>
                          <a:gd name="connsiteY1" fmla="*/ 8118 h 64150"/>
                          <a:gd name="connsiteX2" fmla="*/ 3810 w 80010"/>
                          <a:gd name="connsiteY2" fmla="*/ 10023 h 64150"/>
                          <a:gd name="connsiteX3" fmla="*/ 0 w 80010"/>
                          <a:gd name="connsiteY3" fmla="*/ 21453 h 64150"/>
                          <a:gd name="connsiteX4" fmla="*/ 7620 w 80010"/>
                          <a:gd name="connsiteY4" fmla="*/ 42408 h 64150"/>
                          <a:gd name="connsiteX5" fmla="*/ 13335 w 80010"/>
                          <a:gd name="connsiteY5" fmla="*/ 46218 h 64150"/>
                          <a:gd name="connsiteX6" fmla="*/ 19050 w 80010"/>
                          <a:gd name="connsiteY6" fmla="*/ 51933 h 64150"/>
                          <a:gd name="connsiteX7" fmla="*/ 68580 w 80010"/>
                          <a:gd name="connsiteY7" fmla="*/ 55743 h 64150"/>
                          <a:gd name="connsiteX8" fmla="*/ 72390 w 80010"/>
                          <a:gd name="connsiteY8" fmla="*/ 50028 h 64150"/>
                          <a:gd name="connsiteX9" fmla="*/ 78105 w 80010"/>
                          <a:gd name="connsiteY9" fmla="*/ 44313 h 64150"/>
                          <a:gd name="connsiteX10" fmla="*/ 80010 w 80010"/>
                          <a:gd name="connsiteY10" fmla="*/ 38598 h 64150"/>
                          <a:gd name="connsiteX11" fmla="*/ 78105 w 80010"/>
                          <a:gd name="connsiteY11" fmla="*/ 27168 h 64150"/>
                          <a:gd name="connsiteX12" fmla="*/ 60960 w 80010"/>
                          <a:gd name="connsiteY12" fmla="*/ 21453 h 64150"/>
                          <a:gd name="connsiteX13" fmla="*/ 53340 w 80010"/>
                          <a:gd name="connsiteY13" fmla="*/ 23358 h 64150"/>
                          <a:gd name="connsiteX14" fmla="*/ 57150 w 80010"/>
                          <a:gd name="connsiteY14" fmla="*/ 11928 h 64150"/>
                          <a:gd name="connsiteX15" fmla="*/ 59055 w 80010"/>
                          <a:gd name="connsiteY15" fmla="*/ 6213 h 64150"/>
                          <a:gd name="connsiteX16" fmla="*/ 34290 w 80010"/>
                          <a:gd name="connsiteY16" fmla="*/ 498 h 64150"/>
                          <a:gd name="connsiteX17" fmla="*/ 32385 w 80010"/>
                          <a:gd name="connsiteY17" fmla="*/ 8118 h 64150"/>
                          <a:gd name="connsiteX0" fmla="*/ 32385 w 80010"/>
                          <a:gd name="connsiteY0" fmla="*/ 8118 h 64150"/>
                          <a:gd name="connsiteX1" fmla="*/ 32385 w 80010"/>
                          <a:gd name="connsiteY1" fmla="*/ 8118 h 64150"/>
                          <a:gd name="connsiteX2" fmla="*/ 3810 w 80010"/>
                          <a:gd name="connsiteY2" fmla="*/ 10023 h 64150"/>
                          <a:gd name="connsiteX3" fmla="*/ 0 w 80010"/>
                          <a:gd name="connsiteY3" fmla="*/ 21453 h 64150"/>
                          <a:gd name="connsiteX4" fmla="*/ 7620 w 80010"/>
                          <a:gd name="connsiteY4" fmla="*/ 42408 h 64150"/>
                          <a:gd name="connsiteX5" fmla="*/ 13335 w 80010"/>
                          <a:gd name="connsiteY5" fmla="*/ 46218 h 64150"/>
                          <a:gd name="connsiteX6" fmla="*/ 19050 w 80010"/>
                          <a:gd name="connsiteY6" fmla="*/ 51933 h 64150"/>
                          <a:gd name="connsiteX7" fmla="*/ 68580 w 80010"/>
                          <a:gd name="connsiteY7" fmla="*/ 55743 h 64150"/>
                          <a:gd name="connsiteX8" fmla="*/ 72390 w 80010"/>
                          <a:gd name="connsiteY8" fmla="*/ 50028 h 64150"/>
                          <a:gd name="connsiteX9" fmla="*/ 78105 w 80010"/>
                          <a:gd name="connsiteY9" fmla="*/ 44313 h 64150"/>
                          <a:gd name="connsiteX10" fmla="*/ 80010 w 80010"/>
                          <a:gd name="connsiteY10" fmla="*/ 38598 h 64150"/>
                          <a:gd name="connsiteX11" fmla="*/ 78105 w 80010"/>
                          <a:gd name="connsiteY11" fmla="*/ 27168 h 64150"/>
                          <a:gd name="connsiteX12" fmla="*/ 60960 w 80010"/>
                          <a:gd name="connsiteY12" fmla="*/ 21453 h 64150"/>
                          <a:gd name="connsiteX13" fmla="*/ 53340 w 80010"/>
                          <a:gd name="connsiteY13" fmla="*/ 23358 h 64150"/>
                          <a:gd name="connsiteX14" fmla="*/ 57150 w 80010"/>
                          <a:gd name="connsiteY14" fmla="*/ 11928 h 64150"/>
                          <a:gd name="connsiteX15" fmla="*/ 59055 w 80010"/>
                          <a:gd name="connsiteY15" fmla="*/ 6213 h 64150"/>
                          <a:gd name="connsiteX16" fmla="*/ 34290 w 80010"/>
                          <a:gd name="connsiteY16" fmla="*/ 498 h 64150"/>
                          <a:gd name="connsiteX17" fmla="*/ 32385 w 80010"/>
                          <a:gd name="connsiteY17" fmla="*/ 8118 h 64150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179 h 56211"/>
                          <a:gd name="connsiteX1" fmla="*/ 32385 w 80010"/>
                          <a:gd name="connsiteY1" fmla="*/ 179 h 56211"/>
                          <a:gd name="connsiteX2" fmla="*/ 3810 w 80010"/>
                          <a:gd name="connsiteY2" fmla="*/ 2084 h 56211"/>
                          <a:gd name="connsiteX3" fmla="*/ 0 w 80010"/>
                          <a:gd name="connsiteY3" fmla="*/ 13514 h 56211"/>
                          <a:gd name="connsiteX4" fmla="*/ 7620 w 80010"/>
                          <a:gd name="connsiteY4" fmla="*/ 34469 h 56211"/>
                          <a:gd name="connsiteX5" fmla="*/ 13335 w 80010"/>
                          <a:gd name="connsiteY5" fmla="*/ 38279 h 56211"/>
                          <a:gd name="connsiteX6" fmla="*/ 19050 w 80010"/>
                          <a:gd name="connsiteY6" fmla="*/ 43994 h 56211"/>
                          <a:gd name="connsiteX7" fmla="*/ 68580 w 80010"/>
                          <a:gd name="connsiteY7" fmla="*/ 47804 h 56211"/>
                          <a:gd name="connsiteX8" fmla="*/ 72390 w 80010"/>
                          <a:gd name="connsiteY8" fmla="*/ 42089 h 56211"/>
                          <a:gd name="connsiteX9" fmla="*/ 78105 w 80010"/>
                          <a:gd name="connsiteY9" fmla="*/ 36374 h 56211"/>
                          <a:gd name="connsiteX10" fmla="*/ 80010 w 80010"/>
                          <a:gd name="connsiteY10" fmla="*/ 30659 h 56211"/>
                          <a:gd name="connsiteX11" fmla="*/ 78105 w 80010"/>
                          <a:gd name="connsiteY11" fmla="*/ 19229 h 56211"/>
                          <a:gd name="connsiteX12" fmla="*/ 60960 w 80010"/>
                          <a:gd name="connsiteY12" fmla="*/ 13514 h 56211"/>
                          <a:gd name="connsiteX13" fmla="*/ 53340 w 80010"/>
                          <a:gd name="connsiteY13" fmla="*/ 15419 h 56211"/>
                          <a:gd name="connsiteX14" fmla="*/ 57150 w 80010"/>
                          <a:gd name="connsiteY14" fmla="*/ 3989 h 56211"/>
                          <a:gd name="connsiteX15" fmla="*/ 32385 w 80010"/>
                          <a:gd name="connsiteY15" fmla="*/ 179 h 56211"/>
                          <a:gd name="connsiteX0" fmla="*/ 32385 w 80010"/>
                          <a:gd name="connsiteY0" fmla="*/ 179 h 56211"/>
                          <a:gd name="connsiteX1" fmla="*/ 32385 w 80010"/>
                          <a:gd name="connsiteY1" fmla="*/ 179 h 56211"/>
                          <a:gd name="connsiteX2" fmla="*/ 3810 w 80010"/>
                          <a:gd name="connsiteY2" fmla="*/ 2084 h 56211"/>
                          <a:gd name="connsiteX3" fmla="*/ 0 w 80010"/>
                          <a:gd name="connsiteY3" fmla="*/ 13514 h 56211"/>
                          <a:gd name="connsiteX4" fmla="*/ 7620 w 80010"/>
                          <a:gd name="connsiteY4" fmla="*/ 34469 h 56211"/>
                          <a:gd name="connsiteX5" fmla="*/ 13335 w 80010"/>
                          <a:gd name="connsiteY5" fmla="*/ 38279 h 56211"/>
                          <a:gd name="connsiteX6" fmla="*/ 19050 w 80010"/>
                          <a:gd name="connsiteY6" fmla="*/ 43994 h 56211"/>
                          <a:gd name="connsiteX7" fmla="*/ 68580 w 80010"/>
                          <a:gd name="connsiteY7" fmla="*/ 47804 h 56211"/>
                          <a:gd name="connsiteX8" fmla="*/ 72390 w 80010"/>
                          <a:gd name="connsiteY8" fmla="*/ 42089 h 56211"/>
                          <a:gd name="connsiteX9" fmla="*/ 78105 w 80010"/>
                          <a:gd name="connsiteY9" fmla="*/ 36374 h 56211"/>
                          <a:gd name="connsiteX10" fmla="*/ 80010 w 80010"/>
                          <a:gd name="connsiteY10" fmla="*/ 30659 h 56211"/>
                          <a:gd name="connsiteX11" fmla="*/ 78105 w 80010"/>
                          <a:gd name="connsiteY11" fmla="*/ 19229 h 56211"/>
                          <a:gd name="connsiteX12" fmla="*/ 60960 w 80010"/>
                          <a:gd name="connsiteY12" fmla="*/ 13514 h 56211"/>
                          <a:gd name="connsiteX13" fmla="*/ 53340 w 80010"/>
                          <a:gd name="connsiteY13" fmla="*/ 15419 h 56211"/>
                          <a:gd name="connsiteX14" fmla="*/ 40048 w 80010"/>
                          <a:gd name="connsiteY14" fmla="*/ 8639 h 56211"/>
                          <a:gd name="connsiteX15" fmla="*/ 32385 w 80010"/>
                          <a:gd name="connsiteY15" fmla="*/ 179 h 56211"/>
                          <a:gd name="connsiteX0" fmla="*/ 32385 w 80010"/>
                          <a:gd name="connsiteY0" fmla="*/ 179 h 52171"/>
                          <a:gd name="connsiteX1" fmla="*/ 32385 w 80010"/>
                          <a:gd name="connsiteY1" fmla="*/ 179 h 52171"/>
                          <a:gd name="connsiteX2" fmla="*/ 3810 w 80010"/>
                          <a:gd name="connsiteY2" fmla="*/ 2084 h 52171"/>
                          <a:gd name="connsiteX3" fmla="*/ 0 w 80010"/>
                          <a:gd name="connsiteY3" fmla="*/ 13514 h 52171"/>
                          <a:gd name="connsiteX4" fmla="*/ 7620 w 80010"/>
                          <a:gd name="connsiteY4" fmla="*/ 34469 h 52171"/>
                          <a:gd name="connsiteX5" fmla="*/ 13335 w 80010"/>
                          <a:gd name="connsiteY5" fmla="*/ 38279 h 52171"/>
                          <a:gd name="connsiteX6" fmla="*/ 19050 w 80010"/>
                          <a:gd name="connsiteY6" fmla="*/ 43994 h 52171"/>
                          <a:gd name="connsiteX7" fmla="*/ 68580 w 80010"/>
                          <a:gd name="connsiteY7" fmla="*/ 47804 h 52171"/>
                          <a:gd name="connsiteX8" fmla="*/ 72390 w 80010"/>
                          <a:gd name="connsiteY8" fmla="*/ 42089 h 52171"/>
                          <a:gd name="connsiteX9" fmla="*/ 78105 w 80010"/>
                          <a:gd name="connsiteY9" fmla="*/ 36374 h 52171"/>
                          <a:gd name="connsiteX10" fmla="*/ 80010 w 80010"/>
                          <a:gd name="connsiteY10" fmla="*/ 30659 h 52171"/>
                          <a:gd name="connsiteX11" fmla="*/ 78105 w 80010"/>
                          <a:gd name="connsiteY11" fmla="*/ 19229 h 52171"/>
                          <a:gd name="connsiteX12" fmla="*/ 60960 w 80010"/>
                          <a:gd name="connsiteY12" fmla="*/ 13514 h 52171"/>
                          <a:gd name="connsiteX13" fmla="*/ 53340 w 80010"/>
                          <a:gd name="connsiteY13" fmla="*/ 15419 h 52171"/>
                          <a:gd name="connsiteX14" fmla="*/ 40048 w 80010"/>
                          <a:gd name="connsiteY14" fmla="*/ 8639 h 52171"/>
                          <a:gd name="connsiteX15" fmla="*/ 32385 w 80010"/>
                          <a:gd name="connsiteY15" fmla="*/ 179 h 52171"/>
                          <a:gd name="connsiteX0" fmla="*/ 32385 w 80010"/>
                          <a:gd name="connsiteY0" fmla="*/ 179 h 52432"/>
                          <a:gd name="connsiteX1" fmla="*/ 32385 w 80010"/>
                          <a:gd name="connsiteY1" fmla="*/ 179 h 52432"/>
                          <a:gd name="connsiteX2" fmla="*/ 3810 w 80010"/>
                          <a:gd name="connsiteY2" fmla="*/ 2084 h 52432"/>
                          <a:gd name="connsiteX3" fmla="*/ 0 w 80010"/>
                          <a:gd name="connsiteY3" fmla="*/ 13514 h 52432"/>
                          <a:gd name="connsiteX4" fmla="*/ 7620 w 80010"/>
                          <a:gd name="connsiteY4" fmla="*/ 34469 h 52432"/>
                          <a:gd name="connsiteX5" fmla="*/ 13335 w 80010"/>
                          <a:gd name="connsiteY5" fmla="*/ 38279 h 52432"/>
                          <a:gd name="connsiteX6" fmla="*/ 19050 w 80010"/>
                          <a:gd name="connsiteY6" fmla="*/ 43994 h 52432"/>
                          <a:gd name="connsiteX7" fmla="*/ 68580 w 80010"/>
                          <a:gd name="connsiteY7" fmla="*/ 47804 h 52432"/>
                          <a:gd name="connsiteX8" fmla="*/ 72390 w 80010"/>
                          <a:gd name="connsiteY8" fmla="*/ 42089 h 52432"/>
                          <a:gd name="connsiteX9" fmla="*/ 78105 w 80010"/>
                          <a:gd name="connsiteY9" fmla="*/ 36374 h 52432"/>
                          <a:gd name="connsiteX10" fmla="*/ 80010 w 80010"/>
                          <a:gd name="connsiteY10" fmla="*/ 30659 h 52432"/>
                          <a:gd name="connsiteX11" fmla="*/ 78105 w 80010"/>
                          <a:gd name="connsiteY11" fmla="*/ 19229 h 52432"/>
                          <a:gd name="connsiteX12" fmla="*/ 60960 w 80010"/>
                          <a:gd name="connsiteY12" fmla="*/ 13514 h 52432"/>
                          <a:gd name="connsiteX13" fmla="*/ 53340 w 80010"/>
                          <a:gd name="connsiteY13" fmla="*/ 15419 h 52432"/>
                          <a:gd name="connsiteX14" fmla="*/ 40048 w 80010"/>
                          <a:gd name="connsiteY14" fmla="*/ 8639 h 52432"/>
                          <a:gd name="connsiteX15" fmla="*/ 32385 w 80010"/>
                          <a:gd name="connsiteY15" fmla="*/ 179 h 52432"/>
                          <a:gd name="connsiteX0" fmla="*/ 32385 w 80010"/>
                          <a:gd name="connsiteY0" fmla="*/ 179 h 55651"/>
                          <a:gd name="connsiteX1" fmla="*/ 32385 w 80010"/>
                          <a:gd name="connsiteY1" fmla="*/ 179 h 55651"/>
                          <a:gd name="connsiteX2" fmla="*/ 3810 w 80010"/>
                          <a:gd name="connsiteY2" fmla="*/ 2084 h 55651"/>
                          <a:gd name="connsiteX3" fmla="*/ 0 w 80010"/>
                          <a:gd name="connsiteY3" fmla="*/ 13514 h 55651"/>
                          <a:gd name="connsiteX4" fmla="*/ 7620 w 80010"/>
                          <a:gd name="connsiteY4" fmla="*/ 34469 h 55651"/>
                          <a:gd name="connsiteX5" fmla="*/ 13335 w 80010"/>
                          <a:gd name="connsiteY5" fmla="*/ 38279 h 55651"/>
                          <a:gd name="connsiteX6" fmla="*/ 19050 w 80010"/>
                          <a:gd name="connsiteY6" fmla="*/ 43994 h 55651"/>
                          <a:gd name="connsiteX7" fmla="*/ 48058 w 80010"/>
                          <a:gd name="connsiteY7" fmla="*/ 52454 h 55651"/>
                          <a:gd name="connsiteX8" fmla="*/ 72390 w 80010"/>
                          <a:gd name="connsiteY8" fmla="*/ 42089 h 55651"/>
                          <a:gd name="connsiteX9" fmla="*/ 78105 w 80010"/>
                          <a:gd name="connsiteY9" fmla="*/ 36374 h 55651"/>
                          <a:gd name="connsiteX10" fmla="*/ 80010 w 80010"/>
                          <a:gd name="connsiteY10" fmla="*/ 30659 h 55651"/>
                          <a:gd name="connsiteX11" fmla="*/ 78105 w 80010"/>
                          <a:gd name="connsiteY11" fmla="*/ 19229 h 55651"/>
                          <a:gd name="connsiteX12" fmla="*/ 60960 w 80010"/>
                          <a:gd name="connsiteY12" fmla="*/ 13514 h 55651"/>
                          <a:gd name="connsiteX13" fmla="*/ 53340 w 80010"/>
                          <a:gd name="connsiteY13" fmla="*/ 15419 h 55651"/>
                          <a:gd name="connsiteX14" fmla="*/ 40048 w 80010"/>
                          <a:gd name="connsiteY14" fmla="*/ 8639 h 55651"/>
                          <a:gd name="connsiteX15" fmla="*/ 32385 w 80010"/>
                          <a:gd name="connsiteY15" fmla="*/ 179 h 55651"/>
                          <a:gd name="connsiteX0" fmla="*/ 32385 w 80010"/>
                          <a:gd name="connsiteY0" fmla="*/ 179 h 53227"/>
                          <a:gd name="connsiteX1" fmla="*/ 32385 w 80010"/>
                          <a:gd name="connsiteY1" fmla="*/ 179 h 53227"/>
                          <a:gd name="connsiteX2" fmla="*/ 3810 w 80010"/>
                          <a:gd name="connsiteY2" fmla="*/ 2084 h 53227"/>
                          <a:gd name="connsiteX3" fmla="*/ 0 w 80010"/>
                          <a:gd name="connsiteY3" fmla="*/ 13514 h 53227"/>
                          <a:gd name="connsiteX4" fmla="*/ 7620 w 80010"/>
                          <a:gd name="connsiteY4" fmla="*/ 34469 h 53227"/>
                          <a:gd name="connsiteX5" fmla="*/ 13335 w 80010"/>
                          <a:gd name="connsiteY5" fmla="*/ 38279 h 53227"/>
                          <a:gd name="connsiteX6" fmla="*/ 19050 w 80010"/>
                          <a:gd name="connsiteY6" fmla="*/ 43994 h 53227"/>
                          <a:gd name="connsiteX7" fmla="*/ 48058 w 80010"/>
                          <a:gd name="connsiteY7" fmla="*/ 52454 h 53227"/>
                          <a:gd name="connsiteX8" fmla="*/ 72390 w 80010"/>
                          <a:gd name="connsiteY8" fmla="*/ 42089 h 53227"/>
                          <a:gd name="connsiteX9" fmla="*/ 78105 w 80010"/>
                          <a:gd name="connsiteY9" fmla="*/ 36374 h 53227"/>
                          <a:gd name="connsiteX10" fmla="*/ 80010 w 80010"/>
                          <a:gd name="connsiteY10" fmla="*/ 30659 h 53227"/>
                          <a:gd name="connsiteX11" fmla="*/ 78105 w 80010"/>
                          <a:gd name="connsiteY11" fmla="*/ 19229 h 53227"/>
                          <a:gd name="connsiteX12" fmla="*/ 60960 w 80010"/>
                          <a:gd name="connsiteY12" fmla="*/ 13514 h 53227"/>
                          <a:gd name="connsiteX13" fmla="*/ 53340 w 80010"/>
                          <a:gd name="connsiteY13" fmla="*/ 15419 h 53227"/>
                          <a:gd name="connsiteX14" fmla="*/ 40048 w 80010"/>
                          <a:gd name="connsiteY14" fmla="*/ 8639 h 53227"/>
                          <a:gd name="connsiteX15" fmla="*/ 32385 w 80010"/>
                          <a:gd name="connsiteY15" fmla="*/ 179 h 5322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80010" h="53227">
                            <a:moveTo>
                              <a:pt x="32385" y="179"/>
                            </a:moveTo>
                            <a:lnTo>
                              <a:pt x="32385" y="179"/>
                            </a:lnTo>
                            <a:cubicBezTo>
                              <a:pt x="22860" y="814"/>
                              <a:pt x="12637" y="-1551"/>
                              <a:pt x="3810" y="2084"/>
                            </a:cubicBezTo>
                            <a:cubicBezTo>
                              <a:pt x="96" y="3613"/>
                              <a:pt x="0" y="13514"/>
                              <a:pt x="0" y="13514"/>
                            </a:cubicBezTo>
                            <a:cubicBezTo>
                              <a:pt x="1410" y="20563"/>
                              <a:pt x="2165" y="29014"/>
                              <a:pt x="7620" y="34469"/>
                            </a:cubicBezTo>
                            <a:cubicBezTo>
                              <a:pt x="9239" y="36088"/>
                              <a:pt x="11576" y="36813"/>
                              <a:pt x="13335" y="38279"/>
                            </a:cubicBezTo>
                            <a:cubicBezTo>
                              <a:pt x="15405" y="40004"/>
                              <a:pt x="17145" y="42089"/>
                              <a:pt x="19050" y="43994"/>
                            </a:cubicBezTo>
                            <a:cubicBezTo>
                              <a:pt x="36453" y="53990"/>
                              <a:pt x="29632" y="54059"/>
                              <a:pt x="48058" y="52454"/>
                            </a:cubicBezTo>
                            <a:cubicBezTo>
                              <a:pt x="50339" y="52255"/>
                              <a:pt x="67382" y="44769"/>
                              <a:pt x="72390" y="42089"/>
                            </a:cubicBezTo>
                            <a:cubicBezTo>
                              <a:pt x="77398" y="39409"/>
                              <a:pt x="76200" y="38279"/>
                              <a:pt x="78105" y="36374"/>
                            </a:cubicBezTo>
                            <a:cubicBezTo>
                              <a:pt x="78740" y="34469"/>
                              <a:pt x="80010" y="32667"/>
                              <a:pt x="80010" y="30659"/>
                            </a:cubicBezTo>
                            <a:cubicBezTo>
                              <a:pt x="80010" y="26796"/>
                              <a:pt x="79832" y="22684"/>
                              <a:pt x="78105" y="19229"/>
                            </a:cubicBezTo>
                            <a:cubicBezTo>
                              <a:pt x="75670" y="14359"/>
                              <a:pt x="63693" y="13970"/>
                              <a:pt x="60960" y="13514"/>
                            </a:cubicBezTo>
                            <a:cubicBezTo>
                              <a:pt x="58420" y="14149"/>
                              <a:pt x="56825" y="16231"/>
                              <a:pt x="53340" y="15419"/>
                            </a:cubicBezTo>
                            <a:cubicBezTo>
                              <a:pt x="49855" y="14607"/>
                              <a:pt x="39095" y="11497"/>
                              <a:pt x="40048" y="8639"/>
                            </a:cubicBezTo>
                            <a:lnTo>
                              <a:pt x="32385" y="179"/>
                            </a:lnTo>
                            <a:close/>
                          </a:path>
                        </a:pathLst>
                      </a:custGeom>
                      <a:grpFill/>
                      <a:ln w="3175" cap="flat" cmpd="sng" algn="ctr">
                        <a:solidFill>
                          <a:srgbClr val="F2E8F8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63" name="Freeform: Shape 48">
                        <a:extLst>
                          <a:ext uri="{FF2B5EF4-FFF2-40B4-BE49-F238E27FC236}">
                            <a16:creationId xmlns:a16="http://schemas.microsoft.com/office/drawing/2014/main" id="{0ECA5907-1E38-8DB3-37F2-551D60801775}"/>
                          </a:ext>
                        </a:extLst>
                      </p:cNvPr>
                      <p:cNvSpPr/>
                      <p:nvPr/>
                    </p:nvSpPr>
                    <p:spPr>
                      <a:xfrm rot="4030563">
                        <a:off x="8954046" y="4390351"/>
                        <a:ext cx="27432" cy="27432"/>
                      </a:xfrm>
                      <a:custGeom>
                        <a:avLst/>
                        <a:gdLst>
                          <a:gd name="connsiteX0" fmla="*/ 32385 w 80010"/>
                          <a:gd name="connsiteY0" fmla="*/ 8118 h 64150"/>
                          <a:gd name="connsiteX1" fmla="*/ 32385 w 80010"/>
                          <a:gd name="connsiteY1" fmla="*/ 8118 h 64150"/>
                          <a:gd name="connsiteX2" fmla="*/ 3810 w 80010"/>
                          <a:gd name="connsiteY2" fmla="*/ 10023 h 64150"/>
                          <a:gd name="connsiteX3" fmla="*/ 0 w 80010"/>
                          <a:gd name="connsiteY3" fmla="*/ 21453 h 64150"/>
                          <a:gd name="connsiteX4" fmla="*/ 7620 w 80010"/>
                          <a:gd name="connsiteY4" fmla="*/ 42408 h 64150"/>
                          <a:gd name="connsiteX5" fmla="*/ 13335 w 80010"/>
                          <a:gd name="connsiteY5" fmla="*/ 46218 h 64150"/>
                          <a:gd name="connsiteX6" fmla="*/ 19050 w 80010"/>
                          <a:gd name="connsiteY6" fmla="*/ 51933 h 64150"/>
                          <a:gd name="connsiteX7" fmla="*/ 68580 w 80010"/>
                          <a:gd name="connsiteY7" fmla="*/ 55743 h 64150"/>
                          <a:gd name="connsiteX8" fmla="*/ 72390 w 80010"/>
                          <a:gd name="connsiteY8" fmla="*/ 50028 h 64150"/>
                          <a:gd name="connsiteX9" fmla="*/ 78105 w 80010"/>
                          <a:gd name="connsiteY9" fmla="*/ 44313 h 64150"/>
                          <a:gd name="connsiteX10" fmla="*/ 80010 w 80010"/>
                          <a:gd name="connsiteY10" fmla="*/ 38598 h 64150"/>
                          <a:gd name="connsiteX11" fmla="*/ 78105 w 80010"/>
                          <a:gd name="connsiteY11" fmla="*/ 27168 h 64150"/>
                          <a:gd name="connsiteX12" fmla="*/ 60960 w 80010"/>
                          <a:gd name="connsiteY12" fmla="*/ 21453 h 64150"/>
                          <a:gd name="connsiteX13" fmla="*/ 53340 w 80010"/>
                          <a:gd name="connsiteY13" fmla="*/ 23358 h 64150"/>
                          <a:gd name="connsiteX14" fmla="*/ 57150 w 80010"/>
                          <a:gd name="connsiteY14" fmla="*/ 11928 h 64150"/>
                          <a:gd name="connsiteX15" fmla="*/ 59055 w 80010"/>
                          <a:gd name="connsiteY15" fmla="*/ 6213 h 64150"/>
                          <a:gd name="connsiteX16" fmla="*/ 34290 w 80010"/>
                          <a:gd name="connsiteY16" fmla="*/ 498 h 64150"/>
                          <a:gd name="connsiteX17" fmla="*/ 32385 w 80010"/>
                          <a:gd name="connsiteY17" fmla="*/ 8118 h 64150"/>
                          <a:gd name="connsiteX0" fmla="*/ 32385 w 80010"/>
                          <a:gd name="connsiteY0" fmla="*/ 8118 h 64150"/>
                          <a:gd name="connsiteX1" fmla="*/ 32385 w 80010"/>
                          <a:gd name="connsiteY1" fmla="*/ 8118 h 64150"/>
                          <a:gd name="connsiteX2" fmla="*/ 3810 w 80010"/>
                          <a:gd name="connsiteY2" fmla="*/ 10023 h 64150"/>
                          <a:gd name="connsiteX3" fmla="*/ 0 w 80010"/>
                          <a:gd name="connsiteY3" fmla="*/ 21453 h 64150"/>
                          <a:gd name="connsiteX4" fmla="*/ 7620 w 80010"/>
                          <a:gd name="connsiteY4" fmla="*/ 42408 h 64150"/>
                          <a:gd name="connsiteX5" fmla="*/ 13335 w 80010"/>
                          <a:gd name="connsiteY5" fmla="*/ 46218 h 64150"/>
                          <a:gd name="connsiteX6" fmla="*/ 19050 w 80010"/>
                          <a:gd name="connsiteY6" fmla="*/ 51933 h 64150"/>
                          <a:gd name="connsiteX7" fmla="*/ 68580 w 80010"/>
                          <a:gd name="connsiteY7" fmla="*/ 55743 h 64150"/>
                          <a:gd name="connsiteX8" fmla="*/ 72390 w 80010"/>
                          <a:gd name="connsiteY8" fmla="*/ 50028 h 64150"/>
                          <a:gd name="connsiteX9" fmla="*/ 78105 w 80010"/>
                          <a:gd name="connsiteY9" fmla="*/ 44313 h 64150"/>
                          <a:gd name="connsiteX10" fmla="*/ 80010 w 80010"/>
                          <a:gd name="connsiteY10" fmla="*/ 38598 h 64150"/>
                          <a:gd name="connsiteX11" fmla="*/ 78105 w 80010"/>
                          <a:gd name="connsiteY11" fmla="*/ 27168 h 64150"/>
                          <a:gd name="connsiteX12" fmla="*/ 60960 w 80010"/>
                          <a:gd name="connsiteY12" fmla="*/ 21453 h 64150"/>
                          <a:gd name="connsiteX13" fmla="*/ 53340 w 80010"/>
                          <a:gd name="connsiteY13" fmla="*/ 23358 h 64150"/>
                          <a:gd name="connsiteX14" fmla="*/ 57150 w 80010"/>
                          <a:gd name="connsiteY14" fmla="*/ 11928 h 64150"/>
                          <a:gd name="connsiteX15" fmla="*/ 59055 w 80010"/>
                          <a:gd name="connsiteY15" fmla="*/ 6213 h 64150"/>
                          <a:gd name="connsiteX16" fmla="*/ 34290 w 80010"/>
                          <a:gd name="connsiteY16" fmla="*/ 498 h 64150"/>
                          <a:gd name="connsiteX17" fmla="*/ 32385 w 80010"/>
                          <a:gd name="connsiteY17" fmla="*/ 8118 h 64150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179 h 56211"/>
                          <a:gd name="connsiteX1" fmla="*/ 32385 w 80010"/>
                          <a:gd name="connsiteY1" fmla="*/ 179 h 56211"/>
                          <a:gd name="connsiteX2" fmla="*/ 3810 w 80010"/>
                          <a:gd name="connsiteY2" fmla="*/ 2084 h 56211"/>
                          <a:gd name="connsiteX3" fmla="*/ 0 w 80010"/>
                          <a:gd name="connsiteY3" fmla="*/ 13514 h 56211"/>
                          <a:gd name="connsiteX4" fmla="*/ 7620 w 80010"/>
                          <a:gd name="connsiteY4" fmla="*/ 34469 h 56211"/>
                          <a:gd name="connsiteX5" fmla="*/ 13335 w 80010"/>
                          <a:gd name="connsiteY5" fmla="*/ 38279 h 56211"/>
                          <a:gd name="connsiteX6" fmla="*/ 19050 w 80010"/>
                          <a:gd name="connsiteY6" fmla="*/ 43994 h 56211"/>
                          <a:gd name="connsiteX7" fmla="*/ 68580 w 80010"/>
                          <a:gd name="connsiteY7" fmla="*/ 47804 h 56211"/>
                          <a:gd name="connsiteX8" fmla="*/ 72390 w 80010"/>
                          <a:gd name="connsiteY8" fmla="*/ 42089 h 56211"/>
                          <a:gd name="connsiteX9" fmla="*/ 78105 w 80010"/>
                          <a:gd name="connsiteY9" fmla="*/ 36374 h 56211"/>
                          <a:gd name="connsiteX10" fmla="*/ 80010 w 80010"/>
                          <a:gd name="connsiteY10" fmla="*/ 30659 h 56211"/>
                          <a:gd name="connsiteX11" fmla="*/ 78105 w 80010"/>
                          <a:gd name="connsiteY11" fmla="*/ 19229 h 56211"/>
                          <a:gd name="connsiteX12" fmla="*/ 60960 w 80010"/>
                          <a:gd name="connsiteY12" fmla="*/ 13514 h 56211"/>
                          <a:gd name="connsiteX13" fmla="*/ 53340 w 80010"/>
                          <a:gd name="connsiteY13" fmla="*/ 15419 h 56211"/>
                          <a:gd name="connsiteX14" fmla="*/ 57150 w 80010"/>
                          <a:gd name="connsiteY14" fmla="*/ 3989 h 56211"/>
                          <a:gd name="connsiteX15" fmla="*/ 32385 w 80010"/>
                          <a:gd name="connsiteY15" fmla="*/ 179 h 56211"/>
                          <a:gd name="connsiteX0" fmla="*/ 32385 w 80010"/>
                          <a:gd name="connsiteY0" fmla="*/ 179 h 56211"/>
                          <a:gd name="connsiteX1" fmla="*/ 32385 w 80010"/>
                          <a:gd name="connsiteY1" fmla="*/ 179 h 56211"/>
                          <a:gd name="connsiteX2" fmla="*/ 3810 w 80010"/>
                          <a:gd name="connsiteY2" fmla="*/ 2084 h 56211"/>
                          <a:gd name="connsiteX3" fmla="*/ 0 w 80010"/>
                          <a:gd name="connsiteY3" fmla="*/ 13514 h 56211"/>
                          <a:gd name="connsiteX4" fmla="*/ 7620 w 80010"/>
                          <a:gd name="connsiteY4" fmla="*/ 34469 h 56211"/>
                          <a:gd name="connsiteX5" fmla="*/ 13335 w 80010"/>
                          <a:gd name="connsiteY5" fmla="*/ 38279 h 56211"/>
                          <a:gd name="connsiteX6" fmla="*/ 19050 w 80010"/>
                          <a:gd name="connsiteY6" fmla="*/ 43994 h 56211"/>
                          <a:gd name="connsiteX7" fmla="*/ 68580 w 80010"/>
                          <a:gd name="connsiteY7" fmla="*/ 47804 h 56211"/>
                          <a:gd name="connsiteX8" fmla="*/ 72390 w 80010"/>
                          <a:gd name="connsiteY8" fmla="*/ 42089 h 56211"/>
                          <a:gd name="connsiteX9" fmla="*/ 78105 w 80010"/>
                          <a:gd name="connsiteY9" fmla="*/ 36374 h 56211"/>
                          <a:gd name="connsiteX10" fmla="*/ 80010 w 80010"/>
                          <a:gd name="connsiteY10" fmla="*/ 30659 h 56211"/>
                          <a:gd name="connsiteX11" fmla="*/ 78105 w 80010"/>
                          <a:gd name="connsiteY11" fmla="*/ 19229 h 56211"/>
                          <a:gd name="connsiteX12" fmla="*/ 60960 w 80010"/>
                          <a:gd name="connsiteY12" fmla="*/ 13514 h 56211"/>
                          <a:gd name="connsiteX13" fmla="*/ 53340 w 80010"/>
                          <a:gd name="connsiteY13" fmla="*/ 15419 h 56211"/>
                          <a:gd name="connsiteX14" fmla="*/ 40048 w 80010"/>
                          <a:gd name="connsiteY14" fmla="*/ 8639 h 56211"/>
                          <a:gd name="connsiteX15" fmla="*/ 32385 w 80010"/>
                          <a:gd name="connsiteY15" fmla="*/ 179 h 56211"/>
                          <a:gd name="connsiteX0" fmla="*/ 32385 w 80010"/>
                          <a:gd name="connsiteY0" fmla="*/ 179 h 52171"/>
                          <a:gd name="connsiteX1" fmla="*/ 32385 w 80010"/>
                          <a:gd name="connsiteY1" fmla="*/ 179 h 52171"/>
                          <a:gd name="connsiteX2" fmla="*/ 3810 w 80010"/>
                          <a:gd name="connsiteY2" fmla="*/ 2084 h 52171"/>
                          <a:gd name="connsiteX3" fmla="*/ 0 w 80010"/>
                          <a:gd name="connsiteY3" fmla="*/ 13514 h 52171"/>
                          <a:gd name="connsiteX4" fmla="*/ 7620 w 80010"/>
                          <a:gd name="connsiteY4" fmla="*/ 34469 h 52171"/>
                          <a:gd name="connsiteX5" fmla="*/ 13335 w 80010"/>
                          <a:gd name="connsiteY5" fmla="*/ 38279 h 52171"/>
                          <a:gd name="connsiteX6" fmla="*/ 19050 w 80010"/>
                          <a:gd name="connsiteY6" fmla="*/ 43994 h 52171"/>
                          <a:gd name="connsiteX7" fmla="*/ 68580 w 80010"/>
                          <a:gd name="connsiteY7" fmla="*/ 47804 h 52171"/>
                          <a:gd name="connsiteX8" fmla="*/ 72390 w 80010"/>
                          <a:gd name="connsiteY8" fmla="*/ 42089 h 52171"/>
                          <a:gd name="connsiteX9" fmla="*/ 78105 w 80010"/>
                          <a:gd name="connsiteY9" fmla="*/ 36374 h 52171"/>
                          <a:gd name="connsiteX10" fmla="*/ 80010 w 80010"/>
                          <a:gd name="connsiteY10" fmla="*/ 30659 h 52171"/>
                          <a:gd name="connsiteX11" fmla="*/ 78105 w 80010"/>
                          <a:gd name="connsiteY11" fmla="*/ 19229 h 52171"/>
                          <a:gd name="connsiteX12" fmla="*/ 60960 w 80010"/>
                          <a:gd name="connsiteY12" fmla="*/ 13514 h 52171"/>
                          <a:gd name="connsiteX13" fmla="*/ 53340 w 80010"/>
                          <a:gd name="connsiteY13" fmla="*/ 15419 h 52171"/>
                          <a:gd name="connsiteX14" fmla="*/ 40048 w 80010"/>
                          <a:gd name="connsiteY14" fmla="*/ 8639 h 52171"/>
                          <a:gd name="connsiteX15" fmla="*/ 32385 w 80010"/>
                          <a:gd name="connsiteY15" fmla="*/ 179 h 52171"/>
                          <a:gd name="connsiteX0" fmla="*/ 32385 w 80010"/>
                          <a:gd name="connsiteY0" fmla="*/ 179 h 52432"/>
                          <a:gd name="connsiteX1" fmla="*/ 32385 w 80010"/>
                          <a:gd name="connsiteY1" fmla="*/ 179 h 52432"/>
                          <a:gd name="connsiteX2" fmla="*/ 3810 w 80010"/>
                          <a:gd name="connsiteY2" fmla="*/ 2084 h 52432"/>
                          <a:gd name="connsiteX3" fmla="*/ 0 w 80010"/>
                          <a:gd name="connsiteY3" fmla="*/ 13514 h 52432"/>
                          <a:gd name="connsiteX4" fmla="*/ 7620 w 80010"/>
                          <a:gd name="connsiteY4" fmla="*/ 34469 h 52432"/>
                          <a:gd name="connsiteX5" fmla="*/ 13335 w 80010"/>
                          <a:gd name="connsiteY5" fmla="*/ 38279 h 52432"/>
                          <a:gd name="connsiteX6" fmla="*/ 19050 w 80010"/>
                          <a:gd name="connsiteY6" fmla="*/ 43994 h 52432"/>
                          <a:gd name="connsiteX7" fmla="*/ 68580 w 80010"/>
                          <a:gd name="connsiteY7" fmla="*/ 47804 h 52432"/>
                          <a:gd name="connsiteX8" fmla="*/ 72390 w 80010"/>
                          <a:gd name="connsiteY8" fmla="*/ 42089 h 52432"/>
                          <a:gd name="connsiteX9" fmla="*/ 78105 w 80010"/>
                          <a:gd name="connsiteY9" fmla="*/ 36374 h 52432"/>
                          <a:gd name="connsiteX10" fmla="*/ 80010 w 80010"/>
                          <a:gd name="connsiteY10" fmla="*/ 30659 h 52432"/>
                          <a:gd name="connsiteX11" fmla="*/ 78105 w 80010"/>
                          <a:gd name="connsiteY11" fmla="*/ 19229 h 52432"/>
                          <a:gd name="connsiteX12" fmla="*/ 60960 w 80010"/>
                          <a:gd name="connsiteY12" fmla="*/ 13514 h 52432"/>
                          <a:gd name="connsiteX13" fmla="*/ 53340 w 80010"/>
                          <a:gd name="connsiteY13" fmla="*/ 15419 h 52432"/>
                          <a:gd name="connsiteX14" fmla="*/ 40048 w 80010"/>
                          <a:gd name="connsiteY14" fmla="*/ 8639 h 52432"/>
                          <a:gd name="connsiteX15" fmla="*/ 32385 w 80010"/>
                          <a:gd name="connsiteY15" fmla="*/ 179 h 52432"/>
                          <a:gd name="connsiteX0" fmla="*/ 32385 w 80010"/>
                          <a:gd name="connsiteY0" fmla="*/ 179 h 55651"/>
                          <a:gd name="connsiteX1" fmla="*/ 32385 w 80010"/>
                          <a:gd name="connsiteY1" fmla="*/ 179 h 55651"/>
                          <a:gd name="connsiteX2" fmla="*/ 3810 w 80010"/>
                          <a:gd name="connsiteY2" fmla="*/ 2084 h 55651"/>
                          <a:gd name="connsiteX3" fmla="*/ 0 w 80010"/>
                          <a:gd name="connsiteY3" fmla="*/ 13514 h 55651"/>
                          <a:gd name="connsiteX4" fmla="*/ 7620 w 80010"/>
                          <a:gd name="connsiteY4" fmla="*/ 34469 h 55651"/>
                          <a:gd name="connsiteX5" fmla="*/ 13335 w 80010"/>
                          <a:gd name="connsiteY5" fmla="*/ 38279 h 55651"/>
                          <a:gd name="connsiteX6" fmla="*/ 19050 w 80010"/>
                          <a:gd name="connsiteY6" fmla="*/ 43994 h 55651"/>
                          <a:gd name="connsiteX7" fmla="*/ 48058 w 80010"/>
                          <a:gd name="connsiteY7" fmla="*/ 52454 h 55651"/>
                          <a:gd name="connsiteX8" fmla="*/ 72390 w 80010"/>
                          <a:gd name="connsiteY8" fmla="*/ 42089 h 55651"/>
                          <a:gd name="connsiteX9" fmla="*/ 78105 w 80010"/>
                          <a:gd name="connsiteY9" fmla="*/ 36374 h 55651"/>
                          <a:gd name="connsiteX10" fmla="*/ 80010 w 80010"/>
                          <a:gd name="connsiteY10" fmla="*/ 30659 h 55651"/>
                          <a:gd name="connsiteX11" fmla="*/ 78105 w 80010"/>
                          <a:gd name="connsiteY11" fmla="*/ 19229 h 55651"/>
                          <a:gd name="connsiteX12" fmla="*/ 60960 w 80010"/>
                          <a:gd name="connsiteY12" fmla="*/ 13514 h 55651"/>
                          <a:gd name="connsiteX13" fmla="*/ 53340 w 80010"/>
                          <a:gd name="connsiteY13" fmla="*/ 15419 h 55651"/>
                          <a:gd name="connsiteX14" fmla="*/ 40048 w 80010"/>
                          <a:gd name="connsiteY14" fmla="*/ 8639 h 55651"/>
                          <a:gd name="connsiteX15" fmla="*/ 32385 w 80010"/>
                          <a:gd name="connsiteY15" fmla="*/ 179 h 55651"/>
                          <a:gd name="connsiteX0" fmla="*/ 32385 w 80010"/>
                          <a:gd name="connsiteY0" fmla="*/ 179 h 53227"/>
                          <a:gd name="connsiteX1" fmla="*/ 32385 w 80010"/>
                          <a:gd name="connsiteY1" fmla="*/ 179 h 53227"/>
                          <a:gd name="connsiteX2" fmla="*/ 3810 w 80010"/>
                          <a:gd name="connsiteY2" fmla="*/ 2084 h 53227"/>
                          <a:gd name="connsiteX3" fmla="*/ 0 w 80010"/>
                          <a:gd name="connsiteY3" fmla="*/ 13514 h 53227"/>
                          <a:gd name="connsiteX4" fmla="*/ 7620 w 80010"/>
                          <a:gd name="connsiteY4" fmla="*/ 34469 h 53227"/>
                          <a:gd name="connsiteX5" fmla="*/ 13335 w 80010"/>
                          <a:gd name="connsiteY5" fmla="*/ 38279 h 53227"/>
                          <a:gd name="connsiteX6" fmla="*/ 19050 w 80010"/>
                          <a:gd name="connsiteY6" fmla="*/ 43994 h 53227"/>
                          <a:gd name="connsiteX7" fmla="*/ 48058 w 80010"/>
                          <a:gd name="connsiteY7" fmla="*/ 52454 h 53227"/>
                          <a:gd name="connsiteX8" fmla="*/ 72390 w 80010"/>
                          <a:gd name="connsiteY8" fmla="*/ 42089 h 53227"/>
                          <a:gd name="connsiteX9" fmla="*/ 78105 w 80010"/>
                          <a:gd name="connsiteY9" fmla="*/ 36374 h 53227"/>
                          <a:gd name="connsiteX10" fmla="*/ 80010 w 80010"/>
                          <a:gd name="connsiteY10" fmla="*/ 30659 h 53227"/>
                          <a:gd name="connsiteX11" fmla="*/ 78105 w 80010"/>
                          <a:gd name="connsiteY11" fmla="*/ 19229 h 53227"/>
                          <a:gd name="connsiteX12" fmla="*/ 60960 w 80010"/>
                          <a:gd name="connsiteY12" fmla="*/ 13514 h 53227"/>
                          <a:gd name="connsiteX13" fmla="*/ 53340 w 80010"/>
                          <a:gd name="connsiteY13" fmla="*/ 15419 h 53227"/>
                          <a:gd name="connsiteX14" fmla="*/ 40048 w 80010"/>
                          <a:gd name="connsiteY14" fmla="*/ 8639 h 53227"/>
                          <a:gd name="connsiteX15" fmla="*/ 32385 w 80010"/>
                          <a:gd name="connsiteY15" fmla="*/ 179 h 5322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80010" h="53227">
                            <a:moveTo>
                              <a:pt x="32385" y="179"/>
                            </a:moveTo>
                            <a:lnTo>
                              <a:pt x="32385" y="179"/>
                            </a:lnTo>
                            <a:cubicBezTo>
                              <a:pt x="22860" y="814"/>
                              <a:pt x="12637" y="-1551"/>
                              <a:pt x="3810" y="2084"/>
                            </a:cubicBezTo>
                            <a:cubicBezTo>
                              <a:pt x="96" y="3613"/>
                              <a:pt x="0" y="13514"/>
                              <a:pt x="0" y="13514"/>
                            </a:cubicBezTo>
                            <a:cubicBezTo>
                              <a:pt x="1410" y="20563"/>
                              <a:pt x="2165" y="29014"/>
                              <a:pt x="7620" y="34469"/>
                            </a:cubicBezTo>
                            <a:cubicBezTo>
                              <a:pt x="9239" y="36088"/>
                              <a:pt x="11576" y="36813"/>
                              <a:pt x="13335" y="38279"/>
                            </a:cubicBezTo>
                            <a:cubicBezTo>
                              <a:pt x="15405" y="40004"/>
                              <a:pt x="17145" y="42089"/>
                              <a:pt x="19050" y="43994"/>
                            </a:cubicBezTo>
                            <a:cubicBezTo>
                              <a:pt x="36453" y="53990"/>
                              <a:pt x="29632" y="54059"/>
                              <a:pt x="48058" y="52454"/>
                            </a:cubicBezTo>
                            <a:cubicBezTo>
                              <a:pt x="50339" y="52255"/>
                              <a:pt x="67382" y="44769"/>
                              <a:pt x="72390" y="42089"/>
                            </a:cubicBezTo>
                            <a:cubicBezTo>
                              <a:pt x="77398" y="39409"/>
                              <a:pt x="76200" y="38279"/>
                              <a:pt x="78105" y="36374"/>
                            </a:cubicBezTo>
                            <a:cubicBezTo>
                              <a:pt x="78740" y="34469"/>
                              <a:pt x="80010" y="32667"/>
                              <a:pt x="80010" y="30659"/>
                            </a:cubicBezTo>
                            <a:cubicBezTo>
                              <a:pt x="80010" y="26796"/>
                              <a:pt x="79832" y="22684"/>
                              <a:pt x="78105" y="19229"/>
                            </a:cubicBezTo>
                            <a:cubicBezTo>
                              <a:pt x="75670" y="14359"/>
                              <a:pt x="63693" y="13970"/>
                              <a:pt x="60960" y="13514"/>
                            </a:cubicBezTo>
                            <a:cubicBezTo>
                              <a:pt x="58420" y="14149"/>
                              <a:pt x="56825" y="16231"/>
                              <a:pt x="53340" y="15419"/>
                            </a:cubicBezTo>
                            <a:cubicBezTo>
                              <a:pt x="49855" y="14607"/>
                              <a:pt x="39095" y="11497"/>
                              <a:pt x="40048" y="8639"/>
                            </a:cubicBezTo>
                            <a:lnTo>
                              <a:pt x="32385" y="179"/>
                            </a:lnTo>
                            <a:close/>
                          </a:path>
                        </a:pathLst>
                      </a:custGeom>
                      <a:solidFill>
                        <a:srgbClr val="0D3759"/>
                      </a:solidFill>
                      <a:ln w="3175" cap="flat" cmpd="sng" algn="ctr">
                        <a:solidFill>
                          <a:srgbClr val="F2E8F8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64" name="Freeform: Shape 49">
                        <a:extLst>
                          <a:ext uri="{FF2B5EF4-FFF2-40B4-BE49-F238E27FC236}">
                            <a16:creationId xmlns:a16="http://schemas.microsoft.com/office/drawing/2014/main" id="{244393CC-3D5E-502C-4A55-FD79122D619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929986" y="4287522"/>
                        <a:ext cx="27432" cy="27432"/>
                      </a:xfrm>
                      <a:custGeom>
                        <a:avLst/>
                        <a:gdLst>
                          <a:gd name="connsiteX0" fmla="*/ 32385 w 80010"/>
                          <a:gd name="connsiteY0" fmla="*/ 8118 h 64150"/>
                          <a:gd name="connsiteX1" fmla="*/ 32385 w 80010"/>
                          <a:gd name="connsiteY1" fmla="*/ 8118 h 64150"/>
                          <a:gd name="connsiteX2" fmla="*/ 3810 w 80010"/>
                          <a:gd name="connsiteY2" fmla="*/ 10023 h 64150"/>
                          <a:gd name="connsiteX3" fmla="*/ 0 w 80010"/>
                          <a:gd name="connsiteY3" fmla="*/ 21453 h 64150"/>
                          <a:gd name="connsiteX4" fmla="*/ 7620 w 80010"/>
                          <a:gd name="connsiteY4" fmla="*/ 42408 h 64150"/>
                          <a:gd name="connsiteX5" fmla="*/ 13335 w 80010"/>
                          <a:gd name="connsiteY5" fmla="*/ 46218 h 64150"/>
                          <a:gd name="connsiteX6" fmla="*/ 19050 w 80010"/>
                          <a:gd name="connsiteY6" fmla="*/ 51933 h 64150"/>
                          <a:gd name="connsiteX7" fmla="*/ 68580 w 80010"/>
                          <a:gd name="connsiteY7" fmla="*/ 55743 h 64150"/>
                          <a:gd name="connsiteX8" fmla="*/ 72390 w 80010"/>
                          <a:gd name="connsiteY8" fmla="*/ 50028 h 64150"/>
                          <a:gd name="connsiteX9" fmla="*/ 78105 w 80010"/>
                          <a:gd name="connsiteY9" fmla="*/ 44313 h 64150"/>
                          <a:gd name="connsiteX10" fmla="*/ 80010 w 80010"/>
                          <a:gd name="connsiteY10" fmla="*/ 38598 h 64150"/>
                          <a:gd name="connsiteX11" fmla="*/ 78105 w 80010"/>
                          <a:gd name="connsiteY11" fmla="*/ 27168 h 64150"/>
                          <a:gd name="connsiteX12" fmla="*/ 60960 w 80010"/>
                          <a:gd name="connsiteY12" fmla="*/ 21453 h 64150"/>
                          <a:gd name="connsiteX13" fmla="*/ 53340 w 80010"/>
                          <a:gd name="connsiteY13" fmla="*/ 23358 h 64150"/>
                          <a:gd name="connsiteX14" fmla="*/ 57150 w 80010"/>
                          <a:gd name="connsiteY14" fmla="*/ 11928 h 64150"/>
                          <a:gd name="connsiteX15" fmla="*/ 59055 w 80010"/>
                          <a:gd name="connsiteY15" fmla="*/ 6213 h 64150"/>
                          <a:gd name="connsiteX16" fmla="*/ 34290 w 80010"/>
                          <a:gd name="connsiteY16" fmla="*/ 498 h 64150"/>
                          <a:gd name="connsiteX17" fmla="*/ 32385 w 80010"/>
                          <a:gd name="connsiteY17" fmla="*/ 8118 h 64150"/>
                          <a:gd name="connsiteX0" fmla="*/ 32385 w 80010"/>
                          <a:gd name="connsiteY0" fmla="*/ 8118 h 64150"/>
                          <a:gd name="connsiteX1" fmla="*/ 32385 w 80010"/>
                          <a:gd name="connsiteY1" fmla="*/ 8118 h 64150"/>
                          <a:gd name="connsiteX2" fmla="*/ 3810 w 80010"/>
                          <a:gd name="connsiteY2" fmla="*/ 10023 h 64150"/>
                          <a:gd name="connsiteX3" fmla="*/ 0 w 80010"/>
                          <a:gd name="connsiteY3" fmla="*/ 21453 h 64150"/>
                          <a:gd name="connsiteX4" fmla="*/ 7620 w 80010"/>
                          <a:gd name="connsiteY4" fmla="*/ 42408 h 64150"/>
                          <a:gd name="connsiteX5" fmla="*/ 13335 w 80010"/>
                          <a:gd name="connsiteY5" fmla="*/ 46218 h 64150"/>
                          <a:gd name="connsiteX6" fmla="*/ 19050 w 80010"/>
                          <a:gd name="connsiteY6" fmla="*/ 51933 h 64150"/>
                          <a:gd name="connsiteX7" fmla="*/ 68580 w 80010"/>
                          <a:gd name="connsiteY7" fmla="*/ 55743 h 64150"/>
                          <a:gd name="connsiteX8" fmla="*/ 72390 w 80010"/>
                          <a:gd name="connsiteY8" fmla="*/ 50028 h 64150"/>
                          <a:gd name="connsiteX9" fmla="*/ 78105 w 80010"/>
                          <a:gd name="connsiteY9" fmla="*/ 44313 h 64150"/>
                          <a:gd name="connsiteX10" fmla="*/ 80010 w 80010"/>
                          <a:gd name="connsiteY10" fmla="*/ 38598 h 64150"/>
                          <a:gd name="connsiteX11" fmla="*/ 78105 w 80010"/>
                          <a:gd name="connsiteY11" fmla="*/ 27168 h 64150"/>
                          <a:gd name="connsiteX12" fmla="*/ 60960 w 80010"/>
                          <a:gd name="connsiteY12" fmla="*/ 21453 h 64150"/>
                          <a:gd name="connsiteX13" fmla="*/ 53340 w 80010"/>
                          <a:gd name="connsiteY13" fmla="*/ 23358 h 64150"/>
                          <a:gd name="connsiteX14" fmla="*/ 57150 w 80010"/>
                          <a:gd name="connsiteY14" fmla="*/ 11928 h 64150"/>
                          <a:gd name="connsiteX15" fmla="*/ 59055 w 80010"/>
                          <a:gd name="connsiteY15" fmla="*/ 6213 h 64150"/>
                          <a:gd name="connsiteX16" fmla="*/ 34290 w 80010"/>
                          <a:gd name="connsiteY16" fmla="*/ 498 h 64150"/>
                          <a:gd name="connsiteX17" fmla="*/ 32385 w 80010"/>
                          <a:gd name="connsiteY17" fmla="*/ 8118 h 64150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179 h 56211"/>
                          <a:gd name="connsiteX1" fmla="*/ 32385 w 80010"/>
                          <a:gd name="connsiteY1" fmla="*/ 179 h 56211"/>
                          <a:gd name="connsiteX2" fmla="*/ 3810 w 80010"/>
                          <a:gd name="connsiteY2" fmla="*/ 2084 h 56211"/>
                          <a:gd name="connsiteX3" fmla="*/ 0 w 80010"/>
                          <a:gd name="connsiteY3" fmla="*/ 13514 h 56211"/>
                          <a:gd name="connsiteX4" fmla="*/ 7620 w 80010"/>
                          <a:gd name="connsiteY4" fmla="*/ 34469 h 56211"/>
                          <a:gd name="connsiteX5" fmla="*/ 13335 w 80010"/>
                          <a:gd name="connsiteY5" fmla="*/ 38279 h 56211"/>
                          <a:gd name="connsiteX6" fmla="*/ 19050 w 80010"/>
                          <a:gd name="connsiteY6" fmla="*/ 43994 h 56211"/>
                          <a:gd name="connsiteX7" fmla="*/ 68580 w 80010"/>
                          <a:gd name="connsiteY7" fmla="*/ 47804 h 56211"/>
                          <a:gd name="connsiteX8" fmla="*/ 72390 w 80010"/>
                          <a:gd name="connsiteY8" fmla="*/ 42089 h 56211"/>
                          <a:gd name="connsiteX9" fmla="*/ 78105 w 80010"/>
                          <a:gd name="connsiteY9" fmla="*/ 36374 h 56211"/>
                          <a:gd name="connsiteX10" fmla="*/ 80010 w 80010"/>
                          <a:gd name="connsiteY10" fmla="*/ 30659 h 56211"/>
                          <a:gd name="connsiteX11" fmla="*/ 78105 w 80010"/>
                          <a:gd name="connsiteY11" fmla="*/ 19229 h 56211"/>
                          <a:gd name="connsiteX12" fmla="*/ 60960 w 80010"/>
                          <a:gd name="connsiteY12" fmla="*/ 13514 h 56211"/>
                          <a:gd name="connsiteX13" fmla="*/ 53340 w 80010"/>
                          <a:gd name="connsiteY13" fmla="*/ 15419 h 56211"/>
                          <a:gd name="connsiteX14" fmla="*/ 57150 w 80010"/>
                          <a:gd name="connsiteY14" fmla="*/ 3989 h 56211"/>
                          <a:gd name="connsiteX15" fmla="*/ 32385 w 80010"/>
                          <a:gd name="connsiteY15" fmla="*/ 179 h 56211"/>
                          <a:gd name="connsiteX0" fmla="*/ 32385 w 80010"/>
                          <a:gd name="connsiteY0" fmla="*/ 179 h 56211"/>
                          <a:gd name="connsiteX1" fmla="*/ 32385 w 80010"/>
                          <a:gd name="connsiteY1" fmla="*/ 179 h 56211"/>
                          <a:gd name="connsiteX2" fmla="*/ 3810 w 80010"/>
                          <a:gd name="connsiteY2" fmla="*/ 2084 h 56211"/>
                          <a:gd name="connsiteX3" fmla="*/ 0 w 80010"/>
                          <a:gd name="connsiteY3" fmla="*/ 13514 h 56211"/>
                          <a:gd name="connsiteX4" fmla="*/ 7620 w 80010"/>
                          <a:gd name="connsiteY4" fmla="*/ 34469 h 56211"/>
                          <a:gd name="connsiteX5" fmla="*/ 13335 w 80010"/>
                          <a:gd name="connsiteY5" fmla="*/ 38279 h 56211"/>
                          <a:gd name="connsiteX6" fmla="*/ 19050 w 80010"/>
                          <a:gd name="connsiteY6" fmla="*/ 43994 h 56211"/>
                          <a:gd name="connsiteX7" fmla="*/ 68580 w 80010"/>
                          <a:gd name="connsiteY7" fmla="*/ 47804 h 56211"/>
                          <a:gd name="connsiteX8" fmla="*/ 72390 w 80010"/>
                          <a:gd name="connsiteY8" fmla="*/ 42089 h 56211"/>
                          <a:gd name="connsiteX9" fmla="*/ 78105 w 80010"/>
                          <a:gd name="connsiteY9" fmla="*/ 36374 h 56211"/>
                          <a:gd name="connsiteX10" fmla="*/ 80010 w 80010"/>
                          <a:gd name="connsiteY10" fmla="*/ 30659 h 56211"/>
                          <a:gd name="connsiteX11" fmla="*/ 78105 w 80010"/>
                          <a:gd name="connsiteY11" fmla="*/ 19229 h 56211"/>
                          <a:gd name="connsiteX12" fmla="*/ 60960 w 80010"/>
                          <a:gd name="connsiteY12" fmla="*/ 13514 h 56211"/>
                          <a:gd name="connsiteX13" fmla="*/ 53340 w 80010"/>
                          <a:gd name="connsiteY13" fmla="*/ 15419 h 56211"/>
                          <a:gd name="connsiteX14" fmla="*/ 40048 w 80010"/>
                          <a:gd name="connsiteY14" fmla="*/ 8639 h 56211"/>
                          <a:gd name="connsiteX15" fmla="*/ 32385 w 80010"/>
                          <a:gd name="connsiteY15" fmla="*/ 179 h 56211"/>
                          <a:gd name="connsiteX0" fmla="*/ 32385 w 80010"/>
                          <a:gd name="connsiteY0" fmla="*/ 179 h 52171"/>
                          <a:gd name="connsiteX1" fmla="*/ 32385 w 80010"/>
                          <a:gd name="connsiteY1" fmla="*/ 179 h 52171"/>
                          <a:gd name="connsiteX2" fmla="*/ 3810 w 80010"/>
                          <a:gd name="connsiteY2" fmla="*/ 2084 h 52171"/>
                          <a:gd name="connsiteX3" fmla="*/ 0 w 80010"/>
                          <a:gd name="connsiteY3" fmla="*/ 13514 h 52171"/>
                          <a:gd name="connsiteX4" fmla="*/ 7620 w 80010"/>
                          <a:gd name="connsiteY4" fmla="*/ 34469 h 52171"/>
                          <a:gd name="connsiteX5" fmla="*/ 13335 w 80010"/>
                          <a:gd name="connsiteY5" fmla="*/ 38279 h 52171"/>
                          <a:gd name="connsiteX6" fmla="*/ 19050 w 80010"/>
                          <a:gd name="connsiteY6" fmla="*/ 43994 h 52171"/>
                          <a:gd name="connsiteX7" fmla="*/ 68580 w 80010"/>
                          <a:gd name="connsiteY7" fmla="*/ 47804 h 52171"/>
                          <a:gd name="connsiteX8" fmla="*/ 72390 w 80010"/>
                          <a:gd name="connsiteY8" fmla="*/ 42089 h 52171"/>
                          <a:gd name="connsiteX9" fmla="*/ 78105 w 80010"/>
                          <a:gd name="connsiteY9" fmla="*/ 36374 h 52171"/>
                          <a:gd name="connsiteX10" fmla="*/ 80010 w 80010"/>
                          <a:gd name="connsiteY10" fmla="*/ 30659 h 52171"/>
                          <a:gd name="connsiteX11" fmla="*/ 78105 w 80010"/>
                          <a:gd name="connsiteY11" fmla="*/ 19229 h 52171"/>
                          <a:gd name="connsiteX12" fmla="*/ 60960 w 80010"/>
                          <a:gd name="connsiteY12" fmla="*/ 13514 h 52171"/>
                          <a:gd name="connsiteX13" fmla="*/ 53340 w 80010"/>
                          <a:gd name="connsiteY13" fmla="*/ 15419 h 52171"/>
                          <a:gd name="connsiteX14" fmla="*/ 40048 w 80010"/>
                          <a:gd name="connsiteY14" fmla="*/ 8639 h 52171"/>
                          <a:gd name="connsiteX15" fmla="*/ 32385 w 80010"/>
                          <a:gd name="connsiteY15" fmla="*/ 179 h 52171"/>
                          <a:gd name="connsiteX0" fmla="*/ 32385 w 80010"/>
                          <a:gd name="connsiteY0" fmla="*/ 179 h 52432"/>
                          <a:gd name="connsiteX1" fmla="*/ 32385 w 80010"/>
                          <a:gd name="connsiteY1" fmla="*/ 179 h 52432"/>
                          <a:gd name="connsiteX2" fmla="*/ 3810 w 80010"/>
                          <a:gd name="connsiteY2" fmla="*/ 2084 h 52432"/>
                          <a:gd name="connsiteX3" fmla="*/ 0 w 80010"/>
                          <a:gd name="connsiteY3" fmla="*/ 13514 h 52432"/>
                          <a:gd name="connsiteX4" fmla="*/ 7620 w 80010"/>
                          <a:gd name="connsiteY4" fmla="*/ 34469 h 52432"/>
                          <a:gd name="connsiteX5" fmla="*/ 13335 w 80010"/>
                          <a:gd name="connsiteY5" fmla="*/ 38279 h 52432"/>
                          <a:gd name="connsiteX6" fmla="*/ 19050 w 80010"/>
                          <a:gd name="connsiteY6" fmla="*/ 43994 h 52432"/>
                          <a:gd name="connsiteX7" fmla="*/ 68580 w 80010"/>
                          <a:gd name="connsiteY7" fmla="*/ 47804 h 52432"/>
                          <a:gd name="connsiteX8" fmla="*/ 72390 w 80010"/>
                          <a:gd name="connsiteY8" fmla="*/ 42089 h 52432"/>
                          <a:gd name="connsiteX9" fmla="*/ 78105 w 80010"/>
                          <a:gd name="connsiteY9" fmla="*/ 36374 h 52432"/>
                          <a:gd name="connsiteX10" fmla="*/ 80010 w 80010"/>
                          <a:gd name="connsiteY10" fmla="*/ 30659 h 52432"/>
                          <a:gd name="connsiteX11" fmla="*/ 78105 w 80010"/>
                          <a:gd name="connsiteY11" fmla="*/ 19229 h 52432"/>
                          <a:gd name="connsiteX12" fmla="*/ 60960 w 80010"/>
                          <a:gd name="connsiteY12" fmla="*/ 13514 h 52432"/>
                          <a:gd name="connsiteX13" fmla="*/ 53340 w 80010"/>
                          <a:gd name="connsiteY13" fmla="*/ 15419 h 52432"/>
                          <a:gd name="connsiteX14" fmla="*/ 40048 w 80010"/>
                          <a:gd name="connsiteY14" fmla="*/ 8639 h 52432"/>
                          <a:gd name="connsiteX15" fmla="*/ 32385 w 80010"/>
                          <a:gd name="connsiteY15" fmla="*/ 179 h 52432"/>
                          <a:gd name="connsiteX0" fmla="*/ 32385 w 80010"/>
                          <a:gd name="connsiteY0" fmla="*/ 179 h 55651"/>
                          <a:gd name="connsiteX1" fmla="*/ 32385 w 80010"/>
                          <a:gd name="connsiteY1" fmla="*/ 179 h 55651"/>
                          <a:gd name="connsiteX2" fmla="*/ 3810 w 80010"/>
                          <a:gd name="connsiteY2" fmla="*/ 2084 h 55651"/>
                          <a:gd name="connsiteX3" fmla="*/ 0 w 80010"/>
                          <a:gd name="connsiteY3" fmla="*/ 13514 h 55651"/>
                          <a:gd name="connsiteX4" fmla="*/ 7620 w 80010"/>
                          <a:gd name="connsiteY4" fmla="*/ 34469 h 55651"/>
                          <a:gd name="connsiteX5" fmla="*/ 13335 w 80010"/>
                          <a:gd name="connsiteY5" fmla="*/ 38279 h 55651"/>
                          <a:gd name="connsiteX6" fmla="*/ 19050 w 80010"/>
                          <a:gd name="connsiteY6" fmla="*/ 43994 h 55651"/>
                          <a:gd name="connsiteX7" fmla="*/ 48058 w 80010"/>
                          <a:gd name="connsiteY7" fmla="*/ 52454 h 55651"/>
                          <a:gd name="connsiteX8" fmla="*/ 72390 w 80010"/>
                          <a:gd name="connsiteY8" fmla="*/ 42089 h 55651"/>
                          <a:gd name="connsiteX9" fmla="*/ 78105 w 80010"/>
                          <a:gd name="connsiteY9" fmla="*/ 36374 h 55651"/>
                          <a:gd name="connsiteX10" fmla="*/ 80010 w 80010"/>
                          <a:gd name="connsiteY10" fmla="*/ 30659 h 55651"/>
                          <a:gd name="connsiteX11" fmla="*/ 78105 w 80010"/>
                          <a:gd name="connsiteY11" fmla="*/ 19229 h 55651"/>
                          <a:gd name="connsiteX12" fmla="*/ 60960 w 80010"/>
                          <a:gd name="connsiteY12" fmla="*/ 13514 h 55651"/>
                          <a:gd name="connsiteX13" fmla="*/ 53340 w 80010"/>
                          <a:gd name="connsiteY13" fmla="*/ 15419 h 55651"/>
                          <a:gd name="connsiteX14" fmla="*/ 40048 w 80010"/>
                          <a:gd name="connsiteY14" fmla="*/ 8639 h 55651"/>
                          <a:gd name="connsiteX15" fmla="*/ 32385 w 80010"/>
                          <a:gd name="connsiteY15" fmla="*/ 179 h 55651"/>
                          <a:gd name="connsiteX0" fmla="*/ 32385 w 80010"/>
                          <a:gd name="connsiteY0" fmla="*/ 179 h 53227"/>
                          <a:gd name="connsiteX1" fmla="*/ 32385 w 80010"/>
                          <a:gd name="connsiteY1" fmla="*/ 179 h 53227"/>
                          <a:gd name="connsiteX2" fmla="*/ 3810 w 80010"/>
                          <a:gd name="connsiteY2" fmla="*/ 2084 h 53227"/>
                          <a:gd name="connsiteX3" fmla="*/ 0 w 80010"/>
                          <a:gd name="connsiteY3" fmla="*/ 13514 h 53227"/>
                          <a:gd name="connsiteX4" fmla="*/ 7620 w 80010"/>
                          <a:gd name="connsiteY4" fmla="*/ 34469 h 53227"/>
                          <a:gd name="connsiteX5" fmla="*/ 13335 w 80010"/>
                          <a:gd name="connsiteY5" fmla="*/ 38279 h 53227"/>
                          <a:gd name="connsiteX6" fmla="*/ 19050 w 80010"/>
                          <a:gd name="connsiteY6" fmla="*/ 43994 h 53227"/>
                          <a:gd name="connsiteX7" fmla="*/ 48058 w 80010"/>
                          <a:gd name="connsiteY7" fmla="*/ 52454 h 53227"/>
                          <a:gd name="connsiteX8" fmla="*/ 72390 w 80010"/>
                          <a:gd name="connsiteY8" fmla="*/ 42089 h 53227"/>
                          <a:gd name="connsiteX9" fmla="*/ 78105 w 80010"/>
                          <a:gd name="connsiteY9" fmla="*/ 36374 h 53227"/>
                          <a:gd name="connsiteX10" fmla="*/ 80010 w 80010"/>
                          <a:gd name="connsiteY10" fmla="*/ 30659 h 53227"/>
                          <a:gd name="connsiteX11" fmla="*/ 78105 w 80010"/>
                          <a:gd name="connsiteY11" fmla="*/ 19229 h 53227"/>
                          <a:gd name="connsiteX12" fmla="*/ 60960 w 80010"/>
                          <a:gd name="connsiteY12" fmla="*/ 13514 h 53227"/>
                          <a:gd name="connsiteX13" fmla="*/ 53340 w 80010"/>
                          <a:gd name="connsiteY13" fmla="*/ 15419 h 53227"/>
                          <a:gd name="connsiteX14" fmla="*/ 40048 w 80010"/>
                          <a:gd name="connsiteY14" fmla="*/ 8639 h 53227"/>
                          <a:gd name="connsiteX15" fmla="*/ 32385 w 80010"/>
                          <a:gd name="connsiteY15" fmla="*/ 179 h 5322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80010" h="53227">
                            <a:moveTo>
                              <a:pt x="32385" y="179"/>
                            </a:moveTo>
                            <a:lnTo>
                              <a:pt x="32385" y="179"/>
                            </a:lnTo>
                            <a:cubicBezTo>
                              <a:pt x="22860" y="814"/>
                              <a:pt x="12637" y="-1551"/>
                              <a:pt x="3810" y="2084"/>
                            </a:cubicBezTo>
                            <a:cubicBezTo>
                              <a:pt x="96" y="3613"/>
                              <a:pt x="0" y="13514"/>
                              <a:pt x="0" y="13514"/>
                            </a:cubicBezTo>
                            <a:cubicBezTo>
                              <a:pt x="1410" y="20563"/>
                              <a:pt x="2165" y="29014"/>
                              <a:pt x="7620" y="34469"/>
                            </a:cubicBezTo>
                            <a:cubicBezTo>
                              <a:pt x="9239" y="36088"/>
                              <a:pt x="11576" y="36813"/>
                              <a:pt x="13335" y="38279"/>
                            </a:cubicBezTo>
                            <a:cubicBezTo>
                              <a:pt x="15405" y="40004"/>
                              <a:pt x="17145" y="42089"/>
                              <a:pt x="19050" y="43994"/>
                            </a:cubicBezTo>
                            <a:cubicBezTo>
                              <a:pt x="36453" y="53990"/>
                              <a:pt x="29632" y="54059"/>
                              <a:pt x="48058" y="52454"/>
                            </a:cubicBezTo>
                            <a:cubicBezTo>
                              <a:pt x="50339" y="52255"/>
                              <a:pt x="67382" y="44769"/>
                              <a:pt x="72390" y="42089"/>
                            </a:cubicBezTo>
                            <a:cubicBezTo>
                              <a:pt x="77398" y="39409"/>
                              <a:pt x="76200" y="38279"/>
                              <a:pt x="78105" y="36374"/>
                            </a:cubicBezTo>
                            <a:cubicBezTo>
                              <a:pt x="78740" y="34469"/>
                              <a:pt x="80010" y="32667"/>
                              <a:pt x="80010" y="30659"/>
                            </a:cubicBezTo>
                            <a:cubicBezTo>
                              <a:pt x="80010" y="26796"/>
                              <a:pt x="79832" y="22684"/>
                              <a:pt x="78105" y="19229"/>
                            </a:cubicBezTo>
                            <a:cubicBezTo>
                              <a:pt x="75670" y="14359"/>
                              <a:pt x="63693" y="13970"/>
                              <a:pt x="60960" y="13514"/>
                            </a:cubicBezTo>
                            <a:cubicBezTo>
                              <a:pt x="58420" y="14149"/>
                              <a:pt x="56825" y="16231"/>
                              <a:pt x="53340" y="15419"/>
                            </a:cubicBezTo>
                            <a:cubicBezTo>
                              <a:pt x="49855" y="14607"/>
                              <a:pt x="39095" y="11497"/>
                              <a:pt x="40048" y="8639"/>
                            </a:cubicBezTo>
                            <a:lnTo>
                              <a:pt x="32385" y="179"/>
                            </a:lnTo>
                            <a:close/>
                          </a:path>
                        </a:pathLst>
                      </a:custGeom>
                      <a:solidFill>
                        <a:srgbClr val="0D3759"/>
                      </a:solidFill>
                      <a:ln w="3175" cap="flat" cmpd="sng" algn="ctr">
                        <a:solidFill>
                          <a:srgbClr val="F2E8F8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65" name="Freeform: Shape 50">
                        <a:extLst>
                          <a:ext uri="{FF2B5EF4-FFF2-40B4-BE49-F238E27FC236}">
                            <a16:creationId xmlns:a16="http://schemas.microsoft.com/office/drawing/2014/main" id="{4E10086F-8F2D-60E8-A13A-096F6FB25E68}"/>
                          </a:ext>
                        </a:extLst>
                      </p:cNvPr>
                      <p:cNvSpPr/>
                      <p:nvPr/>
                    </p:nvSpPr>
                    <p:spPr>
                      <a:xfrm rot="1648623">
                        <a:off x="8778238" y="4278378"/>
                        <a:ext cx="27432" cy="36576"/>
                      </a:xfrm>
                      <a:custGeom>
                        <a:avLst/>
                        <a:gdLst>
                          <a:gd name="connsiteX0" fmla="*/ 57150 w 104775"/>
                          <a:gd name="connsiteY0" fmla="*/ 76200 h 127635"/>
                          <a:gd name="connsiteX1" fmla="*/ 57150 w 104775"/>
                          <a:gd name="connsiteY1" fmla="*/ 76200 h 127635"/>
                          <a:gd name="connsiteX2" fmla="*/ 24765 w 104775"/>
                          <a:gd name="connsiteY2" fmla="*/ 80010 h 127635"/>
                          <a:gd name="connsiteX3" fmla="*/ 19050 w 104775"/>
                          <a:gd name="connsiteY3" fmla="*/ 83820 h 127635"/>
                          <a:gd name="connsiteX4" fmla="*/ 19050 w 104775"/>
                          <a:gd name="connsiteY4" fmla="*/ 106680 h 127635"/>
                          <a:gd name="connsiteX5" fmla="*/ 24765 w 104775"/>
                          <a:gd name="connsiteY5" fmla="*/ 110490 h 127635"/>
                          <a:gd name="connsiteX6" fmla="*/ 28575 w 104775"/>
                          <a:gd name="connsiteY6" fmla="*/ 116205 h 127635"/>
                          <a:gd name="connsiteX7" fmla="*/ 32385 w 104775"/>
                          <a:gd name="connsiteY7" fmla="*/ 127635 h 127635"/>
                          <a:gd name="connsiteX8" fmla="*/ 81915 w 104775"/>
                          <a:gd name="connsiteY8" fmla="*/ 125730 h 127635"/>
                          <a:gd name="connsiteX9" fmla="*/ 87630 w 104775"/>
                          <a:gd name="connsiteY9" fmla="*/ 123825 h 127635"/>
                          <a:gd name="connsiteX10" fmla="*/ 89535 w 104775"/>
                          <a:gd name="connsiteY10" fmla="*/ 118110 h 127635"/>
                          <a:gd name="connsiteX11" fmla="*/ 93345 w 104775"/>
                          <a:gd name="connsiteY11" fmla="*/ 112395 h 127635"/>
                          <a:gd name="connsiteX12" fmla="*/ 95250 w 104775"/>
                          <a:gd name="connsiteY12" fmla="*/ 99060 h 127635"/>
                          <a:gd name="connsiteX13" fmla="*/ 100965 w 104775"/>
                          <a:gd name="connsiteY13" fmla="*/ 95250 h 127635"/>
                          <a:gd name="connsiteX14" fmla="*/ 104775 w 104775"/>
                          <a:gd name="connsiteY14" fmla="*/ 83820 h 127635"/>
                          <a:gd name="connsiteX15" fmla="*/ 100965 w 104775"/>
                          <a:gd name="connsiteY15" fmla="*/ 57150 h 127635"/>
                          <a:gd name="connsiteX16" fmla="*/ 99060 w 104775"/>
                          <a:gd name="connsiteY16" fmla="*/ 49530 h 127635"/>
                          <a:gd name="connsiteX17" fmla="*/ 95250 w 104775"/>
                          <a:gd name="connsiteY17" fmla="*/ 43815 h 127635"/>
                          <a:gd name="connsiteX18" fmla="*/ 91440 w 104775"/>
                          <a:gd name="connsiteY18" fmla="*/ 32385 h 127635"/>
                          <a:gd name="connsiteX19" fmla="*/ 81915 w 104775"/>
                          <a:gd name="connsiteY19" fmla="*/ 15240 h 127635"/>
                          <a:gd name="connsiteX20" fmla="*/ 70485 w 104775"/>
                          <a:gd name="connsiteY20" fmla="*/ 3810 h 127635"/>
                          <a:gd name="connsiteX21" fmla="*/ 59055 w 104775"/>
                          <a:gd name="connsiteY21" fmla="*/ 0 h 127635"/>
                          <a:gd name="connsiteX22" fmla="*/ 45720 w 104775"/>
                          <a:gd name="connsiteY22" fmla="*/ 1905 h 127635"/>
                          <a:gd name="connsiteX23" fmla="*/ 43815 w 104775"/>
                          <a:gd name="connsiteY23" fmla="*/ 19050 h 127635"/>
                          <a:gd name="connsiteX24" fmla="*/ 41910 w 104775"/>
                          <a:gd name="connsiteY24" fmla="*/ 30480 h 127635"/>
                          <a:gd name="connsiteX25" fmla="*/ 40005 w 104775"/>
                          <a:gd name="connsiteY25" fmla="*/ 43815 h 127635"/>
                          <a:gd name="connsiteX26" fmla="*/ 28575 w 104775"/>
                          <a:gd name="connsiteY26" fmla="*/ 49530 h 127635"/>
                          <a:gd name="connsiteX27" fmla="*/ 3810 w 104775"/>
                          <a:gd name="connsiteY27" fmla="*/ 51435 h 127635"/>
                          <a:gd name="connsiteX28" fmla="*/ 1905 w 104775"/>
                          <a:gd name="connsiteY28" fmla="*/ 59055 h 127635"/>
                          <a:gd name="connsiteX29" fmla="*/ 0 w 104775"/>
                          <a:gd name="connsiteY29" fmla="*/ 64770 h 127635"/>
                          <a:gd name="connsiteX30" fmla="*/ 5715 w 104775"/>
                          <a:gd name="connsiteY30" fmla="*/ 78105 h 127635"/>
                          <a:gd name="connsiteX31" fmla="*/ 5715 w 104775"/>
                          <a:gd name="connsiteY31" fmla="*/ 81915 h 127635"/>
                          <a:gd name="connsiteX32" fmla="*/ 5715 w 104775"/>
                          <a:gd name="connsiteY32" fmla="*/ 87630 h 127635"/>
                          <a:gd name="connsiteX0" fmla="*/ 57150 w 104775"/>
                          <a:gd name="connsiteY0" fmla="*/ 76200 h 127635"/>
                          <a:gd name="connsiteX1" fmla="*/ 24765 w 104775"/>
                          <a:gd name="connsiteY1" fmla="*/ 80010 h 127635"/>
                          <a:gd name="connsiteX2" fmla="*/ 19050 w 104775"/>
                          <a:gd name="connsiteY2" fmla="*/ 83820 h 127635"/>
                          <a:gd name="connsiteX3" fmla="*/ 19050 w 104775"/>
                          <a:gd name="connsiteY3" fmla="*/ 106680 h 127635"/>
                          <a:gd name="connsiteX4" fmla="*/ 24765 w 104775"/>
                          <a:gd name="connsiteY4" fmla="*/ 110490 h 127635"/>
                          <a:gd name="connsiteX5" fmla="*/ 28575 w 104775"/>
                          <a:gd name="connsiteY5" fmla="*/ 116205 h 127635"/>
                          <a:gd name="connsiteX6" fmla="*/ 32385 w 104775"/>
                          <a:gd name="connsiteY6" fmla="*/ 127635 h 127635"/>
                          <a:gd name="connsiteX7" fmla="*/ 81915 w 104775"/>
                          <a:gd name="connsiteY7" fmla="*/ 125730 h 127635"/>
                          <a:gd name="connsiteX8" fmla="*/ 87630 w 104775"/>
                          <a:gd name="connsiteY8" fmla="*/ 123825 h 127635"/>
                          <a:gd name="connsiteX9" fmla="*/ 89535 w 104775"/>
                          <a:gd name="connsiteY9" fmla="*/ 118110 h 127635"/>
                          <a:gd name="connsiteX10" fmla="*/ 93345 w 104775"/>
                          <a:gd name="connsiteY10" fmla="*/ 112395 h 127635"/>
                          <a:gd name="connsiteX11" fmla="*/ 95250 w 104775"/>
                          <a:gd name="connsiteY11" fmla="*/ 99060 h 127635"/>
                          <a:gd name="connsiteX12" fmla="*/ 100965 w 104775"/>
                          <a:gd name="connsiteY12" fmla="*/ 95250 h 127635"/>
                          <a:gd name="connsiteX13" fmla="*/ 104775 w 104775"/>
                          <a:gd name="connsiteY13" fmla="*/ 83820 h 127635"/>
                          <a:gd name="connsiteX14" fmla="*/ 100965 w 104775"/>
                          <a:gd name="connsiteY14" fmla="*/ 57150 h 127635"/>
                          <a:gd name="connsiteX15" fmla="*/ 99060 w 104775"/>
                          <a:gd name="connsiteY15" fmla="*/ 49530 h 127635"/>
                          <a:gd name="connsiteX16" fmla="*/ 95250 w 104775"/>
                          <a:gd name="connsiteY16" fmla="*/ 43815 h 127635"/>
                          <a:gd name="connsiteX17" fmla="*/ 91440 w 104775"/>
                          <a:gd name="connsiteY17" fmla="*/ 32385 h 127635"/>
                          <a:gd name="connsiteX18" fmla="*/ 81915 w 104775"/>
                          <a:gd name="connsiteY18" fmla="*/ 15240 h 127635"/>
                          <a:gd name="connsiteX19" fmla="*/ 70485 w 104775"/>
                          <a:gd name="connsiteY19" fmla="*/ 3810 h 127635"/>
                          <a:gd name="connsiteX20" fmla="*/ 59055 w 104775"/>
                          <a:gd name="connsiteY20" fmla="*/ 0 h 127635"/>
                          <a:gd name="connsiteX21" fmla="*/ 45720 w 104775"/>
                          <a:gd name="connsiteY21" fmla="*/ 1905 h 127635"/>
                          <a:gd name="connsiteX22" fmla="*/ 43815 w 104775"/>
                          <a:gd name="connsiteY22" fmla="*/ 19050 h 127635"/>
                          <a:gd name="connsiteX23" fmla="*/ 41910 w 104775"/>
                          <a:gd name="connsiteY23" fmla="*/ 30480 h 127635"/>
                          <a:gd name="connsiteX24" fmla="*/ 40005 w 104775"/>
                          <a:gd name="connsiteY24" fmla="*/ 43815 h 127635"/>
                          <a:gd name="connsiteX25" fmla="*/ 28575 w 104775"/>
                          <a:gd name="connsiteY25" fmla="*/ 49530 h 127635"/>
                          <a:gd name="connsiteX26" fmla="*/ 3810 w 104775"/>
                          <a:gd name="connsiteY26" fmla="*/ 51435 h 127635"/>
                          <a:gd name="connsiteX27" fmla="*/ 1905 w 104775"/>
                          <a:gd name="connsiteY27" fmla="*/ 59055 h 127635"/>
                          <a:gd name="connsiteX28" fmla="*/ 0 w 104775"/>
                          <a:gd name="connsiteY28" fmla="*/ 64770 h 127635"/>
                          <a:gd name="connsiteX29" fmla="*/ 5715 w 104775"/>
                          <a:gd name="connsiteY29" fmla="*/ 78105 h 127635"/>
                          <a:gd name="connsiteX30" fmla="*/ 5715 w 104775"/>
                          <a:gd name="connsiteY30" fmla="*/ 81915 h 127635"/>
                          <a:gd name="connsiteX31" fmla="*/ 5715 w 104775"/>
                          <a:gd name="connsiteY31" fmla="*/ 87630 h 127635"/>
                          <a:gd name="connsiteX0" fmla="*/ 24765 w 104775"/>
                          <a:gd name="connsiteY0" fmla="*/ 80010 h 127635"/>
                          <a:gd name="connsiteX1" fmla="*/ 19050 w 104775"/>
                          <a:gd name="connsiteY1" fmla="*/ 83820 h 127635"/>
                          <a:gd name="connsiteX2" fmla="*/ 19050 w 104775"/>
                          <a:gd name="connsiteY2" fmla="*/ 106680 h 127635"/>
                          <a:gd name="connsiteX3" fmla="*/ 24765 w 104775"/>
                          <a:gd name="connsiteY3" fmla="*/ 110490 h 127635"/>
                          <a:gd name="connsiteX4" fmla="*/ 28575 w 104775"/>
                          <a:gd name="connsiteY4" fmla="*/ 116205 h 127635"/>
                          <a:gd name="connsiteX5" fmla="*/ 32385 w 104775"/>
                          <a:gd name="connsiteY5" fmla="*/ 127635 h 127635"/>
                          <a:gd name="connsiteX6" fmla="*/ 81915 w 104775"/>
                          <a:gd name="connsiteY6" fmla="*/ 125730 h 127635"/>
                          <a:gd name="connsiteX7" fmla="*/ 87630 w 104775"/>
                          <a:gd name="connsiteY7" fmla="*/ 123825 h 127635"/>
                          <a:gd name="connsiteX8" fmla="*/ 89535 w 104775"/>
                          <a:gd name="connsiteY8" fmla="*/ 118110 h 127635"/>
                          <a:gd name="connsiteX9" fmla="*/ 93345 w 104775"/>
                          <a:gd name="connsiteY9" fmla="*/ 112395 h 127635"/>
                          <a:gd name="connsiteX10" fmla="*/ 95250 w 104775"/>
                          <a:gd name="connsiteY10" fmla="*/ 99060 h 127635"/>
                          <a:gd name="connsiteX11" fmla="*/ 100965 w 104775"/>
                          <a:gd name="connsiteY11" fmla="*/ 95250 h 127635"/>
                          <a:gd name="connsiteX12" fmla="*/ 104775 w 104775"/>
                          <a:gd name="connsiteY12" fmla="*/ 83820 h 127635"/>
                          <a:gd name="connsiteX13" fmla="*/ 100965 w 104775"/>
                          <a:gd name="connsiteY13" fmla="*/ 57150 h 127635"/>
                          <a:gd name="connsiteX14" fmla="*/ 99060 w 104775"/>
                          <a:gd name="connsiteY14" fmla="*/ 49530 h 127635"/>
                          <a:gd name="connsiteX15" fmla="*/ 95250 w 104775"/>
                          <a:gd name="connsiteY15" fmla="*/ 43815 h 127635"/>
                          <a:gd name="connsiteX16" fmla="*/ 91440 w 104775"/>
                          <a:gd name="connsiteY16" fmla="*/ 32385 h 127635"/>
                          <a:gd name="connsiteX17" fmla="*/ 81915 w 104775"/>
                          <a:gd name="connsiteY17" fmla="*/ 15240 h 127635"/>
                          <a:gd name="connsiteX18" fmla="*/ 70485 w 104775"/>
                          <a:gd name="connsiteY18" fmla="*/ 3810 h 127635"/>
                          <a:gd name="connsiteX19" fmla="*/ 59055 w 104775"/>
                          <a:gd name="connsiteY19" fmla="*/ 0 h 127635"/>
                          <a:gd name="connsiteX20" fmla="*/ 45720 w 104775"/>
                          <a:gd name="connsiteY20" fmla="*/ 1905 h 127635"/>
                          <a:gd name="connsiteX21" fmla="*/ 43815 w 104775"/>
                          <a:gd name="connsiteY21" fmla="*/ 19050 h 127635"/>
                          <a:gd name="connsiteX22" fmla="*/ 41910 w 104775"/>
                          <a:gd name="connsiteY22" fmla="*/ 30480 h 127635"/>
                          <a:gd name="connsiteX23" fmla="*/ 40005 w 104775"/>
                          <a:gd name="connsiteY23" fmla="*/ 43815 h 127635"/>
                          <a:gd name="connsiteX24" fmla="*/ 28575 w 104775"/>
                          <a:gd name="connsiteY24" fmla="*/ 49530 h 127635"/>
                          <a:gd name="connsiteX25" fmla="*/ 3810 w 104775"/>
                          <a:gd name="connsiteY25" fmla="*/ 51435 h 127635"/>
                          <a:gd name="connsiteX26" fmla="*/ 1905 w 104775"/>
                          <a:gd name="connsiteY26" fmla="*/ 59055 h 127635"/>
                          <a:gd name="connsiteX27" fmla="*/ 0 w 104775"/>
                          <a:gd name="connsiteY27" fmla="*/ 64770 h 127635"/>
                          <a:gd name="connsiteX28" fmla="*/ 5715 w 104775"/>
                          <a:gd name="connsiteY28" fmla="*/ 78105 h 127635"/>
                          <a:gd name="connsiteX29" fmla="*/ 5715 w 104775"/>
                          <a:gd name="connsiteY29" fmla="*/ 81915 h 127635"/>
                          <a:gd name="connsiteX30" fmla="*/ 5715 w 104775"/>
                          <a:gd name="connsiteY30" fmla="*/ 87630 h 127635"/>
                          <a:gd name="connsiteX0" fmla="*/ 24765 w 104775"/>
                          <a:gd name="connsiteY0" fmla="*/ 80010 h 127635"/>
                          <a:gd name="connsiteX1" fmla="*/ 19050 w 104775"/>
                          <a:gd name="connsiteY1" fmla="*/ 106680 h 127635"/>
                          <a:gd name="connsiteX2" fmla="*/ 24765 w 104775"/>
                          <a:gd name="connsiteY2" fmla="*/ 110490 h 127635"/>
                          <a:gd name="connsiteX3" fmla="*/ 28575 w 104775"/>
                          <a:gd name="connsiteY3" fmla="*/ 116205 h 127635"/>
                          <a:gd name="connsiteX4" fmla="*/ 32385 w 104775"/>
                          <a:gd name="connsiteY4" fmla="*/ 127635 h 127635"/>
                          <a:gd name="connsiteX5" fmla="*/ 81915 w 104775"/>
                          <a:gd name="connsiteY5" fmla="*/ 125730 h 127635"/>
                          <a:gd name="connsiteX6" fmla="*/ 87630 w 104775"/>
                          <a:gd name="connsiteY6" fmla="*/ 123825 h 127635"/>
                          <a:gd name="connsiteX7" fmla="*/ 89535 w 104775"/>
                          <a:gd name="connsiteY7" fmla="*/ 118110 h 127635"/>
                          <a:gd name="connsiteX8" fmla="*/ 93345 w 104775"/>
                          <a:gd name="connsiteY8" fmla="*/ 112395 h 127635"/>
                          <a:gd name="connsiteX9" fmla="*/ 95250 w 104775"/>
                          <a:gd name="connsiteY9" fmla="*/ 99060 h 127635"/>
                          <a:gd name="connsiteX10" fmla="*/ 100965 w 104775"/>
                          <a:gd name="connsiteY10" fmla="*/ 95250 h 127635"/>
                          <a:gd name="connsiteX11" fmla="*/ 104775 w 104775"/>
                          <a:gd name="connsiteY11" fmla="*/ 83820 h 127635"/>
                          <a:gd name="connsiteX12" fmla="*/ 100965 w 104775"/>
                          <a:gd name="connsiteY12" fmla="*/ 57150 h 127635"/>
                          <a:gd name="connsiteX13" fmla="*/ 99060 w 104775"/>
                          <a:gd name="connsiteY13" fmla="*/ 49530 h 127635"/>
                          <a:gd name="connsiteX14" fmla="*/ 95250 w 104775"/>
                          <a:gd name="connsiteY14" fmla="*/ 43815 h 127635"/>
                          <a:gd name="connsiteX15" fmla="*/ 91440 w 104775"/>
                          <a:gd name="connsiteY15" fmla="*/ 32385 h 127635"/>
                          <a:gd name="connsiteX16" fmla="*/ 81915 w 104775"/>
                          <a:gd name="connsiteY16" fmla="*/ 15240 h 127635"/>
                          <a:gd name="connsiteX17" fmla="*/ 70485 w 104775"/>
                          <a:gd name="connsiteY17" fmla="*/ 3810 h 127635"/>
                          <a:gd name="connsiteX18" fmla="*/ 59055 w 104775"/>
                          <a:gd name="connsiteY18" fmla="*/ 0 h 127635"/>
                          <a:gd name="connsiteX19" fmla="*/ 45720 w 104775"/>
                          <a:gd name="connsiteY19" fmla="*/ 1905 h 127635"/>
                          <a:gd name="connsiteX20" fmla="*/ 43815 w 104775"/>
                          <a:gd name="connsiteY20" fmla="*/ 19050 h 127635"/>
                          <a:gd name="connsiteX21" fmla="*/ 41910 w 104775"/>
                          <a:gd name="connsiteY21" fmla="*/ 30480 h 127635"/>
                          <a:gd name="connsiteX22" fmla="*/ 40005 w 104775"/>
                          <a:gd name="connsiteY22" fmla="*/ 43815 h 127635"/>
                          <a:gd name="connsiteX23" fmla="*/ 28575 w 104775"/>
                          <a:gd name="connsiteY23" fmla="*/ 49530 h 127635"/>
                          <a:gd name="connsiteX24" fmla="*/ 3810 w 104775"/>
                          <a:gd name="connsiteY24" fmla="*/ 51435 h 127635"/>
                          <a:gd name="connsiteX25" fmla="*/ 1905 w 104775"/>
                          <a:gd name="connsiteY25" fmla="*/ 59055 h 127635"/>
                          <a:gd name="connsiteX26" fmla="*/ 0 w 104775"/>
                          <a:gd name="connsiteY26" fmla="*/ 64770 h 127635"/>
                          <a:gd name="connsiteX27" fmla="*/ 5715 w 104775"/>
                          <a:gd name="connsiteY27" fmla="*/ 78105 h 127635"/>
                          <a:gd name="connsiteX28" fmla="*/ 5715 w 104775"/>
                          <a:gd name="connsiteY28" fmla="*/ 81915 h 127635"/>
                          <a:gd name="connsiteX29" fmla="*/ 5715 w 104775"/>
                          <a:gd name="connsiteY29" fmla="*/ 8763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5715 w 104775"/>
                          <a:gd name="connsiteY28" fmla="*/ 8763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17145 w 104775"/>
                          <a:gd name="connsiteY28" fmla="*/ 11049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17145 w 104775"/>
                          <a:gd name="connsiteY28" fmla="*/ 110490 h 127635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81915 w 104775"/>
                          <a:gd name="connsiteY15" fmla="*/ 16019 h 128414"/>
                          <a:gd name="connsiteX16" fmla="*/ 70485 w 104775"/>
                          <a:gd name="connsiteY16" fmla="*/ 4589 h 128414"/>
                          <a:gd name="connsiteX17" fmla="*/ 59055 w 104775"/>
                          <a:gd name="connsiteY17" fmla="*/ 779 h 128414"/>
                          <a:gd name="connsiteX18" fmla="*/ 45720 w 104775"/>
                          <a:gd name="connsiteY18" fmla="*/ 2684 h 128414"/>
                          <a:gd name="connsiteX19" fmla="*/ 41910 w 104775"/>
                          <a:gd name="connsiteY19" fmla="*/ 31259 h 128414"/>
                          <a:gd name="connsiteX20" fmla="*/ 40005 w 104775"/>
                          <a:gd name="connsiteY20" fmla="*/ 44594 h 128414"/>
                          <a:gd name="connsiteX21" fmla="*/ 28575 w 104775"/>
                          <a:gd name="connsiteY21" fmla="*/ 50309 h 128414"/>
                          <a:gd name="connsiteX22" fmla="*/ 3810 w 104775"/>
                          <a:gd name="connsiteY22" fmla="*/ 52214 h 128414"/>
                          <a:gd name="connsiteX23" fmla="*/ 1905 w 104775"/>
                          <a:gd name="connsiteY23" fmla="*/ 59834 h 128414"/>
                          <a:gd name="connsiteX24" fmla="*/ 0 w 104775"/>
                          <a:gd name="connsiteY24" fmla="*/ 65549 h 128414"/>
                          <a:gd name="connsiteX25" fmla="*/ 5715 w 104775"/>
                          <a:gd name="connsiteY25" fmla="*/ 78884 h 128414"/>
                          <a:gd name="connsiteX26" fmla="*/ 5715 w 104775"/>
                          <a:gd name="connsiteY26" fmla="*/ 82694 h 128414"/>
                          <a:gd name="connsiteX27" fmla="*/ 17145 w 104775"/>
                          <a:gd name="connsiteY27" fmla="*/ 111269 h 128414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70485 w 104775"/>
                          <a:gd name="connsiteY15" fmla="*/ 4589 h 128414"/>
                          <a:gd name="connsiteX16" fmla="*/ 59055 w 104775"/>
                          <a:gd name="connsiteY16" fmla="*/ 779 h 128414"/>
                          <a:gd name="connsiteX17" fmla="*/ 45720 w 104775"/>
                          <a:gd name="connsiteY17" fmla="*/ 2684 h 128414"/>
                          <a:gd name="connsiteX18" fmla="*/ 41910 w 104775"/>
                          <a:gd name="connsiteY18" fmla="*/ 31259 h 128414"/>
                          <a:gd name="connsiteX19" fmla="*/ 40005 w 104775"/>
                          <a:gd name="connsiteY19" fmla="*/ 44594 h 128414"/>
                          <a:gd name="connsiteX20" fmla="*/ 28575 w 104775"/>
                          <a:gd name="connsiteY20" fmla="*/ 50309 h 128414"/>
                          <a:gd name="connsiteX21" fmla="*/ 3810 w 104775"/>
                          <a:gd name="connsiteY21" fmla="*/ 52214 h 128414"/>
                          <a:gd name="connsiteX22" fmla="*/ 1905 w 104775"/>
                          <a:gd name="connsiteY22" fmla="*/ 59834 h 128414"/>
                          <a:gd name="connsiteX23" fmla="*/ 0 w 104775"/>
                          <a:gd name="connsiteY23" fmla="*/ 65549 h 128414"/>
                          <a:gd name="connsiteX24" fmla="*/ 5715 w 104775"/>
                          <a:gd name="connsiteY24" fmla="*/ 78884 h 128414"/>
                          <a:gd name="connsiteX25" fmla="*/ 5715 w 104775"/>
                          <a:gd name="connsiteY25" fmla="*/ 82694 h 128414"/>
                          <a:gd name="connsiteX26" fmla="*/ 17145 w 104775"/>
                          <a:gd name="connsiteY26" fmla="*/ 111269 h 128414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70485 w 104775"/>
                          <a:gd name="connsiteY15" fmla="*/ 4589 h 128414"/>
                          <a:gd name="connsiteX16" fmla="*/ 59055 w 104775"/>
                          <a:gd name="connsiteY16" fmla="*/ 779 h 128414"/>
                          <a:gd name="connsiteX17" fmla="*/ 45720 w 104775"/>
                          <a:gd name="connsiteY17" fmla="*/ 2684 h 128414"/>
                          <a:gd name="connsiteX18" fmla="*/ 41910 w 104775"/>
                          <a:gd name="connsiteY18" fmla="*/ 31259 h 128414"/>
                          <a:gd name="connsiteX19" fmla="*/ 40005 w 104775"/>
                          <a:gd name="connsiteY19" fmla="*/ 44594 h 128414"/>
                          <a:gd name="connsiteX20" fmla="*/ 3810 w 104775"/>
                          <a:gd name="connsiteY20" fmla="*/ 52214 h 128414"/>
                          <a:gd name="connsiteX21" fmla="*/ 1905 w 104775"/>
                          <a:gd name="connsiteY21" fmla="*/ 59834 h 128414"/>
                          <a:gd name="connsiteX22" fmla="*/ 0 w 104775"/>
                          <a:gd name="connsiteY22" fmla="*/ 65549 h 128414"/>
                          <a:gd name="connsiteX23" fmla="*/ 5715 w 104775"/>
                          <a:gd name="connsiteY23" fmla="*/ 78884 h 128414"/>
                          <a:gd name="connsiteX24" fmla="*/ 5715 w 104775"/>
                          <a:gd name="connsiteY24" fmla="*/ 82694 h 128414"/>
                          <a:gd name="connsiteX25" fmla="*/ 17145 w 104775"/>
                          <a:gd name="connsiteY25" fmla="*/ 111269 h 128414"/>
                          <a:gd name="connsiteX0" fmla="*/ 19050 w 104775"/>
                          <a:gd name="connsiteY0" fmla="*/ 107492 h 128447"/>
                          <a:gd name="connsiteX1" fmla="*/ 24765 w 104775"/>
                          <a:gd name="connsiteY1" fmla="*/ 111302 h 128447"/>
                          <a:gd name="connsiteX2" fmla="*/ 28575 w 104775"/>
                          <a:gd name="connsiteY2" fmla="*/ 117017 h 128447"/>
                          <a:gd name="connsiteX3" fmla="*/ 32385 w 104775"/>
                          <a:gd name="connsiteY3" fmla="*/ 128447 h 128447"/>
                          <a:gd name="connsiteX4" fmla="*/ 81915 w 104775"/>
                          <a:gd name="connsiteY4" fmla="*/ 126542 h 128447"/>
                          <a:gd name="connsiteX5" fmla="*/ 87630 w 104775"/>
                          <a:gd name="connsiteY5" fmla="*/ 124637 h 128447"/>
                          <a:gd name="connsiteX6" fmla="*/ 89535 w 104775"/>
                          <a:gd name="connsiteY6" fmla="*/ 118922 h 128447"/>
                          <a:gd name="connsiteX7" fmla="*/ 93345 w 104775"/>
                          <a:gd name="connsiteY7" fmla="*/ 113207 h 128447"/>
                          <a:gd name="connsiteX8" fmla="*/ 95250 w 104775"/>
                          <a:gd name="connsiteY8" fmla="*/ 99872 h 128447"/>
                          <a:gd name="connsiteX9" fmla="*/ 100965 w 104775"/>
                          <a:gd name="connsiteY9" fmla="*/ 96062 h 128447"/>
                          <a:gd name="connsiteX10" fmla="*/ 104775 w 104775"/>
                          <a:gd name="connsiteY10" fmla="*/ 84632 h 128447"/>
                          <a:gd name="connsiteX11" fmla="*/ 100965 w 104775"/>
                          <a:gd name="connsiteY11" fmla="*/ 57962 h 128447"/>
                          <a:gd name="connsiteX12" fmla="*/ 99060 w 104775"/>
                          <a:gd name="connsiteY12" fmla="*/ 50342 h 128447"/>
                          <a:gd name="connsiteX13" fmla="*/ 95250 w 104775"/>
                          <a:gd name="connsiteY13" fmla="*/ 44627 h 128447"/>
                          <a:gd name="connsiteX14" fmla="*/ 91440 w 104775"/>
                          <a:gd name="connsiteY14" fmla="*/ 33197 h 128447"/>
                          <a:gd name="connsiteX15" fmla="*/ 70485 w 104775"/>
                          <a:gd name="connsiteY15" fmla="*/ 4622 h 128447"/>
                          <a:gd name="connsiteX16" fmla="*/ 45720 w 104775"/>
                          <a:gd name="connsiteY16" fmla="*/ 2717 h 128447"/>
                          <a:gd name="connsiteX17" fmla="*/ 41910 w 104775"/>
                          <a:gd name="connsiteY17" fmla="*/ 31292 h 128447"/>
                          <a:gd name="connsiteX18" fmla="*/ 40005 w 104775"/>
                          <a:gd name="connsiteY18" fmla="*/ 44627 h 128447"/>
                          <a:gd name="connsiteX19" fmla="*/ 3810 w 104775"/>
                          <a:gd name="connsiteY19" fmla="*/ 52247 h 128447"/>
                          <a:gd name="connsiteX20" fmla="*/ 1905 w 104775"/>
                          <a:gd name="connsiteY20" fmla="*/ 59867 h 128447"/>
                          <a:gd name="connsiteX21" fmla="*/ 0 w 104775"/>
                          <a:gd name="connsiteY21" fmla="*/ 65582 h 128447"/>
                          <a:gd name="connsiteX22" fmla="*/ 5715 w 104775"/>
                          <a:gd name="connsiteY22" fmla="*/ 78917 h 128447"/>
                          <a:gd name="connsiteX23" fmla="*/ 5715 w 104775"/>
                          <a:gd name="connsiteY23" fmla="*/ 82727 h 128447"/>
                          <a:gd name="connsiteX24" fmla="*/ 17145 w 104775"/>
                          <a:gd name="connsiteY24" fmla="*/ 111302 h 128447"/>
                          <a:gd name="connsiteX0" fmla="*/ 19050 w 104775"/>
                          <a:gd name="connsiteY0" fmla="*/ 102874 h 123829"/>
                          <a:gd name="connsiteX1" fmla="*/ 24765 w 104775"/>
                          <a:gd name="connsiteY1" fmla="*/ 106684 h 123829"/>
                          <a:gd name="connsiteX2" fmla="*/ 28575 w 104775"/>
                          <a:gd name="connsiteY2" fmla="*/ 112399 h 123829"/>
                          <a:gd name="connsiteX3" fmla="*/ 32385 w 104775"/>
                          <a:gd name="connsiteY3" fmla="*/ 123829 h 123829"/>
                          <a:gd name="connsiteX4" fmla="*/ 81915 w 104775"/>
                          <a:gd name="connsiteY4" fmla="*/ 121924 h 123829"/>
                          <a:gd name="connsiteX5" fmla="*/ 87630 w 104775"/>
                          <a:gd name="connsiteY5" fmla="*/ 120019 h 123829"/>
                          <a:gd name="connsiteX6" fmla="*/ 89535 w 104775"/>
                          <a:gd name="connsiteY6" fmla="*/ 114304 h 123829"/>
                          <a:gd name="connsiteX7" fmla="*/ 93345 w 104775"/>
                          <a:gd name="connsiteY7" fmla="*/ 108589 h 123829"/>
                          <a:gd name="connsiteX8" fmla="*/ 95250 w 104775"/>
                          <a:gd name="connsiteY8" fmla="*/ 95254 h 123829"/>
                          <a:gd name="connsiteX9" fmla="*/ 100965 w 104775"/>
                          <a:gd name="connsiteY9" fmla="*/ 91444 h 123829"/>
                          <a:gd name="connsiteX10" fmla="*/ 104775 w 104775"/>
                          <a:gd name="connsiteY10" fmla="*/ 80014 h 123829"/>
                          <a:gd name="connsiteX11" fmla="*/ 100965 w 104775"/>
                          <a:gd name="connsiteY11" fmla="*/ 53344 h 123829"/>
                          <a:gd name="connsiteX12" fmla="*/ 99060 w 104775"/>
                          <a:gd name="connsiteY12" fmla="*/ 45724 h 123829"/>
                          <a:gd name="connsiteX13" fmla="*/ 95250 w 104775"/>
                          <a:gd name="connsiteY13" fmla="*/ 40009 h 123829"/>
                          <a:gd name="connsiteX14" fmla="*/ 91440 w 104775"/>
                          <a:gd name="connsiteY14" fmla="*/ 28579 h 123829"/>
                          <a:gd name="connsiteX15" fmla="*/ 70485 w 104775"/>
                          <a:gd name="connsiteY15" fmla="*/ 4 h 123829"/>
                          <a:gd name="connsiteX16" fmla="*/ 41910 w 104775"/>
                          <a:gd name="connsiteY16" fmla="*/ 26674 h 123829"/>
                          <a:gd name="connsiteX17" fmla="*/ 40005 w 104775"/>
                          <a:gd name="connsiteY17" fmla="*/ 40009 h 123829"/>
                          <a:gd name="connsiteX18" fmla="*/ 3810 w 104775"/>
                          <a:gd name="connsiteY18" fmla="*/ 47629 h 123829"/>
                          <a:gd name="connsiteX19" fmla="*/ 1905 w 104775"/>
                          <a:gd name="connsiteY19" fmla="*/ 55249 h 123829"/>
                          <a:gd name="connsiteX20" fmla="*/ 0 w 104775"/>
                          <a:gd name="connsiteY20" fmla="*/ 60964 h 123829"/>
                          <a:gd name="connsiteX21" fmla="*/ 5715 w 104775"/>
                          <a:gd name="connsiteY21" fmla="*/ 74299 h 123829"/>
                          <a:gd name="connsiteX22" fmla="*/ 5715 w 104775"/>
                          <a:gd name="connsiteY22" fmla="*/ 78109 h 123829"/>
                          <a:gd name="connsiteX23" fmla="*/ 17145 w 104775"/>
                          <a:gd name="connsiteY23" fmla="*/ 106684 h 123829"/>
                          <a:gd name="connsiteX0" fmla="*/ 19050 w 104775"/>
                          <a:gd name="connsiteY0" fmla="*/ 77050 h 98005"/>
                          <a:gd name="connsiteX1" fmla="*/ 24765 w 104775"/>
                          <a:gd name="connsiteY1" fmla="*/ 80860 h 98005"/>
                          <a:gd name="connsiteX2" fmla="*/ 28575 w 104775"/>
                          <a:gd name="connsiteY2" fmla="*/ 86575 h 98005"/>
                          <a:gd name="connsiteX3" fmla="*/ 32385 w 104775"/>
                          <a:gd name="connsiteY3" fmla="*/ 98005 h 98005"/>
                          <a:gd name="connsiteX4" fmla="*/ 81915 w 104775"/>
                          <a:gd name="connsiteY4" fmla="*/ 96100 h 98005"/>
                          <a:gd name="connsiteX5" fmla="*/ 87630 w 104775"/>
                          <a:gd name="connsiteY5" fmla="*/ 94195 h 98005"/>
                          <a:gd name="connsiteX6" fmla="*/ 89535 w 104775"/>
                          <a:gd name="connsiteY6" fmla="*/ 88480 h 98005"/>
                          <a:gd name="connsiteX7" fmla="*/ 93345 w 104775"/>
                          <a:gd name="connsiteY7" fmla="*/ 82765 h 98005"/>
                          <a:gd name="connsiteX8" fmla="*/ 95250 w 104775"/>
                          <a:gd name="connsiteY8" fmla="*/ 69430 h 98005"/>
                          <a:gd name="connsiteX9" fmla="*/ 100965 w 104775"/>
                          <a:gd name="connsiteY9" fmla="*/ 65620 h 98005"/>
                          <a:gd name="connsiteX10" fmla="*/ 104775 w 104775"/>
                          <a:gd name="connsiteY10" fmla="*/ 54190 h 98005"/>
                          <a:gd name="connsiteX11" fmla="*/ 100965 w 104775"/>
                          <a:gd name="connsiteY11" fmla="*/ 27520 h 98005"/>
                          <a:gd name="connsiteX12" fmla="*/ 99060 w 104775"/>
                          <a:gd name="connsiteY12" fmla="*/ 19900 h 98005"/>
                          <a:gd name="connsiteX13" fmla="*/ 95250 w 104775"/>
                          <a:gd name="connsiteY13" fmla="*/ 14185 h 98005"/>
                          <a:gd name="connsiteX14" fmla="*/ 91440 w 104775"/>
                          <a:gd name="connsiteY14" fmla="*/ 2755 h 98005"/>
                          <a:gd name="connsiteX15" fmla="*/ 41910 w 104775"/>
                          <a:gd name="connsiteY15" fmla="*/ 850 h 98005"/>
                          <a:gd name="connsiteX16" fmla="*/ 40005 w 104775"/>
                          <a:gd name="connsiteY16" fmla="*/ 14185 h 98005"/>
                          <a:gd name="connsiteX17" fmla="*/ 3810 w 104775"/>
                          <a:gd name="connsiteY17" fmla="*/ 21805 h 98005"/>
                          <a:gd name="connsiteX18" fmla="*/ 1905 w 104775"/>
                          <a:gd name="connsiteY18" fmla="*/ 29425 h 98005"/>
                          <a:gd name="connsiteX19" fmla="*/ 0 w 104775"/>
                          <a:gd name="connsiteY19" fmla="*/ 35140 h 98005"/>
                          <a:gd name="connsiteX20" fmla="*/ 5715 w 104775"/>
                          <a:gd name="connsiteY20" fmla="*/ 48475 h 98005"/>
                          <a:gd name="connsiteX21" fmla="*/ 5715 w 104775"/>
                          <a:gd name="connsiteY21" fmla="*/ 52285 h 98005"/>
                          <a:gd name="connsiteX22" fmla="*/ 17145 w 104775"/>
                          <a:gd name="connsiteY22" fmla="*/ 80860 h 98005"/>
                          <a:gd name="connsiteX0" fmla="*/ 19050 w 104775"/>
                          <a:gd name="connsiteY0" fmla="*/ 76200 h 97155"/>
                          <a:gd name="connsiteX1" fmla="*/ 24765 w 104775"/>
                          <a:gd name="connsiteY1" fmla="*/ 80010 h 97155"/>
                          <a:gd name="connsiteX2" fmla="*/ 28575 w 104775"/>
                          <a:gd name="connsiteY2" fmla="*/ 85725 h 97155"/>
                          <a:gd name="connsiteX3" fmla="*/ 32385 w 104775"/>
                          <a:gd name="connsiteY3" fmla="*/ 97155 h 97155"/>
                          <a:gd name="connsiteX4" fmla="*/ 81915 w 104775"/>
                          <a:gd name="connsiteY4" fmla="*/ 95250 h 97155"/>
                          <a:gd name="connsiteX5" fmla="*/ 87630 w 104775"/>
                          <a:gd name="connsiteY5" fmla="*/ 93345 h 97155"/>
                          <a:gd name="connsiteX6" fmla="*/ 89535 w 104775"/>
                          <a:gd name="connsiteY6" fmla="*/ 87630 h 97155"/>
                          <a:gd name="connsiteX7" fmla="*/ 93345 w 104775"/>
                          <a:gd name="connsiteY7" fmla="*/ 81915 h 97155"/>
                          <a:gd name="connsiteX8" fmla="*/ 95250 w 104775"/>
                          <a:gd name="connsiteY8" fmla="*/ 68580 h 97155"/>
                          <a:gd name="connsiteX9" fmla="*/ 100965 w 104775"/>
                          <a:gd name="connsiteY9" fmla="*/ 64770 h 97155"/>
                          <a:gd name="connsiteX10" fmla="*/ 104775 w 104775"/>
                          <a:gd name="connsiteY10" fmla="*/ 53340 h 97155"/>
                          <a:gd name="connsiteX11" fmla="*/ 100965 w 104775"/>
                          <a:gd name="connsiteY11" fmla="*/ 26670 h 97155"/>
                          <a:gd name="connsiteX12" fmla="*/ 99060 w 104775"/>
                          <a:gd name="connsiteY12" fmla="*/ 19050 h 97155"/>
                          <a:gd name="connsiteX13" fmla="*/ 95250 w 104775"/>
                          <a:gd name="connsiteY13" fmla="*/ 13335 h 97155"/>
                          <a:gd name="connsiteX14" fmla="*/ 41910 w 104775"/>
                          <a:gd name="connsiteY14" fmla="*/ 0 h 97155"/>
                          <a:gd name="connsiteX15" fmla="*/ 40005 w 104775"/>
                          <a:gd name="connsiteY15" fmla="*/ 13335 h 97155"/>
                          <a:gd name="connsiteX16" fmla="*/ 3810 w 104775"/>
                          <a:gd name="connsiteY16" fmla="*/ 20955 h 97155"/>
                          <a:gd name="connsiteX17" fmla="*/ 1905 w 104775"/>
                          <a:gd name="connsiteY17" fmla="*/ 28575 h 97155"/>
                          <a:gd name="connsiteX18" fmla="*/ 0 w 104775"/>
                          <a:gd name="connsiteY18" fmla="*/ 34290 h 97155"/>
                          <a:gd name="connsiteX19" fmla="*/ 5715 w 104775"/>
                          <a:gd name="connsiteY19" fmla="*/ 47625 h 97155"/>
                          <a:gd name="connsiteX20" fmla="*/ 5715 w 104775"/>
                          <a:gd name="connsiteY20" fmla="*/ 51435 h 97155"/>
                          <a:gd name="connsiteX21" fmla="*/ 17145 w 104775"/>
                          <a:gd name="connsiteY21" fmla="*/ 80010 h 97155"/>
                          <a:gd name="connsiteX0" fmla="*/ 19050 w 104775"/>
                          <a:gd name="connsiteY0" fmla="*/ 76298 h 97253"/>
                          <a:gd name="connsiteX1" fmla="*/ 24765 w 104775"/>
                          <a:gd name="connsiteY1" fmla="*/ 80108 h 97253"/>
                          <a:gd name="connsiteX2" fmla="*/ 28575 w 104775"/>
                          <a:gd name="connsiteY2" fmla="*/ 85823 h 97253"/>
                          <a:gd name="connsiteX3" fmla="*/ 32385 w 104775"/>
                          <a:gd name="connsiteY3" fmla="*/ 97253 h 97253"/>
                          <a:gd name="connsiteX4" fmla="*/ 81915 w 104775"/>
                          <a:gd name="connsiteY4" fmla="*/ 95348 h 97253"/>
                          <a:gd name="connsiteX5" fmla="*/ 87630 w 104775"/>
                          <a:gd name="connsiteY5" fmla="*/ 93443 h 97253"/>
                          <a:gd name="connsiteX6" fmla="*/ 89535 w 104775"/>
                          <a:gd name="connsiteY6" fmla="*/ 87728 h 97253"/>
                          <a:gd name="connsiteX7" fmla="*/ 93345 w 104775"/>
                          <a:gd name="connsiteY7" fmla="*/ 82013 h 97253"/>
                          <a:gd name="connsiteX8" fmla="*/ 95250 w 104775"/>
                          <a:gd name="connsiteY8" fmla="*/ 68678 h 97253"/>
                          <a:gd name="connsiteX9" fmla="*/ 100965 w 104775"/>
                          <a:gd name="connsiteY9" fmla="*/ 64868 h 97253"/>
                          <a:gd name="connsiteX10" fmla="*/ 104775 w 104775"/>
                          <a:gd name="connsiteY10" fmla="*/ 53438 h 97253"/>
                          <a:gd name="connsiteX11" fmla="*/ 100965 w 104775"/>
                          <a:gd name="connsiteY11" fmla="*/ 26768 h 97253"/>
                          <a:gd name="connsiteX12" fmla="*/ 99060 w 104775"/>
                          <a:gd name="connsiteY12" fmla="*/ 19148 h 97253"/>
                          <a:gd name="connsiteX13" fmla="*/ 95250 w 104775"/>
                          <a:gd name="connsiteY13" fmla="*/ 13433 h 97253"/>
                          <a:gd name="connsiteX14" fmla="*/ 41910 w 104775"/>
                          <a:gd name="connsiteY14" fmla="*/ 98 h 97253"/>
                          <a:gd name="connsiteX15" fmla="*/ 3810 w 104775"/>
                          <a:gd name="connsiteY15" fmla="*/ 21053 h 97253"/>
                          <a:gd name="connsiteX16" fmla="*/ 1905 w 104775"/>
                          <a:gd name="connsiteY16" fmla="*/ 28673 h 97253"/>
                          <a:gd name="connsiteX17" fmla="*/ 0 w 104775"/>
                          <a:gd name="connsiteY17" fmla="*/ 34388 h 97253"/>
                          <a:gd name="connsiteX18" fmla="*/ 5715 w 104775"/>
                          <a:gd name="connsiteY18" fmla="*/ 47723 h 97253"/>
                          <a:gd name="connsiteX19" fmla="*/ 5715 w 104775"/>
                          <a:gd name="connsiteY19" fmla="*/ 51533 h 97253"/>
                          <a:gd name="connsiteX20" fmla="*/ 17145 w 104775"/>
                          <a:gd name="connsiteY20" fmla="*/ 80108 h 97253"/>
                          <a:gd name="connsiteX0" fmla="*/ 19050 w 104775"/>
                          <a:gd name="connsiteY0" fmla="*/ 76205 h 97160"/>
                          <a:gd name="connsiteX1" fmla="*/ 24765 w 104775"/>
                          <a:gd name="connsiteY1" fmla="*/ 80015 h 97160"/>
                          <a:gd name="connsiteX2" fmla="*/ 28575 w 104775"/>
                          <a:gd name="connsiteY2" fmla="*/ 85730 h 97160"/>
                          <a:gd name="connsiteX3" fmla="*/ 32385 w 104775"/>
                          <a:gd name="connsiteY3" fmla="*/ 97160 h 97160"/>
                          <a:gd name="connsiteX4" fmla="*/ 81915 w 104775"/>
                          <a:gd name="connsiteY4" fmla="*/ 95255 h 97160"/>
                          <a:gd name="connsiteX5" fmla="*/ 87630 w 104775"/>
                          <a:gd name="connsiteY5" fmla="*/ 93350 h 97160"/>
                          <a:gd name="connsiteX6" fmla="*/ 89535 w 104775"/>
                          <a:gd name="connsiteY6" fmla="*/ 87635 h 97160"/>
                          <a:gd name="connsiteX7" fmla="*/ 93345 w 104775"/>
                          <a:gd name="connsiteY7" fmla="*/ 81920 h 97160"/>
                          <a:gd name="connsiteX8" fmla="*/ 95250 w 104775"/>
                          <a:gd name="connsiteY8" fmla="*/ 68585 h 97160"/>
                          <a:gd name="connsiteX9" fmla="*/ 100965 w 104775"/>
                          <a:gd name="connsiteY9" fmla="*/ 64775 h 97160"/>
                          <a:gd name="connsiteX10" fmla="*/ 104775 w 104775"/>
                          <a:gd name="connsiteY10" fmla="*/ 53345 h 97160"/>
                          <a:gd name="connsiteX11" fmla="*/ 100965 w 104775"/>
                          <a:gd name="connsiteY11" fmla="*/ 26675 h 97160"/>
                          <a:gd name="connsiteX12" fmla="*/ 99060 w 104775"/>
                          <a:gd name="connsiteY12" fmla="*/ 19055 h 97160"/>
                          <a:gd name="connsiteX13" fmla="*/ 41910 w 104775"/>
                          <a:gd name="connsiteY13" fmla="*/ 5 h 97160"/>
                          <a:gd name="connsiteX14" fmla="*/ 3810 w 104775"/>
                          <a:gd name="connsiteY14" fmla="*/ 20960 h 97160"/>
                          <a:gd name="connsiteX15" fmla="*/ 1905 w 104775"/>
                          <a:gd name="connsiteY15" fmla="*/ 28580 h 97160"/>
                          <a:gd name="connsiteX16" fmla="*/ 0 w 104775"/>
                          <a:gd name="connsiteY16" fmla="*/ 34295 h 97160"/>
                          <a:gd name="connsiteX17" fmla="*/ 5715 w 104775"/>
                          <a:gd name="connsiteY17" fmla="*/ 47630 h 97160"/>
                          <a:gd name="connsiteX18" fmla="*/ 5715 w 104775"/>
                          <a:gd name="connsiteY18" fmla="*/ 51440 h 97160"/>
                          <a:gd name="connsiteX19" fmla="*/ 17145 w 104775"/>
                          <a:gd name="connsiteY19" fmla="*/ 80015 h 97160"/>
                          <a:gd name="connsiteX0" fmla="*/ 19050 w 105971"/>
                          <a:gd name="connsiteY0" fmla="*/ 76238 h 97193"/>
                          <a:gd name="connsiteX1" fmla="*/ 24765 w 105971"/>
                          <a:gd name="connsiteY1" fmla="*/ 80048 h 97193"/>
                          <a:gd name="connsiteX2" fmla="*/ 28575 w 105971"/>
                          <a:gd name="connsiteY2" fmla="*/ 85763 h 97193"/>
                          <a:gd name="connsiteX3" fmla="*/ 32385 w 105971"/>
                          <a:gd name="connsiteY3" fmla="*/ 97193 h 97193"/>
                          <a:gd name="connsiteX4" fmla="*/ 81915 w 105971"/>
                          <a:gd name="connsiteY4" fmla="*/ 95288 h 97193"/>
                          <a:gd name="connsiteX5" fmla="*/ 87630 w 105971"/>
                          <a:gd name="connsiteY5" fmla="*/ 93383 h 97193"/>
                          <a:gd name="connsiteX6" fmla="*/ 89535 w 105971"/>
                          <a:gd name="connsiteY6" fmla="*/ 87668 h 97193"/>
                          <a:gd name="connsiteX7" fmla="*/ 93345 w 105971"/>
                          <a:gd name="connsiteY7" fmla="*/ 81953 h 97193"/>
                          <a:gd name="connsiteX8" fmla="*/ 95250 w 105971"/>
                          <a:gd name="connsiteY8" fmla="*/ 68618 h 97193"/>
                          <a:gd name="connsiteX9" fmla="*/ 100965 w 105971"/>
                          <a:gd name="connsiteY9" fmla="*/ 64808 h 97193"/>
                          <a:gd name="connsiteX10" fmla="*/ 104775 w 105971"/>
                          <a:gd name="connsiteY10" fmla="*/ 53378 h 97193"/>
                          <a:gd name="connsiteX11" fmla="*/ 100965 w 105971"/>
                          <a:gd name="connsiteY11" fmla="*/ 26708 h 97193"/>
                          <a:gd name="connsiteX12" fmla="*/ 41910 w 105971"/>
                          <a:gd name="connsiteY12" fmla="*/ 38 h 97193"/>
                          <a:gd name="connsiteX13" fmla="*/ 3810 w 105971"/>
                          <a:gd name="connsiteY13" fmla="*/ 20993 h 97193"/>
                          <a:gd name="connsiteX14" fmla="*/ 1905 w 105971"/>
                          <a:gd name="connsiteY14" fmla="*/ 28613 h 97193"/>
                          <a:gd name="connsiteX15" fmla="*/ 0 w 105971"/>
                          <a:gd name="connsiteY15" fmla="*/ 34328 h 97193"/>
                          <a:gd name="connsiteX16" fmla="*/ 5715 w 105971"/>
                          <a:gd name="connsiteY16" fmla="*/ 47663 h 97193"/>
                          <a:gd name="connsiteX17" fmla="*/ 5715 w 105971"/>
                          <a:gd name="connsiteY17" fmla="*/ 51473 h 97193"/>
                          <a:gd name="connsiteX18" fmla="*/ 17145 w 105971"/>
                          <a:gd name="connsiteY18" fmla="*/ 80048 h 97193"/>
                          <a:gd name="connsiteX0" fmla="*/ 19050 w 106250"/>
                          <a:gd name="connsiteY0" fmla="*/ 64875 h 85830"/>
                          <a:gd name="connsiteX1" fmla="*/ 24765 w 106250"/>
                          <a:gd name="connsiteY1" fmla="*/ 68685 h 85830"/>
                          <a:gd name="connsiteX2" fmla="*/ 28575 w 106250"/>
                          <a:gd name="connsiteY2" fmla="*/ 74400 h 85830"/>
                          <a:gd name="connsiteX3" fmla="*/ 32385 w 106250"/>
                          <a:gd name="connsiteY3" fmla="*/ 85830 h 85830"/>
                          <a:gd name="connsiteX4" fmla="*/ 81915 w 106250"/>
                          <a:gd name="connsiteY4" fmla="*/ 83925 h 85830"/>
                          <a:gd name="connsiteX5" fmla="*/ 87630 w 106250"/>
                          <a:gd name="connsiteY5" fmla="*/ 82020 h 85830"/>
                          <a:gd name="connsiteX6" fmla="*/ 89535 w 106250"/>
                          <a:gd name="connsiteY6" fmla="*/ 76305 h 85830"/>
                          <a:gd name="connsiteX7" fmla="*/ 93345 w 106250"/>
                          <a:gd name="connsiteY7" fmla="*/ 70590 h 85830"/>
                          <a:gd name="connsiteX8" fmla="*/ 95250 w 106250"/>
                          <a:gd name="connsiteY8" fmla="*/ 57255 h 85830"/>
                          <a:gd name="connsiteX9" fmla="*/ 100965 w 106250"/>
                          <a:gd name="connsiteY9" fmla="*/ 53445 h 85830"/>
                          <a:gd name="connsiteX10" fmla="*/ 104775 w 106250"/>
                          <a:gd name="connsiteY10" fmla="*/ 42015 h 85830"/>
                          <a:gd name="connsiteX11" fmla="*/ 100965 w 106250"/>
                          <a:gd name="connsiteY11" fmla="*/ 15345 h 85830"/>
                          <a:gd name="connsiteX12" fmla="*/ 38100 w 106250"/>
                          <a:gd name="connsiteY12" fmla="*/ 105 h 85830"/>
                          <a:gd name="connsiteX13" fmla="*/ 3810 w 106250"/>
                          <a:gd name="connsiteY13" fmla="*/ 9630 h 85830"/>
                          <a:gd name="connsiteX14" fmla="*/ 1905 w 106250"/>
                          <a:gd name="connsiteY14" fmla="*/ 17250 h 85830"/>
                          <a:gd name="connsiteX15" fmla="*/ 0 w 106250"/>
                          <a:gd name="connsiteY15" fmla="*/ 22965 h 85830"/>
                          <a:gd name="connsiteX16" fmla="*/ 5715 w 106250"/>
                          <a:gd name="connsiteY16" fmla="*/ 36300 h 85830"/>
                          <a:gd name="connsiteX17" fmla="*/ 5715 w 106250"/>
                          <a:gd name="connsiteY17" fmla="*/ 40110 h 85830"/>
                          <a:gd name="connsiteX18" fmla="*/ 17145 w 106250"/>
                          <a:gd name="connsiteY18" fmla="*/ 68685 h 8583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</a:cxnLst>
                        <a:rect l="l" t="t" r="r" b="b"/>
                        <a:pathLst>
                          <a:path w="106250" h="85830">
                            <a:moveTo>
                              <a:pt x="19050" y="64875"/>
                            </a:moveTo>
                            <a:cubicBezTo>
                              <a:pt x="19050" y="69955"/>
                              <a:pt x="22860" y="67415"/>
                              <a:pt x="24765" y="68685"/>
                            </a:cubicBezTo>
                            <a:cubicBezTo>
                              <a:pt x="26035" y="70590"/>
                              <a:pt x="27645" y="72308"/>
                              <a:pt x="28575" y="74400"/>
                            </a:cubicBezTo>
                            <a:cubicBezTo>
                              <a:pt x="30206" y="78070"/>
                              <a:pt x="32385" y="85830"/>
                              <a:pt x="32385" y="85830"/>
                            </a:cubicBezTo>
                            <a:cubicBezTo>
                              <a:pt x="48895" y="85195"/>
                              <a:pt x="65432" y="85062"/>
                              <a:pt x="81915" y="83925"/>
                            </a:cubicBezTo>
                            <a:cubicBezTo>
                              <a:pt x="83918" y="83787"/>
                              <a:pt x="86210" y="83440"/>
                              <a:pt x="87630" y="82020"/>
                            </a:cubicBezTo>
                            <a:cubicBezTo>
                              <a:pt x="89050" y="80600"/>
                              <a:pt x="88637" y="78101"/>
                              <a:pt x="89535" y="76305"/>
                            </a:cubicBezTo>
                            <a:cubicBezTo>
                              <a:pt x="90559" y="74257"/>
                              <a:pt x="92075" y="72495"/>
                              <a:pt x="93345" y="70590"/>
                            </a:cubicBezTo>
                            <a:cubicBezTo>
                              <a:pt x="93980" y="66145"/>
                              <a:pt x="93426" y="61358"/>
                              <a:pt x="95250" y="57255"/>
                            </a:cubicBezTo>
                            <a:cubicBezTo>
                              <a:pt x="96180" y="55163"/>
                              <a:pt x="99752" y="55387"/>
                              <a:pt x="100965" y="53445"/>
                            </a:cubicBezTo>
                            <a:cubicBezTo>
                              <a:pt x="103094" y="50039"/>
                              <a:pt x="104775" y="42015"/>
                              <a:pt x="104775" y="42015"/>
                            </a:cubicBezTo>
                            <a:cubicBezTo>
                              <a:pt x="101728" y="8500"/>
                              <a:pt x="112077" y="22330"/>
                              <a:pt x="100965" y="15345"/>
                            </a:cubicBezTo>
                            <a:cubicBezTo>
                              <a:pt x="89853" y="8360"/>
                              <a:pt x="54292" y="1057"/>
                              <a:pt x="38100" y="105"/>
                            </a:cubicBezTo>
                            <a:cubicBezTo>
                              <a:pt x="21908" y="-847"/>
                              <a:pt x="10477" y="4868"/>
                              <a:pt x="3810" y="9630"/>
                            </a:cubicBezTo>
                            <a:cubicBezTo>
                              <a:pt x="3175" y="12170"/>
                              <a:pt x="2624" y="14733"/>
                              <a:pt x="1905" y="17250"/>
                            </a:cubicBezTo>
                            <a:cubicBezTo>
                              <a:pt x="1353" y="19181"/>
                              <a:pt x="0" y="20957"/>
                              <a:pt x="0" y="22965"/>
                            </a:cubicBezTo>
                            <a:cubicBezTo>
                              <a:pt x="0" y="32673"/>
                              <a:pt x="2604" y="28523"/>
                              <a:pt x="5715" y="36300"/>
                            </a:cubicBezTo>
                            <a:cubicBezTo>
                              <a:pt x="6187" y="37479"/>
                              <a:pt x="3810" y="34713"/>
                              <a:pt x="5715" y="40110"/>
                            </a:cubicBezTo>
                            <a:cubicBezTo>
                              <a:pt x="7620" y="45507"/>
                              <a:pt x="13335" y="59160"/>
                              <a:pt x="17145" y="68685"/>
                            </a:cubicBezTo>
                          </a:path>
                        </a:pathLst>
                      </a:custGeom>
                      <a:grpFill/>
                      <a:ln w="3175" cap="flat" cmpd="sng" algn="ctr">
                        <a:solidFill>
                          <a:srgbClr val="F2E8F8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66" name="Freeform: Shape 51">
                        <a:extLst>
                          <a:ext uri="{FF2B5EF4-FFF2-40B4-BE49-F238E27FC236}">
                            <a16:creationId xmlns:a16="http://schemas.microsoft.com/office/drawing/2014/main" id="{A37CDBB8-0F5C-FD8D-1E68-42CCA69548B0}"/>
                          </a:ext>
                        </a:extLst>
                      </p:cNvPr>
                      <p:cNvSpPr/>
                      <p:nvPr/>
                    </p:nvSpPr>
                    <p:spPr>
                      <a:xfrm rot="20582585">
                        <a:off x="8817085" y="4302941"/>
                        <a:ext cx="27432" cy="36576"/>
                      </a:xfrm>
                      <a:custGeom>
                        <a:avLst/>
                        <a:gdLst>
                          <a:gd name="connsiteX0" fmla="*/ 57150 w 104775"/>
                          <a:gd name="connsiteY0" fmla="*/ 76200 h 127635"/>
                          <a:gd name="connsiteX1" fmla="*/ 57150 w 104775"/>
                          <a:gd name="connsiteY1" fmla="*/ 76200 h 127635"/>
                          <a:gd name="connsiteX2" fmla="*/ 24765 w 104775"/>
                          <a:gd name="connsiteY2" fmla="*/ 80010 h 127635"/>
                          <a:gd name="connsiteX3" fmla="*/ 19050 w 104775"/>
                          <a:gd name="connsiteY3" fmla="*/ 83820 h 127635"/>
                          <a:gd name="connsiteX4" fmla="*/ 19050 w 104775"/>
                          <a:gd name="connsiteY4" fmla="*/ 106680 h 127635"/>
                          <a:gd name="connsiteX5" fmla="*/ 24765 w 104775"/>
                          <a:gd name="connsiteY5" fmla="*/ 110490 h 127635"/>
                          <a:gd name="connsiteX6" fmla="*/ 28575 w 104775"/>
                          <a:gd name="connsiteY6" fmla="*/ 116205 h 127635"/>
                          <a:gd name="connsiteX7" fmla="*/ 32385 w 104775"/>
                          <a:gd name="connsiteY7" fmla="*/ 127635 h 127635"/>
                          <a:gd name="connsiteX8" fmla="*/ 81915 w 104775"/>
                          <a:gd name="connsiteY8" fmla="*/ 125730 h 127635"/>
                          <a:gd name="connsiteX9" fmla="*/ 87630 w 104775"/>
                          <a:gd name="connsiteY9" fmla="*/ 123825 h 127635"/>
                          <a:gd name="connsiteX10" fmla="*/ 89535 w 104775"/>
                          <a:gd name="connsiteY10" fmla="*/ 118110 h 127635"/>
                          <a:gd name="connsiteX11" fmla="*/ 93345 w 104775"/>
                          <a:gd name="connsiteY11" fmla="*/ 112395 h 127635"/>
                          <a:gd name="connsiteX12" fmla="*/ 95250 w 104775"/>
                          <a:gd name="connsiteY12" fmla="*/ 99060 h 127635"/>
                          <a:gd name="connsiteX13" fmla="*/ 100965 w 104775"/>
                          <a:gd name="connsiteY13" fmla="*/ 95250 h 127635"/>
                          <a:gd name="connsiteX14" fmla="*/ 104775 w 104775"/>
                          <a:gd name="connsiteY14" fmla="*/ 83820 h 127635"/>
                          <a:gd name="connsiteX15" fmla="*/ 100965 w 104775"/>
                          <a:gd name="connsiteY15" fmla="*/ 57150 h 127635"/>
                          <a:gd name="connsiteX16" fmla="*/ 99060 w 104775"/>
                          <a:gd name="connsiteY16" fmla="*/ 49530 h 127635"/>
                          <a:gd name="connsiteX17" fmla="*/ 95250 w 104775"/>
                          <a:gd name="connsiteY17" fmla="*/ 43815 h 127635"/>
                          <a:gd name="connsiteX18" fmla="*/ 91440 w 104775"/>
                          <a:gd name="connsiteY18" fmla="*/ 32385 h 127635"/>
                          <a:gd name="connsiteX19" fmla="*/ 81915 w 104775"/>
                          <a:gd name="connsiteY19" fmla="*/ 15240 h 127635"/>
                          <a:gd name="connsiteX20" fmla="*/ 70485 w 104775"/>
                          <a:gd name="connsiteY20" fmla="*/ 3810 h 127635"/>
                          <a:gd name="connsiteX21" fmla="*/ 59055 w 104775"/>
                          <a:gd name="connsiteY21" fmla="*/ 0 h 127635"/>
                          <a:gd name="connsiteX22" fmla="*/ 45720 w 104775"/>
                          <a:gd name="connsiteY22" fmla="*/ 1905 h 127635"/>
                          <a:gd name="connsiteX23" fmla="*/ 43815 w 104775"/>
                          <a:gd name="connsiteY23" fmla="*/ 19050 h 127635"/>
                          <a:gd name="connsiteX24" fmla="*/ 41910 w 104775"/>
                          <a:gd name="connsiteY24" fmla="*/ 30480 h 127635"/>
                          <a:gd name="connsiteX25" fmla="*/ 40005 w 104775"/>
                          <a:gd name="connsiteY25" fmla="*/ 43815 h 127635"/>
                          <a:gd name="connsiteX26" fmla="*/ 28575 w 104775"/>
                          <a:gd name="connsiteY26" fmla="*/ 49530 h 127635"/>
                          <a:gd name="connsiteX27" fmla="*/ 3810 w 104775"/>
                          <a:gd name="connsiteY27" fmla="*/ 51435 h 127635"/>
                          <a:gd name="connsiteX28" fmla="*/ 1905 w 104775"/>
                          <a:gd name="connsiteY28" fmla="*/ 59055 h 127635"/>
                          <a:gd name="connsiteX29" fmla="*/ 0 w 104775"/>
                          <a:gd name="connsiteY29" fmla="*/ 64770 h 127635"/>
                          <a:gd name="connsiteX30" fmla="*/ 5715 w 104775"/>
                          <a:gd name="connsiteY30" fmla="*/ 78105 h 127635"/>
                          <a:gd name="connsiteX31" fmla="*/ 5715 w 104775"/>
                          <a:gd name="connsiteY31" fmla="*/ 81915 h 127635"/>
                          <a:gd name="connsiteX32" fmla="*/ 5715 w 104775"/>
                          <a:gd name="connsiteY32" fmla="*/ 87630 h 127635"/>
                          <a:gd name="connsiteX0" fmla="*/ 57150 w 104775"/>
                          <a:gd name="connsiteY0" fmla="*/ 76200 h 127635"/>
                          <a:gd name="connsiteX1" fmla="*/ 24765 w 104775"/>
                          <a:gd name="connsiteY1" fmla="*/ 80010 h 127635"/>
                          <a:gd name="connsiteX2" fmla="*/ 19050 w 104775"/>
                          <a:gd name="connsiteY2" fmla="*/ 83820 h 127635"/>
                          <a:gd name="connsiteX3" fmla="*/ 19050 w 104775"/>
                          <a:gd name="connsiteY3" fmla="*/ 106680 h 127635"/>
                          <a:gd name="connsiteX4" fmla="*/ 24765 w 104775"/>
                          <a:gd name="connsiteY4" fmla="*/ 110490 h 127635"/>
                          <a:gd name="connsiteX5" fmla="*/ 28575 w 104775"/>
                          <a:gd name="connsiteY5" fmla="*/ 116205 h 127635"/>
                          <a:gd name="connsiteX6" fmla="*/ 32385 w 104775"/>
                          <a:gd name="connsiteY6" fmla="*/ 127635 h 127635"/>
                          <a:gd name="connsiteX7" fmla="*/ 81915 w 104775"/>
                          <a:gd name="connsiteY7" fmla="*/ 125730 h 127635"/>
                          <a:gd name="connsiteX8" fmla="*/ 87630 w 104775"/>
                          <a:gd name="connsiteY8" fmla="*/ 123825 h 127635"/>
                          <a:gd name="connsiteX9" fmla="*/ 89535 w 104775"/>
                          <a:gd name="connsiteY9" fmla="*/ 118110 h 127635"/>
                          <a:gd name="connsiteX10" fmla="*/ 93345 w 104775"/>
                          <a:gd name="connsiteY10" fmla="*/ 112395 h 127635"/>
                          <a:gd name="connsiteX11" fmla="*/ 95250 w 104775"/>
                          <a:gd name="connsiteY11" fmla="*/ 99060 h 127635"/>
                          <a:gd name="connsiteX12" fmla="*/ 100965 w 104775"/>
                          <a:gd name="connsiteY12" fmla="*/ 95250 h 127635"/>
                          <a:gd name="connsiteX13" fmla="*/ 104775 w 104775"/>
                          <a:gd name="connsiteY13" fmla="*/ 83820 h 127635"/>
                          <a:gd name="connsiteX14" fmla="*/ 100965 w 104775"/>
                          <a:gd name="connsiteY14" fmla="*/ 57150 h 127635"/>
                          <a:gd name="connsiteX15" fmla="*/ 99060 w 104775"/>
                          <a:gd name="connsiteY15" fmla="*/ 49530 h 127635"/>
                          <a:gd name="connsiteX16" fmla="*/ 95250 w 104775"/>
                          <a:gd name="connsiteY16" fmla="*/ 43815 h 127635"/>
                          <a:gd name="connsiteX17" fmla="*/ 91440 w 104775"/>
                          <a:gd name="connsiteY17" fmla="*/ 32385 h 127635"/>
                          <a:gd name="connsiteX18" fmla="*/ 81915 w 104775"/>
                          <a:gd name="connsiteY18" fmla="*/ 15240 h 127635"/>
                          <a:gd name="connsiteX19" fmla="*/ 70485 w 104775"/>
                          <a:gd name="connsiteY19" fmla="*/ 3810 h 127635"/>
                          <a:gd name="connsiteX20" fmla="*/ 59055 w 104775"/>
                          <a:gd name="connsiteY20" fmla="*/ 0 h 127635"/>
                          <a:gd name="connsiteX21" fmla="*/ 45720 w 104775"/>
                          <a:gd name="connsiteY21" fmla="*/ 1905 h 127635"/>
                          <a:gd name="connsiteX22" fmla="*/ 43815 w 104775"/>
                          <a:gd name="connsiteY22" fmla="*/ 19050 h 127635"/>
                          <a:gd name="connsiteX23" fmla="*/ 41910 w 104775"/>
                          <a:gd name="connsiteY23" fmla="*/ 30480 h 127635"/>
                          <a:gd name="connsiteX24" fmla="*/ 40005 w 104775"/>
                          <a:gd name="connsiteY24" fmla="*/ 43815 h 127635"/>
                          <a:gd name="connsiteX25" fmla="*/ 28575 w 104775"/>
                          <a:gd name="connsiteY25" fmla="*/ 49530 h 127635"/>
                          <a:gd name="connsiteX26" fmla="*/ 3810 w 104775"/>
                          <a:gd name="connsiteY26" fmla="*/ 51435 h 127635"/>
                          <a:gd name="connsiteX27" fmla="*/ 1905 w 104775"/>
                          <a:gd name="connsiteY27" fmla="*/ 59055 h 127635"/>
                          <a:gd name="connsiteX28" fmla="*/ 0 w 104775"/>
                          <a:gd name="connsiteY28" fmla="*/ 64770 h 127635"/>
                          <a:gd name="connsiteX29" fmla="*/ 5715 w 104775"/>
                          <a:gd name="connsiteY29" fmla="*/ 78105 h 127635"/>
                          <a:gd name="connsiteX30" fmla="*/ 5715 w 104775"/>
                          <a:gd name="connsiteY30" fmla="*/ 81915 h 127635"/>
                          <a:gd name="connsiteX31" fmla="*/ 5715 w 104775"/>
                          <a:gd name="connsiteY31" fmla="*/ 87630 h 127635"/>
                          <a:gd name="connsiteX0" fmla="*/ 24765 w 104775"/>
                          <a:gd name="connsiteY0" fmla="*/ 80010 h 127635"/>
                          <a:gd name="connsiteX1" fmla="*/ 19050 w 104775"/>
                          <a:gd name="connsiteY1" fmla="*/ 83820 h 127635"/>
                          <a:gd name="connsiteX2" fmla="*/ 19050 w 104775"/>
                          <a:gd name="connsiteY2" fmla="*/ 106680 h 127635"/>
                          <a:gd name="connsiteX3" fmla="*/ 24765 w 104775"/>
                          <a:gd name="connsiteY3" fmla="*/ 110490 h 127635"/>
                          <a:gd name="connsiteX4" fmla="*/ 28575 w 104775"/>
                          <a:gd name="connsiteY4" fmla="*/ 116205 h 127635"/>
                          <a:gd name="connsiteX5" fmla="*/ 32385 w 104775"/>
                          <a:gd name="connsiteY5" fmla="*/ 127635 h 127635"/>
                          <a:gd name="connsiteX6" fmla="*/ 81915 w 104775"/>
                          <a:gd name="connsiteY6" fmla="*/ 125730 h 127635"/>
                          <a:gd name="connsiteX7" fmla="*/ 87630 w 104775"/>
                          <a:gd name="connsiteY7" fmla="*/ 123825 h 127635"/>
                          <a:gd name="connsiteX8" fmla="*/ 89535 w 104775"/>
                          <a:gd name="connsiteY8" fmla="*/ 118110 h 127635"/>
                          <a:gd name="connsiteX9" fmla="*/ 93345 w 104775"/>
                          <a:gd name="connsiteY9" fmla="*/ 112395 h 127635"/>
                          <a:gd name="connsiteX10" fmla="*/ 95250 w 104775"/>
                          <a:gd name="connsiteY10" fmla="*/ 99060 h 127635"/>
                          <a:gd name="connsiteX11" fmla="*/ 100965 w 104775"/>
                          <a:gd name="connsiteY11" fmla="*/ 95250 h 127635"/>
                          <a:gd name="connsiteX12" fmla="*/ 104775 w 104775"/>
                          <a:gd name="connsiteY12" fmla="*/ 83820 h 127635"/>
                          <a:gd name="connsiteX13" fmla="*/ 100965 w 104775"/>
                          <a:gd name="connsiteY13" fmla="*/ 57150 h 127635"/>
                          <a:gd name="connsiteX14" fmla="*/ 99060 w 104775"/>
                          <a:gd name="connsiteY14" fmla="*/ 49530 h 127635"/>
                          <a:gd name="connsiteX15" fmla="*/ 95250 w 104775"/>
                          <a:gd name="connsiteY15" fmla="*/ 43815 h 127635"/>
                          <a:gd name="connsiteX16" fmla="*/ 91440 w 104775"/>
                          <a:gd name="connsiteY16" fmla="*/ 32385 h 127635"/>
                          <a:gd name="connsiteX17" fmla="*/ 81915 w 104775"/>
                          <a:gd name="connsiteY17" fmla="*/ 15240 h 127635"/>
                          <a:gd name="connsiteX18" fmla="*/ 70485 w 104775"/>
                          <a:gd name="connsiteY18" fmla="*/ 3810 h 127635"/>
                          <a:gd name="connsiteX19" fmla="*/ 59055 w 104775"/>
                          <a:gd name="connsiteY19" fmla="*/ 0 h 127635"/>
                          <a:gd name="connsiteX20" fmla="*/ 45720 w 104775"/>
                          <a:gd name="connsiteY20" fmla="*/ 1905 h 127635"/>
                          <a:gd name="connsiteX21" fmla="*/ 43815 w 104775"/>
                          <a:gd name="connsiteY21" fmla="*/ 19050 h 127635"/>
                          <a:gd name="connsiteX22" fmla="*/ 41910 w 104775"/>
                          <a:gd name="connsiteY22" fmla="*/ 30480 h 127635"/>
                          <a:gd name="connsiteX23" fmla="*/ 40005 w 104775"/>
                          <a:gd name="connsiteY23" fmla="*/ 43815 h 127635"/>
                          <a:gd name="connsiteX24" fmla="*/ 28575 w 104775"/>
                          <a:gd name="connsiteY24" fmla="*/ 49530 h 127635"/>
                          <a:gd name="connsiteX25" fmla="*/ 3810 w 104775"/>
                          <a:gd name="connsiteY25" fmla="*/ 51435 h 127635"/>
                          <a:gd name="connsiteX26" fmla="*/ 1905 w 104775"/>
                          <a:gd name="connsiteY26" fmla="*/ 59055 h 127635"/>
                          <a:gd name="connsiteX27" fmla="*/ 0 w 104775"/>
                          <a:gd name="connsiteY27" fmla="*/ 64770 h 127635"/>
                          <a:gd name="connsiteX28" fmla="*/ 5715 w 104775"/>
                          <a:gd name="connsiteY28" fmla="*/ 78105 h 127635"/>
                          <a:gd name="connsiteX29" fmla="*/ 5715 w 104775"/>
                          <a:gd name="connsiteY29" fmla="*/ 81915 h 127635"/>
                          <a:gd name="connsiteX30" fmla="*/ 5715 w 104775"/>
                          <a:gd name="connsiteY30" fmla="*/ 87630 h 127635"/>
                          <a:gd name="connsiteX0" fmla="*/ 24765 w 104775"/>
                          <a:gd name="connsiteY0" fmla="*/ 80010 h 127635"/>
                          <a:gd name="connsiteX1" fmla="*/ 19050 w 104775"/>
                          <a:gd name="connsiteY1" fmla="*/ 106680 h 127635"/>
                          <a:gd name="connsiteX2" fmla="*/ 24765 w 104775"/>
                          <a:gd name="connsiteY2" fmla="*/ 110490 h 127635"/>
                          <a:gd name="connsiteX3" fmla="*/ 28575 w 104775"/>
                          <a:gd name="connsiteY3" fmla="*/ 116205 h 127635"/>
                          <a:gd name="connsiteX4" fmla="*/ 32385 w 104775"/>
                          <a:gd name="connsiteY4" fmla="*/ 127635 h 127635"/>
                          <a:gd name="connsiteX5" fmla="*/ 81915 w 104775"/>
                          <a:gd name="connsiteY5" fmla="*/ 125730 h 127635"/>
                          <a:gd name="connsiteX6" fmla="*/ 87630 w 104775"/>
                          <a:gd name="connsiteY6" fmla="*/ 123825 h 127635"/>
                          <a:gd name="connsiteX7" fmla="*/ 89535 w 104775"/>
                          <a:gd name="connsiteY7" fmla="*/ 118110 h 127635"/>
                          <a:gd name="connsiteX8" fmla="*/ 93345 w 104775"/>
                          <a:gd name="connsiteY8" fmla="*/ 112395 h 127635"/>
                          <a:gd name="connsiteX9" fmla="*/ 95250 w 104775"/>
                          <a:gd name="connsiteY9" fmla="*/ 99060 h 127635"/>
                          <a:gd name="connsiteX10" fmla="*/ 100965 w 104775"/>
                          <a:gd name="connsiteY10" fmla="*/ 95250 h 127635"/>
                          <a:gd name="connsiteX11" fmla="*/ 104775 w 104775"/>
                          <a:gd name="connsiteY11" fmla="*/ 83820 h 127635"/>
                          <a:gd name="connsiteX12" fmla="*/ 100965 w 104775"/>
                          <a:gd name="connsiteY12" fmla="*/ 57150 h 127635"/>
                          <a:gd name="connsiteX13" fmla="*/ 99060 w 104775"/>
                          <a:gd name="connsiteY13" fmla="*/ 49530 h 127635"/>
                          <a:gd name="connsiteX14" fmla="*/ 95250 w 104775"/>
                          <a:gd name="connsiteY14" fmla="*/ 43815 h 127635"/>
                          <a:gd name="connsiteX15" fmla="*/ 91440 w 104775"/>
                          <a:gd name="connsiteY15" fmla="*/ 32385 h 127635"/>
                          <a:gd name="connsiteX16" fmla="*/ 81915 w 104775"/>
                          <a:gd name="connsiteY16" fmla="*/ 15240 h 127635"/>
                          <a:gd name="connsiteX17" fmla="*/ 70485 w 104775"/>
                          <a:gd name="connsiteY17" fmla="*/ 3810 h 127635"/>
                          <a:gd name="connsiteX18" fmla="*/ 59055 w 104775"/>
                          <a:gd name="connsiteY18" fmla="*/ 0 h 127635"/>
                          <a:gd name="connsiteX19" fmla="*/ 45720 w 104775"/>
                          <a:gd name="connsiteY19" fmla="*/ 1905 h 127635"/>
                          <a:gd name="connsiteX20" fmla="*/ 43815 w 104775"/>
                          <a:gd name="connsiteY20" fmla="*/ 19050 h 127635"/>
                          <a:gd name="connsiteX21" fmla="*/ 41910 w 104775"/>
                          <a:gd name="connsiteY21" fmla="*/ 30480 h 127635"/>
                          <a:gd name="connsiteX22" fmla="*/ 40005 w 104775"/>
                          <a:gd name="connsiteY22" fmla="*/ 43815 h 127635"/>
                          <a:gd name="connsiteX23" fmla="*/ 28575 w 104775"/>
                          <a:gd name="connsiteY23" fmla="*/ 49530 h 127635"/>
                          <a:gd name="connsiteX24" fmla="*/ 3810 w 104775"/>
                          <a:gd name="connsiteY24" fmla="*/ 51435 h 127635"/>
                          <a:gd name="connsiteX25" fmla="*/ 1905 w 104775"/>
                          <a:gd name="connsiteY25" fmla="*/ 59055 h 127635"/>
                          <a:gd name="connsiteX26" fmla="*/ 0 w 104775"/>
                          <a:gd name="connsiteY26" fmla="*/ 64770 h 127635"/>
                          <a:gd name="connsiteX27" fmla="*/ 5715 w 104775"/>
                          <a:gd name="connsiteY27" fmla="*/ 78105 h 127635"/>
                          <a:gd name="connsiteX28" fmla="*/ 5715 w 104775"/>
                          <a:gd name="connsiteY28" fmla="*/ 81915 h 127635"/>
                          <a:gd name="connsiteX29" fmla="*/ 5715 w 104775"/>
                          <a:gd name="connsiteY29" fmla="*/ 8763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5715 w 104775"/>
                          <a:gd name="connsiteY28" fmla="*/ 8763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17145 w 104775"/>
                          <a:gd name="connsiteY28" fmla="*/ 11049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17145 w 104775"/>
                          <a:gd name="connsiteY28" fmla="*/ 110490 h 127635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81915 w 104775"/>
                          <a:gd name="connsiteY15" fmla="*/ 16019 h 128414"/>
                          <a:gd name="connsiteX16" fmla="*/ 70485 w 104775"/>
                          <a:gd name="connsiteY16" fmla="*/ 4589 h 128414"/>
                          <a:gd name="connsiteX17" fmla="*/ 59055 w 104775"/>
                          <a:gd name="connsiteY17" fmla="*/ 779 h 128414"/>
                          <a:gd name="connsiteX18" fmla="*/ 45720 w 104775"/>
                          <a:gd name="connsiteY18" fmla="*/ 2684 h 128414"/>
                          <a:gd name="connsiteX19" fmla="*/ 41910 w 104775"/>
                          <a:gd name="connsiteY19" fmla="*/ 31259 h 128414"/>
                          <a:gd name="connsiteX20" fmla="*/ 40005 w 104775"/>
                          <a:gd name="connsiteY20" fmla="*/ 44594 h 128414"/>
                          <a:gd name="connsiteX21" fmla="*/ 28575 w 104775"/>
                          <a:gd name="connsiteY21" fmla="*/ 50309 h 128414"/>
                          <a:gd name="connsiteX22" fmla="*/ 3810 w 104775"/>
                          <a:gd name="connsiteY22" fmla="*/ 52214 h 128414"/>
                          <a:gd name="connsiteX23" fmla="*/ 1905 w 104775"/>
                          <a:gd name="connsiteY23" fmla="*/ 59834 h 128414"/>
                          <a:gd name="connsiteX24" fmla="*/ 0 w 104775"/>
                          <a:gd name="connsiteY24" fmla="*/ 65549 h 128414"/>
                          <a:gd name="connsiteX25" fmla="*/ 5715 w 104775"/>
                          <a:gd name="connsiteY25" fmla="*/ 78884 h 128414"/>
                          <a:gd name="connsiteX26" fmla="*/ 5715 w 104775"/>
                          <a:gd name="connsiteY26" fmla="*/ 82694 h 128414"/>
                          <a:gd name="connsiteX27" fmla="*/ 17145 w 104775"/>
                          <a:gd name="connsiteY27" fmla="*/ 111269 h 128414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70485 w 104775"/>
                          <a:gd name="connsiteY15" fmla="*/ 4589 h 128414"/>
                          <a:gd name="connsiteX16" fmla="*/ 59055 w 104775"/>
                          <a:gd name="connsiteY16" fmla="*/ 779 h 128414"/>
                          <a:gd name="connsiteX17" fmla="*/ 45720 w 104775"/>
                          <a:gd name="connsiteY17" fmla="*/ 2684 h 128414"/>
                          <a:gd name="connsiteX18" fmla="*/ 41910 w 104775"/>
                          <a:gd name="connsiteY18" fmla="*/ 31259 h 128414"/>
                          <a:gd name="connsiteX19" fmla="*/ 40005 w 104775"/>
                          <a:gd name="connsiteY19" fmla="*/ 44594 h 128414"/>
                          <a:gd name="connsiteX20" fmla="*/ 28575 w 104775"/>
                          <a:gd name="connsiteY20" fmla="*/ 50309 h 128414"/>
                          <a:gd name="connsiteX21" fmla="*/ 3810 w 104775"/>
                          <a:gd name="connsiteY21" fmla="*/ 52214 h 128414"/>
                          <a:gd name="connsiteX22" fmla="*/ 1905 w 104775"/>
                          <a:gd name="connsiteY22" fmla="*/ 59834 h 128414"/>
                          <a:gd name="connsiteX23" fmla="*/ 0 w 104775"/>
                          <a:gd name="connsiteY23" fmla="*/ 65549 h 128414"/>
                          <a:gd name="connsiteX24" fmla="*/ 5715 w 104775"/>
                          <a:gd name="connsiteY24" fmla="*/ 78884 h 128414"/>
                          <a:gd name="connsiteX25" fmla="*/ 5715 w 104775"/>
                          <a:gd name="connsiteY25" fmla="*/ 82694 h 128414"/>
                          <a:gd name="connsiteX26" fmla="*/ 17145 w 104775"/>
                          <a:gd name="connsiteY26" fmla="*/ 111269 h 128414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70485 w 104775"/>
                          <a:gd name="connsiteY15" fmla="*/ 4589 h 128414"/>
                          <a:gd name="connsiteX16" fmla="*/ 59055 w 104775"/>
                          <a:gd name="connsiteY16" fmla="*/ 779 h 128414"/>
                          <a:gd name="connsiteX17" fmla="*/ 45720 w 104775"/>
                          <a:gd name="connsiteY17" fmla="*/ 2684 h 128414"/>
                          <a:gd name="connsiteX18" fmla="*/ 41910 w 104775"/>
                          <a:gd name="connsiteY18" fmla="*/ 31259 h 128414"/>
                          <a:gd name="connsiteX19" fmla="*/ 40005 w 104775"/>
                          <a:gd name="connsiteY19" fmla="*/ 44594 h 128414"/>
                          <a:gd name="connsiteX20" fmla="*/ 3810 w 104775"/>
                          <a:gd name="connsiteY20" fmla="*/ 52214 h 128414"/>
                          <a:gd name="connsiteX21" fmla="*/ 1905 w 104775"/>
                          <a:gd name="connsiteY21" fmla="*/ 59834 h 128414"/>
                          <a:gd name="connsiteX22" fmla="*/ 0 w 104775"/>
                          <a:gd name="connsiteY22" fmla="*/ 65549 h 128414"/>
                          <a:gd name="connsiteX23" fmla="*/ 5715 w 104775"/>
                          <a:gd name="connsiteY23" fmla="*/ 78884 h 128414"/>
                          <a:gd name="connsiteX24" fmla="*/ 5715 w 104775"/>
                          <a:gd name="connsiteY24" fmla="*/ 82694 h 128414"/>
                          <a:gd name="connsiteX25" fmla="*/ 17145 w 104775"/>
                          <a:gd name="connsiteY25" fmla="*/ 111269 h 128414"/>
                          <a:gd name="connsiteX0" fmla="*/ 19050 w 104775"/>
                          <a:gd name="connsiteY0" fmla="*/ 107492 h 128447"/>
                          <a:gd name="connsiteX1" fmla="*/ 24765 w 104775"/>
                          <a:gd name="connsiteY1" fmla="*/ 111302 h 128447"/>
                          <a:gd name="connsiteX2" fmla="*/ 28575 w 104775"/>
                          <a:gd name="connsiteY2" fmla="*/ 117017 h 128447"/>
                          <a:gd name="connsiteX3" fmla="*/ 32385 w 104775"/>
                          <a:gd name="connsiteY3" fmla="*/ 128447 h 128447"/>
                          <a:gd name="connsiteX4" fmla="*/ 81915 w 104775"/>
                          <a:gd name="connsiteY4" fmla="*/ 126542 h 128447"/>
                          <a:gd name="connsiteX5" fmla="*/ 87630 w 104775"/>
                          <a:gd name="connsiteY5" fmla="*/ 124637 h 128447"/>
                          <a:gd name="connsiteX6" fmla="*/ 89535 w 104775"/>
                          <a:gd name="connsiteY6" fmla="*/ 118922 h 128447"/>
                          <a:gd name="connsiteX7" fmla="*/ 93345 w 104775"/>
                          <a:gd name="connsiteY7" fmla="*/ 113207 h 128447"/>
                          <a:gd name="connsiteX8" fmla="*/ 95250 w 104775"/>
                          <a:gd name="connsiteY8" fmla="*/ 99872 h 128447"/>
                          <a:gd name="connsiteX9" fmla="*/ 100965 w 104775"/>
                          <a:gd name="connsiteY9" fmla="*/ 96062 h 128447"/>
                          <a:gd name="connsiteX10" fmla="*/ 104775 w 104775"/>
                          <a:gd name="connsiteY10" fmla="*/ 84632 h 128447"/>
                          <a:gd name="connsiteX11" fmla="*/ 100965 w 104775"/>
                          <a:gd name="connsiteY11" fmla="*/ 57962 h 128447"/>
                          <a:gd name="connsiteX12" fmla="*/ 99060 w 104775"/>
                          <a:gd name="connsiteY12" fmla="*/ 50342 h 128447"/>
                          <a:gd name="connsiteX13" fmla="*/ 95250 w 104775"/>
                          <a:gd name="connsiteY13" fmla="*/ 44627 h 128447"/>
                          <a:gd name="connsiteX14" fmla="*/ 91440 w 104775"/>
                          <a:gd name="connsiteY14" fmla="*/ 33197 h 128447"/>
                          <a:gd name="connsiteX15" fmla="*/ 70485 w 104775"/>
                          <a:gd name="connsiteY15" fmla="*/ 4622 h 128447"/>
                          <a:gd name="connsiteX16" fmla="*/ 45720 w 104775"/>
                          <a:gd name="connsiteY16" fmla="*/ 2717 h 128447"/>
                          <a:gd name="connsiteX17" fmla="*/ 41910 w 104775"/>
                          <a:gd name="connsiteY17" fmla="*/ 31292 h 128447"/>
                          <a:gd name="connsiteX18" fmla="*/ 40005 w 104775"/>
                          <a:gd name="connsiteY18" fmla="*/ 44627 h 128447"/>
                          <a:gd name="connsiteX19" fmla="*/ 3810 w 104775"/>
                          <a:gd name="connsiteY19" fmla="*/ 52247 h 128447"/>
                          <a:gd name="connsiteX20" fmla="*/ 1905 w 104775"/>
                          <a:gd name="connsiteY20" fmla="*/ 59867 h 128447"/>
                          <a:gd name="connsiteX21" fmla="*/ 0 w 104775"/>
                          <a:gd name="connsiteY21" fmla="*/ 65582 h 128447"/>
                          <a:gd name="connsiteX22" fmla="*/ 5715 w 104775"/>
                          <a:gd name="connsiteY22" fmla="*/ 78917 h 128447"/>
                          <a:gd name="connsiteX23" fmla="*/ 5715 w 104775"/>
                          <a:gd name="connsiteY23" fmla="*/ 82727 h 128447"/>
                          <a:gd name="connsiteX24" fmla="*/ 17145 w 104775"/>
                          <a:gd name="connsiteY24" fmla="*/ 111302 h 128447"/>
                          <a:gd name="connsiteX0" fmla="*/ 19050 w 104775"/>
                          <a:gd name="connsiteY0" fmla="*/ 102874 h 123829"/>
                          <a:gd name="connsiteX1" fmla="*/ 24765 w 104775"/>
                          <a:gd name="connsiteY1" fmla="*/ 106684 h 123829"/>
                          <a:gd name="connsiteX2" fmla="*/ 28575 w 104775"/>
                          <a:gd name="connsiteY2" fmla="*/ 112399 h 123829"/>
                          <a:gd name="connsiteX3" fmla="*/ 32385 w 104775"/>
                          <a:gd name="connsiteY3" fmla="*/ 123829 h 123829"/>
                          <a:gd name="connsiteX4" fmla="*/ 81915 w 104775"/>
                          <a:gd name="connsiteY4" fmla="*/ 121924 h 123829"/>
                          <a:gd name="connsiteX5" fmla="*/ 87630 w 104775"/>
                          <a:gd name="connsiteY5" fmla="*/ 120019 h 123829"/>
                          <a:gd name="connsiteX6" fmla="*/ 89535 w 104775"/>
                          <a:gd name="connsiteY6" fmla="*/ 114304 h 123829"/>
                          <a:gd name="connsiteX7" fmla="*/ 93345 w 104775"/>
                          <a:gd name="connsiteY7" fmla="*/ 108589 h 123829"/>
                          <a:gd name="connsiteX8" fmla="*/ 95250 w 104775"/>
                          <a:gd name="connsiteY8" fmla="*/ 95254 h 123829"/>
                          <a:gd name="connsiteX9" fmla="*/ 100965 w 104775"/>
                          <a:gd name="connsiteY9" fmla="*/ 91444 h 123829"/>
                          <a:gd name="connsiteX10" fmla="*/ 104775 w 104775"/>
                          <a:gd name="connsiteY10" fmla="*/ 80014 h 123829"/>
                          <a:gd name="connsiteX11" fmla="*/ 100965 w 104775"/>
                          <a:gd name="connsiteY11" fmla="*/ 53344 h 123829"/>
                          <a:gd name="connsiteX12" fmla="*/ 99060 w 104775"/>
                          <a:gd name="connsiteY12" fmla="*/ 45724 h 123829"/>
                          <a:gd name="connsiteX13" fmla="*/ 95250 w 104775"/>
                          <a:gd name="connsiteY13" fmla="*/ 40009 h 123829"/>
                          <a:gd name="connsiteX14" fmla="*/ 91440 w 104775"/>
                          <a:gd name="connsiteY14" fmla="*/ 28579 h 123829"/>
                          <a:gd name="connsiteX15" fmla="*/ 70485 w 104775"/>
                          <a:gd name="connsiteY15" fmla="*/ 4 h 123829"/>
                          <a:gd name="connsiteX16" fmla="*/ 41910 w 104775"/>
                          <a:gd name="connsiteY16" fmla="*/ 26674 h 123829"/>
                          <a:gd name="connsiteX17" fmla="*/ 40005 w 104775"/>
                          <a:gd name="connsiteY17" fmla="*/ 40009 h 123829"/>
                          <a:gd name="connsiteX18" fmla="*/ 3810 w 104775"/>
                          <a:gd name="connsiteY18" fmla="*/ 47629 h 123829"/>
                          <a:gd name="connsiteX19" fmla="*/ 1905 w 104775"/>
                          <a:gd name="connsiteY19" fmla="*/ 55249 h 123829"/>
                          <a:gd name="connsiteX20" fmla="*/ 0 w 104775"/>
                          <a:gd name="connsiteY20" fmla="*/ 60964 h 123829"/>
                          <a:gd name="connsiteX21" fmla="*/ 5715 w 104775"/>
                          <a:gd name="connsiteY21" fmla="*/ 74299 h 123829"/>
                          <a:gd name="connsiteX22" fmla="*/ 5715 w 104775"/>
                          <a:gd name="connsiteY22" fmla="*/ 78109 h 123829"/>
                          <a:gd name="connsiteX23" fmla="*/ 17145 w 104775"/>
                          <a:gd name="connsiteY23" fmla="*/ 106684 h 123829"/>
                          <a:gd name="connsiteX0" fmla="*/ 19050 w 104775"/>
                          <a:gd name="connsiteY0" fmla="*/ 77050 h 98005"/>
                          <a:gd name="connsiteX1" fmla="*/ 24765 w 104775"/>
                          <a:gd name="connsiteY1" fmla="*/ 80860 h 98005"/>
                          <a:gd name="connsiteX2" fmla="*/ 28575 w 104775"/>
                          <a:gd name="connsiteY2" fmla="*/ 86575 h 98005"/>
                          <a:gd name="connsiteX3" fmla="*/ 32385 w 104775"/>
                          <a:gd name="connsiteY3" fmla="*/ 98005 h 98005"/>
                          <a:gd name="connsiteX4" fmla="*/ 81915 w 104775"/>
                          <a:gd name="connsiteY4" fmla="*/ 96100 h 98005"/>
                          <a:gd name="connsiteX5" fmla="*/ 87630 w 104775"/>
                          <a:gd name="connsiteY5" fmla="*/ 94195 h 98005"/>
                          <a:gd name="connsiteX6" fmla="*/ 89535 w 104775"/>
                          <a:gd name="connsiteY6" fmla="*/ 88480 h 98005"/>
                          <a:gd name="connsiteX7" fmla="*/ 93345 w 104775"/>
                          <a:gd name="connsiteY7" fmla="*/ 82765 h 98005"/>
                          <a:gd name="connsiteX8" fmla="*/ 95250 w 104775"/>
                          <a:gd name="connsiteY8" fmla="*/ 69430 h 98005"/>
                          <a:gd name="connsiteX9" fmla="*/ 100965 w 104775"/>
                          <a:gd name="connsiteY9" fmla="*/ 65620 h 98005"/>
                          <a:gd name="connsiteX10" fmla="*/ 104775 w 104775"/>
                          <a:gd name="connsiteY10" fmla="*/ 54190 h 98005"/>
                          <a:gd name="connsiteX11" fmla="*/ 100965 w 104775"/>
                          <a:gd name="connsiteY11" fmla="*/ 27520 h 98005"/>
                          <a:gd name="connsiteX12" fmla="*/ 99060 w 104775"/>
                          <a:gd name="connsiteY12" fmla="*/ 19900 h 98005"/>
                          <a:gd name="connsiteX13" fmla="*/ 95250 w 104775"/>
                          <a:gd name="connsiteY13" fmla="*/ 14185 h 98005"/>
                          <a:gd name="connsiteX14" fmla="*/ 91440 w 104775"/>
                          <a:gd name="connsiteY14" fmla="*/ 2755 h 98005"/>
                          <a:gd name="connsiteX15" fmla="*/ 41910 w 104775"/>
                          <a:gd name="connsiteY15" fmla="*/ 850 h 98005"/>
                          <a:gd name="connsiteX16" fmla="*/ 40005 w 104775"/>
                          <a:gd name="connsiteY16" fmla="*/ 14185 h 98005"/>
                          <a:gd name="connsiteX17" fmla="*/ 3810 w 104775"/>
                          <a:gd name="connsiteY17" fmla="*/ 21805 h 98005"/>
                          <a:gd name="connsiteX18" fmla="*/ 1905 w 104775"/>
                          <a:gd name="connsiteY18" fmla="*/ 29425 h 98005"/>
                          <a:gd name="connsiteX19" fmla="*/ 0 w 104775"/>
                          <a:gd name="connsiteY19" fmla="*/ 35140 h 98005"/>
                          <a:gd name="connsiteX20" fmla="*/ 5715 w 104775"/>
                          <a:gd name="connsiteY20" fmla="*/ 48475 h 98005"/>
                          <a:gd name="connsiteX21" fmla="*/ 5715 w 104775"/>
                          <a:gd name="connsiteY21" fmla="*/ 52285 h 98005"/>
                          <a:gd name="connsiteX22" fmla="*/ 17145 w 104775"/>
                          <a:gd name="connsiteY22" fmla="*/ 80860 h 98005"/>
                          <a:gd name="connsiteX0" fmla="*/ 19050 w 104775"/>
                          <a:gd name="connsiteY0" fmla="*/ 76200 h 97155"/>
                          <a:gd name="connsiteX1" fmla="*/ 24765 w 104775"/>
                          <a:gd name="connsiteY1" fmla="*/ 80010 h 97155"/>
                          <a:gd name="connsiteX2" fmla="*/ 28575 w 104775"/>
                          <a:gd name="connsiteY2" fmla="*/ 85725 h 97155"/>
                          <a:gd name="connsiteX3" fmla="*/ 32385 w 104775"/>
                          <a:gd name="connsiteY3" fmla="*/ 97155 h 97155"/>
                          <a:gd name="connsiteX4" fmla="*/ 81915 w 104775"/>
                          <a:gd name="connsiteY4" fmla="*/ 95250 h 97155"/>
                          <a:gd name="connsiteX5" fmla="*/ 87630 w 104775"/>
                          <a:gd name="connsiteY5" fmla="*/ 93345 h 97155"/>
                          <a:gd name="connsiteX6" fmla="*/ 89535 w 104775"/>
                          <a:gd name="connsiteY6" fmla="*/ 87630 h 97155"/>
                          <a:gd name="connsiteX7" fmla="*/ 93345 w 104775"/>
                          <a:gd name="connsiteY7" fmla="*/ 81915 h 97155"/>
                          <a:gd name="connsiteX8" fmla="*/ 95250 w 104775"/>
                          <a:gd name="connsiteY8" fmla="*/ 68580 h 97155"/>
                          <a:gd name="connsiteX9" fmla="*/ 100965 w 104775"/>
                          <a:gd name="connsiteY9" fmla="*/ 64770 h 97155"/>
                          <a:gd name="connsiteX10" fmla="*/ 104775 w 104775"/>
                          <a:gd name="connsiteY10" fmla="*/ 53340 h 97155"/>
                          <a:gd name="connsiteX11" fmla="*/ 100965 w 104775"/>
                          <a:gd name="connsiteY11" fmla="*/ 26670 h 97155"/>
                          <a:gd name="connsiteX12" fmla="*/ 99060 w 104775"/>
                          <a:gd name="connsiteY12" fmla="*/ 19050 h 97155"/>
                          <a:gd name="connsiteX13" fmla="*/ 95250 w 104775"/>
                          <a:gd name="connsiteY13" fmla="*/ 13335 h 97155"/>
                          <a:gd name="connsiteX14" fmla="*/ 41910 w 104775"/>
                          <a:gd name="connsiteY14" fmla="*/ 0 h 97155"/>
                          <a:gd name="connsiteX15" fmla="*/ 40005 w 104775"/>
                          <a:gd name="connsiteY15" fmla="*/ 13335 h 97155"/>
                          <a:gd name="connsiteX16" fmla="*/ 3810 w 104775"/>
                          <a:gd name="connsiteY16" fmla="*/ 20955 h 97155"/>
                          <a:gd name="connsiteX17" fmla="*/ 1905 w 104775"/>
                          <a:gd name="connsiteY17" fmla="*/ 28575 h 97155"/>
                          <a:gd name="connsiteX18" fmla="*/ 0 w 104775"/>
                          <a:gd name="connsiteY18" fmla="*/ 34290 h 97155"/>
                          <a:gd name="connsiteX19" fmla="*/ 5715 w 104775"/>
                          <a:gd name="connsiteY19" fmla="*/ 47625 h 97155"/>
                          <a:gd name="connsiteX20" fmla="*/ 5715 w 104775"/>
                          <a:gd name="connsiteY20" fmla="*/ 51435 h 97155"/>
                          <a:gd name="connsiteX21" fmla="*/ 17145 w 104775"/>
                          <a:gd name="connsiteY21" fmla="*/ 80010 h 97155"/>
                          <a:gd name="connsiteX0" fmla="*/ 19050 w 104775"/>
                          <a:gd name="connsiteY0" fmla="*/ 76298 h 97253"/>
                          <a:gd name="connsiteX1" fmla="*/ 24765 w 104775"/>
                          <a:gd name="connsiteY1" fmla="*/ 80108 h 97253"/>
                          <a:gd name="connsiteX2" fmla="*/ 28575 w 104775"/>
                          <a:gd name="connsiteY2" fmla="*/ 85823 h 97253"/>
                          <a:gd name="connsiteX3" fmla="*/ 32385 w 104775"/>
                          <a:gd name="connsiteY3" fmla="*/ 97253 h 97253"/>
                          <a:gd name="connsiteX4" fmla="*/ 81915 w 104775"/>
                          <a:gd name="connsiteY4" fmla="*/ 95348 h 97253"/>
                          <a:gd name="connsiteX5" fmla="*/ 87630 w 104775"/>
                          <a:gd name="connsiteY5" fmla="*/ 93443 h 97253"/>
                          <a:gd name="connsiteX6" fmla="*/ 89535 w 104775"/>
                          <a:gd name="connsiteY6" fmla="*/ 87728 h 97253"/>
                          <a:gd name="connsiteX7" fmla="*/ 93345 w 104775"/>
                          <a:gd name="connsiteY7" fmla="*/ 82013 h 97253"/>
                          <a:gd name="connsiteX8" fmla="*/ 95250 w 104775"/>
                          <a:gd name="connsiteY8" fmla="*/ 68678 h 97253"/>
                          <a:gd name="connsiteX9" fmla="*/ 100965 w 104775"/>
                          <a:gd name="connsiteY9" fmla="*/ 64868 h 97253"/>
                          <a:gd name="connsiteX10" fmla="*/ 104775 w 104775"/>
                          <a:gd name="connsiteY10" fmla="*/ 53438 h 97253"/>
                          <a:gd name="connsiteX11" fmla="*/ 100965 w 104775"/>
                          <a:gd name="connsiteY11" fmla="*/ 26768 h 97253"/>
                          <a:gd name="connsiteX12" fmla="*/ 99060 w 104775"/>
                          <a:gd name="connsiteY12" fmla="*/ 19148 h 97253"/>
                          <a:gd name="connsiteX13" fmla="*/ 95250 w 104775"/>
                          <a:gd name="connsiteY13" fmla="*/ 13433 h 97253"/>
                          <a:gd name="connsiteX14" fmla="*/ 41910 w 104775"/>
                          <a:gd name="connsiteY14" fmla="*/ 98 h 97253"/>
                          <a:gd name="connsiteX15" fmla="*/ 3810 w 104775"/>
                          <a:gd name="connsiteY15" fmla="*/ 21053 h 97253"/>
                          <a:gd name="connsiteX16" fmla="*/ 1905 w 104775"/>
                          <a:gd name="connsiteY16" fmla="*/ 28673 h 97253"/>
                          <a:gd name="connsiteX17" fmla="*/ 0 w 104775"/>
                          <a:gd name="connsiteY17" fmla="*/ 34388 h 97253"/>
                          <a:gd name="connsiteX18" fmla="*/ 5715 w 104775"/>
                          <a:gd name="connsiteY18" fmla="*/ 47723 h 97253"/>
                          <a:gd name="connsiteX19" fmla="*/ 5715 w 104775"/>
                          <a:gd name="connsiteY19" fmla="*/ 51533 h 97253"/>
                          <a:gd name="connsiteX20" fmla="*/ 17145 w 104775"/>
                          <a:gd name="connsiteY20" fmla="*/ 80108 h 97253"/>
                          <a:gd name="connsiteX0" fmla="*/ 19050 w 104775"/>
                          <a:gd name="connsiteY0" fmla="*/ 76205 h 97160"/>
                          <a:gd name="connsiteX1" fmla="*/ 24765 w 104775"/>
                          <a:gd name="connsiteY1" fmla="*/ 80015 h 97160"/>
                          <a:gd name="connsiteX2" fmla="*/ 28575 w 104775"/>
                          <a:gd name="connsiteY2" fmla="*/ 85730 h 97160"/>
                          <a:gd name="connsiteX3" fmla="*/ 32385 w 104775"/>
                          <a:gd name="connsiteY3" fmla="*/ 97160 h 97160"/>
                          <a:gd name="connsiteX4" fmla="*/ 81915 w 104775"/>
                          <a:gd name="connsiteY4" fmla="*/ 95255 h 97160"/>
                          <a:gd name="connsiteX5" fmla="*/ 87630 w 104775"/>
                          <a:gd name="connsiteY5" fmla="*/ 93350 h 97160"/>
                          <a:gd name="connsiteX6" fmla="*/ 89535 w 104775"/>
                          <a:gd name="connsiteY6" fmla="*/ 87635 h 97160"/>
                          <a:gd name="connsiteX7" fmla="*/ 93345 w 104775"/>
                          <a:gd name="connsiteY7" fmla="*/ 81920 h 97160"/>
                          <a:gd name="connsiteX8" fmla="*/ 95250 w 104775"/>
                          <a:gd name="connsiteY8" fmla="*/ 68585 h 97160"/>
                          <a:gd name="connsiteX9" fmla="*/ 100965 w 104775"/>
                          <a:gd name="connsiteY9" fmla="*/ 64775 h 97160"/>
                          <a:gd name="connsiteX10" fmla="*/ 104775 w 104775"/>
                          <a:gd name="connsiteY10" fmla="*/ 53345 h 97160"/>
                          <a:gd name="connsiteX11" fmla="*/ 100965 w 104775"/>
                          <a:gd name="connsiteY11" fmla="*/ 26675 h 97160"/>
                          <a:gd name="connsiteX12" fmla="*/ 99060 w 104775"/>
                          <a:gd name="connsiteY12" fmla="*/ 19055 h 97160"/>
                          <a:gd name="connsiteX13" fmla="*/ 41910 w 104775"/>
                          <a:gd name="connsiteY13" fmla="*/ 5 h 97160"/>
                          <a:gd name="connsiteX14" fmla="*/ 3810 w 104775"/>
                          <a:gd name="connsiteY14" fmla="*/ 20960 h 97160"/>
                          <a:gd name="connsiteX15" fmla="*/ 1905 w 104775"/>
                          <a:gd name="connsiteY15" fmla="*/ 28580 h 97160"/>
                          <a:gd name="connsiteX16" fmla="*/ 0 w 104775"/>
                          <a:gd name="connsiteY16" fmla="*/ 34295 h 97160"/>
                          <a:gd name="connsiteX17" fmla="*/ 5715 w 104775"/>
                          <a:gd name="connsiteY17" fmla="*/ 47630 h 97160"/>
                          <a:gd name="connsiteX18" fmla="*/ 5715 w 104775"/>
                          <a:gd name="connsiteY18" fmla="*/ 51440 h 97160"/>
                          <a:gd name="connsiteX19" fmla="*/ 17145 w 104775"/>
                          <a:gd name="connsiteY19" fmla="*/ 80015 h 97160"/>
                          <a:gd name="connsiteX0" fmla="*/ 19050 w 105971"/>
                          <a:gd name="connsiteY0" fmla="*/ 76238 h 97193"/>
                          <a:gd name="connsiteX1" fmla="*/ 24765 w 105971"/>
                          <a:gd name="connsiteY1" fmla="*/ 80048 h 97193"/>
                          <a:gd name="connsiteX2" fmla="*/ 28575 w 105971"/>
                          <a:gd name="connsiteY2" fmla="*/ 85763 h 97193"/>
                          <a:gd name="connsiteX3" fmla="*/ 32385 w 105971"/>
                          <a:gd name="connsiteY3" fmla="*/ 97193 h 97193"/>
                          <a:gd name="connsiteX4" fmla="*/ 81915 w 105971"/>
                          <a:gd name="connsiteY4" fmla="*/ 95288 h 97193"/>
                          <a:gd name="connsiteX5" fmla="*/ 87630 w 105971"/>
                          <a:gd name="connsiteY5" fmla="*/ 93383 h 97193"/>
                          <a:gd name="connsiteX6" fmla="*/ 89535 w 105971"/>
                          <a:gd name="connsiteY6" fmla="*/ 87668 h 97193"/>
                          <a:gd name="connsiteX7" fmla="*/ 93345 w 105971"/>
                          <a:gd name="connsiteY7" fmla="*/ 81953 h 97193"/>
                          <a:gd name="connsiteX8" fmla="*/ 95250 w 105971"/>
                          <a:gd name="connsiteY8" fmla="*/ 68618 h 97193"/>
                          <a:gd name="connsiteX9" fmla="*/ 100965 w 105971"/>
                          <a:gd name="connsiteY9" fmla="*/ 64808 h 97193"/>
                          <a:gd name="connsiteX10" fmla="*/ 104775 w 105971"/>
                          <a:gd name="connsiteY10" fmla="*/ 53378 h 97193"/>
                          <a:gd name="connsiteX11" fmla="*/ 100965 w 105971"/>
                          <a:gd name="connsiteY11" fmla="*/ 26708 h 97193"/>
                          <a:gd name="connsiteX12" fmla="*/ 41910 w 105971"/>
                          <a:gd name="connsiteY12" fmla="*/ 38 h 97193"/>
                          <a:gd name="connsiteX13" fmla="*/ 3810 w 105971"/>
                          <a:gd name="connsiteY13" fmla="*/ 20993 h 97193"/>
                          <a:gd name="connsiteX14" fmla="*/ 1905 w 105971"/>
                          <a:gd name="connsiteY14" fmla="*/ 28613 h 97193"/>
                          <a:gd name="connsiteX15" fmla="*/ 0 w 105971"/>
                          <a:gd name="connsiteY15" fmla="*/ 34328 h 97193"/>
                          <a:gd name="connsiteX16" fmla="*/ 5715 w 105971"/>
                          <a:gd name="connsiteY16" fmla="*/ 47663 h 97193"/>
                          <a:gd name="connsiteX17" fmla="*/ 5715 w 105971"/>
                          <a:gd name="connsiteY17" fmla="*/ 51473 h 97193"/>
                          <a:gd name="connsiteX18" fmla="*/ 17145 w 105971"/>
                          <a:gd name="connsiteY18" fmla="*/ 80048 h 97193"/>
                          <a:gd name="connsiteX0" fmla="*/ 19050 w 106250"/>
                          <a:gd name="connsiteY0" fmla="*/ 64875 h 85830"/>
                          <a:gd name="connsiteX1" fmla="*/ 24765 w 106250"/>
                          <a:gd name="connsiteY1" fmla="*/ 68685 h 85830"/>
                          <a:gd name="connsiteX2" fmla="*/ 28575 w 106250"/>
                          <a:gd name="connsiteY2" fmla="*/ 74400 h 85830"/>
                          <a:gd name="connsiteX3" fmla="*/ 32385 w 106250"/>
                          <a:gd name="connsiteY3" fmla="*/ 85830 h 85830"/>
                          <a:gd name="connsiteX4" fmla="*/ 81915 w 106250"/>
                          <a:gd name="connsiteY4" fmla="*/ 83925 h 85830"/>
                          <a:gd name="connsiteX5" fmla="*/ 87630 w 106250"/>
                          <a:gd name="connsiteY5" fmla="*/ 82020 h 85830"/>
                          <a:gd name="connsiteX6" fmla="*/ 89535 w 106250"/>
                          <a:gd name="connsiteY6" fmla="*/ 76305 h 85830"/>
                          <a:gd name="connsiteX7" fmla="*/ 93345 w 106250"/>
                          <a:gd name="connsiteY7" fmla="*/ 70590 h 85830"/>
                          <a:gd name="connsiteX8" fmla="*/ 95250 w 106250"/>
                          <a:gd name="connsiteY8" fmla="*/ 57255 h 85830"/>
                          <a:gd name="connsiteX9" fmla="*/ 100965 w 106250"/>
                          <a:gd name="connsiteY9" fmla="*/ 53445 h 85830"/>
                          <a:gd name="connsiteX10" fmla="*/ 104775 w 106250"/>
                          <a:gd name="connsiteY10" fmla="*/ 42015 h 85830"/>
                          <a:gd name="connsiteX11" fmla="*/ 100965 w 106250"/>
                          <a:gd name="connsiteY11" fmla="*/ 15345 h 85830"/>
                          <a:gd name="connsiteX12" fmla="*/ 38100 w 106250"/>
                          <a:gd name="connsiteY12" fmla="*/ 105 h 85830"/>
                          <a:gd name="connsiteX13" fmla="*/ 3810 w 106250"/>
                          <a:gd name="connsiteY13" fmla="*/ 9630 h 85830"/>
                          <a:gd name="connsiteX14" fmla="*/ 1905 w 106250"/>
                          <a:gd name="connsiteY14" fmla="*/ 17250 h 85830"/>
                          <a:gd name="connsiteX15" fmla="*/ 0 w 106250"/>
                          <a:gd name="connsiteY15" fmla="*/ 22965 h 85830"/>
                          <a:gd name="connsiteX16" fmla="*/ 5715 w 106250"/>
                          <a:gd name="connsiteY16" fmla="*/ 36300 h 85830"/>
                          <a:gd name="connsiteX17" fmla="*/ 5715 w 106250"/>
                          <a:gd name="connsiteY17" fmla="*/ 40110 h 85830"/>
                          <a:gd name="connsiteX18" fmla="*/ 17145 w 106250"/>
                          <a:gd name="connsiteY18" fmla="*/ 68685 h 8583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</a:cxnLst>
                        <a:rect l="l" t="t" r="r" b="b"/>
                        <a:pathLst>
                          <a:path w="106250" h="85830">
                            <a:moveTo>
                              <a:pt x="19050" y="64875"/>
                            </a:moveTo>
                            <a:cubicBezTo>
                              <a:pt x="19050" y="69955"/>
                              <a:pt x="22860" y="67415"/>
                              <a:pt x="24765" y="68685"/>
                            </a:cubicBezTo>
                            <a:cubicBezTo>
                              <a:pt x="26035" y="70590"/>
                              <a:pt x="27645" y="72308"/>
                              <a:pt x="28575" y="74400"/>
                            </a:cubicBezTo>
                            <a:cubicBezTo>
                              <a:pt x="30206" y="78070"/>
                              <a:pt x="32385" y="85830"/>
                              <a:pt x="32385" y="85830"/>
                            </a:cubicBezTo>
                            <a:cubicBezTo>
                              <a:pt x="48895" y="85195"/>
                              <a:pt x="65432" y="85062"/>
                              <a:pt x="81915" y="83925"/>
                            </a:cubicBezTo>
                            <a:cubicBezTo>
                              <a:pt x="83918" y="83787"/>
                              <a:pt x="86210" y="83440"/>
                              <a:pt x="87630" y="82020"/>
                            </a:cubicBezTo>
                            <a:cubicBezTo>
                              <a:pt x="89050" y="80600"/>
                              <a:pt x="88637" y="78101"/>
                              <a:pt x="89535" y="76305"/>
                            </a:cubicBezTo>
                            <a:cubicBezTo>
                              <a:pt x="90559" y="74257"/>
                              <a:pt x="92075" y="72495"/>
                              <a:pt x="93345" y="70590"/>
                            </a:cubicBezTo>
                            <a:cubicBezTo>
                              <a:pt x="93980" y="66145"/>
                              <a:pt x="93426" y="61358"/>
                              <a:pt x="95250" y="57255"/>
                            </a:cubicBezTo>
                            <a:cubicBezTo>
                              <a:pt x="96180" y="55163"/>
                              <a:pt x="99752" y="55387"/>
                              <a:pt x="100965" y="53445"/>
                            </a:cubicBezTo>
                            <a:cubicBezTo>
                              <a:pt x="103094" y="50039"/>
                              <a:pt x="104775" y="42015"/>
                              <a:pt x="104775" y="42015"/>
                            </a:cubicBezTo>
                            <a:cubicBezTo>
                              <a:pt x="101728" y="8500"/>
                              <a:pt x="112077" y="22330"/>
                              <a:pt x="100965" y="15345"/>
                            </a:cubicBezTo>
                            <a:cubicBezTo>
                              <a:pt x="89853" y="8360"/>
                              <a:pt x="54292" y="1057"/>
                              <a:pt x="38100" y="105"/>
                            </a:cubicBezTo>
                            <a:cubicBezTo>
                              <a:pt x="21908" y="-847"/>
                              <a:pt x="10477" y="4868"/>
                              <a:pt x="3810" y="9630"/>
                            </a:cubicBezTo>
                            <a:cubicBezTo>
                              <a:pt x="3175" y="12170"/>
                              <a:pt x="2624" y="14733"/>
                              <a:pt x="1905" y="17250"/>
                            </a:cubicBezTo>
                            <a:cubicBezTo>
                              <a:pt x="1353" y="19181"/>
                              <a:pt x="0" y="20957"/>
                              <a:pt x="0" y="22965"/>
                            </a:cubicBezTo>
                            <a:cubicBezTo>
                              <a:pt x="0" y="32673"/>
                              <a:pt x="2604" y="28523"/>
                              <a:pt x="5715" y="36300"/>
                            </a:cubicBezTo>
                            <a:cubicBezTo>
                              <a:pt x="6187" y="37479"/>
                              <a:pt x="3810" y="34713"/>
                              <a:pt x="5715" y="40110"/>
                            </a:cubicBezTo>
                            <a:cubicBezTo>
                              <a:pt x="7620" y="45507"/>
                              <a:pt x="13335" y="59160"/>
                              <a:pt x="17145" y="68685"/>
                            </a:cubicBezTo>
                          </a:path>
                        </a:pathLst>
                      </a:custGeom>
                      <a:grpFill/>
                      <a:ln w="3175" cap="flat" cmpd="sng" algn="ctr">
                        <a:solidFill>
                          <a:srgbClr val="F2E8F8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67" name="Freeform: Shape 52">
                        <a:extLst>
                          <a:ext uri="{FF2B5EF4-FFF2-40B4-BE49-F238E27FC236}">
                            <a16:creationId xmlns:a16="http://schemas.microsoft.com/office/drawing/2014/main" id="{EFE303BB-7661-ADB4-AD3C-8918CE263AB2}"/>
                          </a:ext>
                        </a:extLst>
                      </p:cNvPr>
                      <p:cNvSpPr/>
                      <p:nvPr/>
                    </p:nvSpPr>
                    <p:spPr>
                      <a:xfrm rot="17414284">
                        <a:off x="8943702" y="4140653"/>
                        <a:ext cx="27432" cy="36576"/>
                      </a:xfrm>
                      <a:custGeom>
                        <a:avLst/>
                        <a:gdLst>
                          <a:gd name="connsiteX0" fmla="*/ 57150 w 104775"/>
                          <a:gd name="connsiteY0" fmla="*/ 76200 h 127635"/>
                          <a:gd name="connsiteX1" fmla="*/ 57150 w 104775"/>
                          <a:gd name="connsiteY1" fmla="*/ 76200 h 127635"/>
                          <a:gd name="connsiteX2" fmla="*/ 24765 w 104775"/>
                          <a:gd name="connsiteY2" fmla="*/ 80010 h 127635"/>
                          <a:gd name="connsiteX3" fmla="*/ 19050 w 104775"/>
                          <a:gd name="connsiteY3" fmla="*/ 83820 h 127635"/>
                          <a:gd name="connsiteX4" fmla="*/ 19050 w 104775"/>
                          <a:gd name="connsiteY4" fmla="*/ 106680 h 127635"/>
                          <a:gd name="connsiteX5" fmla="*/ 24765 w 104775"/>
                          <a:gd name="connsiteY5" fmla="*/ 110490 h 127635"/>
                          <a:gd name="connsiteX6" fmla="*/ 28575 w 104775"/>
                          <a:gd name="connsiteY6" fmla="*/ 116205 h 127635"/>
                          <a:gd name="connsiteX7" fmla="*/ 32385 w 104775"/>
                          <a:gd name="connsiteY7" fmla="*/ 127635 h 127635"/>
                          <a:gd name="connsiteX8" fmla="*/ 81915 w 104775"/>
                          <a:gd name="connsiteY8" fmla="*/ 125730 h 127635"/>
                          <a:gd name="connsiteX9" fmla="*/ 87630 w 104775"/>
                          <a:gd name="connsiteY9" fmla="*/ 123825 h 127635"/>
                          <a:gd name="connsiteX10" fmla="*/ 89535 w 104775"/>
                          <a:gd name="connsiteY10" fmla="*/ 118110 h 127635"/>
                          <a:gd name="connsiteX11" fmla="*/ 93345 w 104775"/>
                          <a:gd name="connsiteY11" fmla="*/ 112395 h 127635"/>
                          <a:gd name="connsiteX12" fmla="*/ 95250 w 104775"/>
                          <a:gd name="connsiteY12" fmla="*/ 99060 h 127635"/>
                          <a:gd name="connsiteX13" fmla="*/ 100965 w 104775"/>
                          <a:gd name="connsiteY13" fmla="*/ 95250 h 127635"/>
                          <a:gd name="connsiteX14" fmla="*/ 104775 w 104775"/>
                          <a:gd name="connsiteY14" fmla="*/ 83820 h 127635"/>
                          <a:gd name="connsiteX15" fmla="*/ 100965 w 104775"/>
                          <a:gd name="connsiteY15" fmla="*/ 57150 h 127635"/>
                          <a:gd name="connsiteX16" fmla="*/ 99060 w 104775"/>
                          <a:gd name="connsiteY16" fmla="*/ 49530 h 127635"/>
                          <a:gd name="connsiteX17" fmla="*/ 95250 w 104775"/>
                          <a:gd name="connsiteY17" fmla="*/ 43815 h 127635"/>
                          <a:gd name="connsiteX18" fmla="*/ 91440 w 104775"/>
                          <a:gd name="connsiteY18" fmla="*/ 32385 h 127635"/>
                          <a:gd name="connsiteX19" fmla="*/ 81915 w 104775"/>
                          <a:gd name="connsiteY19" fmla="*/ 15240 h 127635"/>
                          <a:gd name="connsiteX20" fmla="*/ 70485 w 104775"/>
                          <a:gd name="connsiteY20" fmla="*/ 3810 h 127635"/>
                          <a:gd name="connsiteX21" fmla="*/ 59055 w 104775"/>
                          <a:gd name="connsiteY21" fmla="*/ 0 h 127635"/>
                          <a:gd name="connsiteX22" fmla="*/ 45720 w 104775"/>
                          <a:gd name="connsiteY22" fmla="*/ 1905 h 127635"/>
                          <a:gd name="connsiteX23" fmla="*/ 43815 w 104775"/>
                          <a:gd name="connsiteY23" fmla="*/ 19050 h 127635"/>
                          <a:gd name="connsiteX24" fmla="*/ 41910 w 104775"/>
                          <a:gd name="connsiteY24" fmla="*/ 30480 h 127635"/>
                          <a:gd name="connsiteX25" fmla="*/ 40005 w 104775"/>
                          <a:gd name="connsiteY25" fmla="*/ 43815 h 127635"/>
                          <a:gd name="connsiteX26" fmla="*/ 28575 w 104775"/>
                          <a:gd name="connsiteY26" fmla="*/ 49530 h 127635"/>
                          <a:gd name="connsiteX27" fmla="*/ 3810 w 104775"/>
                          <a:gd name="connsiteY27" fmla="*/ 51435 h 127635"/>
                          <a:gd name="connsiteX28" fmla="*/ 1905 w 104775"/>
                          <a:gd name="connsiteY28" fmla="*/ 59055 h 127635"/>
                          <a:gd name="connsiteX29" fmla="*/ 0 w 104775"/>
                          <a:gd name="connsiteY29" fmla="*/ 64770 h 127635"/>
                          <a:gd name="connsiteX30" fmla="*/ 5715 w 104775"/>
                          <a:gd name="connsiteY30" fmla="*/ 78105 h 127635"/>
                          <a:gd name="connsiteX31" fmla="*/ 5715 w 104775"/>
                          <a:gd name="connsiteY31" fmla="*/ 81915 h 127635"/>
                          <a:gd name="connsiteX32" fmla="*/ 5715 w 104775"/>
                          <a:gd name="connsiteY32" fmla="*/ 87630 h 127635"/>
                          <a:gd name="connsiteX0" fmla="*/ 57150 w 104775"/>
                          <a:gd name="connsiteY0" fmla="*/ 76200 h 127635"/>
                          <a:gd name="connsiteX1" fmla="*/ 24765 w 104775"/>
                          <a:gd name="connsiteY1" fmla="*/ 80010 h 127635"/>
                          <a:gd name="connsiteX2" fmla="*/ 19050 w 104775"/>
                          <a:gd name="connsiteY2" fmla="*/ 83820 h 127635"/>
                          <a:gd name="connsiteX3" fmla="*/ 19050 w 104775"/>
                          <a:gd name="connsiteY3" fmla="*/ 106680 h 127635"/>
                          <a:gd name="connsiteX4" fmla="*/ 24765 w 104775"/>
                          <a:gd name="connsiteY4" fmla="*/ 110490 h 127635"/>
                          <a:gd name="connsiteX5" fmla="*/ 28575 w 104775"/>
                          <a:gd name="connsiteY5" fmla="*/ 116205 h 127635"/>
                          <a:gd name="connsiteX6" fmla="*/ 32385 w 104775"/>
                          <a:gd name="connsiteY6" fmla="*/ 127635 h 127635"/>
                          <a:gd name="connsiteX7" fmla="*/ 81915 w 104775"/>
                          <a:gd name="connsiteY7" fmla="*/ 125730 h 127635"/>
                          <a:gd name="connsiteX8" fmla="*/ 87630 w 104775"/>
                          <a:gd name="connsiteY8" fmla="*/ 123825 h 127635"/>
                          <a:gd name="connsiteX9" fmla="*/ 89535 w 104775"/>
                          <a:gd name="connsiteY9" fmla="*/ 118110 h 127635"/>
                          <a:gd name="connsiteX10" fmla="*/ 93345 w 104775"/>
                          <a:gd name="connsiteY10" fmla="*/ 112395 h 127635"/>
                          <a:gd name="connsiteX11" fmla="*/ 95250 w 104775"/>
                          <a:gd name="connsiteY11" fmla="*/ 99060 h 127635"/>
                          <a:gd name="connsiteX12" fmla="*/ 100965 w 104775"/>
                          <a:gd name="connsiteY12" fmla="*/ 95250 h 127635"/>
                          <a:gd name="connsiteX13" fmla="*/ 104775 w 104775"/>
                          <a:gd name="connsiteY13" fmla="*/ 83820 h 127635"/>
                          <a:gd name="connsiteX14" fmla="*/ 100965 w 104775"/>
                          <a:gd name="connsiteY14" fmla="*/ 57150 h 127635"/>
                          <a:gd name="connsiteX15" fmla="*/ 99060 w 104775"/>
                          <a:gd name="connsiteY15" fmla="*/ 49530 h 127635"/>
                          <a:gd name="connsiteX16" fmla="*/ 95250 w 104775"/>
                          <a:gd name="connsiteY16" fmla="*/ 43815 h 127635"/>
                          <a:gd name="connsiteX17" fmla="*/ 91440 w 104775"/>
                          <a:gd name="connsiteY17" fmla="*/ 32385 h 127635"/>
                          <a:gd name="connsiteX18" fmla="*/ 81915 w 104775"/>
                          <a:gd name="connsiteY18" fmla="*/ 15240 h 127635"/>
                          <a:gd name="connsiteX19" fmla="*/ 70485 w 104775"/>
                          <a:gd name="connsiteY19" fmla="*/ 3810 h 127635"/>
                          <a:gd name="connsiteX20" fmla="*/ 59055 w 104775"/>
                          <a:gd name="connsiteY20" fmla="*/ 0 h 127635"/>
                          <a:gd name="connsiteX21" fmla="*/ 45720 w 104775"/>
                          <a:gd name="connsiteY21" fmla="*/ 1905 h 127635"/>
                          <a:gd name="connsiteX22" fmla="*/ 43815 w 104775"/>
                          <a:gd name="connsiteY22" fmla="*/ 19050 h 127635"/>
                          <a:gd name="connsiteX23" fmla="*/ 41910 w 104775"/>
                          <a:gd name="connsiteY23" fmla="*/ 30480 h 127635"/>
                          <a:gd name="connsiteX24" fmla="*/ 40005 w 104775"/>
                          <a:gd name="connsiteY24" fmla="*/ 43815 h 127635"/>
                          <a:gd name="connsiteX25" fmla="*/ 28575 w 104775"/>
                          <a:gd name="connsiteY25" fmla="*/ 49530 h 127635"/>
                          <a:gd name="connsiteX26" fmla="*/ 3810 w 104775"/>
                          <a:gd name="connsiteY26" fmla="*/ 51435 h 127635"/>
                          <a:gd name="connsiteX27" fmla="*/ 1905 w 104775"/>
                          <a:gd name="connsiteY27" fmla="*/ 59055 h 127635"/>
                          <a:gd name="connsiteX28" fmla="*/ 0 w 104775"/>
                          <a:gd name="connsiteY28" fmla="*/ 64770 h 127635"/>
                          <a:gd name="connsiteX29" fmla="*/ 5715 w 104775"/>
                          <a:gd name="connsiteY29" fmla="*/ 78105 h 127635"/>
                          <a:gd name="connsiteX30" fmla="*/ 5715 w 104775"/>
                          <a:gd name="connsiteY30" fmla="*/ 81915 h 127635"/>
                          <a:gd name="connsiteX31" fmla="*/ 5715 w 104775"/>
                          <a:gd name="connsiteY31" fmla="*/ 87630 h 127635"/>
                          <a:gd name="connsiteX0" fmla="*/ 24765 w 104775"/>
                          <a:gd name="connsiteY0" fmla="*/ 80010 h 127635"/>
                          <a:gd name="connsiteX1" fmla="*/ 19050 w 104775"/>
                          <a:gd name="connsiteY1" fmla="*/ 83820 h 127635"/>
                          <a:gd name="connsiteX2" fmla="*/ 19050 w 104775"/>
                          <a:gd name="connsiteY2" fmla="*/ 106680 h 127635"/>
                          <a:gd name="connsiteX3" fmla="*/ 24765 w 104775"/>
                          <a:gd name="connsiteY3" fmla="*/ 110490 h 127635"/>
                          <a:gd name="connsiteX4" fmla="*/ 28575 w 104775"/>
                          <a:gd name="connsiteY4" fmla="*/ 116205 h 127635"/>
                          <a:gd name="connsiteX5" fmla="*/ 32385 w 104775"/>
                          <a:gd name="connsiteY5" fmla="*/ 127635 h 127635"/>
                          <a:gd name="connsiteX6" fmla="*/ 81915 w 104775"/>
                          <a:gd name="connsiteY6" fmla="*/ 125730 h 127635"/>
                          <a:gd name="connsiteX7" fmla="*/ 87630 w 104775"/>
                          <a:gd name="connsiteY7" fmla="*/ 123825 h 127635"/>
                          <a:gd name="connsiteX8" fmla="*/ 89535 w 104775"/>
                          <a:gd name="connsiteY8" fmla="*/ 118110 h 127635"/>
                          <a:gd name="connsiteX9" fmla="*/ 93345 w 104775"/>
                          <a:gd name="connsiteY9" fmla="*/ 112395 h 127635"/>
                          <a:gd name="connsiteX10" fmla="*/ 95250 w 104775"/>
                          <a:gd name="connsiteY10" fmla="*/ 99060 h 127635"/>
                          <a:gd name="connsiteX11" fmla="*/ 100965 w 104775"/>
                          <a:gd name="connsiteY11" fmla="*/ 95250 h 127635"/>
                          <a:gd name="connsiteX12" fmla="*/ 104775 w 104775"/>
                          <a:gd name="connsiteY12" fmla="*/ 83820 h 127635"/>
                          <a:gd name="connsiteX13" fmla="*/ 100965 w 104775"/>
                          <a:gd name="connsiteY13" fmla="*/ 57150 h 127635"/>
                          <a:gd name="connsiteX14" fmla="*/ 99060 w 104775"/>
                          <a:gd name="connsiteY14" fmla="*/ 49530 h 127635"/>
                          <a:gd name="connsiteX15" fmla="*/ 95250 w 104775"/>
                          <a:gd name="connsiteY15" fmla="*/ 43815 h 127635"/>
                          <a:gd name="connsiteX16" fmla="*/ 91440 w 104775"/>
                          <a:gd name="connsiteY16" fmla="*/ 32385 h 127635"/>
                          <a:gd name="connsiteX17" fmla="*/ 81915 w 104775"/>
                          <a:gd name="connsiteY17" fmla="*/ 15240 h 127635"/>
                          <a:gd name="connsiteX18" fmla="*/ 70485 w 104775"/>
                          <a:gd name="connsiteY18" fmla="*/ 3810 h 127635"/>
                          <a:gd name="connsiteX19" fmla="*/ 59055 w 104775"/>
                          <a:gd name="connsiteY19" fmla="*/ 0 h 127635"/>
                          <a:gd name="connsiteX20" fmla="*/ 45720 w 104775"/>
                          <a:gd name="connsiteY20" fmla="*/ 1905 h 127635"/>
                          <a:gd name="connsiteX21" fmla="*/ 43815 w 104775"/>
                          <a:gd name="connsiteY21" fmla="*/ 19050 h 127635"/>
                          <a:gd name="connsiteX22" fmla="*/ 41910 w 104775"/>
                          <a:gd name="connsiteY22" fmla="*/ 30480 h 127635"/>
                          <a:gd name="connsiteX23" fmla="*/ 40005 w 104775"/>
                          <a:gd name="connsiteY23" fmla="*/ 43815 h 127635"/>
                          <a:gd name="connsiteX24" fmla="*/ 28575 w 104775"/>
                          <a:gd name="connsiteY24" fmla="*/ 49530 h 127635"/>
                          <a:gd name="connsiteX25" fmla="*/ 3810 w 104775"/>
                          <a:gd name="connsiteY25" fmla="*/ 51435 h 127635"/>
                          <a:gd name="connsiteX26" fmla="*/ 1905 w 104775"/>
                          <a:gd name="connsiteY26" fmla="*/ 59055 h 127635"/>
                          <a:gd name="connsiteX27" fmla="*/ 0 w 104775"/>
                          <a:gd name="connsiteY27" fmla="*/ 64770 h 127635"/>
                          <a:gd name="connsiteX28" fmla="*/ 5715 w 104775"/>
                          <a:gd name="connsiteY28" fmla="*/ 78105 h 127635"/>
                          <a:gd name="connsiteX29" fmla="*/ 5715 w 104775"/>
                          <a:gd name="connsiteY29" fmla="*/ 81915 h 127635"/>
                          <a:gd name="connsiteX30" fmla="*/ 5715 w 104775"/>
                          <a:gd name="connsiteY30" fmla="*/ 87630 h 127635"/>
                          <a:gd name="connsiteX0" fmla="*/ 24765 w 104775"/>
                          <a:gd name="connsiteY0" fmla="*/ 80010 h 127635"/>
                          <a:gd name="connsiteX1" fmla="*/ 19050 w 104775"/>
                          <a:gd name="connsiteY1" fmla="*/ 106680 h 127635"/>
                          <a:gd name="connsiteX2" fmla="*/ 24765 w 104775"/>
                          <a:gd name="connsiteY2" fmla="*/ 110490 h 127635"/>
                          <a:gd name="connsiteX3" fmla="*/ 28575 w 104775"/>
                          <a:gd name="connsiteY3" fmla="*/ 116205 h 127635"/>
                          <a:gd name="connsiteX4" fmla="*/ 32385 w 104775"/>
                          <a:gd name="connsiteY4" fmla="*/ 127635 h 127635"/>
                          <a:gd name="connsiteX5" fmla="*/ 81915 w 104775"/>
                          <a:gd name="connsiteY5" fmla="*/ 125730 h 127635"/>
                          <a:gd name="connsiteX6" fmla="*/ 87630 w 104775"/>
                          <a:gd name="connsiteY6" fmla="*/ 123825 h 127635"/>
                          <a:gd name="connsiteX7" fmla="*/ 89535 w 104775"/>
                          <a:gd name="connsiteY7" fmla="*/ 118110 h 127635"/>
                          <a:gd name="connsiteX8" fmla="*/ 93345 w 104775"/>
                          <a:gd name="connsiteY8" fmla="*/ 112395 h 127635"/>
                          <a:gd name="connsiteX9" fmla="*/ 95250 w 104775"/>
                          <a:gd name="connsiteY9" fmla="*/ 99060 h 127635"/>
                          <a:gd name="connsiteX10" fmla="*/ 100965 w 104775"/>
                          <a:gd name="connsiteY10" fmla="*/ 95250 h 127635"/>
                          <a:gd name="connsiteX11" fmla="*/ 104775 w 104775"/>
                          <a:gd name="connsiteY11" fmla="*/ 83820 h 127635"/>
                          <a:gd name="connsiteX12" fmla="*/ 100965 w 104775"/>
                          <a:gd name="connsiteY12" fmla="*/ 57150 h 127635"/>
                          <a:gd name="connsiteX13" fmla="*/ 99060 w 104775"/>
                          <a:gd name="connsiteY13" fmla="*/ 49530 h 127635"/>
                          <a:gd name="connsiteX14" fmla="*/ 95250 w 104775"/>
                          <a:gd name="connsiteY14" fmla="*/ 43815 h 127635"/>
                          <a:gd name="connsiteX15" fmla="*/ 91440 w 104775"/>
                          <a:gd name="connsiteY15" fmla="*/ 32385 h 127635"/>
                          <a:gd name="connsiteX16" fmla="*/ 81915 w 104775"/>
                          <a:gd name="connsiteY16" fmla="*/ 15240 h 127635"/>
                          <a:gd name="connsiteX17" fmla="*/ 70485 w 104775"/>
                          <a:gd name="connsiteY17" fmla="*/ 3810 h 127635"/>
                          <a:gd name="connsiteX18" fmla="*/ 59055 w 104775"/>
                          <a:gd name="connsiteY18" fmla="*/ 0 h 127635"/>
                          <a:gd name="connsiteX19" fmla="*/ 45720 w 104775"/>
                          <a:gd name="connsiteY19" fmla="*/ 1905 h 127635"/>
                          <a:gd name="connsiteX20" fmla="*/ 43815 w 104775"/>
                          <a:gd name="connsiteY20" fmla="*/ 19050 h 127635"/>
                          <a:gd name="connsiteX21" fmla="*/ 41910 w 104775"/>
                          <a:gd name="connsiteY21" fmla="*/ 30480 h 127635"/>
                          <a:gd name="connsiteX22" fmla="*/ 40005 w 104775"/>
                          <a:gd name="connsiteY22" fmla="*/ 43815 h 127635"/>
                          <a:gd name="connsiteX23" fmla="*/ 28575 w 104775"/>
                          <a:gd name="connsiteY23" fmla="*/ 49530 h 127635"/>
                          <a:gd name="connsiteX24" fmla="*/ 3810 w 104775"/>
                          <a:gd name="connsiteY24" fmla="*/ 51435 h 127635"/>
                          <a:gd name="connsiteX25" fmla="*/ 1905 w 104775"/>
                          <a:gd name="connsiteY25" fmla="*/ 59055 h 127635"/>
                          <a:gd name="connsiteX26" fmla="*/ 0 w 104775"/>
                          <a:gd name="connsiteY26" fmla="*/ 64770 h 127635"/>
                          <a:gd name="connsiteX27" fmla="*/ 5715 w 104775"/>
                          <a:gd name="connsiteY27" fmla="*/ 78105 h 127635"/>
                          <a:gd name="connsiteX28" fmla="*/ 5715 w 104775"/>
                          <a:gd name="connsiteY28" fmla="*/ 81915 h 127635"/>
                          <a:gd name="connsiteX29" fmla="*/ 5715 w 104775"/>
                          <a:gd name="connsiteY29" fmla="*/ 8763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5715 w 104775"/>
                          <a:gd name="connsiteY28" fmla="*/ 8763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17145 w 104775"/>
                          <a:gd name="connsiteY28" fmla="*/ 11049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17145 w 104775"/>
                          <a:gd name="connsiteY28" fmla="*/ 110490 h 127635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81915 w 104775"/>
                          <a:gd name="connsiteY15" fmla="*/ 16019 h 128414"/>
                          <a:gd name="connsiteX16" fmla="*/ 70485 w 104775"/>
                          <a:gd name="connsiteY16" fmla="*/ 4589 h 128414"/>
                          <a:gd name="connsiteX17" fmla="*/ 59055 w 104775"/>
                          <a:gd name="connsiteY17" fmla="*/ 779 h 128414"/>
                          <a:gd name="connsiteX18" fmla="*/ 45720 w 104775"/>
                          <a:gd name="connsiteY18" fmla="*/ 2684 h 128414"/>
                          <a:gd name="connsiteX19" fmla="*/ 41910 w 104775"/>
                          <a:gd name="connsiteY19" fmla="*/ 31259 h 128414"/>
                          <a:gd name="connsiteX20" fmla="*/ 40005 w 104775"/>
                          <a:gd name="connsiteY20" fmla="*/ 44594 h 128414"/>
                          <a:gd name="connsiteX21" fmla="*/ 28575 w 104775"/>
                          <a:gd name="connsiteY21" fmla="*/ 50309 h 128414"/>
                          <a:gd name="connsiteX22" fmla="*/ 3810 w 104775"/>
                          <a:gd name="connsiteY22" fmla="*/ 52214 h 128414"/>
                          <a:gd name="connsiteX23" fmla="*/ 1905 w 104775"/>
                          <a:gd name="connsiteY23" fmla="*/ 59834 h 128414"/>
                          <a:gd name="connsiteX24" fmla="*/ 0 w 104775"/>
                          <a:gd name="connsiteY24" fmla="*/ 65549 h 128414"/>
                          <a:gd name="connsiteX25" fmla="*/ 5715 w 104775"/>
                          <a:gd name="connsiteY25" fmla="*/ 78884 h 128414"/>
                          <a:gd name="connsiteX26" fmla="*/ 5715 w 104775"/>
                          <a:gd name="connsiteY26" fmla="*/ 82694 h 128414"/>
                          <a:gd name="connsiteX27" fmla="*/ 17145 w 104775"/>
                          <a:gd name="connsiteY27" fmla="*/ 111269 h 128414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70485 w 104775"/>
                          <a:gd name="connsiteY15" fmla="*/ 4589 h 128414"/>
                          <a:gd name="connsiteX16" fmla="*/ 59055 w 104775"/>
                          <a:gd name="connsiteY16" fmla="*/ 779 h 128414"/>
                          <a:gd name="connsiteX17" fmla="*/ 45720 w 104775"/>
                          <a:gd name="connsiteY17" fmla="*/ 2684 h 128414"/>
                          <a:gd name="connsiteX18" fmla="*/ 41910 w 104775"/>
                          <a:gd name="connsiteY18" fmla="*/ 31259 h 128414"/>
                          <a:gd name="connsiteX19" fmla="*/ 40005 w 104775"/>
                          <a:gd name="connsiteY19" fmla="*/ 44594 h 128414"/>
                          <a:gd name="connsiteX20" fmla="*/ 28575 w 104775"/>
                          <a:gd name="connsiteY20" fmla="*/ 50309 h 128414"/>
                          <a:gd name="connsiteX21" fmla="*/ 3810 w 104775"/>
                          <a:gd name="connsiteY21" fmla="*/ 52214 h 128414"/>
                          <a:gd name="connsiteX22" fmla="*/ 1905 w 104775"/>
                          <a:gd name="connsiteY22" fmla="*/ 59834 h 128414"/>
                          <a:gd name="connsiteX23" fmla="*/ 0 w 104775"/>
                          <a:gd name="connsiteY23" fmla="*/ 65549 h 128414"/>
                          <a:gd name="connsiteX24" fmla="*/ 5715 w 104775"/>
                          <a:gd name="connsiteY24" fmla="*/ 78884 h 128414"/>
                          <a:gd name="connsiteX25" fmla="*/ 5715 w 104775"/>
                          <a:gd name="connsiteY25" fmla="*/ 82694 h 128414"/>
                          <a:gd name="connsiteX26" fmla="*/ 17145 w 104775"/>
                          <a:gd name="connsiteY26" fmla="*/ 111269 h 128414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70485 w 104775"/>
                          <a:gd name="connsiteY15" fmla="*/ 4589 h 128414"/>
                          <a:gd name="connsiteX16" fmla="*/ 59055 w 104775"/>
                          <a:gd name="connsiteY16" fmla="*/ 779 h 128414"/>
                          <a:gd name="connsiteX17" fmla="*/ 45720 w 104775"/>
                          <a:gd name="connsiteY17" fmla="*/ 2684 h 128414"/>
                          <a:gd name="connsiteX18" fmla="*/ 41910 w 104775"/>
                          <a:gd name="connsiteY18" fmla="*/ 31259 h 128414"/>
                          <a:gd name="connsiteX19" fmla="*/ 40005 w 104775"/>
                          <a:gd name="connsiteY19" fmla="*/ 44594 h 128414"/>
                          <a:gd name="connsiteX20" fmla="*/ 3810 w 104775"/>
                          <a:gd name="connsiteY20" fmla="*/ 52214 h 128414"/>
                          <a:gd name="connsiteX21" fmla="*/ 1905 w 104775"/>
                          <a:gd name="connsiteY21" fmla="*/ 59834 h 128414"/>
                          <a:gd name="connsiteX22" fmla="*/ 0 w 104775"/>
                          <a:gd name="connsiteY22" fmla="*/ 65549 h 128414"/>
                          <a:gd name="connsiteX23" fmla="*/ 5715 w 104775"/>
                          <a:gd name="connsiteY23" fmla="*/ 78884 h 128414"/>
                          <a:gd name="connsiteX24" fmla="*/ 5715 w 104775"/>
                          <a:gd name="connsiteY24" fmla="*/ 82694 h 128414"/>
                          <a:gd name="connsiteX25" fmla="*/ 17145 w 104775"/>
                          <a:gd name="connsiteY25" fmla="*/ 111269 h 128414"/>
                          <a:gd name="connsiteX0" fmla="*/ 19050 w 104775"/>
                          <a:gd name="connsiteY0" fmla="*/ 107492 h 128447"/>
                          <a:gd name="connsiteX1" fmla="*/ 24765 w 104775"/>
                          <a:gd name="connsiteY1" fmla="*/ 111302 h 128447"/>
                          <a:gd name="connsiteX2" fmla="*/ 28575 w 104775"/>
                          <a:gd name="connsiteY2" fmla="*/ 117017 h 128447"/>
                          <a:gd name="connsiteX3" fmla="*/ 32385 w 104775"/>
                          <a:gd name="connsiteY3" fmla="*/ 128447 h 128447"/>
                          <a:gd name="connsiteX4" fmla="*/ 81915 w 104775"/>
                          <a:gd name="connsiteY4" fmla="*/ 126542 h 128447"/>
                          <a:gd name="connsiteX5" fmla="*/ 87630 w 104775"/>
                          <a:gd name="connsiteY5" fmla="*/ 124637 h 128447"/>
                          <a:gd name="connsiteX6" fmla="*/ 89535 w 104775"/>
                          <a:gd name="connsiteY6" fmla="*/ 118922 h 128447"/>
                          <a:gd name="connsiteX7" fmla="*/ 93345 w 104775"/>
                          <a:gd name="connsiteY7" fmla="*/ 113207 h 128447"/>
                          <a:gd name="connsiteX8" fmla="*/ 95250 w 104775"/>
                          <a:gd name="connsiteY8" fmla="*/ 99872 h 128447"/>
                          <a:gd name="connsiteX9" fmla="*/ 100965 w 104775"/>
                          <a:gd name="connsiteY9" fmla="*/ 96062 h 128447"/>
                          <a:gd name="connsiteX10" fmla="*/ 104775 w 104775"/>
                          <a:gd name="connsiteY10" fmla="*/ 84632 h 128447"/>
                          <a:gd name="connsiteX11" fmla="*/ 100965 w 104775"/>
                          <a:gd name="connsiteY11" fmla="*/ 57962 h 128447"/>
                          <a:gd name="connsiteX12" fmla="*/ 99060 w 104775"/>
                          <a:gd name="connsiteY12" fmla="*/ 50342 h 128447"/>
                          <a:gd name="connsiteX13" fmla="*/ 95250 w 104775"/>
                          <a:gd name="connsiteY13" fmla="*/ 44627 h 128447"/>
                          <a:gd name="connsiteX14" fmla="*/ 91440 w 104775"/>
                          <a:gd name="connsiteY14" fmla="*/ 33197 h 128447"/>
                          <a:gd name="connsiteX15" fmla="*/ 70485 w 104775"/>
                          <a:gd name="connsiteY15" fmla="*/ 4622 h 128447"/>
                          <a:gd name="connsiteX16" fmla="*/ 45720 w 104775"/>
                          <a:gd name="connsiteY16" fmla="*/ 2717 h 128447"/>
                          <a:gd name="connsiteX17" fmla="*/ 41910 w 104775"/>
                          <a:gd name="connsiteY17" fmla="*/ 31292 h 128447"/>
                          <a:gd name="connsiteX18" fmla="*/ 40005 w 104775"/>
                          <a:gd name="connsiteY18" fmla="*/ 44627 h 128447"/>
                          <a:gd name="connsiteX19" fmla="*/ 3810 w 104775"/>
                          <a:gd name="connsiteY19" fmla="*/ 52247 h 128447"/>
                          <a:gd name="connsiteX20" fmla="*/ 1905 w 104775"/>
                          <a:gd name="connsiteY20" fmla="*/ 59867 h 128447"/>
                          <a:gd name="connsiteX21" fmla="*/ 0 w 104775"/>
                          <a:gd name="connsiteY21" fmla="*/ 65582 h 128447"/>
                          <a:gd name="connsiteX22" fmla="*/ 5715 w 104775"/>
                          <a:gd name="connsiteY22" fmla="*/ 78917 h 128447"/>
                          <a:gd name="connsiteX23" fmla="*/ 5715 w 104775"/>
                          <a:gd name="connsiteY23" fmla="*/ 82727 h 128447"/>
                          <a:gd name="connsiteX24" fmla="*/ 17145 w 104775"/>
                          <a:gd name="connsiteY24" fmla="*/ 111302 h 128447"/>
                          <a:gd name="connsiteX0" fmla="*/ 19050 w 104775"/>
                          <a:gd name="connsiteY0" fmla="*/ 102874 h 123829"/>
                          <a:gd name="connsiteX1" fmla="*/ 24765 w 104775"/>
                          <a:gd name="connsiteY1" fmla="*/ 106684 h 123829"/>
                          <a:gd name="connsiteX2" fmla="*/ 28575 w 104775"/>
                          <a:gd name="connsiteY2" fmla="*/ 112399 h 123829"/>
                          <a:gd name="connsiteX3" fmla="*/ 32385 w 104775"/>
                          <a:gd name="connsiteY3" fmla="*/ 123829 h 123829"/>
                          <a:gd name="connsiteX4" fmla="*/ 81915 w 104775"/>
                          <a:gd name="connsiteY4" fmla="*/ 121924 h 123829"/>
                          <a:gd name="connsiteX5" fmla="*/ 87630 w 104775"/>
                          <a:gd name="connsiteY5" fmla="*/ 120019 h 123829"/>
                          <a:gd name="connsiteX6" fmla="*/ 89535 w 104775"/>
                          <a:gd name="connsiteY6" fmla="*/ 114304 h 123829"/>
                          <a:gd name="connsiteX7" fmla="*/ 93345 w 104775"/>
                          <a:gd name="connsiteY7" fmla="*/ 108589 h 123829"/>
                          <a:gd name="connsiteX8" fmla="*/ 95250 w 104775"/>
                          <a:gd name="connsiteY8" fmla="*/ 95254 h 123829"/>
                          <a:gd name="connsiteX9" fmla="*/ 100965 w 104775"/>
                          <a:gd name="connsiteY9" fmla="*/ 91444 h 123829"/>
                          <a:gd name="connsiteX10" fmla="*/ 104775 w 104775"/>
                          <a:gd name="connsiteY10" fmla="*/ 80014 h 123829"/>
                          <a:gd name="connsiteX11" fmla="*/ 100965 w 104775"/>
                          <a:gd name="connsiteY11" fmla="*/ 53344 h 123829"/>
                          <a:gd name="connsiteX12" fmla="*/ 99060 w 104775"/>
                          <a:gd name="connsiteY12" fmla="*/ 45724 h 123829"/>
                          <a:gd name="connsiteX13" fmla="*/ 95250 w 104775"/>
                          <a:gd name="connsiteY13" fmla="*/ 40009 h 123829"/>
                          <a:gd name="connsiteX14" fmla="*/ 91440 w 104775"/>
                          <a:gd name="connsiteY14" fmla="*/ 28579 h 123829"/>
                          <a:gd name="connsiteX15" fmla="*/ 70485 w 104775"/>
                          <a:gd name="connsiteY15" fmla="*/ 4 h 123829"/>
                          <a:gd name="connsiteX16" fmla="*/ 41910 w 104775"/>
                          <a:gd name="connsiteY16" fmla="*/ 26674 h 123829"/>
                          <a:gd name="connsiteX17" fmla="*/ 40005 w 104775"/>
                          <a:gd name="connsiteY17" fmla="*/ 40009 h 123829"/>
                          <a:gd name="connsiteX18" fmla="*/ 3810 w 104775"/>
                          <a:gd name="connsiteY18" fmla="*/ 47629 h 123829"/>
                          <a:gd name="connsiteX19" fmla="*/ 1905 w 104775"/>
                          <a:gd name="connsiteY19" fmla="*/ 55249 h 123829"/>
                          <a:gd name="connsiteX20" fmla="*/ 0 w 104775"/>
                          <a:gd name="connsiteY20" fmla="*/ 60964 h 123829"/>
                          <a:gd name="connsiteX21" fmla="*/ 5715 w 104775"/>
                          <a:gd name="connsiteY21" fmla="*/ 74299 h 123829"/>
                          <a:gd name="connsiteX22" fmla="*/ 5715 w 104775"/>
                          <a:gd name="connsiteY22" fmla="*/ 78109 h 123829"/>
                          <a:gd name="connsiteX23" fmla="*/ 17145 w 104775"/>
                          <a:gd name="connsiteY23" fmla="*/ 106684 h 123829"/>
                          <a:gd name="connsiteX0" fmla="*/ 19050 w 104775"/>
                          <a:gd name="connsiteY0" fmla="*/ 77050 h 98005"/>
                          <a:gd name="connsiteX1" fmla="*/ 24765 w 104775"/>
                          <a:gd name="connsiteY1" fmla="*/ 80860 h 98005"/>
                          <a:gd name="connsiteX2" fmla="*/ 28575 w 104775"/>
                          <a:gd name="connsiteY2" fmla="*/ 86575 h 98005"/>
                          <a:gd name="connsiteX3" fmla="*/ 32385 w 104775"/>
                          <a:gd name="connsiteY3" fmla="*/ 98005 h 98005"/>
                          <a:gd name="connsiteX4" fmla="*/ 81915 w 104775"/>
                          <a:gd name="connsiteY4" fmla="*/ 96100 h 98005"/>
                          <a:gd name="connsiteX5" fmla="*/ 87630 w 104775"/>
                          <a:gd name="connsiteY5" fmla="*/ 94195 h 98005"/>
                          <a:gd name="connsiteX6" fmla="*/ 89535 w 104775"/>
                          <a:gd name="connsiteY6" fmla="*/ 88480 h 98005"/>
                          <a:gd name="connsiteX7" fmla="*/ 93345 w 104775"/>
                          <a:gd name="connsiteY7" fmla="*/ 82765 h 98005"/>
                          <a:gd name="connsiteX8" fmla="*/ 95250 w 104775"/>
                          <a:gd name="connsiteY8" fmla="*/ 69430 h 98005"/>
                          <a:gd name="connsiteX9" fmla="*/ 100965 w 104775"/>
                          <a:gd name="connsiteY9" fmla="*/ 65620 h 98005"/>
                          <a:gd name="connsiteX10" fmla="*/ 104775 w 104775"/>
                          <a:gd name="connsiteY10" fmla="*/ 54190 h 98005"/>
                          <a:gd name="connsiteX11" fmla="*/ 100965 w 104775"/>
                          <a:gd name="connsiteY11" fmla="*/ 27520 h 98005"/>
                          <a:gd name="connsiteX12" fmla="*/ 99060 w 104775"/>
                          <a:gd name="connsiteY12" fmla="*/ 19900 h 98005"/>
                          <a:gd name="connsiteX13" fmla="*/ 95250 w 104775"/>
                          <a:gd name="connsiteY13" fmla="*/ 14185 h 98005"/>
                          <a:gd name="connsiteX14" fmla="*/ 91440 w 104775"/>
                          <a:gd name="connsiteY14" fmla="*/ 2755 h 98005"/>
                          <a:gd name="connsiteX15" fmla="*/ 41910 w 104775"/>
                          <a:gd name="connsiteY15" fmla="*/ 850 h 98005"/>
                          <a:gd name="connsiteX16" fmla="*/ 40005 w 104775"/>
                          <a:gd name="connsiteY16" fmla="*/ 14185 h 98005"/>
                          <a:gd name="connsiteX17" fmla="*/ 3810 w 104775"/>
                          <a:gd name="connsiteY17" fmla="*/ 21805 h 98005"/>
                          <a:gd name="connsiteX18" fmla="*/ 1905 w 104775"/>
                          <a:gd name="connsiteY18" fmla="*/ 29425 h 98005"/>
                          <a:gd name="connsiteX19" fmla="*/ 0 w 104775"/>
                          <a:gd name="connsiteY19" fmla="*/ 35140 h 98005"/>
                          <a:gd name="connsiteX20" fmla="*/ 5715 w 104775"/>
                          <a:gd name="connsiteY20" fmla="*/ 48475 h 98005"/>
                          <a:gd name="connsiteX21" fmla="*/ 5715 w 104775"/>
                          <a:gd name="connsiteY21" fmla="*/ 52285 h 98005"/>
                          <a:gd name="connsiteX22" fmla="*/ 17145 w 104775"/>
                          <a:gd name="connsiteY22" fmla="*/ 80860 h 98005"/>
                          <a:gd name="connsiteX0" fmla="*/ 19050 w 104775"/>
                          <a:gd name="connsiteY0" fmla="*/ 76200 h 97155"/>
                          <a:gd name="connsiteX1" fmla="*/ 24765 w 104775"/>
                          <a:gd name="connsiteY1" fmla="*/ 80010 h 97155"/>
                          <a:gd name="connsiteX2" fmla="*/ 28575 w 104775"/>
                          <a:gd name="connsiteY2" fmla="*/ 85725 h 97155"/>
                          <a:gd name="connsiteX3" fmla="*/ 32385 w 104775"/>
                          <a:gd name="connsiteY3" fmla="*/ 97155 h 97155"/>
                          <a:gd name="connsiteX4" fmla="*/ 81915 w 104775"/>
                          <a:gd name="connsiteY4" fmla="*/ 95250 h 97155"/>
                          <a:gd name="connsiteX5" fmla="*/ 87630 w 104775"/>
                          <a:gd name="connsiteY5" fmla="*/ 93345 h 97155"/>
                          <a:gd name="connsiteX6" fmla="*/ 89535 w 104775"/>
                          <a:gd name="connsiteY6" fmla="*/ 87630 h 97155"/>
                          <a:gd name="connsiteX7" fmla="*/ 93345 w 104775"/>
                          <a:gd name="connsiteY7" fmla="*/ 81915 h 97155"/>
                          <a:gd name="connsiteX8" fmla="*/ 95250 w 104775"/>
                          <a:gd name="connsiteY8" fmla="*/ 68580 h 97155"/>
                          <a:gd name="connsiteX9" fmla="*/ 100965 w 104775"/>
                          <a:gd name="connsiteY9" fmla="*/ 64770 h 97155"/>
                          <a:gd name="connsiteX10" fmla="*/ 104775 w 104775"/>
                          <a:gd name="connsiteY10" fmla="*/ 53340 h 97155"/>
                          <a:gd name="connsiteX11" fmla="*/ 100965 w 104775"/>
                          <a:gd name="connsiteY11" fmla="*/ 26670 h 97155"/>
                          <a:gd name="connsiteX12" fmla="*/ 99060 w 104775"/>
                          <a:gd name="connsiteY12" fmla="*/ 19050 h 97155"/>
                          <a:gd name="connsiteX13" fmla="*/ 95250 w 104775"/>
                          <a:gd name="connsiteY13" fmla="*/ 13335 h 97155"/>
                          <a:gd name="connsiteX14" fmla="*/ 41910 w 104775"/>
                          <a:gd name="connsiteY14" fmla="*/ 0 h 97155"/>
                          <a:gd name="connsiteX15" fmla="*/ 40005 w 104775"/>
                          <a:gd name="connsiteY15" fmla="*/ 13335 h 97155"/>
                          <a:gd name="connsiteX16" fmla="*/ 3810 w 104775"/>
                          <a:gd name="connsiteY16" fmla="*/ 20955 h 97155"/>
                          <a:gd name="connsiteX17" fmla="*/ 1905 w 104775"/>
                          <a:gd name="connsiteY17" fmla="*/ 28575 h 97155"/>
                          <a:gd name="connsiteX18" fmla="*/ 0 w 104775"/>
                          <a:gd name="connsiteY18" fmla="*/ 34290 h 97155"/>
                          <a:gd name="connsiteX19" fmla="*/ 5715 w 104775"/>
                          <a:gd name="connsiteY19" fmla="*/ 47625 h 97155"/>
                          <a:gd name="connsiteX20" fmla="*/ 5715 w 104775"/>
                          <a:gd name="connsiteY20" fmla="*/ 51435 h 97155"/>
                          <a:gd name="connsiteX21" fmla="*/ 17145 w 104775"/>
                          <a:gd name="connsiteY21" fmla="*/ 80010 h 97155"/>
                          <a:gd name="connsiteX0" fmla="*/ 19050 w 104775"/>
                          <a:gd name="connsiteY0" fmla="*/ 76298 h 97253"/>
                          <a:gd name="connsiteX1" fmla="*/ 24765 w 104775"/>
                          <a:gd name="connsiteY1" fmla="*/ 80108 h 97253"/>
                          <a:gd name="connsiteX2" fmla="*/ 28575 w 104775"/>
                          <a:gd name="connsiteY2" fmla="*/ 85823 h 97253"/>
                          <a:gd name="connsiteX3" fmla="*/ 32385 w 104775"/>
                          <a:gd name="connsiteY3" fmla="*/ 97253 h 97253"/>
                          <a:gd name="connsiteX4" fmla="*/ 81915 w 104775"/>
                          <a:gd name="connsiteY4" fmla="*/ 95348 h 97253"/>
                          <a:gd name="connsiteX5" fmla="*/ 87630 w 104775"/>
                          <a:gd name="connsiteY5" fmla="*/ 93443 h 97253"/>
                          <a:gd name="connsiteX6" fmla="*/ 89535 w 104775"/>
                          <a:gd name="connsiteY6" fmla="*/ 87728 h 97253"/>
                          <a:gd name="connsiteX7" fmla="*/ 93345 w 104775"/>
                          <a:gd name="connsiteY7" fmla="*/ 82013 h 97253"/>
                          <a:gd name="connsiteX8" fmla="*/ 95250 w 104775"/>
                          <a:gd name="connsiteY8" fmla="*/ 68678 h 97253"/>
                          <a:gd name="connsiteX9" fmla="*/ 100965 w 104775"/>
                          <a:gd name="connsiteY9" fmla="*/ 64868 h 97253"/>
                          <a:gd name="connsiteX10" fmla="*/ 104775 w 104775"/>
                          <a:gd name="connsiteY10" fmla="*/ 53438 h 97253"/>
                          <a:gd name="connsiteX11" fmla="*/ 100965 w 104775"/>
                          <a:gd name="connsiteY11" fmla="*/ 26768 h 97253"/>
                          <a:gd name="connsiteX12" fmla="*/ 99060 w 104775"/>
                          <a:gd name="connsiteY12" fmla="*/ 19148 h 97253"/>
                          <a:gd name="connsiteX13" fmla="*/ 95250 w 104775"/>
                          <a:gd name="connsiteY13" fmla="*/ 13433 h 97253"/>
                          <a:gd name="connsiteX14" fmla="*/ 41910 w 104775"/>
                          <a:gd name="connsiteY14" fmla="*/ 98 h 97253"/>
                          <a:gd name="connsiteX15" fmla="*/ 3810 w 104775"/>
                          <a:gd name="connsiteY15" fmla="*/ 21053 h 97253"/>
                          <a:gd name="connsiteX16" fmla="*/ 1905 w 104775"/>
                          <a:gd name="connsiteY16" fmla="*/ 28673 h 97253"/>
                          <a:gd name="connsiteX17" fmla="*/ 0 w 104775"/>
                          <a:gd name="connsiteY17" fmla="*/ 34388 h 97253"/>
                          <a:gd name="connsiteX18" fmla="*/ 5715 w 104775"/>
                          <a:gd name="connsiteY18" fmla="*/ 47723 h 97253"/>
                          <a:gd name="connsiteX19" fmla="*/ 5715 w 104775"/>
                          <a:gd name="connsiteY19" fmla="*/ 51533 h 97253"/>
                          <a:gd name="connsiteX20" fmla="*/ 17145 w 104775"/>
                          <a:gd name="connsiteY20" fmla="*/ 80108 h 97253"/>
                          <a:gd name="connsiteX0" fmla="*/ 19050 w 104775"/>
                          <a:gd name="connsiteY0" fmla="*/ 76205 h 97160"/>
                          <a:gd name="connsiteX1" fmla="*/ 24765 w 104775"/>
                          <a:gd name="connsiteY1" fmla="*/ 80015 h 97160"/>
                          <a:gd name="connsiteX2" fmla="*/ 28575 w 104775"/>
                          <a:gd name="connsiteY2" fmla="*/ 85730 h 97160"/>
                          <a:gd name="connsiteX3" fmla="*/ 32385 w 104775"/>
                          <a:gd name="connsiteY3" fmla="*/ 97160 h 97160"/>
                          <a:gd name="connsiteX4" fmla="*/ 81915 w 104775"/>
                          <a:gd name="connsiteY4" fmla="*/ 95255 h 97160"/>
                          <a:gd name="connsiteX5" fmla="*/ 87630 w 104775"/>
                          <a:gd name="connsiteY5" fmla="*/ 93350 h 97160"/>
                          <a:gd name="connsiteX6" fmla="*/ 89535 w 104775"/>
                          <a:gd name="connsiteY6" fmla="*/ 87635 h 97160"/>
                          <a:gd name="connsiteX7" fmla="*/ 93345 w 104775"/>
                          <a:gd name="connsiteY7" fmla="*/ 81920 h 97160"/>
                          <a:gd name="connsiteX8" fmla="*/ 95250 w 104775"/>
                          <a:gd name="connsiteY8" fmla="*/ 68585 h 97160"/>
                          <a:gd name="connsiteX9" fmla="*/ 100965 w 104775"/>
                          <a:gd name="connsiteY9" fmla="*/ 64775 h 97160"/>
                          <a:gd name="connsiteX10" fmla="*/ 104775 w 104775"/>
                          <a:gd name="connsiteY10" fmla="*/ 53345 h 97160"/>
                          <a:gd name="connsiteX11" fmla="*/ 100965 w 104775"/>
                          <a:gd name="connsiteY11" fmla="*/ 26675 h 97160"/>
                          <a:gd name="connsiteX12" fmla="*/ 99060 w 104775"/>
                          <a:gd name="connsiteY12" fmla="*/ 19055 h 97160"/>
                          <a:gd name="connsiteX13" fmla="*/ 41910 w 104775"/>
                          <a:gd name="connsiteY13" fmla="*/ 5 h 97160"/>
                          <a:gd name="connsiteX14" fmla="*/ 3810 w 104775"/>
                          <a:gd name="connsiteY14" fmla="*/ 20960 h 97160"/>
                          <a:gd name="connsiteX15" fmla="*/ 1905 w 104775"/>
                          <a:gd name="connsiteY15" fmla="*/ 28580 h 97160"/>
                          <a:gd name="connsiteX16" fmla="*/ 0 w 104775"/>
                          <a:gd name="connsiteY16" fmla="*/ 34295 h 97160"/>
                          <a:gd name="connsiteX17" fmla="*/ 5715 w 104775"/>
                          <a:gd name="connsiteY17" fmla="*/ 47630 h 97160"/>
                          <a:gd name="connsiteX18" fmla="*/ 5715 w 104775"/>
                          <a:gd name="connsiteY18" fmla="*/ 51440 h 97160"/>
                          <a:gd name="connsiteX19" fmla="*/ 17145 w 104775"/>
                          <a:gd name="connsiteY19" fmla="*/ 80015 h 97160"/>
                          <a:gd name="connsiteX0" fmla="*/ 19050 w 105971"/>
                          <a:gd name="connsiteY0" fmla="*/ 76238 h 97193"/>
                          <a:gd name="connsiteX1" fmla="*/ 24765 w 105971"/>
                          <a:gd name="connsiteY1" fmla="*/ 80048 h 97193"/>
                          <a:gd name="connsiteX2" fmla="*/ 28575 w 105971"/>
                          <a:gd name="connsiteY2" fmla="*/ 85763 h 97193"/>
                          <a:gd name="connsiteX3" fmla="*/ 32385 w 105971"/>
                          <a:gd name="connsiteY3" fmla="*/ 97193 h 97193"/>
                          <a:gd name="connsiteX4" fmla="*/ 81915 w 105971"/>
                          <a:gd name="connsiteY4" fmla="*/ 95288 h 97193"/>
                          <a:gd name="connsiteX5" fmla="*/ 87630 w 105971"/>
                          <a:gd name="connsiteY5" fmla="*/ 93383 h 97193"/>
                          <a:gd name="connsiteX6" fmla="*/ 89535 w 105971"/>
                          <a:gd name="connsiteY6" fmla="*/ 87668 h 97193"/>
                          <a:gd name="connsiteX7" fmla="*/ 93345 w 105971"/>
                          <a:gd name="connsiteY7" fmla="*/ 81953 h 97193"/>
                          <a:gd name="connsiteX8" fmla="*/ 95250 w 105971"/>
                          <a:gd name="connsiteY8" fmla="*/ 68618 h 97193"/>
                          <a:gd name="connsiteX9" fmla="*/ 100965 w 105971"/>
                          <a:gd name="connsiteY9" fmla="*/ 64808 h 97193"/>
                          <a:gd name="connsiteX10" fmla="*/ 104775 w 105971"/>
                          <a:gd name="connsiteY10" fmla="*/ 53378 h 97193"/>
                          <a:gd name="connsiteX11" fmla="*/ 100965 w 105971"/>
                          <a:gd name="connsiteY11" fmla="*/ 26708 h 97193"/>
                          <a:gd name="connsiteX12" fmla="*/ 41910 w 105971"/>
                          <a:gd name="connsiteY12" fmla="*/ 38 h 97193"/>
                          <a:gd name="connsiteX13" fmla="*/ 3810 w 105971"/>
                          <a:gd name="connsiteY13" fmla="*/ 20993 h 97193"/>
                          <a:gd name="connsiteX14" fmla="*/ 1905 w 105971"/>
                          <a:gd name="connsiteY14" fmla="*/ 28613 h 97193"/>
                          <a:gd name="connsiteX15" fmla="*/ 0 w 105971"/>
                          <a:gd name="connsiteY15" fmla="*/ 34328 h 97193"/>
                          <a:gd name="connsiteX16" fmla="*/ 5715 w 105971"/>
                          <a:gd name="connsiteY16" fmla="*/ 47663 h 97193"/>
                          <a:gd name="connsiteX17" fmla="*/ 5715 w 105971"/>
                          <a:gd name="connsiteY17" fmla="*/ 51473 h 97193"/>
                          <a:gd name="connsiteX18" fmla="*/ 17145 w 105971"/>
                          <a:gd name="connsiteY18" fmla="*/ 80048 h 97193"/>
                          <a:gd name="connsiteX0" fmla="*/ 19050 w 106250"/>
                          <a:gd name="connsiteY0" fmla="*/ 64875 h 85830"/>
                          <a:gd name="connsiteX1" fmla="*/ 24765 w 106250"/>
                          <a:gd name="connsiteY1" fmla="*/ 68685 h 85830"/>
                          <a:gd name="connsiteX2" fmla="*/ 28575 w 106250"/>
                          <a:gd name="connsiteY2" fmla="*/ 74400 h 85830"/>
                          <a:gd name="connsiteX3" fmla="*/ 32385 w 106250"/>
                          <a:gd name="connsiteY3" fmla="*/ 85830 h 85830"/>
                          <a:gd name="connsiteX4" fmla="*/ 81915 w 106250"/>
                          <a:gd name="connsiteY4" fmla="*/ 83925 h 85830"/>
                          <a:gd name="connsiteX5" fmla="*/ 87630 w 106250"/>
                          <a:gd name="connsiteY5" fmla="*/ 82020 h 85830"/>
                          <a:gd name="connsiteX6" fmla="*/ 89535 w 106250"/>
                          <a:gd name="connsiteY6" fmla="*/ 76305 h 85830"/>
                          <a:gd name="connsiteX7" fmla="*/ 93345 w 106250"/>
                          <a:gd name="connsiteY7" fmla="*/ 70590 h 85830"/>
                          <a:gd name="connsiteX8" fmla="*/ 95250 w 106250"/>
                          <a:gd name="connsiteY8" fmla="*/ 57255 h 85830"/>
                          <a:gd name="connsiteX9" fmla="*/ 100965 w 106250"/>
                          <a:gd name="connsiteY9" fmla="*/ 53445 h 85830"/>
                          <a:gd name="connsiteX10" fmla="*/ 104775 w 106250"/>
                          <a:gd name="connsiteY10" fmla="*/ 42015 h 85830"/>
                          <a:gd name="connsiteX11" fmla="*/ 100965 w 106250"/>
                          <a:gd name="connsiteY11" fmla="*/ 15345 h 85830"/>
                          <a:gd name="connsiteX12" fmla="*/ 38100 w 106250"/>
                          <a:gd name="connsiteY12" fmla="*/ 105 h 85830"/>
                          <a:gd name="connsiteX13" fmla="*/ 3810 w 106250"/>
                          <a:gd name="connsiteY13" fmla="*/ 9630 h 85830"/>
                          <a:gd name="connsiteX14" fmla="*/ 1905 w 106250"/>
                          <a:gd name="connsiteY14" fmla="*/ 17250 h 85830"/>
                          <a:gd name="connsiteX15" fmla="*/ 0 w 106250"/>
                          <a:gd name="connsiteY15" fmla="*/ 22965 h 85830"/>
                          <a:gd name="connsiteX16" fmla="*/ 5715 w 106250"/>
                          <a:gd name="connsiteY16" fmla="*/ 36300 h 85830"/>
                          <a:gd name="connsiteX17" fmla="*/ 5715 w 106250"/>
                          <a:gd name="connsiteY17" fmla="*/ 40110 h 85830"/>
                          <a:gd name="connsiteX18" fmla="*/ 17145 w 106250"/>
                          <a:gd name="connsiteY18" fmla="*/ 68685 h 8583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</a:cxnLst>
                        <a:rect l="l" t="t" r="r" b="b"/>
                        <a:pathLst>
                          <a:path w="106250" h="85830">
                            <a:moveTo>
                              <a:pt x="19050" y="64875"/>
                            </a:moveTo>
                            <a:cubicBezTo>
                              <a:pt x="19050" y="69955"/>
                              <a:pt x="22860" y="67415"/>
                              <a:pt x="24765" y="68685"/>
                            </a:cubicBezTo>
                            <a:cubicBezTo>
                              <a:pt x="26035" y="70590"/>
                              <a:pt x="27645" y="72308"/>
                              <a:pt x="28575" y="74400"/>
                            </a:cubicBezTo>
                            <a:cubicBezTo>
                              <a:pt x="30206" y="78070"/>
                              <a:pt x="32385" y="85830"/>
                              <a:pt x="32385" y="85830"/>
                            </a:cubicBezTo>
                            <a:cubicBezTo>
                              <a:pt x="48895" y="85195"/>
                              <a:pt x="65432" y="85062"/>
                              <a:pt x="81915" y="83925"/>
                            </a:cubicBezTo>
                            <a:cubicBezTo>
                              <a:pt x="83918" y="83787"/>
                              <a:pt x="86210" y="83440"/>
                              <a:pt x="87630" y="82020"/>
                            </a:cubicBezTo>
                            <a:cubicBezTo>
                              <a:pt x="89050" y="80600"/>
                              <a:pt x="88637" y="78101"/>
                              <a:pt x="89535" y="76305"/>
                            </a:cubicBezTo>
                            <a:cubicBezTo>
                              <a:pt x="90559" y="74257"/>
                              <a:pt x="92075" y="72495"/>
                              <a:pt x="93345" y="70590"/>
                            </a:cubicBezTo>
                            <a:cubicBezTo>
                              <a:pt x="93980" y="66145"/>
                              <a:pt x="93426" y="61358"/>
                              <a:pt x="95250" y="57255"/>
                            </a:cubicBezTo>
                            <a:cubicBezTo>
                              <a:pt x="96180" y="55163"/>
                              <a:pt x="99752" y="55387"/>
                              <a:pt x="100965" y="53445"/>
                            </a:cubicBezTo>
                            <a:cubicBezTo>
                              <a:pt x="103094" y="50039"/>
                              <a:pt x="104775" y="42015"/>
                              <a:pt x="104775" y="42015"/>
                            </a:cubicBezTo>
                            <a:cubicBezTo>
                              <a:pt x="101728" y="8500"/>
                              <a:pt x="112077" y="22330"/>
                              <a:pt x="100965" y="15345"/>
                            </a:cubicBezTo>
                            <a:cubicBezTo>
                              <a:pt x="89853" y="8360"/>
                              <a:pt x="54292" y="1057"/>
                              <a:pt x="38100" y="105"/>
                            </a:cubicBezTo>
                            <a:cubicBezTo>
                              <a:pt x="21908" y="-847"/>
                              <a:pt x="10477" y="4868"/>
                              <a:pt x="3810" y="9630"/>
                            </a:cubicBezTo>
                            <a:cubicBezTo>
                              <a:pt x="3175" y="12170"/>
                              <a:pt x="2624" y="14733"/>
                              <a:pt x="1905" y="17250"/>
                            </a:cubicBezTo>
                            <a:cubicBezTo>
                              <a:pt x="1353" y="19181"/>
                              <a:pt x="0" y="20957"/>
                              <a:pt x="0" y="22965"/>
                            </a:cubicBezTo>
                            <a:cubicBezTo>
                              <a:pt x="0" y="32673"/>
                              <a:pt x="2604" y="28523"/>
                              <a:pt x="5715" y="36300"/>
                            </a:cubicBezTo>
                            <a:cubicBezTo>
                              <a:pt x="6187" y="37479"/>
                              <a:pt x="3810" y="34713"/>
                              <a:pt x="5715" y="40110"/>
                            </a:cubicBezTo>
                            <a:cubicBezTo>
                              <a:pt x="7620" y="45507"/>
                              <a:pt x="13335" y="59160"/>
                              <a:pt x="17145" y="68685"/>
                            </a:cubicBezTo>
                          </a:path>
                        </a:pathLst>
                      </a:custGeom>
                      <a:solidFill>
                        <a:srgbClr val="0D3759"/>
                      </a:solidFill>
                      <a:ln w="3175" cap="flat" cmpd="sng" algn="ctr">
                        <a:solidFill>
                          <a:srgbClr val="F2E8F8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68" name="Freeform: Shape 53">
                        <a:extLst>
                          <a:ext uri="{FF2B5EF4-FFF2-40B4-BE49-F238E27FC236}">
                            <a16:creationId xmlns:a16="http://schemas.microsoft.com/office/drawing/2014/main" id="{B46ED85C-1E14-0D4F-FEDF-7F929F5E4E92}"/>
                          </a:ext>
                        </a:extLst>
                      </p:cNvPr>
                      <p:cNvSpPr/>
                      <p:nvPr/>
                    </p:nvSpPr>
                    <p:spPr>
                      <a:xfrm rot="9043087">
                        <a:off x="8883430" y="4342996"/>
                        <a:ext cx="27432" cy="36576"/>
                      </a:xfrm>
                      <a:custGeom>
                        <a:avLst/>
                        <a:gdLst>
                          <a:gd name="connsiteX0" fmla="*/ 57150 w 104775"/>
                          <a:gd name="connsiteY0" fmla="*/ 76200 h 127635"/>
                          <a:gd name="connsiteX1" fmla="*/ 57150 w 104775"/>
                          <a:gd name="connsiteY1" fmla="*/ 76200 h 127635"/>
                          <a:gd name="connsiteX2" fmla="*/ 24765 w 104775"/>
                          <a:gd name="connsiteY2" fmla="*/ 80010 h 127635"/>
                          <a:gd name="connsiteX3" fmla="*/ 19050 w 104775"/>
                          <a:gd name="connsiteY3" fmla="*/ 83820 h 127635"/>
                          <a:gd name="connsiteX4" fmla="*/ 19050 w 104775"/>
                          <a:gd name="connsiteY4" fmla="*/ 106680 h 127635"/>
                          <a:gd name="connsiteX5" fmla="*/ 24765 w 104775"/>
                          <a:gd name="connsiteY5" fmla="*/ 110490 h 127635"/>
                          <a:gd name="connsiteX6" fmla="*/ 28575 w 104775"/>
                          <a:gd name="connsiteY6" fmla="*/ 116205 h 127635"/>
                          <a:gd name="connsiteX7" fmla="*/ 32385 w 104775"/>
                          <a:gd name="connsiteY7" fmla="*/ 127635 h 127635"/>
                          <a:gd name="connsiteX8" fmla="*/ 81915 w 104775"/>
                          <a:gd name="connsiteY8" fmla="*/ 125730 h 127635"/>
                          <a:gd name="connsiteX9" fmla="*/ 87630 w 104775"/>
                          <a:gd name="connsiteY9" fmla="*/ 123825 h 127635"/>
                          <a:gd name="connsiteX10" fmla="*/ 89535 w 104775"/>
                          <a:gd name="connsiteY10" fmla="*/ 118110 h 127635"/>
                          <a:gd name="connsiteX11" fmla="*/ 93345 w 104775"/>
                          <a:gd name="connsiteY11" fmla="*/ 112395 h 127635"/>
                          <a:gd name="connsiteX12" fmla="*/ 95250 w 104775"/>
                          <a:gd name="connsiteY12" fmla="*/ 99060 h 127635"/>
                          <a:gd name="connsiteX13" fmla="*/ 100965 w 104775"/>
                          <a:gd name="connsiteY13" fmla="*/ 95250 h 127635"/>
                          <a:gd name="connsiteX14" fmla="*/ 104775 w 104775"/>
                          <a:gd name="connsiteY14" fmla="*/ 83820 h 127635"/>
                          <a:gd name="connsiteX15" fmla="*/ 100965 w 104775"/>
                          <a:gd name="connsiteY15" fmla="*/ 57150 h 127635"/>
                          <a:gd name="connsiteX16" fmla="*/ 99060 w 104775"/>
                          <a:gd name="connsiteY16" fmla="*/ 49530 h 127635"/>
                          <a:gd name="connsiteX17" fmla="*/ 95250 w 104775"/>
                          <a:gd name="connsiteY17" fmla="*/ 43815 h 127635"/>
                          <a:gd name="connsiteX18" fmla="*/ 91440 w 104775"/>
                          <a:gd name="connsiteY18" fmla="*/ 32385 h 127635"/>
                          <a:gd name="connsiteX19" fmla="*/ 81915 w 104775"/>
                          <a:gd name="connsiteY19" fmla="*/ 15240 h 127635"/>
                          <a:gd name="connsiteX20" fmla="*/ 70485 w 104775"/>
                          <a:gd name="connsiteY20" fmla="*/ 3810 h 127635"/>
                          <a:gd name="connsiteX21" fmla="*/ 59055 w 104775"/>
                          <a:gd name="connsiteY21" fmla="*/ 0 h 127635"/>
                          <a:gd name="connsiteX22" fmla="*/ 45720 w 104775"/>
                          <a:gd name="connsiteY22" fmla="*/ 1905 h 127635"/>
                          <a:gd name="connsiteX23" fmla="*/ 43815 w 104775"/>
                          <a:gd name="connsiteY23" fmla="*/ 19050 h 127635"/>
                          <a:gd name="connsiteX24" fmla="*/ 41910 w 104775"/>
                          <a:gd name="connsiteY24" fmla="*/ 30480 h 127635"/>
                          <a:gd name="connsiteX25" fmla="*/ 40005 w 104775"/>
                          <a:gd name="connsiteY25" fmla="*/ 43815 h 127635"/>
                          <a:gd name="connsiteX26" fmla="*/ 28575 w 104775"/>
                          <a:gd name="connsiteY26" fmla="*/ 49530 h 127635"/>
                          <a:gd name="connsiteX27" fmla="*/ 3810 w 104775"/>
                          <a:gd name="connsiteY27" fmla="*/ 51435 h 127635"/>
                          <a:gd name="connsiteX28" fmla="*/ 1905 w 104775"/>
                          <a:gd name="connsiteY28" fmla="*/ 59055 h 127635"/>
                          <a:gd name="connsiteX29" fmla="*/ 0 w 104775"/>
                          <a:gd name="connsiteY29" fmla="*/ 64770 h 127635"/>
                          <a:gd name="connsiteX30" fmla="*/ 5715 w 104775"/>
                          <a:gd name="connsiteY30" fmla="*/ 78105 h 127635"/>
                          <a:gd name="connsiteX31" fmla="*/ 5715 w 104775"/>
                          <a:gd name="connsiteY31" fmla="*/ 81915 h 127635"/>
                          <a:gd name="connsiteX32" fmla="*/ 5715 w 104775"/>
                          <a:gd name="connsiteY32" fmla="*/ 87630 h 127635"/>
                          <a:gd name="connsiteX0" fmla="*/ 57150 w 104775"/>
                          <a:gd name="connsiteY0" fmla="*/ 76200 h 127635"/>
                          <a:gd name="connsiteX1" fmla="*/ 24765 w 104775"/>
                          <a:gd name="connsiteY1" fmla="*/ 80010 h 127635"/>
                          <a:gd name="connsiteX2" fmla="*/ 19050 w 104775"/>
                          <a:gd name="connsiteY2" fmla="*/ 83820 h 127635"/>
                          <a:gd name="connsiteX3" fmla="*/ 19050 w 104775"/>
                          <a:gd name="connsiteY3" fmla="*/ 106680 h 127635"/>
                          <a:gd name="connsiteX4" fmla="*/ 24765 w 104775"/>
                          <a:gd name="connsiteY4" fmla="*/ 110490 h 127635"/>
                          <a:gd name="connsiteX5" fmla="*/ 28575 w 104775"/>
                          <a:gd name="connsiteY5" fmla="*/ 116205 h 127635"/>
                          <a:gd name="connsiteX6" fmla="*/ 32385 w 104775"/>
                          <a:gd name="connsiteY6" fmla="*/ 127635 h 127635"/>
                          <a:gd name="connsiteX7" fmla="*/ 81915 w 104775"/>
                          <a:gd name="connsiteY7" fmla="*/ 125730 h 127635"/>
                          <a:gd name="connsiteX8" fmla="*/ 87630 w 104775"/>
                          <a:gd name="connsiteY8" fmla="*/ 123825 h 127635"/>
                          <a:gd name="connsiteX9" fmla="*/ 89535 w 104775"/>
                          <a:gd name="connsiteY9" fmla="*/ 118110 h 127635"/>
                          <a:gd name="connsiteX10" fmla="*/ 93345 w 104775"/>
                          <a:gd name="connsiteY10" fmla="*/ 112395 h 127635"/>
                          <a:gd name="connsiteX11" fmla="*/ 95250 w 104775"/>
                          <a:gd name="connsiteY11" fmla="*/ 99060 h 127635"/>
                          <a:gd name="connsiteX12" fmla="*/ 100965 w 104775"/>
                          <a:gd name="connsiteY12" fmla="*/ 95250 h 127635"/>
                          <a:gd name="connsiteX13" fmla="*/ 104775 w 104775"/>
                          <a:gd name="connsiteY13" fmla="*/ 83820 h 127635"/>
                          <a:gd name="connsiteX14" fmla="*/ 100965 w 104775"/>
                          <a:gd name="connsiteY14" fmla="*/ 57150 h 127635"/>
                          <a:gd name="connsiteX15" fmla="*/ 99060 w 104775"/>
                          <a:gd name="connsiteY15" fmla="*/ 49530 h 127635"/>
                          <a:gd name="connsiteX16" fmla="*/ 95250 w 104775"/>
                          <a:gd name="connsiteY16" fmla="*/ 43815 h 127635"/>
                          <a:gd name="connsiteX17" fmla="*/ 91440 w 104775"/>
                          <a:gd name="connsiteY17" fmla="*/ 32385 h 127635"/>
                          <a:gd name="connsiteX18" fmla="*/ 81915 w 104775"/>
                          <a:gd name="connsiteY18" fmla="*/ 15240 h 127635"/>
                          <a:gd name="connsiteX19" fmla="*/ 70485 w 104775"/>
                          <a:gd name="connsiteY19" fmla="*/ 3810 h 127635"/>
                          <a:gd name="connsiteX20" fmla="*/ 59055 w 104775"/>
                          <a:gd name="connsiteY20" fmla="*/ 0 h 127635"/>
                          <a:gd name="connsiteX21" fmla="*/ 45720 w 104775"/>
                          <a:gd name="connsiteY21" fmla="*/ 1905 h 127635"/>
                          <a:gd name="connsiteX22" fmla="*/ 43815 w 104775"/>
                          <a:gd name="connsiteY22" fmla="*/ 19050 h 127635"/>
                          <a:gd name="connsiteX23" fmla="*/ 41910 w 104775"/>
                          <a:gd name="connsiteY23" fmla="*/ 30480 h 127635"/>
                          <a:gd name="connsiteX24" fmla="*/ 40005 w 104775"/>
                          <a:gd name="connsiteY24" fmla="*/ 43815 h 127635"/>
                          <a:gd name="connsiteX25" fmla="*/ 28575 w 104775"/>
                          <a:gd name="connsiteY25" fmla="*/ 49530 h 127635"/>
                          <a:gd name="connsiteX26" fmla="*/ 3810 w 104775"/>
                          <a:gd name="connsiteY26" fmla="*/ 51435 h 127635"/>
                          <a:gd name="connsiteX27" fmla="*/ 1905 w 104775"/>
                          <a:gd name="connsiteY27" fmla="*/ 59055 h 127635"/>
                          <a:gd name="connsiteX28" fmla="*/ 0 w 104775"/>
                          <a:gd name="connsiteY28" fmla="*/ 64770 h 127635"/>
                          <a:gd name="connsiteX29" fmla="*/ 5715 w 104775"/>
                          <a:gd name="connsiteY29" fmla="*/ 78105 h 127635"/>
                          <a:gd name="connsiteX30" fmla="*/ 5715 w 104775"/>
                          <a:gd name="connsiteY30" fmla="*/ 81915 h 127635"/>
                          <a:gd name="connsiteX31" fmla="*/ 5715 w 104775"/>
                          <a:gd name="connsiteY31" fmla="*/ 87630 h 127635"/>
                          <a:gd name="connsiteX0" fmla="*/ 24765 w 104775"/>
                          <a:gd name="connsiteY0" fmla="*/ 80010 h 127635"/>
                          <a:gd name="connsiteX1" fmla="*/ 19050 w 104775"/>
                          <a:gd name="connsiteY1" fmla="*/ 83820 h 127635"/>
                          <a:gd name="connsiteX2" fmla="*/ 19050 w 104775"/>
                          <a:gd name="connsiteY2" fmla="*/ 106680 h 127635"/>
                          <a:gd name="connsiteX3" fmla="*/ 24765 w 104775"/>
                          <a:gd name="connsiteY3" fmla="*/ 110490 h 127635"/>
                          <a:gd name="connsiteX4" fmla="*/ 28575 w 104775"/>
                          <a:gd name="connsiteY4" fmla="*/ 116205 h 127635"/>
                          <a:gd name="connsiteX5" fmla="*/ 32385 w 104775"/>
                          <a:gd name="connsiteY5" fmla="*/ 127635 h 127635"/>
                          <a:gd name="connsiteX6" fmla="*/ 81915 w 104775"/>
                          <a:gd name="connsiteY6" fmla="*/ 125730 h 127635"/>
                          <a:gd name="connsiteX7" fmla="*/ 87630 w 104775"/>
                          <a:gd name="connsiteY7" fmla="*/ 123825 h 127635"/>
                          <a:gd name="connsiteX8" fmla="*/ 89535 w 104775"/>
                          <a:gd name="connsiteY8" fmla="*/ 118110 h 127635"/>
                          <a:gd name="connsiteX9" fmla="*/ 93345 w 104775"/>
                          <a:gd name="connsiteY9" fmla="*/ 112395 h 127635"/>
                          <a:gd name="connsiteX10" fmla="*/ 95250 w 104775"/>
                          <a:gd name="connsiteY10" fmla="*/ 99060 h 127635"/>
                          <a:gd name="connsiteX11" fmla="*/ 100965 w 104775"/>
                          <a:gd name="connsiteY11" fmla="*/ 95250 h 127635"/>
                          <a:gd name="connsiteX12" fmla="*/ 104775 w 104775"/>
                          <a:gd name="connsiteY12" fmla="*/ 83820 h 127635"/>
                          <a:gd name="connsiteX13" fmla="*/ 100965 w 104775"/>
                          <a:gd name="connsiteY13" fmla="*/ 57150 h 127635"/>
                          <a:gd name="connsiteX14" fmla="*/ 99060 w 104775"/>
                          <a:gd name="connsiteY14" fmla="*/ 49530 h 127635"/>
                          <a:gd name="connsiteX15" fmla="*/ 95250 w 104775"/>
                          <a:gd name="connsiteY15" fmla="*/ 43815 h 127635"/>
                          <a:gd name="connsiteX16" fmla="*/ 91440 w 104775"/>
                          <a:gd name="connsiteY16" fmla="*/ 32385 h 127635"/>
                          <a:gd name="connsiteX17" fmla="*/ 81915 w 104775"/>
                          <a:gd name="connsiteY17" fmla="*/ 15240 h 127635"/>
                          <a:gd name="connsiteX18" fmla="*/ 70485 w 104775"/>
                          <a:gd name="connsiteY18" fmla="*/ 3810 h 127635"/>
                          <a:gd name="connsiteX19" fmla="*/ 59055 w 104775"/>
                          <a:gd name="connsiteY19" fmla="*/ 0 h 127635"/>
                          <a:gd name="connsiteX20" fmla="*/ 45720 w 104775"/>
                          <a:gd name="connsiteY20" fmla="*/ 1905 h 127635"/>
                          <a:gd name="connsiteX21" fmla="*/ 43815 w 104775"/>
                          <a:gd name="connsiteY21" fmla="*/ 19050 h 127635"/>
                          <a:gd name="connsiteX22" fmla="*/ 41910 w 104775"/>
                          <a:gd name="connsiteY22" fmla="*/ 30480 h 127635"/>
                          <a:gd name="connsiteX23" fmla="*/ 40005 w 104775"/>
                          <a:gd name="connsiteY23" fmla="*/ 43815 h 127635"/>
                          <a:gd name="connsiteX24" fmla="*/ 28575 w 104775"/>
                          <a:gd name="connsiteY24" fmla="*/ 49530 h 127635"/>
                          <a:gd name="connsiteX25" fmla="*/ 3810 w 104775"/>
                          <a:gd name="connsiteY25" fmla="*/ 51435 h 127635"/>
                          <a:gd name="connsiteX26" fmla="*/ 1905 w 104775"/>
                          <a:gd name="connsiteY26" fmla="*/ 59055 h 127635"/>
                          <a:gd name="connsiteX27" fmla="*/ 0 w 104775"/>
                          <a:gd name="connsiteY27" fmla="*/ 64770 h 127635"/>
                          <a:gd name="connsiteX28" fmla="*/ 5715 w 104775"/>
                          <a:gd name="connsiteY28" fmla="*/ 78105 h 127635"/>
                          <a:gd name="connsiteX29" fmla="*/ 5715 w 104775"/>
                          <a:gd name="connsiteY29" fmla="*/ 81915 h 127635"/>
                          <a:gd name="connsiteX30" fmla="*/ 5715 w 104775"/>
                          <a:gd name="connsiteY30" fmla="*/ 87630 h 127635"/>
                          <a:gd name="connsiteX0" fmla="*/ 24765 w 104775"/>
                          <a:gd name="connsiteY0" fmla="*/ 80010 h 127635"/>
                          <a:gd name="connsiteX1" fmla="*/ 19050 w 104775"/>
                          <a:gd name="connsiteY1" fmla="*/ 106680 h 127635"/>
                          <a:gd name="connsiteX2" fmla="*/ 24765 w 104775"/>
                          <a:gd name="connsiteY2" fmla="*/ 110490 h 127635"/>
                          <a:gd name="connsiteX3" fmla="*/ 28575 w 104775"/>
                          <a:gd name="connsiteY3" fmla="*/ 116205 h 127635"/>
                          <a:gd name="connsiteX4" fmla="*/ 32385 w 104775"/>
                          <a:gd name="connsiteY4" fmla="*/ 127635 h 127635"/>
                          <a:gd name="connsiteX5" fmla="*/ 81915 w 104775"/>
                          <a:gd name="connsiteY5" fmla="*/ 125730 h 127635"/>
                          <a:gd name="connsiteX6" fmla="*/ 87630 w 104775"/>
                          <a:gd name="connsiteY6" fmla="*/ 123825 h 127635"/>
                          <a:gd name="connsiteX7" fmla="*/ 89535 w 104775"/>
                          <a:gd name="connsiteY7" fmla="*/ 118110 h 127635"/>
                          <a:gd name="connsiteX8" fmla="*/ 93345 w 104775"/>
                          <a:gd name="connsiteY8" fmla="*/ 112395 h 127635"/>
                          <a:gd name="connsiteX9" fmla="*/ 95250 w 104775"/>
                          <a:gd name="connsiteY9" fmla="*/ 99060 h 127635"/>
                          <a:gd name="connsiteX10" fmla="*/ 100965 w 104775"/>
                          <a:gd name="connsiteY10" fmla="*/ 95250 h 127635"/>
                          <a:gd name="connsiteX11" fmla="*/ 104775 w 104775"/>
                          <a:gd name="connsiteY11" fmla="*/ 83820 h 127635"/>
                          <a:gd name="connsiteX12" fmla="*/ 100965 w 104775"/>
                          <a:gd name="connsiteY12" fmla="*/ 57150 h 127635"/>
                          <a:gd name="connsiteX13" fmla="*/ 99060 w 104775"/>
                          <a:gd name="connsiteY13" fmla="*/ 49530 h 127635"/>
                          <a:gd name="connsiteX14" fmla="*/ 95250 w 104775"/>
                          <a:gd name="connsiteY14" fmla="*/ 43815 h 127635"/>
                          <a:gd name="connsiteX15" fmla="*/ 91440 w 104775"/>
                          <a:gd name="connsiteY15" fmla="*/ 32385 h 127635"/>
                          <a:gd name="connsiteX16" fmla="*/ 81915 w 104775"/>
                          <a:gd name="connsiteY16" fmla="*/ 15240 h 127635"/>
                          <a:gd name="connsiteX17" fmla="*/ 70485 w 104775"/>
                          <a:gd name="connsiteY17" fmla="*/ 3810 h 127635"/>
                          <a:gd name="connsiteX18" fmla="*/ 59055 w 104775"/>
                          <a:gd name="connsiteY18" fmla="*/ 0 h 127635"/>
                          <a:gd name="connsiteX19" fmla="*/ 45720 w 104775"/>
                          <a:gd name="connsiteY19" fmla="*/ 1905 h 127635"/>
                          <a:gd name="connsiteX20" fmla="*/ 43815 w 104775"/>
                          <a:gd name="connsiteY20" fmla="*/ 19050 h 127635"/>
                          <a:gd name="connsiteX21" fmla="*/ 41910 w 104775"/>
                          <a:gd name="connsiteY21" fmla="*/ 30480 h 127635"/>
                          <a:gd name="connsiteX22" fmla="*/ 40005 w 104775"/>
                          <a:gd name="connsiteY22" fmla="*/ 43815 h 127635"/>
                          <a:gd name="connsiteX23" fmla="*/ 28575 w 104775"/>
                          <a:gd name="connsiteY23" fmla="*/ 49530 h 127635"/>
                          <a:gd name="connsiteX24" fmla="*/ 3810 w 104775"/>
                          <a:gd name="connsiteY24" fmla="*/ 51435 h 127635"/>
                          <a:gd name="connsiteX25" fmla="*/ 1905 w 104775"/>
                          <a:gd name="connsiteY25" fmla="*/ 59055 h 127635"/>
                          <a:gd name="connsiteX26" fmla="*/ 0 w 104775"/>
                          <a:gd name="connsiteY26" fmla="*/ 64770 h 127635"/>
                          <a:gd name="connsiteX27" fmla="*/ 5715 w 104775"/>
                          <a:gd name="connsiteY27" fmla="*/ 78105 h 127635"/>
                          <a:gd name="connsiteX28" fmla="*/ 5715 w 104775"/>
                          <a:gd name="connsiteY28" fmla="*/ 81915 h 127635"/>
                          <a:gd name="connsiteX29" fmla="*/ 5715 w 104775"/>
                          <a:gd name="connsiteY29" fmla="*/ 8763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5715 w 104775"/>
                          <a:gd name="connsiteY28" fmla="*/ 8763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17145 w 104775"/>
                          <a:gd name="connsiteY28" fmla="*/ 11049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17145 w 104775"/>
                          <a:gd name="connsiteY28" fmla="*/ 110490 h 127635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81915 w 104775"/>
                          <a:gd name="connsiteY15" fmla="*/ 16019 h 128414"/>
                          <a:gd name="connsiteX16" fmla="*/ 70485 w 104775"/>
                          <a:gd name="connsiteY16" fmla="*/ 4589 h 128414"/>
                          <a:gd name="connsiteX17" fmla="*/ 59055 w 104775"/>
                          <a:gd name="connsiteY17" fmla="*/ 779 h 128414"/>
                          <a:gd name="connsiteX18" fmla="*/ 45720 w 104775"/>
                          <a:gd name="connsiteY18" fmla="*/ 2684 h 128414"/>
                          <a:gd name="connsiteX19" fmla="*/ 41910 w 104775"/>
                          <a:gd name="connsiteY19" fmla="*/ 31259 h 128414"/>
                          <a:gd name="connsiteX20" fmla="*/ 40005 w 104775"/>
                          <a:gd name="connsiteY20" fmla="*/ 44594 h 128414"/>
                          <a:gd name="connsiteX21" fmla="*/ 28575 w 104775"/>
                          <a:gd name="connsiteY21" fmla="*/ 50309 h 128414"/>
                          <a:gd name="connsiteX22" fmla="*/ 3810 w 104775"/>
                          <a:gd name="connsiteY22" fmla="*/ 52214 h 128414"/>
                          <a:gd name="connsiteX23" fmla="*/ 1905 w 104775"/>
                          <a:gd name="connsiteY23" fmla="*/ 59834 h 128414"/>
                          <a:gd name="connsiteX24" fmla="*/ 0 w 104775"/>
                          <a:gd name="connsiteY24" fmla="*/ 65549 h 128414"/>
                          <a:gd name="connsiteX25" fmla="*/ 5715 w 104775"/>
                          <a:gd name="connsiteY25" fmla="*/ 78884 h 128414"/>
                          <a:gd name="connsiteX26" fmla="*/ 5715 w 104775"/>
                          <a:gd name="connsiteY26" fmla="*/ 82694 h 128414"/>
                          <a:gd name="connsiteX27" fmla="*/ 17145 w 104775"/>
                          <a:gd name="connsiteY27" fmla="*/ 111269 h 128414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70485 w 104775"/>
                          <a:gd name="connsiteY15" fmla="*/ 4589 h 128414"/>
                          <a:gd name="connsiteX16" fmla="*/ 59055 w 104775"/>
                          <a:gd name="connsiteY16" fmla="*/ 779 h 128414"/>
                          <a:gd name="connsiteX17" fmla="*/ 45720 w 104775"/>
                          <a:gd name="connsiteY17" fmla="*/ 2684 h 128414"/>
                          <a:gd name="connsiteX18" fmla="*/ 41910 w 104775"/>
                          <a:gd name="connsiteY18" fmla="*/ 31259 h 128414"/>
                          <a:gd name="connsiteX19" fmla="*/ 40005 w 104775"/>
                          <a:gd name="connsiteY19" fmla="*/ 44594 h 128414"/>
                          <a:gd name="connsiteX20" fmla="*/ 28575 w 104775"/>
                          <a:gd name="connsiteY20" fmla="*/ 50309 h 128414"/>
                          <a:gd name="connsiteX21" fmla="*/ 3810 w 104775"/>
                          <a:gd name="connsiteY21" fmla="*/ 52214 h 128414"/>
                          <a:gd name="connsiteX22" fmla="*/ 1905 w 104775"/>
                          <a:gd name="connsiteY22" fmla="*/ 59834 h 128414"/>
                          <a:gd name="connsiteX23" fmla="*/ 0 w 104775"/>
                          <a:gd name="connsiteY23" fmla="*/ 65549 h 128414"/>
                          <a:gd name="connsiteX24" fmla="*/ 5715 w 104775"/>
                          <a:gd name="connsiteY24" fmla="*/ 78884 h 128414"/>
                          <a:gd name="connsiteX25" fmla="*/ 5715 w 104775"/>
                          <a:gd name="connsiteY25" fmla="*/ 82694 h 128414"/>
                          <a:gd name="connsiteX26" fmla="*/ 17145 w 104775"/>
                          <a:gd name="connsiteY26" fmla="*/ 111269 h 128414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70485 w 104775"/>
                          <a:gd name="connsiteY15" fmla="*/ 4589 h 128414"/>
                          <a:gd name="connsiteX16" fmla="*/ 59055 w 104775"/>
                          <a:gd name="connsiteY16" fmla="*/ 779 h 128414"/>
                          <a:gd name="connsiteX17" fmla="*/ 45720 w 104775"/>
                          <a:gd name="connsiteY17" fmla="*/ 2684 h 128414"/>
                          <a:gd name="connsiteX18" fmla="*/ 41910 w 104775"/>
                          <a:gd name="connsiteY18" fmla="*/ 31259 h 128414"/>
                          <a:gd name="connsiteX19" fmla="*/ 40005 w 104775"/>
                          <a:gd name="connsiteY19" fmla="*/ 44594 h 128414"/>
                          <a:gd name="connsiteX20" fmla="*/ 3810 w 104775"/>
                          <a:gd name="connsiteY20" fmla="*/ 52214 h 128414"/>
                          <a:gd name="connsiteX21" fmla="*/ 1905 w 104775"/>
                          <a:gd name="connsiteY21" fmla="*/ 59834 h 128414"/>
                          <a:gd name="connsiteX22" fmla="*/ 0 w 104775"/>
                          <a:gd name="connsiteY22" fmla="*/ 65549 h 128414"/>
                          <a:gd name="connsiteX23" fmla="*/ 5715 w 104775"/>
                          <a:gd name="connsiteY23" fmla="*/ 78884 h 128414"/>
                          <a:gd name="connsiteX24" fmla="*/ 5715 w 104775"/>
                          <a:gd name="connsiteY24" fmla="*/ 82694 h 128414"/>
                          <a:gd name="connsiteX25" fmla="*/ 17145 w 104775"/>
                          <a:gd name="connsiteY25" fmla="*/ 111269 h 128414"/>
                          <a:gd name="connsiteX0" fmla="*/ 19050 w 104775"/>
                          <a:gd name="connsiteY0" fmla="*/ 107492 h 128447"/>
                          <a:gd name="connsiteX1" fmla="*/ 24765 w 104775"/>
                          <a:gd name="connsiteY1" fmla="*/ 111302 h 128447"/>
                          <a:gd name="connsiteX2" fmla="*/ 28575 w 104775"/>
                          <a:gd name="connsiteY2" fmla="*/ 117017 h 128447"/>
                          <a:gd name="connsiteX3" fmla="*/ 32385 w 104775"/>
                          <a:gd name="connsiteY3" fmla="*/ 128447 h 128447"/>
                          <a:gd name="connsiteX4" fmla="*/ 81915 w 104775"/>
                          <a:gd name="connsiteY4" fmla="*/ 126542 h 128447"/>
                          <a:gd name="connsiteX5" fmla="*/ 87630 w 104775"/>
                          <a:gd name="connsiteY5" fmla="*/ 124637 h 128447"/>
                          <a:gd name="connsiteX6" fmla="*/ 89535 w 104775"/>
                          <a:gd name="connsiteY6" fmla="*/ 118922 h 128447"/>
                          <a:gd name="connsiteX7" fmla="*/ 93345 w 104775"/>
                          <a:gd name="connsiteY7" fmla="*/ 113207 h 128447"/>
                          <a:gd name="connsiteX8" fmla="*/ 95250 w 104775"/>
                          <a:gd name="connsiteY8" fmla="*/ 99872 h 128447"/>
                          <a:gd name="connsiteX9" fmla="*/ 100965 w 104775"/>
                          <a:gd name="connsiteY9" fmla="*/ 96062 h 128447"/>
                          <a:gd name="connsiteX10" fmla="*/ 104775 w 104775"/>
                          <a:gd name="connsiteY10" fmla="*/ 84632 h 128447"/>
                          <a:gd name="connsiteX11" fmla="*/ 100965 w 104775"/>
                          <a:gd name="connsiteY11" fmla="*/ 57962 h 128447"/>
                          <a:gd name="connsiteX12" fmla="*/ 99060 w 104775"/>
                          <a:gd name="connsiteY12" fmla="*/ 50342 h 128447"/>
                          <a:gd name="connsiteX13" fmla="*/ 95250 w 104775"/>
                          <a:gd name="connsiteY13" fmla="*/ 44627 h 128447"/>
                          <a:gd name="connsiteX14" fmla="*/ 91440 w 104775"/>
                          <a:gd name="connsiteY14" fmla="*/ 33197 h 128447"/>
                          <a:gd name="connsiteX15" fmla="*/ 70485 w 104775"/>
                          <a:gd name="connsiteY15" fmla="*/ 4622 h 128447"/>
                          <a:gd name="connsiteX16" fmla="*/ 45720 w 104775"/>
                          <a:gd name="connsiteY16" fmla="*/ 2717 h 128447"/>
                          <a:gd name="connsiteX17" fmla="*/ 41910 w 104775"/>
                          <a:gd name="connsiteY17" fmla="*/ 31292 h 128447"/>
                          <a:gd name="connsiteX18" fmla="*/ 40005 w 104775"/>
                          <a:gd name="connsiteY18" fmla="*/ 44627 h 128447"/>
                          <a:gd name="connsiteX19" fmla="*/ 3810 w 104775"/>
                          <a:gd name="connsiteY19" fmla="*/ 52247 h 128447"/>
                          <a:gd name="connsiteX20" fmla="*/ 1905 w 104775"/>
                          <a:gd name="connsiteY20" fmla="*/ 59867 h 128447"/>
                          <a:gd name="connsiteX21" fmla="*/ 0 w 104775"/>
                          <a:gd name="connsiteY21" fmla="*/ 65582 h 128447"/>
                          <a:gd name="connsiteX22" fmla="*/ 5715 w 104775"/>
                          <a:gd name="connsiteY22" fmla="*/ 78917 h 128447"/>
                          <a:gd name="connsiteX23" fmla="*/ 5715 w 104775"/>
                          <a:gd name="connsiteY23" fmla="*/ 82727 h 128447"/>
                          <a:gd name="connsiteX24" fmla="*/ 17145 w 104775"/>
                          <a:gd name="connsiteY24" fmla="*/ 111302 h 128447"/>
                          <a:gd name="connsiteX0" fmla="*/ 19050 w 104775"/>
                          <a:gd name="connsiteY0" fmla="*/ 102874 h 123829"/>
                          <a:gd name="connsiteX1" fmla="*/ 24765 w 104775"/>
                          <a:gd name="connsiteY1" fmla="*/ 106684 h 123829"/>
                          <a:gd name="connsiteX2" fmla="*/ 28575 w 104775"/>
                          <a:gd name="connsiteY2" fmla="*/ 112399 h 123829"/>
                          <a:gd name="connsiteX3" fmla="*/ 32385 w 104775"/>
                          <a:gd name="connsiteY3" fmla="*/ 123829 h 123829"/>
                          <a:gd name="connsiteX4" fmla="*/ 81915 w 104775"/>
                          <a:gd name="connsiteY4" fmla="*/ 121924 h 123829"/>
                          <a:gd name="connsiteX5" fmla="*/ 87630 w 104775"/>
                          <a:gd name="connsiteY5" fmla="*/ 120019 h 123829"/>
                          <a:gd name="connsiteX6" fmla="*/ 89535 w 104775"/>
                          <a:gd name="connsiteY6" fmla="*/ 114304 h 123829"/>
                          <a:gd name="connsiteX7" fmla="*/ 93345 w 104775"/>
                          <a:gd name="connsiteY7" fmla="*/ 108589 h 123829"/>
                          <a:gd name="connsiteX8" fmla="*/ 95250 w 104775"/>
                          <a:gd name="connsiteY8" fmla="*/ 95254 h 123829"/>
                          <a:gd name="connsiteX9" fmla="*/ 100965 w 104775"/>
                          <a:gd name="connsiteY9" fmla="*/ 91444 h 123829"/>
                          <a:gd name="connsiteX10" fmla="*/ 104775 w 104775"/>
                          <a:gd name="connsiteY10" fmla="*/ 80014 h 123829"/>
                          <a:gd name="connsiteX11" fmla="*/ 100965 w 104775"/>
                          <a:gd name="connsiteY11" fmla="*/ 53344 h 123829"/>
                          <a:gd name="connsiteX12" fmla="*/ 99060 w 104775"/>
                          <a:gd name="connsiteY12" fmla="*/ 45724 h 123829"/>
                          <a:gd name="connsiteX13" fmla="*/ 95250 w 104775"/>
                          <a:gd name="connsiteY13" fmla="*/ 40009 h 123829"/>
                          <a:gd name="connsiteX14" fmla="*/ 91440 w 104775"/>
                          <a:gd name="connsiteY14" fmla="*/ 28579 h 123829"/>
                          <a:gd name="connsiteX15" fmla="*/ 70485 w 104775"/>
                          <a:gd name="connsiteY15" fmla="*/ 4 h 123829"/>
                          <a:gd name="connsiteX16" fmla="*/ 41910 w 104775"/>
                          <a:gd name="connsiteY16" fmla="*/ 26674 h 123829"/>
                          <a:gd name="connsiteX17" fmla="*/ 40005 w 104775"/>
                          <a:gd name="connsiteY17" fmla="*/ 40009 h 123829"/>
                          <a:gd name="connsiteX18" fmla="*/ 3810 w 104775"/>
                          <a:gd name="connsiteY18" fmla="*/ 47629 h 123829"/>
                          <a:gd name="connsiteX19" fmla="*/ 1905 w 104775"/>
                          <a:gd name="connsiteY19" fmla="*/ 55249 h 123829"/>
                          <a:gd name="connsiteX20" fmla="*/ 0 w 104775"/>
                          <a:gd name="connsiteY20" fmla="*/ 60964 h 123829"/>
                          <a:gd name="connsiteX21" fmla="*/ 5715 w 104775"/>
                          <a:gd name="connsiteY21" fmla="*/ 74299 h 123829"/>
                          <a:gd name="connsiteX22" fmla="*/ 5715 w 104775"/>
                          <a:gd name="connsiteY22" fmla="*/ 78109 h 123829"/>
                          <a:gd name="connsiteX23" fmla="*/ 17145 w 104775"/>
                          <a:gd name="connsiteY23" fmla="*/ 106684 h 123829"/>
                          <a:gd name="connsiteX0" fmla="*/ 19050 w 104775"/>
                          <a:gd name="connsiteY0" fmla="*/ 77050 h 98005"/>
                          <a:gd name="connsiteX1" fmla="*/ 24765 w 104775"/>
                          <a:gd name="connsiteY1" fmla="*/ 80860 h 98005"/>
                          <a:gd name="connsiteX2" fmla="*/ 28575 w 104775"/>
                          <a:gd name="connsiteY2" fmla="*/ 86575 h 98005"/>
                          <a:gd name="connsiteX3" fmla="*/ 32385 w 104775"/>
                          <a:gd name="connsiteY3" fmla="*/ 98005 h 98005"/>
                          <a:gd name="connsiteX4" fmla="*/ 81915 w 104775"/>
                          <a:gd name="connsiteY4" fmla="*/ 96100 h 98005"/>
                          <a:gd name="connsiteX5" fmla="*/ 87630 w 104775"/>
                          <a:gd name="connsiteY5" fmla="*/ 94195 h 98005"/>
                          <a:gd name="connsiteX6" fmla="*/ 89535 w 104775"/>
                          <a:gd name="connsiteY6" fmla="*/ 88480 h 98005"/>
                          <a:gd name="connsiteX7" fmla="*/ 93345 w 104775"/>
                          <a:gd name="connsiteY7" fmla="*/ 82765 h 98005"/>
                          <a:gd name="connsiteX8" fmla="*/ 95250 w 104775"/>
                          <a:gd name="connsiteY8" fmla="*/ 69430 h 98005"/>
                          <a:gd name="connsiteX9" fmla="*/ 100965 w 104775"/>
                          <a:gd name="connsiteY9" fmla="*/ 65620 h 98005"/>
                          <a:gd name="connsiteX10" fmla="*/ 104775 w 104775"/>
                          <a:gd name="connsiteY10" fmla="*/ 54190 h 98005"/>
                          <a:gd name="connsiteX11" fmla="*/ 100965 w 104775"/>
                          <a:gd name="connsiteY11" fmla="*/ 27520 h 98005"/>
                          <a:gd name="connsiteX12" fmla="*/ 99060 w 104775"/>
                          <a:gd name="connsiteY12" fmla="*/ 19900 h 98005"/>
                          <a:gd name="connsiteX13" fmla="*/ 95250 w 104775"/>
                          <a:gd name="connsiteY13" fmla="*/ 14185 h 98005"/>
                          <a:gd name="connsiteX14" fmla="*/ 91440 w 104775"/>
                          <a:gd name="connsiteY14" fmla="*/ 2755 h 98005"/>
                          <a:gd name="connsiteX15" fmla="*/ 41910 w 104775"/>
                          <a:gd name="connsiteY15" fmla="*/ 850 h 98005"/>
                          <a:gd name="connsiteX16" fmla="*/ 40005 w 104775"/>
                          <a:gd name="connsiteY16" fmla="*/ 14185 h 98005"/>
                          <a:gd name="connsiteX17" fmla="*/ 3810 w 104775"/>
                          <a:gd name="connsiteY17" fmla="*/ 21805 h 98005"/>
                          <a:gd name="connsiteX18" fmla="*/ 1905 w 104775"/>
                          <a:gd name="connsiteY18" fmla="*/ 29425 h 98005"/>
                          <a:gd name="connsiteX19" fmla="*/ 0 w 104775"/>
                          <a:gd name="connsiteY19" fmla="*/ 35140 h 98005"/>
                          <a:gd name="connsiteX20" fmla="*/ 5715 w 104775"/>
                          <a:gd name="connsiteY20" fmla="*/ 48475 h 98005"/>
                          <a:gd name="connsiteX21" fmla="*/ 5715 w 104775"/>
                          <a:gd name="connsiteY21" fmla="*/ 52285 h 98005"/>
                          <a:gd name="connsiteX22" fmla="*/ 17145 w 104775"/>
                          <a:gd name="connsiteY22" fmla="*/ 80860 h 98005"/>
                          <a:gd name="connsiteX0" fmla="*/ 19050 w 104775"/>
                          <a:gd name="connsiteY0" fmla="*/ 76200 h 97155"/>
                          <a:gd name="connsiteX1" fmla="*/ 24765 w 104775"/>
                          <a:gd name="connsiteY1" fmla="*/ 80010 h 97155"/>
                          <a:gd name="connsiteX2" fmla="*/ 28575 w 104775"/>
                          <a:gd name="connsiteY2" fmla="*/ 85725 h 97155"/>
                          <a:gd name="connsiteX3" fmla="*/ 32385 w 104775"/>
                          <a:gd name="connsiteY3" fmla="*/ 97155 h 97155"/>
                          <a:gd name="connsiteX4" fmla="*/ 81915 w 104775"/>
                          <a:gd name="connsiteY4" fmla="*/ 95250 h 97155"/>
                          <a:gd name="connsiteX5" fmla="*/ 87630 w 104775"/>
                          <a:gd name="connsiteY5" fmla="*/ 93345 h 97155"/>
                          <a:gd name="connsiteX6" fmla="*/ 89535 w 104775"/>
                          <a:gd name="connsiteY6" fmla="*/ 87630 h 97155"/>
                          <a:gd name="connsiteX7" fmla="*/ 93345 w 104775"/>
                          <a:gd name="connsiteY7" fmla="*/ 81915 h 97155"/>
                          <a:gd name="connsiteX8" fmla="*/ 95250 w 104775"/>
                          <a:gd name="connsiteY8" fmla="*/ 68580 h 97155"/>
                          <a:gd name="connsiteX9" fmla="*/ 100965 w 104775"/>
                          <a:gd name="connsiteY9" fmla="*/ 64770 h 97155"/>
                          <a:gd name="connsiteX10" fmla="*/ 104775 w 104775"/>
                          <a:gd name="connsiteY10" fmla="*/ 53340 h 97155"/>
                          <a:gd name="connsiteX11" fmla="*/ 100965 w 104775"/>
                          <a:gd name="connsiteY11" fmla="*/ 26670 h 97155"/>
                          <a:gd name="connsiteX12" fmla="*/ 99060 w 104775"/>
                          <a:gd name="connsiteY12" fmla="*/ 19050 h 97155"/>
                          <a:gd name="connsiteX13" fmla="*/ 95250 w 104775"/>
                          <a:gd name="connsiteY13" fmla="*/ 13335 h 97155"/>
                          <a:gd name="connsiteX14" fmla="*/ 41910 w 104775"/>
                          <a:gd name="connsiteY14" fmla="*/ 0 h 97155"/>
                          <a:gd name="connsiteX15" fmla="*/ 40005 w 104775"/>
                          <a:gd name="connsiteY15" fmla="*/ 13335 h 97155"/>
                          <a:gd name="connsiteX16" fmla="*/ 3810 w 104775"/>
                          <a:gd name="connsiteY16" fmla="*/ 20955 h 97155"/>
                          <a:gd name="connsiteX17" fmla="*/ 1905 w 104775"/>
                          <a:gd name="connsiteY17" fmla="*/ 28575 h 97155"/>
                          <a:gd name="connsiteX18" fmla="*/ 0 w 104775"/>
                          <a:gd name="connsiteY18" fmla="*/ 34290 h 97155"/>
                          <a:gd name="connsiteX19" fmla="*/ 5715 w 104775"/>
                          <a:gd name="connsiteY19" fmla="*/ 47625 h 97155"/>
                          <a:gd name="connsiteX20" fmla="*/ 5715 w 104775"/>
                          <a:gd name="connsiteY20" fmla="*/ 51435 h 97155"/>
                          <a:gd name="connsiteX21" fmla="*/ 17145 w 104775"/>
                          <a:gd name="connsiteY21" fmla="*/ 80010 h 97155"/>
                          <a:gd name="connsiteX0" fmla="*/ 19050 w 104775"/>
                          <a:gd name="connsiteY0" fmla="*/ 76298 h 97253"/>
                          <a:gd name="connsiteX1" fmla="*/ 24765 w 104775"/>
                          <a:gd name="connsiteY1" fmla="*/ 80108 h 97253"/>
                          <a:gd name="connsiteX2" fmla="*/ 28575 w 104775"/>
                          <a:gd name="connsiteY2" fmla="*/ 85823 h 97253"/>
                          <a:gd name="connsiteX3" fmla="*/ 32385 w 104775"/>
                          <a:gd name="connsiteY3" fmla="*/ 97253 h 97253"/>
                          <a:gd name="connsiteX4" fmla="*/ 81915 w 104775"/>
                          <a:gd name="connsiteY4" fmla="*/ 95348 h 97253"/>
                          <a:gd name="connsiteX5" fmla="*/ 87630 w 104775"/>
                          <a:gd name="connsiteY5" fmla="*/ 93443 h 97253"/>
                          <a:gd name="connsiteX6" fmla="*/ 89535 w 104775"/>
                          <a:gd name="connsiteY6" fmla="*/ 87728 h 97253"/>
                          <a:gd name="connsiteX7" fmla="*/ 93345 w 104775"/>
                          <a:gd name="connsiteY7" fmla="*/ 82013 h 97253"/>
                          <a:gd name="connsiteX8" fmla="*/ 95250 w 104775"/>
                          <a:gd name="connsiteY8" fmla="*/ 68678 h 97253"/>
                          <a:gd name="connsiteX9" fmla="*/ 100965 w 104775"/>
                          <a:gd name="connsiteY9" fmla="*/ 64868 h 97253"/>
                          <a:gd name="connsiteX10" fmla="*/ 104775 w 104775"/>
                          <a:gd name="connsiteY10" fmla="*/ 53438 h 97253"/>
                          <a:gd name="connsiteX11" fmla="*/ 100965 w 104775"/>
                          <a:gd name="connsiteY11" fmla="*/ 26768 h 97253"/>
                          <a:gd name="connsiteX12" fmla="*/ 99060 w 104775"/>
                          <a:gd name="connsiteY12" fmla="*/ 19148 h 97253"/>
                          <a:gd name="connsiteX13" fmla="*/ 95250 w 104775"/>
                          <a:gd name="connsiteY13" fmla="*/ 13433 h 97253"/>
                          <a:gd name="connsiteX14" fmla="*/ 41910 w 104775"/>
                          <a:gd name="connsiteY14" fmla="*/ 98 h 97253"/>
                          <a:gd name="connsiteX15" fmla="*/ 3810 w 104775"/>
                          <a:gd name="connsiteY15" fmla="*/ 21053 h 97253"/>
                          <a:gd name="connsiteX16" fmla="*/ 1905 w 104775"/>
                          <a:gd name="connsiteY16" fmla="*/ 28673 h 97253"/>
                          <a:gd name="connsiteX17" fmla="*/ 0 w 104775"/>
                          <a:gd name="connsiteY17" fmla="*/ 34388 h 97253"/>
                          <a:gd name="connsiteX18" fmla="*/ 5715 w 104775"/>
                          <a:gd name="connsiteY18" fmla="*/ 47723 h 97253"/>
                          <a:gd name="connsiteX19" fmla="*/ 5715 w 104775"/>
                          <a:gd name="connsiteY19" fmla="*/ 51533 h 97253"/>
                          <a:gd name="connsiteX20" fmla="*/ 17145 w 104775"/>
                          <a:gd name="connsiteY20" fmla="*/ 80108 h 97253"/>
                          <a:gd name="connsiteX0" fmla="*/ 19050 w 104775"/>
                          <a:gd name="connsiteY0" fmla="*/ 76205 h 97160"/>
                          <a:gd name="connsiteX1" fmla="*/ 24765 w 104775"/>
                          <a:gd name="connsiteY1" fmla="*/ 80015 h 97160"/>
                          <a:gd name="connsiteX2" fmla="*/ 28575 w 104775"/>
                          <a:gd name="connsiteY2" fmla="*/ 85730 h 97160"/>
                          <a:gd name="connsiteX3" fmla="*/ 32385 w 104775"/>
                          <a:gd name="connsiteY3" fmla="*/ 97160 h 97160"/>
                          <a:gd name="connsiteX4" fmla="*/ 81915 w 104775"/>
                          <a:gd name="connsiteY4" fmla="*/ 95255 h 97160"/>
                          <a:gd name="connsiteX5" fmla="*/ 87630 w 104775"/>
                          <a:gd name="connsiteY5" fmla="*/ 93350 h 97160"/>
                          <a:gd name="connsiteX6" fmla="*/ 89535 w 104775"/>
                          <a:gd name="connsiteY6" fmla="*/ 87635 h 97160"/>
                          <a:gd name="connsiteX7" fmla="*/ 93345 w 104775"/>
                          <a:gd name="connsiteY7" fmla="*/ 81920 h 97160"/>
                          <a:gd name="connsiteX8" fmla="*/ 95250 w 104775"/>
                          <a:gd name="connsiteY8" fmla="*/ 68585 h 97160"/>
                          <a:gd name="connsiteX9" fmla="*/ 100965 w 104775"/>
                          <a:gd name="connsiteY9" fmla="*/ 64775 h 97160"/>
                          <a:gd name="connsiteX10" fmla="*/ 104775 w 104775"/>
                          <a:gd name="connsiteY10" fmla="*/ 53345 h 97160"/>
                          <a:gd name="connsiteX11" fmla="*/ 100965 w 104775"/>
                          <a:gd name="connsiteY11" fmla="*/ 26675 h 97160"/>
                          <a:gd name="connsiteX12" fmla="*/ 99060 w 104775"/>
                          <a:gd name="connsiteY12" fmla="*/ 19055 h 97160"/>
                          <a:gd name="connsiteX13" fmla="*/ 41910 w 104775"/>
                          <a:gd name="connsiteY13" fmla="*/ 5 h 97160"/>
                          <a:gd name="connsiteX14" fmla="*/ 3810 w 104775"/>
                          <a:gd name="connsiteY14" fmla="*/ 20960 h 97160"/>
                          <a:gd name="connsiteX15" fmla="*/ 1905 w 104775"/>
                          <a:gd name="connsiteY15" fmla="*/ 28580 h 97160"/>
                          <a:gd name="connsiteX16" fmla="*/ 0 w 104775"/>
                          <a:gd name="connsiteY16" fmla="*/ 34295 h 97160"/>
                          <a:gd name="connsiteX17" fmla="*/ 5715 w 104775"/>
                          <a:gd name="connsiteY17" fmla="*/ 47630 h 97160"/>
                          <a:gd name="connsiteX18" fmla="*/ 5715 w 104775"/>
                          <a:gd name="connsiteY18" fmla="*/ 51440 h 97160"/>
                          <a:gd name="connsiteX19" fmla="*/ 17145 w 104775"/>
                          <a:gd name="connsiteY19" fmla="*/ 80015 h 97160"/>
                          <a:gd name="connsiteX0" fmla="*/ 19050 w 105971"/>
                          <a:gd name="connsiteY0" fmla="*/ 76238 h 97193"/>
                          <a:gd name="connsiteX1" fmla="*/ 24765 w 105971"/>
                          <a:gd name="connsiteY1" fmla="*/ 80048 h 97193"/>
                          <a:gd name="connsiteX2" fmla="*/ 28575 w 105971"/>
                          <a:gd name="connsiteY2" fmla="*/ 85763 h 97193"/>
                          <a:gd name="connsiteX3" fmla="*/ 32385 w 105971"/>
                          <a:gd name="connsiteY3" fmla="*/ 97193 h 97193"/>
                          <a:gd name="connsiteX4" fmla="*/ 81915 w 105971"/>
                          <a:gd name="connsiteY4" fmla="*/ 95288 h 97193"/>
                          <a:gd name="connsiteX5" fmla="*/ 87630 w 105971"/>
                          <a:gd name="connsiteY5" fmla="*/ 93383 h 97193"/>
                          <a:gd name="connsiteX6" fmla="*/ 89535 w 105971"/>
                          <a:gd name="connsiteY6" fmla="*/ 87668 h 97193"/>
                          <a:gd name="connsiteX7" fmla="*/ 93345 w 105971"/>
                          <a:gd name="connsiteY7" fmla="*/ 81953 h 97193"/>
                          <a:gd name="connsiteX8" fmla="*/ 95250 w 105971"/>
                          <a:gd name="connsiteY8" fmla="*/ 68618 h 97193"/>
                          <a:gd name="connsiteX9" fmla="*/ 100965 w 105971"/>
                          <a:gd name="connsiteY9" fmla="*/ 64808 h 97193"/>
                          <a:gd name="connsiteX10" fmla="*/ 104775 w 105971"/>
                          <a:gd name="connsiteY10" fmla="*/ 53378 h 97193"/>
                          <a:gd name="connsiteX11" fmla="*/ 100965 w 105971"/>
                          <a:gd name="connsiteY11" fmla="*/ 26708 h 97193"/>
                          <a:gd name="connsiteX12" fmla="*/ 41910 w 105971"/>
                          <a:gd name="connsiteY12" fmla="*/ 38 h 97193"/>
                          <a:gd name="connsiteX13" fmla="*/ 3810 w 105971"/>
                          <a:gd name="connsiteY13" fmla="*/ 20993 h 97193"/>
                          <a:gd name="connsiteX14" fmla="*/ 1905 w 105971"/>
                          <a:gd name="connsiteY14" fmla="*/ 28613 h 97193"/>
                          <a:gd name="connsiteX15" fmla="*/ 0 w 105971"/>
                          <a:gd name="connsiteY15" fmla="*/ 34328 h 97193"/>
                          <a:gd name="connsiteX16" fmla="*/ 5715 w 105971"/>
                          <a:gd name="connsiteY16" fmla="*/ 47663 h 97193"/>
                          <a:gd name="connsiteX17" fmla="*/ 5715 w 105971"/>
                          <a:gd name="connsiteY17" fmla="*/ 51473 h 97193"/>
                          <a:gd name="connsiteX18" fmla="*/ 17145 w 105971"/>
                          <a:gd name="connsiteY18" fmla="*/ 80048 h 97193"/>
                          <a:gd name="connsiteX0" fmla="*/ 19050 w 106250"/>
                          <a:gd name="connsiteY0" fmla="*/ 64875 h 85830"/>
                          <a:gd name="connsiteX1" fmla="*/ 24765 w 106250"/>
                          <a:gd name="connsiteY1" fmla="*/ 68685 h 85830"/>
                          <a:gd name="connsiteX2" fmla="*/ 28575 w 106250"/>
                          <a:gd name="connsiteY2" fmla="*/ 74400 h 85830"/>
                          <a:gd name="connsiteX3" fmla="*/ 32385 w 106250"/>
                          <a:gd name="connsiteY3" fmla="*/ 85830 h 85830"/>
                          <a:gd name="connsiteX4" fmla="*/ 81915 w 106250"/>
                          <a:gd name="connsiteY4" fmla="*/ 83925 h 85830"/>
                          <a:gd name="connsiteX5" fmla="*/ 87630 w 106250"/>
                          <a:gd name="connsiteY5" fmla="*/ 82020 h 85830"/>
                          <a:gd name="connsiteX6" fmla="*/ 89535 w 106250"/>
                          <a:gd name="connsiteY6" fmla="*/ 76305 h 85830"/>
                          <a:gd name="connsiteX7" fmla="*/ 93345 w 106250"/>
                          <a:gd name="connsiteY7" fmla="*/ 70590 h 85830"/>
                          <a:gd name="connsiteX8" fmla="*/ 95250 w 106250"/>
                          <a:gd name="connsiteY8" fmla="*/ 57255 h 85830"/>
                          <a:gd name="connsiteX9" fmla="*/ 100965 w 106250"/>
                          <a:gd name="connsiteY9" fmla="*/ 53445 h 85830"/>
                          <a:gd name="connsiteX10" fmla="*/ 104775 w 106250"/>
                          <a:gd name="connsiteY10" fmla="*/ 42015 h 85830"/>
                          <a:gd name="connsiteX11" fmla="*/ 100965 w 106250"/>
                          <a:gd name="connsiteY11" fmla="*/ 15345 h 85830"/>
                          <a:gd name="connsiteX12" fmla="*/ 38100 w 106250"/>
                          <a:gd name="connsiteY12" fmla="*/ 105 h 85830"/>
                          <a:gd name="connsiteX13" fmla="*/ 3810 w 106250"/>
                          <a:gd name="connsiteY13" fmla="*/ 9630 h 85830"/>
                          <a:gd name="connsiteX14" fmla="*/ 1905 w 106250"/>
                          <a:gd name="connsiteY14" fmla="*/ 17250 h 85830"/>
                          <a:gd name="connsiteX15" fmla="*/ 0 w 106250"/>
                          <a:gd name="connsiteY15" fmla="*/ 22965 h 85830"/>
                          <a:gd name="connsiteX16" fmla="*/ 5715 w 106250"/>
                          <a:gd name="connsiteY16" fmla="*/ 36300 h 85830"/>
                          <a:gd name="connsiteX17" fmla="*/ 5715 w 106250"/>
                          <a:gd name="connsiteY17" fmla="*/ 40110 h 85830"/>
                          <a:gd name="connsiteX18" fmla="*/ 17145 w 106250"/>
                          <a:gd name="connsiteY18" fmla="*/ 68685 h 8583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</a:cxnLst>
                        <a:rect l="l" t="t" r="r" b="b"/>
                        <a:pathLst>
                          <a:path w="106250" h="85830">
                            <a:moveTo>
                              <a:pt x="19050" y="64875"/>
                            </a:moveTo>
                            <a:cubicBezTo>
                              <a:pt x="19050" y="69955"/>
                              <a:pt x="22860" y="67415"/>
                              <a:pt x="24765" y="68685"/>
                            </a:cubicBezTo>
                            <a:cubicBezTo>
                              <a:pt x="26035" y="70590"/>
                              <a:pt x="27645" y="72308"/>
                              <a:pt x="28575" y="74400"/>
                            </a:cubicBezTo>
                            <a:cubicBezTo>
                              <a:pt x="30206" y="78070"/>
                              <a:pt x="32385" y="85830"/>
                              <a:pt x="32385" y="85830"/>
                            </a:cubicBezTo>
                            <a:cubicBezTo>
                              <a:pt x="48895" y="85195"/>
                              <a:pt x="65432" y="85062"/>
                              <a:pt x="81915" y="83925"/>
                            </a:cubicBezTo>
                            <a:cubicBezTo>
                              <a:pt x="83918" y="83787"/>
                              <a:pt x="86210" y="83440"/>
                              <a:pt x="87630" y="82020"/>
                            </a:cubicBezTo>
                            <a:cubicBezTo>
                              <a:pt x="89050" y="80600"/>
                              <a:pt x="88637" y="78101"/>
                              <a:pt x="89535" y="76305"/>
                            </a:cubicBezTo>
                            <a:cubicBezTo>
                              <a:pt x="90559" y="74257"/>
                              <a:pt x="92075" y="72495"/>
                              <a:pt x="93345" y="70590"/>
                            </a:cubicBezTo>
                            <a:cubicBezTo>
                              <a:pt x="93980" y="66145"/>
                              <a:pt x="93426" y="61358"/>
                              <a:pt x="95250" y="57255"/>
                            </a:cubicBezTo>
                            <a:cubicBezTo>
                              <a:pt x="96180" y="55163"/>
                              <a:pt x="99752" y="55387"/>
                              <a:pt x="100965" y="53445"/>
                            </a:cubicBezTo>
                            <a:cubicBezTo>
                              <a:pt x="103094" y="50039"/>
                              <a:pt x="104775" y="42015"/>
                              <a:pt x="104775" y="42015"/>
                            </a:cubicBezTo>
                            <a:cubicBezTo>
                              <a:pt x="101728" y="8500"/>
                              <a:pt x="112077" y="22330"/>
                              <a:pt x="100965" y="15345"/>
                            </a:cubicBezTo>
                            <a:cubicBezTo>
                              <a:pt x="89853" y="8360"/>
                              <a:pt x="54292" y="1057"/>
                              <a:pt x="38100" y="105"/>
                            </a:cubicBezTo>
                            <a:cubicBezTo>
                              <a:pt x="21908" y="-847"/>
                              <a:pt x="10477" y="4868"/>
                              <a:pt x="3810" y="9630"/>
                            </a:cubicBezTo>
                            <a:cubicBezTo>
                              <a:pt x="3175" y="12170"/>
                              <a:pt x="2624" y="14733"/>
                              <a:pt x="1905" y="17250"/>
                            </a:cubicBezTo>
                            <a:cubicBezTo>
                              <a:pt x="1353" y="19181"/>
                              <a:pt x="0" y="20957"/>
                              <a:pt x="0" y="22965"/>
                            </a:cubicBezTo>
                            <a:cubicBezTo>
                              <a:pt x="0" y="32673"/>
                              <a:pt x="2604" y="28523"/>
                              <a:pt x="5715" y="36300"/>
                            </a:cubicBezTo>
                            <a:cubicBezTo>
                              <a:pt x="6187" y="37479"/>
                              <a:pt x="3810" y="34713"/>
                              <a:pt x="5715" y="40110"/>
                            </a:cubicBezTo>
                            <a:cubicBezTo>
                              <a:pt x="7620" y="45507"/>
                              <a:pt x="13335" y="59160"/>
                              <a:pt x="17145" y="68685"/>
                            </a:cubicBezTo>
                          </a:path>
                        </a:pathLst>
                      </a:custGeom>
                      <a:grpFill/>
                      <a:ln w="3175" cap="flat" cmpd="sng" algn="ctr">
                        <a:solidFill>
                          <a:srgbClr val="F2E8F8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69" name="Freeform: Shape 54">
                        <a:extLst>
                          <a:ext uri="{FF2B5EF4-FFF2-40B4-BE49-F238E27FC236}">
                            <a16:creationId xmlns:a16="http://schemas.microsoft.com/office/drawing/2014/main" id="{B3357907-F883-6079-6034-1352FA9AC113}"/>
                          </a:ext>
                        </a:extLst>
                      </p:cNvPr>
                      <p:cNvSpPr/>
                      <p:nvPr/>
                    </p:nvSpPr>
                    <p:spPr>
                      <a:xfrm rot="5209521">
                        <a:off x="8961351" y="4317762"/>
                        <a:ext cx="27432" cy="36576"/>
                      </a:xfrm>
                      <a:custGeom>
                        <a:avLst/>
                        <a:gdLst>
                          <a:gd name="connsiteX0" fmla="*/ 57150 w 104775"/>
                          <a:gd name="connsiteY0" fmla="*/ 76200 h 127635"/>
                          <a:gd name="connsiteX1" fmla="*/ 57150 w 104775"/>
                          <a:gd name="connsiteY1" fmla="*/ 76200 h 127635"/>
                          <a:gd name="connsiteX2" fmla="*/ 24765 w 104775"/>
                          <a:gd name="connsiteY2" fmla="*/ 80010 h 127635"/>
                          <a:gd name="connsiteX3" fmla="*/ 19050 w 104775"/>
                          <a:gd name="connsiteY3" fmla="*/ 83820 h 127635"/>
                          <a:gd name="connsiteX4" fmla="*/ 19050 w 104775"/>
                          <a:gd name="connsiteY4" fmla="*/ 106680 h 127635"/>
                          <a:gd name="connsiteX5" fmla="*/ 24765 w 104775"/>
                          <a:gd name="connsiteY5" fmla="*/ 110490 h 127635"/>
                          <a:gd name="connsiteX6" fmla="*/ 28575 w 104775"/>
                          <a:gd name="connsiteY6" fmla="*/ 116205 h 127635"/>
                          <a:gd name="connsiteX7" fmla="*/ 32385 w 104775"/>
                          <a:gd name="connsiteY7" fmla="*/ 127635 h 127635"/>
                          <a:gd name="connsiteX8" fmla="*/ 81915 w 104775"/>
                          <a:gd name="connsiteY8" fmla="*/ 125730 h 127635"/>
                          <a:gd name="connsiteX9" fmla="*/ 87630 w 104775"/>
                          <a:gd name="connsiteY9" fmla="*/ 123825 h 127635"/>
                          <a:gd name="connsiteX10" fmla="*/ 89535 w 104775"/>
                          <a:gd name="connsiteY10" fmla="*/ 118110 h 127635"/>
                          <a:gd name="connsiteX11" fmla="*/ 93345 w 104775"/>
                          <a:gd name="connsiteY11" fmla="*/ 112395 h 127635"/>
                          <a:gd name="connsiteX12" fmla="*/ 95250 w 104775"/>
                          <a:gd name="connsiteY12" fmla="*/ 99060 h 127635"/>
                          <a:gd name="connsiteX13" fmla="*/ 100965 w 104775"/>
                          <a:gd name="connsiteY13" fmla="*/ 95250 h 127635"/>
                          <a:gd name="connsiteX14" fmla="*/ 104775 w 104775"/>
                          <a:gd name="connsiteY14" fmla="*/ 83820 h 127635"/>
                          <a:gd name="connsiteX15" fmla="*/ 100965 w 104775"/>
                          <a:gd name="connsiteY15" fmla="*/ 57150 h 127635"/>
                          <a:gd name="connsiteX16" fmla="*/ 99060 w 104775"/>
                          <a:gd name="connsiteY16" fmla="*/ 49530 h 127635"/>
                          <a:gd name="connsiteX17" fmla="*/ 95250 w 104775"/>
                          <a:gd name="connsiteY17" fmla="*/ 43815 h 127635"/>
                          <a:gd name="connsiteX18" fmla="*/ 91440 w 104775"/>
                          <a:gd name="connsiteY18" fmla="*/ 32385 h 127635"/>
                          <a:gd name="connsiteX19" fmla="*/ 81915 w 104775"/>
                          <a:gd name="connsiteY19" fmla="*/ 15240 h 127635"/>
                          <a:gd name="connsiteX20" fmla="*/ 70485 w 104775"/>
                          <a:gd name="connsiteY20" fmla="*/ 3810 h 127635"/>
                          <a:gd name="connsiteX21" fmla="*/ 59055 w 104775"/>
                          <a:gd name="connsiteY21" fmla="*/ 0 h 127635"/>
                          <a:gd name="connsiteX22" fmla="*/ 45720 w 104775"/>
                          <a:gd name="connsiteY22" fmla="*/ 1905 h 127635"/>
                          <a:gd name="connsiteX23" fmla="*/ 43815 w 104775"/>
                          <a:gd name="connsiteY23" fmla="*/ 19050 h 127635"/>
                          <a:gd name="connsiteX24" fmla="*/ 41910 w 104775"/>
                          <a:gd name="connsiteY24" fmla="*/ 30480 h 127635"/>
                          <a:gd name="connsiteX25" fmla="*/ 40005 w 104775"/>
                          <a:gd name="connsiteY25" fmla="*/ 43815 h 127635"/>
                          <a:gd name="connsiteX26" fmla="*/ 28575 w 104775"/>
                          <a:gd name="connsiteY26" fmla="*/ 49530 h 127635"/>
                          <a:gd name="connsiteX27" fmla="*/ 3810 w 104775"/>
                          <a:gd name="connsiteY27" fmla="*/ 51435 h 127635"/>
                          <a:gd name="connsiteX28" fmla="*/ 1905 w 104775"/>
                          <a:gd name="connsiteY28" fmla="*/ 59055 h 127635"/>
                          <a:gd name="connsiteX29" fmla="*/ 0 w 104775"/>
                          <a:gd name="connsiteY29" fmla="*/ 64770 h 127635"/>
                          <a:gd name="connsiteX30" fmla="*/ 5715 w 104775"/>
                          <a:gd name="connsiteY30" fmla="*/ 78105 h 127635"/>
                          <a:gd name="connsiteX31" fmla="*/ 5715 w 104775"/>
                          <a:gd name="connsiteY31" fmla="*/ 81915 h 127635"/>
                          <a:gd name="connsiteX32" fmla="*/ 5715 w 104775"/>
                          <a:gd name="connsiteY32" fmla="*/ 87630 h 127635"/>
                          <a:gd name="connsiteX0" fmla="*/ 57150 w 104775"/>
                          <a:gd name="connsiteY0" fmla="*/ 76200 h 127635"/>
                          <a:gd name="connsiteX1" fmla="*/ 24765 w 104775"/>
                          <a:gd name="connsiteY1" fmla="*/ 80010 h 127635"/>
                          <a:gd name="connsiteX2" fmla="*/ 19050 w 104775"/>
                          <a:gd name="connsiteY2" fmla="*/ 83820 h 127635"/>
                          <a:gd name="connsiteX3" fmla="*/ 19050 w 104775"/>
                          <a:gd name="connsiteY3" fmla="*/ 106680 h 127635"/>
                          <a:gd name="connsiteX4" fmla="*/ 24765 w 104775"/>
                          <a:gd name="connsiteY4" fmla="*/ 110490 h 127635"/>
                          <a:gd name="connsiteX5" fmla="*/ 28575 w 104775"/>
                          <a:gd name="connsiteY5" fmla="*/ 116205 h 127635"/>
                          <a:gd name="connsiteX6" fmla="*/ 32385 w 104775"/>
                          <a:gd name="connsiteY6" fmla="*/ 127635 h 127635"/>
                          <a:gd name="connsiteX7" fmla="*/ 81915 w 104775"/>
                          <a:gd name="connsiteY7" fmla="*/ 125730 h 127635"/>
                          <a:gd name="connsiteX8" fmla="*/ 87630 w 104775"/>
                          <a:gd name="connsiteY8" fmla="*/ 123825 h 127635"/>
                          <a:gd name="connsiteX9" fmla="*/ 89535 w 104775"/>
                          <a:gd name="connsiteY9" fmla="*/ 118110 h 127635"/>
                          <a:gd name="connsiteX10" fmla="*/ 93345 w 104775"/>
                          <a:gd name="connsiteY10" fmla="*/ 112395 h 127635"/>
                          <a:gd name="connsiteX11" fmla="*/ 95250 w 104775"/>
                          <a:gd name="connsiteY11" fmla="*/ 99060 h 127635"/>
                          <a:gd name="connsiteX12" fmla="*/ 100965 w 104775"/>
                          <a:gd name="connsiteY12" fmla="*/ 95250 h 127635"/>
                          <a:gd name="connsiteX13" fmla="*/ 104775 w 104775"/>
                          <a:gd name="connsiteY13" fmla="*/ 83820 h 127635"/>
                          <a:gd name="connsiteX14" fmla="*/ 100965 w 104775"/>
                          <a:gd name="connsiteY14" fmla="*/ 57150 h 127635"/>
                          <a:gd name="connsiteX15" fmla="*/ 99060 w 104775"/>
                          <a:gd name="connsiteY15" fmla="*/ 49530 h 127635"/>
                          <a:gd name="connsiteX16" fmla="*/ 95250 w 104775"/>
                          <a:gd name="connsiteY16" fmla="*/ 43815 h 127635"/>
                          <a:gd name="connsiteX17" fmla="*/ 91440 w 104775"/>
                          <a:gd name="connsiteY17" fmla="*/ 32385 h 127635"/>
                          <a:gd name="connsiteX18" fmla="*/ 81915 w 104775"/>
                          <a:gd name="connsiteY18" fmla="*/ 15240 h 127635"/>
                          <a:gd name="connsiteX19" fmla="*/ 70485 w 104775"/>
                          <a:gd name="connsiteY19" fmla="*/ 3810 h 127635"/>
                          <a:gd name="connsiteX20" fmla="*/ 59055 w 104775"/>
                          <a:gd name="connsiteY20" fmla="*/ 0 h 127635"/>
                          <a:gd name="connsiteX21" fmla="*/ 45720 w 104775"/>
                          <a:gd name="connsiteY21" fmla="*/ 1905 h 127635"/>
                          <a:gd name="connsiteX22" fmla="*/ 43815 w 104775"/>
                          <a:gd name="connsiteY22" fmla="*/ 19050 h 127635"/>
                          <a:gd name="connsiteX23" fmla="*/ 41910 w 104775"/>
                          <a:gd name="connsiteY23" fmla="*/ 30480 h 127635"/>
                          <a:gd name="connsiteX24" fmla="*/ 40005 w 104775"/>
                          <a:gd name="connsiteY24" fmla="*/ 43815 h 127635"/>
                          <a:gd name="connsiteX25" fmla="*/ 28575 w 104775"/>
                          <a:gd name="connsiteY25" fmla="*/ 49530 h 127635"/>
                          <a:gd name="connsiteX26" fmla="*/ 3810 w 104775"/>
                          <a:gd name="connsiteY26" fmla="*/ 51435 h 127635"/>
                          <a:gd name="connsiteX27" fmla="*/ 1905 w 104775"/>
                          <a:gd name="connsiteY27" fmla="*/ 59055 h 127635"/>
                          <a:gd name="connsiteX28" fmla="*/ 0 w 104775"/>
                          <a:gd name="connsiteY28" fmla="*/ 64770 h 127635"/>
                          <a:gd name="connsiteX29" fmla="*/ 5715 w 104775"/>
                          <a:gd name="connsiteY29" fmla="*/ 78105 h 127635"/>
                          <a:gd name="connsiteX30" fmla="*/ 5715 w 104775"/>
                          <a:gd name="connsiteY30" fmla="*/ 81915 h 127635"/>
                          <a:gd name="connsiteX31" fmla="*/ 5715 w 104775"/>
                          <a:gd name="connsiteY31" fmla="*/ 87630 h 127635"/>
                          <a:gd name="connsiteX0" fmla="*/ 24765 w 104775"/>
                          <a:gd name="connsiteY0" fmla="*/ 80010 h 127635"/>
                          <a:gd name="connsiteX1" fmla="*/ 19050 w 104775"/>
                          <a:gd name="connsiteY1" fmla="*/ 83820 h 127635"/>
                          <a:gd name="connsiteX2" fmla="*/ 19050 w 104775"/>
                          <a:gd name="connsiteY2" fmla="*/ 106680 h 127635"/>
                          <a:gd name="connsiteX3" fmla="*/ 24765 w 104775"/>
                          <a:gd name="connsiteY3" fmla="*/ 110490 h 127635"/>
                          <a:gd name="connsiteX4" fmla="*/ 28575 w 104775"/>
                          <a:gd name="connsiteY4" fmla="*/ 116205 h 127635"/>
                          <a:gd name="connsiteX5" fmla="*/ 32385 w 104775"/>
                          <a:gd name="connsiteY5" fmla="*/ 127635 h 127635"/>
                          <a:gd name="connsiteX6" fmla="*/ 81915 w 104775"/>
                          <a:gd name="connsiteY6" fmla="*/ 125730 h 127635"/>
                          <a:gd name="connsiteX7" fmla="*/ 87630 w 104775"/>
                          <a:gd name="connsiteY7" fmla="*/ 123825 h 127635"/>
                          <a:gd name="connsiteX8" fmla="*/ 89535 w 104775"/>
                          <a:gd name="connsiteY8" fmla="*/ 118110 h 127635"/>
                          <a:gd name="connsiteX9" fmla="*/ 93345 w 104775"/>
                          <a:gd name="connsiteY9" fmla="*/ 112395 h 127635"/>
                          <a:gd name="connsiteX10" fmla="*/ 95250 w 104775"/>
                          <a:gd name="connsiteY10" fmla="*/ 99060 h 127635"/>
                          <a:gd name="connsiteX11" fmla="*/ 100965 w 104775"/>
                          <a:gd name="connsiteY11" fmla="*/ 95250 h 127635"/>
                          <a:gd name="connsiteX12" fmla="*/ 104775 w 104775"/>
                          <a:gd name="connsiteY12" fmla="*/ 83820 h 127635"/>
                          <a:gd name="connsiteX13" fmla="*/ 100965 w 104775"/>
                          <a:gd name="connsiteY13" fmla="*/ 57150 h 127635"/>
                          <a:gd name="connsiteX14" fmla="*/ 99060 w 104775"/>
                          <a:gd name="connsiteY14" fmla="*/ 49530 h 127635"/>
                          <a:gd name="connsiteX15" fmla="*/ 95250 w 104775"/>
                          <a:gd name="connsiteY15" fmla="*/ 43815 h 127635"/>
                          <a:gd name="connsiteX16" fmla="*/ 91440 w 104775"/>
                          <a:gd name="connsiteY16" fmla="*/ 32385 h 127635"/>
                          <a:gd name="connsiteX17" fmla="*/ 81915 w 104775"/>
                          <a:gd name="connsiteY17" fmla="*/ 15240 h 127635"/>
                          <a:gd name="connsiteX18" fmla="*/ 70485 w 104775"/>
                          <a:gd name="connsiteY18" fmla="*/ 3810 h 127635"/>
                          <a:gd name="connsiteX19" fmla="*/ 59055 w 104775"/>
                          <a:gd name="connsiteY19" fmla="*/ 0 h 127635"/>
                          <a:gd name="connsiteX20" fmla="*/ 45720 w 104775"/>
                          <a:gd name="connsiteY20" fmla="*/ 1905 h 127635"/>
                          <a:gd name="connsiteX21" fmla="*/ 43815 w 104775"/>
                          <a:gd name="connsiteY21" fmla="*/ 19050 h 127635"/>
                          <a:gd name="connsiteX22" fmla="*/ 41910 w 104775"/>
                          <a:gd name="connsiteY22" fmla="*/ 30480 h 127635"/>
                          <a:gd name="connsiteX23" fmla="*/ 40005 w 104775"/>
                          <a:gd name="connsiteY23" fmla="*/ 43815 h 127635"/>
                          <a:gd name="connsiteX24" fmla="*/ 28575 w 104775"/>
                          <a:gd name="connsiteY24" fmla="*/ 49530 h 127635"/>
                          <a:gd name="connsiteX25" fmla="*/ 3810 w 104775"/>
                          <a:gd name="connsiteY25" fmla="*/ 51435 h 127635"/>
                          <a:gd name="connsiteX26" fmla="*/ 1905 w 104775"/>
                          <a:gd name="connsiteY26" fmla="*/ 59055 h 127635"/>
                          <a:gd name="connsiteX27" fmla="*/ 0 w 104775"/>
                          <a:gd name="connsiteY27" fmla="*/ 64770 h 127635"/>
                          <a:gd name="connsiteX28" fmla="*/ 5715 w 104775"/>
                          <a:gd name="connsiteY28" fmla="*/ 78105 h 127635"/>
                          <a:gd name="connsiteX29" fmla="*/ 5715 w 104775"/>
                          <a:gd name="connsiteY29" fmla="*/ 81915 h 127635"/>
                          <a:gd name="connsiteX30" fmla="*/ 5715 w 104775"/>
                          <a:gd name="connsiteY30" fmla="*/ 87630 h 127635"/>
                          <a:gd name="connsiteX0" fmla="*/ 24765 w 104775"/>
                          <a:gd name="connsiteY0" fmla="*/ 80010 h 127635"/>
                          <a:gd name="connsiteX1" fmla="*/ 19050 w 104775"/>
                          <a:gd name="connsiteY1" fmla="*/ 106680 h 127635"/>
                          <a:gd name="connsiteX2" fmla="*/ 24765 w 104775"/>
                          <a:gd name="connsiteY2" fmla="*/ 110490 h 127635"/>
                          <a:gd name="connsiteX3" fmla="*/ 28575 w 104775"/>
                          <a:gd name="connsiteY3" fmla="*/ 116205 h 127635"/>
                          <a:gd name="connsiteX4" fmla="*/ 32385 w 104775"/>
                          <a:gd name="connsiteY4" fmla="*/ 127635 h 127635"/>
                          <a:gd name="connsiteX5" fmla="*/ 81915 w 104775"/>
                          <a:gd name="connsiteY5" fmla="*/ 125730 h 127635"/>
                          <a:gd name="connsiteX6" fmla="*/ 87630 w 104775"/>
                          <a:gd name="connsiteY6" fmla="*/ 123825 h 127635"/>
                          <a:gd name="connsiteX7" fmla="*/ 89535 w 104775"/>
                          <a:gd name="connsiteY7" fmla="*/ 118110 h 127635"/>
                          <a:gd name="connsiteX8" fmla="*/ 93345 w 104775"/>
                          <a:gd name="connsiteY8" fmla="*/ 112395 h 127635"/>
                          <a:gd name="connsiteX9" fmla="*/ 95250 w 104775"/>
                          <a:gd name="connsiteY9" fmla="*/ 99060 h 127635"/>
                          <a:gd name="connsiteX10" fmla="*/ 100965 w 104775"/>
                          <a:gd name="connsiteY10" fmla="*/ 95250 h 127635"/>
                          <a:gd name="connsiteX11" fmla="*/ 104775 w 104775"/>
                          <a:gd name="connsiteY11" fmla="*/ 83820 h 127635"/>
                          <a:gd name="connsiteX12" fmla="*/ 100965 w 104775"/>
                          <a:gd name="connsiteY12" fmla="*/ 57150 h 127635"/>
                          <a:gd name="connsiteX13" fmla="*/ 99060 w 104775"/>
                          <a:gd name="connsiteY13" fmla="*/ 49530 h 127635"/>
                          <a:gd name="connsiteX14" fmla="*/ 95250 w 104775"/>
                          <a:gd name="connsiteY14" fmla="*/ 43815 h 127635"/>
                          <a:gd name="connsiteX15" fmla="*/ 91440 w 104775"/>
                          <a:gd name="connsiteY15" fmla="*/ 32385 h 127635"/>
                          <a:gd name="connsiteX16" fmla="*/ 81915 w 104775"/>
                          <a:gd name="connsiteY16" fmla="*/ 15240 h 127635"/>
                          <a:gd name="connsiteX17" fmla="*/ 70485 w 104775"/>
                          <a:gd name="connsiteY17" fmla="*/ 3810 h 127635"/>
                          <a:gd name="connsiteX18" fmla="*/ 59055 w 104775"/>
                          <a:gd name="connsiteY18" fmla="*/ 0 h 127635"/>
                          <a:gd name="connsiteX19" fmla="*/ 45720 w 104775"/>
                          <a:gd name="connsiteY19" fmla="*/ 1905 h 127635"/>
                          <a:gd name="connsiteX20" fmla="*/ 43815 w 104775"/>
                          <a:gd name="connsiteY20" fmla="*/ 19050 h 127635"/>
                          <a:gd name="connsiteX21" fmla="*/ 41910 w 104775"/>
                          <a:gd name="connsiteY21" fmla="*/ 30480 h 127635"/>
                          <a:gd name="connsiteX22" fmla="*/ 40005 w 104775"/>
                          <a:gd name="connsiteY22" fmla="*/ 43815 h 127635"/>
                          <a:gd name="connsiteX23" fmla="*/ 28575 w 104775"/>
                          <a:gd name="connsiteY23" fmla="*/ 49530 h 127635"/>
                          <a:gd name="connsiteX24" fmla="*/ 3810 w 104775"/>
                          <a:gd name="connsiteY24" fmla="*/ 51435 h 127635"/>
                          <a:gd name="connsiteX25" fmla="*/ 1905 w 104775"/>
                          <a:gd name="connsiteY25" fmla="*/ 59055 h 127635"/>
                          <a:gd name="connsiteX26" fmla="*/ 0 w 104775"/>
                          <a:gd name="connsiteY26" fmla="*/ 64770 h 127635"/>
                          <a:gd name="connsiteX27" fmla="*/ 5715 w 104775"/>
                          <a:gd name="connsiteY27" fmla="*/ 78105 h 127635"/>
                          <a:gd name="connsiteX28" fmla="*/ 5715 w 104775"/>
                          <a:gd name="connsiteY28" fmla="*/ 81915 h 127635"/>
                          <a:gd name="connsiteX29" fmla="*/ 5715 w 104775"/>
                          <a:gd name="connsiteY29" fmla="*/ 8763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5715 w 104775"/>
                          <a:gd name="connsiteY28" fmla="*/ 8763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17145 w 104775"/>
                          <a:gd name="connsiteY28" fmla="*/ 11049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17145 w 104775"/>
                          <a:gd name="connsiteY28" fmla="*/ 110490 h 127635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81915 w 104775"/>
                          <a:gd name="connsiteY15" fmla="*/ 16019 h 128414"/>
                          <a:gd name="connsiteX16" fmla="*/ 70485 w 104775"/>
                          <a:gd name="connsiteY16" fmla="*/ 4589 h 128414"/>
                          <a:gd name="connsiteX17" fmla="*/ 59055 w 104775"/>
                          <a:gd name="connsiteY17" fmla="*/ 779 h 128414"/>
                          <a:gd name="connsiteX18" fmla="*/ 45720 w 104775"/>
                          <a:gd name="connsiteY18" fmla="*/ 2684 h 128414"/>
                          <a:gd name="connsiteX19" fmla="*/ 41910 w 104775"/>
                          <a:gd name="connsiteY19" fmla="*/ 31259 h 128414"/>
                          <a:gd name="connsiteX20" fmla="*/ 40005 w 104775"/>
                          <a:gd name="connsiteY20" fmla="*/ 44594 h 128414"/>
                          <a:gd name="connsiteX21" fmla="*/ 28575 w 104775"/>
                          <a:gd name="connsiteY21" fmla="*/ 50309 h 128414"/>
                          <a:gd name="connsiteX22" fmla="*/ 3810 w 104775"/>
                          <a:gd name="connsiteY22" fmla="*/ 52214 h 128414"/>
                          <a:gd name="connsiteX23" fmla="*/ 1905 w 104775"/>
                          <a:gd name="connsiteY23" fmla="*/ 59834 h 128414"/>
                          <a:gd name="connsiteX24" fmla="*/ 0 w 104775"/>
                          <a:gd name="connsiteY24" fmla="*/ 65549 h 128414"/>
                          <a:gd name="connsiteX25" fmla="*/ 5715 w 104775"/>
                          <a:gd name="connsiteY25" fmla="*/ 78884 h 128414"/>
                          <a:gd name="connsiteX26" fmla="*/ 5715 w 104775"/>
                          <a:gd name="connsiteY26" fmla="*/ 82694 h 128414"/>
                          <a:gd name="connsiteX27" fmla="*/ 17145 w 104775"/>
                          <a:gd name="connsiteY27" fmla="*/ 111269 h 128414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70485 w 104775"/>
                          <a:gd name="connsiteY15" fmla="*/ 4589 h 128414"/>
                          <a:gd name="connsiteX16" fmla="*/ 59055 w 104775"/>
                          <a:gd name="connsiteY16" fmla="*/ 779 h 128414"/>
                          <a:gd name="connsiteX17" fmla="*/ 45720 w 104775"/>
                          <a:gd name="connsiteY17" fmla="*/ 2684 h 128414"/>
                          <a:gd name="connsiteX18" fmla="*/ 41910 w 104775"/>
                          <a:gd name="connsiteY18" fmla="*/ 31259 h 128414"/>
                          <a:gd name="connsiteX19" fmla="*/ 40005 w 104775"/>
                          <a:gd name="connsiteY19" fmla="*/ 44594 h 128414"/>
                          <a:gd name="connsiteX20" fmla="*/ 28575 w 104775"/>
                          <a:gd name="connsiteY20" fmla="*/ 50309 h 128414"/>
                          <a:gd name="connsiteX21" fmla="*/ 3810 w 104775"/>
                          <a:gd name="connsiteY21" fmla="*/ 52214 h 128414"/>
                          <a:gd name="connsiteX22" fmla="*/ 1905 w 104775"/>
                          <a:gd name="connsiteY22" fmla="*/ 59834 h 128414"/>
                          <a:gd name="connsiteX23" fmla="*/ 0 w 104775"/>
                          <a:gd name="connsiteY23" fmla="*/ 65549 h 128414"/>
                          <a:gd name="connsiteX24" fmla="*/ 5715 w 104775"/>
                          <a:gd name="connsiteY24" fmla="*/ 78884 h 128414"/>
                          <a:gd name="connsiteX25" fmla="*/ 5715 w 104775"/>
                          <a:gd name="connsiteY25" fmla="*/ 82694 h 128414"/>
                          <a:gd name="connsiteX26" fmla="*/ 17145 w 104775"/>
                          <a:gd name="connsiteY26" fmla="*/ 111269 h 128414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70485 w 104775"/>
                          <a:gd name="connsiteY15" fmla="*/ 4589 h 128414"/>
                          <a:gd name="connsiteX16" fmla="*/ 59055 w 104775"/>
                          <a:gd name="connsiteY16" fmla="*/ 779 h 128414"/>
                          <a:gd name="connsiteX17" fmla="*/ 45720 w 104775"/>
                          <a:gd name="connsiteY17" fmla="*/ 2684 h 128414"/>
                          <a:gd name="connsiteX18" fmla="*/ 41910 w 104775"/>
                          <a:gd name="connsiteY18" fmla="*/ 31259 h 128414"/>
                          <a:gd name="connsiteX19" fmla="*/ 40005 w 104775"/>
                          <a:gd name="connsiteY19" fmla="*/ 44594 h 128414"/>
                          <a:gd name="connsiteX20" fmla="*/ 3810 w 104775"/>
                          <a:gd name="connsiteY20" fmla="*/ 52214 h 128414"/>
                          <a:gd name="connsiteX21" fmla="*/ 1905 w 104775"/>
                          <a:gd name="connsiteY21" fmla="*/ 59834 h 128414"/>
                          <a:gd name="connsiteX22" fmla="*/ 0 w 104775"/>
                          <a:gd name="connsiteY22" fmla="*/ 65549 h 128414"/>
                          <a:gd name="connsiteX23" fmla="*/ 5715 w 104775"/>
                          <a:gd name="connsiteY23" fmla="*/ 78884 h 128414"/>
                          <a:gd name="connsiteX24" fmla="*/ 5715 w 104775"/>
                          <a:gd name="connsiteY24" fmla="*/ 82694 h 128414"/>
                          <a:gd name="connsiteX25" fmla="*/ 17145 w 104775"/>
                          <a:gd name="connsiteY25" fmla="*/ 111269 h 128414"/>
                          <a:gd name="connsiteX0" fmla="*/ 19050 w 104775"/>
                          <a:gd name="connsiteY0" fmla="*/ 107492 h 128447"/>
                          <a:gd name="connsiteX1" fmla="*/ 24765 w 104775"/>
                          <a:gd name="connsiteY1" fmla="*/ 111302 h 128447"/>
                          <a:gd name="connsiteX2" fmla="*/ 28575 w 104775"/>
                          <a:gd name="connsiteY2" fmla="*/ 117017 h 128447"/>
                          <a:gd name="connsiteX3" fmla="*/ 32385 w 104775"/>
                          <a:gd name="connsiteY3" fmla="*/ 128447 h 128447"/>
                          <a:gd name="connsiteX4" fmla="*/ 81915 w 104775"/>
                          <a:gd name="connsiteY4" fmla="*/ 126542 h 128447"/>
                          <a:gd name="connsiteX5" fmla="*/ 87630 w 104775"/>
                          <a:gd name="connsiteY5" fmla="*/ 124637 h 128447"/>
                          <a:gd name="connsiteX6" fmla="*/ 89535 w 104775"/>
                          <a:gd name="connsiteY6" fmla="*/ 118922 h 128447"/>
                          <a:gd name="connsiteX7" fmla="*/ 93345 w 104775"/>
                          <a:gd name="connsiteY7" fmla="*/ 113207 h 128447"/>
                          <a:gd name="connsiteX8" fmla="*/ 95250 w 104775"/>
                          <a:gd name="connsiteY8" fmla="*/ 99872 h 128447"/>
                          <a:gd name="connsiteX9" fmla="*/ 100965 w 104775"/>
                          <a:gd name="connsiteY9" fmla="*/ 96062 h 128447"/>
                          <a:gd name="connsiteX10" fmla="*/ 104775 w 104775"/>
                          <a:gd name="connsiteY10" fmla="*/ 84632 h 128447"/>
                          <a:gd name="connsiteX11" fmla="*/ 100965 w 104775"/>
                          <a:gd name="connsiteY11" fmla="*/ 57962 h 128447"/>
                          <a:gd name="connsiteX12" fmla="*/ 99060 w 104775"/>
                          <a:gd name="connsiteY12" fmla="*/ 50342 h 128447"/>
                          <a:gd name="connsiteX13" fmla="*/ 95250 w 104775"/>
                          <a:gd name="connsiteY13" fmla="*/ 44627 h 128447"/>
                          <a:gd name="connsiteX14" fmla="*/ 91440 w 104775"/>
                          <a:gd name="connsiteY14" fmla="*/ 33197 h 128447"/>
                          <a:gd name="connsiteX15" fmla="*/ 70485 w 104775"/>
                          <a:gd name="connsiteY15" fmla="*/ 4622 h 128447"/>
                          <a:gd name="connsiteX16" fmla="*/ 45720 w 104775"/>
                          <a:gd name="connsiteY16" fmla="*/ 2717 h 128447"/>
                          <a:gd name="connsiteX17" fmla="*/ 41910 w 104775"/>
                          <a:gd name="connsiteY17" fmla="*/ 31292 h 128447"/>
                          <a:gd name="connsiteX18" fmla="*/ 40005 w 104775"/>
                          <a:gd name="connsiteY18" fmla="*/ 44627 h 128447"/>
                          <a:gd name="connsiteX19" fmla="*/ 3810 w 104775"/>
                          <a:gd name="connsiteY19" fmla="*/ 52247 h 128447"/>
                          <a:gd name="connsiteX20" fmla="*/ 1905 w 104775"/>
                          <a:gd name="connsiteY20" fmla="*/ 59867 h 128447"/>
                          <a:gd name="connsiteX21" fmla="*/ 0 w 104775"/>
                          <a:gd name="connsiteY21" fmla="*/ 65582 h 128447"/>
                          <a:gd name="connsiteX22" fmla="*/ 5715 w 104775"/>
                          <a:gd name="connsiteY22" fmla="*/ 78917 h 128447"/>
                          <a:gd name="connsiteX23" fmla="*/ 5715 w 104775"/>
                          <a:gd name="connsiteY23" fmla="*/ 82727 h 128447"/>
                          <a:gd name="connsiteX24" fmla="*/ 17145 w 104775"/>
                          <a:gd name="connsiteY24" fmla="*/ 111302 h 128447"/>
                          <a:gd name="connsiteX0" fmla="*/ 19050 w 104775"/>
                          <a:gd name="connsiteY0" fmla="*/ 102874 h 123829"/>
                          <a:gd name="connsiteX1" fmla="*/ 24765 w 104775"/>
                          <a:gd name="connsiteY1" fmla="*/ 106684 h 123829"/>
                          <a:gd name="connsiteX2" fmla="*/ 28575 w 104775"/>
                          <a:gd name="connsiteY2" fmla="*/ 112399 h 123829"/>
                          <a:gd name="connsiteX3" fmla="*/ 32385 w 104775"/>
                          <a:gd name="connsiteY3" fmla="*/ 123829 h 123829"/>
                          <a:gd name="connsiteX4" fmla="*/ 81915 w 104775"/>
                          <a:gd name="connsiteY4" fmla="*/ 121924 h 123829"/>
                          <a:gd name="connsiteX5" fmla="*/ 87630 w 104775"/>
                          <a:gd name="connsiteY5" fmla="*/ 120019 h 123829"/>
                          <a:gd name="connsiteX6" fmla="*/ 89535 w 104775"/>
                          <a:gd name="connsiteY6" fmla="*/ 114304 h 123829"/>
                          <a:gd name="connsiteX7" fmla="*/ 93345 w 104775"/>
                          <a:gd name="connsiteY7" fmla="*/ 108589 h 123829"/>
                          <a:gd name="connsiteX8" fmla="*/ 95250 w 104775"/>
                          <a:gd name="connsiteY8" fmla="*/ 95254 h 123829"/>
                          <a:gd name="connsiteX9" fmla="*/ 100965 w 104775"/>
                          <a:gd name="connsiteY9" fmla="*/ 91444 h 123829"/>
                          <a:gd name="connsiteX10" fmla="*/ 104775 w 104775"/>
                          <a:gd name="connsiteY10" fmla="*/ 80014 h 123829"/>
                          <a:gd name="connsiteX11" fmla="*/ 100965 w 104775"/>
                          <a:gd name="connsiteY11" fmla="*/ 53344 h 123829"/>
                          <a:gd name="connsiteX12" fmla="*/ 99060 w 104775"/>
                          <a:gd name="connsiteY12" fmla="*/ 45724 h 123829"/>
                          <a:gd name="connsiteX13" fmla="*/ 95250 w 104775"/>
                          <a:gd name="connsiteY13" fmla="*/ 40009 h 123829"/>
                          <a:gd name="connsiteX14" fmla="*/ 91440 w 104775"/>
                          <a:gd name="connsiteY14" fmla="*/ 28579 h 123829"/>
                          <a:gd name="connsiteX15" fmla="*/ 70485 w 104775"/>
                          <a:gd name="connsiteY15" fmla="*/ 4 h 123829"/>
                          <a:gd name="connsiteX16" fmla="*/ 41910 w 104775"/>
                          <a:gd name="connsiteY16" fmla="*/ 26674 h 123829"/>
                          <a:gd name="connsiteX17" fmla="*/ 40005 w 104775"/>
                          <a:gd name="connsiteY17" fmla="*/ 40009 h 123829"/>
                          <a:gd name="connsiteX18" fmla="*/ 3810 w 104775"/>
                          <a:gd name="connsiteY18" fmla="*/ 47629 h 123829"/>
                          <a:gd name="connsiteX19" fmla="*/ 1905 w 104775"/>
                          <a:gd name="connsiteY19" fmla="*/ 55249 h 123829"/>
                          <a:gd name="connsiteX20" fmla="*/ 0 w 104775"/>
                          <a:gd name="connsiteY20" fmla="*/ 60964 h 123829"/>
                          <a:gd name="connsiteX21" fmla="*/ 5715 w 104775"/>
                          <a:gd name="connsiteY21" fmla="*/ 74299 h 123829"/>
                          <a:gd name="connsiteX22" fmla="*/ 5715 w 104775"/>
                          <a:gd name="connsiteY22" fmla="*/ 78109 h 123829"/>
                          <a:gd name="connsiteX23" fmla="*/ 17145 w 104775"/>
                          <a:gd name="connsiteY23" fmla="*/ 106684 h 123829"/>
                          <a:gd name="connsiteX0" fmla="*/ 19050 w 104775"/>
                          <a:gd name="connsiteY0" fmla="*/ 77050 h 98005"/>
                          <a:gd name="connsiteX1" fmla="*/ 24765 w 104775"/>
                          <a:gd name="connsiteY1" fmla="*/ 80860 h 98005"/>
                          <a:gd name="connsiteX2" fmla="*/ 28575 w 104775"/>
                          <a:gd name="connsiteY2" fmla="*/ 86575 h 98005"/>
                          <a:gd name="connsiteX3" fmla="*/ 32385 w 104775"/>
                          <a:gd name="connsiteY3" fmla="*/ 98005 h 98005"/>
                          <a:gd name="connsiteX4" fmla="*/ 81915 w 104775"/>
                          <a:gd name="connsiteY4" fmla="*/ 96100 h 98005"/>
                          <a:gd name="connsiteX5" fmla="*/ 87630 w 104775"/>
                          <a:gd name="connsiteY5" fmla="*/ 94195 h 98005"/>
                          <a:gd name="connsiteX6" fmla="*/ 89535 w 104775"/>
                          <a:gd name="connsiteY6" fmla="*/ 88480 h 98005"/>
                          <a:gd name="connsiteX7" fmla="*/ 93345 w 104775"/>
                          <a:gd name="connsiteY7" fmla="*/ 82765 h 98005"/>
                          <a:gd name="connsiteX8" fmla="*/ 95250 w 104775"/>
                          <a:gd name="connsiteY8" fmla="*/ 69430 h 98005"/>
                          <a:gd name="connsiteX9" fmla="*/ 100965 w 104775"/>
                          <a:gd name="connsiteY9" fmla="*/ 65620 h 98005"/>
                          <a:gd name="connsiteX10" fmla="*/ 104775 w 104775"/>
                          <a:gd name="connsiteY10" fmla="*/ 54190 h 98005"/>
                          <a:gd name="connsiteX11" fmla="*/ 100965 w 104775"/>
                          <a:gd name="connsiteY11" fmla="*/ 27520 h 98005"/>
                          <a:gd name="connsiteX12" fmla="*/ 99060 w 104775"/>
                          <a:gd name="connsiteY12" fmla="*/ 19900 h 98005"/>
                          <a:gd name="connsiteX13" fmla="*/ 95250 w 104775"/>
                          <a:gd name="connsiteY13" fmla="*/ 14185 h 98005"/>
                          <a:gd name="connsiteX14" fmla="*/ 91440 w 104775"/>
                          <a:gd name="connsiteY14" fmla="*/ 2755 h 98005"/>
                          <a:gd name="connsiteX15" fmla="*/ 41910 w 104775"/>
                          <a:gd name="connsiteY15" fmla="*/ 850 h 98005"/>
                          <a:gd name="connsiteX16" fmla="*/ 40005 w 104775"/>
                          <a:gd name="connsiteY16" fmla="*/ 14185 h 98005"/>
                          <a:gd name="connsiteX17" fmla="*/ 3810 w 104775"/>
                          <a:gd name="connsiteY17" fmla="*/ 21805 h 98005"/>
                          <a:gd name="connsiteX18" fmla="*/ 1905 w 104775"/>
                          <a:gd name="connsiteY18" fmla="*/ 29425 h 98005"/>
                          <a:gd name="connsiteX19" fmla="*/ 0 w 104775"/>
                          <a:gd name="connsiteY19" fmla="*/ 35140 h 98005"/>
                          <a:gd name="connsiteX20" fmla="*/ 5715 w 104775"/>
                          <a:gd name="connsiteY20" fmla="*/ 48475 h 98005"/>
                          <a:gd name="connsiteX21" fmla="*/ 5715 w 104775"/>
                          <a:gd name="connsiteY21" fmla="*/ 52285 h 98005"/>
                          <a:gd name="connsiteX22" fmla="*/ 17145 w 104775"/>
                          <a:gd name="connsiteY22" fmla="*/ 80860 h 98005"/>
                          <a:gd name="connsiteX0" fmla="*/ 19050 w 104775"/>
                          <a:gd name="connsiteY0" fmla="*/ 76200 h 97155"/>
                          <a:gd name="connsiteX1" fmla="*/ 24765 w 104775"/>
                          <a:gd name="connsiteY1" fmla="*/ 80010 h 97155"/>
                          <a:gd name="connsiteX2" fmla="*/ 28575 w 104775"/>
                          <a:gd name="connsiteY2" fmla="*/ 85725 h 97155"/>
                          <a:gd name="connsiteX3" fmla="*/ 32385 w 104775"/>
                          <a:gd name="connsiteY3" fmla="*/ 97155 h 97155"/>
                          <a:gd name="connsiteX4" fmla="*/ 81915 w 104775"/>
                          <a:gd name="connsiteY4" fmla="*/ 95250 h 97155"/>
                          <a:gd name="connsiteX5" fmla="*/ 87630 w 104775"/>
                          <a:gd name="connsiteY5" fmla="*/ 93345 h 97155"/>
                          <a:gd name="connsiteX6" fmla="*/ 89535 w 104775"/>
                          <a:gd name="connsiteY6" fmla="*/ 87630 h 97155"/>
                          <a:gd name="connsiteX7" fmla="*/ 93345 w 104775"/>
                          <a:gd name="connsiteY7" fmla="*/ 81915 h 97155"/>
                          <a:gd name="connsiteX8" fmla="*/ 95250 w 104775"/>
                          <a:gd name="connsiteY8" fmla="*/ 68580 h 97155"/>
                          <a:gd name="connsiteX9" fmla="*/ 100965 w 104775"/>
                          <a:gd name="connsiteY9" fmla="*/ 64770 h 97155"/>
                          <a:gd name="connsiteX10" fmla="*/ 104775 w 104775"/>
                          <a:gd name="connsiteY10" fmla="*/ 53340 h 97155"/>
                          <a:gd name="connsiteX11" fmla="*/ 100965 w 104775"/>
                          <a:gd name="connsiteY11" fmla="*/ 26670 h 97155"/>
                          <a:gd name="connsiteX12" fmla="*/ 99060 w 104775"/>
                          <a:gd name="connsiteY12" fmla="*/ 19050 h 97155"/>
                          <a:gd name="connsiteX13" fmla="*/ 95250 w 104775"/>
                          <a:gd name="connsiteY13" fmla="*/ 13335 h 97155"/>
                          <a:gd name="connsiteX14" fmla="*/ 41910 w 104775"/>
                          <a:gd name="connsiteY14" fmla="*/ 0 h 97155"/>
                          <a:gd name="connsiteX15" fmla="*/ 40005 w 104775"/>
                          <a:gd name="connsiteY15" fmla="*/ 13335 h 97155"/>
                          <a:gd name="connsiteX16" fmla="*/ 3810 w 104775"/>
                          <a:gd name="connsiteY16" fmla="*/ 20955 h 97155"/>
                          <a:gd name="connsiteX17" fmla="*/ 1905 w 104775"/>
                          <a:gd name="connsiteY17" fmla="*/ 28575 h 97155"/>
                          <a:gd name="connsiteX18" fmla="*/ 0 w 104775"/>
                          <a:gd name="connsiteY18" fmla="*/ 34290 h 97155"/>
                          <a:gd name="connsiteX19" fmla="*/ 5715 w 104775"/>
                          <a:gd name="connsiteY19" fmla="*/ 47625 h 97155"/>
                          <a:gd name="connsiteX20" fmla="*/ 5715 w 104775"/>
                          <a:gd name="connsiteY20" fmla="*/ 51435 h 97155"/>
                          <a:gd name="connsiteX21" fmla="*/ 17145 w 104775"/>
                          <a:gd name="connsiteY21" fmla="*/ 80010 h 97155"/>
                          <a:gd name="connsiteX0" fmla="*/ 19050 w 104775"/>
                          <a:gd name="connsiteY0" fmla="*/ 76298 h 97253"/>
                          <a:gd name="connsiteX1" fmla="*/ 24765 w 104775"/>
                          <a:gd name="connsiteY1" fmla="*/ 80108 h 97253"/>
                          <a:gd name="connsiteX2" fmla="*/ 28575 w 104775"/>
                          <a:gd name="connsiteY2" fmla="*/ 85823 h 97253"/>
                          <a:gd name="connsiteX3" fmla="*/ 32385 w 104775"/>
                          <a:gd name="connsiteY3" fmla="*/ 97253 h 97253"/>
                          <a:gd name="connsiteX4" fmla="*/ 81915 w 104775"/>
                          <a:gd name="connsiteY4" fmla="*/ 95348 h 97253"/>
                          <a:gd name="connsiteX5" fmla="*/ 87630 w 104775"/>
                          <a:gd name="connsiteY5" fmla="*/ 93443 h 97253"/>
                          <a:gd name="connsiteX6" fmla="*/ 89535 w 104775"/>
                          <a:gd name="connsiteY6" fmla="*/ 87728 h 97253"/>
                          <a:gd name="connsiteX7" fmla="*/ 93345 w 104775"/>
                          <a:gd name="connsiteY7" fmla="*/ 82013 h 97253"/>
                          <a:gd name="connsiteX8" fmla="*/ 95250 w 104775"/>
                          <a:gd name="connsiteY8" fmla="*/ 68678 h 97253"/>
                          <a:gd name="connsiteX9" fmla="*/ 100965 w 104775"/>
                          <a:gd name="connsiteY9" fmla="*/ 64868 h 97253"/>
                          <a:gd name="connsiteX10" fmla="*/ 104775 w 104775"/>
                          <a:gd name="connsiteY10" fmla="*/ 53438 h 97253"/>
                          <a:gd name="connsiteX11" fmla="*/ 100965 w 104775"/>
                          <a:gd name="connsiteY11" fmla="*/ 26768 h 97253"/>
                          <a:gd name="connsiteX12" fmla="*/ 99060 w 104775"/>
                          <a:gd name="connsiteY12" fmla="*/ 19148 h 97253"/>
                          <a:gd name="connsiteX13" fmla="*/ 95250 w 104775"/>
                          <a:gd name="connsiteY13" fmla="*/ 13433 h 97253"/>
                          <a:gd name="connsiteX14" fmla="*/ 41910 w 104775"/>
                          <a:gd name="connsiteY14" fmla="*/ 98 h 97253"/>
                          <a:gd name="connsiteX15" fmla="*/ 3810 w 104775"/>
                          <a:gd name="connsiteY15" fmla="*/ 21053 h 97253"/>
                          <a:gd name="connsiteX16" fmla="*/ 1905 w 104775"/>
                          <a:gd name="connsiteY16" fmla="*/ 28673 h 97253"/>
                          <a:gd name="connsiteX17" fmla="*/ 0 w 104775"/>
                          <a:gd name="connsiteY17" fmla="*/ 34388 h 97253"/>
                          <a:gd name="connsiteX18" fmla="*/ 5715 w 104775"/>
                          <a:gd name="connsiteY18" fmla="*/ 47723 h 97253"/>
                          <a:gd name="connsiteX19" fmla="*/ 5715 w 104775"/>
                          <a:gd name="connsiteY19" fmla="*/ 51533 h 97253"/>
                          <a:gd name="connsiteX20" fmla="*/ 17145 w 104775"/>
                          <a:gd name="connsiteY20" fmla="*/ 80108 h 97253"/>
                          <a:gd name="connsiteX0" fmla="*/ 19050 w 104775"/>
                          <a:gd name="connsiteY0" fmla="*/ 76205 h 97160"/>
                          <a:gd name="connsiteX1" fmla="*/ 24765 w 104775"/>
                          <a:gd name="connsiteY1" fmla="*/ 80015 h 97160"/>
                          <a:gd name="connsiteX2" fmla="*/ 28575 w 104775"/>
                          <a:gd name="connsiteY2" fmla="*/ 85730 h 97160"/>
                          <a:gd name="connsiteX3" fmla="*/ 32385 w 104775"/>
                          <a:gd name="connsiteY3" fmla="*/ 97160 h 97160"/>
                          <a:gd name="connsiteX4" fmla="*/ 81915 w 104775"/>
                          <a:gd name="connsiteY4" fmla="*/ 95255 h 97160"/>
                          <a:gd name="connsiteX5" fmla="*/ 87630 w 104775"/>
                          <a:gd name="connsiteY5" fmla="*/ 93350 h 97160"/>
                          <a:gd name="connsiteX6" fmla="*/ 89535 w 104775"/>
                          <a:gd name="connsiteY6" fmla="*/ 87635 h 97160"/>
                          <a:gd name="connsiteX7" fmla="*/ 93345 w 104775"/>
                          <a:gd name="connsiteY7" fmla="*/ 81920 h 97160"/>
                          <a:gd name="connsiteX8" fmla="*/ 95250 w 104775"/>
                          <a:gd name="connsiteY8" fmla="*/ 68585 h 97160"/>
                          <a:gd name="connsiteX9" fmla="*/ 100965 w 104775"/>
                          <a:gd name="connsiteY9" fmla="*/ 64775 h 97160"/>
                          <a:gd name="connsiteX10" fmla="*/ 104775 w 104775"/>
                          <a:gd name="connsiteY10" fmla="*/ 53345 h 97160"/>
                          <a:gd name="connsiteX11" fmla="*/ 100965 w 104775"/>
                          <a:gd name="connsiteY11" fmla="*/ 26675 h 97160"/>
                          <a:gd name="connsiteX12" fmla="*/ 99060 w 104775"/>
                          <a:gd name="connsiteY12" fmla="*/ 19055 h 97160"/>
                          <a:gd name="connsiteX13" fmla="*/ 41910 w 104775"/>
                          <a:gd name="connsiteY13" fmla="*/ 5 h 97160"/>
                          <a:gd name="connsiteX14" fmla="*/ 3810 w 104775"/>
                          <a:gd name="connsiteY14" fmla="*/ 20960 h 97160"/>
                          <a:gd name="connsiteX15" fmla="*/ 1905 w 104775"/>
                          <a:gd name="connsiteY15" fmla="*/ 28580 h 97160"/>
                          <a:gd name="connsiteX16" fmla="*/ 0 w 104775"/>
                          <a:gd name="connsiteY16" fmla="*/ 34295 h 97160"/>
                          <a:gd name="connsiteX17" fmla="*/ 5715 w 104775"/>
                          <a:gd name="connsiteY17" fmla="*/ 47630 h 97160"/>
                          <a:gd name="connsiteX18" fmla="*/ 5715 w 104775"/>
                          <a:gd name="connsiteY18" fmla="*/ 51440 h 97160"/>
                          <a:gd name="connsiteX19" fmla="*/ 17145 w 104775"/>
                          <a:gd name="connsiteY19" fmla="*/ 80015 h 97160"/>
                          <a:gd name="connsiteX0" fmla="*/ 19050 w 105971"/>
                          <a:gd name="connsiteY0" fmla="*/ 76238 h 97193"/>
                          <a:gd name="connsiteX1" fmla="*/ 24765 w 105971"/>
                          <a:gd name="connsiteY1" fmla="*/ 80048 h 97193"/>
                          <a:gd name="connsiteX2" fmla="*/ 28575 w 105971"/>
                          <a:gd name="connsiteY2" fmla="*/ 85763 h 97193"/>
                          <a:gd name="connsiteX3" fmla="*/ 32385 w 105971"/>
                          <a:gd name="connsiteY3" fmla="*/ 97193 h 97193"/>
                          <a:gd name="connsiteX4" fmla="*/ 81915 w 105971"/>
                          <a:gd name="connsiteY4" fmla="*/ 95288 h 97193"/>
                          <a:gd name="connsiteX5" fmla="*/ 87630 w 105971"/>
                          <a:gd name="connsiteY5" fmla="*/ 93383 h 97193"/>
                          <a:gd name="connsiteX6" fmla="*/ 89535 w 105971"/>
                          <a:gd name="connsiteY6" fmla="*/ 87668 h 97193"/>
                          <a:gd name="connsiteX7" fmla="*/ 93345 w 105971"/>
                          <a:gd name="connsiteY7" fmla="*/ 81953 h 97193"/>
                          <a:gd name="connsiteX8" fmla="*/ 95250 w 105971"/>
                          <a:gd name="connsiteY8" fmla="*/ 68618 h 97193"/>
                          <a:gd name="connsiteX9" fmla="*/ 100965 w 105971"/>
                          <a:gd name="connsiteY9" fmla="*/ 64808 h 97193"/>
                          <a:gd name="connsiteX10" fmla="*/ 104775 w 105971"/>
                          <a:gd name="connsiteY10" fmla="*/ 53378 h 97193"/>
                          <a:gd name="connsiteX11" fmla="*/ 100965 w 105971"/>
                          <a:gd name="connsiteY11" fmla="*/ 26708 h 97193"/>
                          <a:gd name="connsiteX12" fmla="*/ 41910 w 105971"/>
                          <a:gd name="connsiteY12" fmla="*/ 38 h 97193"/>
                          <a:gd name="connsiteX13" fmla="*/ 3810 w 105971"/>
                          <a:gd name="connsiteY13" fmla="*/ 20993 h 97193"/>
                          <a:gd name="connsiteX14" fmla="*/ 1905 w 105971"/>
                          <a:gd name="connsiteY14" fmla="*/ 28613 h 97193"/>
                          <a:gd name="connsiteX15" fmla="*/ 0 w 105971"/>
                          <a:gd name="connsiteY15" fmla="*/ 34328 h 97193"/>
                          <a:gd name="connsiteX16" fmla="*/ 5715 w 105971"/>
                          <a:gd name="connsiteY16" fmla="*/ 47663 h 97193"/>
                          <a:gd name="connsiteX17" fmla="*/ 5715 w 105971"/>
                          <a:gd name="connsiteY17" fmla="*/ 51473 h 97193"/>
                          <a:gd name="connsiteX18" fmla="*/ 17145 w 105971"/>
                          <a:gd name="connsiteY18" fmla="*/ 80048 h 97193"/>
                          <a:gd name="connsiteX0" fmla="*/ 19050 w 106250"/>
                          <a:gd name="connsiteY0" fmla="*/ 64875 h 85830"/>
                          <a:gd name="connsiteX1" fmla="*/ 24765 w 106250"/>
                          <a:gd name="connsiteY1" fmla="*/ 68685 h 85830"/>
                          <a:gd name="connsiteX2" fmla="*/ 28575 w 106250"/>
                          <a:gd name="connsiteY2" fmla="*/ 74400 h 85830"/>
                          <a:gd name="connsiteX3" fmla="*/ 32385 w 106250"/>
                          <a:gd name="connsiteY3" fmla="*/ 85830 h 85830"/>
                          <a:gd name="connsiteX4" fmla="*/ 81915 w 106250"/>
                          <a:gd name="connsiteY4" fmla="*/ 83925 h 85830"/>
                          <a:gd name="connsiteX5" fmla="*/ 87630 w 106250"/>
                          <a:gd name="connsiteY5" fmla="*/ 82020 h 85830"/>
                          <a:gd name="connsiteX6" fmla="*/ 89535 w 106250"/>
                          <a:gd name="connsiteY6" fmla="*/ 76305 h 85830"/>
                          <a:gd name="connsiteX7" fmla="*/ 93345 w 106250"/>
                          <a:gd name="connsiteY7" fmla="*/ 70590 h 85830"/>
                          <a:gd name="connsiteX8" fmla="*/ 95250 w 106250"/>
                          <a:gd name="connsiteY8" fmla="*/ 57255 h 85830"/>
                          <a:gd name="connsiteX9" fmla="*/ 100965 w 106250"/>
                          <a:gd name="connsiteY9" fmla="*/ 53445 h 85830"/>
                          <a:gd name="connsiteX10" fmla="*/ 104775 w 106250"/>
                          <a:gd name="connsiteY10" fmla="*/ 42015 h 85830"/>
                          <a:gd name="connsiteX11" fmla="*/ 100965 w 106250"/>
                          <a:gd name="connsiteY11" fmla="*/ 15345 h 85830"/>
                          <a:gd name="connsiteX12" fmla="*/ 38100 w 106250"/>
                          <a:gd name="connsiteY12" fmla="*/ 105 h 85830"/>
                          <a:gd name="connsiteX13" fmla="*/ 3810 w 106250"/>
                          <a:gd name="connsiteY13" fmla="*/ 9630 h 85830"/>
                          <a:gd name="connsiteX14" fmla="*/ 1905 w 106250"/>
                          <a:gd name="connsiteY14" fmla="*/ 17250 h 85830"/>
                          <a:gd name="connsiteX15" fmla="*/ 0 w 106250"/>
                          <a:gd name="connsiteY15" fmla="*/ 22965 h 85830"/>
                          <a:gd name="connsiteX16" fmla="*/ 5715 w 106250"/>
                          <a:gd name="connsiteY16" fmla="*/ 36300 h 85830"/>
                          <a:gd name="connsiteX17" fmla="*/ 5715 w 106250"/>
                          <a:gd name="connsiteY17" fmla="*/ 40110 h 85830"/>
                          <a:gd name="connsiteX18" fmla="*/ 17145 w 106250"/>
                          <a:gd name="connsiteY18" fmla="*/ 68685 h 8583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</a:cxnLst>
                        <a:rect l="l" t="t" r="r" b="b"/>
                        <a:pathLst>
                          <a:path w="106250" h="85830">
                            <a:moveTo>
                              <a:pt x="19050" y="64875"/>
                            </a:moveTo>
                            <a:cubicBezTo>
                              <a:pt x="19050" y="69955"/>
                              <a:pt x="22860" y="67415"/>
                              <a:pt x="24765" y="68685"/>
                            </a:cubicBezTo>
                            <a:cubicBezTo>
                              <a:pt x="26035" y="70590"/>
                              <a:pt x="27645" y="72308"/>
                              <a:pt x="28575" y="74400"/>
                            </a:cubicBezTo>
                            <a:cubicBezTo>
                              <a:pt x="30206" y="78070"/>
                              <a:pt x="32385" y="85830"/>
                              <a:pt x="32385" y="85830"/>
                            </a:cubicBezTo>
                            <a:cubicBezTo>
                              <a:pt x="48895" y="85195"/>
                              <a:pt x="65432" y="85062"/>
                              <a:pt x="81915" y="83925"/>
                            </a:cubicBezTo>
                            <a:cubicBezTo>
                              <a:pt x="83918" y="83787"/>
                              <a:pt x="86210" y="83440"/>
                              <a:pt x="87630" y="82020"/>
                            </a:cubicBezTo>
                            <a:cubicBezTo>
                              <a:pt x="89050" y="80600"/>
                              <a:pt x="88637" y="78101"/>
                              <a:pt x="89535" y="76305"/>
                            </a:cubicBezTo>
                            <a:cubicBezTo>
                              <a:pt x="90559" y="74257"/>
                              <a:pt x="92075" y="72495"/>
                              <a:pt x="93345" y="70590"/>
                            </a:cubicBezTo>
                            <a:cubicBezTo>
                              <a:pt x="93980" y="66145"/>
                              <a:pt x="93426" y="61358"/>
                              <a:pt x="95250" y="57255"/>
                            </a:cubicBezTo>
                            <a:cubicBezTo>
                              <a:pt x="96180" y="55163"/>
                              <a:pt x="99752" y="55387"/>
                              <a:pt x="100965" y="53445"/>
                            </a:cubicBezTo>
                            <a:cubicBezTo>
                              <a:pt x="103094" y="50039"/>
                              <a:pt x="104775" y="42015"/>
                              <a:pt x="104775" y="42015"/>
                            </a:cubicBezTo>
                            <a:cubicBezTo>
                              <a:pt x="101728" y="8500"/>
                              <a:pt x="112077" y="22330"/>
                              <a:pt x="100965" y="15345"/>
                            </a:cubicBezTo>
                            <a:cubicBezTo>
                              <a:pt x="89853" y="8360"/>
                              <a:pt x="54292" y="1057"/>
                              <a:pt x="38100" y="105"/>
                            </a:cubicBezTo>
                            <a:cubicBezTo>
                              <a:pt x="21908" y="-847"/>
                              <a:pt x="10477" y="4868"/>
                              <a:pt x="3810" y="9630"/>
                            </a:cubicBezTo>
                            <a:cubicBezTo>
                              <a:pt x="3175" y="12170"/>
                              <a:pt x="2624" y="14733"/>
                              <a:pt x="1905" y="17250"/>
                            </a:cubicBezTo>
                            <a:cubicBezTo>
                              <a:pt x="1353" y="19181"/>
                              <a:pt x="0" y="20957"/>
                              <a:pt x="0" y="22965"/>
                            </a:cubicBezTo>
                            <a:cubicBezTo>
                              <a:pt x="0" y="32673"/>
                              <a:pt x="2604" y="28523"/>
                              <a:pt x="5715" y="36300"/>
                            </a:cubicBezTo>
                            <a:cubicBezTo>
                              <a:pt x="6187" y="37479"/>
                              <a:pt x="3810" y="34713"/>
                              <a:pt x="5715" y="40110"/>
                            </a:cubicBezTo>
                            <a:cubicBezTo>
                              <a:pt x="7620" y="45507"/>
                              <a:pt x="13335" y="59160"/>
                              <a:pt x="17145" y="68685"/>
                            </a:cubicBezTo>
                          </a:path>
                        </a:pathLst>
                      </a:custGeom>
                      <a:solidFill>
                        <a:srgbClr val="0D3759"/>
                      </a:solidFill>
                      <a:ln w="3175" cap="flat" cmpd="sng" algn="ctr">
                        <a:solidFill>
                          <a:srgbClr val="F2E8F8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70" name="Freeform: Shape 55">
                        <a:extLst>
                          <a:ext uri="{FF2B5EF4-FFF2-40B4-BE49-F238E27FC236}">
                            <a16:creationId xmlns:a16="http://schemas.microsoft.com/office/drawing/2014/main" id="{8D8423DE-B0AF-8CFF-2BBE-CFF724DFF4F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018409" y="4329533"/>
                        <a:ext cx="27432" cy="36576"/>
                      </a:xfrm>
                      <a:custGeom>
                        <a:avLst/>
                        <a:gdLst>
                          <a:gd name="connsiteX0" fmla="*/ 57150 w 104775"/>
                          <a:gd name="connsiteY0" fmla="*/ 76200 h 127635"/>
                          <a:gd name="connsiteX1" fmla="*/ 57150 w 104775"/>
                          <a:gd name="connsiteY1" fmla="*/ 76200 h 127635"/>
                          <a:gd name="connsiteX2" fmla="*/ 24765 w 104775"/>
                          <a:gd name="connsiteY2" fmla="*/ 80010 h 127635"/>
                          <a:gd name="connsiteX3" fmla="*/ 19050 w 104775"/>
                          <a:gd name="connsiteY3" fmla="*/ 83820 h 127635"/>
                          <a:gd name="connsiteX4" fmla="*/ 19050 w 104775"/>
                          <a:gd name="connsiteY4" fmla="*/ 106680 h 127635"/>
                          <a:gd name="connsiteX5" fmla="*/ 24765 w 104775"/>
                          <a:gd name="connsiteY5" fmla="*/ 110490 h 127635"/>
                          <a:gd name="connsiteX6" fmla="*/ 28575 w 104775"/>
                          <a:gd name="connsiteY6" fmla="*/ 116205 h 127635"/>
                          <a:gd name="connsiteX7" fmla="*/ 32385 w 104775"/>
                          <a:gd name="connsiteY7" fmla="*/ 127635 h 127635"/>
                          <a:gd name="connsiteX8" fmla="*/ 81915 w 104775"/>
                          <a:gd name="connsiteY8" fmla="*/ 125730 h 127635"/>
                          <a:gd name="connsiteX9" fmla="*/ 87630 w 104775"/>
                          <a:gd name="connsiteY9" fmla="*/ 123825 h 127635"/>
                          <a:gd name="connsiteX10" fmla="*/ 89535 w 104775"/>
                          <a:gd name="connsiteY10" fmla="*/ 118110 h 127635"/>
                          <a:gd name="connsiteX11" fmla="*/ 93345 w 104775"/>
                          <a:gd name="connsiteY11" fmla="*/ 112395 h 127635"/>
                          <a:gd name="connsiteX12" fmla="*/ 95250 w 104775"/>
                          <a:gd name="connsiteY12" fmla="*/ 99060 h 127635"/>
                          <a:gd name="connsiteX13" fmla="*/ 100965 w 104775"/>
                          <a:gd name="connsiteY13" fmla="*/ 95250 h 127635"/>
                          <a:gd name="connsiteX14" fmla="*/ 104775 w 104775"/>
                          <a:gd name="connsiteY14" fmla="*/ 83820 h 127635"/>
                          <a:gd name="connsiteX15" fmla="*/ 100965 w 104775"/>
                          <a:gd name="connsiteY15" fmla="*/ 57150 h 127635"/>
                          <a:gd name="connsiteX16" fmla="*/ 99060 w 104775"/>
                          <a:gd name="connsiteY16" fmla="*/ 49530 h 127635"/>
                          <a:gd name="connsiteX17" fmla="*/ 95250 w 104775"/>
                          <a:gd name="connsiteY17" fmla="*/ 43815 h 127635"/>
                          <a:gd name="connsiteX18" fmla="*/ 91440 w 104775"/>
                          <a:gd name="connsiteY18" fmla="*/ 32385 h 127635"/>
                          <a:gd name="connsiteX19" fmla="*/ 81915 w 104775"/>
                          <a:gd name="connsiteY19" fmla="*/ 15240 h 127635"/>
                          <a:gd name="connsiteX20" fmla="*/ 70485 w 104775"/>
                          <a:gd name="connsiteY20" fmla="*/ 3810 h 127635"/>
                          <a:gd name="connsiteX21" fmla="*/ 59055 w 104775"/>
                          <a:gd name="connsiteY21" fmla="*/ 0 h 127635"/>
                          <a:gd name="connsiteX22" fmla="*/ 45720 w 104775"/>
                          <a:gd name="connsiteY22" fmla="*/ 1905 h 127635"/>
                          <a:gd name="connsiteX23" fmla="*/ 43815 w 104775"/>
                          <a:gd name="connsiteY23" fmla="*/ 19050 h 127635"/>
                          <a:gd name="connsiteX24" fmla="*/ 41910 w 104775"/>
                          <a:gd name="connsiteY24" fmla="*/ 30480 h 127635"/>
                          <a:gd name="connsiteX25" fmla="*/ 40005 w 104775"/>
                          <a:gd name="connsiteY25" fmla="*/ 43815 h 127635"/>
                          <a:gd name="connsiteX26" fmla="*/ 28575 w 104775"/>
                          <a:gd name="connsiteY26" fmla="*/ 49530 h 127635"/>
                          <a:gd name="connsiteX27" fmla="*/ 3810 w 104775"/>
                          <a:gd name="connsiteY27" fmla="*/ 51435 h 127635"/>
                          <a:gd name="connsiteX28" fmla="*/ 1905 w 104775"/>
                          <a:gd name="connsiteY28" fmla="*/ 59055 h 127635"/>
                          <a:gd name="connsiteX29" fmla="*/ 0 w 104775"/>
                          <a:gd name="connsiteY29" fmla="*/ 64770 h 127635"/>
                          <a:gd name="connsiteX30" fmla="*/ 5715 w 104775"/>
                          <a:gd name="connsiteY30" fmla="*/ 78105 h 127635"/>
                          <a:gd name="connsiteX31" fmla="*/ 5715 w 104775"/>
                          <a:gd name="connsiteY31" fmla="*/ 81915 h 127635"/>
                          <a:gd name="connsiteX32" fmla="*/ 5715 w 104775"/>
                          <a:gd name="connsiteY32" fmla="*/ 87630 h 127635"/>
                          <a:gd name="connsiteX0" fmla="*/ 57150 w 104775"/>
                          <a:gd name="connsiteY0" fmla="*/ 76200 h 127635"/>
                          <a:gd name="connsiteX1" fmla="*/ 24765 w 104775"/>
                          <a:gd name="connsiteY1" fmla="*/ 80010 h 127635"/>
                          <a:gd name="connsiteX2" fmla="*/ 19050 w 104775"/>
                          <a:gd name="connsiteY2" fmla="*/ 83820 h 127635"/>
                          <a:gd name="connsiteX3" fmla="*/ 19050 w 104775"/>
                          <a:gd name="connsiteY3" fmla="*/ 106680 h 127635"/>
                          <a:gd name="connsiteX4" fmla="*/ 24765 w 104775"/>
                          <a:gd name="connsiteY4" fmla="*/ 110490 h 127635"/>
                          <a:gd name="connsiteX5" fmla="*/ 28575 w 104775"/>
                          <a:gd name="connsiteY5" fmla="*/ 116205 h 127635"/>
                          <a:gd name="connsiteX6" fmla="*/ 32385 w 104775"/>
                          <a:gd name="connsiteY6" fmla="*/ 127635 h 127635"/>
                          <a:gd name="connsiteX7" fmla="*/ 81915 w 104775"/>
                          <a:gd name="connsiteY7" fmla="*/ 125730 h 127635"/>
                          <a:gd name="connsiteX8" fmla="*/ 87630 w 104775"/>
                          <a:gd name="connsiteY8" fmla="*/ 123825 h 127635"/>
                          <a:gd name="connsiteX9" fmla="*/ 89535 w 104775"/>
                          <a:gd name="connsiteY9" fmla="*/ 118110 h 127635"/>
                          <a:gd name="connsiteX10" fmla="*/ 93345 w 104775"/>
                          <a:gd name="connsiteY10" fmla="*/ 112395 h 127635"/>
                          <a:gd name="connsiteX11" fmla="*/ 95250 w 104775"/>
                          <a:gd name="connsiteY11" fmla="*/ 99060 h 127635"/>
                          <a:gd name="connsiteX12" fmla="*/ 100965 w 104775"/>
                          <a:gd name="connsiteY12" fmla="*/ 95250 h 127635"/>
                          <a:gd name="connsiteX13" fmla="*/ 104775 w 104775"/>
                          <a:gd name="connsiteY13" fmla="*/ 83820 h 127635"/>
                          <a:gd name="connsiteX14" fmla="*/ 100965 w 104775"/>
                          <a:gd name="connsiteY14" fmla="*/ 57150 h 127635"/>
                          <a:gd name="connsiteX15" fmla="*/ 99060 w 104775"/>
                          <a:gd name="connsiteY15" fmla="*/ 49530 h 127635"/>
                          <a:gd name="connsiteX16" fmla="*/ 95250 w 104775"/>
                          <a:gd name="connsiteY16" fmla="*/ 43815 h 127635"/>
                          <a:gd name="connsiteX17" fmla="*/ 91440 w 104775"/>
                          <a:gd name="connsiteY17" fmla="*/ 32385 h 127635"/>
                          <a:gd name="connsiteX18" fmla="*/ 81915 w 104775"/>
                          <a:gd name="connsiteY18" fmla="*/ 15240 h 127635"/>
                          <a:gd name="connsiteX19" fmla="*/ 70485 w 104775"/>
                          <a:gd name="connsiteY19" fmla="*/ 3810 h 127635"/>
                          <a:gd name="connsiteX20" fmla="*/ 59055 w 104775"/>
                          <a:gd name="connsiteY20" fmla="*/ 0 h 127635"/>
                          <a:gd name="connsiteX21" fmla="*/ 45720 w 104775"/>
                          <a:gd name="connsiteY21" fmla="*/ 1905 h 127635"/>
                          <a:gd name="connsiteX22" fmla="*/ 43815 w 104775"/>
                          <a:gd name="connsiteY22" fmla="*/ 19050 h 127635"/>
                          <a:gd name="connsiteX23" fmla="*/ 41910 w 104775"/>
                          <a:gd name="connsiteY23" fmla="*/ 30480 h 127635"/>
                          <a:gd name="connsiteX24" fmla="*/ 40005 w 104775"/>
                          <a:gd name="connsiteY24" fmla="*/ 43815 h 127635"/>
                          <a:gd name="connsiteX25" fmla="*/ 28575 w 104775"/>
                          <a:gd name="connsiteY25" fmla="*/ 49530 h 127635"/>
                          <a:gd name="connsiteX26" fmla="*/ 3810 w 104775"/>
                          <a:gd name="connsiteY26" fmla="*/ 51435 h 127635"/>
                          <a:gd name="connsiteX27" fmla="*/ 1905 w 104775"/>
                          <a:gd name="connsiteY27" fmla="*/ 59055 h 127635"/>
                          <a:gd name="connsiteX28" fmla="*/ 0 w 104775"/>
                          <a:gd name="connsiteY28" fmla="*/ 64770 h 127635"/>
                          <a:gd name="connsiteX29" fmla="*/ 5715 w 104775"/>
                          <a:gd name="connsiteY29" fmla="*/ 78105 h 127635"/>
                          <a:gd name="connsiteX30" fmla="*/ 5715 w 104775"/>
                          <a:gd name="connsiteY30" fmla="*/ 81915 h 127635"/>
                          <a:gd name="connsiteX31" fmla="*/ 5715 w 104775"/>
                          <a:gd name="connsiteY31" fmla="*/ 87630 h 127635"/>
                          <a:gd name="connsiteX0" fmla="*/ 24765 w 104775"/>
                          <a:gd name="connsiteY0" fmla="*/ 80010 h 127635"/>
                          <a:gd name="connsiteX1" fmla="*/ 19050 w 104775"/>
                          <a:gd name="connsiteY1" fmla="*/ 83820 h 127635"/>
                          <a:gd name="connsiteX2" fmla="*/ 19050 w 104775"/>
                          <a:gd name="connsiteY2" fmla="*/ 106680 h 127635"/>
                          <a:gd name="connsiteX3" fmla="*/ 24765 w 104775"/>
                          <a:gd name="connsiteY3" fmla="*/ 110490 h 127635"/>
                          <a:gd name="connsiteX4" fmla="*/ 28575 w 104775"/>
                          <a:gd name="connsiteY4" fmla="*/ 116205 h 127635"/>
                          <a:gd name="connsiteX5" fmla="*/ 32385 w 104775"/>
                          <a:gd name="connsiteY5" fmla="*/ 127635 h 127635"/>
                          <a:gd name="connsiteX6" fmla="*/ 81915 w 104775"/>
                          <a:gd name="connsiteY6" fmla="*/ 125730 h 127635"/>
                          <a:gd name="connsiteX7" fmla="*/ 87630 w 104775"/>
                          <a:gd name="connsiteY7" fmla="*/ 123825 h 127635"/>
                          <a:gd name="connsiteX8" fmla="*/ 89535 w 104775"/>
                          <a:gd name="connsiteY8" fmla="*/ 118110 h 127635"/>
                          <a:gd name="connsiteX9" fmla="*/ 93345 w 104775"/>
                          <a:gd name="connsiteY9" fmla="*/ 112395 h 127635"/>
                          <a:gd name="connsiteX10" fmla="*/ 95250 w 104775"/>
                          <a:gd name="connsiteY10" fmla="*/ 99060 h 127635"/>
                          <a:gd name="connsiteX11" fmla="*/ 100965 w 104775"/>
                          <a:gd name="connsiteY11" fmla="*/ 95250 h 127635"/>
                          <a:gd name="connsiteX12" fmla="*/ 104775 w 104775"/>
                          <a:gd name="connsiteY12" fmla="*/ 83820 h 127635"/>
                          <a:gd name="connsiteX13" fmla="*/ 100965 w 104775"/>
                          <a:gd name="connsiteY13" fmla="*/ 57150 h 127635"/>
                          <a:gd name="connsiteX14" fmla="*/ 99060 w 104775"/>
                          <a:gd name="connsiteY14" fmla="*/ 49530 h 127635"/>
                          <a:gd name="connsiteX15" fmla="*/ 95250 w 104775"/>
                          <a:gd name="connsiteY15" fmla="*/ 43815 h 127635"/>
                          <a:gd name="connsiteX16" fmla="*/ 91440 w 104775"/>
                          <a:gd name="connsiteY16" fmla="*/ 32385 h 127635"/>
                          <a:gd name="connsiteX17" fmla="*/ 81915 w 104775"/>
                          <a:gd name="connsiteY17" fmla="*/ 15240 h 127635"/>
                          <a:gd name="connsiteX18" fmla="*/ 70485 w 104775"/>
                          <a:gd name="connsiteY18" fmla="*/ 3810 h 127635"/>
                          <a:gd name="connsiteX19" fmla="*/ 59055 w 104775"/>
                          <a:gd name="connsiteY19" fmla="*/ 0 h 127635"/>
                          <a:gd name="connsiteX20" fmla="*/ 45720 w 104775"/>
                          <a:gd name="connsiteY20" fmla="*/ 1905 h 127635"/>
                          <a:gd name="connsiteX21" fmla="*/ 43815 w 104775"/>
                          <a:gd name="connsiteY21" fmla="*/ 19050 h 127635"/>
                          <a:gd name="connsiteX22" fmla="*/ 41910 w 104775"/>
                          <a:gd name="connsiteY22" fmla="*/ 30480 h 127635"/>
                          <a:gd name="connsiteX23" fmla="*/ 40005 w 104775"/>
                          <a:gd name="connsiteY23" fmla="*/ 43815 h 127635"/>
                          <a:gd name="connsiteX24" fmla="*/ 28575 w 104775"/>
                          <a:gd name="connsiteY24" fmla="*/ 49530 h 127635"/>
                          <a:gd name="connsiteX25" fmla="*/ 3810 w 104775"/>
                          <a:gd name="connsiteY25" fmla="*/ 51435 h 127635"/>
                          <a:gd name="connsiteX26" fmla="*/ 1905 w 104775"/>
                          <a:gd name="connsiteY26" fmla="*/ 59055 h 127635"/>
                          <a:gd name="connsiteX27" fmla="*/ 0 w 104775"/>
                          <a:gd name="connsiteY27" fmla="*/ 64770 h 127635"/>
                          <a:gd name="connsiteX28" fmla="*/ 5715 w 104775"/>
                          <a:gd name="connsiteY28" fmla="*/ 78105 h 127635"/>
                          <a:gd name="connsiteX29" fmla="*/ 5715 w 104775"/>
                          <a:gd name="connsiteY29" fmla="*/ 81915 h 127635"/>
                          <a:gd name="connsiteX30" fmla="*/ 5715 w 104775"/>
                          <a:gd name="connsiteY30" fmla="*/ 87630 h 127635"/>
                          <a:gd name="connsiteX0" fmla="*/ 24765 w 104775"/>
                          <a:gd name="connsiteY0" fmla="*/ 80010 h 127635"/>
                          <a:gd name="connsiteX1" fmla="*/ 19050 w 104775"/>
                          <a:gd name="connsiteY1" fmla="*/ 106680 h 127635"/>
                          <a:gd name="connsiteX2" fmla="*/ 24765 w 104775"/>
                          <a:gd name="connsiteY2" fmla="*/ 110490 h 127635"/>
                          <a:gd name="connsiteX3" fmla="*/ 28575 w 104775"/>
                          <a:gd name="connsiteY3" fmla="*/ 116205 h 127635"/>
                          <a:gd name="connsiteX4" fmla="*/ 32385 w 104775"/>
                          <a:gd name="connsiteY4" fmla="*/ 127635 h 127635"/>
                          <a:gd name="connsiteX5" fmla="*/ 81915 w 104775"/>
                          <a:gd name="connsiteY5" fmla="*/ 125730 h 127635"/>
                          <a:gd name="connsiteX6" fmla="*/ 87630 w 104775"/>
                          <a:gd name="connsiteY6" fmla="*/ 123825 h 127635"/>
                          <a:gd name="connsiteX7" fmla="*/ 89535 w 104775"/>
                          <a:gd name="connsiteY7" fmla="*/ 118110 h 127635"/>
                          <a:gd name="connsiteX8" fmla="*/ 93345 w 104775"/>
                          <a:gd name="connsiteY8" fmla="*/ 112395 h 127635"/>
                          <a:gd name="connsiteX9" fmla="*/ 95250 w 104775"/>
                          <a:gd name="connsiteY9" fmla="*/ 99060 h 127635"/>
                          <a:gd name="connsiteX10" fmla="*/ 100965 w 104775"/>
                          <a:gd name="connsiteY10" fmla="*/ 95250 h 127635"/>
                          <a:gd name="connsiteX11" fmla="*/ 104775 w 104775"/>
                          <a:gd name="connsiteY11" fmla="*/ 83820 h 127635"/>
                          <a:gd name="connsiteX12" fmla="*/ 100965 w 104775"/>
                          <a:gd name="connsiteY12" fmla="*/ 57150 h 127635"/>
                          <a:gd name="connsiteX13" fmla="*/ 99060 w 104775"/>
                          <a:gd name="connsiteY13" fmla="*/ 49530 h 127635"/>
                          <a:gd name="connsiteX14" fmla="*/ 95250 w 104775"/>
                          <a:gd name="connsiteY14" fmla="*/ 43815 h 127635"/>
                          <a:gd name="connsiteX15" fmla="*/ 91440 w 104775"/>
                          <a:gd name="connsiteY15" fmla="*/ 32385 h 127635"/>
                          <a:gd name="connsiteX16" fmla="*/ 81915 w 104775"/>
                          <a:gd name="connsiteY16" fmla="*/ 15240 h 127635"/>
                          <a:gd name="connsiteX17" fmla="*/ 70485 w 104775"/>
                          <a:gd name="connsiteY17" fmla="*/ 3810 h 127635"/>
                          <a:gd name="connsiteX18" fmla="*/ 59055 w 104775"/>
                          <a:gd name="connsiteY18" fmla="*/ 0 h 127635"/>
                          <a:gd name="connsiteX19" fmla="*/ 45720 w 104775"/>
                          <a:gd name="connsiteY19" fmla="*/ 1905 h 127635"/>
                          <a:gd name="connsiteX20" fmla="*/ 43815 w 104775"/>
                          <a:gd name="connsiteY20" fmla="*/ 19050 h 127635"/>
                          <a:gd name="connsiteX21" fmla="*/ 41910 w 104775"/>
                          <a:gd name="connsiteY21" fmla="*/ 30480 h 127635"/>
                          <a:gd name="connsiteX22" fmla="*/ 40005 w 104775"/>
                          <a:gd name="connsiteY22" fmla="*/ 43815 h 127635"/>
                          <a:gd name="connsiteX23" fmla="*/ 28575 w 104775"/>
                          <a:gd name="connsiteY23" fmla="*/ 49530 h 127635"/>
                          <a:gd name="connsiteX24" fmla="*/ 3810 w 104775"/>
                          <a:gd name="connsiteY24" fmla="*/ 51435 h 127635"/>
                          <a:gd name="connsiteX25" fmla="*/ 1905 w 104775"/>
                          <a:gd name="connsiteY25" fmla="*/ 59055 h 127635"/>
                          <a:gd name="connsiteX26" fmla="*/ 0 w 104775"/>
                          <a:gd name="connsiteY26" fmla="*/ 64770 h 127635"/>
                          <a:gd name="connsiteX27" fmla="*/ 5715 w 104775"/>
                          <a:gd name="connsiteY27" fmla="*/ 78105 h 127635"/>
                          <a:gd name="connsiteX28" fmla="*/ 5715 w 104775"/>
                          <a:gd name="connsiteY28" fmla="*/ 81915 h 127635"/>
                          <a:gd name="connsiteX29" fmla="*/ 5715 w 104775"/>
                          <a:gd name="connsiteY29" fmla="*/ 8763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5715 w 104775"/>
                          <a:gd name="connsiteY28" fmla="*/ 8763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17145 w 104775"/>
                          <a:gd name="connsiteY28" fmla="*/ 11049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17145 w 104775"/>
                          <a:gd name="connsiteY28" fmla="*/ 110490 h 127635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81915 w 104775"/>
                          <a:gd name="connsiteY15" fmla="*/ 16019 h 128414"/>
                          <a:gd name="connsiteX16" fmla="*/ 70485 w 104775"/>
                          <a:gd name="connsiteY16" fmla="*/ 4589 h 128414"/>
                          <a:gd name="connsiteX17" fmla="*/ 59055 w 104775"/>
                          <a:gd name="connsiteY17" fmla="*/ 779 h 128414"/>
                          <a:gd name="connsiteX18" fmla="*/ 45720 w 104775"/>
                          <a:gd name="connsiteY18" fmla="*/ 2684 h 128414"/>
                          <a:gd name="connsiteX19" fmla="*/ 41910 w 104775"/>
                          <a:gd name="connsiteY19" fmla="*/ 31259 h 128414"/>
                          <a:gd name="connsiteX20" fmla="*/ 40005 w 104775"/>
                          <a:gd name="connsiteY20" fmla="*/ 44594 h 128414"/>
                          <a:gd name="connsiteX21" fmla="*/ 28575 w 104775"/>
                          <a:gd name="connsiteY21" fmla="*/ 50309 h 128414"/>
                          <a:gd name="connsiteX22" fmla="*/ 3810 w 104775"/>
                          <a:gd name="connsiteY22" fmla="*/ 52214 h 128414"/>
                          <a:gd name="connsiteX23" fmla="*/ 1905 w 104775"/>
                          <a:gd name="connsiteY23" fmla="*/ 59834 h 128414"/>
                          <a:gd name="connsiteX24" fmla="*/ 0 w 104775"/>
                          <a:gd name="connsiteY24" fmla="*/ 65549 h 128414"/>
                          <a:gd name="connsiteX25" fmla="*/ 5715 w 104775"/>
                          <a:gd name="connsiteY25" fmla="*/ 78884 h 128414"/>
                          <a:gd name="connsiteX26" fmla="*/ 5715 w 104775"/>
                          <a:gd name="connsiteY26" fmla="*/ 82694 h 128414"/>
                          <a:gd name="connsiteX27" fmla="*/ 17145 w 104775"/>
                          <a:gd name="connsiteY27" fmla="*/ 111269 h 128414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70485 w 104775"/>
                          <a:gd name="connsiteY15" fmla="*/ 4589 h 128414"/>
                          <a:gd name="connsiteX16" fmla="*/ 59055 w 104775"/>
                          <a:gd name="connsiteY16" fmla="*/ 779 h 128414"/>
                          <a:gd name="connsiteX17" fmla="*/ 45720 w 104775"/>
                          <a:gd name="connsiteY17" fmla="*/ 2684 h 128414"/>
                          <a:gd name="connsiteX18" fmla="*/ 41910 w 104775"/>
                          <a:gd name="connsiteY18" fmla="*/ 31259 h 128414"/>
                          <a:gd name="connsiteX19" fmla="*/ 40005 w 104775"/>
                          <a:gd name="connsiteY19" fmla="*/ 44594 h 128414"/>
                          <a:gd name="connsiteX20" fmla="*/ 28575 w 104775"/>
                          <a:gd name="connsiteY20" fmla="*/ 50309 h 128414"/>
                          <a:gd name="connsiteX21" fmla="*/ 3810 w 104775"/>
                          <a:gd name="connsiteY21" fmla="*/ 52214 h 128414"/>
                          <a:gd name="connsiteX22" fmla="*/ 1905 w 104775"/>
                          <a:gd name="connsiteY22" fmla="*/ 59834 h 128414"/>
                          <a:gd name="connsiteX23" fmla="*/ 0 w 104775"/>
                          <a:gd name="connsiteY23" fmla="*/ 65549 h 128414"/>
                          <a:gd name="connsiteX24" fmla="*/ 5715 w 104775"/>
                          <a:gd name="connsiteY24" fmla="*/ 78884 h 128414"/>
                          <a:gd name="connsiteX25" fmla="*/ 5715 w 104775"/>
                          <a:gd name="connsiteY25" fmla="*/ 82694 h 128414"/>
                          <a:gd name="connsiteX26" fmla="*/ 17145 w 104775"/>
                          <a:gd name="connsiteY26" fmla="*/ 111269 h 128414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70485 w 104775"/>
                          <a:gd name="connsiteY15" fmla="*/ 4589 h 128414"/>
                          <a:gd name="connsiteX16" fmla="*/ 59055 w 104775"/>
                          <a:gd name="connsiteY16" fmla="*/ 779 h 128414"/>
                          <a:gd name="connsiteX17" fmla="*/ 45720 w 104775"/>
                          <a:gd name="connsiteY17" fmla="*/ 2684 h 128414"/>
                          <a:gd name="connsiteX18" fmla="*/ 41910 w 104775"/>
                          <a:gd name="connsiteY18" fmla="*/ 31259 h 128414"/>
                          <a:gd name="connsiteX19" fmla="*/ 40005 w 104775"/>
                          <a:gd name="connsiteY19" fmla="*/ 44594 h 128414"/>
                          <a:gd name="connsiteX20" fmla="*/ 3810 w 104775"/>
                          <a:gd name="connsiteY20" fmla="*/ 52214 h 128414"/>
                          <a:gd name="connsiteX21" fmla="*/ 1905 w 104775"/>
                          <a:gd name="connsiteY21" fmla="*/ 59834 h 128414"/>
                          <a:gd name="connsiteX22" fmla="*/ 0 w 104775"/>
                          <a:gd name="connsiteY22" fmla="*/ 65549 h 128414"/>
                          <a:gd name="connsiteX23" fmla="*/ 5715 w 104775"/>
                          <a:gd name="connsiteY23" fmla="*/ 78884 h 128414"/>
                          <a:gd name="connsiteX24" fmla="*/ 5715 w 104775"/>
                          <a:gd name="connsiteY24" fmla="*/ 82694 h 128414"/>
                          <a:gd name="connsiteX25" fmla="*/ 17145 w 104775"/>
                          <a:gd name="connsiteY25" fmla="*/ 111269 h 128414"/>
                          <a:gd name="connsiteX0" fmla="*/ 19050 w 104775"/>
                          <a:gd name="connsiteY0" fmla="*/ 107492 h 128447"/>
                          <a:gd name="connsiteX1" fmla="*/ 24765 w 104775"/>
                          <a:gd name="connsiteY1" fmla="*/ 111302 h 128447"/>
                          <a:gd name="connsiteX2" fmla="*/ 28575 w 104775"/>
                          <a:gd name="connsiteY2" fmla="*/ 117017 h 128447"/>
                          <a:gd name="connsiteX3" fmla="*/ 32385 w 104775"/>
                          <a:gd name="connsiteY3" fmla="*/ 128447 h 128447"/>
                          <a:gd name="connsiteX4" fmla="*/ 81915 w 104775"/>
                          <a:gd name="connsiteY4" fmla="*/ 126542 h 128447"/>
                          <a:gd name="connsiteX5" fmla="*/ 87630 w 104775"/>
                          <a:gd name="connsiteY5" fmla="*/ 124637 h 128447"/>
                          <a:gd name="connsiteX6" fmla="*/ 89535 w 104775"/>
                          <a:gd name="connsiteY6" fmla="*/ 118922 h 128447"/>
                          <a:gd name="connsiteX7" fmla="*/ 93345 w 104775"/>
                          <a:gd name="connsiteY7" fmla="*/ 113207 h 128447"/>
                          <a:gd name="connsiteX8" fmla="*/ 95250 w 104775"/>
                          <a:gd name="connsiteY8" fmla="*/ 99872 h 128447"/>
                          <a:gd name="connsiteX9" fmla="*/ 100965 w 104775"/>
                          <a:gd name="connsiteY9" fmla="*/ 96062 h 128447"/>
                          <a:gd name="connsiteX10" fmla="*/ 104775 w 104775"/>
                          <a:gd name="connsiteY10" fmla="*/ 84632 h 128447"/>
                          <a:gd name="connsiteX11" fmla="*/ 100965 w 104775"/>
                          <a:gd name="connsiteY11" fmla="*/ 57962 h 128447"/>
                          <a:gd name="connsiteX12" fmla="*/ 99060 w 104775"/>
                          <a:gd name="connsiteY12" fmla="*/ 50342 h 128447"/>
                          <a:gd name="connsiteX13" fmla="*/ 95250 w 104775"/>
                          <a:gd name="connsiteY13" fmla="*/ 44627 h 128447"/>
                          <a:gd name="connsiteX14" fmla="*/ 91440 w 104775"/>
                          <a:gd name="connsiteY14" fmla="*/ 33197 h 128447"/>
                          <a:gd name="connsiteX15" fmla="*/ 70485 w 104775"/>
                          <a:gd name="connsiteY15" fmla="*/ 4622 h 128447"/>
                          <a:gd name="connsiteX16" fmla="*/ 45720 w 104775"/>
                          <a:gd name="connsiteY16" fmla="*/ 2717 h 128447"/>
                          <a:gd name="connsiteX17" fmla="*/ 41910 w 104775"/>
                          <a:gd name="connsiteY17" fmla="*/ 31292 h 128447"/>
                          <a:gd name="connsiteX18" fmla="*/ 40005 w 104775"/>
                          <a:gd name="connsiteY18" fmla="*/ 44627 h 128447"/>
                          <a:gd name="connsiteX19" fmla="*/ 3810 w 104775"/>
                          <a:gd name="connsiteY19" fmla="*/ 52247 h 128447"/>
                          <a:gd name="connsiteX20" fmla="*/ 1905 w 104775"/>
                          <a:gd name="connsiteY20" fmla="*/ 59867 h 128447"/>
                          <a:gd name="connsiteX21" fmla="*/ 0 w 104775"/>
                          <a:gd name="connsiteY21" fmla="*/ 65582 h 128447"/>
                          <a:gd name="connsiteX22" fmla="*/ 5715 w 104775"/>
                          <a:gd name="connsiteY22" fmla="*/ 78917 h 128447"/>
                          <a:gd name="connsiteX23" fmla="*/ 5715 w 104775"/>
                          <a:gd name="connsiteY23" fmla="*/ 82727 h 128447"/>
                          <a:gd name="connsiteX24" fmla="*/ 17145 w 104775"/>
                          <a:gd name="connsiteY24" fmla="*/ 111302 h 128447"/>
                          <a:gd name="connsiteX0" fmla="*/ 19050 w 104775"/>
                          <a:gd name="connsiteY0" fmla="*/ 102874 h 123829"/>
                          <a:gd name="connsiteX1" fmla="*/ 24765 w 104775"/>
                          <a:gd name="connsiteY1" fmla="*/ 106684 h 123829"/>
                          <a:gd name="connsiteX2" fmla="*/ 28575 w 104775"/>
                          <a:gd name="connsiteY2" fmla="*/ 112399 h 123829"/>
                          <a:gd name="connsiteX3" fmla="*/ 32385 w 104775"/>
                          <a:gd name="connsiteY3" fmla="*/ 123829 h 123829"/>
                          <a:gd name="connsiteX4" fmla="*/ 81915 w 104775"/>
                          <a:gd name="connsiteY4" fmla="*/ 121924 h 123829"/>
                          <a:gd name="connsiteX5" fmla="*/ 87630 w 104775"/>
                          <a:gd name="connsiteY5" fmla="*/ 120019 h 123829"/>
                          <a:gd name="connsiteX6" fmla="*/ 89535 w 104775"/>
                          <a:gd name="connsiteY6" fmla="*/ 114304 h 123829"/>
                          <a:gd name="connsiteX7" fmla="*/ 93345 w 104775"/>
                          <a:gd name="connsiteY7" fmla="*/ 108589 h 123829"/>
                          <a:gd name="connsiteX8" fmla="*/ 95250 w 104775"/>
                          <a:gd name="connsiteY8" fmla="*/ 95254 h 123829"/>
                          <a:gd name="connsiteX9" fmla="*/ 100965 w 104775"/>
                          <a:gd name="connsiteY9" fmla="*/ 91444 h 123829"/>
                          <a:gd name="connsiteX10" fmla="*/ 104775 w 104775"/>
                          <a:gd name="connsiteY10" fmla="*/ 80014 h 123829"/>
                          <a:gd name="connsiteX11" fmla="*/ 100965 w 104775"/>
                          <a:gd name="connsiteY11" fmla="*/ 53344 h 123829"/>
                          <a:gd name="connsiteX12" fmla="*/ 99060 w 104775"/>
                          <a:gd name="connsiteY12" fmla="*/ 45724 h 123829"/>
                          <a:gd name="connsiteX13" fmla="*/ 95250 w 104775"/>
                          <a:gd name="connsiteY13" fmla="*/ 40009 h 123829"/>
                          <a:gd name="connsiteX14" fmla="*/ 91440 w 104775"/>
                          <a:gd name="connsiteY14" fmla="*/ 28579 h 123829"/>
                          <a:gd name="connsiteX15" fmla="*/ 70485 w 104775"/>
                          <a:gd name="connsiteY15" fmla="*/ 4 h 123829"/>
                          <a:gd name="connsiteX16" fmla="*/ 41910 w 104775"/>
                          <a:gd name="connsiteY16" fmla="*/ 26674 h 123829"/>
                          <a:gd name="connsiteX17" fmla="*/ 40005 w 104775"/>
                          <a:gd name="connsiteY17" fmla="*/ 40009 h 123829"/>
                          <a:gd name="connsiteX18" fmla="*/ 3810 w 104775"/>
                          <a:gd name="connsiteY18" fmla="*/ 47629 h 123829"/>
                          <a:gd name="connsiteX19" fmla="*/ 1905 w 104775"/>
                          <a:gd name="connsiteY19" fmla="*/ 55249 h 123829"/>
                          <a:gd name="connsiteX20" fmla="*/ 0 w 104775"/>
                          <a:gd name="connsiteY20" fmla="*/ 60964 h 123829"/>
                          <a:gd name="connsiteX21" fmla="*/ 5715 w 104775"/>
                          <a:gd name="connsiteY21" fmla="*/ 74299 h 123829"/>
                          <a:gd name="connsiteX22" fmla="*/ 5715 w 104775"/>
                          <a:gd name="connsiteY22" fmla="*/ 78109 h 123829"/>
                          <a:gd name="connsiteX23" fmla="*/ 17145 w 104775"/>
                          <a:gd name="connsiteY23" fmla="*/ 106684 h 123829"/>
                          <a:gd name="connsiteX0" fmla="*/ 19050 w 104775"/>
                          <a:gd name="connsiteY0" fmla="*/ 77050 h 98005"/>
                          <a:gd name="connsiteX1" fmla="*/ 24765 w 104775"/>
                          <a:gd name="connsiteY1" fmla="*/ 80860 h 98005"/>
                          <a:gd name="connsiteX2" fmla="*/ 28575 w 104775"/>
                          <a:gd name="connsiteY2" fmla="*/ 86575 h 98005"/>
                          <a:gd name="connsiteX3" fmla="*/ 32385 w 104775"/>
                          <a:gd name="connsiteY3" fmla="*/ 98005 h 98005"/>
                          <a:gd name="connsiteX4" fmla="*/ 81915 w 104775"/>
                          <a:gd name="connsiteY4" fmla="*/ 96100 h 98005"/>
                          <a:gd name="connsiteX5" fmla="*/ 87630 w 104775"/>
                          <a:gd name="connsiteY5" fmla="*/ 94195 h 98005"/>
                          <a:gd name="connsiteX6" fmla="*/ 89535 w 104775"/>
                          <a:gd name="connsiteY6" fmla="*/ 88480 h 98005"/>
                          <a:gd name="connsiteX7" fmla="*/ 93345 w 104775"/>
                          <a:gd name="connsiteY7" fmla="*/ 82765 h 98005"/>
                          <a:gd name="connsiteX8" fmla="*/ 95250 w 104775"/>
                          <a:gd name="connsiteY8" fmla="*/ 69430 h 98005"/>
                          <a:gd name="connsiteX9" fmla="*/ 100965 w 104775"/>
                          <a:gd name="connsiteY9" fmla="*/ 65620 h 98005"/>
                          <a:gd name="connsiteX10" fmla="*/ 104775 w 104775"/>
                          <a:gd name="connsiteY10" fmla="*/ 54190 h 98005"/>
                          <a:gd name="connsiteX11" fmla="*/ 100965 w 104775"/>
                          <a:gd name="connsiteY11" fmla="*/ 27520 h 98005"/>
                          <a:gd name="connsiteX12" fmla="*/ 99060 w 104775"/>
                          <a:gd name="connsiteY12" fmla="*/ 19900 h 98005"/>
                          <a:gd name="connsiteX13" fmla="*/ 95250 w 104775"/>
                          <a:gd name="connsiteY13" fmla="*/ 14185 h 98005"/>
                          <a:gd name="connsiteX14" fmla="*/ 91440 w 104775"/>
                          <a:gd name="connsiteY14" fmla="*/ 2755 h 98005"/>
                          <a:gd name="connsiteX15" fmla="*/ 41910 w 104775"/>
                          <a:gd name="connsiteY15" fmla="*/ 850 h 98005"/>
                          <a:gd name="connsiteX16" fmla="*/ 40005 w 104775"/>
                          <a:gd name="connsiteY16" fmla="*/ 14185 h 98005"/>
                          <a:gd name="connsiteX17" fmla="*/ 3810 w 104775"/>
                          <a:gd name="connsiteY17" fmla="*/ 21805 h 98005"/>
                          <a:gd name="connsiteX18" fmla="*/ 1905 w 104775"/>
                          <a:gd name="connsiteY18" fmla="*/ 29425 h 98005"/>
                          <a:gd name="connsiteX19" fmla="*/ 0 w 104775"/>
                          <a:gd name="connsiteY19" fmla="*/ 35140 h 98005"/>
                          <a:gd name="connsiteX20" fmla="*/ 5715 w 104775"/>
                          <a:gd name="connsiteY20" fmla="*/ 48475 h 98005"/>
                          <a:gd name="connsiteX21" fmla="*/ 5715 w 104775"/>
                          <a:gd name="connsiteY21" fmla="*/ 52285 h 98005"/>
                          <a:gd name="connsiteX22" fmla="*/ 17145 w 104775"/>
                          <a:gd name="connsiteY22" fmla="*/ 80860 h 98005"/>
                          <a:gd name="connsiteX0" fmla="*/ 19050 w 104775"/>
                          <a:gd name="connsiteY0" fmla="*/ 76200 h 97155"/>
                          <a:gd name="connsiteX1" fmla="*/ 24765 w 104775"/>
                          <a:gd name="connsiteY1" fmla="*/ 80010 h 97155"/>
                          <a:gd name="connsiteX2" fmla="*/ 28575 w 104775"/>
                          <a:gd name="connsiteY2" fmla="*/ 85725 h 97155"/>
                          <a:gd name="connsiteX3" fmla="*/ 32385 w 104775"/>
                          <a:gd name="connsiteY3" fmla="*/ 97155 h 97155"/>
                          <a:gd name="connsiteX4" fmla="*/ 81915 w 104775"/>
                          <a:gd name="connsiteY4" fmla="*/ 95250 h 97155"/>
                          <a:gd name="connsiteX5" fmla="*/ 87630 w 104775"/>
                          <a:gd name="connsiteY5" fmla="*/ 93345 h 97155"/>
                          <a:gd name="connsiteX6" fmla="*/ 89535 w 104775"/>
                          <a:gd name="connsiteY6" fmla="*/ 87630 h 97155"/>
                          <a:gd name="connsiteX7" fmla="*/ 93345 w 104775"/>
                          <a:gd name="connsiteY7" fmla="*/ 81915 h 97155"/>
                          <a:gd name="connsiteX8" fmla="*/ 95250 w 104775"/>
                          <a:gd name="connsiteY8" fmla="*/ 68580 h 97155"/>
                          <a:gd name="connsiteX9" fmla="*/ 100965 w 104775"/>
                          <a:gd name="connsiteY9" fmla="*/ 64770 h 97155"/>
                          <a:gd name="connsiteX10" fmla="*/ 104775 w 104775"/>
                          <a:gd name="connsiteY10" fmla="*/ 53340 h 97155"/>
                          <a:gd name="connsiteX11" fmla="*/ 100965 w 104775"/>
                          <a:gd name="connsiteY11" fmla="*/ 26670 h 97155"/>
                          <a:gd name="connsiteX12" fmla="*/ 99060 w 104775"/>
                          <a:gd name="connsiteY12" fmla="*/ 19050 h 97155"/>
                          <a:gd name="connsiteX13" fmla="*/ 95250 w 104775"/>
                          <a:gd name="connsiteY13" fmla="*/ 13335 h 97155"/>
                          <a:gd name="connsiteX14" fmla="*/ 41910 w 104775"/>
                          <a:gd name="connsiteY14" fmla="*/ 0 h 97155"/>
                          <a:gd name="connsiteX15" fmla="*/ 40005 w 104775"/>
                          <a:gd name="connsiteY15" fmla="*/ 13335 h 97155"/>
                          <a:gd name="connsiteX16" fmla="*/ 3810 w 104775"/>
                          <a:gd name="connsiteY16" fmla="*/ 20955 h 97155"/>
                          <a:gd name="connsiteX17" fmla="*/ 1905 w 104775"/>
                          <a:gd name="connsiteY17" fmla="*/ 28575 h 97155"/>
                          <a:gd name="connsiteX18" fmla="*/ 0 w 104775"/>
                          <a:gd name="connsiteY18" fmla="*/ 34290 h 97155"/>
                          <a:gd name="connsiteX19" fmla="*/ 5715 w 104775"/>
                          <a:gd name="connsiteY19" fmla="*/ 47625 h 97155"/>
                          <a:gd name="connsiteX20" fmla="*/ 5715 w 104775"/>
                          <a:gd name="connsiteY20" fmla="*/ 51435 h 97155"/>
                          <a:gd name="connsiteX21" fmla="*/ 17145 w 104775"/>
                          <a:gd name="connsiteY21" fmla="*/ 80010 h 97155"/>
                          <a:gd name="connsiteX0" fmla="*/ 19050 w 104775"/>
                          <a:gd name="connsiteY0" fmla="*/ 76298 h 97253"/>
                          <a:gd name="connsiteX1" fmla="*/ 24765 w 104775"/>
                          <a:gd name="connsiteY1" fmla="*/ 80108 h 97253"/>
                          <a:gd name="connsiteX2" fmla="*/ 28575 w 104775"/>
                          <a:gd name="connsiteY2" fmla="*/ 85823 h 97253"/>
                          <a:gd name="connsiteX3" fmla="*/ 32385 w 104775"/>
                          <a:gd name="connsiteY3" fmla="*/ 97253 h 97253"/>
                          <a:gd name="connsiteX4" fmla="*/ 81915 w 104775"/>
                          <a:gd name="connsiteY4" fmla="*/ 95348 h 97253"/>
                          <a:gd name="connsiteX5" fmla="*/ 87630 w 104775"/>
                          <a:gd name="connsiteY5" fmla="*/ 93443 h 97253"/>
                          <a:gd name="connsiteX6" fmla="*/ 89535 w 104775"/>
                          <a:gd name="connsiteY6" fmla="*/ 87728 h 97253"/>
                          <a:gd name="connsiteX7" fmla="*/ 93345 w 104775"/>
                          <a:gd name="connsiteY7" fmla="*/ 82013 h 97253"/>
                          <a:gd name="connsiteX8" fmla="*/ 95250 w 104775"/>
                          <a:gd name="connsiteY8" fmla="*/ 68678 h 97253"/>
                          <a:gd name="connsiteX9" fmla="*/ 100965 w 104775"/>
                          <a:gd name="connsiteY9" fmla="*/ 64868 h 97253"/>
                          <a:gd name="connsiteX10" fmla="*/ 104775 w 104775"/>
                          <a:gd name="connsiteY10" fmla="*/ 53438 h 97253"/>
                          <a:gd name="connsiteX11" fmla="*/ 100965 w 104775"/>
                          <a:gd name="connsiteY11" fmla="*/ 26768 h 97253"/>
                          <a:gd name="connsiteX12" fmla="*/ 99060 w 104775"/>
                          <a:gd name="connsiteY12" fmla="*/ 19148 h 97253"/>
                          <a:gd name="connsiteX13" fmla="*/ 95250 w 104775"/>
                          <a:gd name="connsiteY13" fmla="*/ 13433 h 97253"/>
                          <a:gd name="connsiteX14" fmla="*/ 41910 w 104775"/>
                          <a:gd name="connsiteY14" fmla="*/ 98 h 97253"/>
                          <a:gd name="connsiteX15" fmla="*/ 3810 w 104775"/>
                          <a:gd name="connsiteY15" fmla="*/ 21053 h 97253"/>
                          <a:gd name="connsiteX16" fmla="*/ 1905 w 104775"/>
                          <a:gd name="connsiteY16" fmla="*/ 28673 h 97253"/>
                          <a:gd name="connsiteX17" fmla="*/ 0 w 104775"/>
                          <a:gd name="connsiteY17" fmla="*/ 34388 h 97253"/>
                          <a:gd name="connsiteX18" fmla="*/ 5715 w 104775"/>
                          <a:gd name="connsiteY18" fmla="*/ 47723 h 97253"/>
                          <a:gd name="connsiteX19" fmla="*/ 5715 w 104775"/>
                          <a:gd name="connsiteY19" fmla="*/ 51533 h 97253"/>
                          <a:gd name="connsiteX20" fmla="*/ 17145 w 104775"/>
                          <a:gd name="connsiteY20" fmla="*/ 80108 h 97253"/>
                          <a:gd name="connsiteX0" fmla="*/ 19050 w 104775"/>
                          <a:gd name="connsiteY0" fmla="*/ 76205 h 97160"/>
                          <a:gd name="connsiteX1" fmla="*/ 24765 w 104775"/>
                          <a:gd name="connsiteY1" fmla="*/ 80015 h 97160"/>
                          <a:gd name="connsiteX2" fmla="*/ 28575 w 104775"/>
                          <a:gd name="connsiteY2" fmla="*/ 85730 h 97160"/>
                          <a:gd name="connsiteX3" fmla="*/ 32385 w 104775"/>
                          <a:gd name="connsiteY3" fmla="*/ 97160 h 97160"/>
                          <a:gd name="connsiteX4" fmla="*/ 81915 w 104775"/>
                          <a:gd name="connsiteY4" fmla="*/ 95255 h 97160"/>
                          <a:gd name="connsiteX5" fmla="*/ 87630 w 104775"/>
                          <a:gd name="connsiteY5" fmla="*/ 93350 h 97160"/>
                          <a:gd name="connsiteX6" fmla="*/ 89535 w 104775"/>
                          <a:gd name="connsiteY6" fmla="*/ 87635 h 97160"/>
                          <a:gd name="connsiteX7" fmla="*/ 93345 w 104775"/>
                          <a:gd name="connsiteY7" fmla="*/ 81920 h 97160"/>
                          <a:gd name="connsiteX8" fmla="*/ 95250 w 104775"/>
                          <a:gd name="connsiteY8" fmla="*/ 68585 h 97160"/>
                          <a:gd name="connsiteX9" fmla="*/ 100965 w 104775"/>
                          <a:gd name="connsiteY9" fmla="*/ 64775 h 97160"/>
                          <a:gd name="connsiteX10" fmla="*/ 104775 w 104775"/>
                          <a:gd name="connsiteY10" fmla="*/ 53345 h 97160"/>
                          <a:gd name="connsiteX11" fmla="*/ 100965 w 104775"/>
                          <a:gd name="connsiteY11" fmla="*/ 26675 h 97160"/>
                          <a:gd name="connsiteX12" fmla="*/ 99060 w 104775"/>
                          <a:gd name="connsiteY12" fmla="*/ 19055 h 97160"/>
                          <a:gd name="connsiteX13" fmla="*/ 41910 w 104775"/>
                          <a:gd name="connsiteY13" fmla="*/ 5 h 97160"/>
                          <a:gd name="connsiteX14" fmla="*/ 3810 w 104775"/>
                          <a:gd name="connsiteY14" fmla="*/ 20960 h 97160"/>
                          <a:gd name="connsiteX15" fmla="*/ 1905 w 104775"/>
                          <a:gd name="connsiteY15" fmla="*/ 28580 h 97160"/>
                          <a:gd name="connsiteX16" fmla="*/ 0 w 104775"/>
                          <a:gd name="connsiteY16" fmla="*/ 34295 h 97160"/>
                          <a:gd name="connsiteX17" fmla="*/ 5715 w 104775"/>
                          <a:gd name="connsiteY17" fmla="*/ 47630 h 97160"/>
                          <a:gd name="connsiteX18" fmla="*/ 5715 w 104775"/>
                          <a:gd name="connsiteY18" fmla="*/ 51440 h 97160"/>
                          <a:gd name="connsiteX19" fmla="*/ 17145 w 104775"/>
                          <a:gd name="connsiteY19" fmla="*/ 80015 h 97160"/>
                          <a:gd name="connsiteX0" fmla="*/ 19050 w 105971"/>
                          <a:gd name="connsiteY0" fmla="*/ 76238 h 97193"/>
                          <a:gd name="connsiteX1" fmla="*/ 24765 w 105971"/>
                          <a:gd name="connsiteY1" fmla="*/ 80048 h 97193"/>
                          <a:gd name="connsiteX2" fmla="*/ 28575 w 105971"/>
                          <a:gd name="connsiteY2" fmla="*/ 85763 h 97193"/>
                          <a:gd name="connsiteX3" fmla="*/ 32385 w 105971"/>
                          <a:gd name="connsiteY3" fmla="*/ 97193 h 97193"/>
                          <a:gd name="connsiteX4" fmla="*/ 81915 w 105971"/>
                          <a:gd name="connsiteY4" fmla="*/ 95288 h 97193"/>
                          <a:gd name="connsiteX5" fmla="*/ 87630 w 105971"/>
                          <a:gd name="connsiteY5" fmla="*/ 93383 h 97193"/>
                          <a:gd name="connsiteX6" fmla="*/ 89535 w 105971"/>
                          <a:gd name="connsiteY6" fmla="*/ 87668 h 97193"/>
                          <a:gd name="connsiteX7" fmla="*/ 93345 w 105971"/>
                          <a:gd name="connsiteY7" fmla="*/ 81953 h 97193"/>
                          <a:gd name="connsiteX8" fmla="*/ 95250 w 105971"/>
                          <a:gd name="connsiteY8" fmla="*/ 68618 h 97193"/>
                          <a:gd name="connsiteX9" fmla="*/ 100965 w 105971"/>
                          <a:gd name="connsiteY9" fmla="*/ 64808 h 97193"/>
                          <a:gd name="connsiteX10" fmla="*/ 104775 w 105971"/>
                          <a:gd name="connsiteY10" fmla="*/ 53378 h 97193"/>
                          <a:gd name="connsiteX11" fmla="*/ 100965 w 105971"/>
                          <a:gd name="connsiteY11" fmla="*/ 26708 h 97193"/>
                          <a:gd name="connsiteX12" fmla="*/ 41910 w 105971"/>
                          <a:gd name="connsiteY12" fmla="*/ 38 h 97193"/>
                          <a:gd name="connsiteX13" fmla="*/ 3810 w 105971"/>
                          <a:gd name="connsiteY13" fmla="*/ 20993 h 97193"/>
                          <a:gd name="connsiteX14" fmla="*/ 1905 w 105971"/>
                          <a:gd name="connsiteY14" fmla="*/ 28613 h 97193"/>
                          <a:gd name="connsiteX15" fmla="*/ 0 w 105971"/>
                          <a:gd name="connsiteY15" fmla="*/ 34328 h 97193"/>
                          <a:gd name="connsiteX16" fmla="*/ 5715 w 105971"/>
                          <a:gd name="connsiteY16" fmla="*/ 47663 h 97193"/>
                          <a:gd name="connsiteX17" fmla="*/ 5715 w 105971"/>
                          <a:gd name="connsiteY17" fmla="*/ 51473 h 97193"/>
                          <a:gd name="connsiteX18" fmla="*/ 17145 w 105971"/>
                          <a:gd name="connsiteY18" fmla="*/ 80048 h 97193"/>
                          <a:gd name="connsiteX0" fmla="*/ 19050 w 106250"/>
                          <a:gd name="connsiteY0" fmla="*/ 64875 h 85830"/>
                          <a:gd name="connsiteX1" fmla="*/ 24765 w 106250"/>
                          <a:gd name="connsiteY1" fmla="*/ 68685 h 85830"/>
                          <a:gd name="connsiteX2" fmla="*/ 28575 w 106250"/>
                          <a:gd name="connsiteY2" fmla="*/ 74400 h 85830"/>
                          <a:gd name="connsiteX3" fmla="*/ 32385 w 106250"/>
                          <a:gd name="connsiteY3" fmla="*/ 85830 h 85830"/>
                          <a:gd name="connsiteX4" fmla="*/ 81915 w 106250"/>
                          <a:gd name="connsiteY4" fmla="*/ 83925 h 85830"/>
                          <a:gd name="connsiteX5" fmla="*/ 87630 w 106250"/>
                          <a:gd name="connsiteY5" fmla="*/ 82020 h 85830"/>
                          <a:gd name="connsiteX6" fmla="*/ 89535 w 106250"/>
                          <a:gd name="connsiteY6" fmla="*/ 76305 h 85830"/>
                          <a:gd name="connsiteX7" fmla="*/ 93345 w 106250"/>
                          <a:gd name="connsiteY7" fmla="*/ 70590 h 85830"/>
                          <a:gd name="connsiteX8" fmla="*/ 95250 w 106250"/>
                          <a:gd name="connsiteY8" fmla="*/ 57255 h 85830"/>
                          <a:gd name="connsiteX9" fmla="*/ 100965 w 106250"/>
                          <a:gd name="connsiteY9" fmla="*/ 53445 h 85830"/>
                          <a:gd name="connsiteX10" fmla="*/ 104775 w 106250"/>
                          <a:gd name="connsiteY10" fmla="*/ 42015 h 85830"/>
                          <a:gd name="connsiteX11" fmla="*/ 100965 w 106250"/>
                          <a:gd name="connsiteY11" fmla="*/ 15345 h 85830"/>
                          <a:gd name="connsiteX12" fmla="*/ 38100 w 106250"/>
                          <a:gd name="connsiteY12" fmla="*/ 105 h 85830"/>
                          <a:gd name="connsiteX13" fmla="*/ 3810 w 106250"/>
                          <a:gd name="connsiteY13" fmla="*/ 9630 h 85830"/>
                          <a:gd name="connsiteX14" fmla="*/ 1905 w 106250"/>
                          <a:gd name="connsiteY14" fmla="*/ 17250 h 85830"/>
                          <a:gd name="connsiteX15" fmla="*/ 0 w 106250"/>
                          <a:gd name="connsiteY15" fmla="*/ 22965 h 85830"/>
                          <a:gd name="connsiteX16" fmla="*/ 5715 w 106250"/>
                          <a:gd name="connsiteY16" fmla="*/ 36300 h 85830"/>
                          <a:gd name="connsiteX17" fmla="*/ 5715 w 106250"/>
                          <a:gd name="connsiteY17" fmla="*/ 40110 h 85830"/>
                          <a:gd name="connsiteX18" fmla="*/ 17145 w 106250"/>
                          <a:gd name="connsiteY18" fmla="*/ 68685 h 8583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</a:cxnLst>
                        <a:rect l="l" t="t" r="r" b="b"/>
                        <a:pathLst>
                          <a:path w="106250" h="85830">
                            <a:moveTo>
                              <a:pt x="19050" y="64875"/>
                            </a:moveTo>
                            <a:cubicBezTo>
                              <a:pt x="19050" y="69955"/>
                              <a:pt x="22860" y="67415"/>
                              <a:pt x="24765" y="68685"/>
                            </a:cubicBezTo>
                            <a:cubicBezTo>
                              <a:pt x="26035" y="70590"/>
                              <a:pt x="27645" y="72308"/>
                              <a:pt x="28575" y="74400"/>
                            </a:cubicBezTo>
                            <a:cubicBezTo>
                              <a:pt x="30206" y="78070"/>
                              <a:pt x="32385" y="85830"/>
                              <a:pt x="32385" y="85830"/>
                            </a:cubicBezTo>
                            <a:cubicBezTo>
                              <a:pt x="48895" y="85195"/>
                              <a:pt x="65432" y="85062"/>
                              <a:pt x="81915" y="83925"/>
                            </a:cubicBezTo>
                            <a:cubicBezTo>
                              <a:pt x="83918" y="83787"/>
                              <a:pt x="86210" y="83440"/>
                              <a:pt x="87630" y="82020"/>
                            </a:cubicBezTo>
                            <a:cubicBezTo>
                              <a:pt x="89050" y="80600"/>
                              <a:pt x="88637" y="78101"/>
                              <a:pt x="89535" y="76305"/>
                            </a:cubicBezTo>
                            <a:cubicBezTo>
                              <a:pt x="90559" y="74257"/>
                              <a:pt x="92075" y="72495"/>
                              <a:pt x="93345" y="70590"/>
                            </a:cubicBezTo>
                            <a:cubicBezTo>
                              <a:pt x="93980" y="66145"/>
                              <a:pt x="93426" y="61358"/>
                              <a:pt x="95250" y="57255"/>
                            </a:cubicBezTo>
                            <a:cubicBezTo>
                              <a:pt x="96180" y="55163"/>
                              <a:pt x="99752" y="55387"/>
                              <a:pt x="100965" y="53445"/>
                            </a:cubicBezTo>
                            <a:cubicBezTo>
                              <a:pt x="103094" y="50039"/>
                              <a:pt x="104775" y="42015"/>
                              <a:pt x="104775" y="42015"/>
                            </a:cubicBezTo>
                            <a:cubicBezTo>
                              <a:pt x="101728" y="8500"/>
                              <a:pt x="112077" y="22330"/>
                              <a:pt x="100965" y="15345"/>
                            </a:cubicBezTo>
                            <a:cubicBezTo>
                              <a:pt x="89853" y="8360"/>
                              <a:pt x="54292" y="1057"/>
                              <a:pt x="38100" y="105"/>
                            </a:cubicBezTo>
                            <a:cubicBezTo>
                              <a:pt x="21908" y="-847"/>
                              <a:pt x="10477" y="4868"/>
                              <a:pt x="3810" y="9630"/>
                            </a:cubicBezTo>
                            <a:cubicBezTo>
                              <a:pt x="3175" y="12170"/>
                              <a:pt x="2624" y="14733"/>
                              <a:pt x="1905" y="17250"/>
                            </a:cubicBezTo>
                            <a:cubicBezTo>
                              <a:pt x="1353" y="19181"/>
                              <a:pt x="0" y="20957"/>
                              <a:pt x="0" y="22965"/>
                            </a:cubicBezTo>
                            <a:cubicBezTo>
                              <a:pt x="0" y="32673"/>
                              <a:pt x="2604" y="28523"/>
                              <a:pt x="5715" y="36300"/>
                            </a:cubicBezTo>
                            <a:cubicBezTo>
                              <a:pt x="6187" y="37479"/>
                              <a:pt x="3810" y="34713"/>
                              <a:pt x="5715" y="40110"/>
                            </a:cubicBezTo>
                            <a:cubicBezTo>
                              <a:pt x="7620" y="45507"/>
                              <a:pt x="13335" y="59160"/>
                              <a:pt x="17145" y="68685"/>
                            </a:cubicBezTo>
                          </a:path>
                        </a:pathLst>
                      </a:custGeom>
                      <a:solidFill>
                        <a:srgbClr val="0D3759"/>
                      </a:solidFill>
                      <a:ln w="3175" cap="flat" cmpd="sng" algn="ctr">
                        <a:solidFill>
                          <a:srgbClr val="F2E8F8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71" name="Freeform: Shape 56">
                        <a:extLst>
                          <a:ext uri="{FF2B5EF4-FFF2-40B4-BE49-F238E27FC236}">
                            <a16:creationId xmlns:a16="http://schemas.microsoft.com/office/drawing/2014/main" id="{8441F86B-173D-77E8-D66D-895C9F25FDEA}"/>
                          </a:ext>
                        </a:extLst>
                      </p:cNvPr>
                      <p:cNvSpPr/>
                      <p:nvPr/>
                    </p:nvSpPr>
                    <p:spPr>
                      <a:xfrm rot="18952815">
                        <a:off x="8990335" y="4236377"/>
                        <a:ext cx="27432" cy="36576"/>
                      </a:xfrm>
                      <a:custGeom>
                        <a:avLst/>
                        <a:gdLst>
                          <a:gd name="connsiteX0" fmla="*/ 57150 w 104775"/>
                          <a:gd name="connsiteY0" fmla="*/ 76200 h 127635"/>
                          <a:gd name="connsiteX1" fmla="*/ 57150 w 104775"/>
                          <a:gd name="connsiteY1" fmla="*/ 76200 h 127635"/>
                          <a:gd name="connsiteX2" fmla="*/ 24765 w 104775"/>
                          <a:gd name="connsiteY2" fmla="*/ 80010 h 127635"/>
                          <a:gd name="connsiteX3" fmla="*/ 19050 w 104775"/>
                          <a:gd name="connsiteY3" fmla="*/ 83820 h 127635"/>
                          <a:gd name="connsiteX4" fmla="*/ 19050 w 104775"/>
                          <a:gd name="connsiteY4" fmla="*/ 106680 h 127635"/>
                          <a:gd name="connsiteX5" fmla="*/ 24765 w 104775"/>
                          <a:gd name="connsiteY5" fmla="*/ 110490 h 127635"/>
                          <a:gd name="connsiteX6" fmla="*/ 28575 w 104775"/>
                          <a:gd name="connsiteY6" fmla="*/ 116205 h 127635"/>
                          <a:gd name="connsiteX7" fmla="*/ 32385 w 104775"/>
                          <a:gd name="connsiteY7" fmla="*/ 127635 h 127635"/>
                          <a:gd name="connsiteX8" fmla="*/ 81915 w 104775"/>
                          <a:gd name="connsiteY8" fmla="*/ 125730 h 127635"/>
                          <a:gd name="connsiteX9" fmla="*/ 87630 w 104775"/>
                          <a:gd name="connsiteY9" fmla="*/ 123825 h 127635"/>
                          <a:gd name="connsiteX10" fmla="*/ 89535 w 104775"/>
                          <a:gd name="connsiteY10" fmla="*/ 118110 h 127635"/>
                          <a:gd name="connsiteX11" fmla="*/ 93345 w 104775"/>
                          <a:gd name="connsiteY11" fmla="*/ 112395 h 127635"/>
                          <a:gd name="connsiteX12" fmla="*/ 95250 w 104775"/>
                          <a:gd name="connsiteY12" fmla="*/ 99060 h 127635"/>
                          <a:gd name="connsiteX13" fmla="*/ 100965 w 104775"/>
                          <a:gd name="connsiteY13" fmla="*/ 95250 h 127635"/>
                          <a:gd name="connsiteX14" fmla="*/ 104775 w 104775"/>
                          <a:gd name="connsiteY14" fmla="*/ 83820 h 127635"/>
                          <a:gd name="connsiteX15" fmla="*/ 100965 w 104775"/>
                          <a:gd name="connsiteY15" fmla="*/ 57150 h 127635"/>
                          <a:gd name="connsiteX16" fmla="*/ 99060 w 104775"/>
                          <a:gd name="connsiteY16" fmla="*/ 49530 h 127635"/>
                          <a:gd name="connsiteX17" fmla="*/ 95250 w 104775"/>
                          <a:gd name="connsiteY17" fmla="*/ 43815 h 127635"/>
                          <a:gd name="connsiteX18" fmla="*/ 91440 w 104775"/>
                          <a:gd name="connsiteY18" fmla="*/ 32385 h 127635"/>
                          <a:gd name="connsiteX19" fmla="*/ 81915 w 104775"/>
                          <a:gd name="connsiteY19" fmla="*/ 15240 h 127635"/>
                          <a:gd name="connsiteX20" fmla="*/ 70485 w 104775"/>
                          <a:gd name="connsiteY20" fmla="*/ 3810 h 127635"/>
                          <a:gd name="connsiteX21" fmla="*/ 59055 w 104775"/>
                          <a:gd name="connsiteY21" fmla="*/ 0 h 127635"/>
                          <a:gd name="connsiteX22" fmla="*/ 45720 w 104775"/>
                          <a:gd name="connsiteY22" fmla="*/ 1905 h 127635"/>
                          <a:gd name="connsiteX23" fmla="*/ 43815 w 104775"/>
                          <a:gd name="connsiteY23" fmla="*/ 19050 h 127635"/>
                          <a:gd name="connsiteX24" fmla="*/ 41910 w 104775"/>
                          <a:gd name="connsiteY24" fmla="*/ 30480 h 127635"/>
                          <a:gd name="connsiteX25" fmla="*/ 40005 w 104775"/>
                          <a:gd name="connsiteY25" fmla="*/ 43815 h 127635"/>
                          <a:gd name="connsiteX26" fmla="*/ 28575 w 104775"/>
                          <a:gd name="connsiteY26" fmla="*/ 49530 h 127635"/>
                          <a:gd name="connsiteX27" fmla="*/ 3810 w 104775"/>
                          <a:gd name="connsiteY27" fmla="*/ 51435 h 127635"/>
                          <a:gd name="connsiteX28" fmla="*/ 1905 w 104775"/>
                          <a:gd name="connsiteY28" fmla="*/ 59055 h 127635"/>
                          <a:gd name="connsiteX29" fmla="*/ 0 w 104775"/>
                          <a:gd name="connsiteY29" fmla="*/ 64770 h 127635"/>
                          <a:gd name="connsiteX30" fmla="*/ 5715 w 104775"/>
                          <a:gd name="connsiteY30" fmla="*/ 78105 h 127635"/>
                          <a:gd name="connsiteX31" fmla="*/ 5715 w 104775"/>
                          <a:gd name="connsiteY31" fmla="*/ 81915 h 127635"/>
                          <a:gd name="connsiteX32" fmla="*/ 5715 w 104775"/>
                          <a:gd name="connsiteY32" fmla="*/ 87630 h 127635"/>
                          <a:gd name="connsiteX0" fmla="*/ 57150 w 104775"/>
                          <a:gd name="connsiteY0" fmla="*/ 76200 h 127635"/>
                          <a:gd name="connsiteX1" fmla="*/ 24765 w 104775"/>
                          <a:gd name="connsiteY1" fmla="*/ 80010 h 127635"/>
                          <a:gd name="connsiteX2" fmla="*/ 19050 w 104775"/>
                          <a:gd name="connsiteY2" fmla="*/ 83820 h 127635"/>
                          <a:gd name="connsiteX3" fmla="*/ 19050 w 104775"/>
                          <a:gd name="connsiteY3" fmla="*/ 106680 h 127635"/>
                          <a:gd name="connsiteX4" fmla="*/ 24765 w 104775"/>
                          <a:gd name="connsiteY4" fmla="*/ 110490 h 127635"/>
                          <a:gd name="connsiteX5" fmla="*/ 28575 w 104775"/>
                          <a:gd name="connsiteY5" fmla="*/ 116205 h 127635"/>
                          <a:gd name="connsiteX6" fmla="*/ 32385 w 104775"/>
                          <a:gd name="connsiteY6" fmla="*/ 127635 h 127635"/>
                          <a:gd name="connsiteX7" fmla="*/ 81915 w 104775"/>
                          <a:gd name="connsiteY7" fmla="*/ 125730 h 127635"/>
                          <a:gd name="connsiteX8" fmla="*/ 87630 w 104775"/>
                          <a:gd name="connsiteY8" fmla="*/ 123825 h 127635"/>
                          <a:gd name="connsiteX9" fmla="*/ 89535 w 104775"/>
                          <a:gd name="connsiteY9" fmla="*/ 118110 h 127635"/>
                          <a:gd name="connsiteX10" fmla="*/ 93345 w 104775"/>
                          <a:gd name="connsiteY10" fmla="*/ 112395 h 127635"/>
                          <a:gd name="connsiteX11" fmla="*/ 95250 w 104775"/>
                          <a:gd name="connsiteY11" fmla="*/ 99060 h 127635"/>
                          <a:gd name="connsiteX12" fmla="*/ 100965 w 104775"/>
                          <a:gd name="connsiteY12" fmla="*/ 95250 h 127635"/>
                          <a:gd name="connsiteX13" fmla="*/ 104775 w 104775"/>
                          <a:gd name="connsiteY13" fmla="*/ 83820 h 127635"/>
                          <a:gd name="connsiteX14" fmla="*/ 100965 w 104775"/>
                          <a:gd name="connsiteY14" fmla="*/ 57150 h 127635"/>
                          <a:gd name="connsiteX15" fmla="*/ 99060 w 104775"/>
                          <a:gd name="connsiteY15" fmla="*/ 49530 h 127635"/>
                          <a:gd name="connsiteX16" fmla="*/ 95250 w 104775"/>
                          <a:gd name="connsiteY16" fmla="*/ 43815 h 127635"/>
                          <a:gd name="connsiteX17" fmla="*/ 91440 w 104775"/>
                          <a:gd name="connsiteY17" fmla="*/ 32385 h 127635"/>
                          <a:gd name="connsiteX18" fmla="*/ 81915 w 104775"/>
                          <a:gd name="connsiteY18" fmla="*/ 15240 h 127635"/>
                          <a:gd name="connsiteX19" fmla="*/ 70485 w 104775"/>
                          <a:gd name="connsiteY19" fmla="*/ 3810 h 127635"/>
                          <a:gd name="connsiteX20" fmla="*/ 59055 w 104775"/>
                          <a:gd name="connsiteY20" fmla="*/ 0 h 127635"/>
                          <a:gd name="connsiteX21" fmla="*/ 45720 w 104775"/>
                          <a:gd name="connsiteY21" fmla="*/ 1905 h 127635"/>
                          <a:gd name="connsiteX22" fmla="*/ 43815 w 104775"/>
                          <a:gd name="connsiteY22" fmla="*/ 19050 h 127635"/>
                          <a:gd name="connsiteX23" fmla="*/ 41910 w 104775"/>
                          <a:gd name="connsiteY23" fmla="*/ 30480 h 127635"/>
                          <a:gd name="connsiteX24" fmla="*/ 40005 w 104775"/>
                          <a:gd name="connsiteY24" fmla="*/ 43815 h 127635"/>
                          <a:gd name="connsiteX25" fmla="*/ 28575 w 104775"/>
                          <a:gd name="connsiteY25" fmla="*/ 49530 h 127635"/>
                          <a:gd name="connsiteX26" fmla="*/ 3810 w 104775"/>
                          <a:gd name="connsiteY26" fmla="*/ 51435 h 127635"/>
                          <a:gd name="connsiteX27" fmla="*/ 1905 w 104775"/>
                          <a:gd name="connsiteY27" fmla="*/ 59055 h 127635"/>
                          <a:gd name="connsiteX28" fmla="*/ 0 w 104775"/>
                          <a:gd name="connsiteY28" fmla="*/ 64770 h 127635"/>
                          <a:gd name="connsiteX29" fmla="*/ 5715 w 104775"/>
                          <a:gd name="connsiteY29" fmla="*/ 78105 h 127635"/>
                          <a:gd name="connsiteX30" fmla="*/ 5715 w 104775"/>
                          <a:gd name="connsiteY30" fmla="*/ 81915 h 127635"/>
                          <a:gd name="connsiteX31" fmla="*/ 5715 w 104775"/>
                          <a:gd name="connsiteY31" fmla="*/ 87630 h 127635"/>
                          <a:gd name="connsiteX0" fmla="*/ 24765 w 104775"/>
                          <a:gd name="connsiteY0" fmla="*/ 80010 h 127635"/>
                          <a:gd name="connsiteX1" fmla="*/ 19050 w 104775"/>
                          <a:gd name="connsiteY1" fmla="*/ 83820 h 127635"/>
                          <a:gd name="connsiteX2" fmla="*/ 19050 w 104775"/>
                          <a:gd name="connsiteY2" fmla="*/ 106680 h 127635"/>
                          <a:gd name="connsiteX3" fmla="*/ 24765 w 104775"/>
                          <a:gd name="connsiteY3" fmla="*/ 110490 h 127635"/>
                          <a:gd name="connsiteX4" fmla="*/ 28575 w 104775"/>
                          <a:gd name="connsiteY4" fmla="*/ 116205 h 127635"/>
                          <a:gd name="connsiteX5" fmla="*/ 32385 w 104775"/>
                          <a:gd name="connsiteY5" fmla="*/ 127635 h 127635"/>
                          <a:gd name="connsiteX6" fmla="*/ 81915 w 104775"/>
                          <a:gd name="connsiteY6" fmla="*/ 125730 h 127635"/>
                          <a:gd name="connsiteX7" fmla="*/ 87630 w 104775"/>
                          <a:gd name="connsiteY7" fmla="*/ 123825 h 127635"/>
                          <a:gd name="connsiteX8" fmla="*/ 89535 w 104775"/>
                          <a:gd name="connsiteY8" fmla="*/ 118110 h 127635"/>
                          <a:gd name="connsiteX9" fmla="*/ 93345 w 104775"/>
                          <a:gd name="connsiteY9" fmla="*/ 112395 h 127635"/>
                          <a:gd name="connsiteX10" fmla="*/ 95250 w 104775"/>
                          <a:gd name="connsiteY10" fmla="*/ 99060 h 127635"/>
                          <a:gd name="connsiteX11" fmla="*/ 100965 w 104775"/>
                          <a:gd name="connsiteY11" fmla="*/ 95250 h 127635"/>
                          <a:gd name="connsiteX12" fmla="*/ 104775 w 104775"/>
                          <a:gd name="connsiteY12" fmla="*/ 83820 h 127635"/>
                          <a:gd name="connsiteX13" fmla="*/ 100965 w 104775"/>
                          <a:gd name="connsiteY13" fmla="*/ 57150 h 127635"/>
                          <a:gd name="connsiteX14" fmla="*/ 99060 w 104775"/>
                          <a:gd name="connsiteY14" fmla="*/ 49530 h 127635"/>
                          <a:gd name="connsiteX15" fmla="*/ 95250 w 104775"/>
                          <a:gd name="connsiteY15" fmla="*/ 43815 h 127635"/>
                          <a:gd name="connsiteX16" fmla="*/ 91440 w 104775"/>
                          <a:gd name="connsiteY16" fmla="*/ 32385 h 127635"/>
                          <a:gd name="connsiteX17" fmla="*/ 81915 w 104775"/>
                          <a:gd name="connsiteY17" fmla="*/ 15240 h 127635"/>
                          <a:gd name="connsiteX18" fmla="*/ 70485 w 104775"/>
                          <a:gd name="connsiteY18" fmla="*/ 3810 h 127635"/>
                          <a:gd name="connsiteX19" fmla="*/ 59055 w 104775"/>
                          <a:gd name="connsiteY19" fmla="*/ 0 h 127635"/>
                          <a:gd name="connsiteX20" fmla="*/ 45720 w 104775"/>
                          <a:gd name="connsiteY20" fmla="*/ 1905 h 127635"/>
                          <a:gd name="connsiteX21" fmla="*/ 43815 w 104775"/>
                          <a:gd name="connsiteY21" fmla="*/ 19050 h 127635"/>
                          <a:gd name="connsiteX22" fmla="*/ 41910 w 104775"/>
                          <a:gd name="connsiteY22" fmla="*/ 30480 h 127635"/>
                          <a:gd name="connsiteX23" fmla="*/ 40005 w 104775"/>
                          <a:gd name="connsiteY23" fmla="*/ 43815 h 127635"/>
                          <a:gd name="connsiteX24" fmla="*/ 28575 w 104775"/>
                          <a:gd name="connsiteY24" fmla="*/ 49530 h 127635"/>
                          <a:gd name="connsiteX25" fmla="*/ 3810 w 104775"/>
                          <a:gd name="connsiteY25" fmla="*/ 51435 h 127635"/>
                          <a:gd name="connsiteX26" fmla="*/ 1905 w 104775"/>
                          <a:gd name="connsiteY26" fmla="*/ 59055 h 127635"/>
                          <a:gd name="connsiteX27" fmla="*/ 0 w 104775"/>
                          <a:gd name="connsiteY27" fmla="*/ 64770 h 127635"/>
                          <a:gd name="connsiteX28" fmla="*/ 5715 w 104775"/>
                          <a:gd name="connsiteY28" fmla="*/ 78105 h 127635"/>
                          <a:gd name="connsiteX29" fmla="*/ 5715 w 104775"/>
                          <a:gd name="connsiteY29" fmla="*/ 81915 h 127635"/>
                          <a:gd name="connsiteX30" fmla="*/ 5715 w 104775"/>
                          <a:gd name="connsiteY30" fmla="*/ 87630 h 127635"/>
                          <a:gd name="connsiteX0" fmla="*/ 24765 w 104775"/>
                          <a:gd name="connsiteY0" fmla="*/ 80010 h 127635"/>
                          <a:gd name="connsiteX1" fmla="*/ 19050 w 104775"/>
                          <a:gd name="connsiteY1" fmla="*/ 106680 h 127635"/>
                          <a:gd name="connsiteX2" fmla="*/ 24765 w 104775"/>
                          <a:gd name="connsiteY2" fmla="*/ 110490 h 127635"/>
                          <a:gd name="connsiteX3" fmla="*/ 28575 w 104775"/>
                          <a:gd name="connsiteY3" fmla="*/ 116205 h 127635"/>
                          <a:gd name="connsiteX4" fmla="*/ 32385 w 104775"/>
                          <a:gd name="connsiteY4" fmla="*/ 127635 h 127635"/>
                          <a:gd name="connsiteX5" fmla="*/ 81915 w 104775"/>
                          <a:gd name="connsiteY5" fmla="*/ 125730 h 127635"/>
                          <a:gd name="connsiteX6" fmla="*/ 87630 w 104775"/>
                          <a:gd name="connsiteY6" fmla="*/ 123825 h 127635"/>
                          <a:gd name="connsiteX7" fmla="*/ 89535 w 104775"/>
                          <a:gd name="connsiteY7" fmla="*/ 118110 h 127635"/>
                          <a:gd name="connsiteX8" fmla="*/ 93345 w 104775"/>
                          <a:gd name="connsiteY8" fmla="*/ 112395 h 127635"/>
                          <a:gd name="connsiteX9" fmla="*/ 95250 w 104775"/>
                          <a:gd name="connsiteY9" fmla="*/ 99060 h 127635"/>
                          <a:gd name="connsiteX10" fmla="*/ 100965 w 104775"/>
                          <a:gd name="connsiteY10" fmla="*/ 95250 h 127635"/>
                          <a:gd name="connsiteX11" fmla="*/ 104775 w 104775"/>
                          <a:gd name="connsiteY11" fmla="*/ 83820 h 127635"/>
                          <a:gd name="connsiteX12" fmla="*/ 100965 w 104775"/>
                          <a:gd name="connsiteY12" fmla="*/ 57150 h 127635"/>
                          <a:gd name="connsiteX13" fmla="*/ 99060 w 104775"/>
                          <a:gd name="connsiteY13" fmla="*/ 49530 h 127635"/>
                          <a:gd name="connsiteX14" fmla="*/ 95250 w 104775"/>
                          <a:gd name="connsiteY14" fmla="*/ 43815 h 127635"/>
                          <a:gd name="connsiteX15" fmla="*/ 91440 w 104775"/>
                          <a:gd name="connsiteY15" fmla="*/ 32385 h 127635"/>
                          <a:gd name="connsiteX16" fmla="*/ 81915 w 104775"/>
                          <a:gd name="connsiteY16" fmla="*/ 15240 h 127635"/>
                          <a:gd name="connsiteX17" fmla="*/ 70485 w 104775"/>
                          <a:gd name="connsiteY17" fmla="*/ 3810 h 127635"/>
                          <a:gd name="connsiteX18" fmla="*/ 59055 w 104775"/>
                          <a:gd name="connsiteY18" fmla="*/ 0 h 127635"/>
                          <a:gd name="connsiteX19" fmla="*/ 45720 w 104775"/>
                          <a:gd name="connsiteY19" fmla="*/ 1905 h 127635"/>
                          <a:gd name="connsiteX20" fmla="*/ 43815 w 104775"/>
                          <a:gd name="connsiteY20" fmla="*/ 19050 h 127635"/>
                          <a:gd name="connsiteX21" fmla="*/ 41910 w 104775"/>
                          <a:gd name="connsiteY21" fmla="*/ 30480 h 127635"/>
                          <a:gd name="connsiteX22" fmla="*/ 40005 w 104775"/>
                          <a:gd name="connsiteY22" fmla="*/ 43815 h 127635"/>
                          <a:gd name="connsiteX23" fmla="*/ 28575 w 104775"/>
                          <a:gd name="connsiteY23" fmla="*/ 49530 h 127635"/>
                          <a:gd name="connsiteX24" fmla="*/ 3810 w 104775"/>
                          <a:gd name="connsiteY24" fmla="*/ 51435 h 127635"/>
                          <a:gd name="connsiteX25" fmla="*/ 1905 w 104775"/>
                          <a:gd name="connsiteY25" fmla="*/ 59055 h 127635"/>
                          <a:gd name="connsiteX26" fmla="*/ 0 w 104775"/>
                          <a:gd name="connsiteY26" fmla="*/ 64770 h 127635"/>
                          <a:gd name="connsiteX27" fmla="*/ 5715 w 104775"/>
                          <a:gd name="connsiteY27" fmla="*/ 78105 h 127635"/>
                          <a:gd name="connsiteX28" fmla="*/ 5715 w 104775"/>
                          <a:gd name="connsiteY28" fmla="*/ 81915 h 127635"/>
                          <a:gd name="connsiteX29" fmla="*/ 5715 w 104775"/>
                          <a:gd name="connsiteY29" fmla="*/ 8763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5715 w 104775"/>
                          <a:gd name="connsiteY28" fmla="*/ 8763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17145 w 104775"/>
                          <a:gd name="connsiteY28" fmla="*/ 11049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17145 w 104775"/>
                          <a:gd name="connsiteY28" fmla="*/ 110490 h 127635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81915 w 104775"/>
                          <a:gd name="connsiteY15" fmla="*/ 16019 h 128414"/>
                          <a:gd name="connsiteX16" fmla="*/ 70485 w 104775"/>
                          <a:gd name="connsiteY16" fmla="*/ 4589 h 128414"/>
                          <a:gd name="connsiteX17" fmla="*/ 59055 w 104775"/>
                          <a:gd name="connsiteY17" fmla="*/ 779 h 128414"/>
                          <a:gd name="connsiteX18" fmla="*/ 45720 w 104775"/>
                          <a:gd name="connsiteY18" fmla="*/ 2684 h 128414"/>
                          <a:gd name="connsiteX19" fmla="*/ 41910 w 104775"/>
                          <a:gd name="connsiteY19" fmla="*/ 31259 h 128414"/>
                          <a:gd name="connsiteX20" fmla="*/ 40005 w 104775"/>
                          <a:gd name="connsiteY20" fmla="*/ 44594 h 128414"/>
                          <a:gd name="connsiteX21" fmla="*/ 28575 w 104775"/>
                          <a:gd name="connsiteY21" fmla="*/ 50309 h 128414"/>
                          <a:gd name="connsiteX22" fmla="*/ 3810 w 104775"/>
                          <a:gd name="connsiteY22" fmla="*/ 52214 h 128414"/>
                          <a:gd name="connsiteX23" fmla="*/ 1905 w 104775"/>
                          <a:gd name="connsiteY23" fmla="*/ 59834 h 128414"/>
                          <a:gd name="connsiteX24" fmla="*/ 0 w 104775"/>
                          <a:gd name="connsiteY24" fmla="*/ 65549 h 128414"/>
                          <a:gd name="connsiteX25" fmla="*/ 5715 w 104775"/>
                          <a:gd name="connsiteY25" fmla="*/ 78884 h 128414"/>
                          <a:gd name="connsiteX26" fmla="*/ 5715 w 104775"/>
                          <a:gd name="connsiteY26" fmla="*/ 82694 h 128414"/>
                          <a:gd name="connsiteX27" fmla="*/ 17145 w 104775"/>
                          <a:gd name="connsiteY27" fmla="*/ 111269 h 128414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70485 w 104775"/>
                          <a:gd name="connsiteY15" fmla="*/ 4589 h 128414"/>
                          <a:gd name="connsiteX16" fmla="*/ 59055 w 104775"/>
                          <a:gd name="connsiteY16" fmla="*/ 779 h 128414"/>
                          <a:gd name="connsiteX17" fmla="*/ 45720 w 104775"/>
                          <a:gd name="connsiteY17" fmla="*/ 2684 h 128414"/>
                          <a:gd name="connsiteX18" fmla="*/ 41910 w 104775"/>
                          <a:gd name="connsiteY18" fmla="*/ 31259 h 128414"/>
                          <a:gd name="connsiteX19" fmla="*/ 40005 w 104775"/>
                          <a:gd name="connsiteY19" fmla="*/ 44594 h 128414"/>
                          <a:gd name="connsiteX20" fmla="*/ 28575 w 104775"/>
                          <a:gd name="connsiteY20" fmla="*/ 50309 h 128414"/>
                          <a:gd name="connsiteX21" fmla="*/ 3810 w 104775"/>
                          <a:gd name="connsiteY21" fmla="*/ 52214 h 128414"/>
                          <a:gd name="connsiteX22" fmla="*/ 1905 w 104775"/>
                          <a:gd name="connsiteY22" fmla="*/ 59834 h 128414"/>
                          <a:gd name="connsiteX23" fmla="*/ 0 w 104775"/>
                          <a:gd name="connsiteY23" fmla="*/ 65549 h 128414"/>
                          <a:gd name="connsiteX24" fmla="*/ 5715 w 104775"/>
                          <a:gd name="connsiteY24" fmla="*/ 78884 h 128414"/>
                          <a:gd name="connsiteX25" fmla="*/ 5715 w 104775"/>
                          <a:gd name="connsiteY25" fmla="*/ 82694 h 128414"/>
                          <a:gd name="connsiteX26" fmla="*/ 17145 w 104775"/>
                          <a:gd name="connsiteY26" fmla="*/ 111269 h 128414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70485 w 104775"/>
                          <a:gd name="connsiteY15" fmla="*/ 4589 h 128414"/>
                          <a:gd name="connsiteX16" fmla="*/ 59055 w 104775"/>
                          <a:gd name="connsiteY16" fmla="*/ 779 h 128414"/>
                          <a:gd name="connsiteX17" fmla="*/ 45720 w 104775"/>
                          <a:gd name="connsiteY17" fmla="*/ 2684 h 128414"/>
                          <a:gd name="connsiteX18" fmla="*/ 41910 w 104775"/>
                          <a:gd name="connsiteY18" fmla="*/ 31259 h 128414"/>
                          <a:gd name="connsiteX19" fmla="*/ 40005 w 104775"/>
                          <a:gd name="connsiteY19" fmla="*/ 44594 h 128414"/>
                          <a:gd name="connsiteX20" fmla="*/ 3810 w 104775"/>
                          <a:gd name="connsiteY20" fmla="*/ 52214 h 128414"/>
                          <a:gd name="connsiteX21" fmla="*/ 1905 w 104775"/>
                          <a:gd name="connsiteY21" fmla="*/ 59834 h 128414"/>
                          <a:gd name="connsiteX22" fmla="*/ 0 w 104775"/>
                          <a:gd name="connsiteY22" fmla="*/ 65549 h 128414"/>
                          <a:gd name="connsiteX23" fmla="*/ 5715 w 104775"/>
                          <a:gd name="connsiteY23" fmla="*/ 78884 h 128414"/>
                          <a:gd name="connsiteX24" fmla="*/ 5715 w 104775"/>
                          <a:gd name="connsiteY24" fmla="*/ 82694 h 128414"/>
                          <a:gd name="connsiteX25" fmla="*/ 17145 w 104775"/>
                          <a:gd name="connsiteY25" fmla="*/ 111269 h 128414"/>
                          <a:gd name="connsiteX0" fmla="*/ 19050 w 104775"/>
                          <a:gd name="connsiteY0" fmla="*/ 107492 h 128447"/>
                          <a:gd name="connsiteX1" fmla="*/ 24765 w 104775"/>
                          <a:gd name="connsiteY1" fmla="*/ 111302 h 128447"/>
                          <a:gd name="connsiteX2" fmla="*/ 28575 w 104775"/>
                          <a:gd name="connsiteY2" fmla="*/ 117017 h 128447"/>
                          <a:gd name="connsiteX3" fmla="*/ 32385 w 104775"/>
                          <a:gd name="connsiteY3" fmla="*/ 128447 h 128447"/>
                          <a:gd name="connsiteX4" fmla="*/ 81915 w 104775"/>
                          <a:gd name="connsiteY4" fmla="*/ 126542 h 128447"/>
                          <a:gd name="connsiteX5" fmla="*/ 87630 w 104775"/>
                          <a:gd name="connsiteY5" fmla="*/ 124637 h 128447"/>
                          <a:gd name="connsiteX6" fmla="*/ 89535 w 104775"/>
                          <a:gd name="connsiteY6" fmla="*/ 118922 h 128447"/>
                          <a:gd name="connsiteX7" fmla="*/ 93345 w 104775"/>
                          <a:gd name="connsiteY7" fmla="*/ 113207 h 128447"/>
                          <a:gd name="connsiteX8" fmla="*/ 95250 w 104775"/>
                          <a:gd name="connsiteY8" fmla="*/ 99872 h 128447"/>
                          <a:gd name="connsiteX9" fmla="*/ 100965 w 104775"/>
                          <a:gd name="connsiteY9" fmla="*/ 96062 h 128447"/>
                          <a:gd name="connsiteX10" fmla="*/ 104775 w 104775"/>
                          <a:gd name="connsiteY10" fmla="*/ 84632 h 128447"/>
                          <a:gd name="connsiteX11" fmla="*/ 100965 w 104775"/>
                          <a:gd name="connsiteY11" fmla="*/ 57962 h 128447"/>
                          <a:gd name="connsiteX12" fmla="*/ 99060 w 104775"/>
                          <a:gd name="connsiteY12" fmla="*/ 50342 h 128447"/>
                          <a:gd name="connsiteX13" fmla="*/ 95250 w 104775"/>
                          <a:gd name="connsiteY13" fmla="*/ 44627 h 128447"/>
                          <a:gd name="connsiteX14" fmla="*/ 91440 w 104775"/>
                          <a:gd name="connsiteY14" fmla="*/ 33197 h 128447"/>
                          <a:gd name="connsiteX15" fmla="*/ 70485 w 104775"/>
                          <a:gd name="connsiteY15" fmla="*/ 4622 h 128447"/>
                          <a:gd name="connsiteX16" fmla="*/ 45720 w 104775"/>
                          <a:gd name="connsiteY16" fmla="*/ 2717 h 128447"/>
                          <a:gd name="connsiteX17" fmla="*/ 41910 w 104775"/>
                          <a:gd name="connsiteY17" fmla="*/ 31292 h 128447"/>
                          <a:gd name="connsiteX18" fmla="*/ 40005 w 104775"/>
                          <a:gd name="connsiteY18" fmla="*/ 44627 h 128447"/>
                          <a:gd name="connsiteX19" fmla="*/ 3810 w 104775"/>
                          <a:gd name="connsiteY19" fmla="*/ 52247 h 128447"/>
                          <a:gd name="connsiteX20" fmla="*/ 1905 w 104775"/>
                          <a:gd name="connsiteY20" fmla="*/ 59867 h 128447"/>
                          <a:gd name="connsiteX21" fmla="*/ 0 w 104775"/>
                          <a:gd name="connsiteY21" fmla="*/ 65582 h 128447"/>
                          <a:gd name="connsiteX22" fmla="*/ 5715 w 104775"/>
                          <a:gd name="connsiteY22" fmla="*/ 78917 h 128447"/>
                          <a:gd name="connsiteX23" fmla="*/ 5715 w 104775"/>
                          <a:gd name="connsiteY23" fmla="*/ 82727 h 128447"/>
                          <a:gd name="connsiteX24" fmla="*/ 17145 w 104775"/>
                          <a:gd name="connsiteY24" fmla="*/ 111302 h 128447"/>
                          <a:gd name="connsiteX0" fmla="*/ 19050 w 104775"/>
                          <a:gd name="connsiteY0" fmla="*/ 102874 h 123829"/>
                          <a:gd name="connsiteX1" fmla="*/ 24765 w 104775"/>
                          <a:gd name="connsiteY1" fmla="*/ 106684 h 123829"/>
                          <a:gd name="connsiteX2" fmla="*/ 28575 w 104775"/>
                          <a:gd name="connsiteY2" fmla="*/ 112399 h 123829"/>
                          <a:gd name="connsiteX3" fmla="*/ 32385 w 104775"/>
                          <a:gd name="connsiteY3" fmla="*/ 123829 h 123829"/>
                          <a:gd name="connsiteX4" fmla="*/ 81915 w 104775"/>
                          <a:gd name="connsiteY4" fmla="*/ 121924 h 123829"/>
                          <a:gd name="connsiteX5" fmla="*/ 87630 w 104775"/>
                          <a:gd name="connsiteY5" fmla="*/ 120019 h 123829"/>
                          <a:gd name="connsiteX6" fmla="*/ 89535 w 104775"/>
                          <a:gd name="connsiteY6" fmla="*/ 114304 h 123829"/>
                          <a:gd name="connsiteX7" fmla="*/ 93345 w 104775"/>
                          <a:gd name="connsiteY7" fmla="*/ 108589 h 123829"/>
                          <a:gd name="connsiteX8" fmla="*/ 95250 w 104775"/>
                          <a:gd name="connsiteY8" fmla="*/ 95254 h 123829"/>
                          <a:gd name="connsiteX9" fmla="*/ 100965 w 104775"/>
                          <a:gd name="connsiteY9" fmla="*/ 91444 h 123829"/>
                          <a:gd name="connsiteX10" fmla="*/ 104775 w 104775"/>
                          <a:gd name="connsiteY10" fmla="*/ 80014 h 123829"/>
                          <a:gd name="connsiteX11" fmla="*/ 100965 w 104775"/>
                          <a:gd name="connsiteY11" fmla="*/ 53344 h 123829"/>
                          <a:gd name="connsiteX12" fmla="*/ 99060 w 104775"/>
                          <a:gd name="connsiteY12" fmla="*/ 45724 h 123829"/>
                          <a:gd name="connsiteX13" fmla="*/ 95250 w 104775"/>
                          <a:gd name="connsiteY13" fmla="*/ 40009 h 123829"/>
                          <a:gd name="connsiteX14" fmla="*/ 91440 w 104775"/>
                          <a:gd name="connsiteY14" fmla="*/ 28579 h 123829"/>
                          <a:gd name="connsiteX15" fmla="*/ 70485 w 104775"/>
                          <a:gd name="connsiteY15" fmla="*/ 4 h 123829"/>
                          <a:gd name="connsiteX16" fmla="*/ 41910 w 104775"/>
                          <a:gd name="connsiteY16" fmla="*/ 26674 h 123829"/>
                          <a:gd name="connsiteX17" fmla="*/ 40005 w 104775"/>
                          <a:gd name="connsiteY17" fmla="*/ 40009 h 123829"/>
                          <a:gd name="connsiteX18" fmla="*/ 3810 w 104775"/>
                          <a:gd name="connsiteY18" fmla="*/ 47629 h 123829"/>
                          <a:gd name="connsiteX19" fmla="*/ 1905 w 104775"/>
                          <a:gd name="connsiteY19" fmla="*/ 55249 h 123829"/>
                          <a:gd name="connsiteX20" fmla="*/ 0 w 104775"/>
                          <a:gd name="connsiteY20" fmla="*/ 60964 h 123829"/>
                          <a:gd name="connsiteX21" fmla="*/ 5715 w 104775"/>
                          <a:gd name="connsiteY21" fmla="*/ 74299 h 123829"/>
                          <a:gd name="connsiteX22" fmla="*/ 5715 w 104775"/>
                          <a:gd name="connsiteY22" fmla="*/ 78109 h 123829"/>
                          <a:gd name="connsiteX23" fmla="*/ 17145 w 104775"/>
                          <a:gd name="connsiteY23" fmla="*/ 106684 h 123829"/>
                          <a:gd name="connsiteX0" fmla="*/ 19050 w 104775"/>
                          <a:gd name="connsiteY0" fmla="*/ 77050 h 98005"/>
                          <a:gd name="connsiteX1" fmla="*/ 24765 w 104775"/>
                          <a:gd name="connsiteY1" fmla="*/ 80860 h 98005"/>
                          <a:gd name="connsiteX2" fmla="*/ 28575 w 104775"/>
                          <a:gd name="connsiteY2" fmla="*/ 86575 h 98005"/>
                          <a:gd name="connsiteX3" fmla="*/ 32385 w 104775"/>
                          <a:gd name="connsiteY3" fmla="*/ 98005 h 98005"/>
                          <a:gd name="connsiteX4" fmla="*/ 81915 w 104775"/>
                          <a:gd name="connsiteY4" fmla="*/ 96100 h 98005"/>
                          <a:gd name="connsiteX5" fmla="*/ 87630 w 104775"/>
                          <a:gd name="connsiteY5" fmla="*/ 94195 h 98005"/>
                          <a:gd name="connsiteX6" fmla="*/ 89535 w 104775"/>
                          <a:gd name="connsiteY6" fmla="*/ 88480 h 98005"/>
                          <a:gd name="connsiteX7" fmla="*/ 93345 w 104775"/>
                          <a:gd name="connsiteY7" fmla="*/ 82765 h 98005"/>
                          <a:gd name="connsiteX8" fmla="*/ 95250 w 104775"/>
                          <a:gd name="connsiteY8" fmla="*/ 69430 h 98005"/>
                          <a:gd name="connsiteX9" fmla="*/ 100965 w 104775"/>
                          <a:gd name="connsiteY9" fmla="*/ 65620 h 98005"/>
                          <a:gd name="connsiteX10" fmla="*/ 104775 w 104775"/>
                          <a:gd name="connsiteY10" fmla="*/ 54190 h 98005"/>
                          <a:gd name="connsiteX11" fmla="*/ 100965 w 104775"/>
                          <a:gd name="connsiteY11" fmla="*/ 27520 h 98005"/>
                          <a:gd name="connsiteX12" fmla="*/ 99060 w 104775"/>
                          <a:gd name="connsiteY12" fmla="*/ 19900 h 98005"/>
                          <a:gd name="connsiteX13" fmla="*/ 95250 w 104775"/>
                          <a:gd name="connsiteY13" fmla="*/ 14185 h 98005"/>
                          <a:gd name="connsiteX14" fmla="*/ 91440 w 104775"/>
                          <a:gd name="connsiteY14" fmla="*/ 2755 h 98005"/>
                          <a:gd name="connsiteX15" fmla="*/ 41910 w 104775"/>
                          <a:gd name="connsiteY15" fmla="*/ 850 h 98005"/>
                          <a:gd name="connsiteX16" fmla="*/ 40005 w 104775"/>
                          <a:gd name="connsiteY16" fmla="*/ 14185 h 98005"/>
                          <a:gd name="connsiteX17" fmla="*/ 3810 w 104775"/>
                          <a:gd name="connsiteY17" fmla="*/ 21805 h 98005"/>
                          <a:gd name="connsiteX18" fmla="*/ 1905 w 104775"/>
                          <a:gd name="connsiteY18" fmla="*/ 29425 h 98005"/>
                          <a:gd name="connsiteX19" fmla="*/ 0 w 104775"/>
                          <a:gd name="connsiteY19" fmla="*/ 35140 h 98005"/>
                          <a:gd name="connsiteX20" fmla="*/ 5715 w 104775"/>
                          <a:gd name="connsiteY20" fmla="*/ 48475 h 98005"/>
                          <a:gd name="connsiteX21" fmla="*/ 5715 w 104775"/>
                          <a:gd name="connsiteY21" fmla="*/ 52285 h 98005"/>
                          <a:gd name="connsiteX22" fmla="*/ 17145 w 104775"/>
                          <a:gd name="connsiteY22" fmla="*/ 80860 h 98005"/>
                          <a:gd name="connsiteX0" fmla="*/ 19050 w 104775"/>
                          <a:gd name="connsiteY0" fmla="*/ 76200 h 97155"/>
                          <a:gd name="connsiteX1" fmla="*/ 24765 w 104775"/>
                          <a:gd name="connsiteY1" fmla="*/ 80010 h 97155"/>
                          <a:gd name="connsiteX2" fmla="*/ 28575 w 104775"/>
                          <a:gd name="connsiteY2" fmla="*/ 85725 h 97155"/>
                          <a:gd name="connsiteX3" fmla="*/ 32385 w 104775"/>
                          <a:gd name="connsiteY3" fmla="*/ 97155 h 97155"/>
                          <a:gd name="connsiteX4" fmla="*/ 81915 w 104775"/>
                          <a:gd name="connsiteY4" fmla="*/ 95250 h 97155"/>
                          <a:gd name="connsiteX5" fmla="*/ 87630 w 104775"/>
                          <a:gd name="connsiteY5" fmla="*/ 93345 h 97155"/>
                          <a:gd name="connsiteX6" fmla="*/ 89535 w 104775"/>
                          <a:gd name="connsiteY6" fmla="*/ 87630 h 97155"/>
                          <a:gd name="connsiteX7" fmla="*/ 93345 w 104775"/>
                          <a:gd name="connsiteY7" fmla="*/ 81915 h 97155"/>
                          <a:gd name="connsiteX8" fmla="*/ 95250 w 104775"/>
                          <a:gd name="connsiteY8" fmla="*/ 68580 h 97155"/>
                          <a:gd name="connsiteX9" fmla="*/ 100965 w 104775"/>
                          <a:gd name="connsiteY9" fmla="*/ 64770 h 97155"/>
                          <a:gd name="connsiteX10" fmla="*/ 104775 w 104775"/>
                          <a:gd name="connsiteY10" fmla="*/ 53340 h 97155"/>
                          <a:gd name="connsiteX11" fmla="*/ 100965 w 104775"/>
                          <a:gd name="connsiteY11" fmla="*/ 26670 h 97155"/>
                          <a:gd name="connsiteX12" fmla="*/ 99060 w 104775"/>
                          <a:gd name="connsiteY12" fmla="*/ 19050 h 97155"/>
                          <a:gd name="connsiteX13" fmla="*/ 95250 w 104775"/>
                          <a:gd name="connsiteY13" fmla="*/ 13335 h 97155"/>
                          <a:gd name="connsiteX14" fmla="*/ 41910 w 104775"/>
                          <a:gd name="connsiteY14" fmla="*/ 0 h 97155"/>
                          <a:gd name="connsiteX15" fmla="*/ 40005 w 104775"/>
                          <a:gd name="connsiteY15" fmla="*/ 13335 h 97155"/>
                          <a:gd name="connsiteX16" fmla="*/ 3810 w 104775"/>
                          <a:gd name="connsiteY16" fmla="*/ 20955 h 97155"/>
                          <a:gd name="connsiteX17" fmla="*/ 1905 w 104775"/>
                          <a:gd name="connsiteY17" fmla="*/ 28575 h 97155"/>
                          <a:gd name="connsiteX18" fmla="*/ 0 w 104775"/>
                          <a:gd name="connsiteY18" fmla="*/ 34290 h 97155"/>
                          <a:gd name="connsiteX19" fmla="*/ 5715 w 104775"/>
                          <a:gd name="connsiteY19" fmla="*/ 47625 h 97155"/>
                          <a:gd name="connsiteX20" fmla="*/ 5715 w 104775"/>
                          <a:gd name="connsiteY20" fmla="*/ 51435 h 97155"/>
                          <a:gd name="connsiteX21" fmla="*/ 17145 w 104775"/>
                          <a:gd name="connsiteY21" fmla="*/ 80010 h 97155"/>
                          <a:gd name="connsiteX0" fmla="*/ 19050 w 104775"/>
                          <a:gd name="connsiteY0" fmla="*/ 76298 h 97253"/>
                          <a:gd name="connsiteX1" fmla="*/ 24765 w 104775"/>
                          <a:gd name="connsiteY1" fmla="*/ 80108 h 97253"/>
                          <a:gd name="connsiteX2" fmla="*/ 28575 w 104775"/>
                          <a:gd name="connsiteY2" fmla="*/ 85823 h 97253"/>
                          <a:gd name="connsiteX3" fmla="*/ 32385 w 104775"/>
                          <a:gd name="connsiteY3" fmla="*/ 97253 h 97253"/>
                          <a:gd name="connsiteX4" fmla="*/ 81915 w 104775"/>
                          <a:gd name="connsiteY4" fmla="*/ 95348 h 97253"/>
                          <a:gd name="connsiteX5" fmla="*/ 87630 w 104775"/>
                          <a:gd name="connsiteY5" fmla="*/ 93443 h 97253"/>
                          <a:gd name="connsiteX6" fmla="*/ 89535 w 104775"/>
                          <a:gd name="connsiteY6" fmla="*/ 87728 h 97253"/>
                          <a:gd name="connsiteX7" fmla="*/ 93345 w 104775"/>
                          <a:gd name="connsiteY7" fmla="*/ 82013 h 97253"/>
                          <a:gd name="connsiteX8" fmla="*/ 95250 w 104775"/>
                          <a:gd name="connsiteY8" fmla="*/ 68678 h 97253"/>
                          <a:gd name="connsiteX9" fmla="*/ 100965 w 104775"/>
                          <a:gd name="connsiteY9" fmla="*/ 64868 h 97253"/>
                          <a:gd name="connsiteX10" fmla="*/ 104775 w 104775"/>
                          <a:gd name="connsiteY10" fmla="*/ 53438 h 97253"/>
                          <a:gd name="connsiteX11" fmla="*/ 100965 w 104775"/>
                          <a:gd name="connsiteY11" fmla="*/ 26768 h 97253"/>
                          <a:gd name="connsiteX12" fmla="*/ 99060 w 104775"/>
                          <a:gd name="connsiteY12" fmla="*/ 19148 h 97253"/>
                          <a:gd name="connsiteX13" fmla="*/ 95250 w 104775"/>
                          <a:gd name="connsiteY13" fmla="*/ 13433 h 97253"/>
                          <a:gd name="connsiteX14" fmla="*/ 41910 w 104775"/>
                          <a:gd name="connsiteY14" fmla="*/ 98 h 97253"/>
                          <a:gd name="connsiteX15" fmla="*/ 3810 w 104775"/>
                          <a:gd name="connsiteY15" fmla="*/ 21053 h 97253"/>
                          <a:gd name="connsiteX16" fmla="*/ 1905 w 104775"/>
                          <a:gd name="connsiteY16" fmla="*/ 28673 h 97253"/>
                          <a:gd name="connsiteX17" fmla="*/ 0 w 104775"/>
                          <a:gd name="connsiteY17" fmla="*/ 34388 h 97253"/>
                          <a:gd name="connsiteX18" fmla="*/ 5715 w 104775"/>
                          <a:gd name="connsiteY18" fmla="*/ 47723 h 97253"/>
                          <a:gd name="connsiteX19" fmla="*/ 5715 w 104775"/>
                          <a:gd name="connsiteY19" fmla="*/ 51533 h 97253"/>
                          <a:gd name="connsiteX20" fmla="*/ 17145 w 104775"/>
                          <a:gd name="connsiteY20" fmla="*/ 80108 h 97253"/>
                          <a:gd name="connsiteX0" fmla="*/ 19050 w 104775"/>
                          <a:gd name="connsiteY0" fmla="*/ 76205 h 97160"/>
                          <a:gd name="connsiteX1" fmla="*/ 24765 w 104775"/>
                          <a:gd name="connsiteY1" fmla="*/ 80015 h 97160"/>
                          <a:gd name="connsiteX2" fmla="*/ 28575 w 104775"/>
                          <a:gd name="connsiteY2" fmla="*/ 85730 h 97160"/>
                          <a:gd name="connsiteX3" fmla="*/ 32385 w 104775"/>
                          <a:gd name="connsiteY3" fmla="*/ 97160 h 97160"/>
                          <a:gd name="connsiteX4" fmla="*/ 81915 w 104775"/>
                          <a:gd name="connsiteY4" fmla="*/ 95255 h 97160"/>
                          <a:gd name="connsiteX5" fmla="*/ 87630 w 104775"/>
                          <a:gd name="connsiteY5" fmla="*/ 93350 h 97160"/>
                          <a:gd name="connsiteX6" fmla="*/ 89535 w 104775"/>
                          <a:gd name="connsiteY6" fmla="*/ 87635 h 97160"/>
                          <a:gd name="connsiteX7" fmla="*/ 93345 w 104775"/>
                          <a:gd name="connsiteY7" fmla="*/ 81920 h 97160"/>
                          <a:gd name="connsiteX8" fmla="*/ 95250 w 104775"/>
                          <a:gd name="connsiteY8" fmla="*/ 68585 h 97160"/>
                          <a:gd name="connsiteX9" fmla="*/ 100965 w 104775"/>
                          <a:gd name="connsiteY9" fmla="*/ 64775 h 97160"/>
                          <a:gd name="connsiteX10" fmla="*/ 104775 w 104775"/>
                          <a:gd name="connsiteY10" fmla="*/ 53345 h 97160"/>
                          <a:gd name="connsiteX11" fmla="*/ 100965 w 104775"/>
                          <a:gd name="connsiteY11" fmla="*/ 26675 h 97160"/>
                          <a:gd name="connsiteX12" fmla="*/ 99060 w 104775"/>
                          <a:gd name="connsiteY12" fmla="*/ 19055 h 97160"/>
                          <a:gd name="connsiteX13" fmla="*/ 41910 w 104775"/>
                          <a:gd name="connsiteY13" fmla="*/ 5 h 97160"/>
                          <a:gd name="connsiteX14" fmla="*/ 3810 w 104775"/>
                          <a:gd name="connsiteY14" fmla="*/ 20960 h 97160"/>
                          <a:gd name="connsiteX15" fmla="*/ 1905 w 104775"/>
                          <a:gd name="connsiteY15" fmla="*/ 28580 h 97160"/>
                          <a:gd name="connsiteX16" fmla="*/ 0 w 104775"/>
                          <a:gd name="connsiteY16" fmla="*/ 34295 h 97160"/>
                          <a:gd name="connsiteX17" fmla="*/ 5715 w 104775"/>
                          <a:gd name="connsiteY17" fmla="*/ 47630 h 97160"/>
                          <a:gd name="connsiteX18" fmla="*/ 5715 w 104775"/>
                          <a:gd name="connsiteY18" fmla="*/ 51440 h 97160"/>
                          <a:gd name="connsiteX19" fmla="*/ 17145 w 104775"/>
                          <a:gd name="connsiteY19" fmla="*/ 80015 h 97160"/>
                          <a:gd name="connsiteX0" fmla="*/ 19050 w 105971"/>
                          <a:gd name="connsiteY0" fmla="*/ 76238 h 97193"/>
                          <a:gd name="connsiteX1" fmla="*/ 24765 w 105971"/>
                          <a:gd name="connsiteY1" fmla="*/ 80048 h 97193"/>
                          <a:gd name="connsiteX2" fmla="*/ 28575 w 105971"/>
                          <a:gd name="connsiteY2" fmla="*/ 85763 h 97193"/>
                          <a:gd name="connsiteX3" fmla="*/ 32385 w 105971"/>
                          <a:gd name="connsiteY3" fmla="*/ 97193 h 97193"/>
                          <a:gd name="connsiteX4" fmla="*/ 81915 w 105971"/>
                          <a:gd name="connsiteY4" fmla="*/ 95288 h 97193"/>
                          <a:gd name="connsiteX5" fmla="*/ 87630 w 105971"/>
                          <a:gd name="connsiteY5" fmla="*/ 93383 h 97193"/>
                          <a:gd name="connsiteX6" fmla="*/ 89535 w 105971"/>
                          <a:gd name="connsiteY6" fmla="*/ 87668 h 97193"/>
                          <a:gd name="connsiteX7" fmla="*/ 93345 w 105971"/>
                          <a:gd name="connsiteY7" fmla="*/ 81953 h 97193"/>
                          <a:gd name="connsiteX8" fmla="*/ 95250 w 105971"/>
                          <a:gd name="connsiteY8" fmla="*/ 68618 h 97193"/>
                          <a:gd name="connsiteX9" fmla="*/ 100965 w 105971"/>
                          <a:gd name="connsiteY9" fmla="*/ 64808 h 97193"/>
                          <a:gd name="connsiteX10" fmla="*/ 104775 w 105971"/>
                          <a:gd name="connsiteY10" fmla="*/ 53378 h 97193"/>
                          <a:gd name="connsiteX11" fmla="*/ 100965 w 105971"/>
                          <a:gd name="connsiteY11" fmla="*/ 26708 h 97193"/>
                          <a:gd name="connsiteX12" fmla="*/ 41910 w 105971"/>
                          <a:gd name="connsiteY12" fmla="*/ 38 h 97193"/>
                          <a:gd name="connsiteX13" fmla="*/ 3810 w 105971"/>
                          <a:gd name="connsiteY13" fmla="*/ 20993 h 97193"/>
                          <a:gd name="connsiteX14" fmla="*/ 1905 w 105971"/>
                          <a:gd name="connsiteY14" fmla="*/ 28613 h 97193"/>
                          <a:gd name="connsiteX15" fmla="*/ 0 w 105971"/>
                          <a:gd name="connsiteY15" fmla="*/ 34328 h 97193"/>
                          <a:gd name="connsiteX16" fmla="*/ 5715 w 105971"/>
                          <a:gd name="connsiteY16" fmla="*/ 47663 h 97193"/>
                          <a:gd name="connsiteX17" fmla="*/ 5715 w 105971"/>
                          <a:gd name="connsiteY17" fmla="*/ 51473 h 97193"/>
                          <a:gd name="connsiteX18" fmla="*/ 17145 w 105971"/>
                          <a:gd name="connsiteY18" fmla="*/ 80048 h 97193"/>
                          <a:gd name="connsiteX0" fmla="*/ 19050 w 106250"/>
                          <a:gd name="connsiteY0" fmla="*/ 64875 h 85830"/>
                          <a:gd name="connsiteX1" fmla="*/ 24765 w 106250"/>
                          <a:gd name="connsiteY1" fmla="*/ 68685 h 85830"/>
                          <a:gd name="connsiteX2" fmla="*/ 28575 w 106250"/>
                          <a:gd name="connsiteY2" fmla="*/ 74400 h 85830"/>
                          <a:gd name="connsiteX3" fmla="*/ 32385 w 106250"/>
                          <a:gd name="connsiteY3" fmla="*/ 85830 h 85830"/>
                          <a:gd name="connsiteX4" fmla="*/ 81915 w 106250"/>
                          <a:gd name="connsiteY4" fmla="*/ 83925 h 85830"/>
                          <a:gd name="connsiteX5" fmla="*/ 87630 w 106250"/>
                          <a:gd name="connsiteY5" fmla="*/ 82020 h 85830"/>
                          <a:gd name="connsiteX6" fmla="*/ 89535 w 106250"/>
                          <a:gd name="connsiteY6" fmla="*/ 76305 h 85830"/>
                          <a:gd name="connsiteX7" fmla="*/ 93345 w 106250"/>
                          <a:gd name="connsiteY7" fmla="*/ 70590 h 85830"/>
                          <a:gd name="connsiteX8" fmla="*/ 95250 w 106250"/>
                          <a:gd name="connsiteY8" fmla="*/ 57255 h 85830"/>
                          <a:gd name="connsiteX9" fmla="*/ 100965 w 106250"/>
                          <a:gd name="connsiteY9" fmla="*/ 53445 h 85830"/>
                          <a:gd name="connsiteX10" fmla="*/ 104775 w 106250"/>
                          <a:gd name="connsiteY10" fmla="*/ 42015 h 85830"/>
                          <a:gd name="connsiteX11" fmla="*/ 100965 w 106250"/>
                          <a:gd name="connsiteY11" fmla="*/ 15345 h 85830"/>
                          <a:gd name="connsiteX12" fmla="*/ 38100 w 106250"/>
                          <a:gd name="connsiteY12" fmla="*/ 105 h 85830"/>
                          <a:gd name="connsiteX13" fmla="*/ 3810 w 106250"/>
                          <a:gd name="connsiteY13" fmla="*/ 9630 h 85830"/>
                          <a:gd name="connsiteX14" fmla="*/ 1905 w 106250"/>
                          <a:gd name="connsiteY14" fmla="*/ 17250 h 85830"/>
                          <a:gd name="connsiteX15" fmla="*/ 0 w 106250"/>
                          <a:gd name="connsiteY15" fmla="*/ 22965 h 85830"/>
                          <a:gd name="connsiteX16" fmla="*/ 5715 w 106250"/>
                          <a:gd name="connsiteY16" fmla="*/ 36300 h 85830"/>
                          <a:gd name="connsiteX17" fmla="*/ 5715 w 106250"/>
                          <a:gd name="connsiteY17" fmla="*/ 40110 h 85830"/>
                          <a:gd name="connsiteX18" fmla="*/ 17145 w 106250"/>
                          <a:gd name="connsiteY18" fmla="*/ 68685 h 8583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</a:cxnLst>
                        <a:rect l="l" t="t" r="r" b="b"/>
                        <a:pathLst>
                          <a:path w="106250" h="85830">
                            <a:moveTo>
                              <a:pt x="19050" y="64875"/>
                            </a:moveTo>
                            <a:cubicBezTo>
                              <a:pt x="19050" y="69955"/>
                              <a:pt x="22860" y="67415"/>
                              <a:pt x="24765" y="68685"/>
                            </a:cubicBezTo>
                            <a:cubicBezTo>
                              <a:pt x="26035" y="70590"/>
                              <a:pt x="27645" y="72308"/>
                              <a:pt x="28575" y="74400"/>
                            </a:cubicBezTo>
                            <a:cubicBezTo>
                              <a:pt x="30206" y="78070"/>
                              <a:pt x="32385" y="85830"/>
                              <a:pt x="32385" y="85830"/>
                            </a:cubicBezTo>
                            <a:cubicBezTo>
                              <a:pt x="48895" y="85195"/>
                              <a:pt x="65432" y="85062"/>
                              <a:pt x="81915" y="83925"/>
                            </a:cubicBezTo>
                            <a:cubicBezTo>
                              <a:pt x="83918" y="83787"/>
                              <a:pt x="86210" y="83440"/>
                              <a:pt x="87630" y="82020"/>
                            </a:cubicBezTo>
                            <a:cubicBezTo>
                              <a:pt x="89050" y="80600"/>
                              <a:pt x="88637" y="78101"/>
                              <a:pt x="89535" y="76305"/>
                            </a:cubicBezTo>
                            <a:cubicBezTo>
                              <a:pt x="90559" y="74257"/>
                              <a:pt x="92075" y="72495"/>
                              <a:pt x="93345" y="70590"/>
                            </a:cubicBezTo>
                            <a:cubicBezTo>
                              <a:pt x="93980" y="66145"/>
                              <a:pt x="93426" y="61358"/>
                              <a:pt x="95250" y="57255"/>
                            </a:cubicBezTo>
                            <a:cubicBezTo>
                              <a:pt x="96180" y="55163"/>
                              <a:pt x="99752" y="55387"/>
                              <a:pt x="100965" y="53445"/>
                            </a:cubicBezTo>
                            <a:cubicBezTo>
                              <a:pt x="103094" y="50039"/>
                              <a:pt x="104775" y="42015"/>
                              <a:pt x="104775" y="42015"/>
                            </a:cubicBezTo>
                            <a:cubicBezTo>
                              <a:pt x="101728" y="8500"/>
                              <a:pt x="112077" y="22330"/>
                              <a:pt x="100965" y="15345"/>
                            </a:cubicBezTo>
                            <a:cubicBezTo>
                              <a:pt x="89853" y="8360"/>
                              <a:pt x="54292" y="1057"/>
                              <a:pt x="38100" y="105"/>
                            </a:cubicBezTo>
                            <a:cubicBezTo>
                              <a:pt x="21908" y="-847"/>
                              <a:pt x="10477" y="4868"/>
                              <a:pt x="3810" y="9630"/>
                            </a:cubicBezTo>
                            <a:cubicBezTo>
                              <a:pt x="3175" y="12170"/>
                              <a:pt x="2624" y="14733"/>
                              <a:pt x="1905" y="17250"/>
                            </a:cubicBezTo>
                            <a:cubicBezTo>
                              <a:pt x="1353" y="19181"/>
                              <a:pt x="0" y="20957"/>
                              <a:pt x="0" y="22965"/>
                            </a:cubicBezTo>
                            <a:cubicBezTo>
                              <a:pt x="0" y="32673"/>
                              <a:pt x="2604" y="28523"/>
                              <a:pt x="5715" y="36300"/>
                            </a:cubicBezTo>
                            <a:cubicBezTo>
                              <a:pt x="6187" y="37479"/>
                              <a:pt x="3810" y="34713"/>
                              <a:pt x="5715" y="40110"/>
                            </a:cubicBezTo>
                            <a:cubicBezTo>
                              <a:pt x="7620" y="45507"/>
                              <a:pt x="13335" y="59160"/>
                              <a:pt x="17145" y="68685"/>
                            </a:cubicBezTo>
                          </a:path>
                        </a:pathLst>
                      </a:custGeom>
                      <a:solidFill>
                        <a:srgbClr val="0D3759"/>
                      </a:solidFill>
                      <a:ln w="3175" cap="flat" cmpd="sng" algn="ctr">
                        <a:solidFill>
                          <a:srgbClr val="F2E8F8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72" name="Rectangle: Rounded Corners 57">
                        <a:extLst>
                          <a:ext uri="{FF2B5EF4-FFF2-40B4-BE49-F238E27FC236}">
                            <a16:creationId xmlns:a16="http://schemas.microsoft.com/office/drawing/2014/main" id="{396E5BAC-FDE9-DE41-F8BC-DDC7619F45F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886901" y="4403741"/>
                        <a:ext cx="27432" cy="18288"/>
                      </a:xfrm>
                      <a:prstGeom prst="roundRect">
                        <a:avLst/>
                      </a:prstGeom>
                      <a:solidFill>
                        <a:srgbClr val="0D3759"/>
                      </a:solidFill>
                      <a:ln w="3175" cap="flat" cmpd="sng" algn="ctr">
                        <a:solidFill>
                          <a:srgbClr val="F2E8F8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73" name="Rectangle: Rounded Corners 58">
                        <a:extLst>
                          <a:ext uri="{FF2B5EF4-FFF2-40B4-BE49-F238E27FC236}">
                            <a16:creationId xmlns:a16="http://schemas.microsoft.com/office/drawing/2014/main" id="{52FDAC75-9FF8-B465-CCC2-B8ABAF815F5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858174" y="4291371"/>
                        <a:ext cx="27432" cy="18288"/>
                      </a:xfrm>
                      <a:prstGeom prst="roundRect">
                        <a:avLst/>
                      </a:prstGeom>
                      <a:grpFill/>
                      <a:ln w="3175" cap="flat" cmpd="sng" algn="ctr">
                        <a:solidFill>
                          <a:srgbClr val="F2E8F8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74" name="Rectangle: Rounded Corners 59">
                        <a:extLst>
                          <a:ext uri="{FF2B5EF4-FFF2-40B4-BE49-F238E27FC236}">
                            <a16:creationId xmlns:a16="http://schemas.microsoft.com/office/drawing/2014/main" id="{C0400BC4-5BD8-83BB-A627-80A518B8A9B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770428" y="4196137"/>
                        <a:ext cx="27432" cy="18288"/>
                      </a:xfrm>
                      <a:prstGeom prst="roundRect">
                        <a:avLst/>
                      </a:prstGeom>
                      <a:grpFill/>
                      <a:ln w="3175" cap="flat" cmpd="sng" algn="ctr">
                        <a:solidFill>
                          <a:srgbClr val="F2E8F8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75" name="Rectangle: Rounded Corners 60">
                        <a:extLst>
                          <a:ext uri="{FF2B5EF4-FFF2-40B4-BE49-F238E27FC236}">
                            <a16:creationId xmlns:a16="http://schemas.microsoft.com/office/drawing/2014/main" id="{AC62BDBB-791D-F79F-F206-A49AEC72E2C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050643" y="4293981"/>
                        <a:ext cx="27432" cy="18288"/>
                      </a:xfrm>
                      <a:prstGeom prst="roundRect">
                        <a:avLst/>
                      </a:prstGeom>
                      <a:solidFill>
                        <a:srgbClr val="0D3759"/>
                      </a:solidFill>
                      <a:ln w="3175" cap="flat" cmpd="sng" algn="ctr">
                        <a:solidFill>
                          <a:srgbClr val="F2E8F8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76" name="Rectangle: Rounded Corners 61">
                        <a:extLst>
                          <a:ext uri="{FF2B5EF4-FFF2-40B4-BE49-F238E27FC236}">
                            <a16:creationId xmlns:a16="http://schemas.microsoft.com/office/drawing/2014/main" id="{8E92F5BB-E7AF-0572-B7BE-78F8B5B766A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817085" y="4394597"/>
                        <a:ext cx="27432" cy="18288"/>
                      </a:xfrm>
                      <a:prstGeom prst="roundRect">
                        <a:avLst/>
                      </a:prstGeom>
                      <a:solidFill>
                        <a:srgbClr val="0D3759"/>
                      </a:solidFill>
                      <a:ln w="3175" cap="flat" cmpd="sng" algn="ctr">
                        <a:solidFill>
                          <a:srgbClr val="F2E8F8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</p:grpSp>
                <p:grpSp>
                  <p:nvGrpSpPr>
                    <p:cNvPr id="1027" name="Group 1026">
                      <a:extLst>
                        <a:ext uri="{FF2B5EF4-FFF2-40B4-BE49-F238E27FC236}">
                          <a16:creationId xmlns:a16="http://schemas.microsoft.com/office/drawing/2014/main" id="{0C60FC26-6759-8D6D-C83C-AF3DB6DDAE4F}"/>
                        </a:ext>
                      </a:extLst>
                    </p:cNvPr>
                    <p:cNvGrpSpPr/>
                    <p:nvPr/>
                  </p:nvGrpSpPr>
                  <p:grpSpPr>
                    <a:xfrm rot="21021678">
                      <a:off x="10617982" y="3344101"/>
                      <a:ext cx="181884" cy="159618"/>
                      <a:chOff x="8770428" y="4145965"/>
                      <a:chExt cx="307647" cy="276064"/>
                    </a:xfrm>
                    <a:solidFill>
                      <a:srgbClr val="824A78"/>
                    </a:solidFill>
                  </p:grpSpPr>
                  <p:sp>
                    <p:nvSpPr>
                      <p:cNvPr id="1046" name="Freeform: Shape 31">
                        <a:extLst>
                          <a:ext uri="{FF2B5EF4-FFF2-40B4-BE49-F238E27FC236}">
                            <a16:creationId xmlns:a16="http://schemas.microsoft.com/office/drawing/2014/main" id="{2A9F72D2-8E63-BE33-ABD8-DFD6303136F7}"/>
                          </a:ext>
                        </a:extLst>
                      </p:cNvPr>
                      <p:cNvSpPr/>
                      <p:nvPr/>
                    </p:nvSpPr>
                    <p:spPr>
                      <a:xfrm rot="5813516">
                        <a:off x="8823930" y="4215604"/>
                        <a:ext cx="27432" cy="27432"/>
                      </a:xfrm>
                      <a:custGeom>
                        <a:avLst/>
                        <a:gdLst>
                          <a:gd name="connsiteX0" fmla="*/ 32385 w 80010"/>
                          <a:gd name="connsiteY0" fmla="*/ 8118 h 64150"/>
                          <a:gd name="connsiteX1" fmla="*/ 32385 w 80010"/>
                          <a:gd name="connsiteY1" fmla="*/ 8118 h 64150"/>
                          <a:gd name="connsiteX2" fmla="*/ 3810 w 80010"/>
                          <a:gd name="connsiteY2" fmla="*/ 10023 h 64150"/>
                          <a:gd name="connsiteX3" fmla="*/ 0 w 80010"/>
                          <a:gd name="connsiteY3" fmla="*/ 21453 h 64150"/>
                          <a:gd name="connsiteX4" fmla="*/ 7620 w 80010"/>
                          <a:gd name="connsiteY4" fmla="*/ 42408 h 64150"/>
                          <a:gd name="connsiteX5" fmla="*/ 13335 w 80010"/>
                          <a:gd name="connsiteY5" fmla="*/ 46218 h 64150"/>
                          <a:gd name="connsiteX6" fmla="*/ 19050 w 80010"/>
                          <a:gd name="connsiteY6" fmla="*/ 51933 h 64150"/>
                          <a:gd name="connsiteX7" fmla="*/ 68580 w 80010"/>
                          <a:gd name="connsiteY7" fmla="*/ 55743 h 64150"/>
                          <a:gd name="connsiteX8" fmla="*/ 72390 w 80010"/>
                          <a:gd name="connsiteY8" fmla="*/ 50028 h 64150"/>
                          <a:gd name="connsiteX9" fmla="*/ 78105 w 80010"/>
                          <a:gd name="connsiteY9" fmla="*/ 44313 h 64150"/>
                          <a:gd name="connsiteX10" fmla="*/ 80010 w 80010"/>
                          <a:gd name="connsiteY10" fmla="*/ 38598 h 64150"/>
                          <a:gd name="connsiteX11" fmla="*/ 78105 w 80010"/>
                          <a:gd name="connsiteY11" fmla="*/ 27168 h 64150"/>
                          <a:gd name="connsiteX12" fmla="*/ 60960 w 80010"/>
                          <a:gd name="connsiteY12" fmla="*/ 21453 h 64150"/>
                          <a:gd name="connsiteX13" fmla="*/ 53340 w 80010"/>
                          <a:gd name="connsiteY13" fmla="*/ 23358 h 64150"/>
                          <a:gd name="connsiteX14" fmla="*/ 57150 w 80010"/>
                          <a:gd name="connsiteY14" fmla="*/ 11928 h 64150"/>
                          <a:gd name="connsiteX15" fmla="*/ 59055 w 80010"/>
                          <a:gd name="connsiteY15" fmla="*/ 6213 h 64150"/>
                          <a:gd name="connsiteX16" fmla="*/ 34290 w 80010"/>
                          <a:gd name="connsiteY16" fmla="*/ 498 h 64150"/>
                          <a:gd name="connsiteX17" fmla="*/ 32385 w 80010"/>
                          <a:gd name="connsiteY17" fmla="*/ 8118 h 64150"/>
                          <a:gd name="connsiteX0" fmla="*/ 32385 w 80010"/>
                          <a:gd name="connsiteY0" fmla="*/ 8118 h 64150"/>
                          <a:gd name="connsiteX1" fmla="*/ 32385 w 80010"/>
                          <a:gd name="connsiteY1" fmla="*/ 8118 h 64150"/>
                          <a:gd name="connsiteX2" fmla="*/ 3810 w 80010"/>
                          <a:gd name="connsiteY2" fmla="*/ 10023 h 64150"/>
                          <a:gd name="connsiteX3" fmla="*/ 0 w 80010"/>
                          <a:gd name="connsiteY3" fmla="*/ 21453 h 64150"/>
                          <a:gd name="connsiteX4" fmla="*/ 7620 w 80010"/>
                          <a:gd name="connsiteY4" fmla="*/ 42408 h 64150"/>
                          <a:gd name="connsiteX5" fmla="*/ 13335 w 80010"/>
                          <a:gd name="connsiteY5" fmla="*/ 46218 h 64150"/>
                          <a:gd name="connsiteX6" fmla="*/ 19050 w 80010"/>
                          <a:gd name="connsiteY6" fmla="*/ 51933 h 64150"/>
                          <a:gd name="connsiteX7" fmla="*/ 68580 w 80010"/>
                          <a:gd name="connsiteY7" fmla="*/ 55743 h 64150"/>
                          <a:gd name="connsiteX8" fmla="*/ 72390 w 80010"/>
                          <a:gd name="connsiteY8" fmla="*/ 50028 h 64150"/>
                          <a:gd name="connsiteX9" fmla="*/ 78105 w 80010"/>
                          <a:gd name="connsiteY9" fmla="*/ 44313 h 64150"/>
                          <a:gd name="connsiteX10" fmla="*/ 80010 w 80010"/>
                          <a:gd name="connsiteY10" fmla="*/ 38598 h 64150"/>
                          <a:gd name="connsiteX11" fmla="*/ 78105 w 80010"/>
                          <a:gd name="connsiteY11" fmla="*/ 27168 h 64150"/>
                          <a:gd name="connsiteX12" fmla="*/ 60960 w 80010"/>
                          <a:gd name="connsiteY12" fmla="*/ 21453 h 64150"/>
                          <a:gd name="connsiteX13" fmla="*/ 53340 w 80010"/>
                          <a:gd name="connsiteY13" fmla="*/ 23358 h 64150"/>
                          <a:gd name="connsiteX14" fmla="*/ 57150 w 80010"/>
                          <a:gd name="connsiteY14" fmla="*/ 11928 h 64150"/>
                          <a:gd name="connsiteX15" fmla="*/ 59055 w 80010"/>
                          <a:gd name="connsiteY15" fmla="*/ 6213 h 64150"/>
                          <a:gd name="connsiteX16" fmla="*/ 34290 w 80010"/>
                          <a:gd name="connsiteY16" fmla="*/ 498 h 64150"/>
                          <a:gd name="connsiteX17" fmla="*/ 32385 w 80010"/>
                          <a:gd name="connsiteY17" fmla="*/ 8118 h 64150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179 h 56211"/>
                          <a:gd name="connsiteX1" fmla="*/ 32385 w 80010"/>
                          <a:gd name="connsiteY1" fmla="*/ 179 h 56211"/>
                          <a:gd name="connsiteX2" fmla="*/ 3810 w 80010"/>
                          <a:gd name="connsiteY2" fmla="*/ 2084 h 56211"/>
                          <a:gd name="connsiteX3" fmla="*/ 0 w 80010"/>
                          <a:gd name="connsiteY3" fmla="*/ 13514 h 56211"/>
                          <a:gd name="connsiteX4" fmla="*/ 7620 w 80010"/>
                          <a:gd name="connsiteY4" fmla="*/ 34469 h 56211"/>
                          <a:gd name="connsiteX5" fmla="*/ 13335 w 80010"/>
                          <a:gd name="connsiteY5" fmla="*/ 38279 h 56211"/>
                          <a:gd name="connsiteX6" fmla="*/ 19050 w 80010"/>
                          <a:gd name="connsiteY6" fmla="*/ 43994 h 56211"/>
                          <a:gd name="connsiteX7" fmla="*/ 68580 w 80010"/>
                          <a:gd name="connsiteY7" fmla="*/ 47804 h 56211"/>
                          <a:gd name="connsiteX8" fmla="*/ 72390 w 80010"/>
                          <a:gd name="connsiteY8" fmla="*/ 42089 h 56211"/>
                          <a:gd name="connsiteX9" fmla="*/ 78105 w 80010"/>
                          <a:gd name="connsiteY9" fmla="*/ 36374 h 56211"/>
                          <a:gd name="connsiteX10" fmla="*/ 80010 w 80010"/>
                          <a:gd name="connsiteY10" fmla="*/ 30659 h 56211"/>
                          <a:gd name="connsiteX11" fmla="*/ 78105 w 80010"/>
                          <a:gd name="connsiteY11" fmla="*/ 19229 h 56211"/>
                          <a:gd name="connsiteX12" fmla="*/ 60960 w 80010"/>
                          <a:gd name="connsiteY12" fmla="*/ 13514 h 56211"/>
                          <a:gd name="connsiteX13" fmla="*/ 53340 w 80010"/>
                          <a:gd name="connsiteY13" fmla="*/ 15419 h 56211"/>
                          <a:gd name="connsiteX14" fmla="*/ 57150 w 80010"/>
                          <a:gd name="connsiteY14" fmla="*/ 3989 h 56211"/>
                          <a:gd name="connsiteX15" fmla="*/ 32385 w 80010"/>
                          <a:gd name="connsiteY15" fmla="*/ 179 h 56211"/>
                          <a:gd name="connsiteX0" fmla="*/ 32385 w 80010"/>
                          <a:gd name="connsiteY0" fmla="*/ 179 h 56211"/>
                          <a:gd name="connsiteX1" fmla="*/ 32385 w 80010"/>
                          <a:gd name="connsiteY1" fmla="*/ 179 h 56211"/>
                          <a:gd name="connsiteX2" fmla="*/ 3810 w 80010"/>
                          <a:gd name="connsiteY2" fmla="*/ 2084 h 56211"/>
                          <a:gd name="connsiteX3" fmla="*/ 0 w 80010"/>
                          <a:gd name="connsiteY3" fmla="*/ 13514 h 56211"/>
                          <a:gd name="connsiteX4" fmla="*/ 7620 w 80010"/>
                          <a:gd name="connsiteY4" fmla="*/ 34469 h 56211"/>
                          <a:gd name="connsiteX5" fmla="*/ 13335 w 80010"/>
                          <a:gd name="connsiteY5" fmla="*/ 38279 h 56211"/>
                          <a:gd name="connsiteX6" fmla="*/ 19050 w 80010"/>
                          <a:gd name="connsiteY6" fmla="*/ 43994 h 56211"/>
                          <a:gd name="connsiteX7" fmla="*/ 68580 w 80010"/>
                          <a:gd name="connsiteY7" fmla="*/ 47804 h 56211"/>
                          <a:gd name="connsiteX8" fmla="*/ 72390 w 80010"/>
                          <a:gd name="connsiteY8" fmla="*/ 42089 h 56211"/>
                          <a:gd name="connsiteX9" fmla="*/ 78105 w 80010"/>
                          <a:gd name="connsiteY9" fmla="*/ 36374 h 56211"/>
                          <a:gd name="connsiteX10" fmla="*/ 80010 w 80010"/>
                          <a:gd name="connsiteY10" fmla="*/ 30659 h 56211"/>
                          <a:gd name="connsiteX11" fmla="*/ 78105 w 80010"/>
                          <a:gd name="connsiteY11" fmla="*/ 19229 h 56211"/>
                          <a:gd name="connsiteX12" fmla="*/ 60960 w 80010"/>
                          <a:gd name="connsiteY12" fmla="*/ 13514 h 56211"/>
                          <a:gd name="connsiteX13" fmla="*/ 53340 w 80010"/>
                          <a:gd name="connsiteY13" fmla="*/ 15419 h 56211"/>
                          <a:gd name="connsiteX14" fmla="*/ 40048 w 80010"/>
                          <a:gd name="connsiteY14" fmla="*/ 8639 h 56211"/>
                          <a:gd name="connsiteX15" fmla="*/ 32385 w 80010"/>
                          <a:gd name="connsiteY15" fmla="*/ 179 h 56211"/>
                          <a:gd name="connsiteX0" fmla="*/ 32385 w 80010"/>
                          <a:gd name="connsiteY0" fmla="*/ 179 h 52171"/>
                          <a:gd name="connsiteX1" fmla="*/ 32385 w 80010"/>
                          <a:gd name="connsiteY1" fmla="*/ 179 h 52171"/>
                          <a:gd name="connsiteX2" fmla="*/ 3810 w 80010"/>
                          <a:gd name="connsiteY2" fmla="*/ 2084 h 52171"/>
                          <a:gd name="connsiteX3" fmla="*/ 0 w 80010"/>
                          <a:gd name="connsiteY3" fmla="*/ 13514 h 52171"/>
                          <a:gd name="connsiteX4" fmla="*/ 7620 w 80010"/>
                          <a:gd name="connsiteY4" fmla="*/ 34469 h 52171"/>
                          <a:gd name="connsiteX5" fmla="*/ 13335 w 80010"/>
                          <a:gd name="connsiteY5" fmla="*/ 38279 h 52171"/>
                          <a:gd name="connsiteX6" fmla="*/ 19050 w 80010"/>
                          <a:gd name="connsiteY6" fmla="*/ 43994 h 52171"/>
                          <a:gd name="connsiteX7" fmla="*/ 68580 w 80010"/>
                          <a:gd name="connsiteY7" fmla="*/ 47804 h 52171"/>
                          <a:gd name="connsiteX8" fmla="*/ 72390 w 80010"/>
                          <a:gd name="connsiteY8" fmla="*/ 42089 h 52171"/>
                          <a:gd name="connsiteX9" fmla="*/ 78105 w 80010"/>
                          <a:gd name="connsiteY9" fmla="*/ 36374 h 52171"/>
                          <a:gd name="connsiteX10" fmla="*/ 80010 w 80010"/>
                          <a:gd name="connsiteY10" fmla="*/ 30659 h 52171"/>
                          <a:gd name="connsiteX11" fmla="*/ 78105 w 80010"/>
                          <a:gd name="connsiteY11" fmla="*/ 19229 h 52171"/>
                          <a:gd name="connsiteX12" fmla="*/ 60960 w 80010"/>
                          <a:gd name="connsiteY12" fmla="*/ 13514 h 52171"/>
                          <a:gd name="connsiteX13" fmla="*/ 53340 w 80010"/>
                          <a:gd name="connsiteY13" fmla="*/ 15419 h 52171"/>
                          <a:gd name="connsiteX14" fmla="*/ 40048 w 80010"/>
                          <a:gd name="connsiteY14" fmla="*/ 8639 h 52171"/>
                          <a:gd name="connsiteX15" fmla="*/ 32385 w 80010"/>
                          <a:gd name="connsiteY15" fmla="*/ 179 h 52171"/>
                          <a:gd name="connsiteX0" fmla="*/ 32385 w 80010"/>
                          <a:gd name="connsiteY0" fmla="*/ 179 h 52432"/>
                          <a:gd name="connsiteX1" fmla="*/ 32385 w 80010"/>
                          <a:gd name="connsiteY1" fmla="*/ 179 h 52432"/>
                          <a:gd name="connsiteX2" fmla="*/ 3810 w 80010"/>
                          <a:gd name="connsiteY2" fmla="*/ 2084 h 52432"/>
                          <a:gd name="connsiteX3" fmla="*/ 0 w 80010"/>
                          <a:gd name="connsiteY3" fmla="*/ 13514 h 52432"/>
                          <a:gd name="connsiteX4" fmla="*/ 7620 w 80010"/>
                          <a:gd name="connsiteY4" fmla="*/ 34469 h 52432"/>
                          <a:gd name="connsiteX5" fmla="*/ 13335 w 80010"/>
                          <a:gd name="connsiteY5" fmla="*/ 38279 h 52432"/>
                          <a:gd name="connsiteX6" fmla="*/ 19050 w 80010"/>
                          <a:gd name="connsiteY6" fmla="*/ 43994 h 52432"/>
                          <a:gd name="connsiteX7" fmla="*/ 68580 w 80010"/>
                          <a:gd name="connsiteY7" fmla="*/ 47804 h 52432"/>
                          <a:gd name="connsiteX8" fmla="*/ 72390 w 80010"/>
                          <a:gd name="connsiteY8" fmla="*/ 42089 h 52432"/>
                          <a:gd name="connsiteX9" fmla="*/ 78105 w 80010"/>
                          <a:gd name="connsiteY9" fmla="*/ 36374 h 52432"/>
                          <a:gd name="connsiteX10" fmla="*/ 80010 w 80010"/>
                          <a:gd name="connsiteY10" fmla="*/ 30659 h 52432"/>
                          <a:gd name="connsiteX11" fmla="*/ 78105 w 80010"/>
                          <a:gd name="connsiteY11" fmla="*/ 19229 h 52432"/>
                          <a:gd name="connsiteX12" fmla="*/ 60960 w 80010"/>
                          <a:gd name="connsiteY12" fmla="*/ 13514 h 52432"/>
                          <a:gd name="connsiteX13" fmla="*/ 53340 w 80010"/>
                          <a:gd name="connsiteY13" fmla="*/ 15419 h 52432"/>
                          <a:gd name="connsiteX14" fmla="*/ 40048 w 80010"/>
                          <a:gd name="connsiteY14" fmla="*/ 8639 h 52432"/>
                          <a:gd name="connsiteX15" fmla="*/ 32385 w 80010"/>
                          <a:gd name="connsiteY15" fmla="*/ 179 h 52432"/>
                          <a:gd name="connsiteX0" fmla="*/ 32385 w 80010"/>
                          <a:gd name="connsiteY0" fmla="*/ 179 h 55651"/>
                          <a:gd name="connsiteX1" fmla="*/ 32385 w 80010"/>
                          <a:gd name="connsiteY1" fmla="*/ 179 h 55651"/>
                          <a:gd name="connsiteX2" fmla="*/ 3810 w 80010"/>
                          <a:gd name="connsiteY2" fmla="*/ 2084 h 55651"/>
                          <a:gd name="connsiteX3" fmla="*/ 0 w 80010"/>
                          <a:gd name="connsiteY3" fmla="*/ 13514 h 55651"/>
                          <a:gd name="connsiteX4" fmla="*/ 7620 w 80010"/>
                          <a:gd name="connsiteY4" fmla="*/ 34469 h 55651"/>
                          <a:gd name="connsiteX5" fmla="*/ 13335 w 80010"/>
                          <a:gd name="connsiteY5" fmla="*/ 38279 h 55651"/>
                          <a:gd name="connsiteX6" fmla="*/ 19050 w 80010"/>
                          <a:gd name="connsiteY6" fmla="*/ 43994 h 55651"/>
                          <a:gd name="connsiteX7" fmla="*/ 48058 w 80010"/>
                          <a:gd name="connsiteY7" fmla="*/ 52454 h 55651"/>
                          <a:gd name="connsiteX8" fmla="*/ 72390 w 80010"/>
                          <a:gd name="connsiteY8" fmla="*/ 42089 h 55651"/>
                          <a:gd name="connsiteX9" fmla="*/ 78105 w 80010"/>
                          <a:gd name="connsiteY9" fmla="*/ 36374 h 55651"/>
                          <a:gd name="connsiteX10" fmla="*/ 80010 w 80010"/>
                          <a:gd name="connsiteY10" fmla="*/ 30659 h 55651"/>
                          <a:gd name="connsiteX11" fmla="*/ 78105 w 80010"/>
                          <a:gd name="connsiteY11" fmla="*/ 19229 h 55651"/>
                          <a:gd name="connsiteX12" fmla="*/ 60960 w 80010"/>
                          <a:gd name="connsiteY12" fmla="*/ 13514 h 55651"/>
                          <a:gd name="connsiteX13" fmla="*/ 53340 w 80010"/>
                          <a:gd name="connsiteY13" fmla="*/ 15419 h 55651"/>
                          <a:gd name="connsiteX14" fmla="*/ 40048 w 80010"/>
                          <a:gd name="connsiteY14" fmla="*/ 8639 h 55651"/>
                          <a:gd name="connsiteX15" fmla="*/ 32385 w 80010"/>
                          <a:gd name="connsiteY15" fmla="*/ 179 h 55651"/>
                          <a:gd name="connsiteX0" fmla="*/ 32385 w 80010"/>
                          <a:gd name="connsiteY0" fmla="*/ 179 h 53227"/>
                          <a:gd name="connsiteX1" fmla="*/ 32385 w 80010"/>
                          <a:gd name="connsiteY1" fmla="*/ 179 h 53227"/>
                          <a:gd name="connsiteX2" fmla="*/ 3810 w 80010"/>
                          <a:gd name="connsiteY2" fmla="*/ 2084 h 53227"/>
                          <a:gd name="connsiteX3" fmla="*/ 0 w 80010"/>
                          <a:gd name="connsiteY3" fmla="*/ 13514 h 53227"/>
                          <a:gd name="connsiteX4" fmla="*/ 7620 w 80010"/>
                          <a:gd name="connsiteY4" fmla="*/ 34469 h 53227"/>
                          <a:gd name="connsiteX5" fmla="*/ 13335 w 80010"/>
                          <a:gd name="connsiteY5" fmla="*/ 38279 h 53227"/>
                          <a:gd name="connsiteX6" fmla="*/ 19050 w 80010"/>
                          <a:gd name="connsiteY6" fmla="*/ 43994 h 53227"/>
                          <a:gd name="connsiteX7" fmla="*/ 48058 w 80010"/>
                          <a:gd name="connsiteY7" fmla="*/ 52454 h 53227"/>
                          <a:gd name="connsiteX8" fmla="*/ 72390 w 80010"/>
                          <a:gd name="connsiteY8" fmla="*/ 42089 h 53227"/>
                          <a:gd name="connsiteX9" fmla="*/ 78105 w 80010"/>
                          <a:gd name="connsiteY9" fmla="*/ 36374 h 53227"/>
                          <a:gd name="connsiteX10" fmla="*/ 80010 w 80010"/>
                          <a:gd name="connsiteY10" fmla="*/ 30659 h 53227"/>
                          <a:gd name="connsiteX11" fmla="*/ 78105 w 80010"/>
                          <a:gd name="connsiteY11" fmla="*/ 19229 h 53227"/>
                          <a:gd name="connsiteX12" fmla="*/ 60960 w 80010"/>
                          <a:gd name="connsiteY12" fmla="*/ 13514 h 53227"/>
                          <a:gd name="connsiteX13" fmla="*/ 53340 w 80010"/>
                          <a:gd name="connsiteY13" fmla="*/ 15419 h 53227"/>
                          <a:gd name="connsiteX14" fmla="*/ 40048 w 80010"/>
                          <a:gd name="connsiteY14" fmla="*/ 8639 h 53227"/>
                          <a:gd name="connsiteX15" fmla="*/ 32385 w 80010"/>
                          <a:gd name="connsiteY15" fmla="*/ 179 h 5322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80010" h="53227">
                            <a:moveTo>
                              <a:pt x="32385" y="179"/>
                            </a:moveTo>
                            <a:lnTo>
                              <a:pt x="32385" y="179"/>
                            </a:lnTo>
                            <a:cubicBezTo>
                              <a:pt x="22860" y="814"/>
                              <a:pt x="12637" y="-1551"/>
                              <a:pt x="3810" y="2084"/>
                            </a:cubicBezTo>
                            <a:cubicBezTo>
                              <a:pt x="96" y="3613"/>
                              <a:pt x="0" y="13514"/>
                              <a:pt x="0" y="13514"/>
                            </a:cubicBezTo>
                            <a:cubicBezTo>
                              <a:pt x="1410" y="20563"/>
                              <a:pt x="2165" y="29014"/>
                              <a:pt x="7620" y="34469"/>
                            </a:cubicBezTo>
                            <a:cubicBezTo>
                              <a:pt x="9239" y="36088"/>
                              <a:pt x="11576" y="36813"/>
                              <a:pt x="13335" y="38279"/>
                            </a:cubicBezTo>
                            <a:cubicBezTo>
                              <a:pt x="15405" y="40004"/>
                              <a:pt x="17145" y="42089"/>
                              <a:pt x="19050" y="43994"/>
                            </a:cubicBezTo>
                            <a:cubicBezTo>
                              <a:pt x="36453" y="53990"/>
                              <a:pt x="29632" y="54059"/>
                              <a:pt x="48058" y="52454"/>
                            </a:cubicBezTo>
                            <a:cubicBezTo>
                              <a:pt x="50339" y="52255"/>
                              <a:pt x="67382" y="44769"/>
                              <a:pt x="72390" y="42089"/>
                            </a:cubicBezTo>
                            <a:cubicBezTo>
                              <a:pt x="77398" y="39409"/>
                              <a:pt x="76200" y="38279"/>
                              <a:pt x="78105" y="36374"/>
                            </a:cubicBezTo>
                            <a:cubicBezTo>
                              <a:pt x="78740" y="34469"/>
                              <a:pt x="80010" y="32667"/>
                              <a:pt x="80010" y="30659"/>
                            </a:cubicBezTo>
                            <a:cubicBezTo>
                              <a:pt x="80010" y="26796"/>
                              <a:pt x="79832" y="22684"/>
                              <a:pt x="78105" y="19229"/>
                            </a:cubicBezTo>
                            <a:cubicBezTo>
                              <a:pt x="75670" y="14359"/>
                              <a:pt x="63693" y="13970"/>
                              <a:pt x="60960" y="13514"/>
                            </a:cubicBezTo>
                            <a:cubicBezTo>
                              <a:pt x="58420" y="14149"/>
                              <a:pt x="56825" y="16231"/>
                              <a:pt x="53340" y="15419"/>
                            </a:cubicBezTo>
                            <a:cubicBezTo>
                              <a:pt x="49855" y="14607"/>
                              <a:pt x="39095" y="11497"/>
                              <a:pt x="40048" y="8639"/>
                            </a:cubicBezTo>
                            <a:lnTo>
                              <a:pt x="32385" y="179"/>
                            </a:lnTo>
                            <a:close/>
                          </a:path>
                        </a:pathLst>
                      </a:custGeom>
                      <a:solidFill>
                        <a:srgbClr val="0D3759"/>
                      </a:solidFill>
                      <a:ln w="3175" cap="flat" cmpd="sng" algn="ctr">
                        <a:solidFill>
                          <a:srgbClr val="FFFFFF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47" name="Freeform: Shape 32">
                        <a:extLst>
                          <a:ext uri="{FF2B5EF4-FFF2-40B4-BE49-F238E27FC236}">
                            <a16:creationId xmlns:a16="http://schemas.microsoft.com/office/drawing/2014/main" id="{7F8AB470-2B5C-79ED-1E18-04424EB225DD}"/>
                          </a:ext>
                        </a:extLst>
                      </p:cNvPr>
                      <p:cNvSpPr/>
                      <p:nvPr/>
                    </p:nvSpPr>
                    <p:spPr>
                      <a:xfrm rot="15284729">
                        <a:off x="8851362" y="4146483"/>
                        <a:ext cx="27432" cy="27432"/>
                      </a:xfrm>
                      <a:custGeom>
                        <a:avLst/>
                        <a:gdLst>
                          <a:gd name="connsiteX0" fmla="*/ 32385 w 80010"/>
                          <a:gd name="connsiteY0" fmla="*/ 8118 h 64150"/>
                          <a:gd name="connsiteX1" fmla="*/ 32385 w 80010"/>
                          <a:gd name="connsiteY1" fmla="*/ 8118 h 64150"/>
                          <a:gd name="connsiteX2" fmla="*/ 3810 w 80010"/>
                          <a:gd name="connsiteY2" fmla="*/ 10023 h 64150"/>
                          <a:gd name="connsiteX3" fmla="*/ 0 w 80010"/>
                          <a:gd name="connsiteY3" fmla="*/ 21453 h 64150"/>
                          <a:gd name="connsiteX4" fmla="*/ 7620 w 80010"/>
                          <a:gd name="connsiteY4" fmla="*/ 42408 h 64150"/>
                          <a:gd name="connsiteX5" fmla="*/ 13335 w 80010"/>
                          <a:gd name="connsiteY5" fmla="*/ 46218 h 64150"/>
                          <a:gd name="connsiteX6" fmla="*/ 19050 w 80010"/>
                          <a:gd name="connsiteY6" fmla="*/ 51933 h 64150"/>
                          <a:gd name="connsiteX7" fmla="*/ 68580 w 80010"/>
                          <a:gd name="connsiteY7" fmla="*/ 55743 h 64150"/>
                          <a:gd name="connsiteX8" fmla="*/ 72390 w 80010"/>
                          <a:gd name="connsiteY8" fmla="*/ 50028 h 64150"/>
                          <a:gd name="connsiteX9" fmla="*/ 78105 w 80010"/>
                          <a:gd name="connsiteY9" fmla="*/ 44313 h 64150"/>
                          <a:gd name="connsiteX10" fmla="*/ 80010 w 80010"/>
                          <a:gd name="connsiteY10" fmla="*/ 38598 h 64150"/>
                          <a:gd name="connsiteX11" fmla="*/ 78105 w 80010"/>
                          <a:gd name="connsiteY11" fmla="*/ 27168 h 64150"/>
                          <a:gd name="connsiteX12" fmla="*/ 60960 w 80010"/>
                          <a:gd name="connsiteY12" fmla="*/ 21453 h 64150"/>
                          <a:gd name="connsiteX13" fmla="*/ 53340 w 80010"/>
                          <a:gd name="connsiteY13" fmla="*/ 23358 h 64150"/>
                          <a:gd name="connsiteX14" fmla="*/ 57150 w 80010"/>
                          <a:gd name="connsiteY14" fmla="*/ 11928 h 64150"/>
                          <a:gd name="connsiteX15" fmla="*/ 59055 w 80010"/>
                          <a:gd name="connsiteY15" fmla="*/ 6213 h 64150"/>
                          <a:gd name="connsiteX16" fmla="*/ 34290 w 80010"/>
                          <a:gd name="connsiteY16" fmla="*/ 498 h 64150"/>
                          <a:gd name="connsiteX17" fmla="*/ 32385 w 80010"/>
                          <a:gd name="connsiteY17" fmla="*/ 8118 h 64150"/>
                          <a:gd name="connsiteX0" fmla="*/ 32385 w 80010"/>
                          <a:gd name="connsiteY0" fmla="*/ 8118 h 64150"/>
                          <a:gd name="connsiteX1" fmla="*/ 32385 w 80010"/>
                          <a:gd name="connsiteY1" fmla="*/ 8118 h 64150"/>
                          <a:gd name="connsiteX2" fmla="*/ 3810 w 80010"/>
                          <a:gd name="connsiteY2" fmla="*/ 10023 h 64150"/>
                          <a:gd name="connsiteX3" fmla="*/ 0 w 80010"/>
                          <a:gd name="connsiteY3" fmla="*/ 21453 h 64150"/>
                          <a:gd name="connsiteX4" fmla="*/ 7620 w 80010"/>
                          <a:gd name="connsiteY4" fmla="*/ 42408 h 64150"/>
                          <a:gd name="connsiteX5" fmla="*/ 13335 w 80010"/>
                          <a:gd name="connsiteY5" fmla="*/ 46218 h 64150"/>
                          <a:gd name="connsiteX6" fmla="*/ 19050 w 80010"/>
                          <a:gd name="connsiteY6" fmla="*/ 51933 h 64150"/>
                          <a:gd name="connsiteX7" fmla="*/ 68580 w 80010"/>
                          <a:gd name="connsiteY7" fmla="*/ 55743 h 64150"/>
                          <a:gd name="connsiteX8" fmla="*/ 72390 w 80010"/>
                          <a:gd name="connsiteY8" fmla="*/ 50028 h 64150"/>
                          <a:gd name="connsiteX9" fmla="*/ 78105 w 80010"/>
                          <a:gd name="connsiteY9" fmla="*/ 44313 h 64150"/>
                          <a:gd name="connsiteX10" fmla="*/ 80010 w 80010"/>
                          <a:gd name="connsiteY10" fmla="*/ 38598 h 64150"/>
                          <a:gd name="connsiteX11" fmla="*/ 78105 w 80010"/>
                          <a:gd name="connsiteY11" fmla="*/ 27168 h 64150"/>
                          <a:gd name="connsiteX12" fmla="*/ 60960 w 80010"/>
                          <a:gd name="connsiteY12" fmla="*/ 21453 h 64150"/>
                          <a:gd name="connsiteX13" fmla="*/ 53340 w 80010"/>
                          <a:gd name="connsiteY13" fmla="*/ 23358 h 64150"/>
                          <a:gd name="connsiteX14" fmla="*/ 57150 w 80010"/>
                          <a:gd name="connsiteY14" fmla="*/ 11928 h 64150"/>
                          <a:gd name="connsiteX15" fmla="*/ 59055 w 80010"/>
                          <a:gd name="connsiteY15" fmla="*/ 6213 h 64150"/>
                          <a:gd name="connsiteX16" fmla="*/ 34290 w 80010"/>
                          <a:gd name="connsiteY16" fmla="*/ 498 h 64150"/>
                          <a:gd name="connsiteX17" fmla="*/ 32385 w 80010"/>
                          <a:gd name="connsiteY17" fmla="*/ 8118 h 64150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179 h 56211"/>
                          <a:gd name="connsiteX1" fmla="*/ 32385 w 80010"/>
                          <a:gd name="connsiteY1" fmla="*/ 179 h 56211"/>
                          <a:gd name="connsiteX2" fmla="*/ 3810 w 80010"/>
                          <a:gd name="connsiteY2" fmla="*/ 2084 h 56211"/>
                          <a:gd name="connsiteX3" fmla="*/ 0 w 80010"/>
                          <a:gd name="connsiteY3" fmla="*/ 13514 h 56211"/>
                          <a:gd name="connsiteX4" fmla="*/ 7620 w 80010"/>
                          <a:gd name="connsiteY4" fmla="*/ 34469 h 56211"/>
                          <a:gd name="connsiteX5" fmla="*/ 13335 w 80010"/>
                          <a:gd name="connsiteY5" fmla="*/ 38279 h 56211"/>
                          <a:gd name="connsiteX6" fmla="*/ 19050 w 80010"/>
                          <a:gd name="connsiteY6" fmla="*/ 43994 h 56211"/>
                          <a:gd name="connsiteX7" fmla="*/ 68580 w 80010"/>
                          <a:gd name="connsiteY7" fmla="*/ 47804 h 56211"/>
                          <a:gd name="connsiteX8" fmla="*/ 72390 w 80010"/>
                          <a:gd name="connsiteY8" fmla="*/ 42089 h 56211"/>
                          <a:gd name="connsiteX9" fmla="*/ 78105 w 80010"/>
                          <a:gd name="connsiteY9" fmla="*/ 36374 h 56211"/>
                          <a:gd name="connsiteX10" fmla="*/ 80010 w 80010"/>
                          <a:gd name="connsiteY10" fmla="*/ 30659 h 56211"/>
                          <a:gd name="connsiteX11" fmla="*/ 78105 w 80010"/>
                          <a:gd name="connsiteY11" fmla="*/ 19229 h 56211"/>
                          <a:gd name="connsiteX12" fmla="*/ 60960 w 80010"/>
                          <a:gd name="connsiteY12" fmla="*/ 13514 h 56211"/>
                          <a:gd name="connsiteX13" fmla="*/ 53340 w 80010"/>
                          <a:gd name="connsiteY13" fmla="*/ 15419 h 56211"/>
                          <a:gd name="connsiteX14" fmla="*/ 57150 w 80010"/>
                          <a:gd name="connsiteY14" fmla="*/ 3989 h 56211"/>
                          <a:gd name="connsiteX15" fmla="*/ 32385 w 80010"/>
                          <a:gd name="connsiteY15" fmla="*/ 179 h 56211"/>
                          <a:gd name="connsiteX0" fmla="*/ 32385 w 80010"/>
                          <a:gd name="connsiteY0" fmla="*/ 179 h 56211"/>
                          <a:gd name="connsiteX1" fmla="*/ 32385 w 80010"/>
                          <a:gd name="connsiteY1" fmla="*/ 179 h 56211"/>
                          <a:gd name="connsiteX2" fmla="*/ 3810 w 80010"/>
                          <a:gd name="connsiteY2" fmla="*/ 2084 h 56211"/>
                          <a:gd name="connsiteX3" fmla="*/ 0 w 80010"/>
                          <a:gd name="connsiteY3" fmla="*/ 13514 h 56211"/>
                          <a:gd name="connsiteX4" fmla="*/ 7620 w 80010"/>
                          <a:gd name="connsiteY4" fmla="*/ 34469 h 56211"/>
                          <a:gd name="connsiteX5" fmla="*/ 13335 w 80010"/>
                          <a:gd name="connsiteY5" fmla="*/ 38279 h 56211"/>
                          <a:gd name="connsiteX6" fmla="*/ 19050 w 80010"/>
                          <a:gd name="connsiteY6" fmla="*/ 43994 h 56211"/>
                          <a:gd name="connsiteX7" fmla="*/ 68580 w 80010"/>
                          <a:gd name="connsiteY7" fmla="*/ 47804 h 56211"/>
                          <a:gd name="connsiteX8" fmla="*/ 72390 w 80010"/>
                          <a:gd name="connsiteY8" fmla="*/ 42089 h 56211"/>
                          <a:gd name="connsiteX9" fmla="*/ 78105 w 80010"/>
                          <a:gd name="connsiteY9" fmla="*/ 36374 h 56211"/>
                          <a:gd name="connsiteX10" fmla="*/ 80010 w 80010"/>
                          <a:gd name="connsiteY10" fmla="*/ 30659 h 56211"/>
                          <a:gd name="connsiteX11" fmla="*/ 78105 w 80010"/>
                          <a:gd name="connsiteY11" fmla="*/ 19229 h 56211"/>
                          <a:gd name="connsiteX12" fmla="*/ 60960 w 80010"/>
                          <a:gd name="connsiteY12" fmla="*/ 13514 h 56211"/>
                          <a:gd name="connsiteX13" fmla="*/ 53340 w 80010"/>
                          <a:gd name="connsiteY13" fmla="*/ 15419 h 56211"/>
                          <a:gd name="connsiteX14" fmla="*/ 40048 w 80010"/>
                          <a:gd name="connsiteY14" fmla="*/ 8639 h 56211"/>
                          <a:gd name="connsiteX15" fmla="*/ 32385 w 80010"/>
                          <a:gd name="connsiteY15" fmla="*/ 179 h 56211"/>
                          <a:gd name="connsiteX0" fmla="*/ 32385 w 80010"/>
                          <a:gd name="connsiteY0" fmla="*/ 179 h 52171"/>
                          <a:gd name="connsiteX1" fmla="*/ 32385 w 80010"/>
                          <a:gd name="connsiteY1" fmla="*/ 179 h 52171"/>
                          <a:gd name="connsiteX2" fmla="*/ 3810 w 80010"/>
                          <a:gd name="connsiteY2" fmla="*/ 2084 h 52171"/>
                          <a:gd name="connsiteX3" fmla="*/ 0 w 80010"/>
                          <a:gd name="connsiteY3" fmla="*/ 13514 h 52171"/>
                          <a:gd name="connsiteX4" fmla="*/ 7620 w 80010"/>
                          <a:gd name="connsiteY4" fmla="*/ 34469 h 52171"/>
                          <a:gd name="connsiteX5" fmla="*/ 13335 w 80010"/>
                          <a:gd name="connsiteY5" fmla="*/ 38279 h 52171"/>
                          <a:gd name="connsiteX6" fmla="*/ 19050 w 80010"/>
                          <a:gd name="connsiteY6" fmla="*/ 43994 h 52171"/>
                          <a:gd name="connsiteX7" fmla="*/ 68580 w 80010"/>
                          <a:gd name="connsiteY7" fmla="*/ 47804 h 52171"/>
                          <a:gd name="connsiteX8" fmla="*/ 72390 w 80010"/>
                          <a:gd name="connsiteY8" fmla="*/ 42089 h 52171"/>
                          <a:gd name="connsiteX9" fmla="*/ 78105 w 80010"/>
                          <a:gd name="connsiteY9" fmla="*/ 36374 h 52171"/>
                          <a:gd name="connsiteX10" fmla="*/ 80010 w 80010"/>
                          <a:gd name="connsiteY10" fmla="*/ 30659 h 52171"/>
                          <a:gd name="connsiteX11" fmla="*/ 78105 w 80010"/>
                          <a:gd name="connsiteY11" fmla="*/ 19229 h 52171"/>
                          <a:gd name="connsiteX12" fmla="*/ 60960 w 80010"/>
                          <a:gd name="connsiteY12" fmla="*/ 13514 h 52171"/>
                          <a:gd name="connsiteX13" fmla="*/ 53340 w 80010"/>
                          <a:gd name="connsiteY13" fmla="*/ 15419 h 52171"/>
                          <a:gd name="connsiteX14" fmla="*/ 40048 w 80010"/>
                          <a:gd name="connsiteY14" fmla="*/ 8639 h 52171"/>
                          <a:gd name="connsiteX15" fmla="*/ 32385 w 80010"/>
                          <a:gd name="connsiteY15" fmla="*/ 179 h 52171"/>
                          <a:gd name="connsiteX0" fmla="*/ 32385 w 80010"/>
                          <a:gd name="connsiteY0" fmla="*/ 179 h 52432"/>
                          <a:gd name="connsiteX1" fmla="*/ 32385 w 80010"/>
                          <a:gd name="connsiteY1" fmla="*/ 179 h 52432"/>
                          <a:gd name="connsiteX2" fmla="*/ 3810 w 80010"/>
                          <a:gd name="connsiteY2" fmla="*/ 2084 h 52432"/>
                          <a:gd name="connsiteX3" fmla="*/ 0 w 80010"/>
                          <a:gd name="connsiteY3" fmla="*/ 13514 h 52432"/>
                          <a:gd name="connsiteX4" fmla="*/ 7620 w 80010"/>
                          <a:gd name="connsiteY4" fmla="*/ 34469 h 52432"/>
                          <a:gd name="connsiteX5" fmla="*/ 13335 w 80010"/>
                          <a:gd name="connsiteY5" fmla="*/ 38279 h 52432"/>
                          <a:gd name="connsiteX6" fmla="*/ 19050 w 80010"/>
                          <a:gd name="connsiteY6" fmla="*/ 43994 h 52432"/>
                          <a:gd name="connsiteX7" fmla="*/ 68580 w 80010"/>
                          <a:gd name="connsiteY7" fmla="*/ 47804 h 52432"/>
                          <a:gd name="connsiteX8" fmla="*/ 72390 w 80010"/>
                          <a:gd name="connsiteY8" fmla="*/ 42089 h 52432"/>
                          <a:gd name="connsiteX9" fmla="*/ 78105 w 80010"/>
                          <a:gd name="connsiteY9" fmla="*/ 36374 h 52432"/>
                          <a:gd name="connsiteX10" fmla="*/ 80010 w 80010"/>
                          <a:gd name="connsiteY10" fmla="*/ 30659 h 52432"/>
                          <a:gd name="connsiteX11" fmla="*/ 78105 w 80010"/>
                          <a:gd name="connsiteY11" fmla="*/ 19229 h 52432"/>
                          <a:gd name="connsiteX12" fmla="*/ 60960 w 80010"/>
                          <a:gd name="connsiteY12" fmla="*/ 13514 h 52432"/>
                          <a:gd name="connsiteX13" fmla="*/ 53340 w 80010"/>
                          <a:gd name="connsiteY13" fmla="*/ 15419 h 52432"/>
                          <a:gd name="connsiteX14" fmla="*/ 40048 w 80010"/>
                          <a:gd name="connsiteY14" fmla="*/ 8639 h 52432"/>
                          <a:gd name="connsiteX15" fmla="*/ 32385 w 80010"/>
                          <a:gd name="connsiteY15" fmla="*/ 179 h 52432"/>
                          <a:gd name="connsiteX0" fmla="*/ 32385 w 80010"/>
                          <a:gd name="connsiteY0" fmla="*/ 179 h 55651"/>
                          <a:gd name="connsiteX1" fmla="*/ 32385 w 80010"/>
                          <a:gd name="connsiteY1" fmla="*/ 179 h 55651"/>
                          <a:gd name="connsiteX2" fmla="*/ 3810 w 80010"/>
                          <a:gd name="connsiteY2" fmla="*/ 2084 h 55651"/>
                          <a:gd name="connsiteX3" fmla="*/ 0 w 80010"/>
                          <a:gd name="connsiteY3" fmla="*/ 13514 h 55651"/>
                          <a:gd name="connsiteX4" fmla="*/ 7620 w 80010"/>
                          <a:gd name="connsiteY4" fmla="*/ 34469 h 55651"/>
                          <a:gd name="connsiteX5" fmla="*/ 13335 w 80010"/>
                          <a:gd name="connsiteY5" fmla="*/ 38279 h 55651"/>
                          <a:gd name="connsiteX6" fmla="*/ 19050 w 80010"/>
                          <a:gd name="connsiteY6" fmla="*/ 43994 h 55651"/>
                          <a:gd name="connsiteX7" fmla="*/ 48058 w 80010"/>
                          <a:gd name="connsiteY7" fmla="*/ 52454 h 55651"/>
                          <a:gd name="connsiteX8" fmla="*/ 72390 w 80010"/>
                          <a:gd name="connsiteY8" fmla="*/ 42089 h 55651"/>
                          <a:gd name="connsiteX9" fmla="*/ 78105 w 80010"/>
                          <a:gd name="connsiteY9" fmla="*/ 36374 h 55651"/>
                          <a:gd name="connsiteX10" fmla="*/ 80010 w 80010"/>
                          <a:gd name="connsiteY10" fmla="*/ 30659 h 55651"/>
                          <a:gd name="connsiteX11" fmla="*/ 78105 w 80010"/>
                          <a:gd name="connsiteY11" fmla="*/ 19229 h 55651"/>
                          <a:gd name="connsiteX12" fmla="*/ 60960 w 80010"/>
                          <a:gd name="connsiteY12" fmla="*/ 13514 h 55651"/>
                          <a:gd name="connsiteX13" fmla="*/ 53340 w 80010"/>
                          <a:gd name="connsiteY13" fmla="*/ 15419 h 55651"/>
                          <a:gd name="connsiteX14" fmla="*/ 40048 w 80010"/>
                          <a:gd name="connsiteY14" fmla="*/ 8639 h 55651"/>
                          <a:gd name="connsiteX15" fmla="*/ 32385 w 80010"/>
                          <a:gd name="connsiteY15" fmla="*/ 179 h 55651"/>
                          <a:gd name="connsiteX0" fmla="*/ 32385 w 80010"/>
                          <a:gd name="connsiteY0" fmla="*/ 179 h 53227"/>
                          <a:gd name="connsiteX1" fmla="*/ 32385 w 80010"/>
                          <a:gd name="connsiteY1" fmla="*/ 179 h 53227"/>
                          <a:gd name="connsiteX2" fmla="*/ 3810 w 80010"/>
                          <a:gd name="connsiteY2" fmla="*/ 2084 h 53227"/>
                          <a:gd name="connsiteX3" fmla="*/ 0 w 80010"/>
                          <a:gd name="connsiteY3" fmla="*/ 13514 h 53227"/>
                          <a:gd name="connsiteX4" fmla="*/ 7620 w 80010"/>
                          <a:gd name="connsiteY4" fmla="*/ 34469 h 53227"/>
                          <a:gd name="connsiteX5" fmla="*/ 13335 w 80010"/>
                          <a:gd name="connsiteY5" fmla="*/ 38279 h 53227"/>
                          <a:gd name="connsiteX6" fmla="*/ 19050 w 80010"/>
                          <a:gd name="connsiteY6" fmla="*/ 43994 h 53227"/>
                          <a:gd name="connsiteX7" fmla="*/ 48058 w 80010"/>
                          <a:gd name="connsiteY7" fmla="*/ 52454 h 53227"/>
                          <a:gd name="connsiteX8" fmla="*/ 72390 w 80010"/>
                          <a:gd name="connsiteY8" fmla="*/ 42089 h 53227"/>
                          <a:gd name="connsiteX9" fmla="*/ 78105 w 80010"/>
                          <a:gd name="connsiteY9" fmla="*/ 36374 h 53227"/>
                          <a:gd name="connsiteX10" fmla="*/ 80010 w 80010"/>
                          <a:gd name="connsiteY10" fmla="*/ 30659 h 53227"/>
                          <a:gd name="connsiteX11" fmla="*/ 78105 w 80010"/>
                          <a:gd name="connsiteY11" fmla="*/ 19229 h 53227"/>
                          <a:gd name="connsiteX12" fmla="*/ 60960 w 80010"/>
                          <a:gd name="connsiteY12" fmla="*/ 13514 h 53227"/>
                          <a:gd name="connsiteX13" fmla="*/ 53340 w 80010"/>
                          <a:gd name="connsiteY13" fmla="*/ 15419 h 53227"/>
                          <a:gd name="connsiteX14" fmla="*/ 40048 w 80010"/>
                          <a:gd name="connsiteY14" fmla="*/ 8639 h 53227"/>
                          <a:gd name="connsiteX15" fmla="*/ 32385 w 80010"/>
                          <a:gd name="connsiteY15" fmla="*/ 179 h 5322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80010" h="53227">
                            <a:moveTo>
                              <a:pt x="32385" y="179"/>
                            </a:moveTo>
                            <a:lnTo>
                              <a:pt x="32385" y="179"/>
                            </a:lnTo>
                            <a:cubicBezTo>
                              <a:pt x="22860" y="814"/>
                              <a:pt x="12637" y="-1551"/>
                              <a:pt x="3810" y="2084"/>
                            </a:cubicBezTo>
                            <a:cubicBezTo>
                              <a:pt x="96" y="3613"/>
                              <a:pt x="0" y="13514"/>
                              <a:pt x="0" y="13514"/>
                            </a:cubicBezTo>
                            <a:cubicBezTo>
                              <a:pt x="1410" y="20563"/>
                              <a:pt x="2165" y="29014"/>
                              <a:pt x="7620" y="34469"/>
                            </a:cubicBezTo>
                            <a:cubicBezTo>
                              <a:pt x="9239" y="36088"/>
                              <a:pt x="11576" y="36813"/>
                              <a:pt x="13335" y="38279"/>
                            </a:cubicBezTo>
                            <a:cubicBezTo>
                              <a:pt x="15405" y="40004"/>
                              <a:pt x="17145" y="42089"/>
                              <a:pt x="19050" y="43994"/>
                            </a:cubicBezTo>
                            <a:cubicBezTo>
                              <a:pt x="36453" y="53990"/>
                              <a:pt x="29632" y="54059"/>
                              <a:pt x="48058" y="52454"/>
                            </a:cubicBezTo>
                            <a:cubicBezTo>
                              <a:pt x="50339" y="52255"/>
                              <a:pt x="67382" y="44769"/>
                              <a:pt x="72390" y="42089"/>
                            </a:cubicBezTo>
                            <a:cubicBezTo>
                              <a:pt x="77398" y="39409"/>
                              <a:pt x="76200" y="38279"/>
                              <a:pt x="78105" y="36374"/>
                            </a:cubicBezTo>
                            <a:cubicBezTo>
                              <a:pt x="78740" y="34469"/>
                              <a:pt x="80010" y="32667"/>
                              <a:pt x="80010" y="30659"/>
                            </a:cubicBezTo>
                            <a:cubicBezTo>
                              <a:pt x="80010" y="26796"/>
                              <a:pt x="79832" y="22684"/>
                              <a:pt x="78105" y="19229"/>
                            </a:cubicBezTo>
                            <a:cubicBezTo>
                              <a:pt x="75670" y="14359"/>
                              <a:pt x="63693" y="13970"/>
                              <a:pt x="60960" y="13514"/>
                            </a:cubicBezTo>
                            <a:cubicBezTo>
                              <a:pt x="58420" y="14149"/>
                              <a:pt x="56825" y="16231"/>
                              <a:pt x="53340" y="15419"/>
                            </a:cubicBezTo>
                            <a:cubicBezTo>
                              <a:pt x="49855" y="14607"/>
                              <a:pt x="39095" y="11497"/>
                              <a:pt x="40048" y="8639"/>
                            </a:cubicBezTo>
                            <a:lnTo>
                              <a:pt x="32385" y="179"/>
                            </a:lnTo>
                            <a:close/>
                          </a:path>
                        </a:pathLst>
                      </a:custGeom>
                      <a:solidFill>
                        <a:srgbClr val="0D3759"/>
                      </a:solidFill>
                      <a:ln w="3175" cap="flat" cmpd="sng" algn="ctr">
                        <a:solidFill>
                          <a:srgbClr val="FFFFFF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48" name="Freeform: Shape 33">
                        <a:extLst>
                          <a:ext uri="{FF2B5EF4-FFF2-40B4-BE49-F238E27FC236}">
                            <a16:creationId xmlns:a16="http://schemas.microsoft.com/office/drawing/2014/main" id="{95FEDFA6-C622-59BC-6453-954E52303F7D}"/>
                          </a:ext>
                        </a:extLst>
                      </p:cNvPr>
                      <p:cNvSpPr/>
                      <p:nvPr/>
                    </p:nvSpPr>
                    <p:spPr>
                      <a:xfrm rot="4030563">
                        <a:off x="8954046" y="4390351"/>
                        <a:ext cx="27432" cy="27432"/>
                      </a:xfrm>
                      <a:custGeom>
                        <a:avLst/>
                        <a:gdLst>
                          <a:gd name="connsiteX0" fmla="*/ 32385 w 80010"/>
                          <a:gd name="connsiteY0" fmla="*/ 8118 h 64150"/>
                          <a:gd name="connsiteX1" fmla="*/ 32385 w 80010"/>
                          <a:gd name="connsiteY1" fmla="*/ 8118 h 64150"/>
                          <a:gd name="connsiteX2" fmla="*/ 3810 w 80010"/>
                          <a:gd name="connsiteY2" fmla="*/ 10023 h 64150"/>
                          <a:gd name="connsiteX3" fmla="*/ 0 w 80010"/>
                          <a:gd name="connsiteY3" fmla="*/ 21453 h 64150"/>
                          <a:gd name="connsiteX4" fmla="*/ 7620 w 80010"/>
                          <a:gd name="connsiteY4" fmla="*/ 42408 h 64150"/>
                          <a:gd name="connsiteX5" fmla="*/ 13335 w 80010"/>
                          <a:gd name="connsiteY5" fmla="*/ 46218 h 64150"/>
                          <a:gd name="connsiteX6" fmla="*/ 19050 w 80010"/>
                          <a:gd name="connsiteY6" fmla="*/ 51933 h 64150"/>
                          <a:gd name="connsiteX7" fmla="*/ 68580 w 80010"/>
                          <a:gd name="connsiteY7" fmla="*/ 55743 h 64150"/>
                          <a:gd name="connsiteX8" fmla="*/ 72390 w 80010"/>
                          <a:gd name="connsiteY8" fmla="*/ 50028 h 64150"/>
                          <a:gd name="connsiteX9" fmla="*/ 78105 w 80010"/>
                          <a:gd name="connsiteY9" fmla="*/ 44313 h 64150"/>
                          <a:gd name="connsiteX10" fmla="*/ 80010 w 80010"/>
                          <a:gd name="connsiteY10" fmla="*/ 38598 h 64150"/>
                          <a:gd name="connsiteX11" fmla="*/ 78105 w 80010"/>
                          <a:gd name="connsiteY11" fmla="*/ 27168 h 64150"/>
                          <a:gd name="connsiteX12" fmla="*/ 60960 w 80010"/>
                          <a:gd name="connsiteY12" fmla="*/ 21453 h 64150"/>
                          <a:gd name="connsiteX13" fmla="*/ 53340 w 80010"/>
                          <a:gd name="connsiteY13" fmla="*/ 23358 h 64150"/>
                          <a:gd name="connsiteX14" fmla="*/ 57150 w 80010"/>
                          <a:gd name="connsiteY14" fmla="*/ 11928 h 64150"/>
                          <a:gd name="connsiteX15" fmla="*/ 59055 w 80010"/>
                          <a:gd name="connsiteY15" fmla="*/ 6213 h 64150"/>
                          <a:gd name="connsiteX16" fmla="*/ 34290 w 80010"/>
                          <a:gd name="connsiteY16" fmla="*/ 498 h 64150"/>
                          <a:gd name="connsiteX17" fmla="*/ 32385 w 80010"/>
                          <a:gd name="connsiteY17" fmla="*/ 8118 h 64150"/>
                          <a:gd name="connsiteX0" fmla="*/ 32385 w 80010"/>
                          <a:gd name="connsiteY0" fmla="*/ 8118 h 64150"/>
                          <a:gd name="connsiteX1" fmla="*/ 32385 w 80010"/>
                          <a:gd name="connsiteY1" fmla="*/ 8118 h 64150"/>
                          <a:gd name="connsiteX2" fmla="*/ 3810 w 80010"/>
                          <a:gd name="connsiteY2" fmla="*/ 10023 h 64150"/>
                          <a:gd name="connsiteX3" fmla="*/ 0 w 80010"/>
                          <a:gd name="connsiteY3" fmla="*/ 21453 h 64150"/>
                          <a:gd name="connsiteX4" fmla="*/ 7620 w 80010"/>
                          <a:gd name="connsiteY4" fmla="*/ 42408 h 64150"/>
                          <a:gd name="connsiteX5" fmla="*/ 13335 w 80010"/>
                          <a:gd name="connsiteY5" fmla="*/ 46218 h 64150"/>
                          <a:gd name="connsiteX6" fmla="*/ 19050 w 80010"/>
                          <a:gd name="connsiteY6" fmla="*/ 51933 h 64150"/>
                          <a:gd name="connsiteX7" fmla="*/ 68580 w 80010"/>
                          <a:gd name="connsiteY7" fmla="*/ 55743 h 64150"/>
                          <a:gd name="connsiteX8" fmla="*/ 72390 w 80010"/>
                          <a:gd name="connsiteY8" fmla="*/ 50028 h 64150"/>
                          <a:gd name="connsiteX9" fmla="*/ 78105 w 80010"/>
                          <a:gd name="connsiteY9" fmla="*/ 44313 h 64150"/>
                          <a:gd name="connsiteX10" fmla="*/ 80010 w 80010"/>
                          <a:gd name="connsiteY10" fmla="*/ 38598 h 64150"/>
                          <a:gd name="connsiteX11" fmla="*/ 78105 w 80010"/>
                          <a:gd name="connsiteY11" fmla="*/ 27168 h 64150"/>
                          <a:gd name="connsiteX12" fmla="*/ 60960 w 80010"/>
                          <a:gd name="connsiteY12" fmla="*/ 21453 h 64150"/>
                          <a:gd name="connsiteX13" fmla="*/ 53340 w 80010"/>
                          <a:gd name="connsiteY13" fmla="*/ 23358 h 64150"/>
                          <a:gd name="connsiteX14" fmla="*/ 57150 w 80010"/>
                          <a:gd name="connsiteY14" fmla="*/ 11928 h 64150"/>
                          <a:gd name="connsiteX15" fmla="*/ 59055 w 80010"/>
                          <a:gd name="connsiteY15" fmla="*/ 6213 h 64150"/>
                          <a:gd name="connsiteX16" fmla="*/ 34290 w 80010"/>
                          <a:gd name="connsiteY16" fmla="*/ 498 h 64150"/>
                          <a:gd name="connsiteX17" fmla="*/ 32385 w 80010"/>
                          <a:gd name="connsiteY17" fmla="*/ 8118 h 64150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179 h 56211"/>
                          <a:gd name="connsiteX1" fmla="*/ 32385 w 80010"/>
                          <a:gd name="connsiteY1" fmla="*/ 179 h 56211"/>
                          <a:gd name="connsiteX2" fmla="*/ 3810 w 80010"/>
                          <a:gd name="connsiteY2" fmla="*/ 2084 h 56211"/>
                          <a:gd name="connsiteX3" fmla="*/ 0 w 80010"/>
                          <a:gd name="connsiteY3" fmla="*/ 13514 h 56211"/>
                          <a:gd name="connsiteX4" fmla="*/ 7620 w 80010"/>
                          <a:gd name="connsiteY4" fmla="*/ 34469 h 56211"/>
                          <a:gd name="connsiteX5" fmla="*/ 13335 w 80010"/>
                          <a:gd name="connsiteY5" fmla="*/ 38279 h 56211"/>
                          <a:gd name="connsiteX6" fmla="*/ 19050 w 80010"/>
                          <a:gd name="connsiteY6" fmla="*/ 43994 h 56211"/>
                          <a:gd name="connsiteX7" fmla="*/ 68580 w 80010"/>
                          <a:gd name="connsiteY7" fmla="*/ 47804 h 56211"/>
                          <a:gd name="connsiteX8" fmla="*/ 72390 w 80010"/>
                          <a:gd name="connsiteY8" fmla="*/ 42089 h 56211"/>
                          <a:gd name="connsiteX9" fmla="*/ 78105 w 80010"/>
                          <a:gd name="connsiteY9" fmla="*/ 36374 h 56211"/>
                          <a:gd name="connsiteX10" fmla="*/ 80010 w 80010"/>
                          <a:gd name="connsiteY10" fmla="*/ 30659 h 56211"/>
                          <a:gd name="connsiteX11" fmla="*/ 78105 w 80010"/>
                          <a:gd name="connsiteY11" fmla="*/ 19229 h 56211"/>
                          <a:gd name="connsiteX12" fmla="*/ 60960 w 80010"/>
                          <a:gd name="connsiteY12" fmla="*/ 13514 h 56211"/>
                          <a:gd name="connsiteX13" fmla="*/ 53340 w 80010"/>
                          <a:gd name="connsiteY13" fmla="*/ 15419 h 56211"/>
                          <a:gd name="connsiteX14" fmla="*/ 57150 w 80010"/>
                          <a:gd name="connsiteY14" fmla="*/ 3989 h 56211"/>
                          <a:gd name="connsiteX15" fmla="*/ 32385 w 80010"/>
                          <a:gd name="connsiteY15" fmla="*/ 179 h 56211"/>
                          <a:gd name="connsiteX0" fmla="*/ 32385 w 80010"/>
                          <a:gd name="connsiteY0" fmla="*/ 179 h 56211"/>
                          <a:gd name="connsiteX1" fmla="*/ 32385 w 80010"/>
                          <a:gd name="connsiteY1" fmla="*/ 179 h 56211"/>
                          <a:gd name="connsiteX2" fmla="*/ 3810 w 80010"/>
                          <a:gd name="connsiteY2" fmla="*/ 2084 h 56211"/>
                          <a:gd name="connsiteX3" fmla="*/ 0 w 80010"/>
                          <a:gd name="connsiteY3" fmla="*/ 13514 h 56211"/>
                          <a:gd name="connsiteX4" fmla="*/ 7620 w 80010"/>
                          <a:gd name="connsiteY4" fmla="*/ 34469 h 56211"/>
                          <a:gd name="connsiteX5" fmla="*/ 13335 w 80010"/>
                          <a:gd name="connsiteY5" fmla="*/ 38279 h 56211"/>
                          <a:gd name="connsiteX6" fmla="*/ 19050 w 80010"/>
                          <a:gd name="connsiteY6" fmla="*/ 43994 h 56211"/>
                          <a:gd name="connsiteX7" fmla="*/ 68580 w 80010"/>
                          <a:gd name="connsiteY7" fmla="*/ 47804 h 56211"/>
                          <a:gd name="connsiteX8" fmla="*/ 72390 w 80010"/>
                          <a:gd name="connsiteY8" fmla="*/ 42089 h 56211"/>
                          <a:gd name="connsiteX9" fmla="*/ 78105 w 80010"/>
                          <a:gd name="connsiteY9" fmla="*/ 36374 h 56211"/>
                          <a:gd name="connsiteX10" fmla="*/ 80010 w 80010"/>
                          <a:gd name="connsiteY10" fmla="*/ 30659 h 56211"/>
                          <a:gd name="connsiteX11" fmla="*/ 78105 w 80010"/>
                          <a:gd name="connsiteY11" fmla="*/ 19229 h 56211"/>
                          <a:gd name="connsiteX12" fmla="*/ 60960 w 80010"/>
                          <a:gd name="connsiteY12" fmla="*/ 13514 h 56211"/>
                          <a:gd name="connsiteX13" fmla="*/ 53340 w 80010"/>
                          <a:gd name="connsiteY13" fmla="*/ 15419 h 56211"/>
                          <a:gd name="connsiteX14" fmla="*/ 40048 w 80010"/>
                          <a:gd name="connsiteY14" fmla="*/ 8639 h 56211"/>
                          <a:gd name="connsiteX15" fmla="*/ 32385 w 80010"/>
                          <a:gd name="connsiteY15" fmla="*/ 179 h 56211"/>
                          <a:gd name="connsiteX0" fmla="*/ 32385 w 80010"/>
                          <a:gd name="connsiteY0" fmla="*/ 179 h 52171"/>
                          <a:gd name="connsiteX1" fmla="*/ 32385 w 80010"/>
                          <a:gd name="connsiteY1" fmla="*/ 179 h 52171"/>
                          <a:gd name="connsiteX2" fmla="*/ 3810 w 80010"/>
                          <a:gd name="connsiteY2" fmla="*/ 2084 h 52171"/>
                          <a:gd name="connsiteX3" fmla="*/ 0 w 80010"/>
                          <a:gd name="connsiteY3" fmla="*/ 13514 h 52171"/>
                          <a:gd name="connsiteX4" fmla="*/ 7620 w 80010"/>
                          <a:gd name="connsiteY4" fmla="*/ 34469 h 52171"/>
                          <a:gd name="connsiteX5" fmla="*/ 13335 w 80010"/>
                          <a:gd name="connsiteY5" fmla="*/ 38279 h 52171"/>
                          <a:gd name="connsiteX6" fmla="*/ 19050 w 80010"/>
                          <a:gd name="connsiteY6" fmla="*/ 43994 h 52171"/>
                          <a:gd name="connsiteX7" fmla="*/ 68580 w 80010"/>
                          <a:gd name="connsiteY7" fmla="*/ 47804 h 52171"/>
                          <a:gd name="connsiteX8" fmla="*/ 72390 w 80010"/>
                          <a:gd name="connsiteY8" fmla="*/ 42089 h 52171"/>
                          <a:gd name="connsiteX9" fmla="*/ 78105 w 80010"/>
                          <a:gd name="connsiteY9" fmla="*/ 36374 h 52171"/>
                          <a:gd name="connsiteX10" fmla="*/ 80010 w 80010"/>
                          <a:gd name="connsiteY10" fmla="*/ 30659 h 52171"/>
                          <a:gd name="connsiteX11" fmla="*/ 78105 w 80010"/>
                          <a:gd name="connsiteY11" fmla="*/ 19229 h 52171"/>
                          <a:gd name="connsiteX12" fmla="*/ 60960 w 80010"/>
                          <a:gd name="connsiteY12" fmla="*/ 13514 h 52171"/>
                          <a:gd name="connsiteX13" fmla="*/ 53340 w 80010"/>
                          <a:gd name="connsiteY13" fmla="*/ 15419 h 52171"/>
                          <a:gd name="connsiteX14" fmla="*/ 40048 w 80010"/>
                          <a:gd name="connsiteY14" fmla="*/ 8639 h 52171"/>
                          <a:gd name="connsiteX15" fmla="*/ 32385 w 80010"/>
                          <a:gd name="connsiteY15" fmla="*/ 179 h 52171"/>
                          <a:gd name="connsiteX0" fmla="*/ 32385 w 80010"/>
                          <a:gd name="connsiteY0" fmla="*/ 179 h 52432"/>
                          <a:gd name="connsiteX1" fmla="*/ 32385 w 80010"/>
                          <a:gd name="connsiteY1" fmla="*/ 179 h 52432"/>
                          <a:gd name="connsiteX2" fmla="*/ 3810 w 80010"/>
                          <a:gd name="connsiteY2" fmla="*/ 2084 h 52432"/>
                          <a:gd name="connsiteX3" fmla="*/ 0 w 80010"/>
                          <a:gd name="connsiteY3" fmla="*/ 13514 h 52432"/>
                          <a:gd name="connsiteX4" fmla="*/ 7620 w 80010"/>
                          <a:gd name="connsiteY4" fmla="*/ 34469 h 52432"/>
                          <a:gd name="connsiteX5" fmla="*/ 13335 w 80010"/>
                          <a:gd name="connsiteY5" fmla="*/ 38279 h 52432"/>
                          <a:gd name="connsiteX6" fmla="*/ 19050 w 80010"/>
                          <a:gd name="connsiteY6" fmla="*/ 43994 h 52432"/>
                          <a:gd name="connsiteX7" fmla="*/ 68580 w 80010"/>
                          <a:gd name="connsiteY7" fmla="*/ 47804 h 52432"/>
                          <a:gd name="connsiteX8" fmla="*/ 72390 w 80010"/>
                          <a:gd name="connsiteY8" fmla="*/ 42089 h 52432"/>
                          <a:gd name="connsiteX9" fmla="*/ 78105 w 80010"/>
                          <a:gd name="connsiteY9" fmla="*/ 36374 h 52432"/>
                          <a:gd name="connsiteX10" fmla="*/ 80010 w 80010"/>
                          <a:gd name="connsiteY10" fmla="*/ 30659 h 52432"/>
                          <a:gd name="connsiteX11" fmla="*/ 78105 w 80010"/>
                          <a:gd name="connsiteY11" fmla="*/ 19229 h 52432"/>
                          <a:gd name="connsiteX12" fmla="*/ 60960 w 80010"/>
                          <a:gd name="connsiteY12" fmla="*/ 13514 h 52432"/>
                          <a:gd name="connsiteX13" fmla="*/ 53340 w 80010"/>
                          <a:gd name="connsiteY13" fmla="*/ 15419 h 52432"/>
                          <a:gd name="connsiteX14" fmla="*/ 40048 w 80010"/>
                          <a:gd name="connsiteY14" fmla="*/ 8639 h 52432"/>
                          <a:gd name="connsiteX15" fmla="*/ 32385 w 80010"/>
                          <a:gd name="connsiteY15" fmla="*/ 179 h 52432"/>
                          <a:gd name="connsiteX0" fmla="*/ 32385 w 80010"/>
                          <a:gd name="connsiteY0" fmla="*/ 179 h 55651"/>
                          <a:gd name="connsiteX1" fmla="*/ 32385 w 80010"/>
                          <a:gd name="connsiteY1" fmla="*/ 179 h 55651"/>
                          <a:gd name="connsiteX2" fmla="*/ 3810 w 80010"/>
                          <a:gd name="connsiteY2" fmla="*/ 2084 h 55651"/>
                          <a:gd name="connsiteX3" fmla="*/ 0 w 80010"/>
                          <a:gd name="connsiteY3" fmla="*/ 13514 h 55651"/>
                          <a:gd name="connsiteX4" fmla="*/ 7620 w 80010"/>
                          <a:gd name="connsiteY4" fmla="*/ 34469 h 55651"/>
                          <a:gd name="connsiteX5" fmla="*/ 13335 w 80010"/>
                          <a:gd name="connsiteY5" fmla="*/ 38279 h 55651"/>
                          <a:gd name="connsiteX6" fmla="*/ 19050 w 80010"/>
                          <a:gd name="connsiteY6" fmla="*/ 43994 h 55651"/>
                          <a:gd name="connsiteX7" fmla="*/ 48058 w 80010"/>
                          <a:gd name="connsiteY7" fmla="*/ 52454 h 55651"/>
                          <a:gd name="connsiteX8" fmla="*/ 72390 w 80010"/>
                          <a:gd name="connsiteY8" fmla="*/ 42089 h 55651"/>
                          <a:gd name="connsiteX9" fmla="*/ 78105 w 80010"/>
                          <a:gd name="connsiteY9" fmla="*/ 36374 h 55651"/>
                          <a:gd name="connsiteX10" fmla="*/ 80010 w 80010"/>
                          <a:gd name="connsiteY10" fmla="*/ 30659 h 55651"/>
                          <a:gd name="connsiteX11" fmla="*/ 78105 w 80010"/>
                          <a:gd name="connsiteY11" fmla="*/ 19229 h 55651"/>
                          <a:gd name="connsiteX12" fmla="*/ 60960 w 80010"/>
                          <a:gd name="connsiteY12" fmla="*/ 13514 h 55651"/>
                          <a:gd name="connsiteX13" fmla="*/ 53340 w 80010"/>
                          <a:gd name="connsiteY13" fmla="*/ 15419 h 55651"/>
                          <a:gd name="connsiteX14" fmla="*/ 40048 w 80010"/>
                          <a:gd name="connsiteY14" fmla="*/ 8639 h 55651"/>
                          <a:gd name="connsiteX15" fmla="*/ 32385 w 80010"/>
                          <a:gd name="connsiteY15" fmla="*/ 179 h 55651"/>
                          <a:gd name="connsiteX0" fmla="*/ 32385 w 80010"/>
                          <a:gd name="connsiteY0" fmla="*/ 179 h 53227"/>
                          <a:gd name="connsiteX1" fmla="*/ 32385 w 80010"/>
                          <a:gd name="connsiteY1" fmla="*/ 179 h 53227"/>
                          <a:gd name="connsiteX2" fmla="*/ 3810 w 80010"/>
                          <a:gd name="connsiteY2" fmla="*/ 2084 h 53227"/>
                          <a:gd name="connsiteX3" fmla="*/ 0 w 80010"/>
                          <a:gd name="connsiteY3" fmla="*/ 13514 h 53227"/>
                          <a:gd name="connsiteX4" fmla="*/ 7620 w 80010"/>
                          <a:gd name="connsiteY4" fmla="*/ 34469 h 53227"/>
                          <a:gd name="connsiteX5" fmla="*/ 13335 w 80010"/>
                          <a:gd name="connsiteY5" fmla="*/ 38279 h 53227"/>
                          <a:gd name="connsiteX6" fmla="*/ 19050 w 80010"/>
                          <a:gd name="connsiteY6" fmla="*/ 43994 h 53227"/>
                          <a:gd name="connsiteX7" fmla="*/ 48058 w 80010"/>
                          <a:gd name="connsiteY7" fmla="*/ 52454 h 53227"/>
                          <a:gd name="connsiteX8" fmla="*/ 72390 w 80010"/>
                          <a:gd name="connsiteY8" fmla="*/ 42089 h 53227"/>
                          <a:gd name="connsiteX9" fmla="*/ 78105 w 80010"/>
                          <a:gd name="connsiteY9" fmla="*/ 36374 h 53227"/>
                          <a:gd name="connsiteX10" fmla="*/ 80010 w 80010"/>
                          <a:gd name="connsiteY10" fmla="*/ 30659 h 53227"/>
                          <a:gd name="connsiteX11" fmla="*/ 78105 w 80010"/>
                          <a:gd name="connsiteY11" fmla="*/ 19229 h 53227"/>
                          <a:gd name="connsiteX12" fmla="*/ 60960 w 80010"/>
                          <a:gd name="connsiteY12" fmla="*/ 13514 h 53227"/>
                          <a:gd name="connsiteX13" fmla="*/ 53340 w 80010"/>
                          <a:gd name="connsiteY13" fmla="*/ 15419 h 53227"/>
                          <a:gd name="connsiteX14" fmla="*/ 40048 w 80010"/>
                          <a:gd name="connsiteY14" fmla="*/ 8639 h 53227"/>
                          <a:gd name="connsiteX15" fmla="*/ 32385 w 80010"/>
                          <a:gd name="connsiteY15" fmla="*/ 179 h 5322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80010" h="53227">
                            <a:moveTo>
                              <a:pt x="32385" y="179"/>
                            </a:moveTo>
                            <a:lnTo>
                              <a:pt x="32385" y="179"/>
                            </a:lnTo>
                            <a:cubicBezTo>
                              <a:pt x="22860" y="814"/>
                              <a:pt x="12637" y="-1551"/>
                              <a:pt x="3810" y="2084"/>
                            </a:cubicBezTo>
                            <a:cubicBezTo>
                              <a:pt x="96" y="3613"/>
                              <a:pt x="0" y="13514"/>
                              <a:pt x="0" y="13514"/>
                            </a:cubicBezTo>
                            <a:cubicBezTo>
                              <a:pt x="1410" y="20563"/>
                              <a:pt x="2165" y="29014"/>
                              <a:pt x="7620" y="34469"/>
                            </a:cubicBezTo>
                            <a:cubicBezTo>
                              <a:pt x="9239" y="36088"/>
                              <a:pt x="11576" y="36813"/>
                              <a:pt x="13335" y="38279"/>
                            </a:cubicBezTo>
                            <a:cubicBezTo>
                              <a:pt x="15405" y="40004"/>
                              <a:pt x="17145" y="42089"/>
                              <a:pt x="19050" y="43994"/>
                            </a:cubicBezTo>
                            <a:cubicBezTo>
                              <a:pt x="36453" y="53990"/>
                              <a:pt x="29632" y="54059"/>
                              <a:pt x="48058" y="52454"/>
                            </a:cubicBezTo>
                            <a:cubicBezTo>
                              <a:pt x="50339" y="52255"/>
                              <a:pt x="67382" y="44769"/>
                              <a:pt x="72390" y="42089"/>
                            </a:cubicBezTo>
                            <a:cubicBezTo>
                              <a:pt x="77398" y="39409"/>
                              <a:pt x="76200" y="38279"/>
                              <a:pt x="78105" y="36374"/>
                            </a:cubicBezTo>
                            <a:cubicBezTo>
                              <a:pt x="78740" y="34469"/>
                              <a:pt x="80010" y="32667"/>
                              <a:pt x="80010" y="30659"/>
                            </a:cubicBezTo>
                            <a:cubicBezTo>
                              <a:pt x="80010" y="26796"/>
                              <a:pt x="79832" y="22684"/>
                              <a:pt x="78105" y="19229"/>
                            </a:cubicBezTo>
                            <a:cubicBezTo>
                              <a:pt x="75670" y="14359"/>
                              <a:pt x="63693" y="13970"/>
                              <a:pt x="60960" y="13514"/>
                            </a:cubicBezTo>
                            <a:cubicBezTo>
                              <a:pt x="58420" y="14149"/>
                              <a:pt x="56825" y="16231"/>
                              <a:pt x="53340" y="15419"/>
                            </a:cubicBezTo>
                            <a:cubicBezTo>
                              <a:pt x="49855" y="14607"/>
                              <a:pt x="39095" y="11497"/>
                              <a:pt x="40048" y="8639"/>
                            </a:cubicBezTo>
                            <a:lnTo>
                              <a:pt x="32385" y="179"/>
                            </a:lnTo>
                            <a:close/>
                          </a:path>
                        </a:pathLst>
                      </a:custGeom>
                      <a:solidFill>
                        <a:srgbClr val="0D3759"/>
                      </a:solidFill>
                      <a:ln w="3175" cap="flat" cmpd="sng" algn="ctr">
                        <a:solidFill>
                          <a:srgbClr val="FFFFFF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49" name="Freeform: Shape 34">
                        <a:extLst>
                          <a:ext uri="{FF2B5EF4-FFF2-40B4-BE49-F238E27FC236}">
                            <a16:creationId xmlns:a16="http://schemas.microsoft.com/office/drawing/2014/main" id="{985647F5-5B52-FB12-BD7F-21314E33FC9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878794" y="4215604"/>
                        <a:ext cx="27432" cy="27432"/>
                      </a:xfrm>
                      <a:custGeom>
                        <a:avLst/>
                        <a:gdLst>
                          <a:gd name="connsiteX0" fmla="*/ 32385 w 80010"/>
                          <a:gd name="connsiteY0" fmla="*/ 8118 h 64150"/>
                          <a:gd name="connsiteX1" fmla="*/ 32385 w 80010"/>
                          <a:gd name="connsiteY1" fmla="*/ 8118 h 64150"/>
                          <a:gd name="connsiteX2" fmla="*/ 3810 w 80010"/>
                          <a:gd name="connsiteY2" fmla="*/ 10023 h 64150"/>
                          <a:gd name="connsiteX3" fmla="*/ 0 w 80010"/>
                          <a:gd name="connsiteY3" fmla="*/ 21453 h 64150"/>
                          <a:gd name="connsiteX4" fmla="*/ 7620 w 80010"/>
                          <a:gd name="connsiteY4" fmla="*/ 42408 h 64150"/>
                          <a:gd name="connsiteX5" fmla="*/ 13335 w 80010"/>
                          <a:gd name="connsiteY5" fmla="*/ 46218 h 64150"/>
                          <a:gd name="connsiteX6" fmla="*/ 19050 w 80010"/>
                          <a:gd name="connsiteY6" fmla="*/ 51933 h 64150"/>
                          <a:gd name="connsiteX7" fmla="*/ 68580 w 80010"/>
                          <a:gd name="connsiteY7" fmla="*/ 55743 h 64150"/>
                          <a:gd name="connsiteX8" fmla="*/ 72390 w 80010"/>
                          <a:gd name="connsiteY8" fmla="*/ 50028 h 64150"/>
                          <a:gd name="connsiteX9" fmla="*/ 78105 w 80010"/>
                          <a:gd name="connsiteY9" fmla="*/ 44313 h 64150"/>
                          <a:gd name="connsiteX10" fmla="*/ 80010 w 80010"/>
                          <a:gd name="connsiteY10" fmla="*/ 38598 h 64150"/>
                          <a:gd name="connsiteX11" fmla="*/ 78105 w 80010"/>
                          <a:gd name="connsiteY11" fmla="*/ 27168 h 64150"/>
                          <a:gd name="connsiteX12" fmla="*/ 60960 w 80010"/>
                          <a:gd name="connsiteY12" fmla="*/ 21453 h 64150"/>
                          <a:gd name="connsiteX13" fmla="*/ 53340 w 80010"/>
                          <a:gd name="connsiteY13" fmla="*/ 23358 h 64150"/>
                          <a:gd name="connsiteX14" fmla="*/ 57150 w 80010"/>
                          <a:gd name="connsiteY14" fmla="*/ 11928 h 64150"/>
                          <a:gd name="connsiteX15" fmla="*/ 59055 w 80010"/>
                          <a:gd name="connsiteY15" fmla="*/ 6213 h 64150"/>
                          <a:gd name="connsiteX16" fmla="*/ 34290 w 80010"/>
                          <a:gd name="connsiteY16" fmla="*/ 498 h 64150"/>
                          <a:gd name="connsiteX17" fmla="*/ 32385 w 80010"/>
                          <a:gd name="connsiteY17" fmla="*/ 8118 h 64150"/>
                          <a:gd name="connsiteX0" fmla="*/ 32385 w 80010"/>
                          <a:gd name="connsiteY0" fmla="*/ 8118 h 64150"/>
                          <a:gd name="connsiteX1" fmla="*/ 32385 w 80010"/>
                          <a:gd name="connsiteY1" fmla="*/ 8118 h 64150"/>
                          <a:gd name="connsiteX2" fmla="*/ 3810 w 80010"/>
                          <a:gd name="connsiteY2" fmla="*/ 10023 h 64150"/>
                          <a:gd name="connsiteX3" fmla="*/ 0 w 80010"/>
                          <a:gd name="connsiteY3" fmla="*/ 21453 h 64150"/>
                          <a:gd name="connsiteX4" fmla="*/ 7620 w 80010"/>
                          <a:gd name="connsiteY4" fmla="*/ 42408 h 64150"/>
                          <a:gd name="connsiteX5" fmla="*/ 13335 w 80010"/>
                          <a:gd name="connsiteY5" fmla="*/ 46218 h 64150"/>
                          <a:gd name="connsiteX6" fmla="*/ 19050 w 80010"/>
                          <a:gd name="connsiteY6" fmla="*/ 51933 h 64150"/>
                          <a:gd name="connsiteX7" fmla="*/ 68580 w 80010"/>
                          <a:gd name="connsiteY7" fmla="*/ 55743 h 64150"/>
                          <a:gd name="connsiteX8" fmla="*/ 72390 w 80010"/>
                          <a:gd name="connsiteY8" fmla="*/ 50028 h 64150"/>
                          <a:gd name="connsiteX9" fmla="*/ 78105 w 80010"/>
                          <a:gd name="connsiteY9" fmla="*/ 44313 h 64150"/>
                          <a:gd name="connsiteX10" fmla="*/ 80010 w 80010"/>
                          <a:gd name="connsiteY10" fmla="*/ 38598 h 64150"/>
                          <a:gd name="connsiteX11" fmla="*/ 78105 w 80010"/>
                          <a:gd name="connsiteY11" fmla="*/ 27168 h 64150"/>
                          <a:gd name="connsiteX12" fmla="*/ 60960 w 80010"/>
                          <a:gd name="connsiteY12" fmla="*/ 21453 h 64150"/>
                          <a:gd name="connsiteX13" fmla="*/ 53340 w 80010"/>
                          <a:gd name="connsiteY13" fmla="*/ 23358 h 64150"/>
                          <a:gd name="connsiteX14" fmla="*/ 57150 w 80010"/>
                          <a:gd name="connsiteY14" fmla="*/ 11928 h 64150"/>
                          <a:gd name="connsiteX15" fmla="*/ 59055 w 80010"/>
                          <a:gd name="connsiteY15" fmla="*/ 6213 h 64150"/>
                          <a:gd name="connsiteX16" fmla="*/ 34290 w 80010"/>
                          <a:gd name="connsiteY16" fmla="*/ 498 h 64150"/>
                          <a:gd name="connsiteX17" fmla="*/ 32385 w 80010"/>
                          <a:gd name="connsiteY17" fmla="*/ 8118 h 64150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179 h 56211"/>
                          <a:gd name="connsiteX1" fmla="*/ 32385 w 80010"/>
                          <a:gd name="connsiteY1" fmla="*/ 179 h 56211"/>
                          <a:gd name="connsiteX2" fmla="*/ 3810 w 80010"/>
                          <a:gd name="connsiteY2" fmla="*/ 2084 h 56211"/>
                          <a:gd name="connsiteX3" fmla="*/ 0 w 80010"/>
                          <a:gd name="connsiteY3" fmla="*/ 13514 h 56211"/>
                          <a:gd name="connsiteX4" fmla="*/ 7620 w 80010"/>
                          <a:gd name="connsiteY4" fmla="*/ 34469 h 56211"/>
                          <a:gd name="connsiteX5" fmla="*/ 13335 w 80010"/>
                          <a:gd name="connsiteY5" fmla="*/ 38279 h 56211"/>
                          <a:gd name="connsiteX6" fmla="*/ 19050 w 80010"/>
                          <a:gd name="connsiteY6" fmla="*/ 43994 h 56211"/>
                          <a:gd name="connsiteX7" fmla="*/ 68580 w 80010"/>
                          <a:gd name="connsiteY7" fmla="*/ 47804 h 56211"/>
                          <a:gd name="connsiteX8" fmla="*/ 72390 w 80010"/>
                          <a:gd name="connsiteY8" fmla="*/ 42089 h 56211"/>
                          <a:gd name="connsiteX9" fmla="*/ 78105 w 80010"/>
                          <a:gd name="connsiteY9" fmla="*/ 36374 h 56211"/>
                          <a:gd name="connsiteX10" fmla="*/ 80010 w 80010"/>
                          <a:gd name="connsiteY10" fmla="*/ 30659 h 56211"/>
                          <a:gd name="connsiteX11" fmla="*/ 78105 w 80010"/>
                          <a:gd name="connsiteY11" fmla="*/ 19229 h 56211"/>
                          <a:gd name="connsiteX12" fmla="*/ 60960 w 80010"/>
                          <a:gd name="connsiteY12" fmla="*/ 13514 h 56211"/>
                          <a:gd name="connsiteX13" fmla="*/ 53340 w 80010"/>
                          <a:gd name="connsiteY13" fmla="*/ 15419 h 56211"/>
                          <a:gd name="connsiteX14" fmla="*/ 57150 w 80010"/>
                          <a:gd name="connsiteY14" fmla="*/ 3989 h 56211"/>
                          <a:gd name="connsiteX15" fmla="*/ 32385 w 80010"/>
                          <a:gd name="connsiteY15" fmla="*/ 179 h 56211"/>
                          <a:gd name="connsiteX0" fmla="*/ 32385 w 80010"/>
                          <a:gd name="connsiteY0" fmla="*/ 179 h 56211"/>
                          <a:gd name="connsiteX1" fmla="*/ 32385 w 80010"/>
                          <a:gd name="connsiteY1" fmla="*/ 179 h 56211"/>
                          <a:gd name="connsiteX2" fmla="*/ 3810 w 80010"/>
                          <a:gd name="connsiteY2" fmla="*/ 2084 h 56211"/>
                          <a:gd name="connsiteX3" fmla="*/ 0 w 80010"/>
                          <a:gd name="connsiteY3" fmla="*/ 13514 h 56211"/>
                          <a:gd name="connsiteX4" fmla="*/ 7620 w 80010"/>
                          <a:gd name="connsiteY4" fmla="*/ 34469 h 56211"/>
                          <a:gd name="connsiteX5" fmla="*/ 13335 w 80010"/>
                          <a:gd name="connsiteY5" fmla="*/ 38279 h 56211"/>
                          <a:gd name="connsiteX6" fmla="*/ 19050 w 80010"/>
                          <a:gd name="connsiteY6" fmla="*/ 43994 h 56211"/>
                          <a:gd name="connsiteX7" fmla="*/ 68580 w 80010"/>
                          <a:gd name="connsiteY7" fmla="*/ 47804 h 56211"/>
                          <a:gd name="connsiteX8" fmla="*/ 72390 w 80010"/>
                          <a:gd name="connsiteY8" fmla="*/ 42089 h 56211"/>
                          <a:gd name="connsiteX9" fmla="*/ 78105 w 80010"/>
                          <a:gd name="connsiteY9" fmla="*/ 36374 h 56211"/>
                          <a:gd name="connsiteX10" fmla="*/ 80010 w 80010"/>
                          <a:gd name="connsiteY10" fmla="*/ 30659 h 56211"/>
                          <a:gd name="connsiteX11" fmla="*/ 78105 w 80010"/>
                          <a:gd name="connsiteY11" fmla="*/ 19229 h 56211"/>
                          <a:gd name="connsiteX12" fmla="*/ 60960 w 80010"/>
                          <a:gd name="connsiteY12" fmla="*/ 13514 h 56211"/>
                          <a:gd name="connsiteX13" fmla="*/ 53340 w 80010"/>
                          <a:gd name="connsiteY13" fmla="*/ 15419 h 56211"/>
                          <a:gd name="connsiteX14" fmla="*/ 40048 w 80010"/>
                          <a:gd name="connsiteY14" fmla="*/ 8639 h 56211"/>
                          <a:gd name="connsiteX15" fmla="*/ 32385 w 80010"/>
                          <a:gd name="connsiteY15" fmla="*/ 179 h 56211"/>
                          <a:gd name="connsiteX0" fmla="*/ 32385 w 80010"/>
                          <a:gd name="connsiteY0" fmla="*/ 179 h 52171"/>
                          <a:gd name="connsiteX1" fmla="*/ 32385 w 80010"/>
                          <a:gd name="connsiteY1" fmla="*/ 179 h 52171"/>
                          <a:gd name="connsiteX2" fmla="*/ 3810 w 80010"/>
                          <a:gd name="connsiteY2" fmla="*/ 2084 h 52171"/>
                          <a:gd name="connsiteX3" fmla="*/ 0 w 80010"/>
                          <a:gd name="connsiteY3" fmla="*/ 13514 h 52171"/>
                          <a:gd name="connsiteX4" fmla="*/ 7620 w 80010"/>
                          <a:gd name="connsiteY4" fmla="*/ 34469 h 52171"/>
                          <a:gd name="connsiteX5" fmla="*/ 13335 w 80010"/>
                          <a:gd name="connsiteY5" fmla="*/ 38279 h 52171"/>
                          <a:gd name="connsiteX6" fmla="*/ 19050 w 80010"/>
                          <a:gd name="connsiteY6" fmla="*/ 43994 h 52171"/>
                          <a:gd name="connsiteX7" fmla="*/ 68580 w 80010"/>
                          <a:gd name="connsiteY7" fmla="*/ 47804 h 52171"/>
                          <a:gd name="connsiteX8" fmla="*/ 72390 w 80010"/>
                          <a:gd name="connsiteY8" fmla="*/ 42089 h 52171"/>
                          <a:gd name="connsiteX9" fmla="*/ 78105 w 80010"/>
                          <a:gd name="connsiteY9" fmla="*/ 36374 h 52171"/>
                          <a:gd name="connsiteX10" fmla="*/ 80010 w 80010"/>
                          <a:gd name="connsiteY10" fmla="*/ 30659 h 52171"/>
                          <a:gd name="connsiteX11" fmla="*/ 78105 w 80010"/>
                          <a:gd name="connsiteY11" fmla="*/ 19229 h 52171"/>
                          <a:gd name="connsiteX12" fmla="*/ 60960 w 80010"/>
                          <a:gd name="connsiteY12" fmla="*/ 13514 h 52171"/>
                          <a:gd name="connsiteX13" fmla="*/ 53340 w 80010"/>
                          <a:gd name="connsiteY13" fmla="*/ 15419 h 52171"/>
                          <a:gd name="connsiteX14" fmla="*/ 40048 w 80010"/>
                          <a:gd name="connsiteY14" fmla="*/ 8639 h 52171"/>
                          <a:gd name="connsiteX15" fmla="*/ 32385 w 80010"/>
                          <a:gd name="connsiteY15" fmla="*/ 179 h 52171"/>
                          <a:gd name="connsiteX0" fmla="*/ 32385 w 80010"/>
                          <a:gd name="connsiteY0" fmla="*/ 179 h 52432"/>
                          <a:gd name="connsiteX1" fmla="*/ 32385 w 80010"/>
                          <a:gd name="connsiteY1" fmla="*/ 179 h 52432"/>
                          <a:gd name="connsiteX2" fmla="*/ 3810 w 80010"/>
                          <a:gd name="connsiteY2" fmla="*/ 2084 h 52432"/>
                          <a:gd name="connsiteX3" fmla="*/ 0 w 80010"/>
                          <a:gd name="connsiteY3" fmla="*/ 13514 h 52432"/>
                          <a:gd name="connsiteX4" fmla="*/ 7620 w 80010"/>
                          <a:gd name="connsiteY4" fmla="*/ 34469 h 52432"/>
                          <a:gd name="connsiteX5" fmla="*/ 13335 w 80010"/>
                          <a:gd name="connsiteY5" fmla="*/ 38279 h 52432"/>
                          <a:gd name="connsiteX6" fmla="*/ 19050 w 80010"/>
                          <a:gd name="connsiteY6" fmla="*/ 43994 h 52432"/>
                          <a:gd name="connsiteX7" fmla="*/ 68580 w 80010"/>
                          <a:gd name="connsiteY7" fmla="*/ 47804 h 52432"/>
                          <a:gd name="connsiteX8" fmla="*/ 72390 w 80010"/>
                          <a:gd name="connsiteY8" fmla="*/ 42089 h 52432"/>
                          <a:gd name="connsiteX9" fmla="*/ 78105 w 80010"/>
                          <a:gd name="connsiteY9" fmla="*/ 36374 h 52432"/>
                          <a:gd name="connsiteX10" fmla="*/ 80010 w 80010"/>
                          <a:gd name="connsiteY10" fmla="*/ 30659 h 52432"/>
                          <a:gd name="connsiteX11" fmla="*/ 78105 w 80010"/>
                          <a:gd name="connsiteY11" fmla="*/ 19229 h 52432"/>
                          <a:gd name="connsiteX12" fmla="*/ 60960 w 80010"/>
                          <a:gd name="connsiteY12" fmla="*/ 13514 h 52432"/>
                          <a:gd name="connsiteX13" fmla="*/ 53340 w 80010"/>
                          <a:gd name="connsiteY13" fmla="*/ 15419 h 52432"/>
                          <a:gd name="connsiteX14" fmla="*/ 40048 w 80010"/>
                          <a:gd name="connsiteY14" fmla="*/ 8639 h 52432"/>
                          <a:gd name="connsiteX15" fmla="*/ 32385 w 80010"/>
                          <a:gd name="connsiteY15" fmla="*/ 179 h 52432"/>
                          <a:gd name="connsiteX0" fmla="*/ 32385 w 80010"/>
                          <a:gd name="connsiteY0" fmla="*/ 179 h 55651"/>
                          <a:gd name="connsiteX1" fmla="*/ 32385 w 80010"/>
                          <a:gd name="connsiteY1" fmla="*/ 179 h 55651"/>
                          <a:gd name="connsiteX2" fmla="*/ 3810 w 80010"/>
                          <a:gd name="connsiteY2" fmla="*/ 2084 h 55651"/>
                          <a:gd name="connsiteX3" fmla="*/ 0 w 80010"/>
                          <a:gd name="connsiteY3" fmla="*/ 13514 h 55651"/>
                          <a:gd name="connsiteX4" fmla="*/ 7620 w 80010"/>
                          <a:gd name="connsiteY4" fmla="*/ 34469 h 55651"/>
                          <a:gd name="connsiteX5" fmla="*/ 13335 w 80010"/>
                          <a:gd name="connsiteY5" fmla="*/ 38279 h 55651"/>
                          <a:gd name="connsiteX6" fmla="*/ 19050 w 80010"/>
                          <a:gd name="connsiteY6" fmla="*/ 43994 h 55651"/>
                          <a:gd name="connsiteX7" fmla="*/ 48058 w 80010"/>
                          <a:gd name="connsiteY7" fmla="*/ 52454 h 55651"/>
                          <a:gd name="connsiteX8" fmla="*/ 72390 w 80010"/>
                          <a:gd name="connsiteY8" fmla="*/ 42089 h 55651"/>
                          <a:gd name="connsiteX9" fmla="*/ 78105 w 80010"/>
                          <a:gd name="connsiteY9" fmla="*/ 36374 h 55651"/>
                          <a:gd name="connsiteX10" fmla="*/ 80010 w 80010"/>
                          <a:gd name="connsiteY10" fmla="*/ 30659 h 55651"/>
                          <a:gd name="connsiteX11" fmla="*/ 78105 w 80010"/>
                          <a:gd name="connsiteY11" fmla="*/ 19229 h 55651"/>
                          <a:gd name="connsiteX12" fmla="*/ 60960 w 80010"/>
                          <a:gd name="connsiteY12" fmla="*/ 13514 h 55651"/>
                          <a:gd name="connsiteX13" fmla="*/ 53340 w 80010"/>
                          <a:gd name="connsiteY13" fmla="*/ 15419 h 55651"/>
                          <a:gd name="connsiteX14" fmla="*/ 40048 w 80010"/>
                          <a:gd name="connsiteY14" fmla="*/ 8639 h 55651"/>
                          <a:gd name="connsiteX15" fmla="*/ 32385 w 80010"/>
                          <a:gd name="connsiteY15" fmla="*/ 179 h 55651"/>
                          <a:gd name="connsiteX0" fmla="*/ 32385 w 80010"/>
                          <a:gd name="connsiteY0" fmla="*/ 179 h 53227"/>
                          <a:gd name="connsiteX1" fmla="*/ 32385 w 80010"/>
                          <a:gd name="connsiteY1" fmla="*/ 179 h 53227"/>
                          <a:gd name="connsiteX2" fmla="*/ 3810 w 80010"/>
                          <a:gd name="connsiteY2" fmla="*/ 2084 h 53227"/>
                          <a:gd name="connsiteX3" fmla="*/ 0 w 80010"/>
                          <a:gd name="connsiteY3" fmla="*/ 13514 h 53227"/>
                          <a:gd name="connsiteX4" fmla="*/ 7620 w 80010"/>
                          <a:gd name="connsiteY4" fmla="*/ 34469 h 53227"/>
                          <a:gd name="connsiteX5" fmla="*/ 13335 w 80010"/>
                          <a:gd name="connsiteY5" fmla="*/ 38279 h 53227"/>
                          <a:gd name="connsiteX6" fmla="*/ 19050 w 80010"/>
                          <a:gd name="connsiteY6" fmla="*/ 43994 h 53227"/>
                          <a:gd name="connsiteX7" fmla="*/ 48058 w 80010"/>
                          <a:gd name="connsiteY7" fmla="*/ 52454 h 53227"/>
                          <a:gd name="connsiteX8" fmla="*/ 72390 w 80010"/>
                          <a:gd name="connsiteY8" fmla="*/ 42089 h 53227"/>
                          <a:gd name="connsiteX9" fmla="*/ 78105 w 80010"/>
                          <a:gd name="connsiteY9" fmla="*/ 36374 h 53227"/>
                          <a:gd name="connsiteX10" fmla="*/ 80010 w 80010"/>
                          <a:gd name="connsiteY10" fmla="*/ 30659 h 53227"/>
                          <a:gd name="connsiteX11" fmla="*/ 78105 w 80010"/>
                          <a:gd name="connsiteY11" fmla="*/ 19229 h 53227"/>
                          <a:gd name="connsiteX12" fmla="*/ 60960 w 80010"/>
                          <a:gd name="connsiteY12" fmla="*/ 13514 h 53227"/>
                          <a:gd name="connsiteX13" fmla="*/ 53340 w 80010"/>
                          <a:gd name="connsiteY13" fmla="*/ 15419 h 53227"/>
                          <a:gd name="connsiteX14" fmla="*/ 40048 w 80010"/>
                          <a:gd name="connsiteY14" fmla="*/ 8639 h 53227"/>
                          <a:gd name="connsiteX15" fmla="*/ 32385 w 80010"/>
                          <a:gd name="connsiteY15" fmla="*/ 179 h 5322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80010" h="53227">
                            <a:moveTo>
                              <a:pt x="32385" y="179"/>
                            </a:moveTo>
                            <a:lnTo>
                              <a:pt x="32385" y="179"/>
                            </a:lnTo>
                            <a:cubicBezTo>
                              <a:pt x="22860" y="814"/>
                              <a:pt x="12637" y="-1551"/>
                              <a:pt x="3810" y="2084"/>
                            </a:cubicBezTo>
                            <a:cubicBezTo>
                              <a:pt x="96" y="3613"/>
                              <a:pt x="0" y="13514"/>
                              <a:pt x="0" y="13514"/>
                            </a:cubicBezTo>
                            <a:cubicBezTo>
                              <a:pt x="1410" y="20563"/>
                              <a:pt x="2165" y="29014"/>
                              <a:pt x="7620" y="34469"/>
                            </a:cubicBezTo>
                            <a:cubicBezTo>
                              <a:pt x="9239" y="36088"/>
                              <a:pt x="11576" y="36813"/>
                              <a:pt x="13335" y="38279"/>
                            </a:cubicBezTo>
                            <a:cubicBezTo>
                              <a:pt x="15405" y="40004"/>
                              <a:pt x="17145" y="42089"/>
                              <a:pt x="19050" y="43994"/>
                            </a:cubicBezTo>
                            <a:cubicBezTo>
                              <a:pt x="36453" y="53990"/>
                              <a:pt x="29632" y="54059"/>
                              <a:pt x="48058" y="52454"/>
                            </a:cubicBezTo>
                            <a:cubicBezTo>
                              <a:pt x="50339" y="52255"/>
                              <a:pt x="67382" y="44769"/>
                              <a:pt x="72390" y="42089"/>
                            </a:cubicBezTo>
                            <a:cubicBezTo>
                              <a:pt x="77398" y="39409"/>
                              <a:pt x="76200" y="38279"/>
                              <a:pt x="78105" y="36374"/>
                            </a:cubicBezTo>
                            <a:cubicBezTo>
                              <a:pt x="78740" y="34469"/>
                              <a:pt x="80010" y="32667"/>
                              <a:pt x="80010" y="30659"/>
                            </a:cubicBezTo>
                            <a:cubicBezTo>
                              <a:pt x="80010" y="26796"/>
                              <a:pt x="79832" y="22684"/>
                              <a:pt x="78105" y="19229"/>
                            </a:cubicBezTo>
                            <a:cubicBezTo>
                              <a:pt x="75670" y="14359"/>
                              <a:pt x="63693" y="13970"/>
                              <a:pt x="60960" y="13514"/>
                            </a:cubicBezTo>
                            <a:cubicBezTo>
                              <a:pt x="58420" y="14149"/>
                              <a:pt x="56825" y="16231"/>
                              <a:pt x="53340" y="15419"/>
                            </a:cubicBezTo>
                            <a:cubicBezTo>
                              <a:pt x="49855" y="14607"/>
                              <a:pt x="39095" y="11497"/>
                              <a:pt x="40048" y="8639"/>
                            </a:cubicBezTo>
                            <a:lnTo>
                              <a:pt x="32385" y="179"/>
                            </a:lnTo>
                            <a:close/>
                          </a:path>
                        </a:pathLst>
                      </a:custGeom>
                      <a:solidFill>
                        <a:srgbClr val="0D3759"/>
                      </a:solidFill>
                      <a:ln w="3175" cap="flat" cmpd="sng" algn="ctr">
                        <a:solidFill>
                          <a:srgbClr val="FFFFFF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50" name="Freeform: Shape 35">
                        <a:extLst>
                          <a:ext uri="{FF2B5EF4-FFF2-40B4-BE49-F238E27FC236}">
                            <a16:creationId xmlns:a16="http://schemas.microsoft.com/office/drawing/2014/main" id="{168E53A2-10F0-DCB8-89F5-E9078FF9062D}"/>
                          </a:ext>
                        </a:extLst>
                      </p:cNvPr>
                      <p:cNvSpPr/>
                      <p:nvPr/>
                    </p:nvSpPr>
                    <p:spPr>
                      <a:xfrm rot="1648623">
                        <a:off x="8778238" y="4278378"/>
                        <a:ext cx="27432" cy="36576"/>
                      </a:xfrm>
                      <a:custGeom>
                        <a:avLst/>
                        <a:gdLst>
                          <a:gd name="connsiteX0" fmla="*/ 57150 w 104775"/>
                          <a:gd name="connsiteY0" fmla="*/ 76200 h 127635"/>
                          <a:gd name="connsiteX1" fmla="*/ 57150 w 104775"/>
                          <a:gd name="connsiteY1" fmla="*/ 76200 h 127635"/>
                          <a:gd name="connsiteX2" fmla="*/ 24765 w 104775"/>
                          <a:gd name="connsiteY2" fmla="*/ 80010 h 127635"/>
                          <a:gd name="connsiteX3" fmla="*/ 19050 w 104775"/>
                          <a:gd name="connsiteY3" fmla="*/ 83820 h 127635"/>
                          <a:gd name="connsiteX4" fmla="*/ 19050 w 104775"/>
                          <a:gd name="connsiteY4" fmla="*/ 106680 h 127635"/>
                          <a:gd name="connsiteX5" fmla="*/ 24765 w 104775"/>
                          <a:gd name="connsiteY5" fmla="*/ 110490 h 127635"/>
                          <a:gd name="connsiteX6" fmla="*/ 28575 w 104775"/>
                          <a:gd name="connsiteY6" fmla="*/ 116205 h 127635"/>
                          <a:gd name="connsiteX7" fmla="*/ 32385 w 104775"/>
                          <a:gd name="connsiteY7" fmla="*/ 127635 h 127635"/>
                          <a:gd name="connsiteX8" fmla="*/ 81915 w 104775"/>
                          <a:gd name="connsiteY8" fmla="*/ 125730 h 127635"/>
                          <a:gd name="connsiteX9" fmla="*/ 87630 w 104775"/>
                          <a:gd name="connsiteY9" fmla="*/ 123825 h 127635"/>
                          <a:gd name="connsiteX10" fmla="*/ 89535 w 104775"/>
                          <a:gd name="connsiteY10" fmla="*/ 118110 h 127635"/>
                          <a:gd name="connsiteX11" fmla="*/ 93345 w 104775"/>
                          <a:gd name="connsiteY11" fmla="*/ 112395 h 127635"/>
                          <a:gd name="connsiteX12" fmla="*/ 95250 w 104775"/>
                          <a:gd name="connsiteY12" fmla="*/ 99060 h 127635"/>
                          <a:gd name="connsiteX13" fmla="*/ 100965 w 104775"/>
                          <a:gd name="connsiteY13" fmla="*/ 95250 h 127635"/>
                          <a:gd name="connsiteX14" fmla="*/ 104775 w 104775"/>
                          <a:gd name="connsiteY14" fmla="*/ 83820 h 127635"/>
                          <a:gd name="connsiteX15" fmla="*/ 100965 w 104775"/>
                          <a:gd name="connsiteY15" fmla="*/ 57150 h 127635"/>
                          <a:gd name="connsiteX16" fmla="*/ 99060 w 104775"/>
                          <a:gd name="connsiteY16" fmla="*/ 49530 h 127635"/>
                          <a:gd name="connsiteX17" fmla="*/ 95250 w 104775"/>
                          <a:gd name="connsiteY17" fmla="*/ 43815 h 127635"/>
                          <a:gd name="connsiteX18" fmla="*/ 91440 w 104775"/>
                          <a:gd name="connsiteY18" fmla="*/ 32385 h 127635"/>
                          <a:gd name="connsiteX19" fmla="*/ 81915 w 104775"/>
                          <a:gd name="connsiteY19" fmla="*/ 15240 h 127635"/>
                          <a:gd name="connsiteX20" fmla="*/ 70485 w 104775"/>
                          <a:gd name="connsiteY20" fmla="*/ 3810 h 127635"/>
                          <a:gd name="connsiteX21" fmla="*/ 59055 w 104775"/>
                          <a:gd name="connsiteY21" fmla="*/ 0 h 127635"/>
                          <a:gd name="connsiteX22" fmla="*/ 45720 w 104775"/>
                          <a:gd name="connsiteY22" fmla="*/ 1905 h 127635"/>
                          <a:gd name="connsiteX23" fmla="*/ 43815 w 104775"/>
                          <a:gd name="connsiteY23" fmla="*/ 19050 h 127635"/>
                          <a:gd name="connsiteX24" fmla="*/ 41910 w 104775"/>
                          <a:gd name="connsiteY24" fmla="*/ 30480 h 127635"/>
                          <a:gd name="connsiteX25" fmla="*/ 40005 w 104775"/>
                          <a:gd name="connsiteY25" fmla="*/ 43815 h 127635"/>
                          <a:gd name="connsiteX26" fmla="*/ 28575 w 104775"/>
                          <a:gd name="connsiteY26" fmla="*/ 49530 h 127635"/>
                          <a:gd name="connsiteX27" fmla="*/ 3810 w 104775"/>
                          <a:gd name="connsiteY27" fmla="*/ 51435 h 127635"/>
                          <a:gd name="connsiteX28" fmla="*/ 1905 w 104775"/>
                          <a:gd name="connsiteY28" fmla="*/ 59055 h 127635"/>
                          <a:gd name="connsiteX29" fmla="*/ 0 w 104775"/>
                          <a:gd name="connsiteY29" fmla="*/ 64770 h 127635"/>
                          <a:gd name="connsiteX30" fmla="*/ 5715 w 104775"/>
                          <a:gd name="connsiteY30" fmla="*/ 78105 h 127635"/>
                          <a:gd name="connsiteX31" fmla="*/ 5715 w 104775"/>
                          <a:gd name="connsiteY31" fmla="*/ 81915 h 127635"/>
                          <a:gd name="connsiteX32" fmla="*/ 5715 w 104775"/>
                          <a:gd name="connsiteY32" fmla="*/ 87630 h 127635"/>
                          <a:gd name="connsiteX0" fmla="*/ 57150 w 104775"/>
                          <a:gd name="connsiteY0" fmla="*/ 76200 h 127635"/>
                          <a:gd name="connsiteX1" fmla="*/ 24765 w 104775"/>
                          <a:gd name="connsiteY1" fmla="*/ 80010 h 127635"/>
                          <a:gd name="connsiteX2" fmla="*/ 19050 w 104775"/>
                          <a:gd name="connsiteY2" fmla="*/ 83820 h 127635"/>
                          <a:gd name="connsiteX3" fmla="*/ 19050 w 104775"/>
                          <a:gd name="connsiteY3" fmla="*/ 106680 h 127635"/>
                          <a:gd name="connsiteX4" fmla="*/ 24765 w 104775"/>
                          <a:gd name="connsiteY4" fmla="*/ 110490 h 127635"/>
                          <a:gd name="connsiteX5" fmla="*/ 28575 w 104775"/>
                          <a:gd name="connsiteY5" fmla="*/ 116205 h 127635"/>
                          <a:gd name="connsiteX6" fmla="*/ 32385 w 104775"/>
                          <a:gd name="connsiteY6" fmla="*/ 127635 h 127635"/>
                          <a:gd name="connsiteX7" fmla="*/ 81915 w 104775"/>
                          <a:gd name="connsiteY7" fmla="*/ 125730 h 127635"/>
                          <a:gd name="connsiteX8" fmla="*/ 87630 w 104775"/>
                          <a:gd name="connsiteY8" fmla="*/ 123825 h 127635"/>
                          <a:gd name="connsiteX9" fmla="*/ 89535 w 104775"/>
                          <a:gd name="connsiteY9" fmla="*/ 118110 h 127635"/>
                          <a:gd name="connsiteX10" fmla="*/ 93345 w 104775"/>
                          <a:gd name="connsiteY10" fmla="*/ 112395 h 127635"/>
                          <a:gd name="connsiteX11" fmla="*/ 95250 w 104775"/>
                          <a:gd name="connsiteY11" fmla="*/ 99060 h 127635"/>
                          <a:gd name="connsiteX12" fmla="*/ 100965 w 104775"/>
                          <a:gd name="connsiteY12" fmla="*/ 95250 h 127635"/>
                          <a:gd name="connsiteX13" fmla="*/ 104775 w 104775"/>
                          <a:gd name="connsiteY13" fmla="*/ 83820 h 127635"/>
                          <a:gd name="connsiteX14" fmla="*/ 100965 w 104775"/>
                          <a:gd name="connsiteY14" fmla="*/ 57150 h 127635"/>
                          <a:gd name="connsiteX15" fmla="*/ 99060 w 104775"/>
                          <a:gd name="connsiteY15" fmla="*/ 49530 h 127635"/>
                          <a:gd name="connsiteX16" fmla="*/ 95250 w 104775"/>
                          <a:gd name="connsiteY16" fmla="*/ 43815 h 127635"/>
                          <a:gd name="connsiteX17" fmla="*/ 91440 w 104775"/>
                          <a:gd name="connsiteY17" fmla="*/ 32385 h 127635"/>
                          <a:gd name="connsiteX18" fmla="*/ 81915 w 104775"/>
                          <a:gd name="connsiteY18" fmla="*/ 15240 h 127635"/>
                          <a:gd name="connsiteX19" fmla="*/ 70485 w 104775"/>
                          <a:gd name="connsiteY19" fmla="*/ 3810 h 127635"/>
                          <a:gd name="connsiteX20" fmla="*/ 59055 w 104775"/>
                          <a:gd name="connsiteY20" fmla="*/ 0 h 127635"/>
                          <a:gd name="connsiteX21" fmla="*/ 45720 w 104775"/>
                          <a:gd name="connsiteY21" fmla="*/ 1905 h 127635"/>
                          <a:gd name="connsiteX22" fmla="*/ 43815 w 104775"/>
                          <a:gd name="connsiteY22" fmla="*/ 19050 h 127635"/>
                          <a:gd name="connsiteX23" fmla="*/ 41910 w 104775"/>
                          <a:gd name="connsiteY23" fmla="*/ 30480 h 127635"/>
                          <a:gd name="connsiteX24" fmla="*/ 40005 w 104775"/>
                          <a:gd name="connsiteY24" fmla="*/ 43815 h 127635"/>
                          <a:gd name="connsiteX25" fmla="*/ 28575 w 104775"/>
                          <a:gd name="connsiteY25" fmla="*/ 49530 h 127635"/>
                          <a:gd name="connsiteX26" fmla="*/ 3810 w 104775"/>
                          <a:gd name="connsiteY26" fmla="*/ 51435 h 127635"/>
                          <a:gd name="connsiteX27" fmla="*/ 1905 w 104775"/>
                          <a:gd name="connsiteY27" fmla="*/ 59055 h 127635"/>
                          <a:gd name="connsiteX28" fmla="*/ 0 w 104775"/>
                          <a:gd name="connsiteY28" fmla="*/ 64770 h 127635"/>
                          <a:gd name="connsiteX29" fmla="*/ 5715 w 104775"/>
                          <a:gd name="connsiteY29" fmla="*/ 78105 h 127635"/>
                          <a:gd name="connsiteX30" fmla="*/ 5715 w 104775"/>
                          <a:gd name="connsiteY30" fmla="*/ 81915 h 127635"/>
                          <a:gd name="connsiteX31" fmla="*/ 5715 w 104775"/>
                          <a:gd name="connsiteY31" fmla="*/ 87630 h 127635"/>
                          <a:gd name="connsiteX0" fmla="*/ 24765 w 104775"/>
                          <a:gd name="connsiteY0" fmla="*/ 80010 h 127635"/>
                          <a:gd name="connsiteX1" fmla="*/ 19050 w 104775"/>
                          <a:gd name="connsiteY1" fmla="*/ 83820 h 127635"/>
                          <a:gd name="connsiteX2" fmla="*/ 19050 w 104775"/>
                          <a:gd name="connsiteY2" fmla="*/ 106680 h 127635"/>
                          <a:gd name="connsiteX3" fmla="*/ 24765 w 104775"/>
                          <a:gd name="connsiteY3" fmla="*/ 110490 h 127635"/>
                          <a:gd name="connsiteX4" fmla="*/ 28575 w 104775"/>
                          <a:gd name="connsiteY4" fmla="*/ 116205 h 127635"/>
                          <a:gd name="connsiteX5" fmla="*/ 32385 w 104775"/>
                          <a:gd name="connsiteY5" fmla="*/ 127635 h 127635"/>
                          <a:gd name="connsiteX6" fmla="*/ 81915 w 104775"/>
                          <a:gd name="connsiteY6" fmla="*/ 125730 h 127635"/>
                          <a:gd name="connsiteX7" fmla="*/ 87630 w 104775"/>
                          <a:gd name="connsiteY7" fmla="*/ 123825 h 127635"/>
                          <a:gd name="connsiteX8" fmla="*/ 89535 w 104775"/>
                          <a:gd name="connsiteY8" fmla="*/ 118110 h 127635"/>
                          <a:gd name="connsiteX9" fmla="*/ 93345 w 104775"/>
                          <a:gd name="connsiteY9" fmla="*/ 112395 h 127635"/>
                          <a:gd name="connsiteX10" fmla="*/ 95250 w 104775"/>
                          <a:gd name="connsiteY10" fmla="*/ 99060 h 127635"/>
                          <a:gd name="connsiteX11" fmla="*/ 100965 w 104775"/>
                          <a:gd name="connsiteY11" fmla="*/ 95250 h 127635"/>
                          <a:gd name="connsiteX12" fmla="*/ 104775 w 104775"/>
                          <a:gd name="connsiteY12" fmla="*/ 83820 h 127635"/>
                          <a:gd name="connsiteX13" fmla="*/ 100965 w 104775"/>
                          <a:gd name="connsiteY13" fmla="*/ 57150 h 127635"/>
                          <a:gd name="connsiteX14" fmla="*/ 99060 w 104775"/>
                          <a:gd name="connsiteY14" fmla="*/ 49530 h 127635"/>
                          <a:gd name="connsiteX15" fmla="*/ 95250 w 104775"/>
                          <a:gd name="connsiteY15" fmla="*/ 43815 h 127635"/>
                          <a:gd name="connsiteX16" fmla="*/ 91440 w 104775"/>
                          <a:gd name="connsiteY16" fmla="*/ 32385 h 127635"/>
                          <a:gd name="connsiteX17" fmla="*/ 81915 w 104775"/>
                          <a:gd name="connsiteY17" fmla="*/ 15240 h 127635"/>
                          <a:gd name="connsiteX18" fmla="*/ 70485 w 104775"/>
                          <a:gd name="connsiteY18" fmla="*/ 3810 h 127635"/>
                          <a:gd name="connsiteX19" fmla="*/ 59055 w 104775"/>
                          <a:gd name="connsiteY19" fmla="*/ 0 h 127635"/>
                          <a:gd name="connsiteX20" fmla="*/ 45720 w 104775"/>
                          <a:gd name="connsiteY20" fmla="*/ 1905 h 127635"/>
                          <a:gd name="connsiteX21" fmla="*/ 43815 w 104775"/>
                          <a:gd name="connsiteY21" fmla="*/ 19050 h 127635"/>
                          <a:gd name="connsiteX22" fmla="*/ 41910 w 104775"/>
                          <a:gd name="connsiteY22" fmla="*/ 30480 h 127635"/>
                          <a:gd name="connsiteX23" fmla="*/ 40005 w 104775"/>
                          <a:gd name="connsiteY23" fmla="*/ 43815 h 127635"/>
                          <a:gd name="connsiteX24" fmla="*/ 28575 w 104775"/>
                          <a:gd name="connsiteY24" fmla="*/ 49530 h 127635"/>
                          <a:gd name="connsiteX25" fmla="*/ 3810 w 104775"/>
                          <a:gd name="connsiteY25" fmla="*/ 51435 h 127635"/>
                          <a:gd name="connsiteX26" fmla="*/ 1905 w 104775"/>
                          <a:gd name="connsiteY26" fmla="*/ 59055 h 127635"/>
                          <a:gd name="connsiteX27" fmla="*/ 0 w 104775"/>
                          <a:gd name="connsiteY27" fmla="*/ 64770 h 127635"/>
                          <a:gd name="connsiteX28" fmla="*/ 5715 w 104775"/>
                          <a:gd name="connsiteY28" fmla="*/ 78105 h 127635"/>
                          <a:gd name="connsiteX29" fmla="*/ 5715 w 104775"/>
                          <a:gd name="connsiteY29" fmla="*/ 81915 h 127635"/>
                          <a:gd name="connsiteX30" fmla="*/ 5715 w 104775"/>
                          <a:gd name="connsiteY30" fmla="*/ 87630 h 127635"/>
                          <a:gd name="connsiteX0" fmla="*/ 24765 w 104775"/>
                          <a:gd name="connsiteY0" fmla="*/ 80010 h 127635"/>
                          <a:gd name="connsiteX1" fmla="*/ 19050 w 104775"/>
                          <a:gd name="connsiteY1" fmla="*/ 106680 h 127635"/>
                          <a:gd name="connsiteX2" fmla="*/ 24765 w 104775"/>
                          <a:gd name="connsiteY2" fmla="*/ 110490 h 127635"/>
                          <a:gd name="connsiteX3" fmla="*/ 28575 w 104775"/>
                          <a:gd name="connsiteY3" fmla="*/ 116205 h 127635"/>
                          <a:gd name="connsiteX4" fmla="*/ 32385 w 104775"/>
                          <a:gd name="connsiteY4" fmla="*/ 127635 h 127635"/>
                          <a:gd name="connsiteX5" fmla="*/ 81915 w 104775"/>
                          <a:gd name="connsiteY5" fmla="*/ 125730 h 127635"/>
                          <a:gd name="connsiteX6" fmla="*/ 87630 w 104775"/>
                          <a:gd name="connsiteY6" fmla="*/ 123825 h 127635"/>
                          <a:gd name="connsiteX7" fmla="*/ 89535 w 104775"/>
                          <a:gd name="connsiteY7" fmla="*/ 118110 h 127635"/>
                          <a:gd name="connsiteX8" fmla="*/ 93345 w 104775"/>
                          <a:gd name="connsiteY8" fmla="*/ 112395 h 127635"/>
                          <a:gd name="connsiteX9" fmla="*/ 95250 w 104775"/>
                          <a:gd name="connsiteY9" fmla="*/ 99060 h 127635"/>
                          <a:gd name="connsiteX10" fmla="*/ 100965 w 104775"/>
                          <a:gd name="connsiteY10" fmla="*/ 95250 h 127635"/>
                          <a:gd name="connsiteX11" fmla="*/ 104775 w 104775"/>
                          <a:gd name="connsiteY11" fmla="*/ 83820 h 127635"/>
                          <a:gd name="connsiteX12" fmla="*/ 100965 w 104775"/>
                          <a:gd name="connsiteY12" fmla="*/ 57150 h 127635"/>
                          <a:gd name="connsiteX13" fmla="*/ 99060 w 104775"/>
                          <a:gd name="connsiteY13" fmla="*/ 49530 h 127635"/>
                          <a:gd name="connsiteX14" fmla="*/ 95250 w 104775"/>
                          <a:gd name="connsiteY14" fmla="*/ 43815 h 127635"/>
                          <a:gd name="connsiteX15" fmla="*/ 91440 w 104775"/>
                          <a:gd name="connsiteY15" fmla="*/ 32385 h 127635"/>
                          <a:gd name="connsiteX16" fmla="*/ 81915 w 104775"/>
                          <a:gd name="connsiteY16" fmla="*/ 15240 h 127635"/>
                          <a:gd name="connsiteX17" fmla="*/ 70485 w 104775"/>
                          <a:gd name="connsiteY17" fmla="*/ 3810 h 127635"/>
                          <a:gd name="connsiteX18" fmla="*/ 59055 w 104775"/>
                          <a:gd name="connsiteY18" fmla="*/ 0 h 127635"/>
                          <a:gd name="connsiteX19" fmla="*/ 45720 w 104775"/>
                          <a:gd name="connsiteY19" fmla="*/ 1905 h 127635"/>
                          <a:gd name="connsiteX20" fmla="*/ 43815 w 104775"/>
                          <a:gd name="connsiteY20" fmla="*/ 19050 h 127635"/>
                          <a:gd name="connsiteX21" fmla="*/ 41910 w 104775"/>
                          <a:gd name="connsiteY21" fmla="*/ 30480 h 127635"/>
                          <a:gd name="connsiteX22" fmla="*/ 40005 w 104775"/>
                          <a:gd name="connsiteY22" fmla="*/ 43815 h 127635"/>
                          <a:gd name="connsiteX23" fmla="*/ 28575 w 104775"/>
                          <a:gd name="connsiteY23" fmla="*/ 49530 h 127635"/>
                          <a:gd name="connsiteX24" fmla="*/ 3810 w 104775"/>
                          <a:gd name="connsiteY24" fmla="*/ 51435 h 127635"/>
                          <a:gd name="connsiteX25" fmla="*/ 1905 w 104775"/>
                          <a:gd name="connsiteY25" fmla="*/ 59055 h 127635"/>
                          <a:gd name="connsiteX26" fmla="*/ 0 w 104775"/>
                          <a:gd name="connsiteY26" fmla="*/ 64770 h 127635"/>
                          <a:gd name="connsiteX27" fmla="*/ 5715 w 104775"/>
                          <a:gd name="connsiteY27" fmla="*/ 78105 h 127635"/>
                          <a:gd name="connsiteX28" fmla="*/ 5715 w 104775"/>
                          <a:gd name="connsiteY28" fmla="*/ 81915 h 127635"/>
                          <a:gd name="connsiteX29" fmla="*/ 5715 w 104775"/>
                          <a:gd name="connsiteY29" fmla="*/ 8763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5715 w 104775"/>
                          <a:gd name="connsiteY28" fmla="*/ 8763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17145 w 104775"/>
                          <a:gd name="connsiteY28" fmla="*/ 11049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17145 w 104775"/>
                          <a:gd name="connsiteY28" fmla="*/ 110490 h 127635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81915 w 104775"/>
                          <a:gd name="connsiteY15" fmla="*/ 16019 h 128414"/>
                          <a:gd name="connsiteX16" fmla="*/ 70485 w 104775"/>
                          <a:gd name="connsiteY16" fmla="*/ 4589 h 128414"/>
                          <a:gd name="connsiteX17" fmla="*/ 59055 w 104775"/>
                          <a:gd name="connsiteY17" fmla="*/ 779 h 128414"/>
                          <a:gd name="connsiteX18" fmla="*/ 45720 w 104775"/>
                          <a:gd name="connsiteY18" fmla="*/ 2684 h 128414"/>
                          <a:gd name="connsiteX19" fmla="*/ 41910 w 104775"/>
                          <a:gd name="connsiteY19" fmla="*/ 31259 h 128414"/>
                          <a:gd name="connsiteX20" fmla="*/ 40005 w 104775"/>
                          <a:gd name="connsiteY20" fmla="*/ 44594 h 128414"/>
                          <a:gd name="connsiteX21" fmla="*/ 28575 w 104775"/>
                          <a:gd name="connsiteY21" fmla="*/ 50309 h 128414"/>
                          <a:gd name="connsiteX22" fmla="*/ 3810 w 104775"/>
                          <a:gd name="connsiteY22" fmla="*/ 52214 h 128414"/>
                          <a:gd name="connsiteX23" fmla="*/ 1905 w 104775"/>
                          <a:gd name="connsiteY23" fmla="*/ 59834 h 128414"/>
                          <a:gd name="connsiteX24" fmla="*/ 0 w 104775"/>
                          <a:gd name="connsiteY24" fmla="*/ 65549 h 128414"/>
                          <a:gd name="connsiteX25" fmla="*/ 5715 w 104775"/>
                          <a:gd name="connsiteY25" fmla="*/ 78884 h 128414"/>
                          <a:gd name="connsiteX26" fmla="*/ 5715 w 104775"/>
                          <a:gd name="connsiteY26" fmla="*/ 82694 h 128414"/>
                          <a:gd name="connsiteX27" fmla="*/ 17145 w 104775"/>
                          <a:gd name="connsiteY27" fmla="*/ 111269 h 128414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70485 w 104775"/>
                          <a:gd name="connsiteY15" fmla="*/ 4589 h 128414"/>
                          <a:gd name="connsiteX16" fmla="*/ 59055 w 104775"/>
                          <a:gd name="connsiteY16" fmla="*/ 779 h 128414"/>
                          <a:gd name="connsiteX17" fmla="*/ 45720 w 104775"/>
                          <a:gd name="connsiteY17" fmla="*/ 2684 h 128414"/>
                          <a:gd name="connsiteX18" fmla="*/ 41910 w 104775"/>
                          <a:gd name="connsiteY18" fmla="*/ 31259 h 128414"/>
                          <a:gd name="connsiteX19" fmla="*/ 40005 w 104775"/>
                          <a:gd name="connsiteY19" fmla="*/ 44594 h 128414"/>
                          <a:gd name="connsiteX20" fmla="*/ 28575 w 104775"/>
                          <a:gd name="connsiteY20" fmla="*/ 50309 h 128414"/>
                          <a:gd name="connsiteX21" fmla="*/ 3810 w 104775"/>
                          <a:gd name="connsiteY21" fmla="*/ 52214 h 128414"/>
                          <a:gd name="connsiteX22" fmla="*/ 1905 w 104775"/>
                          <a:gd name="connsiteY22" fmla="*/ 59834 h 128414"/>
                          <a:gd name="connsiteX23" fmla="*/ 0 w 104775"/>
                          <a:gd name="connsiteY23" fmla="*/ 65549 h 128414"/>
                          <a:gd name="connsiteX24" fmla="*/ 5715 w 104775"/>
                          <a:gd name="connsiteY24" fmla="*/ 78884 h 128414"/>
                          <a:gd name="connsiteX25" fmla="*/ 5715 w 104775"/>
                          <a:gd name="connsiteY25" fmla="*/ 82694 h 128414"/>
                          <a:gd name="connsiteX26" fmla="*/ 17145 w 104775"/>
                          <a:gd name="connsiteY26" fmla="*/ 111269 h 128414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70485 w 104775"/>
                          <a:gd name="connsiteY15" fmla="*/ 4589 h 128414"/>
                          <a:gd name="connsiteX16" fmla="*/ 59055 w 104775"/>
                          <a:gd name="connsiteY16" fmla="*/ 779 h 128414"/>
                          <a:gd name="connsiteX17" fmla="*/ 45720 w 104775"/>
                          <a:gd name="connsiteY17" fmla="*/ 2684 h 128414"/>
                          <a:gd name="connsiteX18" fmla="*/ 41910 w 104775"/>
                          <a:gd name="connsiteY18" fmla="*/ 31259 h 128414"/>
                          <a:gd name="connsiteX19" fmla="*/ 40005 w 104775"/>
                          <a:gd name="connsiteY19" fmla="*/ 44594 h 128414"/>
                          <a:gd name="connsiteX20" fmla="*/ 3810 w 104775"/>
                          <a:gd name="connsiteY20" fmla="*/ 52214 h 128414"/>
                          <a:gd name="connsiteX21" fmla="*/ 1905 w 104775"/>
                          <a:gd name="connsiteY21" fmla="*/ 59834 h 128414"/>
                          <a:gd name="connsiteX22" fmla="*/ 0 w 104775"/>
                          <a:gd name="connsiteY22" fmla="*/ 65549 h 128414"/>
                          <a:gd name="connsiteX23" fmla="*/ 5715 w 104775"/>
                          <a:gd name="connsiteY23" fmla="*/ 78884 h 128414"/>
                          <a:gd name="connsiteX24" fmla="*/ 5715 w 104775"/>
                          <a:gd name="connsiteY24" fmla="*/ 82694 h 128414"/>
                          <a:gd name="connsiteX25" fmla="*/ 17145 w 104775"/>
                          <a:gd name="connsiteY25" fmla="*/ 111269 h 128414"/>
                          <a:gd name="connsiteX0" fmla="*/ 19050 w 104775"/>
                          <a:gd name="connsiteY0" fmla="*/ 107492 h 128447"/>
                          <a:gd name="connsiteX1" fmla="*/ 24765 w 104775"/>
                          <a:gd name="connsiteY1" fmla="*/ 111302 h 128447"/>
                          <a:gd name="connsiteX2" fmla="*/ 28575 w 104775"/>
                          <a:gd name="connsiteY2" fmla="*/ 117017 h 128447"/>
                          <a:gd name="connsiteX3" fmla="*/ 32385 w 104775"/>
                          <a:gd name="connsiteY3" fmla="*/ 128447 h 128447"/>
                          <a:gd name="connsiteX4" fmla="*/ 81915 w 104775"/>
                          <a:gd name="connsiteY4" fmla="*/ 126542 h 128447"/>
                          <a:gd name="connsiteX5" fmla="*/ 87630 w 104775"/>
                          <a:gd name="connsiteY5" fmla="*/ 124637 h 128447"/>
                          <a:gd name="connsiteX6" fmla="*/ 89535 w 104775"/>
                          <a:gd name="connsiteY6" fmla="*/ 118922 h 128447"/>
                          <a:gd name="connsiteX7" fmla="*/ 93345 w 104775"/>
                          <a:gd name="connsiteY7" fmla="*/ 113207 h 128447"/>
                          <a:gd name="connsiteX8" fmla="*/ 95250 w 104775"/>
                          <a:gd name="connsiteY8" fmla="*/ 99872 h 128447"/>
                          <a:gd name="connsiteX9" fmla="*/ 100965 w 104775"/>
                          <a:gd name="connsiteY9" fmla="*/ 96062 h 128447"/>
                          <a:gd name="connsiteX10" fmla="*/ 104775 w 104775"/>
                          <a:gd name="connsiteY10" fmla="*/ 84632 h 128447"/>
                          <a:gd name="connsiteX11" fmla="*/ 100965 w 104775"/>
                          <a:gd name="connsiteY11" fmla="*/ 57962 h 128447"/>
                          <a:gd name="connsiteX12" fmla="*/ 99060 w 104775"/>
                          <a:gd name="connsiteY12" fmla="*/ 50342 h 128447"/>
                          <a:gd name="connsiteX13" fmla="*/ 95250 w 104775"/>
                          <a:gd name="connsiteY13" fmla="*/ 44627 h 128447"/>
                          <a:gd name="connsiteX14" fmla="*/ 91440 w 104775"/>
                          <a:gd name="connsiteY14" fmla="*/ 33197 h 128447"/>
                          <a:gd name="connsiteX15" fmla="*/ 70485 w 104775"/>
                          <a:gd name="connsiteY15" fmla="*/ 4622 h 128447"/>
                          <a:gd name="connsiteX16" fmla="*/ 45720 w 104775"/>
                          <a:gd name="connsiteY16" fmla="*/ 2717 h 128447"/>
                          <a:gd name="connsiteX17" fmla="*/ 41910 w 104775"/>
                          <a:gd name="connsiteY17" fmla="*/ 31292 h 128447"/>
                          <a:gd name="connsiteX18" fmla="*/ 40005 w 104775"/>
                          <a:gd name="connsiteY18" fmla="*/ 44627 h 128447"/>
                          <a:gd name="connsiteX19" fmla="*/ 3810 w 104775"/>
                          <a:gd name="connsiteY19" fmla="*/ 52247 h 128447"/>
                          <a:gd name="connsiteX20" fmla="*/ 1905 w 104775"/>
                          <a:gd name="connsiteY20" fmla="*/ 59867 h 128447"/>
                          <a:gd name="connsiteX21" fmla="*/ 0 w 104775"/>
                          <a:gd name="connsiteY21" fmla="*/ 65582 h 128447"/>
                          <a:gd name="connsiteX22" fmla="*/ 5715 w 104775"/>
                          <a:gd name="connsiteY22" fmla="*/ 78917 h 128447"/>
                          <a:gd name="connsiteX23" fmla="*/ 5715 w 104775"/>
                          <a:gd name="connsiteY23" fmla="*/ 82727 h 128447"/>
                          <a:gd name="connsiteX24" fmla="*/ 17145 w 104775"/>
                          <a:gd name="connsiteY24" fmla="*/ 111302 h 128447"/>
                          <a:gd name="connsiteX0" fmla="*/ 19050 w 104775"/>
                          <a:gd name="connsiteY0" fmla="*/ 102874 h 123829"/>
                          <a:gd name="connsiteX1" fmla="*/ 24765 w 104775"/>
                          <a:gd name="connsiteY1" fmla="*/ 106684 h 123829"/>
                          <a:gd name="connsiteX2" fmla="*/ 28575 w 104775"/>
                          <a:gd name="connsiteY2" fmla="*/ 112399 h 123829"/>
                          <a:gd name="connsiteX3" fmla="*/ 32385 w 104775"/>
                          <a:gd name="connsiteY3" fmla="*/ 123829 h 123829"/>
                          <a:gd name="connsiteX4" fmla="*/ 81915 w 104775"/>
                          <a:gd name="connsiteY4" fmla="*/ 121924 h 123829"/>
                          <a:gd name="connsiteX5" fmla="*/ 87630 w 104775"/>
                          <a:gd name="connsiteY5" fmla="*/ 120019 h 123829"/>
                          <a:gd name="connsiteX6" fmla="*/ 89535 w 104775"/>
                          <a:gd name="connsiteY6" fmla="*/ 114304 h 123829"/>
                          <a:gd name="connsiteX7" fmla="*/ 93345 w 104775"/>
                          <a:gd name="connsiteY7" fmla="*/ 108589 h 123829"/>
                          <a:gd name="connsiteX8" fmla="*/ 95250 w 104775"/>
                          <a:gd name="connsiteY8" fmla="*/ 95254 h 123829"/>
                          <a:gd name="connsiteX9" fmla="*/ 100965 w 104775"/>
                          <a:gd name="connsiteY9" fmla="*/ 91444 h 123829"/>
                          <a:gd name="connsiteX10" fmla="*/ 104775 w 104775"/>
                          <a:gd name="connsiteY10" fmla="*/ 80014 h 123829"/>
                          <a:gd name="connsiteX11" fmla="*/ 100965 w 104775"/>
                          <a:gd name="connsiteY11" fmla="*/ 53344 h 123829"/>
                          <a:gd name="connsiteX12" fmla="*/ 99060 w 104775"/>
                          <a:gd name="connsiteY12" fmla="*/ 45724 h 123829"/>
                          <a:gd name="connsiteX13" fmla="*/ 95250 w 104775"/>
                          <a:gd name="connsiteY13" fmla="*/ 40009 h 123829"/>
                          <a:gd name="connsiteX14" fmla="*/ 91440 w 104775"/>
                          <a:gd name="connsiteY14" fmla="*/ 28579 h 123829"/>
                          <a:gd name="connsiteX15" fmla="*/ 70485 w 104775"/>
                          <a:gd name="connsiteY15" fmla="*/ 4 h 123829"/>
                          <a:gd name="connsiteX16" fmla="*/ 41910 w 104775"/>
                          <a:gd name="connsiteY16" fmla="*/ 26674 h 123829"/>
                          <a:gd name="connsiteX17" fmla="*/ 40005 w 104775"/>
                          <a:gd name="connsiteY17" fmla="*/ 40009 h 123829"/>
                          <a:gd name="connsiteX18" fmla="*/ 3810 w 104775"/>
                          <a:gd name="connsiteY18" fmla="*/ 47629 h 123829"/>
                          <a:gd name="connsiteX19" fmla="*/ 1905 w 104775"/>
                          <a:gd name="connsiteY19" fmla="*/ 55249 h 123829"/>
                          <a:gd name="connsiteX20" fmla="*/ 0 w 104775"/>
                          <a:gd name="connsiteY20" fmla="*/ 60964 h 123829"/>
                          <a:gd name="connsiteX21" fmla="*/ 5715 w 104775"/>
                          <a:gd name="connsiteY21" fmla="*/ 74299 h 123829"/>
                          <a:gd name="connsiteX22" fmla="*/ 5715 w 104775"/>
                          <a:gd name="connsiteY22" fmla="*/ 78109 h 123829"/>
                          <a:gd name="connsiteX23" fmla="*/ 17145 w 104775"/>
                          <a:gd name="connsiteY23" fmla="*/ 106684 h 123829"/>
                          <a:gd name="connsiteX0" fmla="*/ 19050 w 104775"/>
                          <a:gd name="connsiteY0" fmla="*/ 77050 h 98005"/>
                          <a:gd name="connsiteX1" fmla="*/ 24765 w 104775"/>
                          <a:gd name="connsiteY1" fmla="*/ 80860 h 98005"/>
                          <a:gd name="connsiteX2" fmla="*/ 28575 w 104775"/>
                          <a:gd name="connsiteY2" fmla="*/ 86575 h 98005"/>
                          <a:gd name="connsiteX3" fmla="*/ 32385 w 104775"/>
                          <a:gd name="connsiteY3" fmla="*/ 98005 h 98005"/>
                          <a:gd name="connsiteX4" fmla="*/ 81915 w 104775"/>
                          <a:gd name="connsiteY4" fmla="*/ 96100 h 98005"/>
                          <a:gd name="connsiteX5" fmla="*/ 87630 w 104775"/>
                          <a:gd name="connsiteY5" fmla="*/ 94195 h 98005"/>
                          <a:gd name="connsiteX6" fmla="*/ 89535 w 104775"/>
                          <a:gd name="connsiteY6" fmla="*/ 88480 h 98005"/>
                          <a:gd name="connsiteX7" fmla="*/ 93345 w 104775"/>
                          <a:gd name="connsiteY7" fmla="*/ 82765 h 98005"/>
                          <a:gd name="connsiteX8" fmla="*/ 95250 w 104775"/>
                          <a:gd name="connsiteY8" fmla="*/ 69430 h 98005"/>
                          <a:gd name="connsiteX9" fmla="*/ 100965 w 104775"/>
                          <a:gd name="connsiteY9" fmla="*/ 65620 h 98005"/>
                          <a:gd name="connsiteX10" fmla="*/ 104775 w 104775"/>
                          <a:gd name="connsiteY10" fmla="*/ 54190 h 98005"/>
                          <a:gd name="connsiteX11" fmla="*/ 100965 w 104775"/>
                          <a:gd name="connsiteY11" fmla="*/ 27520 h 98005"/>
                          <a:gd name="connsiteX12" fmla="*/ 99060 w 104775"/>
                          <a:gd name="connsiteY12" fmla="*/ 19900 h 98005"/>
                          <a:gd name="connsiteX13" fmla="*/ 95250 w 104775"/>
                          <a:gd name="connsiteY13" fmla="*/ 14185 h 98005"/>
                          <a:gd name="connsiteX14" fmla="*/ 91440 w 104775"/>
                          <a:gd name="connsiteY14" fmla="*/ 2755 h 98005"/>
                          <a:gd name="connsiteX15" fmla="*/ 41910 w 104775"/>
                          <a:gd name="connsiteY15" fmla="*/ 850 h 98005"/>
                          <a:gd name="connsiteX16" fmla="*/ 40005 w 104775"/>
                          <a:gd name="connsiteY16" fmla="*/ 14185 h 98005"/>
                          <a:gd name="connsiteX17" fmla="*/ 3810 w 104775"/>
                          <a:gd name="connsiteY17" fmla="*/ 21805 h 98005"/>
                          <a:gd name="connsiteX18" fmla="*/ 1905 w 104775"/>
                          <a:gd name="connsiteY18" fmla="*/ 29425 h 98005"/>
                          <a:gd name="connsiteX19" fmla="*/ 0 w 104775"/>
                          <a:gd name="connsiteY19" fmla="*/ 35140 h 98005"/>
                          <a:gd name="connsiteX20" fmla="*/ 5715 w 104775"/>
                          <a:gd name="connsiteY20" fmla="*/ 48475 h 98005"/>
                          <a:gd name="connsiteX21" fmla="*/ 5715 w 104775"/>
                          <a:gd name="connsiteY21" fmla="*/ 52285 h 98005"/>
                          <a:gd name="connsiteX22" fmla="*/ 17145 w 104775"/>
                          <a:gd name="connsiteY22" fmla="*/ 80860 h 98005"/>
                          <a:gd name="connsiteX0" fmla="*/ 19050 w 104775"/>
                          <a:gd name="connsiteY0" fmla="*/ 76200 h 97155"/>
                          <a:gd name="connsiteX1" fmla="*/ 24765 w 104775"/>
                          <a:gd name="connsiteY1" fmla="*/ 80010 h 97155"/>
                          <a:gd name="connsiteX2" fmla="*/ 28575 w 104775"/>
                          <a:gd name="connsiteY2" fmla="*/ 85725 h 97155"/>
                          <a:gd name="connsiteX3" fmla="*/ 32385 w 104775"/>
                          <a:gd name="connsiteY3" fmla="*/ 97155 h 97155"/>
                          <a:gd name="connsiteX4" fmla="*/ 81915 w 104775"/>
                          <a:gd name="connsiteY4" fmla="*/ 95250 h 97155"/>
                          <a:gd name="connsiteX5" fmla="*/ 87630 w 104775"/>
                          <a:gd name="connsiteY5" fmla="*/ 93345 h 97155"/>
                          <a:gd name="connsiteX6" fmla="*/ 89535 w 104775"/>
                          <a:gd name="connsiteY6" fmla="*/ 87630 h 97155"/>
                          <a:gd name="connsiteX7" fmla="*/ 93345 w 104775"/>
                          <a:gd name="connsiteY7" fmla="*/ 81915 h 97155"/>
                          <a:gd name="connsiteX8" fmla="*/ 95250 w 104775"/>
                          <a:gd name="connsiteY8" fmla="*/ 68580 h 97155"/>
                          <a:gd name="connsiteX9" fmla="*/ 100965 w 104775"/>
                          <a:gd name="connsiteY9" fmla="*/ 64770 h 97155"/>
                          <a:gd name="connsiteX10" fmla="*/ 104775 w 104775"/>
                          <a:gd name="connsiteY10" fmla="*/ 53340 h 97155"/>
                          <a:gd name="connsiteX11" fmla="*/ 100965 w 104775"/>
                          <a:gd name="connsiteY11" fmla="*/ 26670 h 97155"/>
                          <a:gd name="connsiteX12" fmla="*/ 99060 w 104775"/>
                          <a:gd name="connsiteY12" fmla="*/ 19050 h 97155"/>
                          <a:gd name="connsiteX13" fmla="*/ 95250 w 104775"/>
                          <a:gd name="connsiteY13" fmla="*/ 13335 h 97155"/>
                          <a:gd name="connsiteX14" fmla="*/ 41910 w 104775"/>
                          <a:gd name="connsiteY14" fmla="*/ 0 h 97155"/>
                          <a:gd name="connsiteX15" fmla="*/ 40005 w 104775"/>
                          <a:gd name="connsiteY15" fmla="*/ 13335 h 97155"/>
                          <a:gd name="connsiteX16" fmla="*/ 3810 w 104775"/>
                          <a:gd name="connsiteY16" fmla="*/ 20955 h 97155"/>
                          <a:gd name="connsiteX17" fmla="*/ 1905 w 104775"/>
                          <a:gd name="connsiteY17" fmla="*/ 28575 h 97155"/>
                          <a:gd name="connsiteX18" fmla="*/ 0 w 104775"/>
                          <a:gd name="connsiteY18" fmla="*/ 34290 h 97155"/>
                          <a:gd name="connsiteX19" fmla="*/ 5715 w 104775"/>
                          <a:gd name="connsiteY19" fmla="*/ 47625 h 97155"/>
                          <a:gd name="connsiteX20" fmla="*/ 5715 w 104775"/>
                          <a:gd name="connsiteY20" fmla="*/ 51435 h 97155"/>
                          <a:gd name="connsiteX21" fmla="*/ 17145 w 104775"/>
                          <a:gd name="connsiteY21" fmla="*/ 80010 h 97155"/>
                          <a:gd name="connsiteX0" fmla="*/ 19050 w 104775"/>
                          <a:gd name="connsiteY0" fmla="*/ 76298 h 97253"/>
                          <a:gd name="connsiteX1" fmla="*/ 24765 w 104775"/>
                          <a:gd name="connsiteY1" fmla="*/ 80108 h 97253"/>
                          <a:gd name="connsiteX2" fmla="*/ 28575 w 104775"/>
                          <a:gd name="connsiteY2" fmla="*/ 85823 h 97253"/>
                          <a:gd name="connsiteX3" fmla="*/ 32385 w 104775"/>
                          <a:gd name="connsiteY3" fmla="*/ 97253 h 97253"/>
                          <a:gd name="connsiteX4" fmla="*/ 81915 w 104775"/>
                          <a:gd name="connsiteY4" fmla="*/ 95348 h 97253"/>
                          <a:gd name="connsiteX5" fmla="*/ 87630 w 104775"/>
                          <a:gd name="connsiteY5" fmla="*/ 93443 h 97253"/>
                          <a:gd name="connsiteX6" fmla="*/ 89535 w 104775"/>
                          <a:gd name="connsiteY6" fmla="*/ 87728 h 97253"/>
                          <a:gd name="connsiteX7" fmla="*/ 93345 w 104775"/>
                          <a:gd name="connsiteY7" fmla="*/ 82013 h 97253"/>
                          <a:gd name="connsiteX8" fmla="*/ 95250 w 104775"/>
                          <a:gd name="connsiteY8" fmla="*/ 68678 h 97253"/>
                          <a:gd name="connsiteX9" fmla="*/ 100965 w 104775"/>
                          <a:gd name="connsiteY9" fmla="*/ 64868 h 97253"/>
                          <a:gd name="connsiteX10" fmla="*/ 104775 w 104775"/>
                          <a:gd name="connsiteY10" fmla="*/ 53438 h 97253"/>
                          <a:gd name="connsiteX11" fmla="*/ 100965 w 104775"/>
                          <a:gd name="connsiteY11" fmla="*/ 26768 h 97253"/>
                          <a:gd name="connsiteX12" fmla="*/ 99060 w 104775"/>
                          <a:gd name="connsiteY12" fmla="*/ 19148 h 97253"/>
                          <a:gd name="connsiteX13" fmla="*/ 95250 w 104775"/>
                          <a:gd name="connsiteY13" fmla="*/ 13433 h 97253"/>
                          <a:gd name="connsiteX14" fmla="*/ 41910 w 104775"/>
                          <a:gd name="connsiteY14" fmla="*/ 98 h 97253"/>
                          <a:gd name="connsiteX15" fmla="*/ 3810 w 104775"/>
                          <a:gd name="connsiteY15" fmla="*/ 21053 h 97253"/>
                          <a:gd name="connsiteX16" fmla="*/ 1905 w 104775"/>
                          <a:gd name="connsiteY16" fmla="*/ 28673 h 97253"/>
                          <a:gd name="connsiteX17" fmla="*/ 0 w 104775"/>
                          <a:gd name="connsiteY17" fmla="*/ 34388 h 97253"/>
                          <a:gd name="connsiteX18" fmla="*/ 5715 w 104775"/>
                          <a:gd name="connsiteY18" fmla="*/ 47723 h 97253"/>
                          <a:gd name="connsiteX19" fmla="*/ 5715 w 104775"/>
                          <a:gd name="connsiteY19" fmla="*/ 51533 h 97253"/>
                          <a:gd name="connsiteX20" fmla="*/ 17145 w 104775"/>
                          <a:gd name="connsiteY20" fmla="*/ 80108 h 97253"/>
                          <a:gd name="connsiteX0" fmla="*/ 19050 w 104775"/>
                          <a:gd name="connsiteY0" fmla="*/ 76205 h 97160"/>
                          <a:gd name="connsiteX1" fmla="*/ 24765 w 104775"/>
                          <a:gd name="connsiteY1" fmla="*/ 80015 h 97160"/>
                          <a:gd name="connsiteX2" fmla="*/ 28575 w 104775"/>
                          <a:gd name="connsiteY2" fmla="*/ 85730 h 97160"/>
                          <a:gd name="connsiteX3" fmla="*/ 32385 w 104775"/>
                          <a:gd name="connsiteY3" fmla="*/ 97160 h 97160"/>
                          <a:gd name="connsiteX4" fmla="*/ 81915 w 104775"/>
                          <a:gd name="connsiteY4" fmla="*/ 95255 h 97160"/>
                          <a:gd name="connsiteX5" fmla="*/ 87630 w 104775"/>
                          <a:gd name="connsiteY5" fmla="*/ 93350 h 97160"/>
                          <a:gd name="connsiteX6" fmla="*/ 89535 w 104775"/>
                          <a:gd name="connsiteY6" fmla="*/ 87635 h 97160"/>
                          <a:gd name="connsiteX7" fmla="*/ 93345 w 104775"/>
                          <a:gd name="connsiteY7" fmla="*/ 81920 h 97160"/>
                          <a:gd name="connsiteX8" fmla="*/ 95250 w 104775"/>
                          <a:gd name="connsiteY8" fmla="*/ 68585 h 97160"/>
                          <a:gd name="connsiteX9" fmla="*/ 100965 w 104775"/>
                          <a:gd name="connsiteY9" fmla="*/ 64775 h 97160"/>
                          <a:gd name="connsiteX10" fmla="*/ 104775 w 104775"/>
                          <a:gd name="connsiteY10" fmla="*/ 53345 h 97160"/>
                          <a:gd name="connsiteX11" fmla="*/ 100965 w 104775"/>
                          <a:gd name="connsiteY11" fmla="*/ 26675 h 97160"/>
                          <a:gd name="connsiteX12" fmla="*/ 99060 w 104775"/>
                          <a:gd name="connsiteY12" fmla="*/ 19055 h 97160"/>
                          <a:gd name="connsiteX13" fmla="*/ 41910 w 104775"/>
                          <a:gd name="connsiteY13" fmla="*/ 5 h 97160"/>
                          <a:gd name="connsiteX14" fmla="*/ 3810 w 104775"/>
                          <a:gd name="connsiteY14" fmla="*/ 20960 h 97160"/>
                          <a:gd name="connsiteX15" fmla="*/ 1905 w 104775"/>
                          <a:gd name="connsiteY15" fmla="*/ 28580 h 97160"/>
                          <a:gd name="connsiteX16" fmla="*/ 0 w 104775"/>
                          <a:gd name="connsiteY16" fmla="*/ 34295 h 97160"/>
                          <a:gd name="connsiteX17" fmla="*/ 5715 w 104775"/>
                          <a:gd name="connsiteY17" fmla="*/ 47630 h 97160"/>
                          <a:gd name="connsiteX18" fmla="*/ 5715 w 104775"/>
                          <a:gd name="connsiteY18" fmla="*/ 51440 h 97160"/>
                          <a:gd name="connsiteX19" fmla="*/ 17145 w 104775"/>
                          <a:gd name="connsiteY19" fmla="*/ 80015 h 97160"/>
                          <a:gd name="connsiteX0" fmla="*/ 19050 w 105971"/>
                          <a:gd name="connsiteY0" fmla="*/ 76238 h 97193"/>
                          <a:gd name="connsiteX1" fmla="*/ 24765 w 105971"/>
                          <a:gd name="connsiteY1" fmla="*/ 80048 h 97193"/>
                          <a:gd name="connsiteX2" fmla="*/ 28575 w 105971"/>
                          <a:gd name="connsiteY2" fmla="*/ 85763 h 97193"/>
                          <a:gd name="connsiteX3" fmla="*/ 32385 w 105971"/>
                          <a:gd name="connsiteY3" fmla="*/ 97193 h 97193"/>
                          <a:gd name="connsiteX4" fmla="*/ 81915 w 105971"/>
                          <a:gd name="connsiteY4" fmla="*/ 95288 h 97193"/>
                          <a:gd name="connsiteX5" fmla="*/ 87630 w 105971"/>
                          <a:gd name="connsiteY5" fmla="*/ 93383 h 97193"/>
                          <a:gd name="connsiteX6" fmla="*/ 89535 w 105971"/>
                          <a:gd name="connsiteY6" fmla="*/ 87668 h 97193"/>
                          <a:gd name="connsiteX7" fmla="*/ 93345 w 105971"/>
                          <a:gd name="connsiteY7" fmla="*/ 81953 h 97193"/>
                          <a:gd name="connsiteX8" fmla="*/ 95250 w 105971"/>
                          <a:gd name="connsiteY8" fmla="*/ 68618 h 97193"/>
                          <a:gd name="connsiteX9" fmla="*/ 100965 w 105971"/>
                          <a:gd name="connsiteY9" fmla="*/ 64808 h 97193"/>
                          <a:gd name="connsiteX10" fmla="*/ 104775 w 105971"/>
                          <a:gd name="connsiteY10" fmla="*/ 53378 h 97193"/>
                          <a:gd name="connsiteX11" fmla="*/ 100965 w 105971"/>
                          <a:gd name="connsiteY11" fmla="*/ 26708 h 97193"/>
                          <a:gd name="connsiteX12" fmla="*/ 41910 w 105971"/>
                          <a:gd name="connsiteY12" fmla="*/ 38 h 97193"/>
                          <a:gd name="connsiteX13" fmla="*/ 3810 w 105971"/>
                          <a:gd name="connsiteY13" fmla="*/ 20993 h 97193"/>
                          <a:gd name="connsiteX14" fmla="*/ 1905 w 105971"/>
                          <a:gd name="connsiteY14" fmla="*/ 28613 h 97193"/>
                          <a:gd name="connsiteX15" fmla="*/ 0 w 105971"/>
                          <a:gd name="connsiteY15" fmla="*/ 34328 h 97193"/>
                          <a:gd name="connsiteX16" fmla="*/ 5715 w 105971"/>
                          <a:gd name="connsiteY16" fmla="*/ 47663 h 97193"/>
                          <a:gd name="connsiteX17" fmla="*/ 5715 w 105971"/>
                          <a:gd name="connsiteY17" fmla="*/ 51473 h 97193"/>
                          <a:gd name="connsiteX18" fmla="*/ 17145 w 105971"/>
                          <a:gd name="connsiteY18" fmla="*/ 80048 h 97193"/>
                          <a:gd name="connsiteX0" fmla="*/ 19050 w 106250"/>
                          <a:gd name="connsiteY0" fmla="*/ 64875 h 85830"/>
                          <a:gd name="connsiteX1" fmla="*/ 24765 w 106250"/>
                          <a:gd name="connsiteY1" fmla="*/ 68685 h 85830"/>
                          <a:gd name="connsiteX2" fmla="*/ 28575 w 106250"/>
                          <a:gd name="connsiteY2" fmla="*/ 74400 h 85830"/>
                          <a:gd name="connsiteX3" fmla="*/ 32385 w 106250"/>
                          <a:gd name="connsiteY3" fmla="*/ 85830 h 85830"/>
                          <a:gd name="connsiteX4" fmla="*/ 81915 w 106250"/>
                          <a:gd name="connsiteY4" fmla="*/ 83925 h 85830"/>
                          <a:gd name="connsiteX5" fmla="*/ 87630 w 106250"/>
                          <a:gd name="connsiteY5" fmla="*/ 82020 h 85830"/>
                          <a:gd name="connsiteX6" fmla="*/ 89535 w 106250"/>
                          <a:gd name="connsiteY6" fmla="*/ 76305 h 85830"/>
                          <a:gd name="connsiteX7" fmla="*/ 93345 w 106250"/>
                          <a:gd name="connsiteY7" fmla="*/ 70590 h 85830"/>
                          <a:gd name="connsiteX8" fmla="*/ 95250 w 106250"/>
                          <a:gd name="connsiteY8" fmla="*/ 57255 h 85830"/>
                          <a:gd name="connsiteX9" fmla="*/ 100965 w 106250"/>
                          <a:gd name="connsiteY9" fmla="*/ 53445 h 85830"/>
                          <a:gd name="connsiteX10" fmla="*/ 104775 w 106250"/>
                          <a:gd name="connsiteY10" fmla="*/ 42015 h 85830"/>
                          <a:gd name="connsiteX11" fmla="*/ 100965 w 106250"/>
                          <a:gd name="connsiteY11" fmla="*/ 15345 h 85830"/>
                          <a:gd name="connsiteX12" fmla="*/ 38100 w 106250"/>
                          <a:gd name="connsiteY12" fmla="*/ 105 h 85830"/>
                          <a:gd name="connsiteX13" fmla="*/ 3810 w 106250"/>
                          <a:gd name="connsiteY13" fmla="*/ 9630 h 85830"/>
                          <a:gd name="connsiteX14" fmla="*/ 1905 w 106250"/>
                          <a:gd name="connsiteY14" fmla="*/ 17250 h 85830"/>
                          <a:gd name="connsiteX15" fmla="*/ 0 w 106250"/>
                          <a:gd name="connsiteY15" fmla="*/ 22965 h 85830"/>
                          <a:gd name="connsiteX16" fmla="*/ 5715 w 106250"/>
                          <a:gd name="connsiteY16" fmla="*/ 36300 h 85830"/>
                          <a:gd name="connsiteX17" fmla="*/ 5715 w 106250"/>
                          <a:gd name="connsiteY17" fmla="*/ 40110 h 85830"/>
                          <a:gd name="connsiteX18" fmla="*/ 17145 w 106250"/>
                          <a:gd name="connsiteY18" fmla="*/ 68685 h 8583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</a:cxnLst>
                        <a:rect l="l" t="t" r="r" b="b"/>
                        <a:pathLst>
                          <a:path w="106250" h="85830">
                            <a:moveTo>
                              <a:pt x="19050" y="64875"/>
                            </a:moveTo>
                            <a:cubicBezTo>
                              <a:pt x="19050" y="69955"/>
                              <a:pt x="22860" y="67415"/>
                              <a:pt x="24765" y="68685"/>
                            </a:cubicBezTo>
                            <a:cubicBezTo>
                              <a:pt x="26035" y="70590"/>
                              <a:pt x="27645" y="72308"/>
                              <a:pt x="28575" y="74400"/>
                            </a:cubicBezTo>
                            <a:cubicBezTo>
                              <a:pt x="30206" y="78070"/>
                              <a:pt x="32385" y="85830"/>
                              <a:pt x="32385" y="85830"/>
                            </a:cubicBezTo>
                            <a:cubicBezTo>
                              <a:pt x="48895" y="85195"/>
                              <a:pt x="65432" y="85062"/>
                              <a:pt x="81915" y="83925"/>
                            </a:cubicBezTo>
                            <a:cubicBezTo>
                              <a:pt x="83918" y="83787"/>
                              <a:pt x="86210" y="83440"/>
                              <a:pt x="87630" y="82020"/>
                            </a:cubicBezTo>
                            <a:cubicBezTo>
                              <a:pt x="89050" y="80600"/>
                              <a:pt x="88637" y="78101"/>
                              <a:pt x="89535" y="76305"/>
                            </a:cubicBezTo>
                            <a:cubicBezTo>
                              <a:pt x="90559" y="74257"/>
                              <a:pt x="92075" y="72495"/>
                              <a:pt x="93345" y="70590"/>
                            </a:cubicBezTo>
                            <a:cubicBezTo>
                              <a:pt x="93980" y="66145"/>
                              <a:pt x="93426" y="61358"/>
                              <a:pt x="95250" y="57255"/>
                            </a:cubicBezTo>
                            <a:cubicBezTo>
                              <a:pt x="96180" y="55163"/>
                              <a:pt x="99752" y="55387"/>
                              <a:pt x="100965" y="53445"/>
                            </a:cubicBezTo>
                            <a:cubicBezTo>
                              <a:pt x="103094" y="50039"/>
                              <a:pt x="104775" y="42015"/>
                              <a:pt x="104775" y="42015"/>
                            </a:cubicBezTo>
                            <a:cubicBezTo>
                              <a:pt x="101728" y="8500"/>
                              <a:pt x="112077" y="22330"/>
                              <a:pt x="100965" y="15345"/>
                            </a:cubicBezTo>
                            <a:cubicBezTo>
                              <a:pt x="89853" y="8360"/>
                              <a:pt x="54292" y="1057"/>
                              <a:pt x="38100" y="105"/>
                            </a:cubicBezTo>
                            <a:cubicBezTo>
                              <a:pt x="21908" y="-847"/>
                              <a:pt x="10477" y="4868"/>
                              <a:pt x="3810" y="9630"/>
                            </a:cubicBezTo>
                            <a:cubicBezTo>
                              <a:pt x="3175" y="12170"/>
                              <a:pt x="2624" y="14733"/>
                              <a:pt x="1905" y="17250"/>
                            </a:cubicBezTo>
                            <a:cubicBezTo>
                              <a:pt x="1353" y="19181"/>
                              <a:pt x="0" y="20957"/>
                              <a:pt x="0" y="22965"/>
                            </a:cubicBezTo>
                            <a:cubicBezTo>
                              <a:pt x="0" y="32673"/>
                              <a:pt x="2604" y="28523"/>
                              <a:pt x="5715" y="36300"/>
                            </a:cubicBezTo>
                            <a:cubicBezTo>
                              <a:pt x="6187" y="37479"/>
                              <a:pt x="3810" y="34713"/>
                              <a:pt x="5715" y="40110"/>
                            </a:cubicBezTo>
                            <a:cubicBezTo>
                              <a:pt x="7620" y="45507"/>
                              <a:pt x="13335" y="59160"/>
                              <a:pt x="17145" y="68685"/>
                            </a:cubicBezTo>
                          </a:path>
                        </a:pathLst>
                      </a:custGeom>
                      <a:solidFill>
                        <a:srgbClr val="0D3759"/>
                      </a:solidFill>
                      <a:ln w="3175" cap="flat" cmpd="sng" algn="ctr">
                        <a:solidFill>
                          <a:srgbClr val="FFFFFF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51" name="Freeform: Shape 36">
                        <a:extLst>
                          <a:ext uri="{FF2B5EF4-FFF2-40B4-BE49-F238E27FC236}">
                            <a16:creationId xmlns:a16="http://schemas.microsoft.com/office/drawing/2014/main" id="{A14045D7-5E25-0A4F-91E5-4A39B3AF541F}"/>
                          </a:ext>
                        </a:extLst>
                      </p:cNvPr>
                      <p:cNvSpPr/>
                      <p:nvPr/>
                    </p:nvSpPr>
                    <p:spPr>
                      <a:xfrm rot="20582585">
                        <a:off x="8817085" y="4302941"/>
                        <a:ext cx="27432" cy="36576"/>
                      </a:xfrm>
                      <a:custGeom>
                        <a:avLst/>
                        <a:gdLst>
                          <a:gd name="connsiteX0" fmla="*/ 57150 w 104775"/>
                          <a:gd name="connsiteY0" fmla="*/ 76200 h 127635"/>
                          <a:gd name="connsiteX1" fmla="*/ 57150 w 104775"/>
                          <a:gd name="connsiteY1" fmla="*/ 76200 h 127635"/>
                          <a:gd name="connsiteX2" fmla="*/ 24765 w 104775"/>
                          <a:gd name="connsiteY2" fmla="*/ 80010 h 127635"/>
                          <a:gd name="connsiteX3" fmla="*/ 19050 w 104775"/>
                          <a:gd name="connsiteY3" fmla="*/ 83820 h 127635"/>
                          <a:gd name="connsiteX4" fmla="*/ 19050 w 104775"/>
                          <a:gd name="connsiteY4" fmla="*/ 106680 h 127635"/>
                          <a:gd name="connsiteX5" fmla="*/ 24765 w 104775"/>
                          <a:gd name="connsiteY5" fmla="*/ 110490 h 127635"/>
                          <a:gd name="connsiteX6" fmla="*/ 28575 w 104775"/>
                          <a:gd name="connsiteY6" fmla="*/ 116205 h 127635"/>
                          <a:gd name="connsiteX7" fmla="*/ 32385 w 104775"/>
                          <a:gd name="connsiteY7" fmla="*/ 127635 h 127635"/>
                          <a:gd name="connsiteX8" fmla="*/ 81915 w 104775"/>
                          <a:gd name="connsiteY8" fmla="*/ 125730 h 127635"/>
                          <a:gd name="connsiteX9" fmla="*/ 87630 w 104775"/>
                          <a:gd name="connsiteY9" fmla="*/ 123825 h 127635"/>
                          <a:gd name="connsiteX10" fmla="*/ 89535 w 104775"/>
                          <a:gd name="connsiteY10" fmla="*/ 118110 h 127635"/>
                          <a:gd name="connsiteX11" fmla="*/ 93345 w 104775"/>
                          <a:gd name="connsiteY11" fmla="*/ 112395 h 127635"/>
                          <a:gd name="connsiteX12" fmla="*/ 95250 w 104775"/>
                          <a:gd name="connsiteY12" fmla="*/ 99060 h 127635"/>
                          <a:gd name="connsiteX13" fmla="*/ 100965 w 104775"/>
                          <a:gd name="connsiteY13" fmla="*/ 95250 h 127635"/>
                          <a:gd name="connsiteX14" fmla="*/ 104775 w 104775"/>
                          <a:gd name="connsiteY14" fmla="*/ 83820 h 127635"/>
                          <a:gd name="connsiteX15" fmla="*/ 100965 w 104775"/>
                          <a:gd name="connsiteY15" fmla="*/ 57150 h 127635"/>
                          <a:gd name="connsiteX16" fmla="*/ 99060 w 104775"/>
                          <a:gd name="connsiteY16" fmla="*/ 49530 h 127635"/>
                          <a:gd name="connsiteX17" fmla="*/ 95250 w 104775"/>
                          <a:gd name="connsiteY17" fmla="*/ 43815 h 127635"/>
                          <a:gd name="connsiteX18" fmla="*/ 91440 w 104775"/>
                          <a:gd name="connsiteY18" fmla="*/ 32385 h 127635"/>
                          <a:gd name="connsiteX19" fmla="*/ 81915 w 104775"/>
                          <a:gd name="connsiteY19" fmla="*/ 15240 h 127635"/>
                          <a:gd name="connsiteX20" fmla="*/ 70485 w 104775"/>
                          <a:gd name="connsiteY20" fmla="*/ 3810 h 127635"/>
                          <a:gd name="connsiteX21" fmla="*/ 59055 w 104775"/>
                          <a:gd name="connsiteY21" fmla="*/ 0 h 127635"/>
                          <a:gd name="connsiteX22" fmla="*/ 45720 w 104775"/>
                          <a:gd name="connsiteY22" fmla="*/ 1905 h 127635"/>
                          <a:gd name="connsiteX23" fmla="*/ 43815 w 104775"/>
                          <a:gd name="connsiteY23" fmla="*/ 19050 h 127635"/>
                          <a:gd name="connsiteX24" fmla="*/ 41910 w 104775"/>
                          <a:gd name="connsiteY24" fmla="*/ 30480 h 127635"/>
                          <a:gd name="connsiteX25" fmla="*/ 40005 w 104775"/>
                          <a:gd name="connsiteY25" fmla="*/ 43815 h 127635"/>
                          <a:gd name="connsiteX26" fmla="*/ 28575 w 104775"/>
                          <a:gd name="connsiteY26" fmla="*/ 49530 h 127635"/>
                          <a:gd name="connsiteX27" fmla="*/ 3810 w 104775"/>
                          <a:gd name="connsiteY27" fmla="*/ 51435 h 127635"/>
                          <a:gd name="connsiteX28" fmla="*/ 1905 w 104775"/>
                          <a:gd name="connsiteY28" fmla="*/ 59055 h 127635"/>
                          <a:gd name="connsiteX29" fmla="*/ 0 w 104775"/>
                          <a:gd name="connsiteY29" fmla="*/ 64770 h 127635"/>
                          <a:gd name="connsiteX30" fmla="*/ 5715 w 104775"/>
                          <a:gd name="connsiteY30" fmla="*/ 78105 h 127635"/>
                          <a:gd name="connsiteX31" fmla="*/ 5715 w 104775"/>
                          <a:gd name="connsiteY31" fmla="*/ 81915 h 127635"/>
                          <a:gd name="connsiteX32" fmla="*/ 5715 w 104775"/>
                          <a:gd name="connsiteY32" fmla="*/ 87630 h 127635"/>
                          <a:gd name="connsiteX0" fmla="*/ 57150 w 104775"/>
                          <a:gd name="connsiteY0" fmla="*/ 76200 h 127635"/>
                          <a:gd name="connsiteX1" fmla="*/ 24765 w 104775"/>
                          <a:gd name="connsiteY1" fmla="*/ 80010 h 127635"/>
                          <a:gd name="connsiteX2" fmla="*/ 19050 w 104775"/>
                          <a:gd name="connsiteY2" fmla="*/ 83820 h 127635"/>
                          <a:gd name="connsiteX3" fmla="*/ 19050 w 104775"/>
                          <a:gd name="connsiteY3" fmla="*/ 106680 h 127635"/>
                          <a:gd name="connsiteX4" fmla="*/ 24765 w 104775"/>
                          <a:gd name="connsiteY4" fmla="*/ 110490 h 127635"/>
                          <a:gd name="connsiteX5" fmla="*/ 28575 w 104775"/>
                          <a:gd name="connsiteY5" fmla="*/ 116205 h 127635"/>
                          <a:gd name="connsiteX6" fmla="*/ 32385 w 104775"/>
                          <a:gd name="connsiteY6" fmla="*/ 127635 h 127635"/>
                          <a:gd name="connsiteX7" fmla="*/ 81915 w 104775"/>
                          <a:gd name="connsiteY7" fmla="*/ 125730 h 127635"/>
                          <a:gd name="connsiteX8" fmla="*/ 87630 w 104775"/>
                          <a:gd name="connsiteY8" fmla="*/ 123825 h 127635"/>
                          <a:gd name="connsiteX9" fmla="*/ 89535 w 104775"/>
                          <a:gd name="connsiteY9" fmla="*/ 118110 h 127635"/>
                          <a:gd name="connsiteX10" fmla="*/ 93345 w 104775"/>
                          <a:gd name="connsiteY10" fmla="*/ 112395 h 127635"/>
                          <a:gd name="connsiteX11" fmla="*/ 95250 w 104775"/>
                          <a:gd name="connsiteY11" fmla="*/ 99060 h 127635"/>
                          <a:gd name="connsiteX12" fmla="*/ 100965 w 104775"/>
                          <a:gd name="connsiteY12" fmla="*/ 95250 h 127635"/>
                          <a:gd name="connsiteX13" fmla="*/ 104775 w 104775"/>
                          <a:gd name="connsiteY13" fmla="*/ 83820 h 127635"/>
                          <a:gd name="connsiteX14" fmla="*/ 100965 w 104775"/>
                          <a:gd name="connsiteY14" fmla="*/ 57150 h 127635"/>
                          <a:gd name="connsiteX15" fmla="*/ 99060 w 104775"/>
                          <a:gd name="connsiteY15" fmla="*/ 49530 h 127635"/>
                          <a:gd name="connsiteX16" fmla="*/ 95250 w 104775"/>
                          <a:gd name="connsiteY16" fmla="*/ 43815 h 127635"/>
                          <a:gd name="connsiteX17" fmla="*/ 91440 w 104775"/>
                          <a:gd name="connsiteY17" fmla="*/ 32385 h 127635"/>
                          <a:gd name="connsiteX18" fmla="*/ 81915 w 104775"/>
                          <a:gd name="connsiteY18" fmla="*/ 15240 h 127635"/>
                          <a:gd name="connsiteX19" fmla="*/ 70485 w 104775"/>
                          <a:gd name="connsiteY19" fmla="*/ 3810 h 127635"/>
                          <a:gd name="connsiteX20" fmla="*/ 59055 w 104775"/>
                          <a:gd name="connsiteY20" fmla="*/ 0 h 127635"/>
                          <a:gd name="connsiteX21" fmla="*/ 45720 w 104775"/>
                          <a:gd name="connsiteY21" fmla="*/ 1905 h 127635"/>
                          <a:gd name="connsiteX22" fmla="*/ 43815 w 104775"/>
                          <a:gd name="connsiteY22" fmla="*/ 19050 h 127635"/>
                          <a:gd name="connsiteX23" fmla="*/ 41910 w 104775"/>
                          <a:gd name="connsiteY23" fmla="*/ 30480 h 127635"/>
                          <a:gd name="connsiteX24" fmla="*/ 40005 w 104775"/>
                          <a:gd name="connsiteY24" fmla="*/ 43815 h 127635"/>
                          <a:gd name="connsiteX25" fmla="*/ 28575 w 104775"/>
                          <a:gd name="connsiteY25" fmla="*/ 49530 h 127635"/>
                          <a:gd name="connsiteX26" fmla="*/ 3810 w 104775"/>
                          <a:gd name="connsiteY26" fmla="*/ 51435 h 127635"/>
                          <a:gd name="connsiteX27" fmla="*/ 1905 w 104775"/>
                          <a:gd name="connsiteY27" fmla="*/ 59055 h 127635"/>
                          <a:gd name="connsiteX28" fmla="*/ 0 w 104775"/>
                          <a:gd name="connsiteY28" fmla="*/ 64770 h 127635"/>
                          <a:gd name="connsiteX29" fmla="*/ 5715 w 104775"/>
                          <a:gd name="connsiteY29" fmla="*/ 78105 h 127635"/>
                          <a:gd name="connsiteX30" fmla="*/ 5715 w 104775"/>
                          <a:gd name="connsiteY30" fmla="*/ 81915 h 127635"/>
                          <a:gd name="connsiteX31" fmla="*/ 5715 w 104775"/>
                          <a:gd name="connsiteY31" fmla="*/ 87630 h 127635"/>
                          <a:gd name="connsiteX0" fmla="*/ 24765 w 104775"/>
                          <a:gd name="connsiteY0" fmla="*/ 80010 h 127635"/>
                          <a:gd name="connsiteX1" fmla="*/ 19050 w 104775"/>
                          <a:gd name="connsiteY1" fmla="*/ 83820 h 127635"/>
                          <a:gd name="connsiteX2" fmla="*/ 19050 w 104775"/>
                          <a:gd name="connsiteY2" fmla="*/ 106680 h 127635"/>
                          <a:gd name="connsiteX3" fmla="*/ 24765 w 104775"/>
                          <a:gd name="connsiteY3" fmla="*/ 110490 h 127635"/>
                          <a:gd name="connsiteX4" fmla="*/ 28575 w 104775"/>
                          <a:gd name="connsiteY4" fmla="*/ 116205 h 127635"/>
                          <a:gd name="connsiteX5" fmla="*/ 32385 w 104775"/>
                          <a:gd name="connsiteY5" fmla="*/ 127635 h 127635"/>
                          <a:gd name="connsiteX6" fmla="*/ 81915 w 104775"/>
                          <a:gd name="connsiteY6" fmla="*/ 125730 h 127635"/>
                          <a:gd name="connsiteX7" fmla="*/ 87630 w 104775"/>
                          <a:gd name="connsiteY7" fmla="*/ 123825 h 127635"/>
                          <a:gd name="connsiteX8" fmla="*/ 89535 w 104775"/>
                          <a:gd name="connsiteY8" fmla="*/ 118110 h 127635"/>
                          <a:gd name="connsiteX9" fmla="*/ 93345 w 104775"/>
                          <a:gd name="connsiteY9" fmla="*/ 112395 h 127635"/>
                          <a:gd name="connsiteX10" fmla="*/ 95250 w 104775"/>
                          <a:gd name="connsiteY10" fmla="*/ 99060 h 127635"/>
                          <a:gd name="connsiteX11" fmla="*/ 100965 w 104775"/>
                          <a:gd name="connsiteY11" fmla="*/ 95250 h 127635"/>
                          <a:gd name="connsiteX12" fmla="*/ 104775 w 104775"/>
                          <a:gd name="connsiteY12" fmla="*/ 83820 h 127635"/>
                          <a:gd name="connsiteX13" fmla="*/ 100965 w 104775"/>
                          <a:gd name="connsiteY13" fmla="*/ 57150 h 127635"/>
                          <a:gd name="connsiteX14" fmla="*/ 99060 w 104775"/>
                          <a:gd name="connsiteY14" fmla="*/ 49530 h 127635"/>
                          <a:gd name="connsiteX15" fmla="*/ 95250 w 104775"/>
                          <a:gd name="connsiteY15" fmla="*/ 43815 h 127635"/>
                          <a:gd name="connsiteX16" fmla="*/ 91440 w 104775"/>
                          <a:gd name="connsiteY16" fmla="*/ 32385 h 127635"/>
                          <a:gd name="connsiteX17" fmla="*/ 81915 w 104775"/>
                          <a:gd name="connsiteY17" fmla="*/ 15240 h 127635"/>
                          <a:gd name="connsiteX18" fmla="*/ 70485 w 104775"/>
                          <a:gd name="connsiteY18" fmla="*/ 3810 h 127635"/>
                          <a:gd name="connsiteX19" fmla="*/ 59055 w 104775"/>
                          <a:gd name="connsiteY19" fmla="*/ 0 h 127635"/>
                          <a:gd name="connsiteX20" fmla="*/ 45720 w 104775"/>
                          <a:gd name="connsiteY20" fmla="*/ 1905 h 127635"/>
                          <a:gd name="connsiteX21" fmla="*/ 43815 w 104775"/>
                          <a:gd name="connsiteY21" fmla="*/ 19050 h 127635"/>
                          <a:gd name="connsiteX22" fmla="*/ 41910 w 104775"/>
                          <a:gd name="connsiteY22" fmla="*/ 30480 h 127635"/>
                          <a:gd name="connsiteX23" fmla="*/ 40005 w 104775"/>
                          <a:gd name="connsiteY23" fmla="*/ 43815 h 127635"/>
                          <a:gd name="connsiteX24" fmla="*/ 28575 w 104775"/>
                          <a:gd name="connsiteY24" fmla="*/ 49530 h 127635"/>
                          <a:gd name="connsiteX25" fmla="*/ 3810 w 104775"/>
                          <a:gd name="connsiteY25" fmla="*/ 51435 h 127635"/>
                          <a:gd name="connsiteX26" fmla="*/ 1905 w 104775"/>
                          <a:gd name="connsiteY26" fmla="*/ 59055 h 127635"/>
                          <a:gd name="connsiteX27" fmla="*/ 0 w 104775"/>
                          <a:gd name="connsiteY27" fmla="*/ 64770 h 127635"/>
                          <a:gd name="connsiteX28" fmla="*/ 5715 w 104775"/>
                          <a:gd name="connsiteY28" fmla="*/ 78105 h 127635"/>
                          <a:gd name="connsiteX29" fmla="*/ 5715 w 104775"/>
                          <a:gd name="connsiteY29" fmla="*/ 81915 h 127635"/>
                          <a:gd name="connsiteX30" fmla="*/ 5715 w 104775"/>
                          <a:gd name="connsiteY30" fmla="*/ 87630 h 127635"/>
                          <a:gd name="connsiteX0" fmla="*/ 24765 w 104775"/>
                          <a:gd name="connsiteY0" fmla="*/ 80010 h 127635"/>
                          <a:gd name="connsiteX1" fmla="*/ 19050 w 104775"/>
                          <a:gd name="connsiteY1" fmla="*/ 106680 h 127635"/>
                          <a:gd name="connsiteX2" fmla="*/ 24765 w 104775"/>
                          <a:gd name="connsiteY2" fmla="*/ 110490 h 127635"/>
                          <a:gd name="connsiteX3" fmla="*/ 28575 w 104775"/>
                          <a:gd name="connsiteY3" fmla="*/ 116205 h 127635"/>
                          <a:gd name="connsiteX4" fmla="*/ 32385 w 104775"/>
                          <a:gd name="connsiteY4" fmla="*/ 127635 h 127635"/>
                          <a:gd name="connsiteX5" fmla="*/ 81915 w 104775"/>
                          <a:gd name="connsiteY5" fmla="*/ 125730 h 127635"/>
                          <a:gd name="connsiteX6" fmla="*/ 87630 w 104775"/>
                          <a:gd name="connsiteY6" fmla="*/ 123825 h 127635"/>
                          <a:gd name="connsiteX7" fmla="*/ 89535 w 104775"/>
                          <a:gd name="connsiteY7" fmla="*/ 118110 h 127635"/>
                          <a:gd name="connsiteX8" fmla="*/ 93345 w 104775"/>
                          <a:gd name="connsiteY8" fmla="*/ 112395 h 127635"/>
                          <a:gd name="connsiteX9" fmla="*/ 95250 w 104775"/>
                          <a:gd name="connsiteY9" fmla="*/ 99060 h 127635"/>
                          <a:gd name="connsiteX10" fmla="*/ 100965 w 104775"/>
                          <a:gd name="connsiteY10" fmla="*/ 95250 h 127635"/>
                          <a:gd name="connsiteX11" fmla="*/ 104775 w 104775"/>
                          <a:gd name="connsiteY11" fmla="*/ 83820 h 127635"/>
                          <a:gd name="connsiteX12" fmla="*/ 100965 w 104775"/>
                          <a:gd name="connsiteY12" fmla="*/ 57150 h 127635"/>
                          <a:gd name="connsiteX13" fmla="*/ 99060 w 104775"/>
                          <a:gd name="connsiteY13" fmla="*/ 49530 h 127635"/>
                          <a:gd name="connsiteX14" fmla="*/ 95250 w 104775"/>
                          <a:gd name="connsiteY14" fmla="*/ 43815 h 127635"/>
                          <a:gd name="connsiteX15" fmla="*/ 91440 w 104775"/>
                          <a:gd name="connsiteY15" fmla="*/ 32385 h 127635"/>
                          <a:gd name="connsiteX16" fmla="*/ 81915 w 104775"/>
                          <a:gd name="connsiteY16" fmla="*/ 15240 h 127635"/>
                          <a:gd name="connsiteX17" fmla="*/ 70485 w 104775"/>
                          <a:gd name="connsiteY17" fmla="*/ 3810 h 127635"/>
                          <a:gd name="connsiteX18" fmla="*/ 59055 w 104775"/>
                          <a:gd name="connsiteY18" fmla="*/ 0 h 127635"/>
                          <a:gd name="connsiteX19" fmla="*/ 45720 w 104775"/>
                          <a:gd name="connsiteY19" fmla="*/ 1905 h 127635"/>
                          <a:gd name="connsiteX20" fmla="*/ 43815 w 104775"/>
                          <a:gd name="connsiteY20" fmla="*/ 19050 h 127635"/>
                          <a:gd name="connsiteX21" fmla="*/ 41910 w 104775"/>
                          <a:gd name="connsiteY21" fmla="*/ 30480 h 127635"/>
                          <a:gd name="connsiteX22" fmla="*/ 40005 w 104775"/>
                          <a:gd name="connsiteY22" fmla="*/ 43815 h 127635"/>
                          <a:gd name="connsiteX23" fmla="*/ 28575 w 104775"/>
                          <a:gd name="connsiteY23" fmla="*/ 49530 h 127635"/>
                          <a:gd name="connsiteX24" fmla="*/ 3810 w 104775"/>
                          <a:gd name="connsiteY24" fmla="*/ 51435 h 127635"/>
                          <a:gd name="connsiteX25" fmla="*/ 1905 w 104775"/>
                          <a:gd name="connsiteY25" fmla="*/ 59055 h 127635"/>
                          <a:gd name="connsiteX26" fmla="*/ 0 w 104775"/>
                          <a:gd name="connsiteY26" fmla="*/ 64770 h 127635"/>
                          <a:gd name="connsiteX27" fmla="*/ 5715 w 104775"/>
                          <a:gd name="connsiteY27" fmla="*/ 78105 h 127635"/>
                          <a:gd name="connsiteX28" fmla="*/ 5715 w 104775"/>
                          <a:gd name="connsiteY28" fmla="*/ 81915 h 127635"/>
                          <a:gd name="connsiteX29" fmla="*/ 5715 w 104775"/>
                          <a:gd name="connsiteY29" fmla="*/ 8763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5715 w 104775"/>
                          <a:gd name="connsiteY28" fmla="*/ 8763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17145 w 104775"/>
                          <a:gd name="connsiteY28" fmla="*/ 11049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17145 w 104775"/>
                          <a:gd name="connsiteY28" fmla="*/ 110490 h 127635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81915 w 104775"/>
                          <a:gd name="connsiteY15" fmla="*/ 16019 h 128414"/>
                          <a:gd name="connsiteX16" fmla="*/ 70485 w 104775"/>
                          <a:gd name="connsiteY16" fmla="*/ 4589 h 128414"/>
                          <a:gd name="connsiteX17" fmla="*/ 59055 w 104775"/>
                          <a:gd name="connsiteY17" fmla="*/ 779 h 128414"/>
                          <a:gd name="connsiteX18" fmla="*/ 45720 w 104775"/>
                          <a:gd name="connsiteY18" fmla="*/ 2684 h 128414"/>
                          <a:gd name="connsiteX19" fmla="*/ 41910 w 104775"/>
                          <a:gd name="connsiteY19" fmla="*/ 31259 h 128414"/>
                          <a:gd name="connsiteX20" fmla="*/ 40005 w 104775"/>
                          <a:gd name="connsiteY20" fmla="*/ 44594 h 128414"/>
                          <a:gd name="connsiteX21" fmla="*/ 28575 w 104775"/>
                          <a:gd name="connsiteY21" fmla="*/ 50309 h 128414"/>
                          <a:gd name="connsiteX22" fmla="*/ 3810 w 104775"/>
                          <a:gd name="connsiteY22" fmla="*/ 52214 h 128414"/>
                          <a:gd name="connsiteX23" fmla="*/ 1905 w 104775"/>
                          <a:gd name="connsiteY23" fmla="*/ 59834 h 128414"/>
                          <a:gd name="connsiteX24" fmla="*/ 0 w 104775"/>
                          <a:gd name="connsiteY24" fmla="*/ 65549 h 128414"/>
                          <a:gd name="connsiteX25" fmla="*/ 5715 w 104775"/>
                          <a:gd name="connsiteY25" fmla="*/ 78884 h 128414"/>
                          <a:gd name="connsiteX26" fmla="*/ 5715 w 104775"/>
                          <a:gd name="connsiteY26" fmla="*/ 82694 h 128414"/>
                          <a:gd name="connsiteX27" fmla="*/ 17145 w 104775"/>
                          <a:gd name="connsiteY27" fmla="*/ 111269 h 128414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70485 w 104775"/>
                          <a:gd name="connsiteY15" fmla="*/ 4589 h 128414"/>
                          <a:gd name="connsiteX16" fmla="*/ 59055 w 104775"/>
                          <a:gd name="connsiteY16" fmla="*/ 779 h 128414"/>
                          <a:gd name="connsiteX17" fmla="*/ 45720 w 104775"/>
                          <a:gd name="connsiteY17" fmla="*/ 2684 h 128414"/>
                          <a:gd name="connsiteX18" fmla="*/ 41910 w 104775"/>
                          <a:gd name="connsiteY18" fmla="*/ 31259 h 128414"/>
                          <a:gd name="connsiteX19" fmla="*/ 40005 w 104775"/>
                          <a:gd name="connsiteY19" fmla="*/ 44594 h 128414"/>
                          <a:gd name="connsiteX20" fmla="*/ 28575 w 104775"/>
                          <a:gd name="connsiteY20" fmla="*/ 50309 h 128414"/>
                          <a:gd name="connsiteX21" fmla="*/ 3810 w 104775"/>
                          <a:gd name="connsiteY21" fmla="*/ 52214 h 128414"/>
                          <a:gd name="connsiteX22" fmla="*/ 1905 w 104775"/>
                          <a:gd name="connsiteY22" fmla="*/ 59834 h 128414"/>
                          <a:gd name="connsiteX23" fmla="*/ 0 w 104775"/>
                          <a:gd name="connsiteY23" fmla="*/ 65549 h 128414"/>
                          <a:gd name="connsiteX24" fmla="*/ 5715 w 104775"/>
                          <a:gd name="connsiteY24" fmla="*/ 78884 h 128414"/>
                          <a:gd name="connsiteX25" fmla="*/ 5715 w 104775"/>
                          <a:gd name="connsiteY25" fmla="*/ 82694 h 128414"/>
                          <a:gd name="connsiteX26" fmla="*/ 17145 w 104775"/>
                          <a:gd name="connsiteY26" fmla="*/ 111269 h 128414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70485 w 104775"/>
                          <a:gd name="connsiteY15" fmla="*/ 4589 h 128414"/>
                          <a:gd name="connsiteX16" fmla="*/ 59055 w 104775"/>
                          <a:gd name="connsiteY16" fmla="*/ 779 h 128414"/>
                          <a:gd name="connsiteX17" fmla="*/ 45720 w 104775"/>
                          <a:gd name="connsiteY17" fmla="*/ 2684 h 128414"/>
                          <a:gd name="connsiteX18" fmla="*/ 41910 w 104775"/>
                          <a:gd name="connsiteY18" fmla="*/ 31259 h 128414"/>
                          <a:gd name="connsiteX19" fmla="*/ 40005 w 104775"/>
                          <a:gd name="connsiteY19" fmla="*/ 44594 h 128414"/>
                          <a:gd name="connsiteX20" fmla="*/ 3810 w 104775"/>
                          <a:gd name="connsiteY20" fmla="*/ 52214 h 128414"/>
                          <a:gd name="connsiteX21" fmla="*/ 1905 w 104775"/>
                          <a:gd name="connsiteY21" fmla="*/ 59834 h 128414"/>
                          <a:gd name="connsiteX22" fmla="*/ 0 w 104775"/>
                          <a:gd name="connsiteY22" fmla="*/ 65549 h 128414"/>
                          <a:gd name="connsiteX23" fmla="*/ 5715 w 104775"/>
                          <a:gd name="connsiteY23" fmla="*/ 78884 h 128414"/>
                          <a:gd name="connsiteX24" fmla="*/ 5715 w 104775"/>
                          <a:gd name="connsiteY24" fmla="*/ 82694 h 128414"/>
                          <a:gd name="connsiteX25" fmla="*/ 17145 w 104775"/>
                          <a:gd name="connsiteY25" fmla="*/ 111269 h 128414"/>
                          <a:gd name="connsiteX0" fmla="*/ 19050 w 104775"/>
                          <a:gd name="connsiteY0" fmla="*/ 107492 h 128447"/>
                          <a:gd name="connsiteX1" fmla="*/ 24765 w 104775"/>
                          <a:gd name="connsiteY1" fmla="*/ 111302 h 128447"/>
                          <a:gd name="connsiteX2" fmla="*/ 28575 w 104775"/>
                          <a:gd name="connsiteY2" fmla="*/ 117017 h 128447"/>
                          <a:gd name="connsiteX3" fmla="*/ 32385 w 104775"/>
                          <a:gd name="connsiteY3" fmla="*/ 128447 h 128447"/>
                          <a:gd name="connsiteX4" fmla="*/ 81915 w 104775"/>
                          <a:gd name="connsiteY4" fmla="*/ 126542 h 128447"/>
                          <a:gd name="connsiteX5" fmla="*/ 87630 w 104775"/>
                          <a:gd name="connsiteY5" fmla="*/ 124637 h 128447"/>
                          <a:gd name="connsiteX6" fmla="*/ 89535 w 104775"/>
                          <a:gd name="connsiteY6" fmla="*/ 118922 h 128447"/>
                          <a:gd name="connsiteX7" fmla="*/ 93345 w 104775"/>
                          <a:gd name="connsiteY7" fmla="*/ 113207 h 128447"/>
                          <a:gd name="connsiteX8" fmla="*/ 95250 w 104775"/>
                          <a:gd name="connsiteY8" fmla="*/ 99872 h 128447"/>
                          <a:gd name="connsiteX9" fmla="*/ 100965 w 104775"/>
                          <a:gd name="connsiteY9" fmla="*/ 96062 h 128447"/>
                          <a:gd name="connsiteX10" fmla="*/ 104775 w 104775"/>
                          <a:gd name="connsiteY10" fmla="*/ 84632 h 128447"/>
                          <a:gd name="connsiteX11" fmla="*/ 100965 w 104775"/>
                          <a:gd name="connsiteY11" fmla="*/ 57962 h 128447"/>
                          <a:gd name="connsiteX12" fmla="*/ 99060 w 104775"/>
                          <a:gd name="connsiteY12" fmla="*/ 50342 h 128447"/>
                          <a:gd name="connsiteX13" fmla="*/ 95250 w 104775"/>
                          <a:gd name="connsiteY13" fmla="*/ 44627 h 128447"/>
                          <a:gd name="connsiteX14" fmla="*/ 91440 w 104775"/>
                          <a:gd name="connsiteY14" fmla="*/ 33197 h 128447"/>
                          <a:gd name="connsiteX15" fmla="*/ 70485 w 104775"/>
                          <a:gd name="connsiteY15" fmla="*/ 4622 h 128447"/>
                          <a:gd name="connsiteX16" fmla="*/ 45720 w 104775"/>
                          <a:gd name="connsiteY16" fmla="*/ 2717 h 128447"/>
                          <a:gd name="connsiteX17" fmla="*/ 41910 w 104775"/>
                          <a:gd name="connsiteY17" fmla="*/ 31292 h 128447"/>
                          <a:gd name="connsiteX18" fmla="*/ 40005 w 104775"/>
                          <a:gd name="connsiteY18" fmla="*/ 44627 h 128447"/>
                          <a:gd name="connsiteX19" fmla="*/ 3810 w 104775"/>
                          <a:gd name="connsiteY19" fmla="*/ 52247 h 128447"/>
                          <a:gd name="connsiteX20" fmla="*/ 1905 w 104775"/>
                          <a:gd name="connsiteY20" fmla="*/ 59867 h 128447"/>
                          <a:gd name="connsiteX21" fmla="*/ 0 w 104775"/>
                          <a:gd name="connsiteY21" fmla="*/ 65582 h 128447"/>
                          <a:gd name="connsiteX22" fmla="*/ 5715 w 104775"/>
                          <a:gd name="connsiteY22" fmla="*/ 78917 h 128447"/>
                          <a:gd name="connsiteX23" fmla="*/ 5715 w 104775"/>
                          <a:gd name="connsiteY23" fmla="*/ 82727 h 128447"/>
                          <a:gd name="connsiteX24" fmla="*/ 17145 w 104775"/>
                          <a:gd name="connsiteY24" fmla="*/ 111302 h 128447"/>
                          <a:gd name="connsiteX0" fmla="*/ 19050 w 104775"/>
                          <a:gd name="connsiteY0" fmla="*/ 102874 h 123829"/>
                          <a:gd name="connsiteX1" fmla="*/ 24765 w 104775"/>
                          <a:gd name="connsiteY1" fmla="*/ 106684 h 123829"/>
                          <a:gd name="connsiteX2" fmla="*/ 28575 w 104775"/>
                          <a:gd name="connsiteY2" fmla="*/ 112399 h 123829"/>
                          <a:gd name="connsiteX3" fmla="*/ 32385 w 104775"/>
                          <a:gd name="connsiteY3" fmla="*/ 123829 h 123829"/>
                          <a:gd name="connsiteX4" fmla="*/ 81915 w 104775"/>
                          <a:gd name="connsiteY4" fmla="*/ 121924 h 123829"/>
                          <a:gd name="connsiteX5" fmla="*/ 87630 w 104775"/>
                          <a:gd name="connsiteY5" fmla="*/ 120019 h 123829"/>
                          <a:gd name="connsiteX6" fmla="*/ 89535 w 104775"/>
                          <a:gd name="connsiteY6" fmla="*/ 114304 h 123829"/>
                          <a:gd name="connsiteX7" fmla="*/ 93345 w 104775"/>
                          <a:gd name="connsiteY7" fmla="*/ 108589 h 123829"/>
                          <a:gd name="connsiteX8" fmla="*/ 95250 w 104775"/>
                          <a:gd name="connsiteY8" fmla="*/ 95254 h 123829"/>
                          <a:gd name="connsiteX9" fmla="*/ 100965 w 104775"/>
                          <a:gd name="connsiteY9" fmla="*/ 91444 h 123829"/>
                          <a:gd name="connsiteX10" fmla="*/ 104775 w 104775"/>
                          <a:gd name="connsiteY10" fmla="*/ 80014 h 123829"/>
                          <a:gd name="connsiteX11" fmla="*/ 100965 w 104775"/>
                          <a:gd name="connsiteY11" fmla="*/ 53344 h 123829"/>
                          <a:gd name="connsiteX12" fmla="*/ 99060 w 104775"/>
                          <a:gd name="connsiteY12" fmla="*/ 45724 h 123829"/>
                          <a:gd name="connsiteX13" fmla="*/ 95250 w 104775"/>
                          <a:gd name="connsiteY13" fmla="*/ 40009 h 123829"/>
                          <a:gd name="connsiteX14" fmla="*/ 91440 w 104775"/>
                          <a:gd name="connsiteY14" fmla="*/ 28579 h 123829"/>
                          <a:gd name="connsiteX15" fmla="*/ 70485 w 104775"/>
                          <a:gd name="connsiteY15" fmla="*/ 4 h 123829"/>
                          <a:gd name="connsiteX16" fmla="*/ 41910 w 104775"/>
                          <a:gd name="connsiteY16" fmla="*/ 26674 h 123829"/>
                          <a:gd name="connsiteX17" fmla="*/ 40005 w 104775"/>
                          <a:gd name="connsiteY17" fmla="*/ 40009 h 123829"/>
                          <a:gd name="connsiteX18" fmla="*/ 3810 w 104775"/>
                          <a:gd name="connsiteY18" fmla="*/ 47629 h 123829"/>
                          <a:gd name="connsiteX19" fmla="*/ 1905 w 104775"/>
                          <a:gd name="connsiteY19" fmla="*/ 55249 h 123829"/>
                          <a:gd name="connsiteX20" fmla="*/ 0 w 104775"/>
                          <a:gd name="connsiteY20" fmla="*/ 60964 h 123829"/>
                          <a:gd name="connsiteX21" fmla="*/ 5715 w 104775"/>
                          <a:gd name="connsiteY21" fmla="*/ 74299 h 123829"/>
                          <a:gd name="connsiteX22" fmla="*/ 5715 w 104775"/>
                          <a:gd name="connsiteY22" fmla="*/ 78109 h 123829"/>
                          <a:gd name="connsiteX23" fmla="*/ 17145 w 104775"/>
                          <a:gd name="connsiteY23" fmla="*/ 106684 h 123829"/>
                          <a:gd name="connsiteX0" fmla="*/ 19050 w 104775"/>
                          <a:gd name="connsiteY0" fmla="*/ 77050 h 98005"/>
                          <a:gd name="connsiteX1" fmla="*/ 24765 w 104775"/>
                          <a:gd name="connsiteY1" fmla="*/ 80860 h 98005"/>
                          <a:gd name="connsiteX2" fmla="*/ 28575 w 104775"/>
                          <a:gd name="connsiteY2" fmla="*/ 86575 h 98005"/>
                          <a:gd name="connsiteX3" fmla="*/ 32385 w 104775"/>
                          <a:gd name="connsiteY3" fmla="*/ 98005 h 98005"/>
                          <a:gd name="connsiteX4" fmla="*/ 81915 w 104775"/>
                          <a:gd name="connsiteY4" fmla="*/ 96100 h 98005"/>
                          <a:gd name="connsiteX5" fmla="*/ 87630 w 104775"/>
                          <a:gd name="connsiteY5" fmla="*/ 94195 h 98005"/>
                          <a:gd name="connsiteX6" fmla="*/ 89535 w 104775"/>
                          <a:gd name="connsiteY6" fmla="*/ 88480 h 98005"/>
                          <a:gd name="connsiteX7" fmla="*/ 93345 w 104775"/>
                          <a:gd name="connsiteY7" fmla="*/ 82765 h 98005"/>
                          <a:gd name="connsiteX8" fmla="*/ 95250 w 104775"/>
                          <a:gd name="connsiteY8" fmla="*/ 69430 h 98005"/>
                          <a:gd name="connsiteX9" fmla="*/ 100965 w 104775"/>
                          <a:gd name="connsiteY9" fmla="*/ 65620 h 98005"/>
                          <a:gd name="connsiteX10" fmla="*/ 104775 w 104775"/>
                          <a:gd name="connsiteY10" fmla="*/ 54190 h 98005"/>
                          <a:gd name="connsiteX11" fmla="*/ 100965 w 104775"/>
                          <a:gd name="connsiteY11" fmla="*/ 27520 h 98005"/>
                          <a:gd name="connsiteX12" fmla="*/ 99060 w 104775"/>
                          <a:gd name="connsiteY12" fmla="*/ 19900 h 98005"/>
                          <a:gd name="connsiteX13" fmla="*/ 95250 w 104775"/>
                          <a:gd name="connsiteY13" fmla="*/ 14185 h 98005"/>
                          <a:gd name="connsiteX14" fmla="*/ 91440 w 104775"/>
                          <a:gd name="connsiteY14" fmla="*/ 2755 h 98005"/>
                          <a:gd name="connsiteX15" fmla="*/ 41910 w 104775"/>
                          <a:gd name="connsiteY15" fmla="*/ 850 h 98005"/>
                          <a:gd name="connsiteX16" fmla="*/ 40005 w 104775"/>
                          <a:gd name="connsiteY16" fmla="*/ 14185 h 98005"/>
                          <a:gd name="connsiteX17" fmla="*/ 3810 w 104775"/>
                          <a:gd name="connsiteY17" fmla="*/ 21805 h 98005"/>
                          <a:gd name="connsiteX18" fmla="*/ 1905 w 104775"/>
                          <a:gd name="connsiteY18" fmla="*/ 29425 h 98005"/>
                          <a:gd name="connsiteX19" fmla="*/ 0 w 104775"/>
                          <a:gd name="connsiteY19" fmla="*/ 35140 h 98005"/>
                          <a:gd name="connsiteX20" fmla="*/ 5715 w 104775"/>
                          <a:gd name="connsiteY20" fmla="*/ 48475 h 98005"/>
                          <a:gd name="connsiteX21" fmla="*/ 5715 w 104775"/>
                          <a:gd name="connsiteY21" fmla="*/ 52285 h 98005"/>
                          <a:gd name="connsiteX22" fmla="*/ 17145 w 104775"/>
                          <a:gd name="connsiteY22" fmla="*/ 80860 h 98005"/>
                          <a:gd name="connsiteX0" fmla="*/ 19050 w 104775"/>
                          <a:gd name="connsiteY0" fmla="*/ 76200 h 97155"/>
                          <a:gd name="connsiteX1" fmla="*/ 24765 w 104775"/>
                          <a:gd name="connsiteY1" fmla="*/ 80010 h 97155"/>
                          <a:gd name="connsiteX2" fmla="*/ 28575 w 104775"/>
                          <a:gd name="connsiteY2" fmla="*/ 85725 h 97155"/>
                          <a:gd name="connsiteX3" fmla="*/ 32385 w 104775"/>
                          <a:gd name="connsiteY3" fmla="*/ 97155 h 97155"/>
                          <a:gd name="connsiteX4" fmla="*/ 81915 w 104775"/>
                          <a:gd name="connsiteY4" fmla="*/ 95250 h 97155"/>
                          <a:gd name="connsiteX5" fmla="*/ 87630 w 104775"/>
                          <a:gd name="connsiteY5" fmla="*/ 93345 h 97155"/>
                          <a:gd name="connsiteX6" fmla="*/ 89535 w 104775"/>
                          <a:gd name="connsiteY6" fmla="*/ 87630 h 97155"/>
                          <a:gd name="connsiteX7" fmla="*/ 93345 w 104775"/>
                          <a:gd name="connsiteY7" fmla="*/ 81915 h 97155"/>
                          <a:gd name="connsiteX8" fmla="*/ 95250 w 104775"/>
                          <a:gd name="connsiteY8" fmla="*/ 68580 h 97155"/>
                          <a:gd name="connsiteX9" fmla="*/ 100965 w 104775"/>
                          <a:gd name="connsiteY9" fmla="*/ 64770 h 97155"/>
                          <a:gd name="connsiteX10" fmla="*/ 104775 w 104775"/>
                          <a:gd name="connsiteY10" fmla="*/ 53340 h 97155"/>
                          <a:gd name="connsiteX11" fmla="*/ 100965 w 104775"/>
                          <a:gd name="connsiteY11" fmla="*/ 26670 h 97155"/>
                          <a:gd name="connsiteX12" fmla="*/ 99060 w 104775"/>
                          <a:gd name="connsiteY12" fmla="*/ 19050 h 97155"/>
                          <a:gd name="connsiteX13" fmla="*/ 95250 w 104775"/>
                          <a:gd name="connsiteY13" fmla="*/ 13335 h 97155"/>
                          <a:gd name="connsiteX14" fmla="*/ 41910 w 104775"/>
                          <a:gd name="connsiteY14" fmla="*/ 0 h 97155"/>
                          <a:gd name="connsiteX15" fmla="*/ 40005 w 104775"/>
                          <a:gd name="connsiteY15" fmla="*/ 13335 h 97155"/>
                          <a:gd name="connsiteX16" fmla="*/ 3810 w 104775"/>
                          <a:gd name="connsiteY16" fmla="*/ 20955 h 97155"/>
                          <a:gd name="connsiteX17" fmla="*/ 1905 w 104775"/>
                          <a:gd name="connsiteY17" fmla="*/ 28575 h 97155"/>
                          <a:gd name="connsiteX18" fmla="*/ 0 w 104775"/>
                          <a:gd name="connsiteY18" fmla="*/ 34290 h 97155"/>
                          <a:gd name="connsiteX19" fmla="*/ 5715 w 104775"/>
                          <a:gd name="connsiteY19" fmla="*/ 47625 h 97155"/>
                          <a:gd name="connsiteX20" fmla="*/ 5715 w 104775"/>
                          <a:gd name="connsiteY20" fmla="*/ 51435 h 97155"/>
                          <a:gd name="connsiteX21" fmla="*/ 17145 w 104775"/>
                          <a:gd name="connsiteY21" fmla="*/ 80010 h 97155"/>
                          <a:gd name="connsiteX0" fmla="*/ 19050 w 104775"/>
                          <a:gd name="connsiteY0" fmla="*/ 76298 h 97253"/>
                          <a:gd name="connsiteX1" fmla="*/ 24765 w 104775"/>
                          <a:gd name="connsiteY1" fmla="*/ 80108 h 97253"/>
                          <a:gd name="connsiteX2" fmla="*/ 28575 w 104775"/>
                          <a:gd name="connsiteY2" fmla="*/ 85823 h 97253"/>
                          <a:gd name="connsiteX3" fmla="*/ 32385 w 104775"/>
                          <a:gd name="connsiteY3" fmla="*/ 97253 h 97253"/>
                          <a:gd name="connsiteX4" fmla="*/ 81915 w 104775"/>
                          <a:gd name="connsiteY4" fmla="*/ 95348 h 97253"/>
                          <a:gd name="connsiteX5" fmla="*/ 87630 w 104775"/>
                          <a:gd name="connsiteY5" fmla="*/ 93443 h 97253"/>
                          <a:gd name="connsiteX6" fmla="*/ 89535 w 104775"/>
                          <a:gd name="connsiteY6" fmla="*/ 87728 h 97253"/>
                          <a:gd name="connsiteX7" fmla="*/ 93345 w 104775"/>
                          <a:gd name="connsiteY7" fmla="*/ 82013 h 97253"/>
                          <a:gd name="connsiteX8" fmla="*/ 95250 w 104775"/>
                          <a:gd name="connsiteY8" fmla="*/ 68678 h 97253"/>
                          <a:gd name="connsiteX9" fmla="*/ 100965 w 104775"/>
                          <a:gd name="connsiteY9" fmla="*/ 64868 h 97253"/>
                          <a:gd name="connsiteX10" fmla="*/ 104775 w 104775"/>
                          <a:gd name="connsiteY10" fmla="*/ 53438 h 97253"/>
                          <a:gd name="connsiteX11" fmla="*/ 100965 w 104775"/>
                          <a:gd name="connsiteY11" fmla="*/ 26768 h 97253"/>
                          <a:gd name="connsiteX12" fmla="*/ 99060 w 104775"/>
                          <a:gd name="connsiteY12" fmla="*/ 19148 h 97253"/>
                          <a:gd name="connsiteX13" fmla="*/ 95250 w 104775"/>
                          <a:gd name="connsiteY13" fmla="*/ 13433 h 97253"/>
                          <a:gd name="connsiteX14" fmla="*/ 41910 w 104775"/>
                          <a:gd name="connsiteY14" fmla="*/ 98 h 97253"/>
                          <a:gd name="connsiteX15" fmla="*/ 3810 w 104775"/>
                          <a:gd name="connsiteY15" fmla="*/ 21053 h 97253"/>
                          <a:gd name="connsiteX16" fmla="*/ 1905 w 104775"/>
                          <a:gd name="connsiteY16" fmla="*/ 28673 h 97253"/>
                          <a:gd name="connsiteX17" fmla="*/ 0 w 104775"/>
                          <a:gd name="connsiteY17" fmla="*/ 34388 h 97253"/>
                          <a:gd name="connsiteX18" fmla="*/ 5715 w 104775"/>
                          <a:gd name="connsiteY18" fmla="*/ 47723 h 97253"/>
                          <a:gd name="connsiteX19" fmla="*/ 5715 w 104775"/>
                          <a:gd name="connsiteY19" fmla="*/ 51533 h 97253"/>
                          <a:gd name="connsiteX20" fmla="*/ 17145 w 104775"/>
                          <a:gd name="connsiteY20" fmla="*/ 80108 h 97253"/>
                          <a:gd name="connsiteX0" fmla="*/ 19050 w 104775"/>
                          <a:gd name="connsiteY0" fmla="*/ 76205 h 97160"/>
                          <a:gd name="connsiteX1" fmla="*/ 24765 w 104775"/>
                          <a:gd name="connsiteY1" fmla="*/ 80015 h 97160"/>
                          <a:gd name="connsiteX2" fmla="*/ 28575 w 104775"/>
                          <a:gd name="connsiteY2" fmla="*/ 85730 h 97160"/>
                          <a:gd name="connsiteX3" fmla="*/ 32385 w 104775"/>
                          <a:gd name="connsiteY3" fmla="*/ 97160 h 97160"/>
                          <a:gd name="connsiteX4" fmla="*/ 81915 w 104775"/>
                          <a:gd name="connsiteY4" fmla="*/ 95255 h 97160"/>
                          <a:gd name="connsiteX5" fmla="*/ 87630 w 104775"/>
                          <a:gd name="connsiteY5" fmla="*/ 93350 h 97160"/>
                          <a:gd name="connsiteX6" fmla="*/ 89535 w 104775"/>
                          <a:gd name="connsiteY6" fmla="*/ 87635 h 97160"/>
                          <a:gd name="connsiteX7" fmla="*/ 93345 w 104775"/>
                          <a:gd name="connsiteY7" fmla="*/ 81920 h 97160"/>
                          <a:gd name="connsiteX8" fmla="*/ 95250 w 104775"/>
                          <a:gd name="connsiteY8" fmla="*/ 68585 h 97160"/>
                          <a:gd name="connsiteX9" fmla="*/ 100965 w 104775"/>
                          <a:gd name="connsiteY9" fmla="*/ 64775 h 97160"/>
                          <a:gd name="connsiteX10" fmla="*/ 104775 w 104775"/>
                          <a:gd name="connsiteY10" fmla="*/ 53345 h 97160"/>
                          <a:gd name="connsiteX11" fmla="*/ 100965 w 104775"/>
                          <a:gd name="connsiteY11" fmla="*/ 26675 h 97160"/>
                          <a:gd name="connsiteX12" fmla="*/ 99060 w 104775"/>
                          <a:gd name="connsiteY12" fmla="*/ 19055 h 97160"/>
                          <a:gd name="connsiteX13" fmla="*/ 41910 w 104775"/>
                          <a:gd name="connsiteY13" fmla="*/ 5 h 97160"/>
                          <a:gd name="connsiteX14" fmla="*/ 3810 w 104775"/>
                          <a:gd name="connsiteY14" fmla="*/ 20960 h 97160"/>
                          <a:gd name="connsiteX15" fmla="*/ 1905 w 104775"/>
                          <a:gd name="connsiteY15" fmla="*/ 28580 h 97160"/>
                          <a:gd name="connsiteX16" fmla="*/ 0 w 104775"/>
                          <a:gd name="connsiteY16" fmla="*/ 34295 h 97160"/>
                          <a:gd name="connsiteX17" fmla="*/ 5715 w 104775"/>
                          <a:gd name="connsiteY17" fmla="*/ 47630 h 97160"/>
                          <a:gd name="connsiteX18" fmla="*/ 5715 w 104775"/>
                          <a:gd name="connsiteY18" fmla="*/ 51440 h 97160"/>
                          <a:gd name="connsiteX19" fmla="*/ 17145 w 104775"/>
                          <a:gd name="connsiteY19" fmla="*/ 80015 h 97160"/>
                          <a:gd name="connsiteX0" fmla="*/ 19050 w 105971"/>
                          <a:gd name="connsiteY0" fmla="*/ 76238 h 97193"/>
                          <a:gd name="connsiteX1" fmla="*/ 24765 w 105971"/>
                          <a:gd name="connsiteY1" fmla="*/ 80048 h 97193"/>
                          <a:gd name="connsiteX2" fmla="*/ 28575 w 105971"/>
                          <a:gd name="connsiteY2" fmla="*/ 85763 h 97193"/>
                          <a:gd name="connsiteX3" fmla="*/ 32385 w 105971"/>
                          <a:gd name="connsiteY3" fmla="*/ 97193 h 97193"/>
                          <a:gd name="connsiteX4" fmla="*/ 81915 w 105971"/>
                          <a:gd name="connsiteY4" fmla="*/ 95288 h 97193"/>
                          <a:gd name="connsiteX5" fmla="*/ 87630 w 105971"/>
                          <a:gd name="connsiteY5" fmla="*/ 93383 h 97193"/>
                          <a:gd name="connsiteX6" fmla="*/ 89535 w 105971"/>
                          <a:gd name="connsiteY6" fmla="*/ 87668 h 97193"/>
                          <a:gd name="connsiteX7" fmla="*/ 93345 w 105971"/>
                          <a:gd name="connsiteY7" fmla="*/ 81953 h 97193"/>
                          <a:gd name="connsiteX8" fmla="*/ 95250 w 105971"/>
                          <a:gd name="connsiteY8" fmla="*/ 68618 h 97193"/>
                          <a:gd name="connsiteX9" fmla="*/ 100965 w 105971"/>
                          <a:gd name="connsiteY9" fmla="*/ 64808 h 97193"/>
                          <a:gd name="connsiteX10" fmla="*/ 104775 w 105971"/>
                          <a:gd name="connsiteY10" fmla="*/ 53378 h 97193"/>
                          <a:gd name="connsiteX11" fmla="*/ 100965 w 105971"/>
                          <a:gd name="connsiteY11" fmla="*/ 26708 h 97193"/>
                          <a:gd name="connsiteX12" fmla="*/ 41910 w 105971"/>
                          <a:gd name="connsiteY12" fmla="*/ 38 h 97193"/>
                          <a:gd name="connsiteX13" fmla="*/ 3810 w 105971"/>
                          <a:gd name="connsiteY13" fmla="*/ 20993 h 97193"/>
                          <a:gd name="connsiteX14" fmla="*/ 1905 w 105971"/>
                          <a:gd name="connsiteY14" fmla="*/ 28613 h 97193"/>
                          <a:gd name="connsiteX15" fmla="*/ 0 w 105971"/>
                          <a:gd name="connsiteY15" fmla="*/ 34328 h 97193"/>
                          <a:gd name="connsiteX16" fmla="*/ 5715 w 105971"/>
                          <a:gd name="connsiteY16" fmla="*/ 47663 h 97193"/>
                          <a:gd name="connsiteX17" fmla="*/ 5715 w 105971"/>
                          <a:gd name="connsiteY17" fmla="*/ 51473 h 97193"/>
                          <a:gd name="connsiteX18" fmla="*/ 17145 w 105971"/>
                          <a:gd name="connsiteY18" fmla="*/ 80048 h 97193"/>
                          <a:gd name="connsiteX0" fmla="*/ 19050 w 106250"/>
                          <a:gd name="connsiteY0" fmla="*/ 64875 h 85830"/>
                          <a:gd name="connsiteX1" fmla="*/ 24765 w 106250"/>
                          <a:gd name="connsiteY1" fmla="*/ 68685 h 85830"/>
                          <a:gd name="connsiteX2" fmla="*/ 28575 w 106250"/>
                          <a:gd name="connsiteY2" fmla="*/ 74400 h 85830"/>
                          <a:gd name="connsiteX3" fmla="*/ 32385 w 106250"/>
                          <a:gd name="connsiteY3" fmla="*/ 85830 h 85830"/>
                          <a:gd name="connsiteX4" fmla="*/ 81915 w 106250"/>
                          <a:gd name="connsiteY4" fmla="*/ 83925 h 85830"/>
                          <a:gd name="connsiteX5" fmla="*/ 87630 w 106250"/>
                          <a:gd name="connsiteY5" fmla="*/ 82020 h 85830"/>
                          <a:gd name="connsiteX6" fmla="*/ 89535 w 106250"/>
                          <a:gd name="connsiteY6" fmla="*/ 76305 h 85830"/>
                          <a:gd name="connsiteX7" fmla="*/ 93345 w 106250"/>
                          <a:gd name="connsiteY7" fmla="*/ 70590 h 85830"/>
                          <a:gd name="connsiteX8" fmla="*/ 95250 w 106250"/>
                          <a:gd name="connsiteY8" fmla="*/ 57255 h 85830"/>
                          <a:gd name="connsiteX9" fmla="*/ 100965 w 106250"/>
                          <a:gd name="connsiteY9" fmla="*/ 53445 h 85830"/>
                          <a:gd name="connsiteX10" fmla="*/ 104775 w 106250"/>
                          <a:gd name="connsiteY10" fmla="*/ 42015 h 85830"/>
                          <a:gd name="connsiteX11" fmla="*/ 100965 w 106250"/>
                          <a:gd name="connsiteY11" fmla="*/ 15345 h 85830"/>
                          <a:gd name="connsiteX12" fmla="*/ 38100 w 106250"/>
                          <a:gd name="connsiteY12" fmla="*/ 105 h 85830"/>
                          <a:gd name="connsiteX13" fmla="*/ 3810 w 106250"/>
                          <a:gd name="connsiteY13" fmla="*/ 9630 h 85830"/>
                          <a:gd name="connsiteX14" fmla="*/ 1905 w 106250"/>
                          <a:gd name="connsiteY14" fmla="*/ 17250 h 85830"/>
                          <a:gd name="connsiteX15" fmla="*/ 0 w 106250"/>
                          <a:gd name="connsiteY15" fmla="*/ 22965 h 85830"/>
                          <a:gd name="connsiteX16" fmla="*/ 5715 w 106250"/>
                          <a:gd name="connsiteY16" fmla="*/ 36300 h 85830"/>
                          <a:gd name="connsiteX17" fmla="*/ 5715 w 106250"/>
                          <a:gd name="connsiteY17" fmla="*/ 40110 h 85830"/>
                          <a:gd name="connsiteX18" fmla="*/ 17145 w 106250"/>
                          <a:gd name="connsiteY18" fmla="*/ 68685 h 8583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</a:cxnLst>
                        <a:rect l="l" t="t" r="r" b="b"/>
                        <a:pathLst>
                          <a:path w="106250" h="85830">
                            <a:moveTo>
                              <a:pt x="19050" y="64875"/>
                            </a:moveTo>
                            <a:cubicBezTo>
                              <a:pt x="19050" y="69955"/>
                              <a:pt x="22860" y="67415"/>
                              <a:pt x="24765" y="68685"/>
                            </a:cubicBezTo>
                            <a:cubicBezTo>
                              <a:pt x="26035" y="70590"/>
                              <a:pt x="27645" y="72308"/>
                              <a:pt x="28575" y="74400"/>
                            </a:cubicBezTo>
                            <a:cubicBezTo>
                              <a:pt x="30206" y="78070"/>
                              <a:pt x="32385" y="85830"/>
                              <a:pt x="32385" y="85830"/>
                            </a:cubicBezTo>
                            <a:cubicBezTo>
                              <a:pt x="48895" y="85195"/>
                              <a:pt x="65432" y="85062"/>
                              <a:pt x="81915" y="83925"/>
                            </a:cubicBezTo>
                            <a:cubicBezTo>
                              <a:pt x="83918" y="83787"/>
                              <a:pt x="86210" y="83440"/>
                              <a:pt x="87630" y="82020"/>
                            </a:cubicBezTo>
                            <a:cubicBezTo>
                              <a:pt x="89050" y="80600"/>
                              <a:pt x="88637" y="78101"/>
                              <a:pt x="89535" y="76305"/>
                            </a:cubicBezTo>
                            <a:cubicBezTo>
                              <a:pt x="90559" y="74257"/>
                              <a:pt x="92075" y="72495"/>
                              <a:pt x="93345" y="70590"/>
                            </a:cubicBezTo>
                            <a:cubicBezTo>
                              <a:pt x="93980" y="66145"/>
                              <a:pt x="93426" y="61358"/>
                              <a:pt x="95250" y="57255"/>
                            </a:cubicBezTo>
                            <a:cubicBezTo>
                              <a:pt x="96180" y="55163"/>
                              <a:pt x="99752" y="55387"/>
                              <a:pt x="100965" y="53445"/>
                            </a:cubicBezTo>
                            <a:cubicBezTo>
                              <a:pt x="103094" y="50039"/>
                              <a:pt x="104775" y="42015"/>
                              <a:pt x="104775" y="42015"/>
                            </a:cubicBezTo>
                            <a:cubicBezTo>
                              <a:pt x="101728" y="8500"/>
                              <a:pt x="112077" y="22330"/>
                              <a:pt x="100965" y="15345"/>
                            </a:cubicBezTo>
                            <a:cubicBezTo>
                              <a:pt x="89853" y="8360"/>
                              <a:pt x="54292" y="1057"/>
                              <a:pt x="38100" y="105"/>
                            </a:cubicBezTo>
                            <a:cubicBezTo>
                              <a:pt x="21908" y="-847"/>
                              <a:pt x="10477" y="4868"/>
                              <a:pt x="3810" y="9630"/>
                            </a:cubicBezTo>
                            <a:cubicBezTo>
                              <a:pt x="3175" y="12170"/>
                              <a:pt x="2624" y="14733"/>
                              <a:pt x="1905" y="17250"/>
                            </a:cubicBezTo>
                            <a:cubicBezTo>
                              <a:pt x="1353" y="19181"/>
                              <a:pt x="0" y="20957"/>
                              <a:pt x="0" y="22965"/>
                            </a:cubicBezTo>
                            <a:cubicBezTo>
                              <a:pt x="0" y="32673"/>
                              <a:pt x="2604" y="28523"/>
                              <a:pt x="5715" y="36300"/>
                            </a:cubicBezTo>
                            <a:cubicBezTo>
                              <a:pt x="6187" y="37479"/>
                              <a:pt x="3810" y="34713"/>
                              <a:pt x="5715" y="40110"/>
                            </a:cubicBezTo>
                            <a:cubicBezTo>
                              <a:pt x="7620" y="45507"/>
                              <a:pt x="13335" y="59160"/>
                              <a:pt x="17145" y="68685"/>
                            </a:cubicBezTo>
                          </a:path>
                        </a:pathLst>
                      </a:custGeom>
                      <a:solidFill>
                        <a:srgbClr val="0D3759"/>
                      </a:solidFill>
                      <a:ln w="3175" cap="flat" cmpd="sng" algn="ctr">
                        <a:solidFill>
                          <a:srgbClr val="FFFFFF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52" name="Freeform: Shape 37">
                        <a:extLst>
                          <a:ext uri="{FF2B5EF4-FFF2-40B4-BE49-F238E27FC236}">
                            <a16:creationId xmlns:a16="http://schemas.microsoft.com/office/drawing/2014/main" id="{9E9A077D-B8CB-6581-DC7E-B8EFFBBF3E1D}"/>
                          </a:ext>
                        </a:extLst>
                      </p:cNvPr>
                      <p:cNvSpPr/>
                      <p:nvPr/>
                    </p:nvSpPr>
                    <p:spPr>
                      <a:xfrm rot="9043087">
                        <a:off x="8883430" y="4342996"/>
                        <a:ext cx="27432" cy="36576"/>
                      </a:xfrm>
                      <a:custGeom>
                        <a:avLst/>
                        <a:gdLst>
                          <a:gd name="connsiteX0" fmla="*/ 57150 w 104775"/>
                          <a:gd name="connsiteY0" fmla="*/ 76200 h 127635"/>
                          <a:gd name="connsiteX1" fmla="*/ 57150 w 104775"/>
                          <a:gd name="connsiteY1" fmla="*/ 76200 h 127635"/>
                          <a:gd name="connsiteX2" fmla="*/ 24765 w 104775"/>
                          <a:gd name="connsiteY2" fmla="*/ 80010 h 127635"/>
                          <a:gd name="connsiteX3" fmla="*/ 19050 w 104775"/>
                          <a:gd name="connsiteY3" fmla="*/ 83820 h 127635"/>
                          <a:gd name="connsiteX4" fmla="*/ 19050 w 104775"/>
                          <a:gd name="connsiteY4" fmla="*/ 106680 h 127635"/>
                          <a:gd name="connsiteX5" fmla="*/ 24765 w 104775"/>
                          <a:gd name="connsiteY5" fmla="*/ 110490 h 127635"/>
                          <a:gd name="connsiteX6" fmla="*/ 28575 w 104775"/>
                          <a:gd name="connsiteY6" fmla="*/ 116205 h 127635"/>
                          <a:gd name="connsiteX7" fmla="*/ 32385 w 104775"/>
                          <a:gd name="connsiteY7" fmla="*/ 127635 h 127635"/>
                          <a:gd name="connsiteX8" fmla="*/ 81915 w 104775"/>
                          <a:gd name="connsiteY8" fmla="*/ 125730 h 127635"/>
                          <a:gd name="connsiteX9" fmla="*/ 87630 w 104775"/>
                          <a:gd name="connsiteY9" fmla="*/ 123825 h 127635"/>
                          <a:gd name="connsiteX10" fmla="*/ 89535 w 104775"/>
                          <a:gd name="connsiteY10" fmla="*/ 118110 h 127635"/>
                          <a:gd name="connsiteX11" fmla="*/ 93345 w 104775"/>
                          <a:gd name="connsiteY11" fmla="*/ 112395 h 127635"/>
                          <a:gd name="connsiteX12" fmla="*/ 95250 w 104775"/>
                          <a:gd name="connsiteY12" fmla="*/ 99060 h 127635"/>
                          <a:gd name="connsiteX13" fmla="*/ 100965 w 104775"/>
                          <a:gd name="connsiteY13" fmla="*/ 95250 h 127635"/>
                          <a:gd name="connsiteX14" fmla="*/ 104775 w 104775"/>
                          <a:gd name="connsiteY14" fmla="*/ 83820 h 127635"/>
                          <a:gd name="connsiteX15" fmla="*/ 100965 w 104775"/>
                          <a:gd name="connsiteY15" fmla="*/ 57150 h 127635"/>
                          <a:gd name="connsiteX16" fmla="*/ 99060 w 104775"/>
                          <a:gd name="connsiteY16" fmla="*/ 49530 h 127635"/>
                          <a:gd name="connsiteX17" fmla="*/ 95250 w 104775"/>
                          <a:gd name="connsiteY17" fmla="*/ 43815 h 127635"/>
                          <a:gd name="connsiteX18" fmla="*/ 91440 w 104775"/>
                          <a:gd name="connsiteY18" fmla="*/ 32385 h 127635"/>
                          <a:gd name="connsiteX19" fmla="*/ 81915 w 104775"/>
                          <a:gd name="connsiteY19" fmla="*/ 15240 h 127635"/>
                          <a:gd name="connsiteX20" fmla="*/ 70485 w 104775"/>
                          <a:gd name="connsiteY20" fmla="*/ 3810 h 127635"/>
                          <a:gd name="connsiteX21" fmla="*/ 59055 w 104775"/>
                          <a:gd name="connsiteY21" fmla="*/ 0 h 127635"/>
                          <a:gd name="connsiteX22" fmla="*/ 45720 w 104775"/>
                          <a:gd name="connsiteY22" fmla="*/ 1905 h 127635"/>
                          <a:gd name="connsiteX23" fmla="*/ 43815 w 104775"/>
                          <a:gd name="connsiteY23" fmla="*/ 19050 h 127635"/>
                          <a:gd name="connsiteX24" fmla="*/ 41910 w 104775"/>
                          <a:gd name="connsiteY24" fmla="*/ 30480 h 127635"/>
                          <a:gd name="connsiteX25" fmla="*/ 40005 w 104775"/>
                          <a:gd name="connsiteY25" fmla="*/ 43815 h 127635"/>
                          <a:gd name="connsiteX26" fmla="*/ 28575 w 104775"/>
                          <a:gd name="connsiteY26" fmla="*/ 49530 h 127635"/>
                          <a:gd name="connsiteX27" fmla="*/ 3810 w 104775"/>
                          <a:gd name="connsiteY27" fmla="*/ 51435 h 127635"/>
                          <a:gd name="connsiteX28" fmla="*/ 1905 w 104775"/>
                          <a:gd name="connsiteY28" fmla="*/ 59055 h 127635"/>
                          <a:gd name="connsiteX29" fmla="*/ 0 w 104775"/>
                          <a:gd name="connsiteY29" fmla="*/ 64770 h 127635"/>
                          <a:gd name="connsiteX30" fmla="*/ 5715 w 104775"/>
                          <a:gd name="connsiteY30" fmla="*/ 78105 h 127635"/>
                          <a:gd name="connsiteX31" fmla="*/ 5715 w 104775"/>
                          <a:gd name="connsiteY31" fmla="*/ 81915 h 127635"/>
                          <a:gd name="connsiteX32" fmla="*/ 5715 w 104775"/>
                          <a:gd name="connsiteY32" fmla="*/ 87630 h 127635"/>
                          <a:gd name="connsiteX0" fmla="*/ 57150 w 104775"/>
                          <a:gd name="connsiteY0" fmla="*/ 76200 h 127635"/>
                          <a:gd name="connsiteX1" fmla="*/ 24765 w 104775"/>
                          <a:gd name="connsiteY1" fmla="*/ 80010 h 127635"/>
                          <a:gd name="connsiteX2" fmla="*/ 19050 w 104775"/>
                          <a:gd name="connsiteY2" fmla="*/ 83820 h 127635"/>
                          <a:gd name="connsiteX3" fmla="*/ 19050 w 104775"/>
                          <a:gd name="connsiteY3" fmla="*/ 106680 h 127635"/>
                          <a:gd name="connsiteX4" fmla="*/ 24765 w 104775"/>
                          <a:gd name="connsiteY4" fmla="*/ 110490 h 127635"/>
                          <a:gd name="connsiteX5" fmla="*/ 28575 w 104775"/>
                          <a:gd name="connsiteY5" fmla="*/ 116205 h 127635"/>
                          <a:gd name="connsiteX6" fmla="*/ 32385 w 104775"/>
                          <a:gd name="connsiteY6" fmla="*/ 127635 h 127635"/>
                          <a:gd name="connsiteX7" fmla="*/ 81915 w 104775"/>
                          <a:gd name="connsiteY7" fmla="*/ 125730 h 127635"/>
                          <a:gd name="connsiteX8" fmla="*/ 87630 w 104775"/>
                          <a:gd name="connsiteY8" fmla="*/ 123825 h 127635"/>
                          <a:gd name="connsiteX9" fmla="*/ 89535 w 104775"/>
                          <a:gd name="connsiteY9" fmla="*/ 118110 h 127635"/>
                          <a:gd name="connsiteX10" fmla="*/ 93345 w 104775"/>
                          <a:gd name="connsiteY10" fmla="*/ 112395 h 127635"/>
                          <a:gd name="connsiteX11" fmla="*/ 95250 w 104775"/>
                          <a:gd name="connsiteY11" fmla="*/ 99060 h 127635"/>
                          <a:gd name="connsiteX12" fmla="*/ 100965 w 104775"/>
                          <a:gd name="connsiteY12" fmla="*/ 95250 h 127635"/>
                          <a:gd name="connsiteX13" fmla="*/ 104775 w 104775"/>
                          <a:gd name="connsiteY13" fmla="*/ 83820 h 127635"/>
                          <a:gd name="connsiteX14" fmla="*/ 100965 w 104775"/>
                          <a:gd name="connsiteY14" fmla="*/ 57150 h 127635"/>
                          <a:gd name="connsiteX15" fmla="*/ 99060 w 104775"/>
                          <a:gd name="connsiteY15" fmla="*/ 49530 h 127635"/>
                          <a:gd name="connsiteX16" fmla="*/ 95250 w 104775"/>
                          <a:gd name="connsiteY16" fmla="*/ 43815 h 127635"/>
                          <a:gd name="connsiteX17" fmla="*/ 91440 w 104775"/>
                          <a:gd name="connsiteY17" fmla="*/ 32385 h 127635"/>
                          <a:gd name="connsiteX18" fmla="*/ 81915 w 104775"/>
                          <a:gd name="connsiteY18" fmla="*/ 15240 h 127635"/>
                          <a:gd name="connsiteX19" fmla="*/ 70485 w 104775"/>
                          <a:gd name="connsiteY19" fmla="*/ 3810 h 127635"/>
                          <a:gd name="connsiteX20" fmla="*/ 59055 w 104775"/>
                          <a:gd name="connsiteY20" fmla="*/ 0 h 127635"/>
                          <a:gd name="connsiteX21" fmla="*/ 45720 w 104775"/>
                          <a:gd name="connsiteY21" fmla="*/ 1905 h 127635"/>
                          <a:gd name="connsiteX22" fmla="*/ 43815 w 104775"/>
                          <a:gd name="connsiteY22" fmla="*/ 19050 h 127635"/>
                          <a:gd name="connsiteX23" fmla="*/ 41910 w 104775"/>
                          <a:gd name="connsiteY23" fmla="*/ 30480 h 127635"/>
                          <a:gd name="connsiteX24" fmla="*/ 40005 w 104775"/>
                          <a:gd name="connsiteY24" fmla="*/ 43815 h 127635"/>
                          <a:gd name="connsiteX25" fmla="*/ 28575 w 104775"/>
                          <a:gd name="connsiteY25" fmla="*/ 49530 h 127635"/>
                          <a:gd name="connsiteX26" fmla="*/ 3810 w 104775"/>
                          <a:gd name="connsiteY26" fmla="*/ 51435 h 127635"/>
                          <a:gd name="connsiteX27" fmla="*/ 1905 w 104775"/>
                          <a:gd name="connsiteY27" fmla="*/ 59055 h 127635"/>
                          <a:gd name="connsiteX28" fmla="*/ 0 w 104775"/>
                          <a:gd name="connsiteY28" fmla="*/ 64770 h 127635"/>
                          <a:gd name="connsiteX29" fmla="*/ 5715 w 104775"/>
                          <a:gd name="connsiteY29" fmla="*/ 78105 h 127635"/>
                          <a:gd name="connsiteX30" fmla="*/ 5715 w 104775"/>
                          <a:gd name="connsiteY30" fmla="*/ 81915 h 127635"/>
                          <a:gd name="connsiteX31" fmla="*/ 5715 w 104775"/>
                          <a:gd name="connsiteY31" fmla="*/ 87630 h 127635"/>
                          <a:gd name="connsiteX0" fmla="*/ 24765 w 104775"/>
                          <a:gd name="connsiteY0" fmla="*/ 80010 h 127635"/>
                          <a:gd name="connsiteX1" fmla="*/ 19050 w 104775"/>
                          <a:gd name="connsiteY1" fmla="*/ 83820 h 127635"/>
                          <a:gd name="connsiteX2" fmla="*/ 19050 w 104775"/>
                          <a:gd name="connsiteY2" fmla="*/ 106680 h 127635"/>
                          <a:gd name="connsiteX3" fmla="*/ 24765 w 104775"/>
                          <a:gd name="connsiteY3" fmla="*/ 110490 h 127635"/>
                          <a:gd name="connsiteX4" fmla="*/ 28575 w 104775"/>
                          <a:gd name="connsiteY4" fmla="*/ 116205 h 127635"/>
                          <a:gd name="connsiteX5" fmla="*/ 32385 w 104775"/>
                          <a:gd name="connsiteY5" fmla="*/ 127635 h 127635"/>
                          <a:gd name="connsiteX6" fmla="*/ 81915 w 104775"/>
                          <a:gd name="connsiteY6" fmla="*/ 125730 h 127635"/>
                          <a:gd name="connsiteX7" fmla="*/ 87630 w 104775"/>
                          <a:gd name="connsiteY7" fmla="*/ 123825 h 127635"/>
                          <a:gd name="connsiteX8" fmla="*/ 89535 w 104775"/>
                          <a:gd name="connsiteY8" fmla="*/ 118110 h 127635"/>
                          <a:gd name="connsiteX9" fmla="*/ 93345 w 104775"/>
                          <a:gd name="connsiteY9" fmla="*/ 112395 h 127635"/>
                          <a:gd name="connsiteX10" fmla="*/ 95250 w 104775"/>
                          <a:gd name="connsiteY10" fmla="*/ 99060 h 127635"/>
                          <a:gd name="connsiteX11" fmla="*/ 100965 w 104775"/>
                          <a:gd name="connsiteY11" fmla="*/ 95250 h 127635"/>
                          <a:gd name="connsiteX12" fmla="*/ 104775 w 104775"/>
                          <a:gd name="connsiteY12" fmla="*/ 83820 h 127635"/>
                          <a:gd name="connsiteX13" fmla="*/ 100965 w 104775"/>
                          <a:gd name="connsiteY13" fmla="*/ 57150 h 127635"/>
                          <a:gd name="connsiteX14" fmla="*/ 99060 w 104775"/>
                          <a:gd name="connsiteY14" fmla="*/ 49530 h 127635"/>
                          <a:gd name="connsiteX15" fmla="*/ 95250 w 104775"/>
                          <a:gd name="connsiteY15" fmla="*/ 43815 h 127635"/>
                          <a:gd name="connsiteX16" fmla="*/ 91440 w 104775"/>
                          <a:gd name="connsiteY16" fmla="*/ 32385 h 127635"/>
                          <a:gd name="connsiteX17" fmla="*/ 81915 w 104775"/>
                          <a:gd name="connsiteY17" fmla="*/ 15240 h 127635"/>
                          <a:gd name="connsiteX18" fmla="*/ 70485 w 104775"/>
                          <a:gd name="connsiteY18" fmla="*/ 3810 h 127635"/>
                          <a:gd name="connsiteX19" fmla="*/ 59055 w 104775"/>
                          <a:gd name="connsiteY19" fmla="*/ 0 h 127635"/>
                          <a:gd name="connsiteX20" fmla="*/ 45720 w 104775"/>
                          <a:gd name="connsiteY20" fmla="*/ 1905 h 127635"/>
                          <a:gd name="connsiteX21" fmla="*/ 43815 w 104775"/>
                          <a:gd name="connsiteY21" fmla="*/ 19050 h 127635"/>
                          <a:gd name="connsiteX22" fmla="*/ 41910 w 104775"/>
                          <a:gd name="connsiteY22" fmla="*/ 30480 h 127635"/>
                          <a:gd name="connsiteX23" fmla="*/ 40005 w 104775"/>
                          <a:gd name="connsiteY23" fmla="*/ 43815 h 127635"/>
                          <a:gd name="connsiteX24" fmla="*/ 28575 w 104775"/>
                          <a:gd name="connsiteY24" fmla="*/ 49530 h 127635"/>
                          <a:gd name="connsiteX25" fmla="*/ 3810 w 104775"/>
                          <a:gd name="connsiteY25" fmla="*/ 51435 h 127635"/>
                          <a:gd name="connsiteX26" fmla="*/ 1905 w 104775"/>
                          <a:gd name="connsiteY26" fmla="*/ 59055 h 127635"/>
                          <a:gd name="connsiteX27" fmla="*/ 0 w 104775"/>
                          <a:gd name="connsiteY27" fmla="*/ 64770 h 127635"/>
                          <a:gd name="connsiteX28" fmla="*/ 5715 w 104775"/>
                          <a:gd name="connsiteY28" fmla="*/ 78105 h 127635"/>
                          <a:gd name="connsiteX29" fmla="*/ 5715 w 104775"/>
                          <a:gd name="connsiteY29" fmla="*/ 81915 h 127635"/>
                          <a:gd name="connsiteX30" fmla="*/ 5715 w 104775"/>
                          <a:gd name="connsiteY30" fmla="*/ 87630 h 127635"/>
                          <a:gd name="connsiteX0" fmla="*/ 24765 w 104775"/>
                          <a:gd name="connsiteY0" fmla="*/ 80010 h 127635"/>
                          <a:gd name="connsiteX1" fmla="*/ 19050 w 104775"/>
                          <a:gd name="connsiteY1" fmla="*/ 106680 h 127635"/>
                          <a:gd name="connsiteX2" fmla="*/ 24765 w 104775"/>
                          <a:gd name="connsiteY2" fmla="*/ 110490 h 127635"/>
                          <a:gd name="connsiteX3" fmla="*/ 28575 w 104775"/>
                          <a:gd name="connsiteY3" fmla="*/ 116205 h 127635"/>
                          <a:gd name="connsiteX4" fmla="*/ 32385 w 104775"/>
                          <a:gd name="connsiteY4" fmla="*/ 127635 h 127635"/>
                          <a:gd name="connsiteX5" fmla="*/ 81915 w 104775"/>
                          <a:gd name="connsiteY5" fmla="*/ 125730 h 127635"/>
                          <a:gd name="connsiteX6" fmla="*/ 87630 w 104775"/>
                          <a:gd name="connsiteY6" fmla="*/ 123825 h 127635"/>
                          <a:gd name="connsiteX7" fmla="*/ 89535 w 104775"/>
                          <a:gd name="connsiteY7" fmla="*/ 118110 h 127635"/>
                          <a:gd name="connsiteX8" fmla="*/ 93345 w 104775"/>
                          <a:gd name="connsiteY8" fmla="*/ 112395 h 127635"/>
                          <a:gd name="connsiteX9" fmla="*/ 95250 w 104775"/>
                          <a:gd name="connsiteY9" fmla="*/ 99060 h 127635"/>
                          <a:gd name="connsiteX10" fmla="*/ 100965 w 104775"/>
                          <a:gd name="connsiteY10" fmla="*/ 95250 h 127635"/>
                          <a:gd name="connsiteX11" fmla="*/ 104775 w 104775"/>
                          <a:gd name="connsiteY11" fmla="*/ 83820 h 127635"/>
                          <a:gd name="connsiteX12" fmla="*/ 100965 w 104775"/>
                          <a:gd name="connsiteY12" fmla="*/ 57150 h 127635"/>
                          <a:gd name="connsiteX13" fmla="*/ 99060 w 104775"/>
                          <a:gd name="connsiteY13" fmla="*/ 49530 h 127635"/>
                          <a:gd name="connsiteX14" fmla="*/ 95250 w 104775"/>
                          <a:gd name="connsiteY14" fmla="*/ 43815 h 127635"/>
                          <a:gd name="connsiteX15" fmla="*/ 91440 w 104775"/>
                          <a:gd name="connsiteY15" fmla="*/ 32385 h 127635"/>
                          <a:gd name="connsiteX16" fmla="*/ 81915 w 104775"/>
                          <a:gd name="connsiteY16" fmla="*/ 15240 h 127635"/>
                          <a:gd name="connsiteX17" fmla="*/ 70485 w 104775"/>
                          <a:gd name="connsiteY17" fmla="*/ 3810 h 127635"/>
                          <a:gd name="connsiteX18" fmla="*/ 59055 w 104775"/>
                          <a:gd name="connsiteY18" fmla="*/ 0 h 127635"/>
                          <a:gd name="connsiteX19" fmla="*/ 45720 w 104775"/>
                          <a:gd name="connsiteY19" fmla="*/ 1905 h 127635"/>
                          <a:gd name="connsiteX20" fmla="*/ 43815 w 104775"/>
                          <a:gd name="connsiteY20" fmla="*/ 19050 h 127635"/>
                          <a:gd name="connsiteX21" fmla="*/ 41910 w 104775"/>
                          <a:gd name="connsiteY21" fmla="*/ 30480 h 127635"/>
                          <a:gd name="connsiteX22" fmla="*/ 40005 w 104775"/>
                          <a:gd name="connsiteY22" fmla="*/ 43815 h 127635"/>
                          <a:gd name="connsiteX23" fmla="*/ 28575 w 104775"/>
                          <a:gd name="connsiteY23" fmla="*/ 49530 h 127635"/>
                          <a:gd name="connsiteX24" fmla="*/ 3810 w 104775"/>
                          <a:gd name="connsiteY24" fmla="*/ 51435 h 127635"/>
                          <a:gd name="connsiteX25" fmla="*/ 1905 w 104775"/>
                          <a:gd name="connsiteY25" fmla="*/ 59055 h 127635"/>
                          <a:gd name="connsiteX26" fmla="*/ 0 w 104775"/>
                          <a:gd name="connsiteY26" fmla="*/ 64770 h 127635"/>
                          <a:gd name="connsiteX27" fmla="*/ 5715 w 104775"/>
                          <a:gd name="connsiteY27" fmla="*/ 78105 h 127635"/>
                          <a:gd name="connsiteX28" fmla="*/ 5715 w 104775"/>
                          <a:gd name="connsiteY28" fmla="*/ 81915 h 127635"/>
                          <a:gd name="connsiteX29" fmla="*/ 5715 w 104775"/>
                          <a:gd name="connsiteY29" fmla="*/ 8763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5715 w 104775"/>
                          <a:gd name="connsiteY28" fmla="*/ 8763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17145 w 104775"/>
                          <a:gd name="connsiteY28" fmla="*/ 11049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17145 w 104775"/>
                          <a:gd name="connsiteY28" fmla="*/ 110490 h 127635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81915 w 104775"/>
                          <a:gd name="connsiteY15" fmla="*/ 16019 h 128414"/>
                          <a:gd name="connsiteX16" fmla="*/ 70485 w 104775"/>
                          <a:gd name="connsiteY16" fmla="*/ 4589 h 128414"/>
                          <a:gd name="connsiteX17" fmla="*/ 59055 w 104775"/>
                          <a:gd name="connsiteY17" fmla="*/ 779 h 128414"/>
                          <a:gd name="connsiteX18" fmla="*/ 45720 w 104775"/>
                          <a:gd name="connsiteY18" fmla="*/ 2684 h 128414"/>
                          <a:gd name="connsiteX19" fmla="*/ 41910 w 104775"/>
                          <a:gd name="connsiteY19" fmla="*/ 31259 h 128414"/>
                          <a:gd name="connsiteX20" fmla="*/ 40005 w 104775"/>
                          <a:gd name="connsiteY20" fmla="*/ 44594 h 128414"/>
                          <a:gd name="connsiteX21" fmla="*/ 28575 w 104775"/>
                          <a:gd name="connsiteY21" fmla="*/ 50309 h 128414"/>
                          <a:gd name="connsiteX22" fmla="*/ 3810 w 104775"/>
                          <a:gd name="connsiteY22" fmla="*/ 52214 h 128414"/>
                          <a:gd name="connsiteX23" fmla="*/ 1905 w 104775"/>
                          <a:gd name="connsiteY23" fmla="*/ 59834 h 128414"/>
                          <a:gd name="connsiteX24" fmla="*/ 0 w 104775"/>
                          <a:gd name="connsiteY24" fmla="*/ 65549 h 128414"/>
                          <a:gd name="connsiteX25" fmla="*/ 5715 w 104775"/>
                          <a:gd name="connsiteY25" fmla="*/ 78884 h 128414"/>
                          <a:gd name="connsiteX26" fmla="*/ 5715 w 104775"/>
                          <a:gd name="connsiteY26" fmla="*/ 82694 h 128414"/>
                          <a:gd name="connsiteX27" fmla="*/ 17145 w 104775"/>
                          <a:gd name="connsiteY27" fmla="*/ 111269 h 128414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70485 w 104775"/>
                          <a:gd name="connsiteY15" fmla="*/ 4589 h 128414"/>
                          <a:gd name="connsiteX16" fmla="*/ 59055 w 104775"/>
                          <a:gd name="connsiteY16" fmla="*/ 779 h 128414"/>
                          <a:gd name="connsiteX17" fmla="*/ 45720 w 104775"/>
                          <a:gd name="connsiteY17" fmla="*/ 2684 h 128414"/>
                          <a:gd name="connsiteX18" fmla="*/ 41910 w 104775"/>
                          <a:gd name="connsiteY18" fmla="*/ 31259 h 128414"/>
                          <a:gd name="connsiteX19" fmla="*/ 40005 w 104775"/>
                          <a:gd name="connsiteY19" fmla="*/ 44594 h 128414"/>
                          <a:gd name="connsiteX20" fmla="*/ 28575 w 104775"/>
                          <a:gd name="connsiteY20" fmla="*/ 50309 h 128414"/>
                          <a:gd name="connsiteX21" fmla="*/ 3810 w 104775"/>
                          <a:gd name="connsiteY21" fmla="*/ 52214 h 128414"/>
                          <a:gd name="connsiteX22" fmla="*/ 1905 w 104775"/>
                          <a:gd name="connsiteY22" fmla="*/ 59834 h 128414"/>
                          <a:gd name="connsiteX23" fmla="*/ 0 w 104775"/>
                          <a:gd name="connsiteY23" fmla="*/ 65549 h 128414"/>
                          <a:gd name="connsiteX24" fmla="*/ 5715 w 104775"/>
                          <a:gd name="connsiteY24" fmla="*/ 78884 h 128414"/>
                          <a:gd name="connsiteX25" fmla="*/ 5715 w 104775"/>
                          <a:gd name="connsiteY25" fmla="*/ 82694 h 128414"/>
                          <a:gd name="connsiteX26" fmla="*/ 17145 w 104775"/>
                          <a:gd name="connsiteY26" fmla="*/ 111269 h 128414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70485 w 104775"/>
                          <a:gd name="connsiteY15" fmla="*/ 4589 h 128414"/>
                          <a:gd name="connsiteX16" fmla="*/ 59055 w 104775"/>
                          <a:gd name="connsiteY16" fmla="*/ 779 h 128414"/>
                          <a:gd name="connsiteX17" fmla="*/ 45720 w 104775"/>
                          <a:gd name="connsiteY17" fmla="*/ 2684 h 128414"/>
                          <a:gd name="connsiteX18" fmla="*/ 41910 w 104775"/>
                          <a:gd name="connsiteY18" fmla="*/ 31259 h 128414"/>
                          <a:gd name="connsiteX19" fmla="*/ 40005 w 104775"/>
                          <a:gd name="connsiteY19" fmla="*/ 44594 h 128414"/>
                          <a:gd name="connsiteX20" fmla="*/ 3810 w 104775"/>
                          <a:gd name="connsiteY20" fmla="*/ 52214 h 128414"/>
                          <a:gd name="connsiteX21" fmla="*/ 1905 w 104775"/>
                          <a:gd name="connsiteY21" fmla="*/ 59834 h 128414"/>
                          <a:gd name="connsiteX22" fmla="*/ 0 w 104775"/>
                          <a:gd name="connsiteY22" fmla="*/ 65549 h 128414"/>
                          <a:gd name="connsiteX23" fmla="*/ 5715 w 104775"/>
                          <a:gd name="connsiteY23" fmla="*/ 78884 h 128414"/>
                          <a:gd name="connsiteX24" fmla="*/ 5715 w 104775"/>
                          <a:gd name="connsiteY24" fmla="*/ 82694 h 128414"/>
                          <a:gd name="connsiteX25" fmla="*/ 17145 w 104775"/>
                          <a:gd name="connsiteY25" fmla="*/ 111269 h 128414"/>
                          <a:gd name="connsiteX0" fmla="*/ 19050 w 104775"/>
                          <a:gd name="connsiteY0" fmla="*/ 107492 h 128447"/>
                          <a:gd name="connsiteX1" fmla="*/ 24765 w 104775"/>
                          <a:gd name="connsiteY1" fmla="*/ 111302 h 128447"/>
                          <a:gd name="connsiteX2" fmla="*/ 28575 w 104775"/>
                          <a:gd name="connsiteY2" fmla="*/ 117017 h 128447"/>
                          <a:gd name="connsiteX3" fmla="*/ 32385 w 104775"/>
                          <a:gd name="connsiteY3" fmla="*/ 128447 h 128447"/>
                          <a:gd name="connsiteX4" fmla="*/ 81915 w 104775"/>
                          <a:gd name="connsiteY4" fmla="*/ 126542 h 128447"/>
                          <a:gd name="connsiteX5" fmla="*/ 87630 w 104775"/>
                          <a:gd name="connsiteY5" fmla="*/ 124637 h 128447"/>
                          <a:gd name="connsiteX6" fmla="*/ 89535 w 104775"/>
                          <a:gd name="connsiteY6" fmla="*/ 118922 h 128447"/>
                          <a:gd name="connsiteX7" fmla="*/ 93345 w 104775"/>
                          <a:gd name="connsiteY7" fmla="*/ 113207 h 128447"/>
                          <a:gd name="connsiteX8" fmla="*/ 95250 w 104775"/>
                          <a:gd name="connsiteY8" fmla="*/ 99872 h 128447"/>
                          <a:gd name="connsiteX9" fmla="*/ 100965 w 104775"/>
                          <a:gd name="connsiteY9" fmla="*/ 96062 h 128447"/>
                          <a:gd name="connsiteX10" fmla="*/ 104775 w 104775"/>
                          <a:gd name="connsiteY10" fmla="*/ 84632 h 128447"/>
                          <a:gd name="connsiteX11" fmla="*/ 100965 w 104775"/>
                          <a:gd name="connsiteY11" fmla="*/ 57962 h 128447"/>
                          <a:gd name="connsiteX12" fmla="*/ 99060 w 104775"/>
                          <a:gd name="connsiteY12" fmla="*/ 50342 h 128447"/>
                          <a:gd name="connsiteX13" fmla="*/ 95250 w 104775"/>
                          <a:gd name="connsiteY13" fmla="*/ 44627 h 128447"/>
                          <a:gd name="connsiteX14" fmla="*/ 91440 w 104775"/>
                          <a:gd name="connsiteY14" fmla="*/ 33197 h 128447"/>
                          <a:gd name="connsiteX15" fmla="*/ 70485 w 104775"/>
                          <a:gd name="connsiteY15" fmla="*/ 4622 h 128447"/>
                          <a:gd name="connsiteX16" fmla="*/ 45720 w 104775"/>
                          <a:gd name="connsiteY16" fmla="*/ 2717 h 128447"/>
                          <a:gd name="connsiteX17" fmla="*/ 41910 w 104775"/>
                          <a:gd name="connsiteY17" fmla="*/ 31292 h 128447"/>
                          <a:gd name="connsiteX18" fmla="*/ 40005 w 104775"/>
                          <a:gd name="connsiteY18" fmla="*/ 44627 h 128447"/>
                          <a:gd name="connsiteX19" fmla="*/ 3810 w 104775"/>
                          <a:gd name="connsiteY19" fmla="*/ 52247 h 128447"/>
                          <a:gd name="connsiteX20" fmla="*/ 1905 w 104775"/>
                          <a:gd name="connsiteY20" fmla="*/ 59867 h 128447"/>
                          <a:gd name="connsiteX21" fmla="*/ 0 w 104775"/>
                          <a:gd name="connsiteY21" fmla="*/ 65582 h 128447"/>
                          <a:gd name="connsiteX22" fmla="*/ 5715 w 104775"/>
                          <a:gd name="connsiteY22" fmla="*/ 78917 h 128447"/>
                          <a:gd name="connsiteX23" fmla="*/ 5715 w 104775"/>
                          <a:gd name="connsiteY23" fmla="*/ 82727 h 128447"/>
                          <a:gd name="connsiteX24" fmla="*/ 17145 w 104775"/>
                          <a:gd name="connsiteY24" fmla="*/ 111302 h 128447"/>
                          <a:gd name="connsiteX0" fmla="*/ 19050 w 104775"/>
                          <a:gd name="connsiteY0" fmla="*/ 102874 h 123829"/>
                          <a:gd name="connsiteX1" fmla="*/ 24765 w 104775"/>
                          <a:gd name="connsiteY1" fmla="*/ 106684 h 123829"/>
                          <a:gd name="connsiteX2" fmla="*/ 28575 w 104775"/>
                          <a:gd name="connsiteY2" fmla="*/ 112399 h 123829"/>
                          <a:gd name="connsiteX3" fmla="*/ 32385 w 104775"/>
                          <a:gd name="connsiteY3" fmla="*/ 123829 h 123829"/>
                          <a:gd name="connsiteX4" fmla="*/ 81915 w 104775"/>
                          <a:gd name="connsiteY4" fmla="*/ 121924 h 123829"/>
                          <a:gd name="connsiteX5" fmla="*/ 87630 w 104775"/>
                          <a:gd name="connsiteY5" fmla="*/ 120019 h 123829"/>
                          <a:gd name="connsiteX6" fmla="*/ 89535 w 104775"/>
                          <a:gd name="connsiteY6" fmla="*/ 114304 h 123829"/>
                          <a:gd name="connsiteX7" fmla="*/ 93345 w 104775"/>
                          <a:gd name="connsiteY7" fmla="*/ 108589 h 123829"/>
                          <a:gd name="connsiteX8" fmla="*/ 95250 w 104775"/>
                          <a:gd name="connsiteY8" fmla="*/ 95254 h 123829"/>
                          <a:gd name="connsiteX9" fmla="*/ 100965 w 104775"/>
                          <a:gd name="connsiteY9" fmla="*/ 91444 h 123829"/>
                          <a:gd name="connsiteX10" fmla="*/ 104775 w 104775"/>
                          <a:gd name="connsiteY10" fmla="*/ 80014 h 123829"/>
                          <a:gd name="connsiteX11" fmla="*/ 100965 w 104775"/>
                          <a:gd name="connsiteY11" fmla="*/ 53344 h 123829"/>
                          <a:gd name="connsiteX12" fmla="*/ 99060 w 104775"/>
                          <a:gd name="connsiteY12" fmla="*/ 45724 h 123829"/>
                          <a:gd name="connsiteX13" fmla="*/ 95250 w 104775"/>
                          <a:gd name="connsiteY13" fmla="*/ 40009 h 123829"/>
                          <a:gd name="connsiteX14" fmla="*/ 91440 w 104775"/>
                          <a:gd name="connsiteY14" fmla="*/ 28579 h 123829"/>
                          <a:gd name="connsiteX15" fmla="*/ 70485 w 104775"/>
                          <a:gd name="connsiteY15" fmla="*/ 4 h 123829"/>
                          <a:gd name="connsiteX16" fmla="*/ 41910 w 104775"/>
                          <a:gd name="connsiteY16" fmla="*/ 26674 h 123829"/>
                          <a:gd name="connsiteX17" fmla="*/ 40005 w 104775"/>
                          <a:gd name="connsiteY17" fmla="*/ 40009 h 123829"/>
                          <a:gd name="connsiteX18" fmla="*/ 3810 w 104775"/>
                          <a:gd name="connsiteY18" fmla="*/ 47629 h 123829"/>
                          <a:gd name="connsiteX19" fmla="*/ 1905 w 104775"/>
                          <a:gd name="connsiteY19" fmla="*/ 55249 h 123829"/>
                          <a:gd name="connsiteX20" fmla="*/ 0 w 104775"/>
                          <a:gd name="connsiteY20" fmla="*/ 60964 h 123829"/>
                          <a:gd name="connsiteX21" fmla="*/ 5715 w 104775"/>
                          <a:gd name="connsiteY21" fmla="*/ 74299 h 123829"/>
                          <a:gd name="connsiteX22" fmla="*/ 5715 w 104775"/>
                          <a:gd name="connsiteY22" fmla="*/ 78109 h 123829"/>
                          <a:gd name="connsiteX23" fmla="*/ 17145 w 104775"/>
                          <a:gd name="connsiteY23" fmla="*/ 106684 h 123829"/>
                          <a:gd name="connsiteX0" fmla="*/ 19050 w 104775"/>
                          <a:gd name="connsiteY0" fmla="*/ 77050 h 98005"/>
                          <a:gd name="connsiteX1" fmla="*/ 24765 w 104775"/>
                          <a:gd name="connsiteY1" fmla="*/ 80860 h 98005"/>
                          <a:gd name="connsiteX2" fmla="*/ 28575 w 104775"/>
                          <a:gd name="connsiteY2" fmla="*/ 86575 h 98005"/>
                          <a:gd name="connsiteX3" fmla="*/ 32385 w 104775"/>
                          <a:gd name="connsiteY3" fmla="*/ 98005 h 98005"/>
                          <a:gd name="connsiteX4" fmla="*/ 81915 w 104775"/>
                          <a:gd name="connsiteY4" fmla="*/ 96100 h 98005"/>
                          <a:gd name="connsiteX5" fmla="*/ 87630 w 104775"/>
                          <a:gd name="connsiteY5" fmla="*/ 94195 h 98005"/>
                          <a:gd name="connsiteX6" fmla="*/ 89535 w 104775"/>
                          <a:gd name="connsiteY6" fmla="*/ 88480 h 98005"/>
                          <a:gd name="connsiteX7" fmla="*/ 93345 w 104775"/>
                          <a:gd name="connsiteY7" fmla="*/ 82765 h 98005"/>
                          <a:gd name="connsiteX8" fmla="*/ 95250 w 104775"/>
                          <a:gd name="connsiteY8" fmla="*/ 69430 h 98005"/>
                          <a:gd name="connsiteX9" fmla="*/ 100965 w 104775"/>
                          <a:gd name="connsiteY9" fmla="*/ 65620 h 98005"/>
                          <a:gd name="connsiteX10" fmla="*/ 104775 w 104775"/>
                          <a:gd name="connsiteY10" fmla="*/ 54190 h 98005"/>
                          <a:gd name="connsiteX11" fmla="*/ 100965 w 104775"/>
                          <a:gd name="connsiteY11" fmla="*/ 27520 h 98005"/>
                          <a:gd name="connsiteX12" fmla="*/ 99060 w 104775"/>
                          <a:gd name="connsiteY12" fmla="*/ 19900 h 98005"/>
                          <a:gd name="connsiteX13" fmla="*/ 95250 w 104775"/>
                          <a:gd name="connsiteY13" fmla="*/ 14185 h 98005"/>
                          <a:gd name="connsiteX14" fmla="*/ 91440 w 104775"/>
                          <a:gd name="connsiteY14" fmla="*/ 2755 h 98005"/>
                          <a:gd name="connsiteX15" fmla="*/ 41910 w 104775"/>
                          <a:gd name="connsiteY15" fmla="*/ 850 h 98005"/>
                          <a:gd name="connsiteX16" fmla="*/ 40005 w 104775"/>
                          <a:gd name="connsiteY16" fmla="*/ 14185 h 98005"/>
                          <a:gd name="connsiteX17" fmla="*/ 3810 w 104775"/>
                          <a:gd name="connsiteY17" fmla="*/ 21805 h 98005"/>
                          <a:gd name="connsiteX18" fmla="*/ 1905 w 104775"/>
                          <a:gd name="connsiteY18" fmla="*/ 29425 h 98005"/>
                          <a:gd name="connsiteX19" fmla="*/ 0 w 104775"/>
                          <a:gd name="connsiteY19" fmla="*/ 35140 h 98005"/>
                          <a:gd name="connsiteX20" fmla="*/ 5715 w 104775"/>
                          <a:gd name="connsiteY20" fmla="*/ 48475 h 98005"/>
                          <a:gd name="connsiteX21" fmla="*/ 5715 w 104775"/>
                          <a:gd name="connsiteY21" fmla="*/ 52285 h 98005"/>
                          <a:gd name="connsiteX22" fmla="*/ 17145 w 104775"/>
                          <a:gd name="connsiteY22" fmla="*/ 80860 h 98005"/>
                          <a:gd name="connsiteX0" fmla="*/ 19050 w 104775"/>
                          <a:gd name="connsiteY0" fmla="*/ 76200 h 97155"/>
                          <a:gd name="connsiteX1" fmla="*/ 24765 w 104775"/>
                          <a:gd name="connsiteY1" fmla="*/ 80010 h 97155"/>
                          <a:gd name="connsiteX2" fmla="*/ 28575 w 104775"/>
                          <a:gd name="connsiteY2" fmla="*/ 85725 h 97155"/>
                          <a:gd name="connsiteX3" fmla="*/ 32385 w 104775"/>
                          <a:gd name="connsiteY3" fmla="*/ 97155 h 97155"/>
                          <a:gd name="connsiteX4" fmla="*/ 81915 w 104775"/>
                          <a:gd name="connsiteY4" fmla="*/ 95250 h 97155"/>
                          <a:gd name="connsiteX5" fmla="*/ 87630 w 104775"/>
                          <a:gd name="connsiteY5" fmla="*/ 93345 h 97155"/>
                          <a:gd name="connsiteX6" fmla="*/ 89535 w 104775"/>
                          <a:gd name="connsiteY6" fmla="*/ 87630 h 97155"/>
                          <a:gd name="connsiteX7" fmla="*/ 93345 w 104775"/>
                          <a:gd name="connsiteY7" fmla="*/ 81915 h 97155"/>
                          <a:gd name="connsiteX8" fmla="*/ 95250 w 104775"/>
                          <a:gd name="connsiteY8" fmla="*/ 68580 h 97155"/>
                          <a:gd name="connsiteX9" fmla="*/ 100965 w 104775"/>
                          <a:gd name="connsiteY9" fmla="*/ 64770 h 97155"/>
                          <a:gd name="connsiteX10" fmla="*/ 104775 w 104775"/>
                          <a:gd name="connsiteY10" fmla="*/ 53340 h 97155"/>
                          <a:gd name="connsiteX11" fmla="*/ 100965 w 104775"/>
                          <a:gd name="connsiteY11" fmla="*/ 26670 h 97155"/>
                          <a:gd name="connsiteX12" fmla="*/ 99060 w 104775"/>
                          <a:gd name="connsiteY12" fmla="*/ 19050 h 97155"/>
                          <a:gd name="connsiteX13" fmla="*/ 95250 w 104775"/>
                          <a:gd name="connsiteY13" fmla="*/ 13335 h 97155"/>
                          <a:gd name="connsiteX14" fmla="*/ 41910 w 104775"/>
                          <a:gd name="connsiteY14" fmla="*/ 0 h 97155"/>
                          <a:gd name="connsiteX15" fmla="*/ 40005 w 104775"/>
                          <a:gd name="connsiteY15" fmla="*/ 13335 h 97155"/>
                          <a:gd name="connsiteX16" fmla="*/ 3810 w 104775"/>
                          <a:gd name="connsiteY16" fmla="*/ 20955 h 97155"/>
                          <a:gd name="connsiteX17" fmla="*/ 1905 w 104775"/>
                          <a:gd name="connsiteY17" fmla="*/ 28575 h 97155"/>
                          <a:gd name="connsiteX18" fmla="*/ 0 w 104775"/>
                          <a:gd name="connsiteY18" fmla="*/ 34290 h 97155"/>
                          <a:gd name="connsiteX19" fmla="*/ 5715 w 104775"/>
                          <a:gd name="connsiteY19" fmla="*/ 47625 h 97155"/>
                          <a:gd name="connsiteX20" fmla="*/ 5715 w 104775"/>
                          <a:gd name="connsiteY20" fmla="*/ 51435 h 97155"/>
                          <a:gd name="connsiteX21" fmla="*/ 17145 w 104775"/>
                          <a:gd name="connsiteY21" fmla="*/ 80010 h 97155"/>
                          <a:gd name="connsiteX0" fmla="*/ 19050 w 104775"/>
                          <a:gd name="connsiteY0" fmla="*/ 76298 h 97253"/>
                          <a:gd name="connsiteX1" fmla="*/ 24765 w 104775"/>
                          <a:gd name="connsiteY1" fmla="*/ 80108 h 97253"/>
                          <a:gd name="connsiteX2" fmla="*/ 28575 w 104775"/>
                          <a:gd name="connsiteY2" fmla="*/ 85823 h 97253"/>
                          <a:gd name="connsiteX3" fmla="*/ 32385 w 104775"/>
                          <a:gd name="connsiteY3" fmla="*/ 97253 h 97253"/>
                          <a:gd name="connsiteX4" fmla="*/ 81915 w 104775"/>
                          <a:gd name="connsiteY4" fmla="*/ 95348 h 97253"/>
                          <a:gd name="connsiteX5" fmla="*/ 87630 w 104775"/>
                          <a:gd name="connsiteY5" fmla="*/ 93443 h 97253"/>
                          <a:gd name="connsiteX6" fmla="*/ 89535 w 104775"/>
                          <a:gd name="connsiteY6" fmla="*/ 87728 h 97253"/>
                          <a:gd name="connsiteX7" fmla="*/ 93345 w 104775"/>
                          <a:gd name="connsiteY7" fmla="*/ 82013 h 97253"/>
                          <a:gd name="connsiteX8" fmla="*/ 95250 w 104775"/>
                          <a:gd name="connsiteY8" fmla="*/ 68678 h 97253"/>
                          <a:gd name="connsiteX9" fmla="*/ 100965 w 104775"/>
                          <a:gd name="connsiteY9" fmla="*/ 64868 h 97253"/>
                          <a:gd name="connsiteX10" fmla="*/ 104775 w 104775"/>
                          <a:gd name="connsiteY10" fmla="*/ 53438 h 97253"/>
                          <a:gd name="connsiteX11" fmla="*/ 100965 w 104775"/>
                          <a:gd name="connsiteY11" fmla="*/ 26768 h 97253"/>
                          <a:gd name="connsiteX12" fmla="*/ 99060 w 104775"/>
                          <a:gd name="connsiteY12" fmla="*/ 19148 h 97253"/>
                          <a:gd name="connsiteX13" fmla="*/ 95250 w 104775"/>
                          <a:gd name="connsiteY13" fmla="*/ 13433 h 97253"/>
                          <a:gd name="connsiteX14" fmla="*/ 41910 w 104775"/>
                          <a:gd name="connsiteY14" fmla="*/ 98 h 97253"/>
                          <a:gd name="connsiteX15" fmla="*/ 3810 w 104775"/>
                          <a:gd name="connsiteY15" fmla="*/ 21053 h 97253"/>
                          <a:gd name="connsiteX16" fmla="*/ 1905 w 104775"/>
                          <a:gd name="connsiteY16" fmla="*/ 28673 h 97253"/>
                          <a:gd name="connsiteX17" fmla="*/ 0 w 104775"/>
                          <a:gd name="connsiteY17" fmla="*/ 34388 h 97253"/>
                          <a:gd name="connsiteX18" fmla="*/ 5715 w 104775"/>
                          <a:gd name="connsiteY18" fmla="*/ 47723 h 97253"/>
                          <a:gd name="connsiteX19" fmla="*/ 5715 w 104775"/>
                          <a:gd name="connsiteY19" fmla="*/ 51533 h 97253"/>
                          <a:gd name="connsiteX20" fmla="*/ 17145 w 104775"/>
                          <a:gd name="connsiteY20" fmla="*/ 80108 h 97253"/>
                          <a:gd name="connsiteX0" fmla="*/ 19050 w 104775"/>
                          <a:gd name="connsiteY0" fmla="*/ 76205 h 97160"/>
                          <a:gd name="connsiteX1" fmla="*/ 24765 w 104775"/>
                          <a:gd name="connsiteY1" fmla="*/ 80015 h 97160"/>
                          <a:gd name="connsiteX2" fmla="*/ 28575 w 104775"/>
                          <a:gd name="connsiteY2" fmla="*/ 85730 h 97160"/>
                          <a:gd name="connsiteX3" fmla="*/ 32385 w 104775"/>
                          <a:gd name="connsiteY3" fmla="*/ 97160 h 97160"/>
                          <a:gd name="connsiteX4" fmla="*/ 81915 w 104775"/>
                          <a:gd name="connsiteY4" fmla="*/ 95255 h 97160"/>
                          <a:gd name="connsiteX5" fmla="*/ 87630 w 104775"/>
                          <a:gd name="connsiteY5" fmla="*/ 93350 h 97160"/>
                          <a:gd name="connsiteX6" fmla="*/ 89535 w 104775"/>
                          <a:gd name="connsiteY6" fmla="*/ 87635 h 97160"/>
                          <a:gd name="connsiteX7" fmla="*/ 93345 w 104775"/>
                          <a:gd name="connsiteY7" fmla="*/ 81920 h 97160"/>
                          <a:gd name="connsiteX8" fmla="*/ 95250 w 104775"/>
                          <a:gd name="connsiteY8" fmla="*/ 68585 h 97160"/>
                          <a:gd name="connsiteX9" fmla="*/ 100965 w 104775"/>
                          <a:gd name="connsiteY9" fmla="*/ 64775 h 97160"/>
                          <a:gd name="connsiteX10" fmla="*/ 104775 w 104775"/>
                          <a:gd name="connsiteY10" fmla="*/ 53345 h 97160"/>
                          <a:gd name="connsiteX11" fmla="*/ 100965 w 104775"/>
                          <a:gd name="connsiteY11" fmla="*/ 26675 h 97160"/>
                          <a:gd name="connsiteX12" fmla="*/ 99060 w 104775"/>
                          <a:gd name="connsiteY12" fmla="*/ 19055 h 97160"/>
                          <a:gd name="connsiteX13" fmla="*/ 41910 w 104775"/>
                          <a:gd name="connsiteY13" fmla="*/ 5 h 97160"/>
                          <a:gd name="connsiteX14" fmla="*/ 3810 w 104775"/>
                          <a:gd name="connsiteY14" fmla="*/ 20960 h 97160"/>
                          <a:gd name="connsiteX15" fmla="*/ 1905 w 104775"/>
                          <a:gd name="connsiteY15" fmla="*/ 28580 h 97160"/>
                          <a:gd name="connsiteX16" fmla="*/ 0 w 104775"/>
                          <a:gd name="connsiteY16" fmla="*/ 34295 h 97160"/>
                          <a:gd name="connsiteX17" fmla="*/ 5715 w 104775"/>
                          <a:gd name="connsiteY17" fmla="*/ 47630 h 97160"/>
                          <a:gd name="connsiteX18" fmla="*/ 5715 w 104775"/>
                          <a:gd name="connsiteY18" fmla="*/ 51440 h 97160"/>
                          <a:gd name="connsiteX19" fmla="*/ 17145 w 104775"/>
                          <a:gd name="connsiteY19" fmla="*/ 80015 h 97160"/>
                          <a:gd name="connsiteX0" fmla="*/ 19050 w 105971"/>
                          <a:gd name="connsiteY0" fmla="*/ 76238 h 97193"/>
                          <a:gd name="connsiteX1" fmla="*/ 24765 w 105971"/>
                          <a:gd name="connsiteY1" fmla="*/ 80048 h 97193"/>
                          <a:gd name="connsiteX2" fmla="*/ 28575 w 105971"/>
                          <a:gd name="connsiteY2" fmla="*/ 85763 h 97193"/>
                          <a:gd name="connsiteX3" fmla="*/ 32385 w 105971"/>
                          <a:gd name="connsiteY3" fmla="*/ 97193 h 97193"/>
                          <a:gd name="connsiteX4" fmla="*/ 81915 w 105971"/>
                          <a:gd name="connsiteY4" fmla="*/ 95288 h 97193"/>
                          <a:gd name="connsiteX5" fmla="*/ 87630 w 105971"/>
                          <a:gd name="connsiteY5" fmla="*/ 93383 h 97193"/>
                          <a:gd name="connsiteX6" fmla="*/ 89535 w 105971"/>
                          <a:gd name="connsiteY6" fmla="*/ 87668 h 97193"/>
                          <a:gd name="connsiteX7" fmla="*/ 93345 w 105971"/>
                          <a:gd name="connsiteY7" fmla="*/ 81953 h 97193"/>
                          <a:gd name="connsiteX8" fmla="*/ 95250 w 105971"/>
                          <a:gd name="connsiteY8" fmla="*/ 68618 h 97193"/>
                          <a:gd name="connsiteX9" fmla="*/ 100965 w 105971"/>
                          <a:gd name="connsiteY9" fmla="*/ 64808 h 97193"/>
                          <a:gd name="connsiteX10" fmla="*/ 104775 w 105971"/>
                          <a:gd name="connsiteY10" fmla="*/ 53378 h 97193"/>
                          <a:gd name="connsiteX11" fmla="*/ 100965 w 105971"/>
                          <a:gd name="connsiteY11" fmla="*/ 26708 h 97193"/>
                          <a:gd name="connsiteX12" fmla="*/ 41910 w 105971"/>
                          <a:gd name="connsiteY12" fmla="*/ 38 h 97193"/>
                          <a:gd name="connsiteX13" fmla="*/ 3810 w 105971"/>
                          <a:gd name="connsiteY13" fmla="*/ 20993 h 97193"/>
                          <a:gd name="connsiteX14" fmla="*/ 1905 w 105971"/>
                          <a:gd name="connsiteY14" fmla="*/ 28613 h 97193"/>
                          <a:gd name="connsiteX15" fmla="*/ 0 w 105971"/>
                          <a:gd name="connsiteY15" fmla="*/ 34328 h 97193"/>
                          <a:gd name="connsiteX16" fmla="*/ 5715 w 105971"/>
                          <a:gd name="connsiteY16" fmla="*/ 47663 h 97193"/>
                          <a:gd name="connsiteX17" fmla="*/ 5715 w 105971"/>
                          <a:gd name="connsiteY17" fmla="*/ 51473 h 97193"/>
                          <a:gd name="connsiteX18" fmla="*/ 17145 w 105971"/>
                          <a:gd name="connsiteY18" fmla="*/ 80048 h 97193"/>
                          <a:gd name="connsiteX0" fmla="*/ 19050 w 106250"/>
                          <a:gd name="connsiteY0" fmla="*/ 64875 h 85830"/>
                          <a:gd name="connsiteX1" fmla="*/ 24765 w 106250"/>
                          <a:gd name="connsiteY1" fmla="*/ 68685 h 85830"/>
                          <a:gd name="connsiteX2" fmla="*/ 28575 w 106250"/>
                          <a:gd name="connsiteY2" fmla="*/ 74400 h 85830"/>
                          <a:gd name="connsiteX3" fmla="*/ 32385 w 106250"/>
                          <a:gd name="connsiteY3" fmla="*/ 85830 h 85830"/>
                          <a:gd name="connsiteX4" fmla="*/ 81915 w 106250"/>
                          <a:gd name="connsiteY4" fmla="*/ 83925 h 85830"/>
                          <a:gd name="connsiteX5" fmla="*/ 87630 w 106250"/>
                          <a:gd name="connsiteY5" fmla="*/ 82020 h 85830"/>
                          <a:gd name="connsiteX6" fmla="*/ 89535 w 106250"/>
                          <a:gd name="connsiteY6" fmla="*/ 76305 h 85830"/>
                          <a:gd name="connsiteX7" fmla="*/ 93345 w 106250"/>
                          <a:gd name="connsiteY7" fmla="*/ 70590 h 85830"/>
                          <a:gd name="connsiteX8" fmla="*/ 95250 w 106250"/>
                          <a:gd name="connsiteY8" fmla="*/ 57255 h 85830"/>
                          <a:gd name="connsiteX9" fmla="*/ 100965 w 106250"/>
                          <a:gd name="connsiteY9" fmla="*/ 53445 h 85830"/>
                          <a:gd name="connsiteX10" fmla="*/ 104775 w 106250"/>
                          <a:gd name="connsiteY10" fmla="*/ 42015 h 85830"/>
                          <a:gd name="connsiteX11" fmla="*/ 100965 w 106250"/>
                          <a:gd name="connsiteY11" fmla="*/ 15345 h 85830"/>
                          <a:gd name="connsiteX12" fmla="*/ 38100 w 106250"/>
                          <a:gd name="connsiteY12" fmla="*/ 105 h 85830"/>
                          <a:gd name="connsiteX13" fmla="*/ 3810 w 106250"/>
                          <a:gd name="connsiteY13" fmla="*/ 9630 h 85830"/>
                          <a:gd name="connsiteX14" fmla="*/ 1905 w 106250"/>
                          <a:gd name="connsiteY14" fmla="*/ 17250 h 85830"/>
                          <a:gd name="connsiteX15" fmla="*/ 0 w 106250"/>
                          <a:gd name="connsiteY15" fmla="*/ 22965 h 85830"/>
                          <a:gd name="connsiteX16" fmla="*/ 5715 w 106250"/>
                          <a:gd name="connsiteY16" fmla="*/ 36300 h 85830"/>
                          <a:gd name="connsiteX17" fmla="*/ 5715 w 106250"/>
                          <a:gd name="connsiteY17" fmla="*/ 40110 h 85830"/>
                          <a:gd name="connsiteX18" fmla="*/ 17145 w 106250"/>
                          <a:gd name="connsiteY18" fmla="*/ 68685 h 8583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</a:cxnLst>
                        <a:rect l="l" t="t" r="r" b="b"/>
                        <a:pathLst>
                          <a:path w="106250" h="85830">
                            <a:moveTo>
                              <a:pt x="19050" y="64875"/>
                            </a:moveTo>
                            <a:cubicBezTo>
                              <a:pt x="19050" y="69955"/>
                              <a:pt x="22860" y="67415"/>
                              <a:pt x="24765" y="68685"/>
                            </a:cubicBezTo>
                            <a:cubicBezTo>
                              <a:pt x="26035" y="70590"/>
                              <a:pt x="27645" y="72308"/>
                              <a:pt x="28575" y="74400"/>
                            </a:cubicBezTo>
                            <a:cubicBezTo>
                              <a:pt x="30206" y="78070"/>
                              <a:pt x="32385" y="85830"/>
                              <a:pt x="32385" y="85830"/>
                            </a:cubicBezTo>
                            <a:cubicBezTo>
                              <a:pt x="48895" y="85195"/>
                              <a:pt x="65432" y="85062"/>
                              <a:pt x="81915" y="83925"/>
                            </a:cubicBezTo>
                            <a:cubicBezTo>
                              <a:pt x="83918" y="83787"/>
                              <a:pt x="86210" y="83440"/>
                              <a:pt x="87630" y="82020"/>
                            </a:cubicBezTo>
                            <a:cubicBezTo>
                              <a:pt x="89050" y="80600"/>
                              <a:pt x="88637" y="78101"/>
                              <a:pt x="89535" y="76305"/>
                            </a:cubicBezTo>
                            <a:cubicBezTo>
                              <a:pt x="90559" y="74257"/>
                              <a:pt x="92075" y="72495"/>
                              <a:pt x="93345" y="70590"/>
                            </a:cubicBezTo>
                            <a:cubicBezTo>
                              <a:pt x="93980" y="66145"/>
                              <a:pt x="93426" y="61358"/>
                              <a:pt x="95250" y="57255"/>
                            </a:cubicBezTo>
                            <a:cubicBezTo>
                              <a:pt x="96180" y="55163"/>
                              <a:pt x="99752" y="55387"/>
                              <a:pt x="100965" y="53445"/>
                            </a:cubicBezTo>
                            <a:cubicBezTo>
                              <a:pt x="103094" y="50039"/>
                              <a:pt x="104775" y="42015"/>
                              <a:pt x="104775" y="42015"/>
                            </a:cubicBezTo>
                            <a:cubicBezTo>
                              <a:pt x="101728" y="8500"/>
                              <a:pt x="112077" y="22330"/>
                              <a:pt x="100965" y="15345"/>
                            </a:cubicBezTo>
                            <a:cubicBezTo>
                              <a:pt x="89853" y="8360"/>
                              <a:pt x="54292" y="1057"/>
                              <a:pt x="38100" y="105"/>
                            </a:cubicBezTo>
                            <a:cubicBezTo>
                              <a:pt x="21908" y="-847"/>
                              <a:pt x="10477" y="4868"/>
                              <a:pt x="3810" y="9630"/>
                            </a:cubicBezTo>
                            <a:cubicBezTo>
                              <a:pt x="3175" y="12170"/>
                              <a:pt x="2624" y="14733"/>
                              <a:pt x="1905" y="17250"/>
                            </a:cubicBezTo>
                            <a:cubicBezTo>
                              <a:pt x="1353" y="19181"/>
                              <a:pt x="0" y="20957"/>
                              <a:pt x="0" y="22965"/>
                            </a:cubicBezTo>
                            <a:cubicBezTo>
                              <a:pt x="0" y="32673"/>
                              <a:pt x="2604" y="28523"/>
                              <a:pt x="5715" y="36300"/>
                            </a:cubicBezTo>
                            <a:cubicBezTo>
                              <a:pt x="6187" y="37479"/>
                              <a:pt x="3810" y="34713"/>
                              <a:pt x="5715" y="40110"/>
                            </a:cubicBezTo>
                            <a:cubicBezTo>
                              <a:pt x="7620" y="45507"/>
                              <a:pt x="13335" y="59160"/>
                              <a:pt x="17145" y="68685"/>
                            </a:cubicBezTo>
                          </a:path>
                        </a:pathLst>
                      </a:custGeom>
                      <a:solidFill>
                        <a:srgbClr val="0D3759"/>
                      </a:solidFill>
                      <a:ln w="3175" cap="flat" cmpd="sng" algn="ctr">
                        <a:solidFill>
                          <a:srgbClr val="FFFFFF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53" name="Freeform: Shape 38">
                        <a:extLst>
                          <a:ext uri="{FF2B5EF4-FFF2-40B4-BE49-F238E27FC236}">
                            <a16:creationId xmlns:a16="http://schemas.microsoft.com/office/drawing/2014/main" id="{131764C9-C3DB-4826-1339-61AA31DE3653}"/>
                          </a:ext>
                        </a:extLst>
                      </p:cNvPr>
                      <p:cNvSpPr/>
                      <p:nvPr/>
                    </p:nvSpPr>
                    <p:spPr>
                      <a:xfrm rot="5209521">
                        <a:off x="8961351" y="4317762"/>
                        <a:ext cx="27432" cy="36576"/>
                      </a:xfrm>
                      <a:custGeom>
                        <a:avLst/>
                        <a:gdLst>
                          <a:gd name="connsiteX0" fmla="*/ 57150 w 104775"/>
                          <a:gd name="connsiteY0" fmla="*/ 76200 h 127635"/>
                          <a:gd name="connsiteX1" fmla="*/ 57150 w 104775"/>
                          <a:gd name="connsiteY1" fmla="*/ 76200 h 127635"/>
                          <a:gd name="connsiteX2" fmla="*/ 24765 w 104775"/>
                          <a:gd name="connsiteY2" fmla="*/ 80010 h 127635"/>
                          <a:gd name="connsiteX3" fmla="*/ 19050 w 104775"/>
                          <a:gd name="connsiteY3" fmla="*/ 83820 h 127635"/>
                          <a:gd name="connsiteX4" fmla="*/ 19050 w 104775"/>
                          <a:gd name="connsiteY4" fmla="*/ 106680 h 127635"/>
                          <a:gd name="connsiteX5" fmla="*/ 24765 w 104775"/>
                          <a:gd name="connsiteY5" fmla="*/ 110490 h 127635"/>
                          <a:gd name="connsiteX6" fmla="*/ 28575 w 104775"/>
                          <a:gd name="connsiteY6" fmla="*/ 116205 h 127635"/>
                          <a:gd name="connsiteX7" fmla="*/ 32385 w 104775"/>
                          <a:gd name="connsiteY7" fmla="*/ 127635 h 127635"/>
                          <a:gd name="connsiteX8" fmla="*/ 81915 w 104775"/>
                          <a:gd name="connsiteY8" fmla="*/ 125730 h 127635"/>
                          <a:gd name="connsiteX9" fmla="*/ 87630 w 104775"/>
                          <a:gd name="connsiteY9" fmla="*/ 123825 h 127635"/>
                          <a:gd name="connsiteX10" fmla="*/ 89535 w 104775"/>
                          <a:gd name="connsiteY10" fmla="*/ 118110 h 127635"/>
                          <a:gd name="connsiteX11" fmla="*/ 93345 w 104775"/>
                          <a:gd name="connsiteY11" fmla="*/ 112395 h 127635"/>
                          <a:gd name="connsiteX12" fmla="*/ 95250 w 104775"/>
                          <a:gd name="connsiteY12" fmla="*/ 99060 h 127635"/>
                          <a:gd name="connsiteX13" fmla="*/ 100965 w 104775"/>
                          <a:gd name="connsiteY13" fmla="*/ 95250 h 127635"/>
                          <a:gd name="connsiteX14" fmla="*/ 104775 w 104775"/>
                          <a:gd name="connsiteY14" fmla="*/ 83820 h 127635"/>
                          <a:gd name="connsiteX15" fmla="*/ 100965 w 104775"/>
                          <a:gd name="connsiteY15" fmla="*/ 57150 h 127635"/>
                          <a:gd name="connsiteX16" fmla="*/ 99060 w 104775"/>
                          <a:gd name="connsiteY16" fmla="*/ 49530 h 127635"/>
                          <a:gd name="connsiteX17" fmla="*/ 95250 w 104775"/>
                          <a:gd name="connsiteY17" fmla="*/ 43815 h 127635"/>
                          <a:gd name="connsiteX18" fmla="*/ 91440 w 104775"/>
                          <a:gd name="connsiteY18" fmla="*/ 32385 h 127635"/>
                          <a:gd name="connsiteX19" fmla="*/ 81915 w 104775"/>
                          <a:gd name="connsiteY19" fmla="*/ 15240 h 127635"/>
                          <a:gd name="connsiteX20" fmla="*/ 70485 w 104775"/>
                          <a:gd name="connsiteY20" fmla="*/ 3810 h 127635"/>
                          <a:gd name="connsiteX21" fmla="*/ 59055 w 104775"/>
                          <a:gd name="connsiteY21" fmla="*/ 0 h 127635"/>
                          <a:gd name="connsiteX22" fmla="*/ 45720 w 104775"/>
                          <a:gd name="connsiteY22" fmla="*/ 1905 h 127635"/>
                          <a:gd name="connsiteX23" fmla="*/ 43815 w 104775"/>
                          <a:gd name="connsiteY23" fmla="*/ 19050 h 127635"/>
                          <a:gd name="connsiteX24" fmla="*/ 41910 w 104775"/>
                          <a:gd name="connsiteY24" fmla="*/ 30480 h 127635"/>
                          <a:gd name="connsiteX25" fmla="*/ 40005 w 104775"/>
                          <a:gd name="connsiteY25" fmla="*/ 43815 h 127635"/>
                          <a:gd name="connsiteX26" fmla="*/ 28575 w 104775"/>
                          <a:gd name="connsiteY26" fmla="*/ 49530 h 127635"/>
                          <a:gd name="connsiteX27" fmla="*/ 3810 w 104775"/>
                          <a:gd name="connsiteY27" fmla="*/ 51435 h 127635"/>
                          <a:gd name="connsiteX28" fmla="*/ 1905 w 104775"/>
                          <a:gd name="connsiteY28" fmla="*/ 59055 h 127635"/>
                          <a:gd name="connsiteX29" fmla="*/ 0 w 104775"/>
                          <a:gd name="connsiteY29" fmla="*/ 64770 h 127635"/>
                          <a:gd name="connsiteX30" fmla="*/ 5715 w 104775"/>
                          <a:gd name="connsiteY30" fmla="*/ 78105 h 127635"/>
                          <a:gd name="connsiteX31" fmla="*/ 5715 w 104775"/>
                          <a:gd name="connsiteY31" fmla="*/ 81915 h 127635"/>
                          <a:gd name="connsiteX32" fmla="*/ 5715 w 104775"/>
                          <a:gd name="connsiteY32" fmla="*/ 87630 h 127635"/>
                          <a:gd name="connsiteX0" fmla="*/ 57150 w 104775"/>
                          <a:gd name="connsiteY0" fmla="*/ 76200 h 127635"/>
                          <a:gd name="connsiteX1" fmla="*/ 24765 w 104775"/>
                          <a:gd name="connsiteY1" fmla="*/ 80010 h 127635"/>
                          <a:gd name="connsiteX2" fmla="*/ 19050 w 104775"/>
                          <a:gd name="connsiteY2" fmla="*/ 83820 h 127635"/>
                          <a:gd name="connsiteX3" fmla="*/ 19050 w 104775"/>
                          <a:gd name="connsiteY3" fmla="*/ 106680 h 127635"/>
                          <a:gd name="connsiteX4" fmla="*/ 24765 w 104775"/>
                          <a:gd name="connsiteY4" fmla="*/ 110490 h 127635"/>
                          <a:gd name="connsiteX5" fmla="*/ 28575 w 104775"/>
                          <a:gd name="connsiteY5" fmla="*/ 116205 h 127635"/>
                          <a:gd name="connsiteX6" fmla="*/ 32385 w 104775"/>
                          <a:gd name="connsiteY6" fmla="*/ 127635 h 127635"/>
                          <a:gd name="connsiteX7" fmla="*/ 81915 w 104775"/>
                          <a:gd name="connsiteY7" fmla="*/ 125730 h 127635"/>
                          <a:gd name="connsiteX8" fmla="*/ 87630 w 104775"/>
                          <a:gd name="connsiteY8" fmla="*/ 123825 h 127635"/>
                          <a:gd name="connsiteX9" fmla="*/ 89535 w 104775"/>
                          <a:gd name="connsiteY9" fmla="*/ 118110 h 127635"/>
                          <a:gd name="connsiteX10" fmla="*/ 93345 w 104775"/>
                          <a:gd name="connsiteY10" fmla="*/ 112395 h 127635"/>
                          <a:gd name="connsiteX11" fmla="*/ 95250 w 104775"/>
                          <a:gd name="connsiteY11" fmla="*/ 99060 h 127635"/>
                          <a:gd name="connsiteX12" fmla="*/ 100965 w 104775"/>
                          <a:gd name="connsiteY12" fmla="*/ 95250 h 127635"/>
                          <a:gd name="connsiteX13" fmla="*/ 104775 w 104775"/>
                          <a:gd name="connsiteY13" fmla="*/ 83820 h 127635"/>
                          <a:gd name="connsiteX14" fmla="*/ 100965 w 104775"/>
                          <a:gd name="connsiteY14" fmla="*/ 57150 h 127635"/>
                          <a:gd name="connsiteX15" fmla="*/ 99060 w 104775"/>
                          <a:gd name="connsiteY15" fmla="*/ 49530 h 127635"/>
                          <a:gd name="connsiteX16" fmla="*/ 95250 w 104775"/>
                          <a:gd name="connsiteY16" fmla="*/ 43815 h 127635"/>
                          <a:gd name="connsiteX17" fmla="*/ 91440 w 104775"/>
                          <a:gd name="connsiteY17" fmla="*/ 32385 h 127635"/>
                          <a:gd name="connsiteX18" fmla="*/ 81915 w 104775"/>
                          <a:gd name="connsiteY18" fmla="*/ 15240 h 127635"/>
                          <a:gd name="connsiteX19" fmla="*/ 70485 w 104775"/>
                          <a:gd name="connsiteY19" fmla="*/ 3810 h 127635"/>
                          <a:gd name="connsiteX20" fmla="*/ 59055 w 104775"/>
                          <a:gd name="connsiteY20" fmla="*/ 0 h 127635"/>
                          <a:gd name="connsiteX21" fmla="*/ 45720 w 104775"/>
                          <a:gd name="connsiteY21" fmla="*/ 1905 h 127635"/>
                          <a:gd name="connsiteX22" fmla="*/ 43815 w 104775"/>
                          <a:gd name="connsiteY22" fmla="*/ 19050 h 127635"/>
                          <a:gd name="connsiteX23" fmla="*/ 41910 w 104775"/>
                          <a:gd name="connsiteY23" fmla="*/ 30480 h 127635"/>
                          <a:gd name="connsiteX24" fmla="*/ 40005 w 104775"/>
                          <a:gd name="connsiteY24" fmla="*/ 43815 h 127635"/>
                          <a:gd name="connsiteX25" fmla="*/ 28575 w 104775"/>
                          <a:gd name="connsiteY25" fmla="*/ 49530 h 127635"/>
                          <a:gd name="connsiteX26" fmla="*/ 3810 w 104775"/>
                          <a:gd name="connsiteY26" fmla="*/ 51435 h 127635"/>
                          <a:gd name="connsiteX27" fmla="*/ 1905 w 104775"/>
                          <a:gd name="connsiteY27" fmla="*/ 59055 h 127635"/>
                          <a:gd name="connsiteX28" fmla="*/ 0 w 104775"/>
                          <a:gd name="connsiteY28" fmla="*/ 64770 h 127635"/>
                          <a:gd name="connsiteX29" fmla="*/ 5715 w 104775"/>
                          <a:gd name="connsiteY29" fmla="*/ 78105 h 127635"/>
                          <a:gd name="connsiteX30" fmla="*/ 5715 w 104775"/>
                          <a:gd name="connsiteY30" fmla="*/ 81915 h 127635"/>
                          <a:gd name="connsiteX31" fmla="*/ 5715 w 104775"/>
                          <a:gd name="connsiteY31" fmla="*/ 87630 h 127635"/>
                          <a:gd name="connsiteX0" fmla="*/ 24765 w 104775"/>
                          <a:gd name="connsiteY0" fmla="*/ 80010 h 127635"/>
                          <a:gd name="connsiteX1" fmla="*/ 19050 w 104775"/>
                          <a:gd name="connsiteY1" fmla="*/ 83820 h 127635"/>
                          <a:gd name="connsiteX2" fmla="*/ 19050 w 104775"/>
                          <a:gd name="connsiteY2" fmla="*/ 106680 h 127635"/>
                          <a:gd name="connsiteX3" fmla="*/ 24765 w 104775"/>
                          <a:gd name="connsiteY3" fmla="*/ 110490 h 127635"/>
                          <a:gd name="connsiteX4" fmla="*/ 28575 w 104775"/>
                          <a:gd name="connsiteY4" fmla="*/ 116205 h 127635"/>
                          <a:gd name="connsiteX5" fmla="*/ 32385 w 104775"/>
                          <a:gd name="connsiteY5" fmla="*/ 127635 h 127635"/>
                          <a:gd name="connsiteX6" fmla="*/ 81915 w 104775"/>
                          <a:gd name="connsiteY6" fmla="*/ 125730 h 127635"/>
                          <a:gd name="connsiteX7" fmla="*/ 87630 w 104775"/>
                          <a:gd name="connsiteY7" fmla="*/ 123825 h 127635"/>
                          <a:gd name="connsiteX8" fmla="*/ 89535 w 104775"/>
                          <a:gd name="connsiteY8" fmla="*/ 118110 h 127635"/>
                          <a:gd name="connsiteX9" fmla="*/ 93345 w 104775"/>
                          <a:gd name="connsiteY9" fmla="*/ 112395 h 127635"/>
                          <a:gd name="connsiteX10" fmla="*/ 95250 w 104775"/>
                          <a:gd name="connsiteY10" fmla="*/ 99060 h 127635"/>
                          <a:gd name="connsiteX11" fmla="*/ 100965 w 104775"/>
                          <a:gd name="connsiteY11" fmla="*/ 95250 h 127635"/>
                          <a:gd name="connsiteX12" fmla="*/ 104775 w 104775"/>
                          <a:gd name="connsiteY12" fmla="*/ 83820 h 127635"/>
                          <a:gd name="connsiteX13" fmla="*/ 100965 w 104775"/>
                          <a:gd name="connsiteY13" fmla="*/ 57150 h 127635"/>
                          <a:gd name="connsiteX14" fmla="*/ 99060 w 104775"/>
                          <a:gd name="connsiteY14" fmla="*/ 49530 h 127635"/>
                          <a:gd name="connsiteX15" fmla="*/ 95250 w 104775"/>
                          <a:gd name="connsiteY15" fmla="*/ 43815 h 127635"/>
                          <a:gd name="connsiteX16" fmla="*/ 91440 w 104775"/>
                          <a:gd name="connsiteY16" fmla="*/ 32385 h 127635"/>
                          <a:gd name="connsiteX17" fmla="*/ 81915 w 104775"/>
                          <a:gd name="connsiteY17" fmla="*/ 15240 h 127635"/>
                          <a:gd name="connsiteX18" fmla="*/ 70485 w 104775"/>
                          <a:gd name="connsiteY18" fmla="*/ 3810 h 127635"/>
                          <a:gd name="connsiteX19" fmla="*/ 59055 w 104775"/>
                          <a:gd name="connsiteY19" fmla="*/ 0 h 127635"/>
                          <a:gd name="connsiteX20" fmla="*/ 45720 w 104775"/>
                          <a:gd name="connsiteY20" fmla="*/ 1905 h 127635"/>
                          <a:gd name="connsiteX21" fmla="*/ 43815 w 104775"/>
                          <a:gd name="connsiteY21" fmla="*/ 19050 h 127635"/>
                          <a:gd name="connsiteX22" fmla="*/ 41910 w 104775"/>
                          <a:gd name="connsiteY22" fmla="*/ 30480 h 127635"/>
                          <a:gd name="connsiteX23" fmla="*/ 40005 w 104775"/>
                          <a:gd name="connsiteY23" fmla="*/ 43815 h 127635"/>
                          <a:gd name="connsiteX24" fmla="*/ 28575 w 104775"/>
                          <a:gd name="connsiteY24" fmla="*/ 49530 h 127635"/>
                          <a:gd name="connsiteX25" fmla="*/ 3810 w 104775"/>
                          <a:gd name="connsiteY25" fmla="*/ 51435 h 127635"/>
                          <a:gd name="connsiteX26" fmla="*/ 1905 w 104775"/>
                          <a:gd name="connsiteY26" fmla="*/ 59055 h 127635"/>
                          <a:gd name="connsiteX27" fmla="*/ 0 w 104775"/>
                          <a:gd name="connsiteY27" fmla="*/ 64770 h 127635"/>
                          <a:gd name="connsiteX28" fmla="*/ 5715 w 104775"/>
                          <a:gd name="connsiteY28" fmla="*/ 78105 h 127635"/>
                          <a:gd name="connsiteX29" fmla="*/ 5715 w 104775"/>
                          <a:gd name="connsiteY29" fmla="*/ 81915 h 127635"/>
                          <a:gd name="connsiteX30" fmla="*/ 5715 w 104775"/>
                          <a:gd name="connsiteY30" fmla="*/ 87630 h 127635"/>
                          <a:gd name="connsiteX0" fmla="*/ 24765 w 104775"/>
                          <a:gd name="connsiteY0" fmla="*/ 80010 h 127635"/>
                          <a:gd name="connsiteX1" fmla="*/ 19050 w 104775"/>
                          <a:gd name="connsiteY1" fmla="*/ 106680 h 127635"/>
                          <a:gd name="connsiteX2" fmla="*/ 24765 w 104775"/>
                          <a:gd name="connsiteY2" fmla="*/ 110490 h 127635"/>
                          <a:gd name="connsiteX3" fmla="*/ 28575 w 104775"/>
                          <a:gd name="connsiteY3" fmla="*/ 116205 h 127635"/>
                          <a:gd name="connsiteX4" fmla="*/ 32385 w 104775"/>
                          <a:gd name="connsiteY4" fmla="*/ 127635 h 127635"/>
                          <a:gd name="connsiteX5" fmla="*/ 81915 w 104775"/>
                          <a:gd name="connsiteY5" fmla="*/ 125730 h 127635"/>
                          <a:gd name="connsiteX6" fmla="*/ 87630 w 104775"/>
                          <a:gd name="connsiteY6" fmla="*/ 123825 h 127635"/>
                          <a:gd name="connsiteX7" fmla="*/ 89535 w 104775"/>
                          <a:gd name="connsiteY7" fmla="*/ 118110 h 127635"/>
                          <a:gd name="connsiteX8" fmla="*/ 93345 w 104775"/>
                          <a:gd name="connsiteY8" fmla="*/ 112395 h 127635"/>
                          <a:gd name="connsiteX9" fmla="*/ 95250 w 104775"/>
                          <a:gd name="connsiteY9" fmla="*/ 99060 h 127635"/>
                          <a:gd name="connsiteX10" fmla="*/ 100965 w 104775"/>
                          <a:gd name="connsiteY10" fmla="*/ 95250 h 127635"/>
                          <a:gd name="connsiteX11" fmla="*/ 104775 w 104775"/>
                          <a:gd name="connsiteY11" fmla="*/ 83820 h 127635"/>
                          <a:gd name="connsiteX12" fmla="*/ 100965 w 104775"/>
                          <a:gd name="connsiteY12" fmla="*/ 57150 h 127635"/>
                          <a:gd name="connsiteX13" fmla="*/ 99060 w 104775"/>
                          <a:gd name="connsiteY13" fmla="*/ 49530 h 127635"/>
                          <a:gd name="connsiteX14" fmla="*/ 95250 w 104775"/>
                          <a:gd name="connsiteY14" fmla="*/ 43815 h 127635"/>
                          <a:gd name="connsiteX15" fmla="*/ 91440 w 104775"/>
                          <a:gd name="connsiteY15" fmla="*/ 32385 h 127635"/>
                          <a:gd name="connsiteX16" fmla="*/ 81915 w 104775"/>
                          <a:gd name="connsiteY16" fmla="*/ 15240 h 127635"/>
                          <a:gd name="connsiteX17" fmla="*/ 70485 w 104775"/>
                          <a:gd name="connsiteY17" fmla="*/ 3810 h 127635"/>
                          <a:gd name="connsiteX18" fmla="*/ 59055 w 104775"/>
                          <a:gd name="connsiteY18" fmla="*/ 0 h 127635"/>
                          <a:gd name="connsiteX19" fmla="*/ 45720 w 104775"/>
                          <a:gd name="connsiteY19" fmla="*/ 1905 h 127635"/>
                          <a:gd name="connsiteX20" fmla="*/ 43815 w 104775"/>
                          <a:gd name="connsiteY20" fmla="*/ 19050 h 127635"/>
                          <a:gd name="connsiteX21" fmla="*/ 41910 w 104775"/>
                          <a:gd name="connsiteY21" fmla="*/ 30480 h 127635"/>
                          <a:gd name="connsiteX22" fmla="*/ 40005 w 104775"/>
                          <a:gd name="connsiteY22" fmla="*/ 43815 h 127635"/>
                          <a:gd name="connsiteX23" fmla="*/ 28575 w 104775"/>
                          <a:gd name="connsiteY23" fmla="*/ 49530 h 127635"/>
                          <a:gd name="connsiteX24" fmla="*/ 3810 w 104775"/>
                          <a:gd name="connsiteY24" fmla="*/ 51435 h 127635"/>
                          <a:gd name="connsiteX25" fmla="*/ 1905 w 104775"/>
                          <a:gd name="connsiteY25" fmla="*/ 59055 h 127635"/>
                          <a:gd name="connsiteX26" fmla="*/ 0 w 104775"/>
                          <a:gd name="connsiteY26" fmla="*/ 64770 h 127635"/>
                          <a:gd name="connsiteX27" fmla="*/ 5715 w 104775"/>
                          <a:gd name="connsiteY27" fmla="*/ 78105 h 127635"/>
                          <a:gd name="connsiteX28" fmla="*/ 5715 w 104775"/>
                          <a:gd name="connsiteY28" fmla="*/ 81915 h 127635"/>
                          <a:gd name="connsiteX29" fmla="*/ 5715 w 104775"/>
                          <a:gd name="connsiteY29" fmla="*/ 8763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5715 w 104775"/>
                          <a:gd name="connsiteY28" fmla="*/ 8763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17145 w 104775"/>
                          <a:gd name="connsiteY28" fmla="*/ 11049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17145 w 104775"/>
                          <a:gd name="connsiteY28" fmla="*/ 110490 h 127635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81915 w 104775"/>
                          <a:gd name="connsiteY15" fmla="*/ 16019 h 128414"/>
                          <a:gd name="connsiteX16" fmla="*/ 70485 w 104775"/>
                          <a:gd name="connsiteY16" fmla="*/ 4589 h 128414"/>
                          <a:gd name="connsiteX17" fmla="*/ 59055 w 104775"/>
                          <a:gd name="connsiteY17" fmla="*/ 779 h 128414"/>
                          <a:gd name="connsiteX18" fmla="*/ 45720 w 104775"/>
                          <a:gd name="connsiteY18" fmla="*/ 2684 h 128414"/>
                          <a:gd name="connsiteX19" fmla="*/ 41910 w 104775"/>
                          <a:gd name="connsiteY19" fmla="*/ 31259 h 128414"/>
                          <a:gd name="connsiteX20" fmla="*/ 40005 w 104775"/>
                          <a:gd name="connsiteY20" fmla="*/ 44594 h 128414"/>
                          <a:gd name="connsiteX21" fmla="*/ 28575 w 104775"/>
                          <a:gd name="connsiteY21" fmla="*/ 50309 h 128414"/>
                          <a:gd name="connsiteX22" fmla="*/ 3810 w 104775"/>
                          <a:gd name="connsiteY22" fmla="*/ 52214 h 128414"/>
                          <a:gd name="connsiteX23" fmla="*/ 1905 w 104775"/>
                          <a:gd name="connsiteY23" fmla="*/ 59834 h 128414"/>
                          <a:gd name="connsiteX24" fmla="*/ 0 w 104775"/>
                          <a:gd name="connsiteY24" fmla="*/ 65549 h 128414"/>
                          <a:gd name="connsiteX25" fmla="*/ 5715 w 104775"/>
                          <a:gd name="connsiteY25" fmla="*/ 78884 h 128414"/>
                          <a:gd name="connsiteX26" fmla="*/ 5715 w 104775"/>
                          <a:gd name="connsiteY26" fmla="*/ 82694 h 128414"/>
                          <a:gd name="connsiteX27" fmla="*/ 17145 w 104775"/>
                          <a:gd name="connsiteY27" fmla="*/ 111269 h 128414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70485 w 104775"/>
                          <a:gd name="connsiteY15" fmla="*/ 4589 h 128414"/>
                          <a:gd name="connsiteX16" fmla="*/ 59055 w 104775"/>
                          <a:gd name="connsiteY16" fmla="*/ 779 h 128414"/>
                          <a:gd name="connsiteX17" fmla="*/ 45720 w 104775"/>
                          <a:gd name="connsiteY17" fmla="*/ 2684 h 128414"/>
                          <a:gd name="connsiteX18" fmla="*/ 41910 w 104775"/>
                          <a:gd name="connsiteY18" fmla="*/ 31259 h 128414"/>
                          <a:gd name="connsiteX19" fmla="*/ 40005 w 104775"/>
                          <a:gd name="connsiteY19" fmla="*/ 44594 h 128414"/>
                          <a:gd name="connsiteX20" fmla="*/ 28575 w 104775"/>
                          <a:gd name="connsiteY20" fmla="*/ 50309 h 128414"/>
                          <a:gd name="connsiteX21" fmla="*/ 3810 w 104775"/>
                          <a:gd name="connsiteY21" fmla="*/ 52214 h 128414"/>
                          <a:gd name="connsiteX22" fmla="*/ 1905 w 104775"/>
                          <a:gd name="connsiteY22" fmla="*/ 59834 h 128414"/>
                          <a:gd name="connsiteX23" fmla="*/ 0 w 104775"/>
                          <a:gd name="connsiteY23" fmla="*/ 65549 h 128414"/>
                          <a:gd name="connsiteX24" fmla="*/ 5715 w 104775"/>
                          <a:gd name="connsiteY24" fmla="*/ 78884 h 128414"/>
                          <a:gd name="connsiteX25" fmla="*/ 5715 w 104775"/>
                          <a:gd name="connsiteY25" fmla="*/ 82694 h 128414"/>
                          <a:gd name="connsiteX26" fmla="*/ 17145 w 104775"/>
                          <a:gd name="connsiteY26" fmla="*/ 111269 h 128414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70485 w 104775"/>
                          <a:gd name="connsiteY15" fmla="*/ 4589 h 128414"/>
                          <a:gd name="connsiteX16" fmla="*/ 59055 w 104775"/>
                          <a:gd name="connsiteY16" fmla="*/ 779 h 128414"/>
                          <a:gd name="connsiteX17" fmla="*/ 45720 w 104775"/>
                          <a:gd name="connsiteY17" fmla="*/ 2684 h 128414"/>
                          <a:gd name="connsiteX18" fmla="*/ 41910 w 104775"/>
                          <a:gd name="connsiteY18" fmla="*/ 31259 h 128414"/>
                          <a:gd name="connsiteX19" fmla="*/ 40005 w 104775"/>
                          <a:gd name="connsiteY19" fmla="*/ 44594 h 128414"/>
                          <a:gd name="connsiteX20" fmla="*/ 3810 w 104775"/>
                          <a:gd name="connsiteY20" fmla="*/ 52214 h 128414"/>
                          <a:gd name="connsiteX21" fmla="*/ 1905 w 104775"/>
                          <a:gd name="connsiteY21" fmla="*/ 59834 h 128414"/>
                          <a:gd name="connsiteX22" fmla="*/ 0 w 104775"/>
                          <a:gd name="connsiteY22" fmla="*/ 65549 h 128414"/>
                          <a:gd name="connsiteX23" fmla="*/ 5715 w 104775"/>
                          <a:gd name="connsiteY23" fmla="*/ 78884 h 128414"/>
                          <a:gd name="connsiteX24" fmla="*/ 5715 w 104775"/>
                          <a:gd name="connsiteY24" fmla="*/ 82694 h 128414"/>
                          <a:gd name="connsiteX25" fmla="*/ 17145 w 104775"/>
                          <a:gd name="connsiteY25" fmla="*/ 111269 h 128414"/>
                          <a:gd name="connsiteX0" fmla="*/ 19050 w 104775"/>
                          <a:gd name="connsiteY0" fmla="*/ 107492 h 128447"/>
                          <a:gd name="connsiteX1" fmla="*/ 24765 w 104775"/>
                          <a:gd name="connsiteY1" fmla="*/ 111302 h 128447"/>
                          <a:gd name="connsiteX2" fmla="*/ 28575 w 104775"/>
                          <a:gd name="connsiteY2" fmla="*/ 117017 h 128447"/>
                          <a:gd name="connsiteX3" fmla="*/ 32385 w 104775"/>
                          <a:gd name="connsiteY3" fmla="*/ 128447 h 128447"/>
                          <a:gd name="connsiteX4" fmla="*/ 81915 w 104775"/>
                          <a:gd name="connsiteY4" fmla="*/ 126542 h 128447"/>
                          <a:gd name="connsiteX5" fmla="*/ 87630 w 104775"/>
                          <a:gd name="connsiteY5" fmla="*/ 124637 h 128447"/>
                          <a:gd name="connsiteX6" fmla="*/ 89535 w 104775"/>
                          <a:gd name="connsiteY6" fmla="*/ 118922 h 128447"/>
                          <a:gd name="connsiteX7" fmla="*/ 93345 w 104775"/>
                          <a:gd name="connsiteY7" fmla="*/ 113207 h 128447"/>
                          <a:gd name="connsiteX8" fmla="*/ 95250 w 104775"/>
                          <a:gd name="connsiteY8" fmla="*/ 99872 h 128447"/>
                          <a:gd name="connsiteX9" fmla="*/ 100965 w 104775"/>
                          <a:gd name="connsiteY9" fmla="*/ 96062 h 128447"/>
                          <a:gd name="connsiteX10" fmla="*/ 104775 w 104775"/>
                          <a:gd name="connsiteY10" fmla="*/ 84632 h 128447"/>
                          <a:gd name="connsiteX11" fmla="*/ 100965 w 104775"/>
                          <a:gd name="connsiteY11" fmla="*/ 57962 h 128447"/>
                          <a:gd name="connsiteX12" fmla="*/ 99060 w 104775"/>
                          <a:gd name="connsiteY12" fmla="*/ 50342 h 128447"/>
                          <a:gd name="connsiteX13" fmla="*/ 95250 w 104775"/>
                          <a:gd name="connsiteY13" fmla="*/ 44627 h 128447"/>
                          <a:gd name="connsiteX14" fmla="*/ 91440 w 104775"/>
                          <a:gd name="connsiteY14" fmla="*/ 33197 h 128447"/>
                          <a:gd name="connsiteX15" fmla="*/ 70485 w 104775"/>
                          <a:gd name="connsiteY15" fmla="*/ 4622 h 128447"/>
                          <a:gd name="connsiteX16" fmla="*/ 45720 w 104775"/>
                          <a:gd name="connsiteY16" fmla="*/ 2717 h 128447"/>
                          <a:gd name="connsiteX17" fmla="*/ 41910 w 104775"/>
                          <a:gd name="connsiteY17" fmla="*/ 31292 h 128447"/>
                          <a:gd name="connsiteX18" fmla="*/ 40005 w 104775"/>
                          <a:gd name="connsiteY18" fmla="*/ 44627 h 128447"/>
                          <a:gd name="connsiteX19" fmla="*/ 3810 w 104775"/>
                          <a:gd name="connsiteY19" fmla="*/ 52247 h 128447"/>
                          <a:gd name="connsiteX20" fmla="*/ 1905 w 104775"/>
                          <a:gd name="connsiteY20" fmla="*/ 59867 h 128447"/>
                          <a:gd name="connsiteX21" fmla="*/ 0 w 104775"/>
                          <a:gd name="connsiteY21" fmla="*/ 65582 h 128447"/>
                          <a:gd name="connsiteX22" fmla="*/ 5715 w 104775"/>
                          <a:gd name="connsiteY22" fmla="*/ 78917 h 128447"/>
                          <a:gd name="connsiteX23" fmla="*/ 5715 w 104775"/>
                          <a:gd name="connsiteY23" fmla="*/ 82727 h 128447"/>
                          <a:gd name="connsiteX24" fmla="*/ 17145 w 104775"/>
                          <a:gd name="connsiteY24" fmla="*/ 111302 h 128447"/>
                          <a:gd name="connsiteX0" fmla="*/ 19050 w 104775"/>
                          <a:gd name="connsiteY0" fmla="*/ 102874 h 123829"/>
                          <a:gd name="connsiteX1" fmla="*/ 24765 w 104775"/>
                          <a:gd name="connsiteY1" fmla="*/ 106684 h 123829"/>
                          <a:gd name="connsiteX2" fmla="*/ 28575 w 104775"/>
                          <a:gd name="connsiteY2" fmla="*/ 112399 h 123829"/>
                          <a:gd name="connsiteX3" fmla="*/ 32385 w 104775"/>
                          <a:gd name="connsiteY3" fmla="*/ 123829 h 123829"/>
                          <a:gd name="connsiteX4" fmla="*/ 81915 w 104775"/>
                          <a:gd name="connsiteY4" fmla="*/ 121924 h 123829"/>
                          <a:gd name="connsiteX5" fmla="*/ 87630 w 104775"/>
                          <a:gd name="connsiteY5" fmla="*/ 120019 h 123829"/>
                          <a:gd name="connsiteX6" fmla="*/ 89535 w 104775"/>
                          <a:gd name="connsiteY6" fmla="*/ 114304 h 123829"/>
                          <a:gd name="connsiteX7" fmla="*/ 93345 w 104775"/>
                          <a:gd name="connsiteY7" fmla="*/ 108589 h 123829"/>
                          <a:gd name="connsiteX8" fmla="*/ 95250 w 104775"/>
                          <a:gd name="connsiteY8" fmla="*/ 95254 h 123829"/>
                          <a:gd name="connsiteX9" fmla="*/ 100965 w 104775"/>
                          <a:gd name="connsiteY9" fmla="*/ 91444 h 123829"/>
                          <a:gd name="connsiteX10" fmla="*/ 104775 w 104775"/>
                          <a:gd name="connsiteY10" fmla="*/ 80014 h 123829"/>
                          <a:gd name="connsiteX11" fmla="*/ 100965 w 104775"/>
                          <a:gd name="connsiteY11" fmla="*/ 53344 h 123829"/>
                          <a:gd name="connsiteX12" fmla="*/ 99060 w 104775"/>
                          <a:gd name="connsiteY12" fmla="*/ 45724 h 123829"/>
                          <a:gd name="connsiteX13" fmla="*/ 95250 w 104775"/>
                          <a:gd name="connsiteY13" fmla="*/ 40009 h 123829"/>
                          <a:gd name="connsiteX14" fmla="*/ 91440 w 104775"/>
                          <a:gd name="connsiteY14" fmla="*/ 28579 h 123829"/>
                          <a:gd name="connsiteX15" fmla="*/ 70485 w 104775"/>
                          <a:gd name="connsiteY15" fmla="*/ 4 h 123829"/>
                          <a:gd name="connsiteX16" fmla="*/ 41910 w 104775"/>
                          <a:gd name="connsiteY16" fmla="*/ 26674 h 123829"/>
                          <a:gd name="connsiteX17" fmla="*/ 40005 w 104775"/>
                          <a:gd name="connsiteY17" fmla="*/ 40009 h 123829"/>
                          <a:gd name="connsiteX18" fmla="*/ 3810 w 104775"/>
                          <a:gd name="connsiteY18" fmla="*/ 47629 h 123829"/>
                          <a:gd name="connsiteX19" fmla="*/ 1905 w 104775"/>
                          <a:gd name="connsiteY19" fmla="*/ 55249 h 123829"/>
                          <a:gd name="connsiteX20" fmla="*/ 0 w 104775"/>
                          <a:gd name="connsiteY20" fmla="*/ 60964 h 123829"/>
                          <a:gd name="connsiteX21" fmla="*/ 5715 w 104775"/>
                          <a:gd name="connsiteY21" fmla="*/ 74299 h 123829"/>
                          <a:gd name="connsiteX22" fmla="*/ 5715 w 104775"/>
                          <a:gd name="connsiteY22" fmla="*/ 78109 h 123829"/>
                          <a:gd name="connsiteX23" fmla="*/ 17145 w 104775"/>
                          <a:gd name="connsiteY23" fmla="*/ 106684 h 123829"/>
                          <a:gd name="connsiteX0" fmla="*/ 19050 w 104775"/>
                          <a:gd name="connsiteY0" fmla="*/ 77050 h 98005"/>
                          <a:gd name="connsiteX1" fmla="*/ 24765 w 104775"/>
                          <a:gd name="connsiteY1" fmla="*/ 80860 h 98005"/>
                          <a:gd name="connsiteX2" fmla="*/ 28575 w 104775"/>
                          <a:gd name="connsiteY2" fmla="*/ 86575 h 98005"/>
                          <a:gd name="connsiteX3" fmla="*/ 32385 w 104775"/>
                          <a:gd name="connsiteY3" fmla="*/ 98005 h 98005"/>
                          <a:gd name="connsiteX4" fmla="*/ 81915 w 104775"/>
                          <a:gd name="connsiteY4" fmla="*/ 96100 h 98005"/>
                          <a:gd name="connsiteX5" fmla="*/ 87630 w 104775"/>
                          <a:gd name="connsiteY5" fmla="*/ 94195 h 98005"/>
                          <a:gd name="connsiteX6" fmla="*/ 89535 w 104775"/>
                          <a:gd name="connsiteY6" fmla="*/ 88480 h 98005"/>
                          <a:gd name="connsiteX7" fmla="*/ 93345 w 104775"/>
                          <a:gd name="connsiteY7" fmla="*/ 82765 h 98005"/>
                          <a:gd name="connsiteX8" fmla="*/ 95250 w 104775"/>
                          <a:gd name="connsiteY8" fmla="*/ 69430 h 98005"/>
                          <a:gd name="connsiteX9" fmla="*/ 100965 w 104775"/>
                          <a:gd name="connsiteY9" fmla="*/ 65620 h 98005"/>
                          <a:gd name="connsiteX10" fmla="*/ 104775 w 104775"/>
                          <a:gd name="connsiteY10" fmla="*/ 54190 h 98005"/>
                          <a:gd name="connsiteX11" fmla="*/ 100965 w 104775"/>
                          <a:gd name="connsiteY11" fmla="*/ 27520 h 98005"/>
                          <a:gd name="connsiteX12" fmla="*/ 99060 w 104775"/>
                          <a:gd name="connsiteY12" fmla="*/ 19900 h 98005"/>
                          <a:gd name="connsiteX13" fmla="*/ 95250 w 104775"/>
                          <a:gd name="connsiteY13" fmla="*/ 14185 h 98005"/>
                          <a:gd name="connsiteX14" fmla="*/ 91440 w 104775"/>
                          <a:gd name="connsiteY14" fmla="*/ 2755 h 98005"/>
                          <a:gd name="connsiteX15" fmla="*/ 41910 w 104775"/>
                          <a:gd name="connsiteY15" fmla="*/ 850 h 98005"/>
                          <a:gd name="connsiteX16" fmla="*/ 40005 w 104775"/>
                          <a:gd name="connsiteY16" fmla="*/ 14185 h 98005"/>
                          <a:gd name="connsiteX17" fmla="*/ 3810 w 104775"/>
                          <a:gd name="connsiteY17" fmla="*/ 21805 h 98005"/>
                          <a:gd name="connsiteX18" fmla="*/ 1905 w 104775"/>
                          <a:gd name="connsiteY18" fmla="*/ 29425 h 98005"/>
                          <a:gd name="connsiteX19" fmla="*/ 0 w 104775"/>
                          <a:gd name="connsiteY19" fmla="*/ 35140 h 98005"/>
                          <a:gd name="connsiteX20" fmla="*/ 5715 w 104775"/>
                          <a:gd name="connsiteY20" fmla="*/ 48475 h 98005"/>
                          <a:gd name="connsiteX21" fmla="*/ 5715 w 104775"/>
                          <a:gd name="connsiteY21" fmla="*/ 52285 h 98005"/>
                          <a:gd name="connsiteX22" fmla="*/ 17145 w 104775"/>
                          <a:gd name="connsiteY22" fmla="*/ 80860 h 98005"/>
                          <a:gd name="connsiteX0" fmla="*/ 19050 w 104775"/>
                          <a:gd name="connsiteY0" fmla="*/ 76200 h 97155"/>
                          <a:gd name="connsiteX1" fmla="*/ 24765 w 104775"/>
                          <a:gd name="connsiteY1" fmla="*/ 80010 h 97155"/>
                          <a:gd name="connsiteX2" fmla="*/ 28575 w 104775"/>
                          <a:gd name="connsiteY2" fmla="*/ 85725 h 97155"/>
                          <a:gd name="connsiteX3" fmla="*/ 32385 w 104775"/>
                          <a:gd name="connsiteY3" fmla="*/ 97155 h 97155"/>
                          <a:gd name="connsiteX4" fmla="*/ 81915 w 104775"/>
                          <a:gd name="connsiteY4" fmla="*/ 95250 h 97155"/>
                          <a:gd name="connsiteX5" fmla="*/ 87630 w 104775"/>
                          <a:gd name="connsiteY5" fmla="*/ 93345 h 97155"/>
                          <a:gd name="connsiteX6" fmla="*/ 89535 w 104775"/>
                          <a:gd name="connsiteY6" fmla="*/ 87630 h 97155"/>
                          <a:gd name="connsiteX7" fmla="*/ 93345 w 104775"/>
                          <a:gd name="connsiteY7" fmla="*/ 81915 h 97155"/>
                          <a:gd name="connsiteX8" fmla="*/ 95250 w 104775"/>
                          <a:gd name="connsiteY8" fmla="*/ 68580 h 97155"/>
                          <a:gd name="connsiteX9" fmla="*/ 100965 w 104775"/>
                          <a:gd name="connsiteY9" fmla="*/ 64770 h 97155"/>
                          <a:gd name="connsiteX10" fmla="*/ 104775 w 104775"/>
                          <a:gd name="connsiteY10" fmla="*/ 53340 h 97155"/>
                          <a:gd name="connsiteX11" fmla="*/ 100965 w 104775"/>
                          <a:gd name="connsiteY11" fmla="*/ 26670 h 97155"/>
                          <a:gd name="connsiteX12" fmla="*/ 99060 w 104775"/>
                          <a:gd name="connsiteY12" fmla="*/ 19050 h 97155"/>
                          <a:gd name="connsiteX13" fmla="*/ 95250 w 104775"/>
                          <a:gd name="connsiteY13" fmla="*/ 13335 h 97155"/>
                          <a:gd name="connsiteX14" fmla="*/ 41910 w 104775"/>
                          <a:gd name="connsiteY14" fmla="*/ 0 h 97155"/>
                          <a:gd name="connsiteX15" fmla="*/ 40005 w 104775"/>
                          <a:gd name="connsiteY15" fmla="*/ 13335 h 97155"/>
                          <a:gd name="connsiteX16" fmla="*/ 3810 w 104775"/>
                          <a:gd name="connsiteY16" fmla="*/ 20955 h 97155"/>
                          <a:gd name="connsiteX17" fmla="*/ 1905 w 104775"/>
                          <a:gd name="connsiteY17" fmla="*/ 28575 h 97155"/>
                          <a:gd name="connsiteX18" fmla="*/ 0 w 104775"/>
                          <a:gd name="connsiteY18" fmla="*/ 34290 h 97155"/>
                          <a:gd name="connsiteX19" fmla="*/ 5715 w 104775"/>
                          <a:gd name="connsiteY19" fmla="*/ 47625 h 97155"/>
                          <a:gd name="connsiteX20" fmla="*/ 5715 w 104775"/>
                          <a:gd name="connsiteY20" fmla="*/ 51435 h 97155"/>
                          <a:gd name="connsiteX21" fmla="*/ 17145 w 104775"/>
                          <a:gd name="connsiteY21" fmla="*/ 80010 h 97155"/>
                          <a:gd name="connsiteX0" fmla="*/ 19050 w 104775"/>
                          <a:gd name="connsiteY0" fmla="*/ 76298 h 97253"/>
                          <a:gd name="connsiteX1" fmla="*/ 24765 w 104775"/>
                          <a:gd name="connsiteY1" fmla="*/ 80108 h 97253"/>
                          <a:gd name="connsiteX2" fmla="*/ 28575 w 104775"/>
                          <a:gd name="connsiteY2" fmla="*/ 85823 h 97253"/>
                          <a:gd name="connsiteX3" fmla="*/ 32385 w 104775"/>
                          <a:gd name="connsiteY3" fmla="*/ 97253 h 97253"/>
                          <a:gd name="connsiteX4" fmla="*/ 81915 w 104775"/>
                          <a:gd name="connsiteY4" fmla="*/ 95348 h 97253"/>
                          <a:gd name="connsiteX5" fmla="*/ 87630 w 104775"/>
                          <a:gd name="connsiteY5" fmla="*/ 93443 h 97253"/>
                          <a:gd name="connsiteX6" fmla="*/ 89535 w 104775"/>
                          <a:gd name="connsiteY6" fmla="*/ 87728 h 97253"/>
                          <a:gd name="connsiteX7" fmla="*/ 93345 w 104775"/>
                          <a:gd name="connsiteY7" fmla="*/ 82013 h 97253"/>
                          <a:gd name="connsiteX8" fmla="*/ 95250 w 104775"/>
                          <a:gd name="connsiteY8" fmla="*/ 68678 h 97253"/>
                          <a:gd name="connsiteX9" fmla="*/ 100965 w 104775"/>
                          <a:gd name="connsiteY9" fmla="*/ 64868 h 97253"/>
                          <a:gd name="connsiteX10" fmla="*/ 104775 w 104775"/>
                          <a:gd name="connsiteY10" fmla="*/ 53438 h 97253"/>
                          <a:gd name="connsiteX11" fmla="*/ 100965 w 104775"/>
                          <a:gd name="connsiteY11" fmla="*/ 26768 h 97253"/>
                          <a:gd name="connsiteX12" fmla="*/ 99060 w 104775"/>
                          <a:gd name="connsiteY12" fmla="*/ 19148 h 97253"/>
                          <a:gd name="connsiteX13" fmla="*/ 95250 w 104775"/>
                          <a:gd name="connsiteY13" fmla="*/ 13433 h 97253"/>
                          <a:gd name="connsiteX14" fmla="*/ 41910 w 104775"/>
                          <a:gd name="connsiteY14" fmla="*/ 98 h 97253"/>
                          <a:gd name="connsiteX15" fmla="*/ 3810 w 104775"/>
                          <a:gd name="connsiteY15" fmla="*/ 21053 h 97253"/>
                          <a:gd name="connsiteX16" fmla="*/ 1905 w 104775"/>
                          <a:gd name="connsiteY16" fmla="*/ 28673 h 97253"/>
                          <a:gd name="connsiteX17" fmla="*/ 0 w 104775"/>
                          <a:gd name="connsiteY17" fmla="*/ 34388 h 97253"/>
                          <a:gd name="connsiteX18" fmla="*/ 5715 w 104775"/>
                          <a:gd name="connsiteY18" fmla="*/ 47723 h 97253"/>
                          <a:gd name="connsiteX19" fmla="*/ 5715 w 104775"/>
                          <a:gd name="connsiteY19" fmla="*/ 51533 h 97253"/>
                          <a:gd name="connsiteX20" fmla="*/ 17145 w 104775"/>
                          <a:gd name="connsiteY20" fmla="*/ 80108 h 97253"/>
                          <a:gd name="connsiteX0" fmla="*/ 19050 w 104775"/>
                          <a:gd name="connsiteY0" fmla="*/ 76205 h 97160"/>
                          <a:gd name="connsiteX1" fmla="*/ 24765 w 104775"/>
                          <a:gd name="connsiteY1" fmla="*/ 80015 h 97160"/>
                          <a:gd name="connsiteX2" fmla="*/ 28575 w 104775"/>
                          <a:gd name="connsiteY2" fmla="*/ 85730 h 97160"/>
                          <a:gd name="connsiteX3" fmla="*/ 32385 w 104775"/>
                          <a:gd name="connsiteY3" fmla="*/ 97160 h 97160"/>
                          <a:gd name="connsiteX4" fmla="*/ 81915 w 104775"/>
                          <a:gd name="connsiteY4" fmla="*/ 95255 h 97160"/>
                          <a:gd name="connsiteX5" fmla="*/ 87630 w 104775"/>
                          <a:gd name="connsiteY5" fmla="*/ 93350 h 97160"/>
                          <a:gd name="connsiteX6" fmla="*/ 89535 w 104775"/>
                          <a:gd name="connsiteY6" fmla="*/ 87635 h 97160"/>
                          <a:gd name="connsiteX7" fmla="*/ 93345 w 104775"/>
                          <a:gd name="connsiteY7" fmla="*/ 81920 h 97160"/>
                          <a:gd name="connsiteX8" fmla="*/ 95250 w 104775"/>
                          <a:gd name="connsiteY8" fmla="*/ 68585 h 97160"/>
                          <a:gd name="connsiteX9" fmla="*/ 100965 w 104775"/>
                          <a:gd name="connsiteY9" fmla="*/ 64775 h 97160"/>
                          <a:gd name="connsiteX10" fmla="*/ 104775 w 104775"/>
                          <a:gd name="connsiteY10" fmla="*/ 53345 h 97160"/>
                          <a:gd name="connsiteX11" fmla="*/ 100965 w 104775"/>
                          <a:gd name="connsiteY11" fmla="*/ 26675 h 97160"/>
                          <a:gd name="connsiteX12" fmla="*/ 99060 w 104775"/>
                          <a:gd name="connsiteY12" fmla="*/ 19055 h 97160"/>
                          <a:gd name="connsiteX13" fmla="*/ 41910 w 104775"/>
                          <a:gd name="connsiteY13" fmla="*/ 5 h 97160"/>
                          <a:gd name="connsiteX14" fmla="*/ 3810 w 104775"/>
                          <a:gd name="connsiteY14" fmla="*/ 20960 h 97160"/>
                          <a:gd name="connsiteX15" fmla="*/ 1905 w 104775"/>
                          <a:gd name="connsiteY15" fmla="*/ 28580 h 97160"/>
                          <a:gd name="connsiteX16" fmla="*/ 0 w 104775"/>
                          <a:gd name="connsiteY16" fmla="*/ 34295 h 97160"/>
                          <a:gd name="connsiteX17" fmla="*/ 5715 w 104775"/>
                          <a:gd name="connsiteY17" fmla="*/ 47630 h 97160"/>
                          <a:gd name="connsiteX18" fmla="*/ 5715 w 104775"/>
                          <a:gd name="connsiteY18" fmla="*/ 51440 h 97160"/>
                          <a:gd name="connsiteX19" fmla="*/ 17145 w 104775"/>
                          <a:gd name="connsiteY19" fmla="*/ 80015 h 97160"/>
                          <a:gd name="connsiteX0" fmla="*/ 19050 w 105971"/>
                          <a:gd name="connsiteY0" fmla="*/ 76238 h 97193"/>
                          <a:gd name="connsiteX1" fmla="*/ 24765 w 105971"/>
                          <a:gd name="connsiteY1" fmla="*/ 80048 h 97193"/>
                          <a:gd name="connsiteX2" fmla="*/ 28575 w 105971"/>
                          <a:gd name="connsiteY2" fmla="*/ 85763 h 97193"/>
                          <a:gd name="connsiteX3" fmla="*/ 32385 w 105971"/>
                          <a:gd name="connsiteY3" fmla="*/ 97193 h 97193"/>
                          <a:gd name="connsiteX4" fmla="*/ 81915 w 105971"/>
                          <a:gd name="connsiteY4" fmla="*/ 95288 h 97193"/>
                          <a:gd name="connsiteX5" fmla="*/ 87630 w 105971"/>
                          <a:gd name="connsiteY5" fmla="*/ 93383 h 97193"/>
                          <a:gd name="connsiteX6" fmla="*/ 89535 w 105971"/>
                          <a:gd name="connsiteY6" fmla="*/ 87668 h 97193"/>
                          <a:gd name="connsiteX7" fmla="*/ 93345 w 105971"/>
                          <a:gd name="connsiteY7" fmla="*/ 81953 h 97193"/>
                          <a:gd name="connsiteX8" fmla="*/ 95250 w 105971"/>
                          <a:gd name="connsiteY8" fmla="*/ 68618 h 97193"/>
                          <a:gd name="connsiteX9" fmla="*/ 100965 w 105971"/>
                          <a:gd name="connsiteY9" fmla="*/ 64808 h 97193"/>
                          <a:gd name="connsiteX10" fmla="*/ 104775 w 105971"/>
                          <a:gd name="connsiteY10" fmla="*/ 53378 h 97193"/>
                          <a:gd name="connsiteX11" fmla="*/ 100965 w 105971"/>
                          <a:gd name="connsiteY11" fmla="*/ 26708 h 97193"/>
                          <a:gd name="connsiteX12" fmla="*/ 41910 w 105971"/>
                          <a:gd name="connsiteY12" fmla="*/ 38 h 97193"/>
                          <a:gd name="connsiteX13" fmla="*/ 3810 w 105971"/>
                          <a:gd name="connsiteY13" fmla="*/ 20993 h 97193"/>
                          <a:gd name="connsiteX14" fmla="*/ 1905 w 105971"/>
                          <a:gd name="connsiteY14" fmla="*/ 28613 h 97193"/>
                          <a:gd name="connsiteX15" fmla="*/ 0 w 105971"/>
                          <a:gd name="connsiteY15" fmla="*/ 34328 h 97193"/>
                          <a:gd name="connsiteX16" fmla="*/ 5715 w 105971"/>
                          <a:gd name="connsiteY16" fmla="*/ 47663 h 97193"/>
                          <a:gd name="connsiteX17" fmla="*/ 5715 w 105971"/>
                          <a:gd name="connsiteY17" fmla="*/ 51473 h 97193"/>
                          <a:gd name="connsiteX18" fmla="*/ 17145 w 105971"/>
                          <a:gd name="connsiteY18" fmla="*/ 80048 h 97193"/>
                          <a:gd name="connsiteX0" fmla="*/ 19050 w 106250"/>
                          <a:gd name="connsiteY0" fmla="*/ 64875 h 85830"/>
                          <a:gd name="connsiteX1" fmla="*/ 24765 w 106250"/>
                          <a:gd name="connsiteY1" fmla="*/ 68685 h 85830"/>
                          <a:gd name="connsiteX2" fmla="*/ 28575 w 106250"/>
                          <a:gd name="connsiteY2" fmla="*/ 74400 h 85830"/>
                          <a:gd name="connsiteX3" fmla="*/ 32385 w 106250"/>
                          <a:gd name="connsiteY3" fmla="*/ 85830 h 85830"/>
                          <a:gd name="connsiteX4" fmla="*/ 81915 w 106250"/>
                          <a:gd name="connsiteY4" fmla="*/ 83925 h 85830"/>
                          <a:gd name="connsiteX5" fmla="*/ 87630 w 106250"/>
                          <a:gd name="connsiteY5" fmla="*/ 82020 h 85830"/>
                          <a:gd name="connsiteX6" fmla="*/ 89535 w 106250"/>
                          <a:gd name="connsiteY6" fmla="*/ 76305 h 85830"/>
                          <a:gd name="connsiteX7" fmla="*/ 93345 w 106250"/>
                          <a:gd name="connsiteY7" fmla="*/ 70590 h 85830"/>
                          <a:gd name="connsiteX8" fmla="*/ 95250 w 106250"/>
                          <a:gd name="connsiteY8" fmla="*/ 57255 h 85830"/>
                          <a:gd name="connsiteX9" fmla="*/ 100965 w 106250"/>
                          <a:gd name="connsiteY9" fmla="*/ 53445 h 85830"/>
                          <a:gd name="connsiteX10" fmla="*/ 104775 w 106250"/>
                          <a:gd name="connsiteY10" fmla="*/ 42015 h 85830"/>
                          <a:gd name="connsiteX11" fmla="*/ 100965 w 106250"/>
                          <a:gd name="connsiteY11" fmla="*/ 15345 h 85830"/>
                          <a:gd name="connsiteX12" fmla="*/ 38100 w 106250"/>
                          <a:gd name="connsiteY12" fmla="*/ 105 h 85830"/>
                          <a:gd name="connsiteX13" fmla="*/ 3810 w 106250"/>
                          <a:gd name="connsiteY13" fmla="*/ 9630 h 85830"/>
                          <a:gd name="connsiteX14" fmla="*/ 1905 w 106250"/>
                          <a:gd name="connsiteY14" fmla="*/ 17250 h 85830"/>
                          <a:gd name="connsiteX15" fmla="*/ 0 w 106250"/>
                          <a:gd name="connsiteY15" fmla="*/ 22965 h 85830"/>
                          <a:gd name="connsiteX16" fmla="*/ 5715 w 106250"/>
                          <a:gd name="connsiteY16" fmla="*/ 36300 h 85830"/>
                          <a:gd name="connsiteX17" fmla="*/ 5715 w 106250"/>
                          <a:gd name="connsiteY17" fmla="*/ 40110 h 85830"/>
                          <a:gd name="connsiteX18" fmla="*/ 17145 w 106250"/>
                          <a:gd name="connsiteY18" fmla="*/ 68685 h 8583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</a:cxnLst>
                        <a:rect l="l" t="t" r="r" b="b"/>
                        <a:pathLst>
                          <a:path w="106250" h="85830">
                            <a:moveTo>
                              <a:pt x="19050" y="64875"/>
                            </a:moveTo>
                            <a:cubicBezTo>
                              <a:pt x="19050" y="69955"/>
                              <a:pt x="22860" y="67415"/>
                              <a:pt x="24765" y="68685"/>
                            </a:cubicBezTo>
                            <a:cubicBezTo>
                              <a:pt x="26035" y="70590"/>
                              <a:pt x="27645" y="72308"/>
                              <a:pt x="28575" y="74400"/>
                            </a:cubicBezTo>
                            <a:cubicBezTo>
                              <a:pt x="30206" y="78070"/>
                              <a:pt x="32385" y="85830"/>
                              <a:pt x="32385" y="85830"/>
                            </a:cubicBezTo>
                            <a:cubicBezTo>
                              <a:pt x="48895" y="85195"/>
                              <a:pt x="65432" y="85062"/>
                              <a:pt x="81915" y="83925"/>
                            </a:cubicBezTo>
                            <a:cubicBezTo>
                              <a:pt x="83918" y="83787"/>
                              <a:pt x="86210" y="83440"/>
                              <a:pt x="87630" y="82020"/>
                            </a:cubicBezTo>
                            <a:cubicBezTo>
                              <a:pt x="89050" y="80600"/>
                              <a:pt x="88637" y="78101"/>
                              <a:pt x="89535" y="76305"/>
                            </a:cubicBezTo>
                            <a:cubicBezTo>
                              <a:pt x="90559" y="74257"/>
                              <a:pt x="92075" y="72495"/>
                              <a:pt x="93345" y="70590"/>
                            </a:cubicBezTo>
                            <a:cubicBezTo>
                              <a:pt x="93980" y="66145"/>
                              <a:pt x="93426" y="61358"/>
                              <a:pt x="95250" y="57255"/>
                            </a:cubicBezTo>
                            <a:cubicBezTo>
                              <a:pt x="96180" y="55163"/>
                              <a:pt x="99752" y="55387"/>
                              <a:pt x="100965" y="53445"/>
                            </a:cubicBezTo>
                            <a:cubicBezTo>
                              <a:pt x="103094" y="50039"/>
                              <a:pt x="104775" y="42015"/>
                              <a:pt x="104775" y="42015"/>
                            </a:cubicBezTo>
                            <a:cubicBezTo>
                              <a:pt x="101728" y="8500"/>
                              <a:pt x="112077" y="22330"/>
                              <a:pt x="100965" y="15345"/>
                            </a:cubicBezTo>
                            <a:cubicBezTo>
                              <a:pt x="89853" y="8360"/>
                              <a:pt x="54292" y="1057"/>
                              <a:pt x="38100" y="105"/>
                            </a:cubicBezTo>
                            <a:cubicBezTo>
                              <a:pt x="21908" y="-847"/>
                              <a:pt x="10477" y="4868"/>
                              <a:pt x="3810" y="9630"/>
                            </a:cubicBezTo>
                            <a:cubicBezTo>
                              <a:pt x="3175" y="12170"/>
                              <a:pt x="2624" y="14733"/>
                              <a:pt x="1905" y="17250"/>
                            </a:cubicBezTo>
                            <a:cubicBezTo>
                              <a:pt x="1353" y="19181"/>
                              <a:pt x="0" y="20957"/>
                              <a:pt x="0" y="22965"/>
                            </a:cubicBezTo>
                            <a:cubicBezTo>
                              <a:pt x="0" y="32673"/>
                              <a:pt x="2604" y="28523"/>
                              <a:pt x="5715" y="36300"/>
                            </a:cubicBezTo>
                            <a:cubicBezTo>
                              <a:pt x="6187" y="37479"/>
                              <a:pt x="3810" y="34713"/>
                              <a:pt x="5715" y="40110"/>
                            </a:cubicBezTo>
                            <a:cubicBezTo>
                              <a:pt x="7620" y="45507"/>
                              <a:pt x="13335" y="59160"/>
                              <a:pt x="17145" y="68685"/>
                            </a:cubicBezTo>
                          </a:path>
                        </a:pathLst>
                      </a:custGeom>
                      <a:solidFill>
                        <a:srgbClr val="0D3759"/>
                      </a:solidFill>
                      <a:ln w="3175" cap="flat" cmpd="sng" algn="ctr">
                        <a:solidFill>
                          <a:srgbClr val="FFFFFF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54" name="Freeform: Shape 39">
                        <a:extLst>
                          <a:ext uri="{FF2B5EF4-FFF2-40B4-BE49-F238E27FC236}">
                            <a16:creationId xmlns:a16="http://schemas.microsoft.com/office/drawing/2014/main" id="{878B7B6F-5916-2EDD-0CEF-90D133C23B1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018409" y="4329533"/>
                        <a:ext cx="27432" cy="36576"/>
                      </a:xfrm>
                      <a:custGeom>
                        <a:avLst/>
                        <a:gdLst>
                          <a:gd name="connsiteX0" fmla="*/ 57150 w 104775"/>
                          <a:gd name="connsiteY0" fmla="*/ 76200 h 127635"/>
                          <a:gd name="connsiteX1" fmla="*/ 57150 w 104775"/>
                          <a:gd name="connsiteY1" fmla="*/ 76200 h 127635"/>
                          <a:gd name="connsiteX2" fmla="*/ 24765 w 104775"/>
                          <a:gd name="connsiteY2" fmla="*/ 80010 h 127635"/>
                          <a:gd name="connsiteX3" fmla="*/ 19050 w 104775"/>
                          <a:gd name="connsiteY3" fmla="*/ 83820 h 127635"/>
                          <a:gd name="connsiteX4" fmla="*/ 19050 w 104775"/>
                          <a:gd name="connsiteY4" fmla="*/ 106680 h 127635"/>
                          <a:gd name="connsiteX5" fmla="*/ 24765 w 104775"/>
                          <a:gd name="connsiteY5" fmla="*/ 110490 h 127635"/>
                          <a:gd name="connsiteX6" fmla="*/ 28575 w 104775"/>
                          <a:gd name="connsiteY6" fmla="*/ 116205 h 127635"/>
                          <a:gd name="connsiteX7" fmla="*/ 32385 w 104775"/>
                          <a:gd name="connsiteY7" fmla="*/ 127635 h 127635"/>
                          <a:gd name="connsiteX8" fmla="*/ 81915 w 104775"/>
                          <a:gd name="connsiteY8" fmla="*/ 125730 h 127635"/>
                          <a:gd name="connsiteX9" fmla="*/ 87630 w 104775"/>
                          <a:gd name="connsiteY9" fmla="*/ 123825 h 127635"/>
                          <a:gd name="connsiteX10" fmla="*/ 89535 w 104775"/>
                          <a:gd name="connsiteY10" fmla="*/ 118110 h 127635"/>
                          <a:gd name="connsiteX11" fmla="*/ 93345 w 104775"/>
                          <a:gd name="connsiteY11" fmla="*/ 112395 h 127635"/>
                          <a:gd name="connsiteX12" fmla="*/ 95250 w 104775"/>
                          <a:gd name="connsiteY12" fmla="*/ 99060 h 127635"/>
                          <a:gd name="connsiteX13" fmla="*/ 100965 w 104775"/>
                          <a:gd name="connsiteY13" fmla="*/ 95250 h 127635"/>
                          <a:gd name="connsiteX14" fmla="*/ 104775 w 104775"/>
                          <a:gd name="connsiteY14" fmla="*/ 83820 h 127635"/>
                          <a:gd name="connsiteX15" fmla="*/ 100965 w 104775"/>
                          <a:gd name="connsiteY15" fmla="*/ 57150 h 127635"/>
                          <a:gd name="connsiteX16" fmla="*/ 99060 w 104775"/>
                          <a:gd name="connsiteY16" fmla="*/ 49530 h 127635"/>
                          <a:gd name="connsiteX17" fmla="*/ 95250 w 104775"/>
                          <a:gd name="connsiteY17" fmla="*/ 43815 h 127635"/>
                          <a:gd name="connsiteX18" fmla="*/ 91440 w 104775"/>
                          <a:gd name="connsiteY18" fmla="*/ 32385 h 127635"/>
                          <a:gd name="connsiteX19" fmla="*/ 81915 w 104775"/>
                          <a:gd name="connsiteY19" fmla="*/ 15240 h 127635"/>
                          <a:gd name="connsiteX20" fmla="*/ 70485 w 104775"/>
                          <a:gd name="connsiteY20" fmla="*/ 3810 h 127635"/>
                          <a:gd name="connsiteX21" fmla="*/ 59055 w 104775"/>
                          <a:gd name="connsiteY21" fmla="*/ 0 h 127635"/>
                          <a:gd name="connsiteX22" fmla="*/ 45720 w 104775"/>
                          <a:gd name="connsiteY22" fmla="*/ 1905 h 127635"/>
                          <a:gd name="connsiteX23" fmla="*/ 43815 w 104775"/>
                          <a:gd name="connsiteY23" fmla="*/ 19050 h 127635"/>
                          <a:gd name="connsiteX24" fmla="*/ 41910 w 104775"/>
                          <a:gd name="connsiteY24" fmla="*/ 30480 h 127635"/>
                          <a:gd name="connsiteX25" fmla="*/ 40005 w 104775"/>
                          <a:gd name="connsiteY25" fmla="*/ 43815 h 127635"/>
                          <a:gd name="connsiteX26" fmla="*/ 28575 w 104775"/>
                          <a:gd name="connsiteY26" fmla="*/ 49530 h 127635"/>
                          <a:gd name="connsiteX27" fmla="*/ 3810 w 104775"/>
                          <a:gd name="connsiteY27" fmla="*/ 51435 h 127635"/>
                          <a:gd name="connsiteX28" fmla="*/ 1905 w 104775"/>
                          <a:gd name="connsiteY28" fmla="*/ 59055 h 127635"/>
                          <a:gd name="connsiteX29" fmla="*/ 0 w 104775"/>
                          <a:gd name="connsiteY29" fmla="*/ 64770 h 127635"/>
                          <a:gd name="connsiteX30" fmla="*/ 5715 w 104775"/>
                          <a:gd name="connsiteY30" fmla="*/ 78105 h 127635"/>
                          <a:gd name="connsiteX31" fmla="*/ 5715 w 104775"/>
                          <a:gd name="connsiteY31" fmla="*/ 81915 h 127635"/>
                          <a:gd name="connsiteX32" fmla="*/ 5715 w 104775"/>
                          <a:gd name="connsiteY32" fmla="*/ 87630 h 127635"/>
                          <a:gd name="connsiteX0" fmla="*/ 57150 w 104775"/>
                          <a:gd name="connsiteY0" fmla="*/ 76200 h 127635"/>
                          <a:gd name="connsiteX1" fmla="*/ 24765 w 104775"/>
                          <a:gd name="connsiteY1" fmla="*/ 80010 h 127635"/>
                          <a:gd name="connsiteX2" fmla="*/ 19050 w 104775"/>
                          <a:gd name="connsiteY2" fmla="*/ 83820 h 127635"/>
                          <a:gd name="connsiteX3" fmla="*/ 19050 w 104775"/>
                          <a:gd name="connsiteY3" fmla="*/ 106680 h 127635"/>
                          <a:gd name="connsiteX4" fmla="*/ 24765 w 104775"/>
                          <a:gd name="connsiteY4" fmla="*/ 110490 h 127635"/>
                          <a:gd name="connsiteX5" fmla="*/ 28575 w 104775"/>
                          <a:gd name="connsiteY5" fmla="*/ 116205 h 127635"/>
                          <a:gd name="connsiteX6" fmla="*/ 32385 w 104775"/>
                          <a:gd name="connsiteY6" fmla="*/ 127635 h 127635"/>
                          <a:gd name="connsiteX7" fmla="*/ 81915 w 104775"/>
                          <a:gd name="connsiteY7" fmla="*/ 125730 h 127635"/>
                          <a:gd name="connsiteX8" fmla="*/ 87630 w 104775"/>
                          <a:gd name="connsiteY8" fmla="*/ 123825 h 127635"/>
                          <a:gd name="connsiteX9" fmla="*/ 89535 w 104775"/>
                          <a:gd name="connsiteY9" fmla="*/ 118110 h 127635"/>
                          <a:gd name="connsiteX10" fmla="*/ 93345 w 104775"/>
                          <a:gd name="connsiteY10" fmla="*/ 112395 h 127635"/>
                          <a:gd name="connsiteX11" fmla="*/ 95250 w 104775"/>
                          <a:gd name="connsiteY11" fmla="*/ 99060 h 127635"/>
                          <a:gd name="connsiteX12" fmla="*/ 100965 w 104775"/>
                          <a:gd name="connsiteY12" fmla="*/ 95250 h 127635"/>
                          <a:gd name="connsiteX13" fmla="*/ 104775 w 104775"/>
                          <a:gd name="connsiteY13" fmla="*/ 83820 h 127635"/>
                          <a:gd name="connsiteX14" fmla="*/ 100965 w 104775"/>
                          <a:gd name="connsiteY14" fmla="*/ 57150 h 127635"/>
                          <a:gd name="connsiteX15" fmla="*/ 99060 w 104775"/>
                          <a:gd name="connsiteY15" fmla="*/ 49530 h 127635"/>
                          <a:gd name="connsiteX16" fmla="*/ 95250 w 104775"/>
                          <a:gd name="connsiteY16" fmla="*/ 43815 h 127635"/>
                          <a:gd name="connsiteX17" fmla="*/ 91440 w 104775"/>
                          <a:gd name="connsiteY17" fmla="*/ 32385 h 127635"/>
                          <a:gd name="connsiteX18" fmla="*/ 81915 w 104775"/>
                          <a:gd name="connsiteY18" fmla="*/ 15240 h 127635"/>
                          <a:gd name="connsiteX19" fmla="*/ 70485 w 104775"/>
                          <a:gd name="connsiteY19" fmla="*/ 3810 h 127635"/>
                          <a:gd name="connsiteX20" fmla="*/ 59055 w 104775"/>
                          <a:gd name="connsiteY20" fmla="*/ 0 h 127635"/>
                          <a:gd name="connsiteX21" fmla="*/ 45720 w 104775"/>
                          <a:gd name="connsiteY21" fmla="*/ 1905 h 127635"/>
                          <a:gd name="connsiteX22" fmla="*/ 43815 w 104775"/>
                          <a:gd name="connsiteY22" fmla="*/ 19050 h 127635"/>
                          <a:gd name="connsiteX23" fmla="*/ 41910 w 104775"/>
                          <a:gd name="connsiteY23" fmla="*/ 30480 h 127635"/>
                          <a:gd name="connsiteX24" fmla="*/ 40005 w 104775"/>
                          <a:gd name="connsiteY24" fmla="*/ 43815 h 127635"/>
                          <a:gd name="connsiteX25" fmla="*/ 28575 w 104775"/>
                          <a:gd name="connsiteY25" fmla="*/ 49530 h 127635"/>
                          <a:gd name="connsiteX26" fmla="*/ 3810 w 104775"/>
                          <a:gd name="connsiteY26" fmla="*/ 51435 h 127635"/>
                          <a:gd name="connsiteX27" fmla="*/ 1905 w 104775"/>
                          <a:gd name="connsiteY27" fmla="*/ 59055 h 127635"/>
                          <a:gd name="connsiteX28" fmla="*/ 0 w 104775"/>
                          <a:gd name="connsiteY28" fmla="*/ 64770 h 127635"/>
                          <a:gd name="connsiteX29" fmla="*/ 5715 w 104775"/>
                          <a:gd name="connsiteY29" fmla="*/ 78105 h 127635"/>
                          <a:gd name="connsiteX30" fmla="*/ 5715 w 104775"/>
                          <a:gd name="connsiteY30" fmla="*/ 81915 h 127635"/>
                          <a:gd name="connsiteX31" fmla="*/ 5715 w 104775"/>
                          <a:gd name="connsiteY31" fmla="*/ 87630 h 127635"/>
                          <a:gd name="connsiteX0" fmla="*/ 24765 w 104775"/>
                          <a:gd name="connsiteY0" fmla="*/ 80010 h 127635"/>
                          <a:gd name="connsiteX1" fmla="*/ 19050 w 104775"/>
                          <a:gd name="connsiteY1" fmla="*/ 83820 h 127635"/>
                          <a:gd name="connsiteX2" fmla="*/ 19050 w 104775"/>
                          <a:gd name="connsiteY2" fmla="*/ 106680 h 127635"/>
                          <a:gd name="connsiteX3" fmla="*/ 24765 w 104775"/>
                          <a:gd name="connsiteY3" fmla="*/ 110490 h 127635"/>
                          <a:gd name="connsiteX4" fmla="*/ 28575 w 104775"/>
                          <a:gd name="connsiteY4" fmla="*/ 116205 h 127635"/>
                          <a:gd name="connsiteX5" fmla="*/ 32385 w 104775"/>
                          <a:gd name="connsiteY5" fmla="*/ 127635 h 127635"/>
                          <a:gd name="connsiteX6" fmla="*/ 81915 w 104775"/>
                          <a:gd name="connsiteY6" fmla="*/ 125730 h 127635"/>
                          <a:gd name="connsiteX7" fmla="*/ 87630 w 104775"/>
                          <a:gd name="connsiteY7" fmla="*/ 123825 h 127635"/>
                          <a:gd name="connsiteX8" fmla="*/ 89535 w 104775"/>
                          <a:gd name="connsiteY8" fmla="*/ 118110 h 127635"/>
                          <a:gd name="connsiteX9" fmla="*/ 93345 w 104775"/>
                          <a:gd name="connsiteY9" fmla="*/ 112395 h 127635"/>
                          <a:gd name="connsiteX10" fmla="*/ 95250 w 104775"/>
                          <a:gd name="connsiteY10" fmla="*/ 99060 h 127635"/>
                          <a:gd name="connsiteX11" fmla="*/ 100965 w 104775"/>
                          <a:gd name="connsiteY11" fmla="*/ 95250 h 127635"/>
                          <a:gd name="connsiteX12" fmla="*/ 104775 w 104775"/>
                          <a:gd name="connsiteY12" fmla="*/ 83820 h 127635"/>
                          <a:gd name="connsiteX13" fmla="*/ 100965 w 104775"/>
                          <a:gd name="connsiteY13" fmla="*/ 57150 h 127635"/>
                          <a:gd name="connsiteX14" fmla="*/ 99060 w 104775"/>
                          <a:gd name="connsiteY14" fmla="*/ 49530 h 127635"/>
                          <a:gd name="connsiteX15" fmla="*/ 95250 w 104775"/>
                          <a:gd name="connsiteY15" fmla="*/ 43815 h 127635"/>
                          <a:gd name="connsiteX16" fmla="*/ 91440 w 104775"/>
                          <a:gd name="connsiteY16" fmla="*/ 32385 h 127635"/>
                          <a:gd name="connsiteX17" fmla="*/ 81915 w 104775"/>
                          <a:gd name="connsiteY17" fmla="*/ 15240 h 127635"/>
                          <a:gd name="connsiteX18" fmla="*/ 70485 w 104775"/>
                          <a:gd name="connsiteY18" fmla="*/ 3810 h 127635"/>
                          <a:gd name="connsiteX19" fmla="*/ 59055 w 104775"/>
                          <a:gd name="connsiteY19" fmla="*/ 0 h 127635"/>
                          <a:gd name="connsiteX20" fmla="*/ 45720 w 104775"/>
                          <a:gd name="connsiteY20" fmla="*/ 1905 h 127635"/>
                          <a:gd name="connsiteX21" fmla="*/ 43815 w 104775"/>
                          <a:gd name="connsiteY21" fmla="*/ 19050 h 127635"/>
                          <a:gd name="connsiteX22" fmla="*/ 41910 w 104775"/>
                          <a:gd name="connsiteY22" fmla="*/ 30480 h 127635"/>
                          <a:gd name="connsiteX23" fmla="*/ 40005 w 104775"/>
                          <a:gd name="connsiteY23" fmla="*/ 43815 h 127635"/>
                          <a:gd name="connsiteX24" fmla="*/ 28575 w 104775"/>
                          <a:gd name="connsiteY24" fmla="*/ 49530 h 127635"/>
                          <a:gd name="connsiteX25" fmla="*/ 3810 w 104775"/>
                          <a:gd name="connsiteY25" fmla="*/ 51435 h 127635"/>
                          <a:gd name="connsiteX26" fmla="*/ 1905 w 104775"/>
                          <a:gd name="connsiteY26" fmla="*/ 59055 h 127635"/>
                          <a:gd name="connsiteX27" fmla="*/ 0 w 104775"/>
                          <a:gd name="connsiteY27" fmla="*/ 64770 h 127635"/>
                          <a:gd name="connsiteX28" fmla="*/ 5715 w 104775"/>
                          <a:gd name="connsiteY28" fmla="*/ 78105 h 127635"/>
                          <a:gd name="connsiteX29" fmla="*/ 5715 w 104775"/>
                          <a:gd name="connsiteY29" fmla="*/ 81915 h 127635"/>
                          <a:gd name="connsiteX30" fmla="*/ 5715 w 104775"/>
                          <a:gd name="connsiteY30" fmla="*/ 87630 h 127635"/>
                          <a:gd name="connsiteX0" fmla="*/ 24765 w 104775"/>
                          <a:gd name="connsiteY0" fmla="*/ 80010 h 127635"/>
                          <a:gd name="connsiteX1" fmla="*/ 19050 w 104775"/>
                          <a:gd name="connsiteY1" fmla="*/ 106680 h 127635"/>
                          <a:gd name="connsiteX2" fmla="*/ 24765 w 104775"/>
                          <a:gd name="connsiteY2" fmla="*/ 110490 h 127635"/>
                          <a:gd name="connsiteX3" fmla="*/ 28575 w 104775"/>
                          <a:gd name="connsiteY3" fmla="*/ 116205 h 127635"/>
                          <a:gd name="connsiteX4" fmla="*/ 32385 w 104775"/>
                          <a:gd name="connsiteY4" fmla="*/ 127635 h 127635"/>
                          <a:gd name="connsiteX5" fmla="*/ 81915 w 104775"/>
                          <a:gd name="connsiteY5" fmla="*/ 125730 h 127635"/>
                          <a:gd name="connsiteX6" fmla="*/ 87630 w 104775"/>
                          <a:gd name="connsiteY6" fmla="*/ 123825 h 127635"/>
                          <a:gd name="connsiteX7" fmla="*/ 89535 w 104775"/>
                          <a:gd name="connsiteY7" fmla="*/ 118110 h 127635"/>
                          <a:gd name="connsiteX8" fmla="*/ 93345 w 104775"/>
                          <a:gd name="connsiteY8" fmla="*/ 112395 h 127635"/>
                          <a:gd name="connsiteX9" fmla="*/ 95250 w 104775"/>
                          <a:gd name="connsiteY9" fmla="*/ 99060 h 127635"/>
                          <a:gd name="connsiteX10" fmla="*/ 100965 w 104775"/>
                          <a:gd name="connsiteY10" fmla="*/ 95250 h 127635"/>
                          <a:gd name="connsiteX11" fmla="*/ 104775 w 104775"/>
                          <a:gd name="connsiteY11" fmla="*/ 83820 h 127635"/>
                          <a:gd name="connsiteX12" fmla="*/ 100965 w 104775"/>
                          <a:gd name="connsiteY12" fmla="*/ 57150 h 127635"/>
                          <a:gd name="connsiteX13" fmla="*/ 99060 w 104775"/>
                          <a:gd name="connsiteY13" fmla="*/ 49530 h 127635"/>
                          <a:gd name="connsiteX14" fmla="*/ 95250 w 104775"/>
                          <a:gd name="connsiteY14" fmla="*/ 43815 h 127635"/>
                          <a:gd name="connsiteX15" fmla="*/ 91440 w 104775"/>
                          <a:gd name="connsiteY15" fmla="*/ 32385 h 127635"/>
                          <a:gd name="connsiteX16" fmla="*/ 81915 w 104775"/>
                          <a:gd name="connsiteY16" fmla="*/ 15240 h 127635"/>
                          <a:gd name="connsiteX17" fmla="*/ 70485 w 104775"/>
                          <a:gd name="connsiteY17" fmla="*/ 3810 h 127635"/>
                          <a:gd name="connsiteX18" fmla="*/ 59055 w 104775"/>
                          <a:gd name="connsiteY18" fmla="*/ 0 h 127635"/>
                          <a:gd name="connsiteX19" fmla="*/ 45720 w 104775"/>
                          <a:gd name="connsiteY19" fmla="*/ 1905 h 127635"/>
                          <a:gd name="connsiteX20" fmla="*/ 43815 w 104775"/>
                          <a:gd name="connsiteY20" fmla="*/ 19050 h 127635"/>
                          <a:gd name="connsiteX21" fmla="*/ 41910 w 104775"/>
                          <a:gd name="connsiteY21" fmla="*/ 30480 h 127635"/>
                          <a:gd name="connsiteX22" fmla="*/ 40005 w 104775"/>
                          <a:gd name="connsiteY22" fmla="*/ 43815 h 127635"/>
                          <a:gd name="connsiteX23" fmla="*/ 28575 w 104775"/>
                          <a:gd name="connsiteY23" fmla="*/ 49530 h 127635"/>
                          <a:gd name="connsiteX24" fmla="*/ 3810 w 104775"/>
                          <a:gd name="connsiteY24" fmla="*/ 51435 h 127635"/>
                          <a:gd name="connsiteX25" fmla="*/ 1905 w 104775"/>
                          <a:gd name="connsiteY25" fmla="*/ 59055 h 127635"/>
                          <a:gd name="connsiteX26" fmla="*/ 0 w 104775"/>
                          <a:gd name="connsiteY26" fmla="*/ 64770 h 127635"/>
                          <a:gd name="connsiteX27" fmla="*/ 5715 w 104775"/>
                          <a:gd name="connsiteY27" fmla="*/ 78105 h 127635"/>
                          <a:gd name="connsiteX28" fmla="*/ 5715 w 104775"/>
                          <a:gd name="connsiteY28" fmla="*/ 81915 h 127635"/>
                          <a:gd name="connsiteX29" fmla="*/ 5715 w 104775"/>
                          <a:gd name="connsiteY29" fmla="*/ 8763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5715 w 104775"/>
                          <a:gd name="connsiteY28" fmla="*/ 8763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17145 w 104775"/>
                          <a:gd name="connsiteY28" fmla="*/ 11049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17145 w 104775"/>
                          <a:gd name="connsiteY28" fmla="*/ 110490 h 127635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81915 w 104775"/>
                          <a:gd name="connsiteY15" fmla="*/ 16019 h 128414"/>
                          <a:gd name="connsiteX16" fmla="*/ 70485 w 104775"/>
                          <a:gd name="connsiteY16" fmla="*/ 4589 h 128414"/>
                          <a:gd name="connsiteX17" fmla="*/ 59055 w 104775"/>
                          <a:gd name="connsiteY17" fmla="*/ 779 h 128414"/>
                          <a:gd name="connsiteX18" fmla="*/ 45720 w 104775"/>
                          <a:gd name="connsiteY18" fmla="*/ 2684 h 128414"/>
                          <a:gd name="connsiteX19" fmla="*/ 41910 w 104775"/>
                          <a:gd name="connsiteY19" fmla="*/ 31259 h 128414"/>
                          <a:gd name="connsiteX20" fmla="*/ 40005 w 104775"/>
                          <a:gd name="connsiteY20" fmla="*/ 44594 h 128414"/>
                          <a:gd name="connsiteX21" fmla="*/ 28575 w 104775"/>
                          <a:gd name="connsiteY21" fmla="*/ 50309 h 128414"/>
                          <a:gd name="connsiteX22" fmla="*/ 3810 w 104775"/>
                          <a:gd name="connsiteY22" fmla="*/ 52214 h 128414"/>
                          <a:gd name="connsiteX23" fmla="*/ 1905 w 104775"/>
                          <a:gd name="connsiteY23" fmla="*/ 59834 h 128414"/>
                          <a:gd name="connsiteX24" fmla="*/ 0 w 104775"/>
                          <a:gd name="connsiteY24" fmla="*/ 65549 h 128414"/>
                          <a:gd name="connsiteX25" fmla="*/ 5715 w 104775"/>
                          <a:gd name="connsiteY25" fmla="*/ 78884 h 128414"/>
                          <a:gd name="connsiteX26" fmla="*/ 5715 w 104775"/>
                          <a:gd name="connsiteY26" fmla="*/ 82694 h 128414"/>
                          <a:gd name="connsiteX27" fmla="*/ 17145 w 104775"/>
                          <a:gd name="connsiteY27" fmla="*/ 111269 h 128414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70485 w 104775"/>
                          <a:gd name="connsiteY15" fmla="*/ 4589 h 128414"/>
                          <a:gd name="connsiteX16" fmla="*/ 59055 w 104775"/>
                          <a:gd name="connsiteY16" fmla="*/ 779 h 128414"/>
                          <a:gd name="connsiteX17" fmla="*/ 45720 w 104775"/>
                          <a:gd name="connsiteY17" fmla="*/ 2684 h 128414"/>
                          <a:gd name="connsiteX18" fmla="*/ 41910 w 104775"/>
                          <a:gd name="connsiteY18" fmla="*/ 31259 h 128414"/>
                          <a:gd name="connsiteX19" fmla="*/ 40005 w 104775"/>
                          <a:gd name="connsiteY19" fmla="*/ 44594 h 128414"/>
                          <a:gd name="connsiteX20" fmla="*/ 28575 w 104775"/>
                          <a:gd name="connsiteY20" fmla="*/ 50309 h 128414"/>
                          <a:gd name="connsiteX21" fmla="*/ 3810 w 104775"/>
                          <a:gd name="connsiteY21" fmla="*/ 52214 h 128414"/>
                          <a:gd name="connsiteX22" fmla="*/ 1905 w 104775"/>
                          <a:gd name="connsiteY22" fmla="*/ 59834 h 128414"/>
                          <a:gd name="connsiteX23" fmla="*/ 0 w 104775"/>
                          <a:gd name="connsiteY23" fmla="*/ 65549 h 128414"/>
                          <a:gd name="connsiteX24" fmla="*/ 5715 w 104775"/>
                          <a:gd name="connsiteY24" fmla="*/ 78884 h 128414"/>
                          <a:gd name="connsiteX25" fmla="*/ 5715 w 104775"/>
                          <a:gd name="connsiteY25" fmla="*/ 82694 h 128414"/>
                          <a:gd name="connsiteX26" fmla="*/ 17145 w 104775"/>
                          <a:gd name="connsiteY26" fmla="*/ 111269 h 128414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70485 w 104775"/>
                          <a:gd name="connsiteY15" fmla="*/ 4589 h 128414"/>
                          <a:gd name="connsiteX16" fmla="*/ 59055 w 104775"/>
                          <a:gd name="connsiteY16" fmla="*/ 779 h 128414"/>
                          <a:gd name="connsiteX17" fmla="*/ 45720 w 104775"/>
                          <a:gd name="connsiteY17" fmla="*/ 2684 h 128414"/>
                          <a:gd name="connsiteX18" fmla="*/ 41910 w 104775"/>
                          <a:gd name="connsiteY18" fmla="*/ 31259 h 128414"/>
                          <a:gd name="connsiteX19" fmla="*/ 40005 w 104775"/>
                          <a:gd name="connsiteY19" fmla="*/ 44594 h 128414"/>
                          <a:gd name="connsiteX20" fmla="*/ 3810 w 104775"/>
                          <a:gd name="connsiteY20" fmla="*/ 52214 h 128414"/>
                          <a:gd name="connsiteX21" fmla="*/ 1905 w 104775"/>
                          <a:gd name="connsiteY21" fmla="*/ 59834 h 128414"/>
                          <a:gd name="connsiteX22" fmla="*/ 0 w 104775"/>
                          <a:gd name="connsiteY22" fmla="*/ 65549 h 128414"/>
                          <a:gd name="connsiteX23" fmla="*/ 5715 w 104775"/>
                          <a:gd name="connsiteY23" fmla="*/ 78884 h 128414"/>
                          <a:gd name="connsiteX24" fmla="*/ 5715 w 104775"/>
                          <a:gd name="connsiteY24" fmla="*/ 82694 h 128414"/>
                          <a:gd name="connsiteX25" fmla="*/ 17145 w 104775"/>
                          <a:gd name="connsiteY25" fmla="*/ 111269 h 128414"/>
                          <a:gd name="connsiteX0" fmla="*/ 19050 w 104775"/>
                          <a:gd name="connsiteY0" fmla="*/ 107492 h 128447"/>
                          <a:gd name="connsiteX1" fmla="*/ 24765 w 104775"/>
                          <a:gd name="connsiteY1" fmla="*/ 111302 h 128447"/>
                          <a:gd name="connsiteX2" fmla="*/ 28575 w 104775"/>
                          <a:gd name="connsiteY2" fmla="*/ 117017 h 128447"/>
                          <a:gd name="connsiteX3" fmla="*/ 32385 w 104775"/>
                          <a:gd name="connsiteY3" fmla="*/ 128447 h 128447"/>
                          <a:gd name="connsiteX4" fmla="*/ 81915 w 104775"/>
                          <a:gd name="connsiteY4" fmla="*/ 126542 h 128447"/>
                          <a:gd name="connsiteX5" fmla="*/ 87630 w 104775"/>
                          <a:gd name="connsiteY5" fmla="*/ 124637 h 128447"/>
                          <a:gd name="connsiteX6" fmla="*/ 89535 w 104775"/>
                          <a:gd name="connsiteY6" fmla="*/ 118922 h 128447"/>
                          <a:gd name="connsiteX7" fmla="*/ 93345 w 104775"/>
                          <a:gd name="connsiteY7" fmla="*/ 113207 h 128447"/>
                          <a:gd name="connsiteX8" fmla="*/ 95250 w 104775"/>
                          <a:gd name="connsiteY8" fmla="*/ 99872 h 128447"/>
                          <a:gd name="connsiteX9" fmla="*/ 100965 w 104775"/>
                          <a:gd name="connsiteY9" fmla="*/ 96062 h 128447"/>
                          <a:gd name="connsiteX10" fmla="*/ 104775 w 104775"/>
                          <a:gd name="connsiteY10" fmla="*/ 84632 h 128447"/>
                          <a:gd name="connsiteX11" fmla="*/ 100965 w 104775"/>
                          <a:gd name="connsiteY11" fmla="*/ 57962 h 128447"/>
                          <a:gd name="connsiteX12" fmla="*/ 99060 w 104775"/>
                          <a:gd name="connsiteY12" fmla="*/ 50342 h 128447"/>
                          <a:gd name="connsiteX13" fmla="*/ 95250 w 104775"/>
                          <a:gd name="connsiteY13" fmla="*/ 44627 h 128447"/>
                          <a:gd name="connsiteX14" fmla="*/ 91440 w 104775"/>
                          <a:gd name="connsiteY14" fmla="*/ 33197 h 128447"/>
                          <a:gd name="connsiteX15" fmla="*/ 70485 w 104775"/>
                          <a:gd name="connsiteY15" fmla="*/ 4622 h 128447"/>
                          <a:gd name="connsiteX16" fmla="*/ 45720 w 104775"/>
                          <a:gd name="connsiteY16" fmla="*/ 2717 h 128447"/>
                          <a:gd name="connsiteX17" fmla="*/ 41910 w 104775"/>
                          <a:gd name="connsiteY17" fmla="*/ 31292 h 128447"/>
                          <a:gd name="connsiteX18" fmla="*/ 40005 w 104775"/>
                          <a:gd name="connsiteY18" fmla="*/ 44627 h 128447"/>
                          <a:gd name="connsiteX19" fmla="*/ 3810 w 104775"/>
                          <a:gd name="connsiteY19" fmla="*/ 52247 h 128447"/>
                          <a:gd name="connsiteX20" fmla="*/ 1905 w 104775"/>
                          <a:gd name="connsiteY20" fmla="*/ 59867 h 128447"/>
                          <a:gd name="connsiteX21" fmla="*/ 0 w 104775"/>
                          <a:gd name="connsiteY21" fmla="*/ 65582 h 128447"/>
                          <a:gd name="connsiteX22" fmla="*/ 5715 w 104775"/>
                          <a:gd name="connsiteY22" fmla="*/ 78917 h 128447"/>
                          <a:gd name="connsiteX23" fmla="*/ 5715 w 104775"/>
                          <a:gd name="connsiteY23" fmla="*/ 82727 h 128447"/>
                          <a:gd name="connsiteX24" fmla="*/ 17145 w 104775"/>
                          <a:gd name="connsiteY24" fmla="*/ 111302 h 128447"/>
                          <a:gd name="connsiteX0" fmla="*/ 19050 w 104775"/>
                          <a:gd name="connsiteY0" fmla="*/ 102874 h 123829"/>
                          <a:gd name="connsiteX1" fmla="*/ 24765 w 104775"/>
                          <a:gd name="connsiteY1" fmla="*/ 106684 h 123829"/>
                          <a:gd name="connsiteX2" fmla="*/ 28575 w 104775"/>
                          <a:gd name="connsiteY2" fmla="*/ 112399 h 123829"/>
                          <a:gd name="connsiteX3" fmla="*/ 32385 w 104775"/>
                          <a:gd name="connsiteY3" fmla="*/ 123829 h 123829"/>
                          <a:gd name="connsiteX4" fmla="*/ 81915 w 104775"/>
                          <a:gd name="connsiteY4" fmla="*/ 121924 h 123829"/>
                          <a:gd name="connsiteX5" fmla="*/ 87630 w 104775"/>
                          <a:gd name="connsiteY5" fmla="*/ 120019 h 123829"/>
                          <a:gd name="connsiteX6" fmla="*/ 89535 w 104775"/>
                          <a:gd name="connsiteY6" fmla="*/ 114304 h 123829"/>
                          <a:gd name="connsiteX7" fmla="*/ 93345 w 104775"/>
                          <a:gd name="connsiteY7" fmla="*/ 108589 h 123829"/>
                          <a:gd name="connsiteX8" fmla="*/ 95250 w 104775"/>
                          <a:gd name="connsiteY8" fmla="*/ 95254 h 123829"/>
                          <a:gd name="connsiteX9" fmla="*/ 100965 w 104775"/>
                          <a:gd name="connsiteY9" fmla="*/ 91444 h 123829"/>
                          <a:gd name="connsiteX10" fmla="*/ 104775 w 104775"/>
                          <a:gd name="connsiteY10" fmla="*/ 80014 h 123829"/>
                          <a:gd name="connsiteX11" fmla="*/ 100965 w 104775"/>
                          <a:gd name="connsiteY11" fmla="*/ 53344 h 123829"/>
                          <a:gd name="connsiteX12" fmla="*/ 99060 w 104775"/>
                          <a:gd name="connsiteY12" fmla="*/ 45724 h 123829"/>
                          <a:gd name="connsiteX13" fmla="*/ 95250 w 104775"/>
                          <a:gd name="connsiteY13" fmla="*/ 40009 h 123829"/>
                          <a:gd name="connsiteX14" fmla="*/ 91440 w 104775"/>
                          <a:gd name="connsiteY14" fmla="*/ 28579 h 123829"/>
                          <a:gd name="connsiteX15" fmla="*/ 70485 w 104775"/>
                          <a:gd name="connsiteY15" fmla="*/ 4 h 123829"/>
                          <a:gd name="connsiteX16" fmla="*/ 41910 w 104775"/>
                          <a:gd name="connsiteY16" fmla="*/ 26674 h 123829"/>
                          <a:gd name="connsiteX17" fmla="*/ 40005 w 104775"/>
                          <a:gd name="connsiteY17" fmla="*/ 40009 h 123829"/>
                          <a:gd name="connsiteX18" fmla="*/ 3810 w 104775"/>
                          <a:gd name="connsiteY18" fmla="*/ 47629 h 123829"/>
                          <a:gd name="connsiteX19" fmla="*/ 1905 w 104775"/>
                          <a:gd name="connsiteY19" fmla="*/ 55249 h 123829"/>
                          <a:gd name="connsiteX20" fmla="*/ 0 w 104775"/>
                          <a:gd name="connsiteY20" fmla="*/ 60964 h 123829"/>
                          <a:gd name="connsiteX21" fmla="*/ 5715 w 104775"/>
                          <a:gd name="connsiteY21" fmla="*/ 74299 h 123829"/>
                          <a:gd name="connsiteX22" fmla="*/ 5715 w 104775"/>
                          <a:gd name="connsiteY22" fmla="*/ 78109 h 123829"/>
                          <a:gd name="connsiteX23" fmla="*/ 17145 w 104775"/>
                          <a:gd name="connsiteY23" fmla="*/ 106684 h 123829"/>
                          <a:gd name="connsiteX0" fmla="*/ 19050 w 104775"/>
                          <a:gd name="connsiteY0" fmla="*/ 77050 h 98005"/>
                          <a:gd name="connsiteX1" fmla="*/ 24765 w 104775"/>
                          <a:gd name="connsiteY1" fmla="*/ 80860 h 98005"/>
                          <a:gd name="connsiteX2" fmla="*/ 28575 w 104775"/>
                          <a:gd name="connsiteY2" fmla="*/ 86575 h 98005"/>
                          <a:gd name="connsiteX3" fmla="*/ 32385 w 104775"/>
                          <a:gd name="connsiteY3" fmla="*/ 98005 h 98005"/>
                          <a:gd name="connsiteX4" fmla="*/ 81915 w 104775"/>
                          <a:gd name="connsiteY4" fmla="*/ 96100 h 98005"/>
                          <a:gd name="connsiteX5" fmla="*/ 87630 w 104775"/>
                          <a:gd name="connsiteY5" fmla="*/ 94195 h 98005"/>
                          <a:gd name="connsiteX6" fmla="*/ 89535 w 104775"/>
                          <a:gd name="connsiteY6" fmla="*/ 88480 h 98005"/>
                          <a:gd name="connsiteX7" fmla="*/ 93345 w 104775"/>
                          <a:gd name="connsiteY7" fmla="*/ 82765 h 98005"/>
                          <a:gd name="connsiteX8" fmla="*/ 95250 w 104775"/>
                          <a:gd name="connsiteY8" fmla="*/ 69430 h 98005"/>
                          <a:gd name="connsiteX9" fmla="*/ 100965 w 104775"/>
                          <a:gd name="connsiteY9" fmla="*/ 65620 h 98005"/>
                          <a:gd name="connsiteX10" fmla="*/ 104775 w 104775"/>
                          <a:gd name="connsiteY10" fmla="*/ 54190 h 98005"/>
                          <a:gd name="connsiteX11" fmla="*/ 100965 w 104775"/>
                          <a:gd name="connsiteY11" fmla="*/ 27520 h 98005"/>
                          <a:gd name="connsiteX12" fmla="*/ 99060 w 104775"/>
                          <a:gd name="connsiteY12" fmla="*/ 19900 h 98005"/>
                          <a:gd name="connsiteX13" fmla="*/ 95250 w 104775"/>
                          <a:gd name="connsiteY13" fmla="*/ 14185 h 98005"/>
                          <a:gd name="connsiteX14" fmla="*/ 91440 w 104775"/>
                          <a:gd name="connsiteY14" fmla="*/ 2755 h 98005"/>
                          <a:gd name="connsiteX15" fmla="*/ 41910 w 104775"/>
                          <a:gd name="connsiteY15" fmla="*/ 850 h 98005"/>
                          <a:gd name="connsiteX16" fmla="*/ 40005 w 104775"/>
                          <a:gd name="connsiteY16" fmla="*/ 14185 h 98005"/>
                          <a:gd name="connsiteX17" fmla="*/ 3810 w 104775"/>
                          <a:gd name="connsiteY17" fmla="*/ 21805 h 98005"/>
                          <a:gd name="connsiteX18" fmla="*/ 1905 w 104775"/>
                          <a:gd name="connsiteY18" fmla="*/ 29425 h 98005"/>
                          <a:gd name="connsiteX19" fmla="*/ 0 w 104775"/>
                          <a:gd name="connsiteY19" fmla="*/ 35140 h 98005"/>
                          <a:gd name="connsiteX20" fmla="*/ 5715 w 104775"/>
                          <a:gd name="connsiteY20" fmla="*/ 48475 h 98005"/>
                          <a:gd name="connsiteX21" fmla="*/ 5715 w 104775"/>
                          <a:gd name="connsiteY21" fmla="*/ 52285 h 98005"/>
                          <a:gd name="connsiteX22" fmla="*/ 17145 w 104775"/>
                          <a:gd name="connsiteY22" fmla="*/ 80860 h 98005"/>
                          <a:gd name="connsiteX0" fmla="*/ 19050 w 104775"/>
                          <a:gd name="connsiteY0" fmla="*/ 76200 h 97155"/>
                          <a:gd name="connsiteX1" fmla="*/ 24765 w 104775"/>
                          <a:gd name="connsiteY1" fmla="*/ 80010 h 97155"/>
                          <a:gd name="connsiteX2" fmla="*/ 28575 w 104775"/>
                          <a:gd name="connsiteY2" fmla="*/ 85725 h 97155"/>
                          <a:gd name="connsiteX3" fmla="*/ 32385 w 104775"/>
                          <a:gd name="connsiteY3" fmla="*/ 97155 h 97155"/>
                          <a:gd name="connsiteX4" fmla="*/ 81915 w 104775"/>
                          <a:gd name="connsiteY4" fmla="*/ 95250 h 97155"/>
                          <a:gd name="connsiteX5" fmla="*/ 87630 w 104775"/>
                          <a:gd name="connsiteY5" fmla="*/ 93345 h 97155"/>
                          <a:gd name="connsiteX6" fmla="*/ 89535 w 104775"/>
                          <a:gd name="connsiteY6" fmla="*/ 87630 h 97155"/>
                          <a:gd name="connsiteX7" fmla="*/ 93345 w 104775"/>
                          <a:gd name="connsiteY7" fmla="*/ 81915 h 97155"/>
                          <a:gd name="connsiteX8" fmla="*/ 95250 w 104775"/>
                          <a:gd name="connsiteY8" fmla="*/ 68580 h 97155"/>
                          <a:gd name="connsiteX9" fmla="*/ 100965 w 104775"/>
                          <a:gd name="connsiteY9" fmla="*/ 64770 h 97155"/>
                          <a:gd name="connsiteX10" fmla="*/ 104775 w 104775"/>
                          <a:gd name="connsiteY10" fmla="*/ 53340 h 97155"/>
                          <a:gd name="connsiteX11" fmla="*/ 100965 w 104775"/>
                          <a:gd name="connsiteY11" fmla="*/ 26670 h 97155"/>
                          <a:gd name="connsiteX12" fmla="*/ 99060 w 104775"/>
                          <a:gd name="connsiteY12" fmla="*/ 19050 h 97155"/>
                          <a:gd name="connsiteX13" fmla="*/ 95250 w 104775"/>
                          <a:gd name="connsiteY13" fmla="*/ 13335 h 97155"/>
                          <a:gd name="connsiteX14" fmla="*/ 41910 w 104775"/>
                          <a:gd name="connsiteY14" fmla="*/ 0 h 97155"/>
                          <a:gd name="connsiteX15" fmla="*/ 40005 w 104775"/>
                          <a:gd name="connsiteY15" fmla="*/ 13335 h 97155"/>
                          <a:gd name="connsiteX16" fmla="*/ 3810 w 104775"/>
                          <a:gd name="connsiteY16" fmla="*/ 20955 h 97155"/>
                          <a:gd name="connsiteX17" fmla="*/ 1905 w 104775"/>
                          <a:gd name="connsiteY17" fmla="*/ 28575 h 97155"/>
                          <a:gd name="connsiteX18" fmla="*/ 0 w 104775"/>
                          <a:gd name="connsiteY18" fmla="*/ 34290 h 97155"/>
                          <a:gd name="connsiteX19" fmla="*/ 5715 w 104775"/>
                          <a:gd name="connsiteY19" fmla="*/ 47625 h 97155"/>
                          <a:gd name="connsiteX20" fmla="*/ 5715 w 104775"/>
                          <a:gd name="connsiteY20" fmla="*/ 51435 h 97155"/>
                          <a:gd name="connsiteX21" fmla="*/ 17145 w 104775"/>
                          <a:gd name="connsiteY21" fmla="*/ 80010 h 97155"/>
                          <a:gd name="connsiteX0" fmla="*/ 19050 w 104775"/>
                          <a:gd name="connsiteY0" fmla="*/ 76298 h 97253"/>
                          <a:gd name="connsiteX1" fmla="*/ 24765 w 104775"/>
                          <a:gd name="connsiteY1" fmla="*/ 80108 h 97253"/>
                          <a:gd name="connsiteX2" fmla="*/ 28575 w 104775"/>
                          <a:gd name="connsiteY2" fmla="*/ 85823 h 97253"/>
                          <a:gd name="connsiteX3" fmla="*/ 32385 w 104775"/>
                          <a:gd name="connsiteY3" fmla="*/ 97253 h 97253"/>
                          <a:gd name="connsiteX4" fmla="*/ 81915 w 104775"/>
                          <a:gd name="connsiteY4" fmla="*/ 95348 h 97253"/>
                          <a:gd name="connsiteX5" fmla="*/ 87630 w 104775"/>
                          <a:gd name="connsiteY5" fmla="*/ 93443 h 97253"/>
                          <a:gd name="connsiteX6" fmla="*/ 89535 w 104775"/>
                          <a:gd name="connsiteY6" fmla="*/ 87728 h 97253"/>
                          <a:gd name="connsiteX7" fmla="*/ 93345 w 104775"/>
                          <a:gd name="connsiteY7" fmla="*/ 82013 h 97253"/>
                          <a:gd name="connsiteX8" fmla="*/ 95250 w 104775"/>
                          <a:gd name="connsiteY8" fmla="*/ 68678 h 97253"/>
                          <a:gd name="connsiteX9" fmla="*/ 100965 w 104775"/>
                          <a:gd name="connsiteY9" fmla="*/ 64868 h 97253"/>
                          <a:gd name="connsiteX10" fmla="*/ 104775 w 104775"/>
                          <a:gd name="connsiteY10" fmla="*/ 53438 h 97253"/>
                          <a:gd name="connsiteX11" fmla="*/ 100965 w 104775"/>
                          <a:gd name="connsiteY11" fmla="*/ 26768 h 97253"/>
                          <a:gd name="connsiteX12" fmla="*/ 99060 w 104775"/>
                          <a:gd name="connsiteY12" fmla="*/ 19148 h 97253"/>
                          <a:gd name="connsiteX13" fmla="*/ 95250 w 104775"/>
                          <a:gd name="connsiteY13" fmla="*/ 13433 h 97253"/>
                          <a:gd name="connsiteX14" fmla="*/ 41910 w 104775"/>
                          <a:gd name="connsiteY14" fmla="*/ 98 h 97253"/>
                          <a:gd name="connsiteX15" fmla="*/ 3810 w 104775"/>
                          <a:gd name="connsiteY15" fmla="*/ 21053 h 97253"/>
                          <a:gd name="connsiteX16" fmla="*/ 1905 w 104775"/>
                          <a:gd name="connsiteY16" fmla="*/ 28673 h 97253"/>
                          <a:gd name="connsiteX17" fmla="*/ 0 w 104775"/>
                          <a:gd name="connsiteY17" fmla="*/ 34388 h 97253"/>
                          <a:gd name="connsiteX18" fmla="*/ 5715 w 104775"/>
                          <a:gd name="connsiteY18" fmla="*/ 47723 h 97253"/>
                          <a:gd name="connsiteX19" fmla="*/ 5715 w 104775"/>
                          <a:gd name="connsiteY19" fmla="*/ 51533 h 97253"/>
                          <a:gd name="connsiteX20" fmla="*/ 17145 w 104775"/>
                          <a:gd name="connsiteY20" fmla="*/ 80108 h 97253"/>
                          <a:gd name="connsiteX0" fmla="*/ 19050 w 104775"/>
                          <a:gd name="connsiteY0" fmla="*/ 76205 h 97160"/>
                          <a:gd name="connsiteX1" fmla="*/ 24765 w 104775"/>
                          <a:gd name="connsiteY1" fmla="*/ 80015 h 97160"/>
                          <a:gd name="connsiteX2" fmla="*/ 28575 w 104775"/>
                          <a:gd name="connsiteY2" fmla="*/ 85730 h 97160"/>
                          <a:gd name="connsiteX3" fmla="*/ 32385 w 104775"/>
                          <a:gd name="connsiteY3" fmla="*/ 97160 h 97160"/>
                          <a:gd name="connsiteX4" fmla="*/ 81915 w 104775"/>
                          <a:gd name="connsiteY4" fmla="*/ 95255 h 97160"/>
                          <a:gd name="connsiteX5" fmla="*/ 87630 w 104775"/>
                          <a:gd name="connsiteY5" fmla="*/ 93350 h 97160"/>
                          <a:gd name="connsiteX6" fmla="*/ 89535 w 104775"/>
                          <a:gd name="connsiteY6" fmla="*/ 87635 h 97160"/>
                          <a:gd name="connsiteX7" fmla="*/ 93345 w 104775"/>
                          <a:gd name="connsiteY7" fmla="*/ 81920 h 97160"/>
                          <a:gd name="connsiteX8" fmla="*/ 95250 w 104775"/>
                          <a:gd name="connsiteY8" fmla="*/ 68585 h 97160"/>
                          <a:gd name="connsiteX9" fmla="*/ 100965 w 104775"/>
                          <a:gd name="connsiteY9" fmla="*/ 64775 h 97160"/>
                          <a:gd name="connsiteX10" fmla="*/ 104775 w 104775"/>
                          <a:gd name="connsiteY10" fmla="*/ 53345 h 97160"/>
                          <a:gd name="connsiteX11" fmla="*/ 100965 w 104775"/>
                          <a:gd name="connsiteY11" fmla="*/ 26675 h 97160"/>
                          <a:gd name="connsiteX12" fmla="*/ 99060 w 104775"/>
                          <a:gd name="connsiteY12" fmla="*/ 19055 h 97160"/>
                          <a:gd name="connsiteX13" fmla="*/ 41910 w 104775"/>
                          <a:gd name="connsiteY13" fmla="*/ 5 h 97160"/>
                          <a:gd name="connsiteX14" fmla="*/ 3810 w 104775"/>
                          <a:gd name="connsiteY14" fmla="*/ 20960 h 97160"/>
                          <a:gd name="connsiteX15" fmla="*/ 1905 w 104775"/>
                          <a:gd name="connsiteY15" fmla="*/ 28580 h 97160"/>
                          <a:gd name="connsiteX16" fmla="*/ 0 w 104775"/>
                          <a:gd name="connsiteY16" fmla="*/ 34295 h 97160"/>
                          <a:gd name="connsiteX17" fmla="*/ 5715 w 104775"/>
                          <a:gd name="connsiteY17" fmla="*/ 47630 h 97160"/>
                          <a:gd name="connsiteX18" fmla="*/ 5715 w 104775"/>
                          <a:gd name="connsiteY18" fmla="*/ 51440 h 97160"/>
                          <a:gd name="connsiteX19" fmla="*/ 17145 w 104775"/>
                          <a:gd name="connsiteY19" fmla="*/ 80015 h 97160"/>
                          <a:gd name="connsiteX0" fmla="*/ 19050 w 105971"/>
                          <a:gd name="connsiteY0" fmla="*/ 76238 h 97193"/>
                          <a:gd name="connsiteX1" fmla="*/ 24765 w 105971"/>
                          <a:gd name="connsiteY1" fmla="*/ 80048 h 97193"/>
                          <a:gd name="connsiteX2" fmla="*/ 28575 w 105971"/>
                          <a:gd name="connsiteY2" fmla="*/ 85763 h 97193"/>
                          <a:gd name="connsiteX3" fmla="*/ 32385 w 105971"/>
                          <a:gd name="connsiteY3" fmla="*/ 97193 h 97193"/>
                          <a:gd name="connsiteX4" fmla="*/ 81915 w 105971"/>
                          <a:gd name="connsiteY4" fmla="*/ 95288 h 97193"/>
                          <a:gd name="connsiteX5" fmla="*/ 87630 w 105971"/>
                          <a:gd name="connsiteY5" fmla="*/ 93383 h 97193"/>
                          <a:gd name="connsiteX6" fmla="*/ 89535 w 105971"/>
                          <a:gd name="connsiteY6" fmla="*/ 87668 h 97193"/>
                          <a:gd name="connsiteX7" fmla="*/ 93345 w 105971"/>
                          <a:gd name="connsiteY7" fmla="*/ 81953 h 97193"/>
                          <a:gd name="connsiteX8" fmla="*/ 95250 w 105971"/>
                          <a:gd name="connsiteY8" fmla="*/ 68618 h 97193"/>
                          <a:gd name="connsiteX9" fmla="*/ 100965 w 105971"/>
                          <a:gd name="connsiteY9" fmla="*/ 64808 h 97193"/>
                          <a:gd name="connsiteX10" fmla="*/ 104775 w 105971"/>
                          <a:gd name="connsiteY10" fmla="*/ 53378 h 97193"/>
                          <a:gd name="connsiteX11" fmla="*/ 100965 w 105971"/>
                          <a:gd name="connsiteY11" fmla="*/ 26708 h 97193"/>
                          <a:gd name="connsiteX12" fmla="*/ 41910 w 105971"/>
                          <a:gd name="connsiteY12" fmla="*/ 38 h 97193"/>
                          <a:gd name="connsiteX13" fmla="*/ 3810 w 105971"/>
                          <a:gd name="connsiteY13" fmla="*/ 20993 h 97193"/>
                          <a:gd name="connsiteX14" fmla="*/ 1905 w 105971"/>
                          <a:gd name="connsiteY14" fmla="*/ 28613 h 97193"/>
                          <a:gd name="connsiteX15" fmla="*/ 0 w 105971"/>
                          <a:gd name="connsiteY15" fmla="*/ 34328 h 97193"/>
                          <a:gd name="connsiteX16" fmla="*/ 5715 w 105971"/>
                          <a:gd name="connsiteY16" fmla="*/ 47663 h 97193"/>
                          <a:gd name="connsiteX17" fmla="*/ 5715 w 105971"/>
                          <a:gd name="connsiteY17" fmla="*/ 51473 h 97193"/>
                          <a:gd name="connsiteX18" fmla="*/ 17145 w 105971"/>
                          <a:gd name="connsiteY18" fmla="*/ 80048 h 97193"/>
                          <a:gd name="connsiteX0" fmla="*/ 19050 w 106250"/>
                          <a:gd name="connsiteY0" fmla="*/ 64875 h 85830"/>
                          <a:gd name="connsiteX1" fmla="*/ 24765 w 106250"/>
                          <a:gd name="connsiteY1" fmla="*/ 68685 h 85830"/>
                          <a:gd name="connsiteX2" fmla="*/ 28575 w 106250"/>
                          <a:gd name="connsiteY2" fmla="*/ 74400 h 85830"/>
                          <a:gd name="connsiteX3" fmla="*/ 32385 w 106250"/>
                          <a:gd name="connsiteY3" fmla="*/ 85830 h 85830"/>
                          <a:gd name="connsiteX4" fmla="*/ 81915 w 106250"/>
                          <a:gd name="connsiteY4" fmla="*/ 83925 h 85830"/>
                          <a:gd name="connsiteX5" fmla="*/ 87630 w 106250"/>
                          <a:gd name="connsiteY5" fmla="*/ 82020 h 85830"/>
                          <a:gd name="connsiteX6" fmla="*/ 89535 w 106250"/>
                          <a:gd name="connsiteY6" fmla="*/ 76305 h 85830"/>
                          <a:gd name="connsiteX7" fmla="*/ 93345 w 106250"/>
                          <a:gd name="connsiteY7" fmla="*/ 70590 h 85830"/>
                          <a:gd name="connsiteX8" fmla="*/ 95250 w 106250"/>
                          <a:gd name="connsiteY8" fmla="*/ 57255 h 85830"/>
                          <a:gd name="connsiteX9" fmla="*/ 100965 w 106250"/>
                          <a:gd name="connsiteY9" fmla="*/ 53445 h 85830"/>
                          <a:gd name="connsiteX10" fmla="*/ 104775 w 106250"/>
                          <a:gd name="connsiteY10" fmla="*/ 42015 h 85830"/>
                          <a:gd name="connsiteX11" fmla="*/ 100965 w 106250"/>
                          <a:gd name="connsiteY11" fmla="*/ 15345 h 85830"/>
                          <a:gd name="connsiteX12" fmla="*/ 38100 w 106250"/>
                          <a:gd name="connsiteY12" fmla="*/ 105 h 85830"/>
                          <a:gd name="connsiteX13" fmla="*/ 3810 w 106250"/>
                          <a:gd name="connsiteY13" fmla="*/ 9630 h 85830"/>
                          <a:gd name="connsiteX14" fmla="*/ 1905 w 106250"/>
                          <a:gd name="connsiteY14" fmla="*/ 17250 h 85830"/>
                          <a:gd name="connsiteX15" fmla="*/ 0 w 106250"/>
                          <a:gd name="connsiteY15" fmla="*/ 22965 h 85830"/>
                          <a:gd name="connsiteX16" fmla="*/ 5715 w 106250"/>
                          <a:gd name="connsiteY16" fmla="*/ 36300 h 85830"/>
                          <a:gd name="connsiteX17" fmla="*/ 5715 w 106250"/>
                          <a:gd name="connsiteY17" fmla="*/ 40110 h 85830"/>
                          <a:gd name="connsiteX18" fmla="*/ 17145 w 106250"/>
                          <a:gd name="connsiteY18" fmla="*/ 68685 h 8583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</a:cxnLst>
                        <a:rect l="l" t="t" r="r" b="b"/>
                        <a:pathLst>
                          <a:path w="106250" h="85830">
                            <a:moveTo>
                              <a:pt x="19050" y="64875"/>
                            </a:moveTo>
                            <a:cubicBezTo>
                              <a:pt x="19050" y="69955"/>
                              <a:pt x="22860" y="67415"/>
                              <a:pt x="24765" y="68685"/>
                            </a:cubicBezTo>
                            <a:cubicBezTo>
                              <a:pt x="26035" y="70590"/>
                              <a:pt x="27645" y="72308"/>
                              <a:pt x="28575" y="74400"/>
                            </a:cubicBezTo>
                            <a:cubicBezTo>
                              <a:pt x="30206" y="78070"/>
                              <a:pt x="32385" y="85830"/>
                              <a:pt x="32385" y="85830"/>
                            </a:cubicBezTo>
                            <a:cubicBezTo>
                              <a:pt x="48895" y="85195"/>
                              <a:pt x="65432" y="85062"/>
                              <a:pt x="81915" y="83925"/>
                            </a:cubicBezTo>
                            <a:cubicBezTo>
                              <a:pt x="83918" y="83787"/>
                              <a:pt x="86210" y="83440"/>
                              <a:pt x="87630" y="82020"/>
                            </a:cubicBezTo>
                            <a:cubicBezTo>
                              <a:pt x="89050" y="80600"/>
                              <a:pt x="88637" y="78101"/>
                              <a:pt x="89535" y="76305"/>
                            </a:cubicBezTo>
                            <a:cubicBezTo>
                              <a:pt x="90559" y="74257"/>
                              <a:pt x="92075" y="72495"/>
                              <a:pt x="93345" y="70590"/>
                            </a:cubicBezTo>
                            <a:cubicBezTo>
                              <a:pt x="93980" y="66145"/>
                              <a:pt x="93426" y="61358"/>
                              <a:pt x="95250" y="57255"/>
                            </a:cubicBezTo>
                            <a:cubicBezTo>
                              <a:pt x="96180" y="55163"/>
                              <a:pt x="99752" y="55387"/>
                              <a:pt x="100965" y="53445"/>
                            </a:cubicBezTo>
                            <a:cubicBezTo>
                              <a:pt x="103094" y="50039"/>
                              <a:pt x="104775" y="42015"/>
                              <a:pt x="104775" y="42015"/>
                            </a:cubicBezTo>
                            <a:cubicBezTo>
                              <a:pt x="101728" y="8500"/>
                              <a:pt x="112077" y="22330"/>
                              <a:pt x="100965" y="15345"/>
                            </a:cubicBezTo>
                            <a:cubicBezTo>
                              <a:pt x="89853" y="8360"/>
                              <a:pt x="54292" y="1057"/>
                              <a:pt x="38100" y="105"/>
                            </a:cubicBezTo>
                            <a:cubicBezTo>
                              <a:pt x="21908" y="-847"/>
                              <a:pt x="10477" y="4868"/>
                              <a:pt x="3810" y="9630"/>
                            </a:cubicBezTo>
                            <a:cubicBezTo>
                              <a:pt x="3175" y="12170"/>
                              <a:pt x="2624" y="14733"/>
                              <a:pt x="1905" y="17250"/>
                            </a:cubicBezTo>
                            <a:cubicBezTo>
                              <a:pt x="1353" y="19181"/>
                              <a:pt x="0" y="20957"/>
                              <a:pt x="0" y="22965"/>
                            </a:cubicBezTo>
                            <a:cubicBezTo>
                              <a:pt x="0" y="32673"/>
                              <a:pt x="2604" y="28523"/>
                              <a:pt x="5715" y="36300"/>
                            </a:cubicBezTo>
                            <a:cubicBezTo>
                              <a:pt x="6187" y="37479"/>
                              <a:pt x="3810" y="34713"/>
                              <a:pt x="5715" y="40110"/>
                            </a:cubicBezTo>
                            <a:cubicBezTo>
                              <a:pt x="7620" y="45507"/>
                              <a:pt x="13335" y="59160"/>
                              <a:pt x="17145" y="68685"/>
                            </a:cubicBezTo>
                          </a:path>
                        </a:pathLst>
                      </a:custGeom>
                      <a:grpFill/>
                      <a:ln w="3175" cap="flat" cmpd="sng" algn="ctr">
                        <a:solidFill>
                          <a:srgbClr val="FFFFFF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55" name="Rectangle: Rounded Corners 40">
                        <a:extLst>
                          <a:ext uri="{FF2B5EF4-FFF2-40B4-BE49-F238E27FC236}">
                            <a16:creationId xmlns:a16="http://schemas.microsoft.com/office/drawing/2014/main" id="{A201BE2A-5338-3B66-7C66-0972B745A21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886901" y="4403741"/>
                        <a:ext cx="27432" cy="18288"/>
                      </a:xfrm>
                      <a:prstGeom prst="roundRect">
                        <a:avLst/>
                      </a:prstGeom>
                      <a:solidFill>
                        <a:srgbClr val="0D3759"/>
                      </a:solidFill>
                      <a:ln w="3175" cap="flat" cmpd="sng" algn="ctr">
                        <a:solidFill>
                          <a:srgbClr val="FFFFFF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56" name="Rectangle: Rounded Corners 41">
                        <a:extLst>
                          <a:ext uri="{FF2B5EF4-FFF2-40B4-BE49-F238E27FC236}">
                            <a16:creationId xmlns:a16="http://schemas.microsoft.com/office/drawing/2014/main" id="{05FB02AA-E609-E856-B342-AFB76ACE879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858174" y="4291371"/>
                        <a:ext cx="27432" cy="18288"/>
                      </a:xfrm>
                      <a:prstGeom prst="roundRect">
                        <a:avLst/>
                      </a:prstGeom>
                      <a:solidFill>
                        <a:srgbClr val="0D3759"/>
                      </a:solidFill>
                      <a:ln w="3175" cap="flat" cmpd="sng" algn="ctr">
                        <a:solidFill>
                          <a:srgbClr val="FFFFFF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57" name="Rectangle: Rounded Corners 42">
                        <a:extLst>
                          <a:ext uri="{FF2B5EF4-FFF2-40B4-BE49-F238E27FC236}">
                            <a16:creationId xmlns:a16="http://schemas.microsoft.com/office/drawing/2014/main" id="{586BF61B-22DD-DBEA-374C-9C36E70C373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770428" y="4196137"/>
                        <a:ext cx="27432" cy="18288"/>
                      </a:xfrm>
                      <a:prstGeom prst="roundRect">
                        <a:avLst/>
                      </a:prstGeom>
                      <a:solidFill>
                        <a:srgbClr val="0D3759"/>
                      </a:solidFill>
                      <a:ln w="3175" cap="flat" cmpd="sng" algn="ctr">
                        <a:solidFill>
                          <a:srgbClr val="FFFFFF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58" name="Rectangle: Rounded Corners 43">
                        <a:extLst>
                          <a:ext uri="{FF2B5EF4-FFF2-40B4-BE49-F238E27FC236}">
                            <a16:creationId xmlns:a16="http://schemas.microsoft.com/office/drawing/2014/main" id="{7CAC20EE-97C1-A188-C47D-B5A3D44F5A6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050643" y="4293981"/>
                        <a:ext cx="27432" cy="18288"/>
                      </a:xfrm>
                      <a:prstGeom prst="roundRect">
                        <a:avLst/>
                      </a:prstGeom>
                      <a:grpFill/>
                      <a:ln w="3175" cap="flat" cmpd="sng" algn="ctr">
                        <a:solidFill>
                          <a:srgbClr val="FFFFFF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59" name="Rectangle: Rounded Corners 44">
                        <a:extLst>
                          <a:ext uri="{FF2B5EF4-FFF2-40B4-BE49-F238E27FC236}">
                            <a16:creationId xmlns:a16="http://schemas.microsoft.com/office/drawing/2014/main" id="{41FA76B3-E2F5-4D0C-E760-A371314916D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817085" y="4394597"/>
                        <a:ext cx="27432" cy="18288"/>
                      </a:xfrm>
                      <a:prstGeom prst="roundRect">
                        <a:avLst/>
                      </a:prstGeom>
                      <a:solidFill>
                        <a:srgbClr val="0D3759"/>
                      </a:solidFill>
                      <a:ln w="3175" cap="flat" cmpd="sng" algn="ctr">
                        <a:solidFill>
                          <a:srgbClr val="FFFFFF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60" name="Rectangle: Rounded Corners 45">
                        <a:extLst>
                          <a:ext uri="{FF2B5EF4-FFF2-40B4-BE49-F238E27FC236}">
                            <a16:creationId xmlns:a16="http://schemas.microsoft.com/office/drawing/2014/main" id="{B4E42325-6184-1CA8-74F2-8AA5F2C7375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894095" y="4145965"/>
                        <a:ext cx="27432" cy="18288"/>
                      </a:xfrm>
                      <a:prstGeom prst="roundRect">
                        <a:avLst/>
                      </a:prstGeom>
                      <a:solidFill>
                        <a:srgbClr val="0D3759"/>
                      </a:solidFill>
                      <a:ln w="3175" cap="flat" cmpd="sng" algn="ctr">
                        <a:solidFill>
                          <a:srgbClr val="FFFFFF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</p:grpSp>
                <p:grpSp>
                  <p:nvGrpSpPr>
                    <p:cNvPr id="1028" name="Group 1027">
                      <a:extLst>
                        <a:ext uri="{FF2B5EF4-FFF2-40B4-BE49-F238E27FC236}">
                          <a16:creationId xmlns:a16="http://schemas.microsoft.com/office/drawing/2014/main" id="{9C638C34-5F1B-A8F7-DB26-7988B3245488}"/>
                        </a:ext>
                      </a:extLst>
                    </p:cNvPr>
                    <p:cNvGrpSpPr/>
                    <p:nvPr/>
                  </p:nvGrpSpPr>
                  <p:grpSpPr>
                    <a:xfrm rot="5697808">
                      <a:off x="10679809" y="3357826"/>
                      <a:ext cx="177879" cy="163650"/>
                      <a:chOff x="8770428" y="4145225"/>
                      <a:chExt cx="307647" cy="276804"/>
                    </a:xfrm>
                    <a:solidFill>
                      <a:srgbClr val="824A78"/>
                    </a:solidFill>
                  </p:grpSpPr>
                  <p:sp>
                    <p:nvSpPr>
                      <p:cNvPr id="1030" name="Freeform: Shape 15">
                        <a:extLst>
                          <a:ext uri="{FF2B5EF4-FFF2-40B4-BE49-F238E27FC236}">
                            <a16:creationId xmlns:a16="http://schemas.microsoft.com/office/drawing/2014/main" id="{3B7D864B-7FAD-E849-FAB2-191B0D31E120}"/>
                          </a:ext>
                        </a:extLst>
                      </p:cNvPr>
                      <p:cNvSpPr/>
                      <p:nvPr/>
                    </p:nvSpPr>
                    <p:spPr>
                      <a:xfrm rot="5813516">
                        <a:off x="8823930" y="4215604"/>
                        <a:ext cx="27432" cy="27432"/>
                      </a:xfrm>
                      <a:custGeom>
                        <a:avLst/>
                        <a:gdLst>
                          <a:gd name="connsiteX0" fmla="*/ 32385 w 80010"/>
                          <a:gd name="connsiteY0" fmla="*/ 8118 h 64150"/>
                          <a:gd name="connsiteX1" fmla="*/ 32385 w 80010"/>
                          <a:gd name="connsiteY1" fmla="*/ 8118 h 64150"/>
                          <a:gd name="connsiteX2" fmla="*/ 3810 w 80010"/>
                          <a:gd name="connsiteY2" fmla="*/ 10023 h 64150"/>
                          <a:gd name="connsiteX3" fmla="*/ 0 w 80010"/>
                          <a:gd name="connsiteY3" fmla="*/ 21453 h 64150"/>
                          <a:gd name="connsiteX4" fmla="*/ 7620 w 80010"/>
                          <a:gd name="connsiteY4" fmla="*/ 42408 h 64150"/>
                          <a:gd name="connsiteX5" fmla="*/ 13335 w 80010"/>
                          <a:gd name="connsiteY5" fmla="*/ 46218 h 64150"/>
                          <a:gd name="connsiteX6" fmla="*/ 19050 w 80010"/>
                          <a:gd name="connsiteY6" fmla="*/ 51933 h 64150"/>
                          <a:gd name="connsiteX7" fmla="*/ 68580 w 80010"/>
                          <a:gd name="connsiteY7" fmla="*/ 55743 h 64150"/>
                          <a:gd name="connsiteX8" fmla="*/ 72390 w 80010"/>
                          <a:gd name="connsiteY8" fmla="*/ 50028 h 64150"/>
                          <a:gd name="connsiteX9" fmla="*/ 78105 w 80010"/>
                          <a:gd name="connsiteY9" fmla="*/ 44313 h 64150"/>
                          <a:gd name="connsiteX10" fmla="*/ 80010 w 80010"/>
                          <a:gd name="connsiteY10" fmla="*/ 38598 h 64150"/>
                          <a:gd name="connsiteX11" fmla="*/ 78105 w 80010"/>
                          <a:gd name="connsiteY11" fmla="*/ 27168 h 64150"/>
                          <a:gd name="connsiteX12" fmla="*/ 60960 w 80010"/>
                          <a:gd name="connsiteY12" fmla="*/ 21453 h 64150"/>
                          <a:gd name="connsiteX13" fmla="*/ 53340 w 80010"/>
                          <a:gd name="connsiteY13" fmla="*/ 23358 h 64150"/>
                          <a:gd name="connsiteX14" fmla="*/ 57150 w 80010"/>
                          <a:gd name="connsiteY14" fmla="*/ 11928 h 64150"/>
                          <a:gd name="connsiteX15" fmla="*/ 59055 w 80010"/>
                          <a:gd name="connsiteY15" fmla="*/ 6213 h 64150"/>
                          <a:gd name="connsiteX16" fmla="*/ 34290 w 80010"/>
                          <a:gd name="connsiteY16" fmla="*/ 498 h 64150"/>
                          <a:gd name="connsiteX17" fmla="*/ 32385 w 80010"/>
                          <a:gd name="connsiteY17" fmla="*/ 8118 h 64150"/>
                          <a:gd name="connsiteX0" fmla="*/ 32385 w 80010"/>
                          <a:gd name="connsiteY0" fmla="*/ 8118 h 64150"/>
                          <a:gd name="connsiteX1" fmla="*/ 32385 w 80010"/>
                          <a:gd name="connsiteY1" fmla="*/ 8118 h 64150"/>
                          <a:gd name="connsiteX2" fmla="*/ 3810 w 80010"/>
                          <a:gd name="connsiteY2" fmla="*/ 10023 h 64150"/>
                          <a:gd name="connsiteX3" fmla="*/ 0 w 80010"/>
                          <a:gd name="connsiteY3" fmla="*/ 21453 h 64150"/>
                          <a:gd name="connsiteX4" fmla="*/ 7620 w 80010"/>
                          <a:gd name="connsiteY4" fmla="*/ 42408 h 64150"/>
                          <a:gd name="connsiteX5" fmla="*/ 13335 w 80010"/>
                          <a:gd name="connsiteY5" fmla="*/ 46218 h 64150"/>
                          <a:gd name="connsiteX6" fmla="*/ 19050 w 80010"/>
                          <a:gd name="connsiteY6" fmla="*/ 51933 h 64150"/>
                          <a:gd name="connsiteX7" fmla="*/ 68580 w 80010"/>
                          <a:gd name="connsiteY7" fmla="*/ 55743 h 64150"/>
                          <a:gd name="connsiteX8" fmla="*/ 72390 w 80010"/>
                          <a:gd name="connsiteY8" fmla="*/ 50028 h 64150"/>
                          <a:gd name="connsiteX9" fmla="*/ 78105 w 80010"/>
                          <a:gd name="connsiteY9" fmla="*/ 44313 h 64150"/>
                          <a:gd name="connsiteX10" fmla="*/ 80010 w 80010"/>
                          <a:gd name="connsiteY10" fmla="*/ 38598 h 64150"/>
                          <a:gd name="connsiteX11" fmla="*/ 78105 w 80010"/>
                          <a:gd name="connsiteY11" fmla="*/ 27168 h 64150"/>
                          <a:gd name="connsiteX12" fmla="*/ 60960 w 80010"/>
                          <a:gd name="connsiteY12" fmla="*/ 21453 h 64150"/>
                          <a:gd name="connsiteX13" fmla="*/ 53340 w 80010"/>
                          <a:gd name="connsiteY13" fmla="*/ 23358 h 64150"/>
                          <a:gd name="connsiteX14" fmla="*/ 57150 w 80010"/>
                          <a:gd name="connsiteY14" fmla="*/ 11928 h 64150"/>
                          <a:gd name="connsiteX15" fmla="*/ 59055 w 80010"/>
                          <a:gd name="connsiteY15" fmla="*/ 6213 h 64150"/>
                          <a:gd name="connsiteX16" fmla="*/ 34290 w 80010"/>
                          <a:gd name="connsiteY16" fmla="*/ 498 h 64150"/>
                          <a:gd name="connsiteX17" fmla="*/ 32385 w 80010"/>
                          <a:gd name="connsiteY17" fmla="*/ 8118 h 64150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179 h 56211"/>
                          <a:gd name="connsiteX1" fmla="*/ 32385 w 80010"/>
                          <a:gd name="connsiteY1" fmla="*/ 179 h 56211"/>
                          <a:gd name="connsiteX2" fmla="*/ 3810 w 80010"/>
                          <a:gd name="connsiteY2" fmla="*/ 2084 h 56211"/>
                          <a:gd name="connsiteX3" fmla="*/ 0 w 80010"/>
                          <a:gd name="connsiteY3" fmla="*/ 13514 h 56211"/>
                          <a:gd name="connsiteX4" fmla="*/ 7620 w 80010"/>
                          <a:gd name="connsiteY4" fmla="*/ 34469 h 56211"/>
                          <a:gd name="connsiteX5" fmla="*/ 13335 w 80010"/>
                          <a:gd name="connsiteY5" fmla="*/ 38279 h 56211"/>
                          <a:gd name="connsiteX6" fmla="*/ 19050 w 80010"/>
                          <a:gd name="connsiteY6" fmla="*/ 43994 h 56211"/>
                          <a:gd name="connsiteX7" fmla="*/ 68580 w 80010"/>
                          <a:gd name="connsiteY7" fmla="*/ 47804 h 56211"/>
                          <a:gd name="connsiteX8" fmla="*/ 72390 w 80010"/>
                          <a:gd name="connsiteY8" fmla="*/ 42089 h 56211"/>
                          <a:gd name="connsiteX9" fmla="*/ 78105 w 80010"/>
                          <a:gd name="connsiteY9" fmla="*/ 36374 h 56211"/>
                          <a:gd name="connsiteX10" fmla="*/ 80010 w 80010"/>
                          <a:gd name="connsiteY10" fmla="*/ 30659 h 56211"/>
                          <a:gd name="connsiteX11" fmla="*/ 78105 w 80010"/>
                          <a:gd name="connsiteY11" fmla="*/ 19229 h 56211"/>
                          <a:gd name="connsiteX12" fmla="*/ 60960 w 80010"/>
                          <a:gd name="connsiteY12" fmla="*/ 13514 h 56211"/>
                          <a:gd name="connsiteX13" fmla="*/ 53340 w 80010"/>
                          <a:gd name="connsiteY13" fmla="*/ 15419 h 56211"/>
                          <a:gd name="connsiteX14" fmla="*/ 57150 w 80010"/>
                          <a:gd name="connsiteY14" fmla="*/ 3989 h 56211"/>
                          <a:gd name="connsiteX15" fmla="*/ 32385 w 80010"/>
                          <a:gd name="connsiteY15" fmla="*/ 179 h 56211"/>
                          <a:gd name="connsiteX0" fmla="*/ 32385 w 80010"/>
                          <a:gd name="connsiteY0" fmla="*/ 179 h 56211"/>
                          <a:gd name="connsiteX1" fmla="*/ 32385 w 80010"/>
                          <a:gd name="connsiteY1" fmla="*/ 179 h 56211"/>
                          <a:gd name="connsiteX2" fmla="*/ 3810 w 80010"/>
                          <a:gd name="connsiteY2" fmla="*/ 2084 h 56211"/>
                          <a:gd name="connsiteX3" fmla="*/ 0 w 80010"/>
                          <a:gd name="connsiteY3" fmla="*/ 13514 h 56211"/>
                          <a:gd name="connsiteX4" fmla="*/ 7620 w 80010"/>
                          <a:gd name="connsiteY4" fmla="*/ 34469 h 56211"/>
                          <a:gd name="connsiteX5" fmla="*/ 13335 w 80010"/>
                          <a:gd name="connsiteY5" fmla="*/ 38279 h 56211"/>
                          <a:gd name="connsiteX6" fmla="*/ 19050 w 80010"/>
                          <a:gd name="connsiteY6" fmla="*/ 43994 h 56211"/>
                          <a:gd name="connsiteX7" fmla="*/ 68580 w 80010"/>
                          <a:gd name="connsiteY7" fmla="*/ 47804 h 56211"/>
                          <a:gd name="connsiteX8" fmla="*/ 72390 w 80010"/>
                          <a:gd name="connsiteY8" fmla="*/ 42089 h 56211"/>
                          <a:gd name="connsiteX9" fmla="*/ 78105 w 80010"/>
                          <a:gd name="connsiteY9" fmla="*/ 36374 h 56211"/>
                          <a:gd name="connsiteX10" fmla="*/ 80010 w 80010"/>
                          <a:gd name="connsiteY10" fmla="*/ 30659 h 56211"/>
                          <a:gd name="connsiteX11" fmla="*/ 78105 w 80010"/>
                          <a:gd name="connsiteY11" fmla="*/ 19229 h 56211"/>
                          <a:gd name="connsiteX12" fmla="*/ 60960 w 80010"/>
                          <a:gd name="connsiteY12" fmla="*/ 13514 h 56211"/>
                          <a:gd name="connsiteX13" fmla="*/ 53340 w 80010"/>
                          <a:gd name="connsiteY13" fmla="*/ 15419 h 56211"/>
                          <a:gd name="connsiteX14" fmla="*/ 40048 w 80010"/>
                          <a:gd name="connsiteY14" fmla="*/ 8639 h 56211"/>
                          <a:gd name="connsiteX15" fmla="*/ 32385 w 80010"/>
                          <a:gd name="connsiteY15" fmla="*/ 179 h 56211"/>
                          <a:gd name="connsiteX0" fmla="*/ 32385 w 80010"/>
                          <a:gd name="connsiteY0" fmla="*/ 179 h 52171"/>
                          <a:gd name="connsiteX1" fmla="*/ 32385 w 80010"/>
                          <a:gd name="connsiteY1" fmla="*/ 179 h 52171"/>
                          <a:gd name="connsiteX2" fmla="*/ 3810 w 80010"/>
                          <a:gd name="connsiteY2" fmla="*/ 2084 h 52171"/>
                          <a:gd name="connsiteX3" fmla="*/ 0 w 80010"/>
                          <a:gd name="connsiteY3" fmla="*/ 13514 h 52171"/>
                          <a:gd name="connsiteX4" fmla="*/ 7620 w 80010"/>
                          <a:gd name="connsiteY4" fmla="*/ 34469 h 52171"/>
                          <a:gd name="connsiteX5" fmla="*/ 13335 w 80010"/>
                          <a:gd name="connsiteY5" fmla="*/ 38279 h 52171"/>
                          <a:gd name="connsiteX6" fmla="*/ 19050 w 80010"/>
                          <a:gd name="connsiteY6" fmla="*/ 43994 h 52171"/>
                          <a:gd name="connsiteX7" fmla="*/ 68580 w 80010"/>
                          <a:gd name="connsiteY7" fmla="*/ 47804 h 52171"/>
                          <a:gd name="connsiteX8" fmla="*/ 72390 w 80010"/>
                          <a:gd name="connsiteY8" fmla="*/ 42089 h 52171"/>
                          <a:gd name="connsiteX9" fmla="*/ 78105 w 80010"/>
                          <a:gd name="connsiteY9" fmla="*/ 36374 h 52171"/>
                          <a:gd name="connsiteX10" fmla="*/ 80010 w 80010"/>
                          <a:gd name="connsiteY10" fmla="*/ 30659 h 52171"/>
                          <a:gd name="connsiteX11" fmla="*/ 78105 w 80010"/>
                          <a:gd name="connsiteY11" fmla="*/ 19229 h 52171"/>
                          <a:gd name="connsiteX12" fmla="*/ 60960 w 80010"/>
                          <a:gd name="connsiteY12" fmla="*/ 13514 h 52171"/>
                          <a:gd name="connsiteX13" fmla="*/ 53340 w 80010"/>
                          <a:gd name="connsiteY13" fmla="*/ 15419 h 52171"/>
                          <a:gd name="connsiteX14" fmla="*/ 40048 w 80010"/>
                          <a:gd name="connsiteY14" fmla="*/ 8639 h 52171"/>
                          <a:gd name="connsiteX15" fmla="*/ 32385 w 80010"/>
                          <a:gd name="connsiteY15" fmla="*/ 179 h 52171"/>
                          <a:gd name="connsiteX0" fmla="*/ 32385 w 80010"/>
                          <a:gd name="connsiteY0" fmla="*/ 179 h 52432"/>
                          <a:gd name="connsiteX1" fmla="*/ 32385 w 80010"/>
                          <a:gd name="connsiteY1" fmla="*/ 179 h 52432"/>
                          <a:gd name="connsiteX2" fmla="*/ 3810 w 80010"/>
                          <a:gd name="connsiteY2" fmla="*/ 2084 h 52432"/>
                          <a:gd name="connsiteX3" fmla="*/ 0 w 80010"/>
                          <a:gd name="connsiteY3" fmla="*/ 13514 h 52432"/>
                          <a:gd name="connsiteX4" fmla="*/ 7620 w 80010"/>
                          <a:gd name="connsiteY4" fmla="*/ 34469 h 52432"/>
                          <a:gd name="connsiteX5" fmla="*/ 13335 w 80010"/>
                          <a:gd name="connsiteY5" fmla="*/ 38279 h 52432"/>
                          <a:gd name="connsiteX6" fmla="*/ 19050 w 80010"/>
                          <a:gd name="connsiteY6" fmla="*/ 43994 h 52432"/>
                          <a:gd name="connsiteX7" fmla="*/ 68580 w 80010"/>
                          <a:gd name="connsiteY7" fmla="*/ 47804 h 52432"/>
                          <a:gd name="connsiteX8" fmla="*/ 72390 w 80010"/>
                          <a:gd name="connsiteY8" fmla="*/ 42089 h 52432"/>
                          <a:gd name="connsiteX9" fmla="*/ 78105 w 80010"/>
                          <a:gd name="connsiteY9" fmla="*/ 36374 h 52432"/>
                          <a:gd name="connsiteX10" fmla="*/ 80010 w 80010"/>
                          <a:gd name="connsiteY10" fmla="*/ 30659 h 52432"/>
                          <a:gd name="connsiteX11" fmla="*/ 78105 w 80010"/>
                          <a:gd name="connsiteY11" fmla="*/ 19229 h 52432"/>
                          <a:gd name="connsiteX12" fmla="*/ 60960 w 80010"/>
                          <a:gd name="connsiteY12" fmla="*/ 13514 h 52432"/>
                          <a:gd name="connsiteX13" fmla="*/ 53340 w 80010"/>
                          <a:gd name="connsiteY13" fmla="*/ 15419 h 52432"/>
                          <a:gd name="connsiteX14" fmla="*/ 40048 w 80010"/>
                          <a:gd name="connsiteY14" fmla="*/ 8639 h 52432"/>
                          <a:gd name="connsiteX15" fmla="*/ 32385 w 80010"/>
                          <a:gd name="connsiteY15" fmla="*/ 179 h 52432"/>
                          <a:gd name="connsiteX0" fmla="*/ 32385 w 80010"/>
                          <a:gd name="connsiteY0" fmla="*/ 179 h 55651"/>
                          <a:gd name="connsiteX1" fmla="*/ 32385 w 80010"/>
                          <a:gd name="connsiteY1" fmla="*/ 179 h 55651"/>
                          <a:gd name="connsiteX2" fmla="*/ 3810 w 80010"/>
                          <a:gd name="connsiteY2" fmla="*/ 2084 h 55651"/>
                          <a:gd name="connsiteX3" fmla="*/ 0 w 80010"/>
                          <a:gd name="connsiteY3" fmla="*/ 13514 h 55651"/>
                          <a:gd name="connsiteX4" fmla="*/ 7620 w 80010"/>
                          <a:gd name="connsiteY4" fmla="*/ 34469 h 55651"/>
                          <a:gd name="connsiteX5" fmla="*/ 13335 w 80010"/>
                          <a:gd name="connsiteY5" fmla="*/ 38279 h 55651"/>
                          <a:gd name="connsiteX6" fmla="*/ 19050 w 80010"/>
                          <a:gd name="connsiteY6" fmla="*/ 43994 h 55651"/>
                          <a:gd name="connsiteX7" fmla="*/ 48058 w 80010"/>
                          <a:gd name="connsiteY7" fmla="*/ 52454 h 55651"/>
                          <a:gd name="connsiteX8" fmla="*/ 72390 w 80010"/>
                          <a:gd name="connsiteY8" fmla="*/ 42089 h 55651"/>
                          <a:gd name="connsiteX9" fmla="*/ 78105 w 80010"/>
                          <a:gd name="connsiteY9" fmla="*/ 36374 h 55651"/>
                          <a:gd name="connsiteX10" fmla="*/ 80010 w 80010"/>
                          <a:gd name="connsiteY10" fmla="*/ 30659 h 55651"/>
                          <a:gd name="connsiteX11" fmla="*/ 78105 w 80010"/>
                          <a:gd name="connsiteY11" fmla="*/ 19229 h 55651"/>
                          <a:gd name="connsiteX12" fmla="*/ 60960 w 80010"/>
                          <a:gd name="connsiteY12" fmla="*/ 13514 h 55651"/>
                          <a:gd name="connsiteX13" fmla="*/ 53340 w 80010"/>
                          <a:gd name="connsiteY13" fmla="*/ 15419 h 55651"/>
                          <a:gd name="connsiteX14" fmla="*/ 40048 w 80010"/>
                          <a:gd name="connsiteY14" fmla="*/ 8639 h 55651"/>
                          <a:gd name="connsiteX15" fmla="*/ 32385 w 80010"/>
                          <a:gd name="connsiteY15" fmla="*/ 179 h 55651"/>
                          <a:gd name="connsiteX0" fmla="*/ 32385 w 80010"/>
                          <a:gd name="connsiteY0" fmla="*/ 179 h 53227"/>
                          <a:gd name="connsiteX1" fmla="*/ 32385 w 80010"/>
                          <a:gd name="connsiteY1" fmla="*/ 179 h 53227"/>
                          <a:gd name="connsiteX2" fmla="*/ 3810 w 80010"/>
                          <a:gd name="connsiteY2" fmla="*/ 2084 h 53227"/>
                          <a:gd name="connsiteX3" fmla="*/ 0 w 80010"/>
                          <a:gd name="connsiteY3" fmla="*/ 13514 h 53227"/>
                          <a:gd name="connsiteX4" fmla="*/ 7620 w 80010"/>
                          <a:gd name="connsiteY4" fmla="*/ 34469 h 53227"/>
                          <a:gd name="connsiteX5" fmla="*/ 13335 w 80010"/>
                          <a:gd name="connsiteY5" fmla="*/ 38279 h 53227"/>
                          <a:gd name="connsiteX6" fmla="*/ 19050 w 80010"/>
                          <a:gd name="connsiteY6" fmla="*/ 43994 h 53227"/>
                          <a:gd name="connsiteX7" fmla="*/ 48058 w 80010"/>
                          <a:gd name="connsiteY7" fmla="*/ 52454 h 53227"/>
                          <a:gd name="connsiteX8" fmla="*/ 72390 w 80010"/>
                          <a:gd name="connsiteY8" fmla="*/ 42089 h 53227"/>
                          <a:gd name="connsiteX9" fmla="*/ 78105 w 80010"/>
                          <a:gd name="connsiteY9" fmla="*/ 36374 h 53227"/>
                          <a:gd name="connsiteX10" fmla="*/ 80010 w 80010"/>
                          <a:gd name="connsiteY10" fmla="*/ 30659 h 53227"/>
                          <a:gd name="connsiteX11" fmla="*/ 78105 w 80010"/>
                          <a:gd name="connsiteY11" fmla="*/ 19229 h 53227"/>
                          <a:gd name="connsiteX12" fmla="*/ 60960 w 80010"/>
                          <a:gd name="connsiteY12" fmla="*/ 13514 h 53227"/>
                          <a:gd name="connsiteX13" fmla="*/ 53340 w 80010"/>
                          <a:gd name="connsiteY13" fmla="*/ 15419 h 53227"/>
                          <a:gd name="connsiteX14" fmla="*/ 40048 w 80010"/>
                          <a:gd name="connsiteY14" fmla="*/ 8639 h 53227"/>
                          <a:gd name="connsiteX15" fmla="*/ 32385 w 80010"/>
                          <a:gd name="connsiteY15" fmla="*/ 179 h 5322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80010" h="53227">
                            <a:moveTo>
                              <a:pt x="32385" y="179"/>
                            </a:moveTo>
                            <a:lnTo>
                              <a:pt x="32385" y="179"/>
                            </a:lnTo>
                            <a:cubicBezTo>
                              <a:pt x="22860" y="814"/>
                              <a:pt x="12637" y="-1551"/>
                              <a:pt x="3810" y="2084"/>
                            </a:cubicBezTo>
                            <a:cubicBezTo>
                              <a:pt x="96" y="3613"/>
                              <a:pt x="0" y="13514"/>
                              <a:pt x="0" y="13514"/>
                            </a:cubicBezTo>
                            <a:cubicBezTo>
                              <a:pt x="1410" y="20563"/>
                              <a:pt x="2165" y="29014"/>
                              <a:pt x="7620" y="34469"/>
                            </a:cubicBezTo>
                            <a:cubicBezTo>
                              <a:pt x="9239" y="36088"/>
                              <a:pt x="11576" y="36813"/>
                              <a:pt x="13335" y="38279"/>
                            </a:cubicBezTo>
                            <a:cubicBezTo>
                              <a:pt x="15405" y="40004"/>
                              <a:pt x="17145" y="42089"/>
                              <a:pt x="19050" y="43994"/>
                            </a:cubicBezTo>
                            <a:cubicBezTo>
                              <a:pt x="36453" y="53990"/>
                              <a:pt x="29632" y="54059"/>
                              <a:pt x="48058" y="52454"/>
                            </a:cubicBezTo>
                            <a:cubicBezTo>
                              <a:pt x="50339" y="52255"/>
                              <a:pt x="67382" y="44769"/>
                              <a:pt x="72390" y="42089"/>
                            </a:cubicBezTo>
                            <a:cubicBezTo>
                              <a:pt x="77398" y="39409"/>
                              <a:pt x="76200" y="38279"/>
                              <a:pt x="78105" y="36374"/>
                            </a:cubicBezTo>
                            <a:cubicBezTo>
                              <a:pt x="78740" y="34469"/>
                              <a:pt x="80010" y="32667"/>
                              <a:pt x="80010" y="30659"/>
                            </a:cubicBezTo>
                            <a:cubicBezTo>
                              <a:pt x="80010" y="26796"/>
                              <a:pt x="79832" y="22684"/>
                              <a:pt x="78105" y="19229"/>
                            </a:cubicBezTo>
                            <a:cubicBezTo>
                              <a:pt x="75670" y="14359"/>
                              <a:pt x="63693" y="13970"/>
                              <a:pt x="60960" y="13514"/>
                            </a:cubicBezTo>
                            <a:cubicBezTo>
                              <a:pt x="58420" y="14149"/>
                              <a:pt x="56825" y="16231"/>
                              <a:pt x="53340" y="15419"/>
                            </a:cubicBezTo>
                            <a:cubicBezTo>
                              <a:pt x="49855" y="14607"/>
                              <a:pt x="39095" y="11497"/>
                              <a:pt x="40048" y="8639"/>
                            </a:cubicBezTo>
                            <a:lnTo>
                              <a:pt x="32385" y="179"/>
                            </a:lnTo>
                            <a:close/>
                          </a:path>
                        </a:pathLst>
                      </a:custGeom>
                      <a:grpFill/>
                      <a:ln w="3175" cap="flat" cmpd="sng" algn="ctr">
                        <a:solidFill>
                          <a:srgbClr val="F2E8F8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31" name="Freeform: Shape 16">
                        <a:extLst>
                          <a:ext uri="{FF2B5EF4-FFF2-40B4-BE49-F238E27FC236}">
                            <a16:creationId xmlns:a16="http://schemas.microsoft.com/office/drawing/2014/main" id="{4B4FC4BB-B9EB-6A11-90E1-CDC60A29C1C9}"/>
                          </a:ext>
                        </a:extLst>
                      </p:cNvPr>
                      <p:cNvSpPr/>
                      <p:nvPr/>
                    </p:nvSpPr>
                    <p:spPr>
                      <a:xfrm rot="6799576">
                        <a:off x="8855933" y="4253069"/>
                        <a:ext cx="27432" cy="27432"/>
                      </a:xfrm>
                      <a:custGeom>
                        <a:avLst/>
                        <a:gdLst>
                          <a:gd name="connsiteX0" fmla="*/ 32385 w 80010"/>
                          <a:gd name="connsiteY0" fmla="*/ 8118 h 64150"/>
                          <a:gd name="connsiteX1" fmla="*/ 32385 w 80010"/>
                          <a:gd name="connsiteY1" fmla="*/ 8118 h 64150"/>
                          <a:gd name="connsiteX2" fmla="*/ 3810 w 80010"/>
                          <a:gd name="connsiteY2" fmla="*/ 10023 h 64150"/>
                          <a:gd name="connsiteX3" fmla="*/ 0 w 80010"/>
                          <a:gd name="connsiteY3" fmla="*/ 21453 h 64150"/>
                          <a:gd name="connsiteX4" fmla="*/ 7620 w 80010"/>
                          <a:gd name="connsiteY4" fmla="*/ 42408 h 64150"/>
                          <a:gd name="connsiteX5" fmla="*/ 13335 w 80010"/>
                          <a:gd name="connsiteY5" fmla="*/ 46218 h 64150"/>
                          <a:gd name="connsiteX6" fmla="*/ 19050 w 80010"/>
                          <a:gd name="connsiteY6" fmla="*/ 51933 h 64150"/>
                          <a:gd name="connsiteX7" fmla="*/ 68580 w 80010"/>
                          <a:gd name="connsiteY7" fmla="*/ 55743 h 64150"/>
                          <a:gd name="connsiteX8" fmla="*/ 72390 w 80010"/>
                          <a:gd name="connsiteY8" fmla="*/ 50028 h 64150"/>
                          <a:gd name="connsiteX9" fmla="*/ 78105 w 80010"/>
                          <a:gd name="connsiteY9" fmla="*/ 44313 h 64150"/>
                          <a:gd name="connsiteX10" fmla="*/ 80010 w 80010"/>
                          <a:gd name="connsiteY10" fmla="*/ 38598 h 64150"/>
                          <a:gd name="connsiteX11" fmla="*/ 78105 w 80010"/>
                          <a:gd name="connsiteY11" fmla="*/ 27168 h 64150"/>
                          <a:gd name="connsiteX12" fmla="*/ 60960 w 80010"/>
                          <a:gd name="connsiteY12" fmla="*/ 21453 h 64150"/>
                          <a:gd name="connsiteX13" fmla="*/ 53340 w 80010"/>
                          <a:gd name="connsiteY13" fmla="*/ 23358 h 64150"/>
                          <a:gd name="connsiteX14" fmla="*/ 57150 w 80010"/>
                          <a:gd name="connsiteY14" fmla="*/ 11928 h 64150"/>
                          <a:gd name="connsiteX15" fmla="*/ 59055 w 80010"/>
                          <a:gd name="connsiteY15" fmla="*/ 6213 h 64150"/>
                          <a:gd name="connsiteX16" fmla="*/ 34290 w 80010"/>
                          <a:gd name="connsiteY16" fmla="*/ 498 h 64150"/>
                          <a:gd name="connsiteX17" fmla="*/ 32385 w 80010"/>
                          <a:gd name="connsiteY17" fmla="*/ 8118 h 64150"/>
                          <a:gd name="connsiteX0" fmla="*/ 32385 w 80010"/>
                          <a:gd name="connsiteY0" fmla="*/ 8118 h 64150"/>
                          <a:gd name="connsiteX1" fmla="*/ 32385 w 80010"/>
                          <a:gd name="connsiteY1" fmla="*/ 8118 h 64150"/>
                          <a:gd name="connsiteX2" fmla="*/ 3810 w 80010"/>
                          <a:gd name="connsiteY2" fmla="*/ 10023 h 64150"/>
                          <a:gd name="connsiteX3" fmla="*/ 0 w 80010"/>
                          <a:gd name="connsiteY3" fmla="*/ 21453 h 64150"/>
                          <a:gd name="connsiteX4" fmla="*/ 7620 w 80010"/>
                          <a:gd name="connsiteY4" fmla="*/ 42408 h 64150"/>
                          <a:gd name="connsiteX5" fmla="*/ 13335 w 80010"/>
                          <a:gd name="connsiteY5" fmla="*/ 46218 h 64150"/>
                          <a:gd name="connsiteX6" fmla="*/ 19050 w 80010"/>
                          <a:gd name="connsiteY6" fmla="*/ 51933 h 64150"/>
                          <a:gd name="connsiteX7" fmla="*/ 68580 w 80010"/>
                          <a:gd name="connsiteY7" fmla="*/ 55743 h 64150"/>
                          <a:gd name="connsiteX8" fmla="*/ 72390 w 80010"/>
                          <a:gd name="connsiteY8" fmla="*/ 50028 h 64150"/>
                          <a:gd name="connsiteX9" fmla="*/ 78105 w 80010"/>
                          <a:gd name="connsiteY9" fmla="*/ 44313 h 64150"/>
                          <a:gd name="connsiteX10" fmla="*/ 80010 w 80010"/>
                          <a:gd name="connsiteY10" fmla="*/ 38598 h 64150"/>
                          <a:gd name="connsiteX11" fmla="*/ 78105 w 80010"/>
                          <a:gd name="connsiteY11" fmla="*/ 27168 h 64150"/>
                          <a:gd name="connsiteX12" fmla="*/ 60960 w 80010"/>
                          <a:gd name="connsiteY12" fmla="*/ 21453 h 64150"/>
                          <a:gd name="connsiteX13" fmla="*/ 53340 w 80010"/>
                          <a:gd name="connsiteY13" fmla="*/ 23358 h 64150"/>
                          <a:gd name="connsiteX14" fmla="*/ 57150 w 80010"/>
                          <a:gd name="connsiteY14" fmla="*/ 11928 h 64150"/>
                          <a:gd name="connsiteX15" fmla="*/ 59055 w 80010"/>
                          <a:gd name="connsiteY15" fmla="*/ 6213 h 64150"/>
                          <a:gd name="connsiteX16" fmla="*/ 34290 w 80010"/>
                          <a:gd name="connsiteY16" fmla="*/ 498 h 64150"/>
                          <a:gd name="connsiteX17" fmla="*/ 32385 w 80010"/>
                          <a:gd name="connsiteY17" fmla="*/ 8118 h 64150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179 h 56211"/>
                          <a:gd name="connsiteX1" fmla="*/ 32385 w 80010"/>
                          <a:gd name="connsiteY1" fmla="*/ 179 h 56211"/>
                          <a:gd name="connsiteX2" fmla="*/ 3810 w 80010"/>
                          <a:gd name="connsiteY2" fmla="*/ 2084 h 56211"/>
                          <a:gd name="connsiteX3" fmla="*/ 0 w 80010"/>
                          <a:gd name="connsiteY3" fmla="*/ 13514 h 56211"/>
                          <a:gd name="connsiteX4" fmla="*/ 7620 w 80010"/>
                          <a:gd name="connsiteY4" fmla="*/ 34469 h 56211"/>
                          <a:gd name="connsiteX5" fmla="*/ 13335 w 80010"/>
                          <a:gd name="connsiteY5" fmla="*/ 38279 h 56211"/>
                          <a:gd name="connsiteX6" fmla="*/ 19050 w 80010"/>
                          <a:gd name="connsiteY6" fmla="*/ 43994 h 56211"/>
                          <a:gd name="connsiteX7" fmla="*/ 68580 w 80010"/>
                          <a:gd name="connsiteY7" fmla="*/ 47804 h 56211"/>
                          <a:gd name="connsiteX8" fmla="*/ 72390 w 80010"/>
                          <a:gd name="connsiteY8" fmla="*/ 42089 h 56211"/>
                          <a:gd name="connsiteX9" fmla="*/ 78105 w 80010"/>
                          <a:gd name="connsiteY9" fmla="*/ 36374 h 56211"/>
                          <a:gd name="connsiteX10" fmla="*/ 80010 w 80010"/>
                          <a:gd name="connsiteY10" fmla="*/ 30659 h 56211"/>
                          <a:gd name="connsiteX11" fmla="*/ 78105 w 80010"/>
                          <a:gd name="connsiteY11" fmla="*/ 19229 h 56211"/>
                          <a:gd name="connsiteX12" fmla="*/ 60960 w 80010"/>
                          <a:gd name="connsiteY12" fmla="*/ 13514 h 56211"/>
                          <a:gd name="connsiteX13" fmla="*/ 53340 w 80010"/>
                          <a:gd name="connsiteY13" fmla="*/ 15419 h 56211"/>
                          <a:gd name="connsiteX14" fmla="*/ 57150 w 80010"/>
                          <a:gd name="connsiteY14" fmla="*/ 3989 h 56211"/>
                          <a:gd name="connsiteX15" fmla="*/ 32385 w 80010"/>
                          <a:gd name="connsiteY15" fmla="*/ 179 h 56211"/>
                          <a:gd name="connsiteX0" fmla="*/ 32385 w 80010"/>
                          <a:gd name="connsiteY0" fmla="*/ 179 h 56211"/>
                          <a:gd name="connsiteX1" fmla="*/ 32385 w 80010"/>
                          <a:gd name="connsiteY1" fmla="*/ 179 h 56211"/>
                          <a:gd name="connsiteX2" fmla="*/ 3810 w 80010"/>
                          <a:gd name="connsiteY2" fmla="*/ 2084 h 56211"/>
                          <a:gd name="connsiteX3" fmla="*/ 0 w 80010"/>
                          <a:gd name="connsiteY3" fmla="*/ 13514 h 56211"/>
                          <a:gd name="connsiteX4" fmla="*/ 7620 w 80010"/>
                          <a:gd name="connsiteY4" fmla="*/ 34469 h 56211"/>
                          <a:gd name="connsiteX5" fmla="*/ 13335 w 80010"/>
                          <a:gd name="connsiteY5" fmla="*/ 38279 h 56211"/>
                          <a:gd name="connsiteX6" fmla="*/ 19050 w 80010"/>
                          <a:gd name="connsiteY6" fmla="*/ 43994 h 56211"/>
                          <a:gd name="connsiteX7" fmla="*/ 68580 w 80010"/>
                          <a:gd name="connsiteY7" fmla="*/ 47804 h 56211"/>
                          <a:gd name="connsiteX8" fmla="*/ 72390 w 80010"/>
                          <a:gd name="connsiteY8" fmla="*/ 42089 h 56211"/>
                          <a:gd name="connsiteX9" fmla="*/ 78105 w 80010"/>
                          <a:gd name="connsiteY9" fmla="*/ 36374 h 56211"/>
                          <a:gd name="connsiteX10" fmla="*/ 80010 w 80010"/>
                          <a:gd name="connsiteY10" fmla="*/ 30659 h 56211"/>
                          <a:gd name="connsiteX11" fmla="*/ 78105 w 80010"/>
                          <a:gd name="connsiteY11" fmla="*/ 19229 h 56211"/>
                          <a:gd name="connsiteX12" fmla="*/ 60960 w 80010"/>
                          <a:gd name="connsiteY12" fmla="*/ 13514 h 56211"/>
                          <a:gd name="connsiteX13" fmla="*/ 53340 w 80010"/>
                          <a:gd name="connsiteY13" fmla="*/ 15419 h 56211"/>
                          <a:gd name="connsiteX14" fmla="*/ 40048 w 80010"/>
                          <a:gd name="connsiteY14" fmla="*/ 8639 h 56211"/>
                          <a:gd name="connsiteX15" fmla="*/ 32385 w 80010"/>
                          <a:gd name="connsiteY15" fmla="*/ 179 h 56211"/>
                          <a:gd name="connsiteX0" fmla="*/ 32385 w 80010"/>
                          <a:gd name="connsiteY0" fmla="*/ 179 h 52171"/>
                          <a:gd name="connsiteX1" fmla="*/ 32385 w 80010"/>
                          <a:gd name="connsiteY1" fmla="*/ 179 h 52171"/>
                          <a:gd name="connsiteX2" fmla="*/ 3810 w 80010"/>
                          <a:gd name="connsiteY2" fmla="*/ 2084 h 52171"/>
                          <a:gd name="connsiteX3" fmla="*/ 0 w 80010"/>
                          <a:gd name="connsiteY3" fmla="*/ 13514 h 52171"/>
                          <a:gd name="connsiteX4" fmla="*/ 7620 w 80010"/>
                          <a:gd name="connsiteY4" fmla="*/ 34469 h 52171"/>
                          <a:gd name="connsiteX5" fmla="*/ 13335 w 80010"/>
                          <a:gd name="connsiteY5" fmla="*/ 38279 h 52171"/>
                          <a:gd name="connsiteX6" fmla="*/ 19050 w 80010"/>
                          <a:gd name="connsiteY6" fmla="*/ 43994 h 52171"/>
                          <a:gd name="connsiteX7" fmla="*/ 68580 w 80010"/>
                          <a:gd name="connsiteY7" fmla="*/ 47804 h 52171"/>
                          <a:gd name="connsiteX8" fmla="*/ 72390 w 80010"/>
                          <a:gd name="connsiteY8" fmla="*/ 42089 h 52171"/>
                          <a:gd name="connsiteX9" fmla="*/ 78105 w 80010"/>
                          <a:gd name="connsiteY9" fmla="*/ 36374 h 52171"/>
                          <a:gd name="connsiteX10" fmla="*/ 80010 w 80010"/>
                          <a:gd name="connsiteY10" fmla="*/ 30659 h 52171"/>
                          <a:gd name="connsiteX11" fmla="*/ 78105 w 80010"/>
                          <a:gd name="connsiteY11" fmla="*/ 19229 h 52171"/>
                          <a:gd name="connsiteX12" fmla="*/ 60960 w 80010"/>
                          <a:gd name="connsiteY12" fmla="*/ 13514 h 52171"/>
                          <a:gd name="connsiteX13" fmla="*/ 53340 w 80010"/>
                          <a:gd name="connsiteY13" fmla="*/ 15419 h 52171"/>
                          <a:gd name="connsiteX14" fmla="*/ 40048 w 80010"/>
                          <a:gd name="connsiteY14" fmla="*/ 8639 h 52171"/>
                          <a:gd name="connsiteX15" fmla="*/ 32385 w 80010"/>
                          <a:gd name="connsiteY15" fmla="*/ 179 h 52171"/>
                          <a:gd name="connsiteX0" fmla="*/ 32385 w 80010"/>
                          <a:gd name="connsiteY0" fmla="*/ 179 h 52432"/>
                          <a:gd name="connsiteX1" fmla="*/ 32385 w 80010"/>
                          <a:gd name="connsiteY1" fmla="*/ 179 h 52432"/>
                          <a:gd name="connsiteX2" fmla="*/ 3810 w 80010"/>
                          <a:gd name="connsiteY2" fmla="*/ 2084 h 52432"/>
                          <a:gd name="connsiteX3" fmla="*/ 0 w 80010"/>
                          <a:gd name="connsiteY3" fmla="*/ 13514 h 52432"/>
                          <a:gd name="connsiteX4" fmla="*/ 7620 w 80010"/>
                          <a:gd name="connsiteY4" fmla="*/ 34469 h 52432"/>
                          <a:gd name="connsiteX5" fmla="*/ 13335 w 80010"/>
                          <a:gd name="connsiteY5" fmla="*/ 38279 h 52432"/>
                          <a:gd name="connsiteX6" fmla="*/ 19050 w 80010"/>
                          <a:gd name="connsiteY6" fmla="*/ 43994 h 52432"/>
                          <a:gd name="connsiteX7" fmla="*/ 68580 w 80010"/>
                          <a:gd name="connsiteY7" fmla="*/ 47804 h 52432"/>
                          <a:gd name="connsiteX8" fmla="*/ 72390 w 80010"/>
                          <a:gd name="connsiteY8" fmla="*/ 42089 h 52432"/>
                          <a:gd name="connsiteX9" fmla="*/ 78105 w 80010"/>
                          <a:gd name="connsiteY9" fmla="*/ 36374 h 52432"/>
                          <a:gd name="connsiteX10" fmla="*/ 80010 w 80010"/>
                          <a:gd name="connsiteY10" fmla="*/ 30659 h 52432"/>
                          <a:gd name="connsiteX11" fmla="*/ 78105 w 80010"/>
                          <a:gd name="connsiteY11" fmla="*/ 19229 h 52432"/>
                          <a:gd name="connsiteX12" fmla="*/ 60960 w 80010"/>
                          <a:gd name="connsiteY12" fmla="*/ 13514 h 52432"/>
                          <a:gd name="connsiteX13" fmla="*/ 53340 w 80010"/>
                          <a:gd name="connsiteY13" fmla="*/ 15419 h 52432"/>
                          <a:gd name="connsiteX14" fmla="*/ 40048 w 80010"/>
                          <a:gd name="connsiteY14" fmla="*/ 8639 h 52432"/>
                          <a:gd name="connsiteX15" fmla="*/ 32385 w 80010"/>
                          <a:gd name="connsiteY15" fmla="*/ 179 h 52432"/>
                          <a:gd name="connsiteX0" fmla="*/ 32385 w 80010"/>
                          <a:gd name="connsiteY0" fmla="*/ 179 h 55651"/>
                          <a:gd name="connsiteX1" fmla="*/ 32385 w 80010"/>
                          <a:gd name="connsiteY1" fmla="*/ 179 h 55651"/>
                          <a:gd name="connsiteX2" fmla="*/ 3810 w 80010"/>
                          <a:gd name="connsiteY2" fmla="*/ 2084 h 55651"/>
                          <a:gd name="connsiteX3" fmla="*/ 0 w 80010"/>
                          <a:gd name="connsiteY3" fmla="*/ 13514 h 55651"/>
                          <a:gd name="connsiteX4" fmla="*/ 7620 w 80010"/>
                          <a:gd name="connsiteY4" fmla="*/ 34469 h 55651"/>
                          <a:gd name="connsiteX5" fmla="*/ 13335 w 80010"/>
                          <a:gd name="connsiteY5" fmla="*/ 38279 h 55651"/>
                          <a:gd name="connsiteX6" fmla="*/ 19050 w 80010"/>
                          <a:gd name="connsiteY6" fmla="*/ 43994 h 55651"/>
                          <a:gd name="connsiteX7" fmla="*/ 48058 w 80010"/>
                          <a:gd name="connsiteY7" fmla="*/ 52454 h 55651"/>
                          <a:gd name="connsiteX8" fmla="*/ 72390 w 80010"/>
                          <a:gd name="connsiteY8" fmla="*/ 42089 h 55651"/>
                          <a:gd name="connsiteX9" fmla="*/ 78105 w 80010"/>
                          <a:gd name="connsiteY9" fmla="*/ 36374 h 55651"/>
                          <a:gd name="connsiteX10" fmla="*/ 80010 w 80010"/>
                          <a:gd name="connsiteY10" fmla="*/ 30659 h 55651"/>
                          <a:gd name="connsiteX11" fmla="*/ 78105 w 80010"/>
                          <a:gd name="connsiteY11" fmla="*/ 19229 h 55651"/>
                          <a:gd name="connsiteX12" fmla="*/ 60960 w 80010"/>
                          <a:gd name="connsiteY12" fmla="*/ 13514 h 55651"/>
                          <a:gd name="connsiteX13" fmla="*/ 53340 w 80010"/>
                          <a:gd name="connsiteY13" fmla="*/ 15419 h 55651"/>
                          <a:gd name="connsiteX14" fmla="*/ 40048 w 80010"/>
                          <a:gd name="connsiteY14" fmla="*/ 8639 h 55651"/>
                          <a:gd name="connsiteX15" fmla="*/ 32385 w 80010"/>
                          <a:gd name="connsiteY15" fmla="*/ 179 h 55651"/>
                          <a:gd name="connsiteX0" fmla="*/ 32385 w 80010"/>
                          <a:gd name="connsiteY0" fmla="*/ 179 h 53227"/>
                          <a:gd name="connsiteX1" fmla="*/ 32385 w 80010"/>
                          <a:gd name="connsiteY1" fmla="*/ 179 h 53227"/>
                          <a:gd name="connsiteX2" fmla="*/ 3810 w 80010"/>
                          <a:gd name="connsiteY2" fmla="*/ 2084 h 53227"/>
                          <a:gd name="connsiteX3" fmla="*/ 0 w 80010"/>
                          <a:gd name="connsiteY3" fmla="*/ 13514 h 53227"/>
                          <a:gd name="connsiteX4" fmla="*/ 7620 w 80010"/>
                          <a:gd name="connsiteY4" fmla="*/ 34469 h 53227"/>
                          <a:gd name="connsiteX5" fmla="*/ 13335 w 80010"/>
                          <a:gd name="connsiteY5" fmla="*/ 38279 h 53227"/>
                          <a:gd name="connsiteX6" fmla="*/ 19050 w 80010"/>
                          <a:gd name="connsiteY6" fmla="*/ 43994 h 53227"/>
                          <a:gd name="connsiteX7" fmla="*/ 48058 w 80010"/>
                          <a:gd name="connsiteY7" fmla="*/ 52454 h 53227"/>
                          <a:gd name="connsiteX8" fmla="*/ 72390 w 80010"/>
                          <a:gd name="connsiteY8" fmla="*/ 42089 h 53227"/>
                          <a:gd name="connsiteX9" fmla="*/ 78105 w 80010"/>
                          <a:gd name="connsiteY9" fmla="*/ 36374 h 53227"/>
                          <a:gd name="connsiteX10" fmla="*/ 80010 w 80010"/>
                          <a:gd name="connsiteY10" fmla="*/ 30659 h 53227"/>
                          <a:gd name="connsiteX11" fmla="*/ 78105 w 80010"/>
                          <a:gd name="connsiteY11" fmla="*/ 19229 h 53227"/>
                          <a:gd name="connsiteX12" fmla="*/ 60960 w 80010"/>
                          <a:gd name="connsiteY12" fmla="*/ 13514 h 53227"/>
                          <a:gd name="connsiteX13" fmla="*/ 53340 w 80010"/>
                          <a:gd name="connsiteY13" fmla="*/ 15419 h 53227"/>
                          <a:gd name="connsiteX14" fmla="*/ 40048 w 80010"/>
                          <a:gd name="connsiteY14" fmla="*/ 8639 h 53227"/>
                          <a:gd name="connsiteX15" fmla="*/ 32385 w 80010"/>
                          <a:gd name="connsiteY15" fmla="*/ 179 h 5322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80010" h="53227">
                            <a:moveTo>
                              <a:pt x="32385" y="179"/>
                            </a:moveTo>
                            <a:lnTo>
                              <a:pt x="32385" y="179"/>
                            </a:lnTo>
                            <a:cubicBezTo>
                              <a:pt x="22860" y="814"/>
                              <a:pt x="12637" y="-1551"/>
                              <a:pt x="3810" y="2084"/>
                            </a:cubicBezTo>
                            <a:cubicBezTo>
                              <a:pt x="96" y="3613"/>
                              <a:pt x="0" y="13514"/>
                              <a:pt x="0" y="13514"/>
                            </a:cubicBezTo>
                            <a:cubicBezTo>
                              <a:pt x="1410" y="20563"/>
                              <a:pt x="2165" y="29014"/>
                              <a:pt x="7620" y="34469"/>
                            </a:cubicBezTo>
                            <a:cubicBezTo>
                              <a:pt x="9239" y="36088"/>
                              <a:pt x="11576" y="36813"/>
                              <a:pt x="13335" y="38279"/>
                            </a:cubicBezTo>
                            <a:cubicBezTo>
                              <a:pt x="15405" y="40004"/>
                              <a:pt x="17145" y="42089"/>
                              <a:pt x="19050" y="43994"/>
                            </a:cubicBezTo>
                            <a:cubicBezTo>
                              <a:pt x="36453" y="53990"/>
                              <a:pt x="29632" y="54059"/>
                              <a:pt x="48058" y="52454"/>
                            </a:cubicBezTo>
                            <a:cubicBezTo>
                              <a:pt x="50339" y="52255"/>
                              <a:pt x="67382" y="44769"/>
                              <a:pt x="72390" y="42089"/>
                            </a:cubicBezTo>
                            <a:cubicBezTo>
                              <a:pt x="77398" y="39409"/>
                              <a:pt x="76200" y="38279"/>
                              <a:pt x="78105" y="36374"/>
                            </a:cubicBezTo>
                            <a:cubicBezTo>
                              <a:pt x="78740" y="34469"/>
                              <a:pt x="80010" y="32667"/>
                              <a:pt x="80010" y="30659"/>
                            </a:cubicBezTo>
                            <a:cubicBezTo>
                              <a:pt x="80010" y="26796"/>
                              <a:pt x="79832" y="22684"/>
                              <a:pt x="78105" y="19229"/>
                            </a:cubicBezTo>
                            <a:cubicBezTo>
                              <a:pt x="75670" y="14359"/>
                              <a:pt x="63693" y="13970"/>
                              <a:pt x="60960" y="13514"/>
                            </a:cubicBezTo>
                            <a:cubicBezTo>
                              <a:pt x="58420" y="14149"/>
                              <a:pt x="56825" y="16231"/>
                              <a:pt x="53340" y="15419"/>
                            </a:cubicBezTo>
                            <a:cubicBezTo>
                              <a:pt x="49855" y="14607"/>
                              <a:pt x="39095" y="11497"/>
                              <a:pt x="40048" y="8639"/>
                            </a:cubicBezTo>
                            <a:lnTo>
                              <a:pt x="32385" y="179"/>
                            </a:lnTo>
                            <a:close/>
                          </a:path>
                        </a:pathLst>
                      </a:custGeom>
                      <a:grpFill/>
                      <a:ln w="3175" cap="flat" cmpd="sng" algn="ctr">
                        <a:solidFill>
                          <a:srgbClr val="F2E8F8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32" name="Freeform: Shape 17">
                        <a:extLst>
                          <a:ext uri="{FF2B5EF4-FFF2-40B4-BE49-F238E27FC236}">
                            <a16:creationId xmlns:a16="http://schemas.microsoft.com/office/drawing/2014/main" id="{E18C9216-5BB0-8688-7AC8-DAE47171D58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950061" y="4188172"/>
                        <a:ext cx="27432" cy="27432"/>
                      </a:xfrm>
                      <a:custGeom>
                        <a:avLst/>
                        <a:gdLst>
                          <a:gd name="connsiteX0" fmla="*/ 32385 w 80010"/>
                          <a:gd name="connsiteY0" fmla="*/ 8118 h 64150"/>
                          <a:gd name="connsiteX1" fmla="*/ 32385 w 80010"/>
                          <a:gd name="connsiteY1" fmla="*/ 8118 h 64150"/>
                          <a:gd name="connsiteX2" fmla="*/ 3810 w 80010"/>
                          <a:gd name="connsiteY2" fmla="*/ 10023 h 64150"/>
                          <a:gd name="connsiteX3" fmla="*/ 0 w 80010"/>
                          <a:gd name="connsiteY3" fmla="*/ 21453 h 64150"/>
                          <a:gd name="connsiteX4" fmla="*/ 7620 w 80010"/>
                          <a:gd name="connsiteY4" fmla="*/ 42408 h 64150"/>
                          <a:gd name="connsiteX5" fmla="*/ 13335 w 80010"/>
                          <a:gd name="connsiteY5" fmla="*/ 46218 h 64150"/>
                          <a:gd name="connsiteX6" fmla="*/ 19050 w 80010"/>
                          <a:gd name="connsiteY6" fmla="*/ 51933 h 64150"/>
                          <a:gd name="connsiteX7" fmla="*/ 68580 w 80010"/>
                          <a:gd name="connsiteY7" fmla="*/ 55743 h 64150"/>
                          <a:gd name="connsiteX8" fmla="*/ 72390 w 80010"/>
                          <a:gd name="connsiteY8" fmla="*/ 50028 h 64150"/>
                          <a:gd name="connsiteX9" fmla="*/ 78105 w 80010"/>
                          <a:gd name="connsiteY9" fmla="*/ 44313 h 64150"/>
                          <a:gd name="connsiteX10" fmla="*/ 80010 w 80010"/>
                          <a:gd name="connsiteY10" fmla="*/ 38598 h 64150"/>
                          <a:gd name="connsiteX11" fmla="*/ 78105 w 80010"/>
                          <a:gd name="connsiteY11" fmla="*/ 27168 h 64150"/>
                          <a:gd name="connsiteX12" fmla="*/ 60960 w 80010"/>
                          <a:gd name="connsiteY12" fmla="*/ 21453 h 64150"/>
                          <a:gd name="connsiteX13" fmla="*/ 53340 w 80010"/>
                          <a:gd name="connsiteY13" fmla="*/ 23358 h 64150"/>
                          <a:gd name="connsiteX14" fmla="*/ 57150 w 80010"/>
                          <a:gd name="connsiteY14" fmla="*/ 11928 h 64150"/>
                          <a:gd name="connsiteX15" fmla="*/ 59055 w 80010"/>
                          <a:gd name="connsiteY15" fmla="*/ 6213 h 64150"/>
                          <a:gd name="connsiteX16" fmla="*/ 34290 w 80010"/>
                          <a:gd name="connsiteY16" fmla="*/ 498 h 64150"/>
                          <a:gd name="connsiteX17" fmla="*/ 32385 w 80010"/>
                          <a:gd name="connsiteY17" fmla="*/ 8118 h 64150"/>
                          <a:gd name="connsiteX0" fmla="*/ 32385 w 80010"/>
                          <a:gd name="connsiteY0" fmla="*/ 8118 h 64150"/>
                          <a:gd name="connsiteX1" fmla="*/ 32385 w 80010"/>
                          <a:gd name="connsiteY1" fmla="*/ 8118 h 64150"/>
                          <a:gd name="connsiteX2" fmla="*/ 3810 w 80010"/>
                          <a:gd name="connsiteY2" fmla="*/ 10023 h 64150"/>
                          <a:gd name="connsiteX3" fmla="*/ 0 w 80010"/>
                          <a:gd name="connsiteY3" fmla="*/ 21453 h 64150"/>
                          <a:gd name="connsiteX4" fmla="*/ 7620 w 80010"/>
                          <a:gd name="connsiteY4" fmla="*/ 42408 h 64150"/>
                          <a:gd name="connsiteX5" fmla="*/ 13335 w 80010"/>
                          <a:gd name="connsiteY5" fmla="*/ 46218 h 64150"/>
                          <a:gd name="connsiteX6" fmla="*/ 19050 w 80010"/>
                          <a:gd name="connsiteY6" fmla="*/ 51933 h 64150"/>
                          <a:gd name="connsiteX7" fmla="*/ 68580 w 80010"/>
                          <a:gd name="connsiteY7" fmla="*/ 55743 h 64150"/>
                          <a:gd name="connsiteX8" fmla="*/ 72390 w 80010"/>
                          <a:gd name="connsiteY8" fmla="*/ 50028 h 64150"/>
                          <a:gd name="connsiteX9" fmla="*/ 78105 w 80010"/>
                          <a:gd name="connsiteY9" fmla="*/ 44313 h 64150"/>
                          <a:gd name="connsiteX10" fmla="*/ 80010 w 80010"/>
                          <a:gd name="connsiteY10" fmla="*/ 38598 h 64150"/>
                          <a:gd name="connsiteX11" fmla="*/ 78105 w 80010"/>
                          <a:gd name="connsiteY11" fmla="*/ 27168 h 64150"/>
                          <a:gd name="connsiteX12" fmla="*/ 60960 w 80010"/>
                          <a:gd name="connsiteY12" fmla="*/ 21453 h 64150"/>
                          <a:gd name="connsiteX13" fmla="*/ 53340 w 80010"/>
                          <a:gd name="connsiteY13" fmla="*/ 23358 h 64150"/>
                          <a:gd name="connsiteX14" fmla="*/ 57150 w 80010"/>
                          <a:gd name="connsiteY14" fmla="*/ 11928 h 64150"/>
                          <a:gd name="connsiteX15" fmla="*/ 59055 w 80010"/>
                          <a:gd name="connsiteY15" fmla="*/ 6213 h 64150"/>
                          <a:gd name="connsiteX16" fmla="*/ 34290 w 80010"/>
                          <a:gd name="connsiteY16" fmla="*/ 498 h 64150"/>
                          <a:gd name="connsiteX17" fmla="*/ 32385 w 80010"/>
                          <a:gd name="connsiteY17" fmla="*/ 8118 h 64150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179 h 56211"/>
                          <a:gd name="connsiteX1" fmla="*/ 32385 w 80010"/>
                          <a:gd name="connsiteY1" fmla="*/ 179 h 56211"/>
                          <a:gd name="connsiteX2" fmla="*/ 3810 w 80010"/>
                          <a:gd name="connsiteY2" fmla="*/ 2084 h 56211"/>
                          <a:gd name="connsiteX3" fmla="*/ 0 w 80010"/>
                          <a:gd name="connsiteY3" fmla="*/ 13514 h 56211"/>
                          <a:gd name="connsiteX4" fmla="*/ 7620 w 80010"/>
                          <a:gd name="connsiteY4" fmla="*/ 34469 h 56211"/>
                          <a:gd name="connsiteX5" fmla="*/ 13335 w 80010"/>
                          <a:gd name="connsiteY5" fmla="*/ 38279 h 56211"/>
                          <a:gd name="connsiteX6" fmla="*/ 19050 w 80010"/>
                          <a:gd name="connsiteY6" fmla="*/ 43994 h 56211"/>
                          <a:gd name="connsiteX7" fmla="*/ 68580 w 80010"/>
                          <a:gd name="connsiteY7" fmla="*/ 47804 h 56211"/>
                          <a:gd name="connsiteX8" fmla="*/ 72390 w 80010"/>
                          <a:gd name="connsiteY8" fmla="*/ 42089 h 56211"/>
                          <a:gd name="connsiteX9" fmla="*/ 78105 w 80010"/>
                          <a:gd name="connsiteY9" fmla="*/ 36374 h 56211"/>
                          <a:gd name="connsiteX10" fmla="*/ 80010 w 80010"/>
                          <a:gd name="connsiteY10" fmla="*/ 30659 h 56211"/>
                          <a:gd name="connsiteX11" fmla="*/ 78105 w 80010"/>
                          <a:gd name="connsiteY11" fmla="*/ 19229 h 56211"/>
                          <a:gd name="connsiteX12" fmla="*/ 60960 w 80010"/>
                          <a:gd name="connsiteY12" fmla="*/ 13514 h 56211"/>
                          <a:gd name="connsiteX13" fmla="*/ 53340 w 80010"/>
                          <a:gd name="connsiteY13" fmla="*/ 15419 h 56211"/>
                          <a:gd name="connsiteX14" fmla="*/ 57150 w 80010"/>
                          <a:gd name="connsiteY14" fmla="*/ 3989 h 56211"/>
                          <a:gd name="connsiteX15" fmla="*/ 32385 w 80010"/>
                          <a:gd name="connsiteY15" fmla="*/ 179 h 56211"/>
                          <a:gd name="connsiteX0" fmla="*/ 32385 w 80010"/>
                          <a:gd name="connsiteY0" fmla="*/ 179 h 56211"/>
                          <a:gd name="connsiteX1" fmla="*/ 32385 w 80010"/>
                          <a:gd name="connsiteY1" fmla="*/ 179 h 56211"/>
                          <a:gd name="connsiteX2" fmla="*/ 3810 w 80010"/>
                          <a:gd name="connsiteY2" fmla="*/ 2084 h 56211"/>
                          <a:gd name="connsiteX3" fmla="*/ 0 w 80010"/>
                          <a:gd name="connsiteY3" fmla="*/ 13514 h 56211"/>
                          <a:gd name="connsiteX4" fmla="*/ 7620 w 80010"/>
                          <a:gd name="connsiteY4" fmla="*/ 34469 h 56211"/>
                          <a:gd name="connsiteX5" fmla="*/ 13335 w 80010"/>
                          <a:gd name="connsiteY5" fmla="*/ 38279 h 56211"/>
                          <a:gd name="connsiteX6" fmla="*/ 19050 w 80010"/>
                          <a:gd name="connsiteY6" fmla="*/ 43994 h 56211"/>
                          <a:gd name="connsiteX7" fmla="*/ 68580 w 80010"/>
                          <a:gd name="connsiteY7" fmla="*/ 47804 h 56211"/>
                          <a:gd name="connsiteX8" fmla="*/ 72390 w 80010"/>
                          <a:gd name="connsiteY8" fmla="*/ 42089 h 56211"/>
                          <a:gd name="connsiteX9" fmla="*/ 78105 w 80010"/>
                          <a:gd name="connsiteY9" fmla="*/ 36374 h 56211"/>
                          <a:gd name="connsiteX10" fmla="*/ 80010 w 80010"/>
                          <a:gd name="connsiteY10" fmla="*/ 30659 h 56211"/>
                          <a:gd name="connsiteX11" fmla="*/ 78105 w 80010"/>
                          <a:gd name="connsiteY11" fmla="*/ 19229 h 56211"/>
                          <a:gd name="connsiteX12" fmla="*/ 60960 w 80010"/>
                          <a:gd name="connsiteY12" fmla="*/ 13514 h 56211"/>
                          <a:gd name="connsiteX13" fmla="*/ 53340 w 80010"/>
                          <a:gd name="connsiteY13" fmla="*/ 15419 h 56211"/>
                          <a:gd name="connsiteX14" fmla="*/ 40048 w 80010"/>
                          <a:gd name="connsiteY14" fmla="*/ 8639 h 56211"/>
                          <a:gd name="connsiteX15" fmla="*/ 32385 w 80010"/>
                          <a:gd name="connsiteY15" fmla="*/ 179 h 56211"/>
                          <a:gd name="connsiteX0" fmla="*/ 32385 w 80010"/>
                          <a:gd name="connsiteY0" fmla="*/ 179 h 52171"/>
                          <a:gd name="connsiteX1" fmla="*/ 32385 w 80010"/>
                          <a:gd name="connsiteY1" fmla="*/ 179 h 52171"/>
                          <a:gd name="connsiteX2" fmla="*/ 3810 w 80010"/>
                          <a:gd name="connsiteY2" fmla="*/ 2084 h 52171"/>
                          <a:gd name="connsiteX3" fmla="*/ 0 w 80010"/>
                          <a:gd name="connsiteY3" fmla="*/ 13514 h 52171"/>
                          <a:gd name="connsiteX4" fmla="*/ 7620 w 80010"/>
                          <a:gd name="connsiteY4" fmla="*/ 34469 h 52171"/>
                          <a:gd name="connsiteX5" fmla="*/ 13335 w 80010"/>
                          <a:gd name="connsiteY5" fmla="*/ 38279 h 52171"/>
                          <a:gd name="connsiteX6" fmla="*/ 19050 w 80010"/>
                          <a:gd name="connsiteY6" fmla="*/ 43994 h 52171"/>
                          <a:gd name="connsiteX7" fmla="*/ 68580 w 80010"/>
                          <a:gd name="connsiteY7" fmla="*/ 47804 h 52171"/>
                          <a:gd name="connsiteX8" fmla="*/ 72390 w 80010"/>
                          <a:gd name="connsiteY8" fmla="*/ 42089 h 52171"/>
                          <a:gd name="connsiteX9" fmla="*/ 78105 w 80010"/>
                          <a:gd name="connsiteY9" fmla="*/ 36374 h 52171"/>
                          <a:gd name="connsiteX10" fmla="*/ 80010 w 80010"/>
                          <a:gd name="connsiteY10" fmla="*/ 30659 h 52171"/>
                          <a:gd name="connsiteX11" fmla="*/ 78105 w 80010"/>
                          <a:gd name="connsiteY11" fmla="*/ 19229 h 52171"/>
                          <a:gd name="connsiteX12" fmla="*/ 60960 w 80010"/>
                          <a:gd name="connsiteY12" fmla="*/ 13514 h 52171"/>
                          <a:gd name="connsiteX13" fmla="*/ 53340 w 80010"/>
                          <a:gd name="connsiteY13" fmla="*/ 15419 h 52171"/>
                          <a:gd name="connsiteX14" fmla="*/ 40048 w 80010"/>
                          <a:gd name="connsiteY14" fmla="*/ 8639 h 52171"/>
                          <a:gd name="connsiteX15" fmla="*/ 32385 w 80010"/>
                          <a:gd name="connsiteY15" fmla="*/ 179 h 52171"/>
                          <a:gd name="connsiteX0" fmla="*/ 32385 w 80010"/>
                          <a:gd name="connsiteY0" fmla="*/ 179 h 52432"/>
                          <a:gd name="connsiteX1" fmla="*/ 32385 w 80010"/>
                          <a:gd name="connsiteY1" fmla="*/ 179 h 52432"/>
                          <a:gd name="connsiteX2" fmla="*/ 3810 w 80010"/>
                          <a:gd name="connsiteY2" fmla="*/ 2084 h 52432"/>
                          <a:gd name="connsiteX3" fmla="*/ 0 w 80010"/>
                          <a:gd name="connsiteY3" fmla="*/ 13514 h 52432"/>
                          <a:gd name="connsiteX4" fmla="*/ 7620 w 80010"/>
                          <a:gd name="connsiteY4" fmla="*/ 34469 h 52432"/>
                          <a:gd name="connsiteX5" fmla="*/ 13335 w 80010"/>
                          <a:gd name="connsiteY5" fmla="*/ 38279 h 52432"/>
                          <a:gd name="connsiteX6" fmla="*/ 19050 w 80010"/>
                          <a:gd name="connsiteY6" fmla="*/ 43994 h 52432"/>
                          <a:gd name="connsiteX7" fmla="*/ 68580 w 80010"/>
                          <a:gd name="connsiteY7" fmla="*/ 47804 h 52432"/>
                          <a:gd name="connsiteX8" fmla="*/ 72390 w 80010"/>
                          <a:gd name="connsiteY8" fmla="*/ 42089 h 52432"/>
                          <a:gd name="connsiteX9" fmla="*/ 78105 w 80010"/>
                          <a:gd name="connsiteY9" fmla="*/ 36374 h 52432"/>
                          <a:gd name="connsiteX10" fmla="*/ 80010 w 80010"/>
                          <a:gd name="connsiteY10" fmla="*/ 30659 h 52432"/>
                          <a:gd name="connsiteX11" fmla="*/ 78105 w 80010"/>
                          <a:gd name="connsiteY11" fmla="*/ 19229 h 52432"/>
                          <a:gd name="connsiteX12" fmla="*/ 60960 w 80010"/>
                          <a:gd name="connsiteY12" fmla="*/ 13514 h 52432"/>
                          <a:gd name="connsiteX13" fmla="*/ 53340 w 80010"/>
                          <a:gd name="connsiteY13" fmla="*/ 15419 h 52432"/>
                          <a:gd name="connsiteX14" fmla="*/ 40048 w 80010"/>
                          <a:gd name="connsiteY14" fmla="*/ 8639 h 52432"/>
                          <a:gd name="connsiteX15" fmla="*/ 32385 w 80010"/>
                          <a:gd name="connsiteY15" fmla="*/ 179 h 52432"/>
                          <a:gd name="connsiteX0" fmla="*/ 32385 w 80010"/>
                          <a:gd name="connsiteY0" fmla="*/ 179 h 55651"/>
                          <a:gd name="connsiteX1" fmla="*/ 32385 w 80010"/>
                          <a:gd name="connsiteY1" fmla="*/ 179 h 55651"/>
                          <a:gd name="connsiteX2" fmla="*/ 3810 w 80010"/>
                          <a:gd name="connsiteY2" fmla="*/ 2084 h 55651"/>
                          <a:gd name="connsiteX3" fmla="*/ 0 w 80010"/>
                          <a:gd name="connsiteY3" fmla="*/ 13514 h 55651"/>
                          <a:gd name="connsiteX4" fmla="*/ 7620 w 80010"/>
                          <a:gd name="connsiteY4" fmla="*/ 34469 h 55651"/>
                          <a:gd name="connsiteX5" fmla="*/ 13335 w 80010"/>
                          <a:gd name="connsiteY5" fmla="*/ 38279 h 55651"/>
                          <a:gd name="connsiteX6" fmla="*/ 19050 w 80010"/>
                          <a:gd name="connsiteY6" fmla="*/ 43994 h 55651"/>
                          <a:gd name="connsiteX7" fmla="*/ 48058 w 80010"/>
                          <a:gd name="connsiteY7" fmla="*/ 52454 h 55651"/>
                          <a:gd name="connsiteX8" fmla="*/ 72390 w 80010"/>
                          <a:gd name="connsiteY8" fmla="*/ 42089 h 55651"/>
                          <a:gd name="connsiteX9" fmla="*/ 78105 w 80010"/>
                          <a:gd name="connsiteY9" fmla="*/ 36374 h 55651"/>
                          <a:gd name="connsiteX10" fmla="*/ 80010 w 80010"/>
                          <a:gd name="connsiteY10" fmla="*/ 30659 h 55651"/>
                          <a:gd name="connsiteX11" fmla="*/ 78105 w 80010"/>
                          <a:gd name="connsiteY11" fmla="*/ 19229 h 55651"/>
                          <a:gd name="connsiteX12" fmla="*/ 60960 w 80010"/>
                          <a:gd name="connsiteY12" fmla="*/ 13514 h 55651"/>
                          <a:gd name="connsiteX13" fmla="*/ 53340 w 80010"/>
                          <a:gd name="connsiteY13" fmla="*/ 15419 h 55651"/>
                          <a:gd name="connsiteX14" fmla="*/ 40048 w 80010"/>
                          <a:gd name="connsiteY14" fmla="*/ 8639 h 55651"/>
                          <a:gd name="connsiteX15" fmla="*/ 32385 w 80010"/>
                          <a:gd name="connsiteY15" fmla="*/ 179 h 55651"/>
                          <a:gd name="connsiteX0" fmla="*/ 32385 w 80010"/>
                          <a:gd name="connsiteY0" fmla="*/ 179 h 53227"/>
                          <a:gd name="connsiteX1" fmla="*/ 32385 w 80010"/>
                          <a:gd name="connsiteY1" fmla="*/ 179 h 53227"/>
                          <a:gd name="connsiteX2" fmla="*/ 3810 w 80010"/>
                          <a:gd name="connsiteY2" fmla="*/ 2084 h 53227"/>
                          <a:gd name="connsiteX3" fmla="*/ 0 w 80010"/>
                          <a:gd name="connsiteY3" fmla="*/ 13514 h 53227"/>
                          <a:gd name="connsiteX4" fmla="*/ 7620 w 80010"/>
                          <a:gd name="connsiteY4" fmla="*/ 34469 h 53227"/>
                          <a:gd name="connsiteX5" fmla="*/ 13335 w 80010"/>
                          <a:gd name="connsiteY5" fmla="*/ 38279 h 53227"/>
                          <a:gd name="connsiteX6" fmla="*/ 19050 w 80010"/>
                          <a:gd name="connsiteY6" fmla="*/ 43994 h 53227"/>
                          <a:gd name="connsiteX7" fmla="*/ 48058 w 80010"/>
                          <a:gd name="connsiteY7" fmla="*/ 52454 h 53227"/>
                          <a:gd name="connsiteX8" fmla="*/ 72390 w 80010"/>
                          <a:gd name="connsiteY8" fmla="*/ 42089 h 53227"/>
                          <a:gd name="connsiteX9" fmla="*/ 78105 w 80010"/>
                          <a:gd name="connsiteY9" fmla="*/ 36374 h 53227"/>
                          <a:gd name="connsiteX10" fmla="*/ 80010 w 80010"/>
                          <a:gd name="connsiteY10" fmla="*/ 30659 h 53227"/>
                          <a:gd name="connsiteX11" fmla="*/ 78105 w 80010"/>
                          <a:gd name="connsiteY11" fmla="*/ 19229 h 53227"/>
                          <a:gd name="connsiteX12" fmla="*/ 60960 w 80010"/>
                          <a:gd name="connsiteY12" fmla="*/ 13514 h 53227"/>
                          <a:gd name="connsiteX13" fmla="*/ 53340 w 80010"/>
                          <a:gd name="connsiteY13" fmla="*/ 15419 h 53227"/>
                          <a:gd name="connsiteX14" fmla="*/ 40048 w 80010"/>
                          <a:gd name="connsiteY14" fmla="*/ 8639 h 53227"/>
                          <a:gd name="connsiteX15" fmla="*/ 32385 w 80010"/>
                          <a:gd name="connsiteY15" fmla="*/ 179 h 5322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80010" h="53227">
                            <a:moveTo>
                              <a:pt x="32385" y="179"/>
                            </a:moveTo>
                            <a:lnTo>
                              <a:pt x="32385" y="179"/>
                            </a:lnTo>
                            <a:cubicBezTo>
                              <a:pt x="22860" y="814"/>
                              <a:pt x="12637" y="-1551"/>
                              <a:pt x="3810" y="2084"/>
                            </a:cubicBezTo>
                            <a:cubicBezTo>
                              <a:pt x="96" y="3613"/>
                              <a:pt x="0" y="13514"/>
                              <a:pt x="0" y="13514"/>
                            </a:cubicBezTo>
                            <a:cubicBezTo>
                              <a:pt x="1410" y="20563"/>
                              <a:pt x="2165" y="29014"/>
                              <a:pt x="7620" y="34469"/>
                            </a:cubicBezTo>
                            <a:cubicBezTo>
                              <a:pt x="9239" y="36088"/>
                              <a:pt x="11576" y="36813"/>
                              <a:pt x="13335" y="38279"/>
                            </a:cubicBezTo>
                            <a:cubicBezTo>
                              <a:pt x="15405" y="40004"/>
                              <a:pt x="17145" y="42089"/>
                              <a:pt x="19050" y="43994"/>
                            </a:cubicBezTo>
                            <a:cubicBezTo>
                              <a:pt x="36453" y="53990"/>
                              <a:pt x="29632" y="54059"/>
                              <a:pt x="48058" y="52454"/>
                            </a:cubicBezTo>
                            <a:cubicBezTo>
                              <a:pt x="50339" y="52255"/>
                              <a:pt x="67382" y="44769"/>
                              <a:pt x="72390" y="42089"/>
                            </a:cubicBezTo>
                            <a:cubicBezTo>
                              <a:pt x="77398" y="39409"/>
                              <a:pt x="76200" y="38279"/>
                              <a:pt x="78105" y="36374"/>
                            </a:cubicBezTo>
                            <a:cubicBezTo>
                              <a:pt x="78740" y="34469"/>
                              <a:pt x="80010" y="32667"/>
                              <a:pt x="80010" y="30659"/>
                            </a:cubicBezTo>
                            <a:cubicBezTo>
                              <a:pt x="80010" y="26796"/>
                              <a:pt x="79832" y="22684"/>
                              <a:pt x="78105" y="19229"/>
                            </a:cubicBezTo>
                            <a:cubicBezTo>
                              <a:pt x="75670" y="14359"/>
                              <a:pt x="63693" y="13970"/>
                              <a:pt x="60960" y="13514"/>
                            </a:cubicBezTo>
                            <a:cubicBezTo>
                              <a:pt x="58420" y="14149"/>
                              <a:pt x="56825" y="16231"/>
                              <a:pt x="53340" y="15419"/>
                            </a:cubicBezTo>
                            <a:cubicBezTo>
                              <a:pt x="49855" y="14607"/>
                              <a:pt x="39095" y="11497"/>
                              <a:pt x="40048" y="8639"/>
                            </a:cubicBezTo>
                            <a:lnTo>
                              <a:pt x="32385" y="179"/>
                            </a:lnTo>
                            <a:close/>
                          </a:path>
                        </a:pathLst>
                      </a:custGeom>
                      <a:solidFill>
                        <a:srgbClr val="0D3759"/>
                      </a:solidFill>
                      <a:ln w="3175" cap="flat" cmpd="sng" algn="ctr">
                        <a:solidFill>
                          <a:srgbClr val="F2E8F8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33" name="Freeform: Shape 18">
                        <a:extLst>
                          <a:ext uri="{FF2B5EF4-FFF2-40B4-BE49-F238E27FC236}">
                            <a16:creationId xmlns:a16="http://schemas.microsoft.com/office/drawing/2014/main" id="{71951658-86B8-1B09-A315-94D97EB9B661}"/>
                          </a:ext>
                        </a:extLst>
                      </p:cNvPr>
                      <p:cNvSpPr/>
                      <p:nvPr/>
                    </p:nvSpPr>
                    <p:spPr>
                      <a:xfrm rot="15284729">
                        <a:off x="8851362" y="4146483"/>
                        <a:ext cx="27432" cy="27432"/>
                      </a:xfrm>
                      <a:custGeom>
                        <a:avLst/>
                        <a:gdLst>
                          <a:gd name="connsiteX0" fmla="*/ 32385 w 80010"/>
                          <a:gd name="connsiteY0" fmla="*/ 8118 h 64150"/>
                          <a:gd name="connsiteX1" fmla="*/ 32385 w 80010"/>
                          <a:gd name="connsiteY1" fmla="*/ 8118 h 64150"/>
                          <a:gd name="connsiteX2" fmla="*/ 3810 w 80010"/>
                          <a:gd name="connsiteY2" fmla="*/ 10023 h 64150"/>
                          <a:gd name="connsiteX3" fmla="*/ 0 w 80010"/>
                          <a:gd name="connsiteY3" fmla="*/ 21453 h 64150"/>
                          <a:gd name="connsiteX4" fmla="*/ 7620 w 80010"/>
                          <a:gd name="connsiteY4" fmla="*/ 42408 h 64150"/>
                          <a:gd name="connsiteX5" fmla="*/ 13335 w 80010"/>
                          <a:gd name="connsiteY5" fmla="*/ 46218 h 64150"/>
                          <a:gd name="connsiteX6" fmla="*/ 19050 w 80010"/>
                          <a:gd name="connsiteY6" fmla="*/ 51933 h 64150"/>
                          <a:gd name="connsiteX7" fmla="*/ 68580 w 80010"/>
                          <a:gd name="connsiteY7" fmla="*/ 55743 h 64150"/>
                          <a:gd name="connsiteX8" fmla="*/ 72390 w 80010"/>
                          <a:gd name="connsiteY8" fmla="*/ 50028 h 64150"/>
                          <a:gd name="connsiteX9" fmla="*/ 78105 w 80010"/>
                          <a:gd name="connsiteY9" fmla="*/ 44313 h 64150"/>
                          <a:gd name="connsiteX10" fmla="*/ 80010 w 80010"/>
                          <a:gd name="connsiteY10" fmla="*/ 38598 h 64150"/>
                          <a:gd name="connsiteX11" fmla="*/ 78105 w 80010"/>
                          <a:gd name="connsiteY11" fmla="*/ 27168 h 64150"/>
                          <a:gd name="connsiteX12" fmla="*/ 60960 w 80010"/>
                          <a:gd name="connsiteY12" fmla="*/ 21453 h 64150"/>
                          <a:gd name="connsiteX13" fmla="*/ 53340 w 80010"/>
                          <a:gd name="connsiteY13" fmla="*/ 23358 h 64150"/>
                          <a:gd name="connsiteX14" fmla="*/ 57150 w 80010"/>
                          <a:gd name="connsiteY14" fmla="*/ 11928 h 64150"/>
                          <a:gd name="connsiteX15" fmla="*/ 59055 w 80010"/>
                          <a:gd name="connsiteY15" fmla="*/ 6213 h 64150"/>
                          <a:gd name="connsiteX16" fmla="*/ 34290 w 80010"/>
                          <a:gd name="connsiteY16" fmla="*/ 498 h 64150"/>
                          <a:gd name="connsiteX17" fmla="*/ 32385 w 80010"/>
                          <a:gd name="connsiteY17" fmla="*/ 8118 h 64150"/>
                          <a:gd name="connsiteX0" fmla="*/ 32385 w 80010"/>
                          <a:gd name="connsiteY0" fmla="*/ 8118 h 64150"/>
                          <a:gd name="connsiteX1" fmla="*/ 32385 w 80010"/>
                          <a:gd name="connsiteY1" fmla="*/ 8118 h 64150"/>
                          <a:gd name="connsiteX2" fmla="*/ 3810 w 80010"/>
                          <a:gd name="connsiteY2" fmla="*/ 10023 h 64150"/>
                          <a:gd name="connsiteX3" fmla="*/ 0 w 80010"/>
                          <a:gd name="connsiteY3" fmla="*/ 21453 h 64150"/>
                          <a:gd name="connsiteX4" fmla="*/ 7620 w 80010"/>
                          <a:gd name="connsiteY4" fmla="*/ 42408 h 64150"/>
                          <a:gd name="connsiteX5" fmla="*/ 13335 w 80010"/>
                          <a:gd name="connsiteY5" fmla="*/ 46218 h 64150"/>
                          <a:gd name="connsiteX6" fmla="*/ 19050 w 80010"/>
                          <a:gd name="connsiteY6" fmla="*/ 51933 h 64150"/>
                          <a:gd name="connsiteX7" fmla="*/ 68580 w 80010"/>
                          <a:gd name="connsiteY7" fmla="*/ 55743 h 64150"/>
                          <a:gd name="connsiteX8" fmla="*/ 72390 w 80010"/>
                          <a:gd name="connsiteY8" fmla="*/ 50028 h 64150"/>
                          <a:gd name="connsiteX9" fmla="*/ 78105 w 80010"/>
                          <a:gd name="connsiteY9" fmla="*/ 44313 h 64150"/>
                          <a:gd name="connsiteX10" fmla="*/ 80010 w 80010"/>
                          <a:gd name="connsiteY10" fmla="*/ 38598 h 64150"/>
                          <a:gd name="connsiteX11" fmla="*/ 78105 w 80010"/>
                          <a:gd name="connsiteY11" fmla="*/ 27168 h 64150"/>
                          <a:gd name="connsiteX12" fmla="*/ 60960 w 80010"/>
                          <a:gd name="connsiteY12" fmla="*/ 21453 h 64150"/>
                          <a:gd name="connsiteX13" fmla="*/ 53340 w 80010"/>
                          <a:gd name="connsiteY13" fmla="*/ 23358 h 64150"/>
                          <a:gd name="connsiteX14" fmla="*/ 57150 w 80010"/>
                          <a:gd name="connsiteY14" fmla="*/ 11928 h 64150"/>
                          <a:gd name="connsiteX15" fmla="*/ 59055 w 80010"/>
                          <a:gd name="connsiteY15" fmla="*/ 6213 h 64150"/>
                          <a:gd name="connsiteX16" fmla="*/ 34290 w 80010"/>
                          <a:gd name="connsiteY16" fmla="*/ 498 h 64150"/>
                          <a:gd name="connsiteX17" fmla="*/ 32385 w 80010"/>
                          <a:gd name="connsiteY17" fmla="*/ 8118 h 64150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179 h 56211"/>
                          <a:gd name="connsiteX1" fmla="*/ 32385 w 80010"/>
                          <a:gd name="connsiteY1" fmla="*/ 179 h 56211"/>
                          <a:gd name="connsiteX2" fmla="*/ 3810 w 80010"/>
                          <a:gd name="connsiteY2" fmla="*/ 2084 h 56211"/>
                          <a:gd name="connsiteX3" fmla="*/ 0 w 80010"/>
                          <a:gd name="connsiteY3" fmla="*/ 13514 h 56211"/>
                          <a:gd name="connsiteX4" fmla="*/ 7620 w 80010"/>
                          <a:gd name="connsiteY4" fmla="*/ 34469 h 56211"/>
                          <a:gd name="connsiteX5" fmla="*/ 13335 w 80010"/>
                          <a:gd name="connsiteY5" fmla="*/ 38279 h 56211"/>
                          <a:gd name="connsiteX6" fmla="*/ 19050 w 80010"/>
                          <a:gd name="connsiteY6" fmla="*/ 43994 h 56211"/>
                          <a:gd name="connsiteX7" fmla="*/ 68580 w 80010"/>
                          <a:gd name="connsiteY7" fmla="*/ 47804 h 56211"/>
                          <a:gd name="connsiteX8" fmla="*/ 72390 w 80010"/>
                          <a:gd name="connsiteY8" fmla="*/ 42089 h 56211"/>
                          <a:gd name="connsiteX9" fmla="*/ 78105 w 80010"/>
                          <a:gd name="connsiteY9" fmla="*/ 36374 h 56211"/>
                          <a:gd name="connsiteX10" fmla="*/ 80010 w 80010"/>
                          <a:gd name="connsiteY10" fmla="*/ 30659 h 56211"/>
                          <a:gd name="connsiteX11" fmla="*/ 78105 w 80010"/>
                          <a:gd name="connsiteY11" fmla="*/ 19229 h 56211"/>
                          <a:gd name="connsiteX12" fmla="*/ 60960 w 80010"/>
                          <a:gd name="connsiteY12" fmla="*/ 13514 h 56211"/>
                          <a:gd name="connsiteX13" fmla="*/ 53340 w 80010"/>
                          <a:gd name="connsiteY13" fmla="*/ 15419 h 56211"/>
                          <a:gd name="connsiteX14" fmla="*/ 57150 w 80010"/>
                          <a:gd name="connsiteY14" fmla="*/ 3989 h 56211"/>
                          <a:gd name="connsiteX15" fmla="*/ 32385 w 80010"/>
                          <a:gd name="connsiteY15" fmla="*/ 179 h 56211"/>
                          <a:gd name="connsiteX0" fmla="*/ 32385 w 80010"/>
                          <a:gd name="connsiteY0" fmla="*/ 179 h 56211"/>
                          <a:gd name="connsiteX1" fmla="*/ 32385 w 80010"/>
                          <a:gd name="connsiteY1" fmla="*/ 179 h 56211"/>
                          <a:gd name="connsiteX2" fmla="*/ 3810 w 80010"/>
                          <a:gd name="connsiteY2" fmla="*/ 2084 h 56211"/>
                          <a:gd name="connsiteX3" fmla="*/ 0 w 80010"/>
                          <a:gd name="connsiteY3" fmla="*/ 13514 h 56211"/>
                          <a:gd name="connsiteX4" fmla="*/ 7620 w 80010"/>
                          <a:gd name="connsiteY4" fmla="*/ 34469 h 56211"/>
                          <a:gd name="connsiteX5" fmla="*/ 13335 w 80010"/>
                          <a:gd name="connsiteY5" fmla="*/ 38279 h 56211"/>
                          <a:gd name="connsiteX6" fmla="*/ 19050 w 80010"/>
                          <a:gd name="connsiteY6" fmla="*/ 43994 h 56211"/>
                          <a:gd name="connsiteX7" fmla="*/ 68580 w 80010"/>
                          <a:gd name="connsiteY7" fmla="*/ 47804 h 56211"/>
                          <a:gd name="connsiteX8" fmla="*/ 72390 w 80010"/>
                          <a:gd name="connsiteY8" fmla="*/ 42089 h 56211"/>
                          <a:gd name="connsiteX9" fmla="*/ 78105 w 80010"/>
                          <a:gd name="connsiteY9" fmla="*/ 36374 h 56211"/>
                          <a:gd name="connsiteX10" fmla="*/ 80010 w 80010"/>
                          <a:gd name="connsiteY10" fmla="*/ 30659 h 56211"/>
                          <a:gd name="connsiteX11" fmla="*/ 78105 w 80010"/>
                          <a:gd name="connsiteY11" fmla="*/ 19229 h 56211"/>
                          <a:gd name="connsiteX12" fmla="*/ 60960 w 80010"/>
                          <a:gd name="connsiteY12" fmla="*/ 13514 h 56211"/>
                          <a:gd name="connsiteX13" fmla="*/ 53340 w 80010"/>
                          <a:gd name="connsiteY13" fmla="*/ 15419 h 56211"/>
                          <a:gd name="connsiteX14" fmla="*/ 40048 w 80010"/>
                          <a:gd name="connsiteY14" fmla="*/ 8639 h 56211"/>
                          <a:gd name="connsiteX15" fmla="*/ 32385 w 80010"/>
                          <a:gd name="connsiteY15" fmla="*/ 179 h 56211"/>
                          <a:gd name="connsiteX0" fmla="*/ 32385 w 80010"/>
                          <a:gd name="connsiteY0" fmla="*/ 179 h 52171"/>
                          <a:gd name="connsiteX1" fmla="*/ 32385 w 80010"/>
                          <a:gd name="connsiteY1" fmla="*/ 179 h 52171"/>
                          <a:gd name="connsiteX2" fmla="*/ 3810 w 80010"/>
                          <a:gd name="connsiteY2" fmla="*/ 2084 h 52171"/>
                          <a:gd name="connsiteX3" fmla="*/ 0 w 80010"/>
                          <a:gd name="connsiteY3" fmla="*/ 13514 h 52171"/>
                          <a:gd name="connsiteX4" fmla="*/ 7620 w 80010"/>
                          <a:gd name="connsiteY4" fmla="*/ 34469 h 52171"/>
                          <a:gd name="connsiteX5" fmla="*/ 13335 w 80010"/>
                          <a:gd name="connsiteY5" fmla="*/ 38279 h 52171"/>
                          <a:gd name="connsiteX6" fmla="*/ 19050 w 80010"/>
                          <a:gd name="connsiteY6" fmla="*/ 43994 h 52171"/>
                          <a:gd name="connsiteX7" fmla="*/ 68580 w 80010"/>
                          <a:gd name="connsiteY7" fmla="*/ 47804 h 52171"/>
                          <a:gd name="connsiteX8" fmla="*/ 72390 w 80010"/>
                          <a:gd name="connsiteY8" fmla="*/ 42089 h 52171"/>
                          <a:gd name="connsiteX9" fmla="*/ 78105 w 80010"/>
                          <a:gd name="connsiteY9" fmla="*/ 36374 h 52171"/>
                          <a:gd name="connsiteX10" fmla="*/ 80010 w 80010"/>
                          <a:gd name="connsiteY10" fmla="*/ 30659 h 52171"/>
                          <a:gd name="connsiteX11" fmla="*/ 78105 w 80010"/>
                          <a:gd name="connsiteY11" fmla="*/ 19229 h 52171"/>
                          <a:gd name="connsiteX12" fmla="*/ 60960 w 80010"/>
                          <a:gd name="connsiteY12" fmla="*/ 13514 h 52171"/>
                          <a:gd name="connsiteX13" fmla="*/ 53340 w 80010"/>
                          <a:gd name="connsiteY13" fmla="*/ 15419 h 52171"/>
                          <a:gd name="connsiteX14" fmla="*/ 40048 w 80010"/>
                          <a:gd name="connsiteY14" fmla="*/ 8639 h 52171"/>
                          <a:gd name="connsiteX15" fmla="*/ 32385 w 80010"/>
                          <a:gd name="connsiteY15" fmla="*/ 179 h 52171"/>
                          <a:gd name="connsiteX0" fmla="*/ 32385 w 80010"/>
                          <a:gd name="connsiteY0" fmla="*/ 179 h 52432"/>
                          <a:gd name="connsiteX1" fmla="*/ 32385 w 80010"/>
                          <a:gd name="connsiteY1" fmla="*/ 179 h 52432"/>
                          <a:gd name="connsiteX2" fmla="*/ 3810 w 80010"/>
                          <a:gd name="connsiteY2" fmla="*/ 2084 h 52432"/>
                          <a:gd name="connsiteX3" fmla="*/ 0 w 80010"/>
                          <a:gd name="connsiteY3" fmla="*/ 13514 h 52432"/>
                          <a:gd name="connsiteX4" fmla="*/ 7620 w 80010"/>
                          <a:gd name="connsiteY4" fmla="*/ 34469 h 52432"/>
                          <a:gd name="connsiteX5" fmla="*/ 13335 w 80010"/>
                          <a:gd name="connsiteY5" fmla="*/ 38279 h 52432"/>
                          <a:gd name="connsiteX6" fmla="*/ 19050 w 80010"/>
                          <a:gd name="connsiteY6" fmla="*/ 43994 h 52432"/>
                          <a:gd name="connsiteX7" fmla="*/ 68580 w 80010"/>
                          <a:gd name="connsiteY7" fmla="*/ 47804 h 52432"/>
                          <a:gd name="connsiteX8" fmla="*/ 72390 w 80010"/>
                          <a:gd name="connsiteY8" fmla="*/ 42089 h 52432"/>
                          <a:gd name="connsiteX9" fmla="*/ 78105 w 80010"/>
                          <a:gd name="connsiteY9" fmla="*/ 36374 h 52432"/>
                          <a:gd name="connsiteX10" fmla="*/ 80010 w 80010"/>
                          <a:gd name="connsiteY10" fmla="*/ 30659 h 52432"/>
                          <a:gd name="connsiteX11" fmla="*/ 78105 w 80010"/>
                          <a:gd name="connsiteY11" fmla="*/ 19229 h 52432"/>
                          <a:gd name="connsiteX12" fmla="*/ 60960 w 80010"/>
                          <a:gd name="connsiteY12" fmla="*/ 13514 h 52432"/>
                          <a:gd name="connsiteX13" fmla="*/ 53340 w 80010"/>
                          <a:gd name="connsiteY13" fmla="*/ 15419 h 52432"/>
                          <a:gd name="connsiteX14" fmla="*/ 40048 w 80010"/>
                          <a:gd name="connsiteY14" fmla="*/ 8639 h 52432"/>
                          <a:gd name="connsiteX15" fmla="*/ 32385 w 80010"/>
                          <a:gd name="connsiteY15" fmla="*/ 179 h 52432"/>
                          <a:gd name="connsiteX0" fmla="*/ 32385 w 80010"/>
                          <a:gd name="connsiteY0" fmla="*/ 179 h 55651"/>
                          <a:gd name="connsiteX1" fmla="*/ 32385 w 80010"/>
                          <a:gd name="connsiteY1" fmla="*/ 179 h 55651"/>
                          <a:gd name="connsiteX2" fmla="*/ 3810 w 80010"/>
                          <a:gd name="connsiteY2" fmla="*/ 2084 h 55651"/>
                          <a:gd name="connsiteX3" fmla="*/ 0 w 80010"/>
                          <a:gd name="connsiteY3" fmla="*/ 13514 h 55651"/>
                          <a:gd name="connsiteX4" fmla="*/ 7620 w 80010"/>
                          <a:gd name="connsiteY4" fmla="*/ 34469 h 55651"/>
                          <a:gd name="connsiteX5" fmla="*/ 13335 w 80010"/>
                          <a:gd name="connsiteY5" fmla="*/ 38279 h 55651"/>
                          <a:gd name="connsiteX6" fmla="*/ 19050 w 80010"/>
                          <a:gd name="connsiteY6" fmla="*/ 43994 h 55651"/>
                          <a:gd name="connsiteX7" fmla="*/ 48058 w 80010"/>
                          <a:gd name="connsiteY7" fmla="*/ 52454 h 55651"/>
                          <a:gd name="connsiteX8" fmla="*/ 72390 w 80010"/>
                          <a:gd name="connsiteY8" fmla="*/ 42089 h 55651"/>
                          <a:gd name="connsiteX9" fmla="*/ 78105 w 80010"/>
                          <a:gd name="connsiteY9" fmla="*/ 36374 h 55651"/>
                          <a:gd name="connsiteX10" fmla="*/ 80010 w 80010"/>
                          <a:gd name="connsiteY10" fmla="*/ 30659 h 55651"/>
                          <a:gd name="connsiteX11" fmla="*/ 78105 w 80010"/>
                          <a:gd name="connsiteY11" fmla="*/ 19229 h 55651"/>
                          <a:gd name="connsiteX12" fmla="*/ 60960 w 80010"/>
                          <a:gd name="connsiteY12" fmla="*/ 13514 h 55651"/>
                          <a:gd name="connsiteX13" fmla="*/ 53340 w 80010"/>
                          <a:gd name="connsiteY13" fmla="*/ 15419 h 55651"/>
                          <a:gd name="connsiteX14" fmla="*/ 40048 w 80010"/>
                          <a:gd name="connsiteY14" fmla="*/ 8639 h 55651"/>
                          <a:gd name="connsiteX15" fmla="*/ 32385 w 80010"/>
                          <a:gd name="connsiteY15" fmla="*/ 179 h 55651"/>
                          <a:gd name="connsiteX0" fmla="*/ 32385 w 80010"/>
                          <a:gd name="connsiteY0" fmla="*/ 179 h 53227"/>
                          <a:gd name="connsiteX1" fmla="*/ 32385 w 80010"/>
                          <a:gd name="connsiteY1" fmla="*/ 179 h 53227"/>
                          <a:gd name="connsiteX2" fmla="*/ 3810 w 80010"/>
                          <a:gd name="connsiteY2" fmla="*/ 2084 h 53227"/>
                          <a:gd name="connsiteX3" fmla="*/ 0 w 80010"/>
                          <a:gd name="connsiteY3" fmla="*/ 13514 h 53227"/>
                          <a:gd name="connsiteX4" fmla="*/ 7620 w 80010"/>
                          <a:gd name="connsiteY4" fmla="*/ 34469 h 53227"/>
                          <a:gd name="connsiteX5" fmla="*/ 13335 w 80010"/>
                          <a:gd name="connsiteY5" fmla="*/ 38279 h 53227"/>
                          <a:gd name="connsiteX6" fmla="*/ 19050 w 80010"/>
                          <a:gd name="connsiteY6" fmla="*/ 43994 h 53227"/>
                          <a:gd name="connsiteX7" fmla="*/ 48058 w 80010"/>
                          <a:gd name="connsiteY7" fmla="*/ 52454 h 53227"/>
                          <a:gd name="connsiteX8" fmla="*/ 72390 w 80010"/>
                          <a:gd name="connsiteY8" fmla="*/ 42089 h 53227"/>
                          <a:gd name="connsiteX9" fmla="*/ 78105 w 80010"/>
                          <a:gd name="connsiteY9" fmla="*/ 36374 h 53227"/>
                          <a:gd name="connsiteX10" fmla="*/ 80010 w 80010"/>
                          <a:gd name="connsiteY10" fmla="*/ 30659 h 53227"/>
                          <a:gd name="connsiteX11" fmla="*/ 78105 w 80010"/>
                          <a:gd name="connsiteY11" fmla="*/ 19229 h 53227"/>
                          <a:gd name="connsiteX12" fmla="*/ 60960 w 80010"/>
                          <a:gd name="connsiteY12" fmla="*/ 13514 h 53227"/>
                          <a:gd name="connsiteX13" fmla="*/ 53340 w 80010"/>
                          <a:gd name="connsiteY13" fmla="*/ 15419 h 53227"/>
                          <a:gd name="connsiteX14" fmla="*/ 40048 w 80010"/>
                          <a:gd name="connsiteY14" fmla="*/ 8639 h 53227"/>
                          <a:gd name="connsiteX15" fmla="*/ 32385 w 80010"/>
                          <a:gd name="connsiteY15" fmla="*/ 179 h 5322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80010" h="53227">
                            <a:moveTo>
                              <a:pt x="32385" y="179"/>
                            </a:moveTo>
                            <a:lnTo>
                              <a:pt x="32385" y="179"/>
                            </a:lnTo>
                            <a:cubicBezTo>
                              <a:pt x="22860" y="814"/>
                              <a:pt x="12637" y="-1551"/>
                              <a:pt x="3810" y="2084"/>
                            </a:cubicBezTo>
                            <a:cubicBezTo>
                              <a:pt x="96" y="3613"/>
                              <a:pt x="0" y="13514"/>
                              <a:pt x="0" y="13514"/>
                            </a:cubicBezTo>
                            <a:cubicBezTo>
                              <a:pt x="1410" y="20563"/>
                              <a:pt x="2165" y="29014"/>
                              <a:pt x="7620" y="34469"/>
                            </a:cubicBezTo>
                            <a:cubicBezTo>
                              <a:pt x="9239" y="36088"/>
                              <a:pt x="11576" y="36813"/>
                              <a:pt x="13335" y="38279"/>
                            </a:cubicBezTo>
                            <a:cubicBezTo>
                              <a:pt x="15405" y="40004"/>
                              <a:pt x="17145" y="42089"/>
                              <a:pt x="19050" y="43994"/>
                            </a:cubicBezTo>
                            <a:cubicBezTo>
                              <a:pt x="36453" y="53990"/>
                              <a:pt x="29632" y="54059"/>
                              <a:pt x="48058" y="52454"/>
                            </a:cubicBezTo>
                            <a:cubicBezTo>
                              <a:pt x="50339" y="52255"/>
                              <a:pt x="67382" y="44769"/>
                              <a:pt x="72390" y="42089"/>
                            </a:cubicBezTo>
                            <a:cubicBezTo>
                              <a:pt x="77398" y="39409"/>
                              <a:pt x="76200" y="38279"/>
                              <a:pt x="78105" y="36374"/>
                            </a:cubicBezTo>
                            <a:cubicBezTo>
                              <a:pt x="78740" y="34469"/>
                              <a:pt x="80010" y="32667"/>
                              <a:pt x="80010" y="30659"/>
                            </a:cubicBezTo>
                            <a:cubicBezTo>
                              <a:pt x="80010" y="26796"/>
                              <a:pt x="79832" y="22684"/>
                              <a:pt x="78105" y="19229"/>
                            </a:cubicBezTo>
                            <a:cubicBezTo>
                              <a:pt x="75670" y="14359"/>
                              <a:pt x="63693" y="13970"/>
                              <a:pt x="60960" y="13514"/>
                            </a:cubicBezTo>
                            <a:cubicBezTo>
                              <a:pt x="58420" y="14149"/>
                              <a:pt x="56825" y="16231"/>
                              <a:pt x="53340" y="15419"/>
                            </a:cubicBezTo>
                            <a:cubicBezTo>
                              <a:pt x="49855" y="14607"/>
                              <a:pt x="39095" y="11497"/>
                              <a:pt x="40048" y="8639"/>
                            </a:cubicBezTo>
                            <a:lnTo>
                              <a:pt x="32385" y="179"/>
                            </a:lnTo>
                            <a:close/>
                          </a:path>
                        </a:pathLst>
                      </a:custGeom>
                      <a:grpFill/>
                      <a:ln w="3175" cap="flat" cmpd="sng" algn="ctr">
                        <a:solidFill>
                          <a:srgbClr val="F2E8F8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34" name="Freeform: Shape 19">
                        <a:extLst>
                          <a:ext uri="{FF2B5EF4-FFF2-40B4-BE49-F238E27FC236}">
                            <a16:creationId xmlns:a16="http://schemas.microsoft.com/office/drawing/2014/main" id="{784E590E-0E37-33AB-D808-E6597EA0C86A}"/>
                          </a:ext>
                        </a:extLst>
                      </p:cNvPr>
                      <p:cNvSpPr/>
                      <p:nvPr/>
                    </p:nvSpPr>
                    <p:spPr>
                      <a:xfrm rot="4030563">
                        <a:off x="8954046" y="4390351"/>
                        <a:ext cx="27432" cy="27432"/>
                      </a:xfrm>
                      <a:custGeom>
                        <a:avLst/>
                        <a:gdLst>
                          <a:gd name="connsiteX0" fmla="*/ 32385 w 80010"/>
                          <a:gd name="connsiteY0" fmla="*/ 8118 h 64150"/>
                          <a:gd name="connsiteX1" fmla="*/ 32385 w 80010"/>
                          <a:gd name="connsiteY1" fmla="*/ 8118 h 64150"/>
                          <a:gd name="connsiteX2" fmla="*/ 3810 w 80010"/>
                          <a:gd name="connsiteY2" fmla="*/ 10023 h 64150"/>
                          <a:gd name="connsiteX3" fmla="*/ 0 w 80010"/>
                          <a:gd name="connsiteY3" fmla="*/ 21453 h 64150"/>
                          <a:gd name="connsiteX4" fmla="*/ 7620 w 80010"/>
                          <a:gd name="connsiteY4" fmla="*/ 42408 h 64150"/>
                          <a:gd name="connsiteX5" fmla="*/ 13335 w 80010"/>
                          <a:gd name="connsiteY5" fmla="*/ 46218 h 64150"/>
                          <a:gd name="connsiteX6" fmla="*/ 19050 w 80010"/>
                          <a:gd name="connsiteY6" fmla="*/ 51933 h 64150"/>
                          <a:gd name="connsiteX7" fmla="*/ 68580 w 80010"/>
                          <a:gd name="connsiteY7" fmla="*/ 55743 h 64150"/>
                          <a:gd name="connsiteX8" fmla="*/ 72390 w 80010"/>
                          <a:gd name="connsiteY8" fmla="*/ 50028 h 64150"/>
                          <a:gd name="connsiteX9" fmla="*/ 78105 w 80010"/>
                          <a:gd name="connsiteY9" fmla="*/ 44313 h 64150"/>
                          <a:gd name="connsiteX10" fmla="*/ 80010 w 80010"/>
                          <a:gd name="connsiteY10" fmla="*/ 38598 h 64150"/>
                          <a:gd name="connsiteX11" fmla="*/ 78105 w 80010"/>
                          <a:gd name="connsiteY11" fmla="*/ 27168 h 64150"/>
                          <a:gd name="connsiteX12" fmla="*/ 60960 w 80010"/>
                          <a:gd name="connsiteY12" fmla="*/ 21453 h 64150"/>
                          <a:gd name="connsiteX13" fmla="*/ 53340 w 80010"/>
                          <a:gd name="connsiteY13" fmla="*/ 23358 h 64150"/>
                          <a:gd name="connsiteX14" fmla="*/ 57150 w 80010"/>
                          <a:gd name="connsiteY14" fmla="*/ 11928 h 64150"/>
                          <a:gd name="connsiteX15" fmla="*/ 59055 w 80010"/>
                          <a:gd name="connsiteY15" fmla="*/ 6213 h 64150"/>
                          <a:gd name="connsiteX16" fmla="*/ 34290 w 80010"/>
                          <a:gd name="connsiteY16" fmla="*/ 498 h 64150"/>
                          <a:gd name="connsiteX17" fmla="*/ 32385 w 80010"/>
                          <a:gd name="connsiteY17" fmla="*/ 8118 h 64150"/>
                          <a:gd name="connsiteX0" fmla="*/ 32385 w 80010"/>
                          <a:gd name="connsiteY0" fmla="*/ 8118 h 64150"/>
                          <a:gd name="connsiteX1" fmla="*/ 32385 w 80010"/>
                          <a:gd name="connsiteY1" fmla="*/ 8118 h 64150"/>
                          <a:gd name="connsiteX2" fmla="*/ 3810 w 80010"/>
                          <a:gd name="connsiteY2" fmla="*/ 10023 h 64150"/>
                          <a:gd name="connsiteX3" fmla="*/ 0 w 80010"/>
                          <a:gd name="connsiteY3" fmla="*/ 21453 h 64150"/>
                          <a:gd name="connsiteX4" fmla="*/ 7620 w 80010"/>
                          <a:gd name="connsiteY4" fmla="*/ 42408 h 64150"/>
                          <a:gd name="connsiteX5" fmla="*/ 13335 w 80010"/>
                          <a:gd name="connsiteY5" fmla="*/ 46218 h 64150"/>
                          <a:gd name="connsiteX6" fmla="*/ 19050 w 80010"/>
                          <a:gd name="connsiteY6" fmla="*/ 51933 h 64150"/>
                          <a:gd name="connsiteX7" fmla="*/ 68580 w 80010"/>
                          <a:gd name="connsiteY7" fmla="*/ 55743 h 64150"/>
                          <a:gd name="connsiteX8" fmla="*/ 72390 w 80010"/>
                          <a:gd name="connsiteY8" fmla="*/ 50028 h 64150"/>
                          <a:gd name="connsiteX9" fmla="*/ 78105 w 80010"/>
                          <a:gd name="connsiteY9" fmla="*/ 44313 h 64150"/>
                          <a:gd name="connsiteX10" fmla="*/ 80010 w 80010"/>
                          <a:gd name="connsiteY10" fmla="*/ 38598 h 64150"/>
                          <a:gd name="connsiteX11" fmla="*/ 78105 w 80010"/>
                          <a:gd name="connsiteY11" fmla="*/ 27168 h 64150"/>
                          <a:gd name="connsiteX12" fmla="*/ 60960 w 80010"/>
                          <a:gd name="connsiteY12" fmla="*/ 21453 h 64150"/>
                          <a:gd name="connsiteX13" fmla="*/ 53340 w 80010"/>
                          <a:gd name="connsiteY13" fmla="*/ 23358 h 64150"/>
                          <a:gd name="connsiteX14" fmla="*/ 57150 w 80010"/>
                          <a:gd name="connsiteY14" fmla="*/ 11928 h 64150"/>
                          <a:gd name="connsiteX15" fmla="*/ 59055 w 80010"/>
                          <a:gd name="connsiteY15" fmla="*/ 6213 h 64150"/>
                          <a:gd name="connsiteX16" fmla="*/ 34290 w 80010"/>
                          <a:gd name="connsiteY16" fmla="*/ 498 h 64150"/>
                          <a:gd name="connsiteX17" fmla="*/ 32385 w 80010"/>
                          <a:gd name="connsiteY17" fmla="*/ 8118 h 64150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179 h 56211"/>
                          <a:gd name="connsiteX1" fmla="*/ 32385 w 80010"/>
                          <a:gd name="connsiteY1" fmla="*/ 179 h 56211"/>
                          <a:gd name="connsiteX2" fmla="*/ 3810 w 80010"/>
                          <a:gd name="connsiteY2" fmla="*/ 2084 h 56211"/>
                          <a:gd name="connsiteX3" fmla="*/ 0 w 80010"/>
                          <a:gd name="connsiteY3" fmla="*/ 13514 h 56211"/>
                          <a:gd name="connsiteX4" fmla="*/ 7620 w 80010"/>
                          <a:gd name="connsiteY4" fmla="*/ 34469 h 56211"/>
                          <a:gd name="connsiteX5" fmla="*/ 13335 w 80010"/>
                          <a:gd name="connsiteY5" fmla="*/ 38279 h 56211"/>
                          <a:gd name="connsiteX6" fmla="*/ 19050 w 80010"/>
                          <a:gd name="connsiteY6" fmla="*/ 43994 h 56211"/>
                          <a:gd name="connsiteX7" fmla="*/ 68580 w 80010"/>
                          <a:gd name="connsiteY7" fmla="*/ 47804 h 56211"/>
                          <a:gd name="connsiteX8" fmla="*/ 72390 w 80010"/>
                          <a:gd name="connsiteY8" fmla="*/ 42089 h 56211"/>
                          <a:gd name="connsiteX9" fmla="*/ 78105 w 80010"/>
                          <a:gd name="connsiteY9" fmla="*/ 36374 h 56211"/>
                          <a:gd name="connsiteX10" fmla="*/ 80010 w 80010"/>
                          <a:gd name="connsiteY10" fmla="*/ 30659 h 56211"/>
                          <a:gd name="connsiteX11" fmla="*/ 78105 w 80010"/>
                          <a:gd name="connsiteY11" fmla="*/ 19229 h 56211"/>
                          <a:gd name="connsiteX12" fmla="*/ 60960 w 80010"/>
                          <a:gd name="connsiteY12" fmla="*/ 13514 h 56211"/>
                          <a:gd name="connsiteX13" fmla="*/ 53340 w 80010"/>
                          <a:gd name="connsiteY13" fmla="*/ 15419 h 56211"/>
                          <a:gd name="connsiteX14" fmla="*/ 57150 w 80010"/>
                          <a:gd name="connsiteY14" fmla="*/ 3989 h 56211"/>
                          <a:gd name="connsiteX15" fmla="*/ 32385 w 80010"/>
                          <a:gd name="connsiteY15" fmla="*/ 179 h 56211"/>
                          <a:gd name="connsiteX0" fmla="*/ 32385 w 80010"/>
                          <a:gd name="connsiteY0" fmla="*/ 179 h 56211"/>
                          <a:gd name="connsiteX1" fmla="*/ 32385 w 80010"/>
                          <a:gd name="connsiteY1" fmla="*/ 179 h 56211"/>
                          <a:gd name="connsiteX2" fmla="*/ 3810 w 80010"/>
                          <a:gd name="connsiteY2" fmla="*/ 2084 h 56211"/>
                          <a:gd name="connsiteX3" fmla="*/ 0 w 80010"/>
                          <a:gd name="connsiteY3" fmla="*/ 13514 h 56211"/>
                          <a:gd name="connsiteX4" fmla="*/ 7620 w 80010"/>
                          <a:gd name="connsiteY4" fmla="*/ 34469 h 56211"/>
                          <a:gd name="connsiteX5" fmla="*/ 13335 w 80010"/>
                          <a:gd name="connsiteY5" fmla="*/ 38279 h 56211"/>
                          <a:gd name="connsiteX6" fmla="*/ 19050 w 80010"/>
                          <a:gd name="connsiteY6" fmla="*/ 43994 h 56211"/>
                          <a:gd name="connsiteX7" fmla="*/ 68580 w 80010"/>
                          <a:gd name="connsiteY7" fmla="*/ 47804 h 56211"/>
                          <a:gd name="connsiteX8" fmla="*/ 72390 w 80010"/>
                          <a:gd name="connsiteY8" fmla="*/ 42089 h 56211"/>
                          <a:gd name="connsiteX9" fmla="*/ 78105 w 80010"/>
                          <a:gd name="connsiteY9" fmla="*/ 36374 h 56211"/>
                          <a:gd name="connsiteX10" fmla="*/ 80010 w 80010"/>
                          <a:gd name="connsiteY10" fmla="*/ 30659 h 56211"/>
                          <a:gd name="connsiteX11" fmla="*/ 78105 w 80010"/>
                          <a:gd name="connsiteY11" fmla="*/ 19229 h 56211"/>
                          <a:gd name="connsiteX12" fmla="*/ 60960 w 80010"/>
                          <a:gd name="connsiteY12" fmla="*/ 13514 h 56211"/>
                          <a:gd name="connsiteX13" fmla="*/ 53340 w 80010"/>
                          <a:gd name="connsiteY13" fmla="*/ 15419 h 56211"/>
                          <a:gd name="connsiteX14" fmla="*/ 40048 w 80010"/>
                          <a:gd name="connsiteY14" fmla="*/ 8639 h 56211"/>
                          <a:gd name="connsiteX15" fmla="*/ 32385 w 80010"/>
                          <a:gd name="connsiteY15" fmla="*/ 179 h 56211"/>
                          <a:gd name="connsiteX0" fmla="*/ 32385 w 80010"/>
                          <a:gd name="connsiteY0" fmla="*/ 179 h 52171"/>
                          <a:gd name="connsiteX1" fmla="*/ 32385 w 80010"/>
                          <a:gd name="connsiteY1" fmla="*/ 179 h 52171"/>
                          <a:gd name="connsiteX2" fmla="*/ 3810 w 80010"/>
                          <a:gd name="connsiteY2" fmla="*/ 2084 h 52171"/>
                          <a:gd name="connsiteX3" fmla="*/ 0 w 80010"/>
                          <a:gd name="connsiteY3" fmla="*/ 13514 h 52171"/>
                          <a:gd name="connsiteX4" fmla="*/ 7620 w 80010"/>
                          <a:gd name="connsiteY4" fmla="*/ 34469 h 52171"/>
                          <a:gd name="connsiteX5" fmla="*/ 13335 w 80010"/>
                          <a:gd name="connsiteY5" fmla="*/ 38279 h 52171"/>
                          <a:gd name="connsiteX6" fmla="*/ 19050 w 80010"/>
                          <a:gd name="connsiteY6" fmla="*/ 43994 h 52171"/>
                          <a:gd name="connsiteX7" fmla="*/ 68580 w 80010"/>
                          <a:gd name="connsiteY7" fmla="*/ 47804 h 52171"/>
                          <a:gd name="connsiteX8" fmla="*/ 72390 w 80010"/>
                          <a:gd name="connsiteY8" fmla="*/ 42089 h 52171"/>
                          <a:gd name="connsiteX9" fmla="*/ 78105 w 80010"/>
                          <a:gd name="connsiteY9" fmla="*/ 36374 h 52171"/>
                          <a:gd name="connsiteX10" fmla="*/ 80010 w 80010"/>
                          <a:gd name="connsiteY10" fmla="*/ 30659 h 52171"/>
                          <a:gd name="connsiteX11" fmla="*/ 78105 w 80010"/>
                          <a:gd name="connsiteY11" fmla="*/ 19229 h 52171"/>
                          <a:gd name="connsiteX12" fmla="*/ 60960 w 80010"/>
                          <a:gd name="connsiteY12" fmla="*/ 13514 h 52171"/>
                          <a:gd name="connsiteX13" fmla="*/ 53340 w 80010"/>
                          <a:gd name="connsiteY13" fmla="*/ 15419 h 52171"/>
                          <a:gd name="connsiteX14" fmla="*/ 40048 w 80010"/>
                          <a:gd name="connsiteY14" fmla="*/ 8639 h 52171"/>
                          <a:gd name="connsiteX15" fmla="*/ 32385 w 80010"/>
                          <a:gd name="connsiteY15" fmla="*/ 179 h 52171"/>
                          <a:gd name="connsiteX0" fmla="*/ 32385 w 80010"/>
                          <a:gd name="connsiteY0" fmla="*/ 179 h 52432"/>
                          <a:gd name="connsiteX1" fmla="*/ 32385 w 80010"/>
                          <a:gd name="connsiteY1" fmla="*/ 179 h 52432"/>
                          <a:gd name="connsiteX2" fmla="*/ 3810 w 80010"/>
                          <a:gd name="connsiteY2" fmla="*/ 2084 h 52432"/>
                          <a:gd name="connsiteX3" fmla="*/ 0 w 80010"/>
                          <a:gd name="connsiteY3" fmla="*/ 13514 h 52432"/>
                          <a:gd name="connsiteX4" fmla="*/ 7620 w 80010"/>
                          <a:gd name="connsiteY4" fmla="*/ 34469 h 52432"/>
                          <a:gd name="connsiteX5" fmla="*/ 13335 w 80010"/>
                          <a:gd name="connsiteY5" fmla="*/ 38279 h 52432"/>
                          <a:gd name="connsiteX6" fmla="*/ 19050 w 80010"/>
                          <a:gd name="connsiteY6" fmla="*/ 43994 h 52432"/>
                          <a:gd name="connsiteX7" fmla="*/ 68580 w 80010"/>
                          <a:gd name="connsiteY7" fmla="*/ 47804 h 52432"/>
                          <a:gd name="connsiteX8" fmla="*/ 72390 w 80010"/>
                          <a:gd name="connsiteY8" fmla="*/ 42089 h 52432"/>
                          <a:gd name="connsiteX9" fmla="*/ 78105 w 80010"/>
                          <a:gd name="connsiteY9" fmla="*/ 36374 h 52432"/>
                          <a:gd name="connsiteX10" fmla="*/ 80010 w 80010"/>
                          <a:gd name="connsiteY10" fmla="*/ 30659 h 52432"/>
                          <a:gd name="connsiteX11" fmla="*/ 78105 w 80010"/>
                          <a:gd name="connsiteY11" fmla="*/ 19229 h 52432"/>
                          <a:gd name="connsiteX12" fmla="*/ 60960 w 80010"/>
                          <a:gd name="connsiteY12" fmla="*/ 13514 h 52432"/>
                          <a:gd name="connsiteX13" fmla="*/ 53340 w 80010"/>
                          <a:gd name="connsiteY13" fmla="*/ 15419 h 52432"/>
                          <a:gd name="connsiteX14" fmla="*/ 40048 w 80010"/>
                          <a:gd name="connsiteY14" fmla="*/ 8639 h 52432"/>
                          <a:gd name="connsiteX15" fmla="*/ 32385 w 80010"/>
                          <a:gd name="connsiteY15" fmla="*/ 179 h 52432"/>
                          <a:gd name="connsiteX0" fmla="*/ 32385 w 80010"/>
                          <a:gd name="connsiteY0" fmla="*/ 179 h 55651"/>
                          <a:gd name="connsiteX1" fmla="*/ 32385 w 80010"/>
                          <a:gd name="connsiteY1" fmla="*/ 179 h 55651"/>
                          <a:gd name="connsiteX2" fmla="*/ 3810 w 80010"/>
                          <a:gd name="connsiteY2" fmla="*/ 2084 h 55651"/>
                          <a:gd name="connsiteX3" fmla="*/ 0 w 80010"/>
                          <a:gd name="connsiteY3" fmla="*/ 13514 h 55651"/>
                          <a:gd name="connsiteX4" fmla="*/ 7620 w 80010"/>
                          <a:gd name="connsiteY4" fmla="*/ 34469 h 55651"/>
                          <a:gd name="connsiteX5" fmla="*/ 13335 w 80010"/>
                          <a:gd name="connsiteY5" fmla="*/ 38279 h 55651"/>
                          <a:gd name="connsiteX6" fmla="*/ 19050 w 80010"/>
                          <a:gd name="connsiteY6" fmla="*/ 43994 h 55651"/>
                          <a:gd name="connsiteX7" fmla="*/ 48058 w 80010"/>
                          <a:gd name="connsiteY7" fmla="*/ 52454 h 55651"/>
                          <a:gd name="connsiteX8" fmla="*/ 72390 w 80010"/>
                          <a:gd name="connsiteY8" fmla="*/ 42089 h 55651"/>
                          <a:gd name="connsiteX9" fmla="*/ 78105 w 80010"/>
                          <a:gd name="connsiteY9" fmla="*/ 36374 h 55651"/>
                          <a:gd name="connsiteX10" fmla="*/ 80010 w 80010"/>
                          <a:gd name="connsiteY10" fmla="*/ 30659 h 55651"/>
                          <a:gd name="connsiteX11" fmla="*/ 78105 w 80010"/>
                          <a:gd name="connsiteY11" fmla="*/ 19229 h 55651"/>
                          <a:gd name="connsiteX12" fmla="*/ 60960 w 80010"/>
                          <a:gd name="connsiteY12" fmla="*/ 13514 h 55651"/>
                          <a:gd name="connsiteX13" fmla="*/ 53340 w 80010"/>
                          <a:gd name="connsiteY13" fmla="*/ 15419 h 55651"/>
                          <a:gd name="connsiteX14" fmla="*/ 40048 w 80010"/>
                          <a:gd name="connsiteY14" fmla="*/ 8639 h 55651"/>
                          <a:gd name="connsiteX15" fmla="*/ 32385 w 80010"/>
                          <a:gd name="connsiteY15" fmla="*/ 179 h 55651"/>
                          <a:gd name="connsiteX0" fmla="*/ 32385 w 80010"/>
                          <a:gd name="connsiteY0" fmla="*/ 179 h 53227"/>
                          <a:gd name="connsiteX1" fmla="*/ 32385 w 80010"/>
                          <a:gd name="connsiteY1" fmla="*/ 179 h 53227"/>
                          <a:gd name="connsiteX2" fmla="*/ 3810 w 80010"/>
                          <a:gd name="connsiteY2" fmla="*/ 2084 h 53227"/>
                          <a:gd name="connsiteX3" fmla="*/ 0 w 80010"/>
                          <a:gd name="connsiteY3" fmla="*/ 13514 h 53227"/>
                          <a:gd name="connsiteX4" fmla="*/ 7620 w 80010"/>
                          <a:gd name="connsiteY4" fmla="*/ 34469 h 53227"/>
                          <a:gd name="connsiteX5" fmla="*/ 13335 w 80010"/>
                          <a:gd name="connsiteY5" fmla="*/ 38279 h 53227"/>
                          <a:gd name="connsiteX6" fmla="*/ 19050 w 80010"/>
                          <a:gd name="connsiteY6" fmla="*/ 43994 h 53227"/>
                          <a:gd name="connsiteX7" fmla="*/ 48058 w 80010"/>
                          <a:gd name="connsiteY7" fmla="*/ 52454 h 53227"/>
                          <a:gd name="connsiteX8" fmla="*/ 72390 w 80010"/>
                          <a:gd name="connsiteY8" fmla="*/ 42089 h 53227"/>
                          <a:gd name="connsiteX9" fmla="*/ 78105 w 80010"/>
                          <a:gd name="connsiteY9" fmla="*/ 36374 h 53227"/>
                          <a:gd name="connsiteX10" fmla="*/ 80010 w 80010"/>
                          <a:gd name="connsiteY10" fmla="*/ 30659 h 53227"/>
                          <a:gd name="connsiteX11" fmla="*/ 78105 w 80010"/>
                          <a:gd name="connsiteY11" fmla="*/ 19229 h 53227"/>
                          <a:gd name="connsiteX12" fmla="*/ 60960 w 80010"/>
                          <a:gd name="connsiteY12" fmla="*/ 13514 h 53227"/>
                          <a:gd name="connsiteX13" fmla="*/ 53340 w 80010"/>
                          <a:gd name="connsiteY13" fmla="*/ 15419 h 53227"/>
                          <a:gd name="connsiteX14" fmla="*/ 40048 w 80010"/>
                          <a:gd name="connsiteY14" fmla="*/ 8639 h 53227"/>
                          <a:gd name="connsiteX15" fmla="*/ 32385 w 80010"/>
                          <a:gd name="connsiteY15" fmla="*/ 179 h 5322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80010" h="53227">
                            <a:moveTo>
                              <a:pt x="32385" y="179"/>
                            </a:moveTo>
                            <a:lnTo>
                              <a:pt x="32385" y="179"/>
                            </a:lnTo>
                            <a:cubicBezTo>
                              <a:pt x="22860" y="814"/>
                              <a:pt x="12637" y="-1551"/>
                              <a:pt x="3810" y="2084"/>
                            </a:cubicBezTo>
                            <a:cubicBezTo>
                              <a:pt x="96" y="3613"/>
                              <a:pt x="0" y="13514"/>
                              <a:pt x="0" y="13514"/>
                            </a:cubicBezTo>
                            <a:cubicBezTo>
                              <a:pt x="1410" y="20563"/>
                              <a:pt x="2165" y="29014"/>
                              <a:pt x="7620" y="34469"/>
                            </a:cubicBezTo>
                            <a:cubicBezTo>
                              <a:pt x="9239" y="36088"/>
                              <a:pt x="11576" y="36813"/>
                              <a:pt x="13335" y="38279"/>
                            </a:cubicBezTo>
                            <a:cubicBezTo>
                              <a:pt x="15405" y="40004"/>
                              <a:pt x="17145" y="42089"/>
                              <a:pt x="19050" y="43994"/>
                            </a:cubicBezTo>
                            <a:cubicBezTo>
                              <a:pt x="36453" y="53990"/>
                              <a:pt x="29632" y="54059"/>
                              <a:pt x="48058" y="52454"/>
                            </a:cubicBezTo>
                            <a:cubicBezTo>
                              <a:pt x="50339" y="52255"/>
                              <a:pt x="67382" y="44769"/>
                              <a:pt x="72390" y="42089"/>
                            </a:cubicBezTo>
                            <a:cubicBezTo>
                              <a:pt x="77398" y="39409"/>
                              <a:pt x="76200" y="38279"/>
                              <a:pt x="78105" y="36374"/>
                            </a:cubicBezTo>
                            <a:cubicBezTo>
                              <a:pt x="78740" y="34469"/>
                              <a:pt x="80010" y="32667"/>
                              <a:pt x="80010" y="30659"/>
                            </a:cubicBezTo>
                            <a:cubicBezTo>
                              <a:pt x="80010" y="26796"/>
                              <a:pt x="79832" y="22684"/>
                              <a:pt x="78105" y="19229"/>
                            </a:cubicBezTo>
                            <a:cubicBezTo>
                              <a:pt x="75670" y="14359"/>
                              <a:pt x="63693" y="13970"/>
                              <a:pt x="60960" y="13514"/>
                            </a:cubicBezTo>
                            <a:cubicBezTo>
                              <a:pt x="58420" y="14149"/>
                              <a:pt x="56825" y="16231"/>
                              <a:pt x="53340" y="15419"/>
                            </a:cubicBezTo>
                            <a:cubicBezTo>
                              <a:pt x="49855" y="14607"/>
                              <a:pt x="39095" y="11497"/>
                              <a:pt x="40048" y="8639"/>
                            </a:cubicBezTo>
                            <a:lnTo>
                              <a:pt x="32385" y="179"/>
                            </a:lnTo>
                            <a:close/>
                          </a:path>
                        </a:pathLst>
                      </a:custGeom>
                      <a:solidFill>
                        <a:srgbClr val="0D3759"/>
                      </a:solidFill>
                      <a:ln w="3175" cap="flat" cmpd="sng" algn="ctr">
                        <a:solidFill>
                          <a:srgbClr val="F2E8F8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35" name="Freeform: Shape 20">
                        <a:extLst>
                          <a:ext uri="{FF2B5EF4-FFF2-40B4-BE49-F238E27FC236}">
                            <a16:creationId xmlns:a16="http://schemas.microsoft.com/office/drawing/2014/main" id="{41E27AD6-E82D-0850-9840-CEEBA564935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878794" y="4215604"/>
                        <a:ext cx="27432" cy="27432"/>
                      </a:xfrm>
                      <a:custGeom>
                        <a:avLst/>
                        <a:gdLst>
                          <a:gd name="connsiteX0" fmla="*/ 32385 w 80010"/>
                          <a:gd name="connsiteY0" fmla="*/ 8118 h 64150"/>
                          <a:gd name="connsiteX1" fmla="*/ 32385 w 80010"/>
                          <a:gd name="connsiteY1" fmla="*/ 8118 h 64150"/>
                          <a:gd name="connsiteX2" fmla="*/ 3810 w 80010"/>
                          <a:gd name="connsiteY2" fmla="*/ 10023 h 64150"/>
                          <a:gd name="connsiteX3" fmla="*/ 0 w 80010"/>
                          <a:gd name="connsiteY3" fmla="*/ 21453 h 64150"/>
                          <a:gd name="connsiteX4" fmla="*/ 7620 w 80010"/>
                          <a:gd name="connsiteY4" fmla="*/ 42408 h 64150"/>
                          <a:gd name="connsiteX5" fmla="*/ 13335 w 80010"/>
                          <a:gd name="connsiteY5" fmla="*/ 46218 h 64150"/>
                          <a:gd name="connsiteX6" fmla="*/ 19050 w 80010"/>
                          <a:gd name="connsiteY6" fmla="*/ 51933 h 64150"/>
                          <a:gd name="connsiteX7" fmla="*/ 68580 w 80010"/>
                          <a:gd name="connsiteY7" fmla="*/ 55743 h 64150"/>
                          <a:gd name="connsiteX8" fmla="*/ 72390 w 80010"/>
                          <a:gd name="connsiteY8" fmla="*/ 50028 h 64150"/>
                          <a:gd name="connsiteX9" fmla="*/ 78105 w 80010"/>
                          <a:gd name="connsiteY9" fmla="*/ 44313 h 64150"/>
                          <a:gd name="connsiteX10" fmla="*/ 80010 w 80010"/>
                          <a:gd name="connsiteY10" fmla="*/ 38598 h 64150"/>
                          <a:gd name="connsiteX11" fmla="*/ 78105 w 80010"/>
                          <a:gd name="connsiteY11" fmla="*/ 27168 h 64150"/>
                          <a:gd name="connsiteX12" fmla="*/ 60960 w 80010"/>
                          <a:gd name="connsiteY12" fmla="*/ 21453 h 64150"/>
                          <a:gd name="connsiteX13" fmla="*/ 53340 w 80010"/>
                          <a:gd name="connsiteY13" fmla="*/ 23358 h 64150"/>
                          <a:gd name="connsiteX14" fmla="*/ 57150 w 80010"/>
                          <a:gd name="connsiteY14" fmla="*/ 11928 h 64150"/>
                          <a:gd name="connsiteX15" fmla="*/ 59055 w 80010"/>
                          <a:gd name="connsiteY15" fmla="*/ 6213 h 64150"/>
                          <a:gd name="connsiteX16" fmla="*/ 34290 w 80010"/>
                          <a:gd name="connsiteY16" fmla="*/ 498 h 64150"/>
                          <a:gd name="connsiteX17" fmla="*/ 32385 w 80010"/>
                          <a:gd name="connsiteY17" fmla="*/ 8118 h 64150"/>
                          <a:gd name="connsiteX0" fmla="*/ 32385 w 80010"/>
                          <a:gd name="connsiteY0" fmla="*/ 8118 h 64150"/>
                          <a:gd name="connsiteX1" fmla="*/ 32385 w 80010"/>
                          <a:gd name="connsiteY1" fmla="*/ 8118 h 64150"/>
                          <a:gd name="connsiteX2" fmla="*/ 3810 w 80010"/>
                          <a:gd name="connsiteY2" fmla="*/ 10023 h 64150"/>
                          <a:gd name="connsiteX3" fmla="*/ 0 w 80010"/>
                          <a:gd name="connsiteY3" fmla="*/ 21453 h 64150"/>
                          <a:gd name="connsiteX4" fmla="*/ 7620 w 80010"/>
                          <a:gd name="connsiteY4" fmla="*/ 42408 h 64150"/>
                          <a:gd name="connsiteX5" fmla="*/ 13335 w 80010"/>
                          <a:gd name="connsiteY5" fmla="*/ 46218 h 64150"/>
                          <a:gd name="connsiteX6" fmla="*/ 19050 w 80010"/>
                          <a:gd name="connsiteY6" fmla="*/ 51933 h 64150"/>
                          <a:gd name="connsiteX7" fmla="*/ 68580 w 80010"/>
                          <a:gd name="connsiteY7" fmla="*/ 55743 h 64150"/>
                          <a:gd name="connsiteX8" fmla="*/ 72390 w 80010"/>
                          <a:gd name="connsiteY8" fmla="*/ 50028 h 64150"/>
                          <a:gd name="connsiteX9" fmla="*/ 78105 w 80010"/>
                          <a:gd name="connsiteY9" fmla="*/ 44313 h 64150"/>
                          <a:gd name="connsiteX10" fmla="*/ 80010 w 80010"/>
                          <a:gd name="connsiteY10" fmla="*/ 38598 h 64150"/>
                          <a:gd name="connsiteX11" fmla="*/ 78105 w 80010"/>
                          <a:gd name="connsiteY11" fmla="*/ 27168 h 64150"/>
                          <a:gd name="connsiteX12" fmla="*/ 60960 w 80010"/>
                          <a:gd name="connsiteY12" fmla="*/ 21453 h 64150"/>
                          <a:gd name="connsiteX13" fmla="*/ 53340 w 80010"/>
                          <a:gd name="connsiteY13" fmla="*/ 23358 h 64150"/>
                          <a:gd name="connsiteX14" fmla="*/ 57150 w 80010"/>
                          <a:gd name="connsiteY14" fmla="*/ 11928 h 64150"/>
                          <a:gd name="connsiteX15" fmla="*/ 59055 w 80010"/>
                          <a:gd name="connsiteY15" fmla="*/ 6213 h 64150"/>
                          <a:gd name="connsiteX16" fmla="*/ 34290 w 80010"/>
                          <a:gd name="connsiteY16" fmla="*/ 498 h 64150"/>
                          <a:gd name="connsiteX17" fmla="*/ 32385 w 80010"/>
                          <a:gd name="connsiteY17" fmla="*/ 8118 h 64150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2019 h 58051"/>
                          <a:gd name="connsiteX1" fmla="*/ 32385 w 80010"/>
                          <a:gd name="connsiteY1" fmla="*/ 2019 h 58051"/>
                          <a:gd name="connsiteX2" fmla="*/ 3810 w 80010"/>
                          <a:gd name="connsiteY2" fmla="*/ 3924 h 58051"/>
                          <a:gd name="connsiteX3" fmla="*/ 0 w 80010"/>
                          <a:gd name="connsiteY3" fmla="*/ 15354 h 58051"/>
                          <a:gd name="connsiteX4" fmla="*/ 7620 w 80010"/>
                          <a:gd name="connsiteY4" fmla="*/ 36309 h 58051"/>
                          <a:gd name="connsiteX5" fmla="*/ 13335 w 80010"/>
                          <a:gd name="connsiteY5" fmla="*/ 40119 h 58051"/>
                          <a:gd name="connsiteX6" fmla="*/ 19050 w 80010"/>
                          <a:gd name="connsiteY6" fmla="*/ 45834 h 58051"/>
                          <a:gd name="connsiteX7" fmla="*/ 68580 w 80010"/>
                          <a:gd name="connsiteY7" fmla="*/ 49644 h 58051"/>
                          <a:gd name="connsiteX8" fmla="*/ 72390 w 80010"/>
                          <a:gd name="connsiteY8" fmla="*/ 43929 h 58051"/>
                          <a:gd name="connsiteX9" fmla="*/ 78105 w 80010"/>
                          <a:gd name="connsiteY9" fmla="*/ 38214 h 58051"/>
                          <a:gd name="connsiteX10" fmla="*/ 80010 w 80010"/>
                          <a:gd name="connsiteY10" fmla="*/ 32499 h 58051"/>
                          <a:gd name="connsiteX11" fmla="*/ 78105 w 80010"/>
                          <a:gd name="connsiteY11" fmla="*/ 21069 h 58051"/>
                          <a:gd name="connsiteX12" fmla="*/ 60960 w 80010"/>
                          <a:gd name="connsiteY12" fmla="*/ 15354 h 58051"/>
                          <a:gd name="connsiteX13" fmla="*/ 53340 w 80010"/>
                          <a:gd name="connsiteY13" fmla="*/ 17259 h 58051"/>
                          <a:gd name="connsiteX14" fmla="*/ 57150 w 80010"/>
                          <a:gd name="connsiteY14" fmla="*/ 5829 h 58051"/>
                          <a:gd name="connsiteX15" fmla="*/ 59055 w 80010"/>
                          <a:gd name="connsiteY15" fmla="*/ 114 h 58051"/>
                          <a:gd name="connsiteX16" fmla="*/ 32385 w 80010"/>
                          <a:gd name="connsiteY16" fmla="*/ 2019 h 58051"/>
                          <a:gd name="connsiteX0" fmla="*/ 32385 w 80010"/>
                          <a:gd name="connsiteY0" fmla="*/ 179 h 56211"/>
                          <a:gd name="connsiteX1" fmla="*/ 32385 w 80010"/>
                          <a:gd name="connsiteY1" fmla="*/ 179 h 56211"/>
                          <a:gd name="connsiteX2" fmla="*/ 3810 w 80010"/>
                          <a:gd name="connsiteY2" fmla="*/ 2084 h 56211"/>
                          <a:gd name="connsiteX3" fmla="*/ 0 w 80010"/>
                          <a:gd name="connsiteY3" fmla="*/ 13514 h 56211"/>
                          <a:gd name="connsiteX4" fmla="*/ 7620 w 80010"/>
                          <a:gd name="connsiteY4" fmla="*/ 34469 h 56211"/>
                          <a:gd name="connsiteX5" fmla="*/ 13335 w 80010"/>
                          <a:gd name="connsiteY5" fmla="*/ 38279 h 56211"/>
                          <a:gd name="connsiteX6" fmla="*/ 19050 w 80010"/>
                          <a:gd name="connsiteY6" fmla="*/ 43994 h 56211"/>
                          <a:gd name="connsiteX7" fmla="*/ 68580 w 80010"/>
                          <a:gd name="connsiteY7" fmla="*/ 47804 h 56211"/>
                          <a:gd name="connsiteX8" fmla="*/ 72390 w 80010"/>
                          <a:gd name="connsiteY8" fmla="*/ 42089 h 56211"/>
                          <a:gd name="connsiteX9" fmla="*/ 78105 w 80010"/>
                          <a:gd name="connsiteY9" fmla="*/ 36374 h 56211"/>
                          <a:gd name="connsiteX10" fmla="*/ 80010 w 80010"/>
                          <a:gd name="connsiteY10" fmla="*/ 30659 h 56211"/>
                          <a:gd name="connsiteX11" fmla="*/ 78105 w 80010"/>
                          <a:gd name="connsiteY11" fmla="*/ 19229 h 56211"/>
                          <a:gd name="connsiteX12" fmla="*/ 60960 w 80010"/>
                          <a:gd name="connsiteY12" fmla="*/ 13514 h 56211"/>
                          <a:gd name="connsiteX13" fmla="*/ 53340 w 80010"/>
                          <a:gd name="connsiteY13" fmla="*/ 15419 h 56211"/>
                          <a:gd name="connsiteX14" fmla="*/ 57150 w 80010"/>
                          <a:gd name="connsiteY14" fmla="*/ 3989 h 56211"/>
                          <a:gd name="connsiteX15" fmla="*/ 32385 w 80010"/>
                          <a:gd name="connsiteY15" fmla="*/ 179 h 56211"/>
                          <a:gd name="connsiteX0" fmla="*/ 32385 w 80010"/>
                          <a:gd name="connsiteY0" fmla="*/ 179 h 56211"/>
                          <a:gd name="connsiteX1" fmla="*/ 32385 w 80010"/>
                          <a:gd name="connsiteY1" fmla="*/ 179 h 56211"/>
                          <a:gd name="connsiteX2" fmla="*/ 3810 w 80010"/>
                          <a:gd name="connsiteY2" fmla="*/ 2084 h 56211"/>
                          <a:gd name="connsiteX3" fmla="*/ 0 w 80010"/>
                          <a:gd name="connsiteY3" fmla="*/ 13514 h 56211"/>
                          <a:gd name="connsiteX4" fmla="*/ 7620 w 80010"/>
                          <a:gd name="connsiteY4" fmla="*/ 34469 h 56211"/>
                          <a:gd name="connsiteX5" fmla="*/ 13335 w 80010"/>
                          <a:gd name="connsiteY5" fmla="*/ 38279 h 56211"/>
                          <a:gd name="connsiteX6" fmla="*/ 19050 w 80010"/>
                          <a:gd name="connsiteY6" fmla="*/ 43994 h 56211"/>
                          <a:gd name="connsiteX7" fmla="*/ 68580 w 80010"/>
                          <a:gd name="connsiteY7" fmla="*/ 47804 h 56211"/>
                          <a:gd name="connsiteX8" fmla="*/ 72390 w 80010"/>
                          <a:gd name="connsiteY8" fmla="*/ 42089 h 56211"/>
                          <a:gd name="connsiteX9" fmla="*/ 78105 w 80010"/>
                          <a:gd name="connsiteY9" fmla="*/ 36374 h 56211"/>
                          <a:gd name="connsiteX10" fmla="*/ 80010 w 80010"/>
                          <a:gd name="connsiteY10" fmla="*/ 30659 h 56211"/>
                          <a:gd name="connsiteX11" fmla="*/ 78105 w 80010"/>
                          <a:gd name="connsiteY11" fmla="*/ 19229 h 56211"/>
                          <a:gd name="connsiteX12" fmla="*/ 60960 w 80010"/>
                          <a:gd name="connsiteY12" fmla="*/ 13514 h 56211"/>
                          <a:gd name="connsiteX13" fmla="*/ 53340 w 80010"/>
                          <a:gd name="connsiteY13" fmla="*/ 15419 h 56211"/>
                          <a:gd name="connsiteX14" fmla="*/ 40048 w 80010"/>
                          <a:gd name="connsiteY14" fmla="*/ 8639 h 56211"/>
                          <a:gd name="connsiteX15" fmla="*/ 32385 w 80010"/>
                          <a:gd name="connsiteY15" fmla="*/ 179 h 56211"/>
                          <a:gd name="connsiteX0" fmla="*/ 32385 w 80010"/>
                          <a:gd name="connsiteY0" fmla="*/ 179 h 52171"/>
                          <a:gd name="connsiteX1" fmla="*/ 32385 w 80010"/>
                          <a:gd name="connsiteY1" fmla="*/ 179 h 52171"/>
                          <a:gd name="connsiteX2" fmla="*/ 3810 w 80010"/>
                          <a:gd name="connsiteY2" fmla="*/ 2084 h 52171"/>
                          <a:gd name="connsiteX3" fmla="*/ 0 w 80010"/>
                          <a:gd name="connsiteY3" fmla="*/ 13514 h 52171"/>
                          <a:gd name="connsiteX4" fmla="*/ 7620 w 80010"/>
                          <a:gd name="connsiteY4" fmla="*/ 34469 h 52171"/>
                          <a:gd name="connsiteX5" fmla="*/ 13335 w 80010"/>
                          <a:gd name="connsiteY5" fmla="*/ 38279 h 52171"/>
                          <a:gd name="connsiteX6" fmla="*/ 19050 w 80010"/>
                          <a:gd name="connsiteY6" fmla="*/ 43994 h 52171"/>
                          <a:gd name="connsiteX7" fmla="*/ 68580 w 80010"/>
                          <a:gd name="connsiteY7" fmla="*/ 47804 h 52171"/>
                          <a:gd name="connsiteX8" fmla="*/ 72390 w 80010"/>
                          <a:gd name="connsiteY8" fmla="*/ 42089 h 52171"/>
                          <a:gd name="connsiteX9" fmla="*/ 78105 w 80010"/>
                          <a:gd name="connsiteY9" fmla="*/ 36374 h 52171"/>
                          <a:gd name="connsiteX10" fmla="*/ 80010 w 80010"/>
                          <a:gd name="connsiteY10" fmla="*/ 30659 h 52171"/>
                          <a:gd name="connsiteX11" fmla="*/ 78105 w 80010"/>
                          <a:gd name="connsiteY11" fmla="*/ 19229 h 52171"/>
                          <a:gd name="connsiteX12" fmla="*/ 60960 w 80010"/>
                          <a:gd name="connsiteY12" fmla="*/ 13514 h 52171"/>
                          <a:gd name="connsiteX13" fmla="*/ 53340 w 80010"/>
                          <a:gd name="connsiteY13" fmla="*/ 15419 h 52171"/>
                          <a:gd name="connsiteX14" fmla="*/ 40048 w 80010"/>
                          <a:gd name="connsiteY14" fmla="*/ 8639 h 52171"/>
                          <a:gd name="connsiteX15" fmla="*/ 32385 w 80010"/>
                          <a:gd name="connsiteY15" fmla="*/ 179 h 52171"/>
                          <a:gd name="connsiteX0" fmla="*/ 32385 w 80010"/>
                          <a:gd name="connsiteY0" fmla="*/ 179 h 52432"/>
                          <a:gd name="connsiteX1" fmla="*/ 32385 w 80010"/>
                          <a:gd name="connsiteY1" fmla="*/ 179 h 52432"/>
                          <a:gd name="connsiteX2" fmla="*/ 3810 w 80010"/>
                          <a:gd name="connsiteY2" fmla="*/ 2084 h 52432"/>
                          <a:gd name="connsiteX3" fmla="*/ 0 w 80010"/>
                          <a:gd name="connsiteY3" fmla="*/ 13514 h 52432"/>
                          <a:gd name="connsiteX4" fmla="*/ 7620 w 80010"/>
                          <a:gd name="connsiteY4" fmla="*/ 34469 h 52432"/>
                          <a:gd name="connsiteX5" fmla="*/ 13335 w 80010"/>
                          <a:gd name="connsiteY5" fmla="*/ 38279 h 52432"/>
                          <a:gd name="connsiteX6" fmla="*/ 19050 w 80010"/>
                          <a:gd name="connsiteY6" fmla="*/ 43994 h 52432"/>
                          <a:gd name="connsiteX7" fmla="*/ 68580 w 80010"/>
                          <a:gd name="connsiteY7" fmla="*/ 47804 h 52432"/>
                          <a:gd name="connsiteX8" fmla="*/ 72390 w 80010"/>
                          <a:gd name="connsiteY8" fmla="*/ 42089 h 52432"/>
                          <a:gd name="connsiteX9" fmla="*/ 78105 w 80010"/>
                          <a:gd name="connsiteY9" fmla="*/ 36374 h 52432"/>
                          <a:gd name="connsiteX10" fmla="*/ 80010 w 80010"/>
                          <a:gd name="connsiteY10" fmla="*/ 30659 h 52432"/>
                          <a:gd name="connsiteX11" fmla="*/ 78105 w 80010"/>
                          <a:gd name="connsiteY11" fmla="*/ 19229 h 52432"/>
                          <a:gd name="connsiteX12" fmla="*/ 60960 w 80010"/>
                          <a:gd name="connsiteY12" fmla="*/ 13514 h 52432"/>
                          <a:gd name="connsiteX13" fmla="*/ 53340 w 80010"/>
                          <a:gd name="connsiteY13" fmla="*/ 15419 h 52432"/>
                          <a:gd name="connsiteX14" fmla="*/ 40048 w 80010"/>
                          <a:gd name="connsiteY14" fmla="*/ 8639 h 52432"/>
                          <a:gd name="connsiteX15" fmla="*/ 32385 w 80010"/>
                          <a:gd name="connsiteY15" fmla="*/ 179 h 52432"/>
                          <a:gd name="connsiteX0" fmla="*/ 32385 w 80010"/>
                          <a:gd name="connsiteY0" fmla="*/ 179 h 55651"/>
                          <a:gd name="connsiteX1" fmla="*/ 32385 w 80010"/>
                          <a:gd name="connsiteY1" fmla="*/ 179 h 55651"/>
                          <a:gd name="connsiteX2" fmla="*/ 3810 w 80010"/>
                          <a:gd name="connsiteY2" fmla="*/ 2084 h 55651"/>
                          <a:gd name="connsiteX3" fmla="*/ 0 w 80010"/>
                          <a:gd name="connsiteY3" fmla="*/ 13514 h 55651"/>
                          <a:gd name="connsiteX4" fmla="*/ 7620 w 80010"/>
                          <a:gd name="connsiteY4" fmla="*/ 34469 h 55651"/>
                          <a:gd name="connsiteX5" fmla="*/ 13335 w 80010"/>
                          <a:gd name="connsiteY5" fmla="*/ 38279 h 55651"/>
                          <a:gd name="connsiteX6" fmla="*/ 19050 w 80010"/>
                          <a:gd name="connsiteY6" fmla="*/ 43994 h 55651"/>
                          <a:gd name="connsiteX7" fmla="*/ 48058 w 80010"/>
                          <a:gd name="connsiteY7" fmla="*/ 52454 h 55651"/>
                          <a:gd name="connsiteX8" fmla="*/ 72390 w 80010"/>
                          <a:gd name="connsiteY8" fmla="*/ 42089 h 55651"/>
                          <a:gd name="connsiteX9" fmla="*/ 78105 w 80010"/>
                          <a:gd name="connsiteY9" fmla="*/ 36374 h 55651"/>
                          <a:gd name="connsiteX10" fmla="*/ 80010 w 80010"/>
                          <a:gd name="connsiteY10" fmla="*/ 30659 h 55651"/>
                          <a:gd name="connsiteX11" fmla="*/ 78105 w 80010"/>
                          <a:gd name="connsiteY11" fmla="*/ 19229 h 55651"/>
                          <a:gd name="connsiteX12" fmla="*/ 60960 w 80010"/>
                          <a:gd name="connsiteY12" fmla="*/ 13514 h 55651"/>
                          <a:gd name="connsiteX13" fmla="*/ 53340 w 80010"/>
                          <a:gd name="connsiteY13" fmla="*/ 15419 h 55651"/>
                          <a:gd name="connsiteX14" fmla="*/ 40048 w 80010"/>
                          <a:gd name="connsiteY14" fmla="*/ 8639 h 55651"/>
                          <a:gd name="connsiteX15" fmla="*/ 32385 w 80010"/>
                          <a:gd name="connsiteY15" fmla="*/ 179 h 55651"/>
                          <a:gd name="connsiteX0" fmla="*/ 32385 w 80010"/>
                          <a:gd name="connsiteY0" fmla="*/ 179 h 53227"/>
                          <a:gd name="connsiteX1" fmla="*/ 32385 w 80010"/>
                          <a:gd name="connsiteY1" fmla="*/ 179 h 53227"/>
                          <a:gd name="connsiteX2" fmla="*/ 3810 w 80010"/>
                          <a:gd name="connsiteY2" fmla="*/ 2084 h 53227"/>
                          <a:gd name="connsiteX3" fmla="*/ 0 w 80010"/>
                          <a:gd name="connsiteY3" fmla="*/ 13514 h 53227"/>
                          <a:gd name="connsiteX4" fmla="*/ 7620 w 80010"/>
                          <a:gd name="connsiteY4" fmla="*/ 34469 h 53227"/>
                          <a:gd name="connsiteX5" fmla="*/ 13335 w 80010"/>
                          <a:gd name="connsiteY5" fmla="*/ 38279 h 53227"/>
                          <a:gd name="connsiteX6" fmla="*/ 19050 w 80010"/>
                          <a:gd name="connsiteY6" fmla="*/ 43994 h 53227"/>
                          <a:gd name="connsiteX7" fmla="*/ 48058 w 80010"/>
                          <a:gd name="connsiteY7" fmla="*/ 52454 h 53227"/>
                          <a:gd name="connsiteX8" fmla="*/ 72390 w 80010"/>
                          <a:gd name="connsiteY8" fmla="*/ 42089 h 53227"/>
                          <a:gd name="connsiteX9" fmla="*/ 78105 w 80010"/>
                          <a:gd name="connsiteY9" fmla="*/ 36374 h 53227"/>
                          <a:gd name="connsiteX10" fmla="*/ 80010 w 80010"/>
                          <a:gd name="connsiteY10" fmla="*/ 30659 h 53227"/>
                          <a:gd name="connsiteX11" fmla="*/ 78105 w 80010"/>
                          <a:gd name="connsiteY11" fmla="*/ 19229 h 53227"/>
                          <a:gd name="connsiteX12" fmla="*/ 60960 w 80010"/>
                          <a:gd name="connsiteY12" fmla="*/ 13514 h 53227"/>
                          <a:gd name="connsiteX13" fmla="*/ 53340 w 80010"/>
                          <a:gd name="connsiteY13" fmla="*/ 15419 h 53227"/>
                          <a:gd name="connsiteX14" fmla="*/ 40048 w 80010"/>
                          <a:gd name="connsiteY14" fmla="*/ 8639 h 53227"/>
                          <a:gd name="connsiteX15" fmla="*/ 32385 w 80010"/>
                          <a:gd name="connsiteY15" fmla="*/ 179 h 5322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80010" h="53227">
                            <a:moveTo>
                              <a:pt x="32385" y="179"/>
                            </a:moveTo>
                            <a:lnTo>
                              <a:pt x="32385" y="179"/>
                            </a:lnTo>
                            <a:cubicBezTo>
                              <a:pt x="22860" y="814"/>
                              <a:pt x="12637" y="-1551"/>
                              <a:pt x="3810" y="2084"/>
                            </a:cubicBezTo>
                            <a:cubicBezTo>
                              <a:pt x="96" y="3613"/>
                              <a:pt x="0" y="13514"/>
                              <a:pt x="0" y="13514"/>
                            </a:cubicBezTo>
                            <a:cubicBezTo>
                              <a:pt x="1410" y="20563"/>
                              <a:pt x="2165" y="29014"/>
                              <a:pt x="7620" y="34469"/>
                            </a:cubicBezTo>
                            <a:cubicBezTo>
                              <a:pt x="9239" y="36088"/>
                              <a:pt x="11576" y="36813"/>
                              <a:pt x="13335" y="38279"/>
                            </a:cubicBezTo>
                            <a:cubicBezTo>
                              <a:pt x="15405" y="40004"/>
                              <a:pt x="17145" y="42089"/>
                              <a:pt x="19050" y="43994"/>
                            </a:cubicBezTo>
                            <a:cubicBezTo>
                              <a:pt x="36453" y="53990"/>
                              <a:pt x="29632" y="54059"/>
                              <a:pt x="48058" y="52454"/>
                            </a:cubicBezTo>
                            <a:cubicBezTo>
                              <a:pt x="50339" y="52255"/>
                              <a:pt x="67382" y="44769"/>
                              <a:pt x="72390" y="42089"/>
                            </a:cubicBezTo>
                            <a:cubicBezTo>
                              <a:pt x="77398" y="39409"/>
                              <a:pt x="76200" y="38279"/>
                              <a:pt x="78105" y="36374"/>
                            </a:cubicBezTo>
                            <a:cubicBezTo>
                              <a:pt x="78740" y="34469"/>
                              <a:pt x="80010" y="32667"/>
                              <a:pt x="80010" y="30659"/>
                            </a:cubicBezTo>
                            <a:cubicBezTo>
                              <a:pt x="80010" y="26796"/>
                              <a:pt x="79832" y="22684"/>
                              <a:pt x="78105" y="19229"/>
                            </a:cubicBezTo>
                            <a:cubicBezTo>
                              <a:pt x="75670" y="14359"/>
                              <a:pt x="63693" y="13970"/>
                              <a:pt x="60960" y="13514"/>
                            </a:cubicBezTo>
                            <a:cubicBezTo>
                              <a:pt x="58420" y="14149"/>
                              <a:pt x="56825" y="16231"/>
                              <a:pt x="53340" y="15419"/>
                            </a:cubicBezTo>
                            <a:cubicBezTo>
                              <a:pt x="49855" y="14607"/>
                              <a:pt x="39095" y="11497"/>
                              <a:pt x="40048" y="8639"/>
                            </a:cubicBezTo>
                            <a:lnTo>
                              <a:pt x="32385" y="179"/>
                            </a:lnTo>
                            <a:close/>
                          </a:path>
                        </a:pathLst>
                      </a:custGeom>
                      <a:grpFill/>
                      <a:ln w="3175" cap="flat" cmpd="sng" algn="ctr">
                        <a:solidFill>
                          <a:srgbClr val="F2E8F8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36" name="Freeform: Shape 21">
                        <a:extLst>
                          <a:ext uri="{FF2B5EF4-FFF2-40B4-BE49-F238E27FC236}">
                            <a16:creationId xmlns:a16="http://schemas.microsoft.com/office/drawing/2014/main" id="{67AFB450-F0EF-B1C1-8C63-A63929861AB3}"/>
                          </a:ext>
                        </a:extLst>
                      </p:cNvPr>
                      <p:cNvSpPr/>
                      <p:nvPr/>
                    </p:nvSpPr>
                    <p:spPr>
                      <a:xfrm rot="1648623">
                        <a:off x="8778238" y="4278378"/>
                        <a:ext cx="27432" cy="36576"/>
                      </a:xfrm>
                      <a:custGeom>
                        <a:avLst/>
                        <a:gdLst>
                          <a:gd name="connsiteX0" fmla="*/ 57150 w 104775"/>
                          <a:gd name="connsiteY0" fmla="*/ 76200 h 127635"/>
                          <a:gd name="connsiteX1" fmla="*/ 57150 w 104775"/>
                          <a:gd name="connsiteY1" fmla="*/ 76200 h 127635"/>
                          <a:gd name="connsiteX2" fmla="*/ 24765 w 104775"/>
                          <a:gd name="connsiteY2" fmla="*/ 80010 h 127635"/>
                          <a:gd name="connsiteX3" fmla="*/ 19050 w 104775"/>
                          <a:gd name="connsiteY3" fmla="*/ 83820 h 127635"/>
                          <a:gd name="connsiteX4" fmla="*/ 19050 w 104775"/>
                          <a:gd name="connsiteY4" fmla="*/ 106680 h 127635"/>
                          <a:gd name="connsiteX5" fmla="*/ 24765 w 104775"/>
                          <a:gd name="connsiteY5" fmla="*/ 110490 h 127635"/>
                          <a:gd name="connsiteX6" fmla="*/ 28575 w 104775"/>
                          <a:gd name="connsiteY6" fmla="*/ 116205 h 127635"/>
                          <a:gd name="connsiteX7" fmla="*/ 32385 w 104775"/>
                          <a:gd name="connsiteY7" fmla="*/ 127635 h 127635"/>
                          <a:gd name="connsiteX8" fmla="*/ 81915 w 104775"/>
                          <a:gd name="connsiteY8" fmla="*/ 125730 h 127635"/>
                          <a:gd name="connsiteX9" fmla="*/ 87630 w 104775"/>
                          <a:gd name="connsiteY9" fmla="*/ 123825 h 127635"/>
                          <a:gd name="connsiteX10" fmla="*/ 89535 w 104775"/>
                          <a:gd name="connsiteY10" fmla="*/ 118110 h 127635"/>
                          <a:gd name="connsiteX11" fmla="*/ 93345 w 104775"/>
                          <a:gd name="connsiteY11" fmla="*/ 112395 h 127635"/>
                          <a:gd name="connsiteX12" fmla="*/ 95250 w 104775"/>
                          <a:gd name="connsiteY12" fmla="*/ 99060 h 127635"/>
                          <a:gd name="connsiteX13" fmla="*/ 100965 w 104775"/>
                          <a:gd name="connsiteY13" fmla="*/ 95250 h 127635"/>
                          <a:gd name="connsiteX14" fmla="*/ 104775 w 104775"/>
                          <a:gd name="connsiteY14" fmla="*/ 83820 h 127635"/>
                          <a:gd name="connsiteX15" fmla="*/ 100965 w 104775"/>
                          <a:gd name="connsiteY15" fmla="*/ 57150 h 127635"/>
                          <a:gd name="connsiteX16" fmla="*/ 99060 w 104775"/>
                          <a:gd name="connsiteY16" fmla="*/ 49530 h 127635"/>
                          <a:gd name="connsiteX17" fmla="*/ 95250 w 104775"/>
                          <a:gd name="connsiteY17" fmla="*/ 43815 h 127635"/>
                          <a:gd name="connsiteX18" fmla="*/ 91440 w 104775"/>
                          <a:gd name="connsiteY18" fmla="*/ 32385 h 127635"/>
                          <a:gd name="connsiteX19" fmla="*/ 81915 w 104775"/>
                          <a:gd name="connsiteY19" fmla="*/ 15240 h 127635"/>
                          <a:gd name="connsiteX20" fmla="*/ 70485 w 104775"/>
                          <a:gd name="connsiteY20" fmla="*/ 3810 h 127635"/>
                          <a:gd name="connsiteX21" fmla="*/ 59055 w 104775"/>
                          <a:gd name="connsiteY21" fmla="*/ 0 h 127635"/>
                          <a:gd name="connsiteX22" fmla="*/ 45720 w 104775"/>
                          <a:gd name="connsiteY22" fmla="*/ 1905 h 127635"/>
                          <a:gd name="connsiteX23" fmla="*/ 43815 w 104775"/>
                          <a:gd name="connsiteY23" fmla="*/ 19050 h 127635"/>
                          <a:gd name="connsiteX24" fmla="*/ 41910 w 104775"/>
                          <a:gd name="connsiteY24" fmla="*/ 30480 h 127635"/>
                          <a:gd name="connsiteX25" fmla="*/ 40005 w 104775"/>
                          <a:gd name="connsiteY25" fmla="*/ 43815 h 127635"/>
                          <a:gd name="connsiteX26" fmla="*/ 28575 w 104775"/>
                          <a:gd name="connsiteY26" fmla="*/ 49530 h 127635"/>
                          <a:gd name="connsiteX27" fmla="*/ 3810 w 104775"/>
                          <a:gd name="connsiteY27" fmla="*/ 51435 h 127635"/>
                          <a:gd name="connsiteX28" fmla="*/ 1905 w 104775"/>
                          <a:gd name="connsiteY28" fmla="*/ 59055 h 127635"/>
                          <a:gd name="connsiteX29" fmla="*/ 0 w 104775"/>
                          <a:gd name="connsiteY29" fmla="*/ 64770 h 127635"/>
                          <a:gd name="connsiteX30" fmla="*/ 5715 w 104775"/>
                          <a:gd name="connsiteY30" fmla="*/ 78105 h 127635"/>
                          <a:gd name="connsiteX31" fmla="*/ 5715 w 104775"/>
                          <a:gd name="connsiteY31" fmla="*/ 81915 h 127635"/>
                          <a:gd name="connsiteX32" fmla="*/ 5715 w 104775"/>
                          <a:gd name="connsiteY32" fmla="*/ 87630 h 127635"/>
                          <a:gd name="connsiteX0" fmla="*/ 57150 w 104775"/>
                          <a:gd name="connsiteY0" fmla="*/ 76200 h 127635"/>
                          <a:gd name="connsiteX1" fmla="*/ 24765 w 104775"/>
                          <a:gd name="connsiteY1" fmla="*/ 80010 h 127635"/>
                          <a:gd name="connsiteX2" fmla="*/ 19050 w 104775"/>
                          <a:gd name="connsiteY2" fmla="*/ 83820 h 127635"/>
                          <a:gd name="connsiteX3" fmla="*/ 19050 w 104775"/>
                          <a:gd name="connsiteY3" fmla="*/ 106680 h 127635"/>
                          <a:gd name="connsiteX4" fmla="*/ 24765 w 104775"/>
                          <a:gd name="connsiteY4" fmla="*/ 110490 h 127635"/>
                          <a:gd name="connsiteX5" fmla="*/ 28575 w 104775"/>
                          <a:gd name="connsiteY5" fmla="*/ 116205 h 127635"/>
                          <a:gd name="connsiteX6" fmla="*/ 32385 w 104775"/>
                          <a:gd name="connsiteY6" fmla="*/ 127635 h 127635"/>
                          <a:gd name="connsiteX7" fmla="*/ 81915 w 104775"/>
                          <a:gd name="connsiteY7" fmla="*/ 125730 h 127635"/>
                          <a:gd name="connsiteX8" fmla="*/ 87630 w 104775"/>
                          <a:gd name="connsiteY8" fmla="*/ 123825 h 127635"/>
                          <a:gd name="connsiteX9" fmla="*/ 89535 w 104775"/>
                          <a:gd name="connsiteY9" fmla="*/ 118110 h 127635"/>
                          <a:gd name="connsiteX10" fmla="*/ 93345 w 104775"/>
                          <a:gd name="connsiteY10" fmla="*/ 112395 h 127635"/>
                          <a:gd name="connsiteX11" fmla="*/ 95250 w 104775"/>
                          <a:gd name="connsiteY11" fmla="*/ 99060 h 127635"/>
                          <a:gd name="connsiteX12" fmla="*/ 100965 w 104775"/>
                          <a:gd name="connsiteY12" fmla="*/ 95250 h 127635"/>
                          <a:gd name="connsiteX13" fmla="*/ 104775 w 104775"/>
                          <a:gd name="connsiteY13" fmla="*/ 83820 h 127635"/>
                          <a:gd name="connsiteX14" fmla="*/ 100965 w 104775"/>
                          <a:gd name="connsiteY14" fmla="*/ 57150 h 127635"/>
                          <a:gd name="connsiteX15" fmla="*/ 99060 w 104775"/>
                          <a:gd name="connsiteY15" fmla="*/ 49530 h 127635"/>
                          <a:gd name="connsiteX16" fmla="*/ 95250 w 104775"/>
                          <a:gd name="connsiteY16" fmla="*/ 43815 h 127635"/>
                          <a:gd name="connsiteX17" fmla="*/ 91440 w 104775"/>
                          <a:gd name="connsiteY17" fmla="*/ 32385 h 127635"/>
                          <a:gd name="connsiteX18" fmla="*/ 81915 w 104775"/>
                          <a:gd name="connsiteY18" fmla="*/ 15240 h 127635"/>
                          <a:gd name="connsiteX19" fmla="*/ 70485 w 104775"/>
                          <a:gd name="connsiteY19" fmla="*/ 3810 h 127635"/>
                          <a:gd name="connsiteX20" fmla="*/ 59055 w 104775"/>
                          <a:gd name="connsiteY20" fmla="*/ 0 h 127635"/>
                          <a:gd name="connsiteX21" fmla="*/ 45720 w 104775"/>
                          <a:gd name="connsiteY21" fmla="*/ 1905 h 127635"/>
                          <a:gd name="connsiteX22" fmla="*/ 43815 w 104775"/>
                          <a:gd name="connsiteY22" fmla="*/ 19050 h 127635"/>
                          <a:gd name="connsiteX23" fmla="*/ 41910 w 104775"/>
                          <a:gd name="connsiteY23" fmla="*/ 30480 h 127635"/>
                          <a:gd name="connsiteX24" fmla="*/ 40005 w 104775"/>
                          <a:gd name="connsiteY24" fmla="*/ 43815 h 127635"/>
                          <a:gd name="connsiteX25" fmla="*/ 28575 w 104775"/>
                          <a:gd name="connsiteY25" fmla="*/ 49530 h 127635"/>
                          <a:gd name="connsiteX26" fmla="*/ 3810 w 104775"/>
                          <a:gd name="connsiteY26" fmla="*/ 51435 h 127635"/>
                          <a:gd name="connsiteX27" fmla="*/ 1905 w 104775"/>
                          <a:gd name="connsiteY27" fmla="*/ 59055 h 127635"/>
                          <a:gd name="connsiteX28" fmla="*/ 0 w 104775"/>
                          <a:gd name="connsiteY28" fmla="*/ 64770 h 127635"/>
                          <a:gd name="connsiteX29" fmla="*/ 5715 w 104775"/>
                          <a:gd name="connsiteY29" fmla="*/ 78105 h 127635"/>
                          <a:gd name="connsiteX30" fmla="*/ 5715 w 104775"/>
                          <a:gd name="connsiteY30" fmla="*/ 81915 h 127635"/>
                          <a:gd name="connsiteX31" fmla="*/ 5715 w 104775"/>
                          <a:gd name="connsiteY31" fmla="*/ 87630 h 127635"/>
                          <a:gd name="connsiteX0" fmla="*/ 24765 w 104775"/>
                          <a:gd name="connsiteY0" fmla="*/ 80010 h 127635"/>
                          <a:gd name="connsiteX1" fmla="*/ 19050 w 104775"/>
                          <a:gd name="connsiteY1" fmla="*/ 83820 h 127635"/>
                          <a:gd name="connsiteX2" fmla="*/ 19050 w 104775"/>
                          <a:gd name="connsiteY2" fmla="*/ 106680 h 127635"/>
                          <a:gd name="connsiteX3" fmla="*/ 24765 w 104775"/>
                          <a:gd name="connsiteY3" fmla="*/ 110490 h 127635"/>
                          <a:gd name="connsiteX4" fmla="*/ 28575 w 104775"/>
                          <a:gd name="connsiteY4" fmla="*/ 116205 h 127635"/>
                          <a:gd name="connsiteX5" fmla="*/ 32385 w 104775"/>
                          <a:gd name="connsiteY5" fmla="*/ 127635 h 127635"/>
                          <a:gd name="connsiteX6" fmla="*/ 81915 w 104775"/>
                          <a:gd name="connsiteY6" fmla="*/ 125730 h 127635"/>
                          <a:gd name="connsiteX7" fmla="*/ 87630 w 104775"/>
                          <a:gd name="connsiteY7" fmla="*/ 123825 h 127635"/>
                          <a:gd name="connsiteX8" fmla="*/ 89535 w 104775"/>
                          <a:gd name="connsiteY8" fmla="*/ 118110 h 127635"/>
                          <a:gd name="connsiteX9" fmla="*/ 93345 w 104775"/>
                          <a:gd name="connsiteY9" fmla="*/ 112395 h 127635"/>
                          <a:gd name="connsiteX10" fmla="*/ 95250 w 104775"/>
                          <a:gd name="connsiteY10" fmla="*/ 99060 h 127635"/>
                          <a:gd name="connsiteX11" fmla="*/ 100965 w 104775"/>
                          <a:gd name="connsiteY11" fmla="*/ 95250 h 127635"/>
                          <a:gd name="connsiteX12" fmla="*/ 104775 w 104775"/>
                          <a:gd name="connsiteY12" fmla="*/ 83820 h 127635"/>
                          <a:gd name="connsiteX13" fmla="*/ 100965 w 104775"/>
                          <a:gd name="connsiteY13" fmla="*/ 57150 h 127635"/>
                          <a:gd name="connsiteX14" fmla="*/ 99060 w 104775"/>
                          <a:gd name="connsiteY14" fmla="*/ 49530 h 127635"/>
                          <a:gd name="connsiteX15" fmla="*/ 95250 w 104775"/>
                          <a:gd name="connsiteY15" fmla="*/ 43815 h 127635"/>
                          <a:gd name="connsiteX16" fmla="*/ 91440 w 104775"/>
                          <a:gd name="connsiteY16" fmla="*/ 32385 h 127635"/>
                          <a:gd name="connsiteX17" fmla="*/ 81915 w 104775"/>
                          <a:gd name="connsiteY17" fmla="*/ 15240 h 127635"/>
                          <a:gd name="connsiteX18" fmla="*/ 70485 w 104775"/>
                          <a:gd name="connsiteY18" fmla="*/ 3810 h 127635"/>
                          <a:gd name="connsiteX19" fmla="*/ 59055 w 104775"/>
                          <a:gd name="connsiteY19" fmla="*/ 0 h 127635"/>
                          <a:gd name="connsiteX20" fmla="*/ 45720 w 104775"/>
                          <a:gd name="connsiteY20" fmla="*/ 1905 h 127635"/>
                          <a:gd name="connsiteX21" fmla="*/ 43815 w 104775"/>
                          <a:gd name="connsiteY21" fmla="*/ 19050 h 127635"/>
                          <a:gd name="connsiteX22" fmla="*/ 41910 w 104775"/>
                          <a:gd name="connsiteY22" fmla="*/ 30480 h 127635"/>
                          <a:gd name="connsiteX23" fmla="*/ 40005 w 104775"/>
                          <a:gd name="connsiteY23" fmla="*/ 43815 h 127635"/>
                          <a:gd name="connsiteX24" fmla="*/ 28575 w 104775"/>
                          <a:gd name="connsiteY24" fmla="*/ 49530 h 127635"/>
                          <a:gd name="connsiteX25" fmla="*/ 3810 w 104775"/>
                          <a:gd name="connsiteY25" fmla="*/ 51435 h 127635"/>
                          <a:gd name="connsiteX26" fmla="*/ 1905 w 104775"/>
                          <a:gd name="connsiteY26" fmla="*/ 59055 h 127635"/>
                          <a:gd name="connsiteX27" fmla="*/ 0 w 104775"/>
                          <a:gd name="connsiteY27" fmla="*/ 64770 h 127635"/>
                          <a:gd name="connsiteX28" fmla="*/ 5715 w 104775"/>
                          <a:gd name="connsiteY28" fmla="*/ 78105 h 127635"/>
                          <a:gd name="connsiteX29" fmla="*/ 5715 w 104775"/>
                          <a:gd name="connsiteY29" fmla="*/ 81915 h 127635"/>
                          <a:gd name="connsiteX30" fmla="*/ 5715 w 104775"/>
                          <a:gd name="connsiteY30" fmla="*/ 87630 h 127635"/>
                          <a:gd name="connsiteX0" fmla="*/ 24765 w 104775"/>
                          <a:gd name="connsiteY0" fmla="*/ 80010 h 127635"/>
                          <a:gd name="connsiteX1" fmla="*/ 19050 w 104775"/>
                          <a:gd name="connsiteY1" fmla="*/ 106680 h 127635"/>
                          <a:gd name="connsiteX2" fmla="*/ 24765 w 104775"/>
                          <a:gd name="connsiteY2" fmla="*/ 110490 h 127635"/>
                          <a:gd name="connsiteX3" fmla="*/ 28575 w 104775"/>
                          <a:gd name="connsiteY3" fmla="*/ 116205 h 127635"/>
                          <a:gd name="connsiteX4" fmla="*/ 32385 w 104775"/>
                          <a:gd name="connsiteY4" fmla="*/ 127635 h 127635"/>
                          <a:gd name="connsiteX5" fmla="*/ 81915 w 104775"/>
                          <a:gd name="connsiteY5" fmla="*/ 125730 h 127635"/>
                          <a:gd name="connsiteX6" fmla="*/ 87630 w 104775"/>
                          <a:gd name="connsiteY6" fmla="*/ 123825 h 127635"/>
                          <a:gd name="connsiteX7" fmla="*/ 89535 w 104775"/>
                          <a:gd name="connsiteY7" fmla="*/ 118110 h 127635"/>
                          <a:gd name="connsiteX8" fmla="*/ 93345 w 104775"/>
                          <a:gd name="connsiteY8" fmla="*/ 112395 h 127635"/>
                          <a:gd name="connsiteX9" fmla="*/ 95250 w 104775"/>
                          <a:gd name="connsiteY9" fmla="*/ 99060 h 127635"/>
                          <a:gd name="connsiteX10" fmla="*/ 100965 w 104775"/>
                          <a:gd name="connsiteY10" fmla="*/ 95250 h 127635"/>
                          <a:gd name="connsiteX11" fmla="*/ 104775 w 104775"/>
                          <a:gd name="connsiteY11" fmla="*/ 83820 h 127635"/>
                          <a:gd name="connsiteX12" fmla="*/ 100965 w 104775"/>
                          <a:gd name="connsiteY12" fmla="*/ 57150 h 127635"/>
                          <a:gd name="connsiteX13" fmla="*/ 99060 w 104775"/>
                          <a:gd name="connsiteY13" fmla="*/ 49530 h 127635"/>
                          <a:gd name="connsiteX14" fmla="*/ 95250 w 104775"/>
                          <a:gd name="connsiteY14" fmla="*/ 43815 h 127635"/>
                          <a:gd name="connsiteX15" fmla="*/ 91440 w 104775"/>
                          <a:gd name="connsiteY15" fmla="*/ 32385 h 127635"/>
                          <a:gd name="connsiteX16" fmla="*/ 81915 w 104775"/>
                          <a:gd name="connsiteY16" fmla="*/ 15240 h 127635"/>
                          <a:gd name="connsiteX17" fmla="*/ 70485 w 104775"/>
                          <a:gd name="connsiteY17" fmla="*/ 3810 h 127635"/>
                          <a:gd name="connsiteX18" fmla="*/ 59055 w 104775"/>
                          <a:gd name="connsiteY18" fmla="*/ 0 h 127635"/>
                          <a:gd name="connsiteX19" fmla="*/ 45720 w 104775"/>
                          <a:gd name="connsiteY19" fmla="*/ 1905 h 127635"/>
                          <a:gd name="connsiteX20" fmla="*/ 43815 w 104775"/>
                          <a:gd name="connsiteY20" fmla="*/ 19050 h 127635"/>
                          <a:gd name="connsiteX21" fmla="*/ 41910 w 104775"/>
                          <a:gd name="connsiteY21" fmla="*/ 30480 h 127635"/>
                          <a:gd name="connsiteX22" fmla="*/ 40005 w 104775"/>
                          <a:gd name="connsiteY22" fmla="*/ 43815 h 127635"/>
                          <a:gd name="connsiteX23" fmla="*/ 28575 w 104775"/>
                          <a:gd name="connsiteY23" fmla="*/ 49530 h 127635"/>
                          <a:gd name="connsiteX24" fmla="*/ 3810 w 104775"/>
                          <a:gd name="connsiteY24" fmla="*/ 51435 h 127635"/>
                          <a:gd name="connsiteX25" fmla="*/ 1905 w 104775"/>
                          <a:gd name="connsiteY25" fmla="*/ 59055 h 127635"/>
                          <a:gd name="connsiteX26" fmla="*/ 0 w 104775"/>
                          <a:gd name="connsiteY26" fmla="*/ 64770 h 127635"/>
                          <a:gd name="connsiteX27" fmla="*/ 5715 w 104775"/>
                          <a:gd name="connsiteY27" fmla="*/ 78105 h 127635"/>
                          <a:gd name="connsiteX28" fmla="*/ 5715 w 104775"/>
                          <a:gd name="connsiteY28" fmla="*/ 81915 h 127635"/>
                          <a:gd name="connsiteX29" fmla="*/ 5715 w 104775"/>
                          <a:gd name="connsiteY29" fmla="*/ 8763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5715 w 104775"/>
                          <a:gd name="connsiteY28" fmla="*/ 8763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17145 w 104775"/>
                          <a:gd name="connsiteY28" fmla="*/ 11049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17145 w 104775"/>
                          <a:gd name="connsiteY28" fmla="*/ 110490 h 127635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81915 w 104775"/>
                          <a:gd name="connsiteY15" fmla="*/ 16019 h 128414"/>
                          <a:gd name="connsiteX16" fmla="*/ 70485 w 104775"/>
                          <a:gd name="connsiteY16" fmla="*/ 4589 h 128414"/>
                          <a:gd name="connsiteX17" fmla="*/ 59055 w 104775"/>
                          <a:gd name="connsiteY17" fmla="*/ 779 h 128414"/>
                          <a:gd name="connsiteX18" fmla="*/ 45720 w 104775"/>
                          <a:gd name="connsiteY18" fmla="*/ 2684 h 128414"/>
                          <a:gd name="connsiteX19" fmla="*/ 41910 w 104775"/>
                          <a:gd name="connsiteY19" fmla="*/ 31259 h 128414"/>
                          <a:gd name="connsiteX20" fmla="*/ 40005 w 104775"/>
                          <a:gd name="connsiteY20" fmla="*/ 44594 h 128414"/>
                          <a:gd name="connsiteX21" fmla="*/ 28575 w 104775"/>
                          <a:gd name="connsiteY21" fmla="*/ 50309 h 128414"/>
                          <a:gd name="connsiteX22" fmla="*/ 3810 w 104775"/>
                          <a:gd name="connsiteY22" fmla="*/ 52214 h 128414"/>
                          <a:gd name="connsiteX23" fmla="*/ 1905 w 104775"/>
                          <a:gd name="connsiteY23" fmla="*/ 59834 h 128414"/>
                          <a:gd name="connsiteX24" fmla="*/ 0 w 104775"/>
                          <a:gd name="connsiteY24" fmla="*/ 65549 h 128414"/>
                          <a:gd name="connsiteX25" fmla="*/ 5715 w 104775"/>
                          <a:gd name="connsiteY25" fmla="*/ 78884 h 128414"/>
                          <a:gd name="connsiteX26" fmla="*/ 5715 w 104775"/>
                          <a:gd name="connsiteY26" fmla="*/ 82694 h 128414"/>
                          <a:gd name="connsiteX27" fmla="*/ 17145 w 104775"/>
                          <a:gd name="connsiteY27" fmla="*/ 111269 h 128414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70485 w 104775"/>
                          <a:gd name="connsiteY15" fmla="*/ 4589 h 128414"/>
                          <a:gd name="connsiteX16" fmla="*/ 59055 w 104775"/>
                          <a:gd name="connsiteY16" fmla="*/ 779 h 128414"/>
                          <a:gd name="connsiteX17" fmla="*/ 45720 w 104775"/>
                          <a:gd name="connsiteY17" fmla="*/ 2684 h 128414"/>
                          <a:gd name="connsiteX18" fmla="*/ 41910 w 104775"/>
                          <a:gd name="connsiteY18" fmla="*/ 31259 h 128414"/>
                          <a:gd name="connsiteX19" fmla="*/ 40005 w 104775"/>
                          <a:gd name="connsiteY19" fmla="*/ 44594 h 128414"/>
                          <a:gd name="connsiteX20" fmla="*/ 28575 w 104775"/>
                          <a:gd name="connsiteY20" fmla="*/ 50309 h 128414"/>
                          <a:gd name="connsiteX21" fmla="*/ 3810 w 104775"/>
                          <a:gd name="connsiteY21" fmla="*/ 52214 h 128414"/>
                          <a:gd name="connsiteX22" fmla="*/ 1905 w 104775"/>
                          <a:gd name="connsiteY22" fmla="*/ 59834 h 128414"/>
                          <a:gd name="connsiteX23" fmla="*/ 0 w 104775"/>
                          <a:gd name="connsiteY23" fmla="*/ 65549 h 128414"/>
                          <a:gd name="connsiteX24" fmla="*/ 5715 w 104775"/>
                          <a:gd name="connsiteY24" fmla="*/ 78884 h 128414"/>
                          <a:gd name="connsiteX25" fmla="*/ 5715 w 104775"/>
                          <a:gd name="connsiteY25" fmla="*/ 82694 h 128414"/>
                          <a:gd name="connsiteX26" fmla="*/ 17145 w 104775"/>
                          <a:gd name="connsiteY26" fmla="*/ 111269 h 128414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70485 w 104775"/>
                          <a:gd name="connsiteY15" fmla="*/ 4589 h 128414"/>
                          <a:gd name="connsiteX16" fmla="*/ 59055 w 104775"/>
                          <a:gd name="connsiteY16" fmla="*/ 779 h 128414"/>
                          <a:gd name="connsiteX17" fmla="*/ 45720 w 104775"/>
                          <a:gd name="connsiteY17" fmla="*/ 2684 h 128414"/>
                          <a:gd name="connsiteX18" fmla="*/ 41910 w 104775"/>
                          <a:gd name="connsiteY18" fmla="*/ 31259 h 128414"/>
                          <a:gd name="connsiteX19" fmla="*/ 40005 w 104775"/>
                          <a:gd name="connsiteY19" fmla="*/ 44594 h 128414"/>
                          <a:gd name="connsiteX20" fmla="*/ 3810 w 104775"/>
                          <a:gd name="connsiteY20" fmla="*/ 52214 h 128414"/>
                          <a:gd name="connsiteX21" fmla="*/ 1905 w 104775"/>
                          <a:gd name="connsiteY21" fmla="*/ 59834 h 128414"/>
                          <a:gd name="connsiteX22" fmla="*/ 0 w 104775"/>
                          <a:gd name="connsiteY22" fmla="*/ 65549 h 128414"/>
                          <a:gd name="connsiteX23" fmla="*/ 5715 w 104775"/>
                          <a:gd name="connsiteY23" fmla="*/ 78884 h 128414"/>
                          <a:gd name="connsiteX24" fmla="*/ 5715 w 104775"/>
                          <a:gd name="connsiteY24" fmla="*/ 82694 h 128414"/>
                          <a:gd name="connsiteX25" fmla="*/ 17145 w 104775"/>
                          <a:gd name="connsiteY25" fmla="*/ 111269 h 128414"/>
                          <a:gd name="connsiteX0" fmla="*/ 19050 w 104775"/>
                          <a:gd name="connsiteY0" fmla="*/ 107492 h 128447"/>
                          <a:gd name="connsiteX1" fmla="*/ 24765 w 104775"/>
                          <a:gd name="connsiteY1" fmla="*/ 111302 h 128447"/>
                          <a:gd name="connsiteX2" fmla="*/ 28575 w 104775"/>
                          <a:gd name="connsiteY2" fmla="*/ 117017 h 128447"/>
                          <a:gd name="connsiteX3" fmla="*/ 32385 w 104775"/>
                          <a:gd name="connsiteY3" fmla="*/ 128447 h 128447"/>
                          <a:gd name="connsiteX4" fmla="*/ 81915 w 104775"/>
                          <a:gd name="connsiteY4" fmla="*/ 126542 h 128447"/>
                          <a:gd name="connsiteX5" fmla="*/ 87630 w 104775"/>
                          <a:gd name="connsiteY5" fmla="*/ 124637 h 128447"/>
                          <a:gd name="connsiteX6" fmla="*/ 89535 w 104775"/>
                          <a:gd name="connsiteY6" fmla="*/ 118922 h 128447"/>
                          <a:gd name="connsiteX7" fmla="*/ 93345 w 104775"/>
                          <a:gd name="connsiteY7" fmla="*/ 113207 h 128447"/>
                          <a:gd name="connsiteX8" fmla="*/ 95250 w 104775"/>
                          <a:gd name="connsiteY8" fmla="*/ 99872 h 128447"/>
                          <a:gd name="connsiteX9" fmla="*/ 100965 w 104775"/>
                          <a:gd name="connsiteY9" fmla="*/ 96062 h 128447"/>
                          <a:gd name="connsiteX10" fmla="*/ 104775 w 104775"/>
                          <a:gd name="connsiteY10" fmla="*/ 84632 h 128447"/>
                          <a:gd name="connsiteX11" fmla="*/ 100965 w 104775"/>
                          <a:gd name="connsiteY11" fmla="*/ 57962 h 128447"/>
                          <a:gd name="connsiteX12" fmla="*/ 99060 w 104775"/>
                          <a:gd name="connsiteY12" fmla="*/ 50342 h 128447"/>
                          <a:gd name="connsiteX13" fmla="*/ 95250 w 104775"/>
                          <a:gd name="connsiteY13" fmla="*/ 44627 h 128447"/>
                          <a:gd name="connsiteX14" fmla="*/ 91440 w 104775"/>
                          <a:gd name="connsiteY14" fmla="*/ 33197 h 128447"/>
                          <a:gd name="connsiteX15" fmla="*/ 70485 w 104775"/>
                          <a:gd name="connsiteY15" fmla="*/ 4622 h 128447"/>
                          <a:gd name="connsiteX16" fmla="*/ 45720 w 104775"/>
                          <a:gd name="connsiteY16" fmla="*/ 2717 h 128447"/>
                          <a:gd name="connsiteX17" fmla="*/ 41910 w 104775"/>
                          <a:gd name="connsiteY17" fmla="*/ 31292 h 128447"/>
                          <a:gd name="connsiteX18" fmla="*/ 40005 w 104775"/>
                          <a:gd name="connsiteY18" fmla="*/ 44627 h 128447"/>
                          <a:gd name="connsiteX19" fmla="*/ 3810 w 104775"/>
                          <a:gd name="connsiteY19" fmla="*/ 52247 h 128447"/>
                          <a:gd name="connsiteX20" fmla="*/ 1905 w 104775"/>
                          <a:gd name="connsiteY20" fmla="*/ 59867 h 128447"/>
                          <a:gd name="connsiteX21" fmla="*/ 0 w 104775"/>
                          <a:gd name="connsiteY21" fmla="*/ 65582 h 128447"/>
                          <a:gd name="connsiteX22" fmla="*/ 5715 w 104775"/>
                          <a:gd name="connsiteY22" fmla="*/ 78917 h 128447"/>
                          <a:gd name="connsiteX23" fmla="*/ 5715 w 104775"/>
                          <a:gd name="connsiteY23" fmla="*/ 82727 h 128447"/>
                          <a:gd name="connsiteX24" fmla="*/ 17145 w 104775"/>
                          <a:gd name="connsiteY24" fmla="*/ 111302 h 128447"/>
                          <a:gd name="connsiteX0" fmla="*/ 19050 w 104775"/>
                          <a:gd name="connsiteY0" fmla="*/ 102874 h 123829"/>
                          <a:gd name="connsiteX1" fmla="*/ 24765 w 104775"/>
                          <a:gd name="connsiteY1" fmla="*/ 106684 h 123829"/>
                          <a:gd name="connsiteX2" fmla="*/ 28575 w 104775"/>
                          <a:gd name="connsiteY2" fmla="*/ 112399 h 123829"/>
                          <a:gd name="connsiteX3" fmla="*/ 32385 w 104775"/>
                          <a:gd name="connsiteY3" fmla="*/ 123829 h 123829"/>
                          <a:gd name="connsiteX4" fmla="*/ 81915 w 104775"/>
                          <a:gd name="connsiteY4" fmla="*/ 121924 h 123829"/>
                          <a:gd name="connsiteX5" fmla="*/ 87630 w 104775"/>
                          <a:gd name="connsiteY5" fmla="*/ 120019 h 123829"/>
                          <a:gd name="connsiteX6" fmla="*/ 89535 w 104775"/>
                          <a:gd name="connsiteY6" fmla="*/ 114304 h 123829"/>
                          <a:gd name="connsiteX7" fmla="*/ 93345 w 104775"/>
                          <a:gd name="connsiteY7" fmla="*/ 108589 h 123829"/>
                          <a:gd name="connsiteX8" fmla="*/ 95250 w 104775"/>
                          <a:gd name="connsiteY8" fmla="*/ 95254 h 123829"/>
                          <a:gd name="connsiteX9" fmla="*/ 100965 w 104775"/>
                          <a:gd name="connsiteY9" fmla="*/ 91444 h 123829"/>
                          <a:gd name="connsiteX10" fmla="*/ 104775 w 104775"/>
                          <a:gd name="connsiteY10" fmla="*/ 80014 h 123829"/>
                          <a:gd name="connsiteX11" fmla="*/ 100965 w 104775"/>
                          <a:gd name="connsiteY11" fmla="*/ 53344 h 123829"/>
                          <a:gd name="connsiteX12" fmla="*/ 99060 w 104775"/>
                          <a:gd name="connsiteY12" fmla="*/ 45724 h 123829"/>
                          <a:gd name="connsiteX13" fmla="*/ 95250 w 104775"/>
                          <a:gd name="connsiteY13" fmla="*/ 40009 h 123829"/>
                          <a:gd name="connsiteX14" fmla="*/ 91440 w 104775"/>
                          <a:gd name="connsiteY14" fmla="*/ 28579 h 123829"/>
                          <a:gd name="connsiteX15" fmla="*/ 70485 w 104775"/>
                          <a:gd name="connsiteY15" fmla="*/ 4 h 123829"/>
                          <a:gd name="connsiteX16" fmla="*/ 41910 w 104775"/>
                          <a:gd name="connsiteY16" fmla="*/ 26674 h 123829"/>
                          <a:gd name="connsiteX17" fmla="*/ 40005 w 104775"/>
                          <a:gd name="connsiteY17" fmla="*/ 40009 h 123829"/>
                          <a:gd name="connsiteX18" fmla="*/ 3810 w 104775"/>
                          <a:gd name="connsiteY18" fmla="*/ 47629 h 123829"/>
                          <a:gd name="connsiteX19" fmla="*/ 1905 w 104775"/>
                          <a:gd name="connsiteY19" fmla="*/ 55249 h 123829"/>
                          <a:gd name="connsiteX20" fmla="*/ 0 w 104775"/>
                          <a:gd name="connsiteY20" fmla="*/ 60964 h 123829"/>
                          <a:gd name="connsiteX21" fmla="*/ 5715 w 104775"/>
                          <a:gd name="connsiteY21" fmla="*/ 74299 h 123829"/>
                          <a:gd name="connsiteX22" fmla="*/ 5715 w 104775"/>
                          <a:gd name="connsiteY22" fmla="*/ 78109 h 123829"/>
                          <a:gd name="connsiteX23" fmla="*/ 17145 w 104775"/>
                          <a:gd name="connsiteY23" fmla="*/ 106684 h 123829"/>
                          <a:gd name="connsiteX0" fmla="*/ 19050 w 104775"/>
                          <a:gd name="connsiteY0" fmla="*/ 77050 h 98005"/>
                          <a:gd name="connsiteX1" fmla="*/ 24765 w 104775"/>
                          <a:gd name="connsiteY1" fmla="*/ 80860 h 98005"/>
                          <a:gd name="connsiteX2" fmla="*/ 28575 w 104775"/>
                          <a:gd name="connsiteY2" fmla="*/ 86575 h 98005"/>
                          <a:gd name="connsiteX3" fmla="*/ 32385 w 104775"/>
                          <a:gd name="connsiteY3" fmla="*/ 98005 h 98005"/>
                          <a:gd name="connsiteX4" fmla="*/ 81915 w 104775"/>
                          <a:gd name="connsiteY4" fmla="*/ 96100 h 98005"/>
                          <a:gd name="connsiteX5" fmla="*/ 87630 w 104775"/>
                          <a:gd name="connsiteY5" fmla="*/ 94195 h 98005"/>
                          <a:gd name="connsiteX6" fmla="*/ 89535 w 104775"/>
                          <a:gd name="connsiteY6" fmla="*/ 88480 h 98005"/>
                          <a:gd name="connsiteX7" fmla="*/ 93345 w 104775"/>
                          <a:gd name="connsiteY7" fmla="*/ 82765 h 98005"/>
                          <a:gd name="connsiteX8" fmla="*/ 95250 w 104775"/>
                          <a:gd name="connsiteY8" fmla="*/ 69430 h 98005"/>
                          <a:gd name="connsiteX9" fmla="*/ 100965 w 104775"/>
                          <a:gd name="connsiteY9" fmla="*/ 65620 h 98005"/>
                          <a:gd name="connsiteX10" fmla="*/ 104775 w 104775"/>
                          <a:gd name="connsiteY10" fmla="*/ 54190 h 98005"/>
                          <a:gd name="connsiteX11" fmla="*/ 100965 w 104775"/>
                          <a:gd name="connsiteY11" fmla="*/ 27520 h 98005"/>
                          <a:gd name="connsiteX12" fmla="*/ 99060 w 104775"/>
                          <a:gd name="connsiteY12" fmla="*/ 19900 h 98005"/>
                          <a:gd name="connsiteX13" fmla="*/ 95250 w 104775"/>
                          <a:gd name="connsiteY13" fmla="*/ 14185 h 98005"/>
                          <a:gd name="connsiteX14" fmla="*/ 91440 w 104775"/>
                          <a:gd name="connsiteY14" fmla="*/ 2755 h 98005"/>
                          <a:gd name="connsiteX15" fmla="*/ 41910 w 104775"/>
                          <a:gd name="connsiteY15" fmla="*/ 850 h 98005"/>
                          <a:gd name="connsiteX16" fmla="*/ 40005 w 104775"/>
                          <a:gd name="connsiteY16" fmla="*/ 14185 h 98005"/>
                          <a:gd name="connsiteX17" fmla="*/ 3810 w 104775"/>
                          <a:gd name="connsiteY17" fmla="*/ 21805 h 98005"/>
                          <a:gd name="connsiteX18" fmla="*/ 1905 w 104775"/>
                          <a:gd name="connsiteY18" fmla="*/ 29425 h 98005"/>
                          <a:gd name="connsiteX19" fmla="*/ 0 w 104775"/>
                          <a:gd name="connsiteY19" fmla="*/ 35140 h 98005"/>
                          <a:gd name="connsiteX20" fmla="*/ 5715 w 104775"/>
                          <a:gd name="connsiteY20" fmla="*/ 48475 h 98005"/>
                          <a:gd name="connsiteX21" fmla="*/ 5715 w 104775"/>
                          <a:gd name="connsiteY21" fmla="*/ 52285 h 98005"/>
                          <a:gd name="connsiteX22" fmla="*/ 17145 w 104775"/>
                          <a:gd name="connsiteY22" fmla="*/ 80860 h 98005"/>
                          <a:gd name="connsiteX0" fmla="*/ 19050 w 104775"/>
                          <a:gd name="connsiteY0" fmla="*/ 76200 h 97155"/>
                          <a:gd name="connsiteX1" fmla="*/ 24765 w 104775"/>
                          <a:gd name="connsiteY1" fmla="*/ 80010 h 97155"/>
                          <a:gd name="connsiteX2" fmla="*/ 28575 w 104775"/>
                          <a:gd name="connsiteY2" fmla="*/ 85725 h 97155"/>
                          <a:gd name="connsiteX3" fmla="*/ 32385 w 104775"/>
                          <a:gd name="connsiteY3" fmla="*/ 97155 h 97155"/>
                          <a:gd name="connsiteX4" fmla="*/ 81915 w 104775"/>
                          <a:gd name="connsiteY4" fmla="*/ 95250 h 97155"/>
                          <a:gd name="connsiteX5" fmla="*/ 87630 w 104775"/>
                          <a:gd name="connsiteY5" fmla="*/ 93345 h 97155"/>
                          <a:gd name="connsiteX6" fmla="*/ 89535 w 104775"/>
                          <a:gd name="connsiteY6" fmla="*/ 87630 h 97155"/>
                          <a:gd name="connsiteX7" fmla="*/ 93345 w 104775"/>
                          <a:gd name="connsiteY7" fmla="*/ 81915 h 97155"/>
                          <a:gd name="connsiteX8" fmla="*/ 95250 w 104775"/>
                          <a:gd name="connsiteY8" fmla="*/ 68580 h 97155"/>
                          <a:gd name="connsiteX9" fmla="*/ 100965 w 104775"/>
                          <a:gd name="connsiteY9" fmla="*/ 64770 h 97155"/>
                          <a:gd name="connsiteX10" fmla="*/ 104775 w 104775"/>
                          <a:gd name="connsiteY10" fmla="*/ 53340 h 97155"/>
                          <a:gd name="connsiteX11" fmla="*/ 100965 w 104775"/>
                          <a:gd name="connsiteY11" fmla="*/ 26670 h 97155"/>
                          <a:gd name="connsiteX12" fmla="*/ 99060 w 104775"/>
                          <a:gd name="connsiteY12" fmla="*/ 19050 h 97155"/>
                          <a:gd name="connsiteX13" fmla="*/ 95250 w 104775"/>
                          <a:gd name="connsiteY13" fmla="*/ 13335 h 97155"/>
                          <a:gd name="connsiteX14" fmla="*/ 41910 w 104775"/>
                          <a:gd name="connsiteY14" fmla="*/ 0 h 97155"/>
                          <a:gd name="connsiteX15" fmla="*/ 40005 w 104775"/>
                          <a:gd name="connsiteY15" fmla="*/ 13335 h 97155"/>
                          <a:gd name="connsiteX16" fmla="*/ 3810 w 104775"/>
                          <a:gd name="connsiteY16" fmla="*/ 20955 h 97155"/>
                          <a:gd name="connsiteX17" fmla="*/ 1905 w 104775"/>
                          <a:gd name="connsiteY17" fmla="*/ 28575 h 97155"/>
                          <a:gd name="connsiteX18" fmla="*/ 0 w 104775"/>
                          <a:gd name="connsiteY18" fmla="*/ 34290 h 97155"/>
                          <a:gd name="connsiteX19" fmla="*/ 5715 w 104775"/>
                          <a:gd name="connsiteY19" fmla="*/ 47625 h 97155"/>
                          <a:gd name="connsiteX20" fmla="*/ 5715 w 104775"/>
                          <a:gd name="connsiteY20" fmla="*/ 51435 h 97155"/>
                          <a:gd name="connsiteX21" fmla="*/ 17145 w 104775"/>
                          <a:gd name="connsiteY21" fmla="*/ 80010 h 97155"/>
                          <a:gd name="connsiteX0" fmla="*/ 19050 w 104775"/>
                          <a:gd name="connsiteY0" fmla="*/ 76298 h 97253"/>
                          <a:gd name="connsiteX1" fmla="*/ 24765 w 104775"/>
                          <a:gd name="connsiteY1" fmla="*/ 80108 h 97253"/>
                          <a:gd name="connsiteX2" fmla="*/ 28575 w 104775"/>
                          <a:gd name="connsiteY2" fmla="*/ 85823 h 97253"/>
                          <a:gd name="connsiteX3" fmla="*/ 32385 w 104775"/>
                          <a:gd name="connsiteY3" fmla="*/ 97253 h 97253"/>
                          <a:gd name="connsiteX4" fmla="*/ 81915 w 104775"/>
                          <a:gd name="connsiteY4" fmla="*/ 95348 h 97253"/>
                          <a:gd name="connsiteX5" fmla="*/ 87630 w 104775"/>
                          <a:gd name="connsiteY5" fmla="*/ 93443 h 97253"/>
                          <a:gd name="connsiteX6" fmla="*/ 89535 w 104775"/>
                          <a:gd name="connsiteY6" fmla="*/ 87728 h 97253"/>
                          <a:gd name="connsiteX7" fmla="*/ 93345 w 104775"/>
                          <a:gd name="connsiteY7" fmla="*/ 82013 h 97253"/>
                          <a:gd name="connsiteX8" fmla="*/ 95250 w 104775"/>
                          <a:gd name="connsiteY8" fmla="*/ 68678 h 97253"/>
                          <a:gd name="connsiteX9" fmla="*/ 100965 w 104775"/>
                          <a:gd name="connsiteY9" fmla="*/ 64868 h 97253"/>
                          <a:gd name="connsiteX10" fmla="*/ 104775 w 104775"/>
                          <a:gd name="connsiteY10" fmla="*/ 53438 h 97253"/>
                          <a:gd name="connsiteX11" fmla="*/ 100965 w 104775"/>
                          <a:gd name="connsiteY11" fmla="*/ 26768 h 97253"/>
                          <a:gd name="connsiteX12" fmla="*/ 99060 w 104775"/>
                          <a:gd name="connsiteY12" fmla="*/ 19148 h 97253"/>
                          <a:gd name="connsiteX13" fmla="*/ 95250 w 104775"/>
                          <a:gd name="connsiteY13" fmla="*/ 13433 h 97253"/>
                          <a:gd name="connsiteX14" fmla="*/ 41910 w 104775"/>
                          <a:gd name="connsiteY14" fmla="*/ 98 h 97253"/>
                          <a:gd name="connsiteX15" fmla="*/ 3810 w 104775"/>
                          <a:gd name="connsiteY15" fmla="*/ 21053 h 97253"/>
                          <a:gd name="connsiteX16" fmla="*/ 1905 w 104775"/>
                          <a:gd name="connsiteY16" fmla="*/ 28673 h 97253"/>
                          <a:gd name="connsiteX17" fmla="*/ 0 w 104775"/>
                          <a:gd name="connsiteY17" fmla="*/ 34388 h 97253"/>
                          <a:gd name="connsiteX18" fmla="*/ 5715 w 104775"/>
                          <a:gd name="connsiteY18" fmla="*/ 47723 h 97253"/>
                          <a:gd name="connsiteX19" fmla="*/ 5715 w 104775"/>
                          <a:gd name="connsiteY19" fmla="*/ 51533 h 97253"/>
                          <a:gd name="connsiteX20" fmla="*/ 17145 w 104775"/>
                          <a:gd name="connsiteY20" fmla="*/ 80108 h 97253"/>
                          <a:gd name="connsiteX0" fmla="*/ 19050 w 104775"/>
                          <a:gd name="connsiteY0" fmla="*/ 76205 h 97160"/>
                          <a:gd name="connsiteX1" fmla="*/ 24765 w 104775"/>
                          <a:gd name="connsiteY1" fmla="*/ 80015 h 97160"/>
                          <a:gd name="connsiteX2" fmla="*/ 28575 w 104775"/>
                          <a:gd name="connsiteY2" fmla="*/ 85730 h 97160"/>
                          <a:gd name="connsiteX3" fmla="*/ 32385 w 104775"/>
                          <a:gd name="connsiteY3" fmla="*/ 97160 h 97160"/>
                          <a:gd name="connsiteX4" fmla="*/ 81915 w 104775"/>
                          <a:gd name="connsiteY4" fmla="*/ 95255 h 97160"/>
                          <a:gd name="connsiteX5" fmla="*/ 87630 w 104775"/>
                          <a:gd name="connsiteY5" fmla="*/ 93350 h 97160"/>
                          <a:gd name="connsiteX6" fmla="*/ 89535 w 104775"/>
                          <a:gd name="connsiteY6" fmla="*/ 87635 h 97160"/>
                          <a:gd name="connsiteX7" fmla="*/ 93345 w 104775"/>
                          <a:gd name="connsiteY7" fmla="*/ 81920 h 97160"/>
                          <a:gd name="connsiteX8" fmla="*/ 95250 w 104775"/>
                          <a:gd name="connsiteY8" fmla="*/ 68585 h 97160"/>
                          <a:gd name="connsiteX9" fmla="*/ 100965 w 104775"/>
                          <a:gd name="connsiteY9" fmla="*/ 64775 h 97160"/>
                          <a:gd name="connsiteX10" fmla="*/ 104775 w 104775"/>
                          <a:gd name="connsiteY10" fmla="*/ 53345 h 97160"/>
                          <a:gd name="connsiteX11" fmla="*/ 100965 w 104775"/>
                          <a:gd name="connsiteY11" fmla="*/ 26675 h 97160"/>
                          <a:gd name="connsiteX12" fmla="*/ 99060 w 104775"/>
                          <a:gd name="connsiteY12" fmla="*/ 19055 h 97160"/>
                          <a:gd name="connsiteX13" fmla="*/ 41910 w 104775"/>
                          <a:gd name="connsiteY13" fmla="*/ 5 h 97160"/>
                          <a:gd name="connsiteX14" fmla="*/ 3810 w 104775"/>
                          <a:gd name="connsiteY14" fmla="*/ 20960 h 97160"/>
                          <a:gd name="connsiteX15" fmla="*/ 1905 w 104775"/>
                          <a:gd name="connsiteY15" fmla="*/ 28580 h 97160"/>
                          <a:gd name="connsiteX16" fmla="*/ 0 w 104775"/>
                          <a:gd name="connsiteY16" fmla="*/ 34295 h 97160"/>
                          <a:gd name="connsiteX17" fmla="*/ 5715 w 104775"/>
                          <a:gd name="connsiteY17" fmla="*/ 47630 h 97160"/>
                          <a:gd name="connsiteX18" fmla="*/ 5715 w 104775"/>
                          <a:gd name="connsiteY18" fmla="*/ 51440 h 97160"/>
                          <a:gd name="connsiteX19" fmla="*/ 17145 w 104775"/>
                          <a:gd name="connsiteY19" fmla="*/ 80015 h 97160"/>
                          <a:gd name="connsiteX0" fmla="*/ 19050 w 105971"/>
                          <a:gd name="connsiteY0" fmla="*/ 76238 h 97193"/>
                          <a:gd name="connsiteX1" fmla="*/ 24765 w 105971"/>
                          <a:gd name="connsiteY1" fmla="*/ 80048 h 97193"/>
                          <a:gd name="connsiteX2" fmla="*/ 28575 w 105971"/>
                          <a:gd name="connsiteY2" fmla="*/ 85763 h 97193"/>
                          <a:gd name="connsiteX3" fmla="*/ 32385 w 105971"/>
                          <a:gd name="connsiteY3" fmla="*/ 97193 h 97193"/>
                          <a:gd name="connsiteX4" fmla="*/ 81915 w 105971"/>
                          <a:gd name="connsiteY4" fmla="*/ 95288 h 97193"/>
                          <a:gd name="connsiteX5" fmla="*/ 87630 w 105971"/>
                          <a:gd name="connsiteY5" fmla="*/ 93383 h 97193"/>
                          <a:gd name="connsiteX6" fmla="*/ 89535 w 105971"/>
                          <a:gd name="connsiteY6" fmla="*/ 87668 h 97193"/>
                          <a:gd name="connsiteX7" fmla="*/ 93345 w 105971"/>
                          <a:gd name="connsiteY7" fmla="*/ 81953 h 97193"/>
                          <a:gd name="connsiteX8" fmla="*/ 95250 w 105971"/>
                          <a:gd name="connsiteY8" fmla="*/ 68618 h 97193"/>
                          <a:gd name="connsiteX9" fmla="*/ 100965 w 105971"/>
                          <a:gd name="connsiteY9" fmla="*/ 64808 h 97193"/>
                          <a:gd name="connsiteX10" fmla="*/ 104775 w 105971"/>
                          <a:gd name="connsiteY10" fmla="*/ 53378 h 97193"/>
                          <a:gd name="connsiteX11" fmla="*/ 100965 w 105971"/>
                          <a:gd name="connsiteY11" fmla="*/ 26708 h 97193"/>
                          <a:gd name="connsiteX12" fmla="*/ 41910 w 105971"/>
                          <a:gd name="connsiteY12" fmla="*/ 38 h 97193"/>
                          <a:gd name="connsiteX13" fmla="*/ 3810 w 105971"/>
                          <a:gd name="connsiteY13" fmla="*/ 20993 h 97193"/>
                          <a:gd name="connsiteX14" fmla="*/ 1905 w 105971"/>
                          <a:gd name="connsiteY14" fmla="*/ 28613 h 97193"/>
                          <a:gd name="connsiteX15" fmla="*/ 0 w 105971"/>
                          <a:gd name="connsiteY15" fmla="*/ 34328 h 97193"/>
                          <a:gd name="connsiteX16" fmla="*/ 5715 w 105971"/>
                          <a:gd name="connsiteY16" fmla="*/ 47663 h 97193"/>
                          <a:gd name="connsiteX17" fmla="*/ 5715 w 105971"/>
                          <a:gd name="connsiteY17" fmla="*/ 51473 h 97193"/>
                          <a:gd name="connsiteX18" fmla="*/ 17145 w 105971"/>
                          <a:gd name="connsiteY18" fmla="*/ 80048 h 97193"/>
                          <a:gd name="connsiteX0" fmla="*/ 19050 w 106250"/>
                          <a:gd name="connsiteY0" fmla="*/ 64875 h 85830"/>
                          <a:gd name="connsiteX1" fmla="*/ 24765 w 106250"/>
                          <a:gd name="connsiteY1" fmla="*/ 68685 h 85830"/>
                          <a:gd name="connsiteX2" fmla="*/ 28575 w 106250"/>
                          <a:gd name="connsiteY2" fmla="*/ 74400 h 85830"/>
                          <a:gd name="connsiteX3" fmla="*/ 32385 w 106250"/>
                          <a:gd name="connsiteY3" fmla="*/ 85830 h 85830"/>
                          <a:gd name="connsiteX4" fmla="*/ 81915 w 106250"/>
                          <a:gd name="connsiteY4" fmla="*/ 83925 h 85830"/>
                          <a:gd name="connsiteX5" fmla="*/ 87630 w 106250"/>
                          <a:gd name="connsiteY5" fmla="*/ 82020 h 85830"/>
                          <a:gd name="connsiteX6" fmla="*/ 89535 w 106250"/>
                          <a:gd name="connsiteY6" fmla="*/ 76305 h 85830"/>
                          <a:gd name="connsiteX7" fmla="*/ 93345 w 106250"/>
                          <a:gd name="connsiteY7" fmla="*/ 70590 h 85830"/>
                          <a:gd name="connsiteX8" fmla="*/ 95250 w 106250"/>
                          <a:gd name="connsiteY8" fmla="*/ 57255 h 85830"/>
                          <a:gd name="connsiteX9" fmla="*/ 100965 w 106250"/>
                          <a:gd name="connsiteY9" fmla="*/ 53445 h 85830"/>
                          <a:gd name="connsiteX10" fmla="*/ 104775 w 106250"/>
                          <a:gd name="connsiteY10" fmla="*/ 42015 h 85830"/>
                          <a:gd name="connsiteX11" fmla="*/ 100965 w 106250"/>
                          <a:gd name="connsiteY11" fmla="*/ 15345 h 85830"/>
                          <a:gd name="connsiteX12" fmla="*/ 38100 w 106250"/>
                          <a:gd name="connsiteY12" fmla="*/ 105 h 85830"/>
                          <a:gd name="connsiteX13" fmla="*/ 3810 w 106250"/>
                          <a:gd name="connsiteY13" fmla="*/ 9630 h 85830"/>
                          <a:gd name="connsiteX14" fmla="*/ 1905 w 106250"/>
                          <a:gd name="connsiteY14" fmla="*/ 17250 h 85830"/>
                          <a:gd name="connsiteX15" fmla="*/ 0 w 106250"/>
                          <a:gd name="connsiteY15" fmla="*/ 22965 h 85830"/>
                          <a:gd name="connsiteX16" fmla="*/ 5715 w 106250"/>
                          <a:gd name="connsiteY16" fmla="*/ 36300 h 85830"/>
                          <a:gd name="connsiteX17" fmla="*/ 5715 w 106250"/>
                          <a:gd name="connsiteY17" fmla="*/ 40110 h 85830"/>
                          <a:gd name="connsiteX18" fmla="*/ 17145 w 106250"/>
                          <a:gd name="connsiteY18" fmla="*/ 68685 h 8583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</a:cxnLst>
                        <a:rect l="l" t="t" r="r" b="b"/>
                        <a:pathLst>
                          <a:path w="106250" h="85830">
                            <a:moveTo>
                              <a:pt x="19050" y="64875"/>
                            </a:moveTo>
                            <a:cubicBezTo>
                              <a:pt x="19050" y="69955"/>
                              <a:pt x="22860" y="67415"/>
                              <a:pt x="24765" y="68685"/>
                            </a:cubicBezTo>
                            <a:cubicBezTo>
                              <a:pt x="26035" y="70590"/>
                              <a:pt x="27645" y="72308"/>
                              <a:pt x="28575" y="74400"/>
                            </a:cubicBezTo>
                            <a:cubicBezTo>
                              <a:pt x="30206" y="78070"/>
                              <a:pt x="32385" y="85830"/>
                              <a:pt x="32385" y="85830"/>
                            </a:cubicBezTo>
                            <a:cubicBezTo>
                              <a:pt x="48895" y="85195"/>
                              <a:pt x="65432" y="85062"/>
                              <a:pt x="81915" y="83925"/>
                            </a:cubicBezTo>
                            <a:cubicBezTo>
                              <a:pt x="83918" y="83787"/>
                              <a:pt x="86210" y="83440"/>
                              <a:pt x="87630" y="82020"/>
                            </a:cubicBezTo>
                            <a:cubicBezTo>
                              <a:pt x="89050" y="80600"/>
                              <a:pt x="88637" y="78101"/>
                              <a:pt x="89535" y="76305"/>
                            </a:cubicBezTo>
                            <a:cubicBezTo>
                              <a:pt x="90559" y="74257"/>
                              <a:pt x="92075" y="72495"/>
                              <a:pt x="93345" y="70590"/>
                            </a:cubicBezTo>
                            <a:cubicBezTo>
                              <a:pt x="93980" y="66145"/>
                              <a:pt x="93426" y="61358"/>
                              <a:pt x="95250" y="57255"/>
                            </a:cubicBezTo>
                            <a:cubicBezTo>
                              <a:pt x="96180" y="55163"/>
                              <a:pt x="99752" y="55387"/>
                              <a:pt x="100965" y="53445"/>
                            </a:cubicBezTo>
                            <a:cubicBezTo>
                              <a:pt x="103094" y="50039"/>
                              <a:pt x="104775" y="42015"/>
                              <a:pt x="104775" y="42015"/>
                            </a:cubicBezTo>
                            <a:cubicBezTo>
                              <a:pt x="101728" y="8500"/>
                              <a:pt x="112077" y="22330"/>
                              <a:pt x="100965" y="15345"/>
                            </a:cubicBezTo>
                            <a:cubicBezTo>
                              <a:pt x="89853" y="8360"/>
                              <a:pt x="54292" y="1057"/>
                              <a:pt x="38100" y="105"/>
                            </a:cubicBezTo>
                            <a:cubicBezTo>
                              <a:pt x="21908" y="-847"/>
                              <a:pt x="10477" y="4868"/>
                              <a:pt x="3810" y="9630"/>
                            </a:cubicBezTo>
                            <a:cubicBezTo>
                              <a:pt x="3175" y="12170"/>
                              <a:pt x="2624" y="14733"/>
                              <a:pt x="1905" y="17250"/>
                            </a:cubicBezTo>
                            <a:cubicBezTo>
                              <a:pt x="1353" y="19181"/>
                              <a:pt x="0" y="20957"/>
                              <a:pt x="0" y="22965"/>
                            </a:cubicBezTo>
                            <a:cubicBezTo>
                              <a:pt x="0" y="32673"/>
                              <a:pt x="2604" y="28523"/>
                              <a:pt x="5715" y="36300"/>
                            </a:cubicBezTo>
                            <a:cubicBezTo>
                              <a:pt x="6187" y="37479"/>
                              <a:pt x="3810" y="34713"/>
                              <a:pt x="5715" y="40110"/>
                            </a:cubicBezTo>
                            <a:cubicBezTo>
                              <a:pt x="7620" y="45507"/>
                              <a:pt x="13335" y="59160"/>
                              <a:pt x="17145" y="68685"/>
                            </a:cubicBezTo>
                          </a:path>
                        </a:pathLst>
                      </a:custGeom>
                      <a:grpFill/>
                      <a:ln w="3175" cap="flat" cmpd="sng" algn="ctr">
                        <a:solidFill>
                          <a:srgbClr val="F2E8F8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37" name="Freeform: Shape 22">
                        <a:extLst>
                          <a:ext uri="{FF2B5EF4-FFF2-40B4-BE49-F238E27FC236}">
                            <a16:creationId xmlns:a16="http://schemas.microsoft.com/office/drawing/2014/main" id="{B4A570FE-B18C-31E4-CC98-7F59865C0771}"/>
                          </a:ext>
                        </a:extLst>
                      </p:cNvPr>
                      <p:cNvSpPr/>
                      <p:nvPr/>
                    </p:nvSpPr>
                    <p:spPr>
                      <a:xfrm rot="17414284">
                        <a:off x="8943702" y="4140653"/>
                        <a:ext cx="27432" cy="36576"/>
                      </a:xfrm>
                      <a:custGeom>
                        <a:avLst/>
                        <a:gdLst>
                          <a:gd name="connsiteX0" fmla="*/ 57150 w 104775"/>
                          <a:gd name="connsiteY0" fmla="*/ 76200 h 127635"/>
                          <a:gd name="connsiteX1" fmla="*/ 57150 w 104775"/>
                          <a:gd name="connsiteY1" fmla="*/ 76200 h 127635"/>
                          <a:gd name="connsiteX2" fmla="*/ 24765 w 104775"/>
                          <a:gd name="connsiteY2" fmla="*/ 80010 h 127635"/>
                          <a:gd name="connsiteX3" fmla="*/ 19050 w 104775"/>
                          <a:gd name="connsiteY3" fmla="*/ 83820 h 127635"/>
                          <a:gd name="connsiteX4" fmla="*/ 19050 w 104775"/>
                          <a:gd name="connsiteY4" fmla="*/ 106680 h 127635"/>
                          <a:gd name="connsiteX5" fmla="*/ 24765 w 104775"/>
                          <a:gd name="connsiteY5" fmla="*/ 110490 h 127635"/>
                          <a:gd name="connsiteX6" fmla="*/ 28575 w 104775"/>
                          <a:gd name="connsiteY6" fmla="*/ 116205 h 127635"/>
                          <a:gd name="connsiteX7" fmla="*/ 32385 w 104775"/>
                          <a:gd name="connsiteY7" fmla="*/ 127635 h 127635"/>
                          <a:gd name="connsiteX8" fmla="*/ 81915 w 104775"/>
                          <a:gd name="connsiteY8" fmla="*/ 125730 h 127635"/>
                          <a:gd name="connsiteX9" fmla="*/ 87630 w 104775"/>
                          <a:gd name="connsiteY9" fmla="*/ 123825 h 127635"/>
                          <a:gd name="connsiteX10" fmla="*/ 89535 w 104775"/>
                          <a:gd name="connsiteY10" fmla="*/ 118110 h 127635"/>
                          <a:gd name="connsiteX11" fmla="*/ 93345 w 104775"/>
                          <a:gd name="connsiteY11" fmla="*/ 112395 h 127635"/>
                          <a:gd name="connsiteX12" fmla="*/ 95250 w 104775"/>
                          <a:gd name="connsiteY12" fmla="*/ 99060 h 127635"/>
                          <a:gd name="connsiteX13" fmla="*/ 100965 w 104775"/>
                          <a:gd name="connsiteY13" fmla="*/ 95250 h 127635"/>
                          <a:gd name="connsiteX14" fmla="*/ 104775 w 104775"/>
                          <a:gd name="connsiteY14" fmla="*/ 83820 h 127635"/>
                          <a:gd name="connsiteX15" fmla="*/ 100965 w 104775"/>
                          <a:gd name="connsiteY15" fmla="*/ 57150 h 127635"/>
                          <a:gd name="connsiteX16" fmla="*/ 99060 w 104775"/>
                          <a:gd name="connsiteY16" fmla="*/ 49530 h 127635"/>
                          <a:gd name="connsiteX17" fmla="*/ 95250 w 104775"/>
                          <a:gd name="connsiteY17" fmla="*/ 43815 h 127635"/>
                          <a:gd name="connsiteX18" fmla="*/ 91440 w 104775"/>
                          <a:gd name="connsiteY18" fmla="*/ 32385 h 127635"/>
                          <a:gd name="connsiteX19" fmla="*/ 81915 w 104775"/>
                          <a:gd name="connsiteY19" fmla="*/ 15240 h 127635"/>
                          <a:gd name="connsiteX20" fmla="*/ 70485 w 104775"/>
                          <a:gd name="connsiteY20" fmla="*/ 3810 h 127635"/>
                          <a:gd name="connsiteX21" fmla="*/ 59055 w 104775"/>
                          <a:gd name="connsiteY21" fmla="*/ 0 h 127635"/>
                          <a:gd name="connsiteX22" fmla="*/ 45720 w 104775"/>
                          <a:gd name="connsiteY22" fmla="*/ 1905 h 127635"/>
                          <a:gd name="connsiteX23" fmla="*/ 43815 w 104775"/>
                          <a:gd name="connsiteY23" fmla="*/ 19050 h 127635"/>
                          <a:gd name="connsiteX24" fmla="*/ 41910 w 104775"/>
                          <a:gd name="connsiteY24" fmla="*/ 30480 h 127635"/>
                          <a:gd name="connsiteX25" fmla="*/ 40005 w 104775"/>
                          <a:gd name="connsiteY25" fmla="*/ 43815 h 127635"/>
                          <a:gd name="connsiteX26" fmla="*/ 28575 w 104775"/>
                          <a:gd name="connsiteY26" fmla="*/ 49530 h 127635"/>
                          <a:gd name="connsiteX27" fmla="*/ 3810 w 104775"/>
                          <a:gd name="connsiteY27" fmla="*/ 51435 h 127635"/>
                          <a:gd name="connsiteX28" fmla="*/ 1905 w 104775"/>
                          <a:gd name="connsiteY28" fmla="*/ 59055 h 127635"/>
                          <a:gd name="connsiteX29" fmla="*/ 0 w 104775"/>
                          <a:gd name="connsiteY29" fmla="*/ 64770 h 127635"/>
                          <a:gd name="connsiteX30" fmla="*/ 5715 w 104775"/>
                          <a:gd name="connsiteY30" fmla="*/ 78105 h 127635"/>
                          <a:gd name="connsiteX31" fmla="*/ 5715 w 104775"/>
                          <a:gd name="connsiteY31" fmla="*/ 81915 h 127635"/>
                          <a:gd name="connsiteX32" fmla="*/ 5715 w 104775"/>
                          <a:gd name="connsiteY32" fmla="*/ 87630 h 127635"/>
                          <a:gd name="connsiteX0" fmla="*/ 57150 w 104775"/>
                          <a:gd name="connsiteY0" fmla="*/ 76200 h 127635"/>
                          <a:gd name="connsiteX1" fmla="*/ 24765 w 104775"/>
                          <a:gd name="connsiteY1" fmla="*/ 80010 h 127635"/>
                          <a:gd name="connsiteX2" fmla="*/ 19050 w 104775"/>
                          <a:gd name="connsiteY2" fmla="*/ 83820 h 127635"/>
                          <a:gd name="connsiteX3" fmla="*/ 19050 w 104775"/>
                          <a:gd name="connsiteY3" fmla="*/ 106680 h 127635"/>
                          <a:gd name="connsiteX4" fmla="*/ 24765 w 104775"/>
                          <a:gd name="connsiteY4" fmla="*/ 110490 h 127635"/>
                          <a:gd name="connsiteX5" fmla="*/ 28575 w 104775"/>
                          <a:gd name="connsiteY5" fmla="*/ 116205 h 127635"/>
                          <a:gd name="connsiteX6" fmla="*/ 32385 w 104775"/>
                          <a:gd name="connsiteY6" fmla="*/ 127635 h 127635"/>
                          <a:gd name="connsiteX7" fmla="*/ 81915 w 104775"/>
                          <a:gd name="connsiteY7" fmla="*/ 125730 h 127635"/>
                          <a:gd name="connsiteX8" fmla="*/ 87630 w 104775"/>
                          <a:gd name="connsiteY8" fmla="*/ 123825 h 127635"/>
                          <a:gd name="connsiteX9" fmla="*/ 89535 w 104775"/>
                          <a:gd name="connsiteY9" fmla="*/ 118110 h 127635"/>
                          <a:gd name="connsiteX10" fmla="*/ 93345 w 104775"/>
                          <a:gd name="connsiteY10" fmla="*/ 112395 h 127635"/>
                          <a:gd name="connsiteX11" fmla="*/ 95250 w 104775"/>
                          <a:gd name="connsiteY11" fmla="*/ 99060 h 127635"/>
                          <a:gd name="connsiteX12" fmla="*/ 100965 w 104775"/>
                          <a:gd name="connsiteY12" fmla="*/ 95250 h 127635"/>
                          <a:gd name="connsiteX13" fmla="*/ 104775 w 104775"/>
                          <a:gd name="connsiteY13" fmla="*/ 83820 h 127635"/>
                          <a:gd name="connsiteX14" fmla="*/ 100965 w 104775"/>
                          <a:gd name="connsiteY14" fmla="*/ 57150 h 127635"/>
                          <a:gd name="connsiteX15" fmla="*/ 99060 w 104775"/>
                          <a:gd name="connsiteY15" fmla="*/ 49530 h 127635"/>
                          <a:gd name="connsiteX16" fmla="*/ 95250 w 104775"/>
                          <a:gd name="connsiteY16" fmla="*/ 43815 h 127635"/>
                          <a:gd name="connsiteX17" fmla="*/ 91440 w 104775"/>
                          <a:gd name="connsiteY17" fmla="*/ 32385 h 127635"/>
                          <a:gd name="connsiteX18" fmla="*/ 81915 w 104775"/>
                          <a:gd name="connsiteY18" fmla="*/ 15240 h 127635"/>
                          <a:gd name="connsiteX19" fmla="*/ 70485 w 104775"/>
                          <a:gd name="connsiteY19" fmla="*/ 3810 h 127635"/>
                          <a:gd name="connsiteX20" fmla="*/ 59055 w 104775"/>
                          <a:gd name="connsiteY20" fmla="*/ 0 h 127635"/>
                          <a:gd name="connsiteX21" fmla="*/ 45720 w 104775"/>
                          <a:gd name="connsiteY21" fmla="*/ 1905 h 127635"/>
                          <a:gd name="connsiteX22" fmla="*/ 43815 w 104775"/>
                          <a:gd name="connsiteY22" fmla="*/ 19050 h 127635"/>
                          <a:gd name="connsiteX23" fmla="*/ 41910 w 104775"/>
                          <a:gd name="connsiteY23" fmla="*/ 30480 h 127635"/>
                          <a:gd name="connsiteX24" fmla="*/ 40005 w 104775"/>
                          <a:gd name="connsiteY24" fmla="*/ 43815 h 127635"/>
                          <a:gd name="connsiteX25" fmla="*/ 28575 w 104775"/>
                          <a:gd name="connsiteY25" fmla="*/ 49530 h 127635"/>
                          <a:gd name="connsiteX26" fmla="*/ 3810 w 104775"/>
                          <a:gd name="connsiteY26" fmla="*/ 51435 h 127635"/>
                          <a:gd name="connsiteX27" fmla="*/ 1905 w 104775"/>
                          <a:gd name="connsiteY27" fmla="*/ 59055 h 127635"/>
                          <a:gd name="connsiteX28" fmla="*/ 0 w 104775"/>
                          <a:gd name="connsiteY28" fmla="*/ 64770 h 127635"/>
                          <a:gd name="connsiteX29" fmla="*/ 5715 w 104775"/>
                          <a:gd name="connsiteY29" fmla="*/ 78105 h 127635"/>
                          <a:gd name="connsiteX30" fmla="*/ 5715 w 104775"/>
                          <a:gd name="connsiteY30" fmla="*/ 81915 h 127635"/>
                          <a:gd name="connsiteX31" fmla="*/ 5715 w 104775"/>
                          <a:gd name="connsiteY31" fmla="*/ 87630 h 127635"/>
                          <a:gd name="connsiteX0" fmla="*/ 24765 w 104775"/>
                          <a:gd name="connsiteY0" fmla="*/ 80010 h 127635"/>
                          <a:gd name="connsiteX1" fmla="*/ 19050 w 104775"/>
                          <a:gd name="connsiteY1" fmla="*/ 83820 h 127635"/>
                          <a:gd name="connsiteX2" fmla="*/ 19050 w 104775"/>
                          <a:gd name="connsiteY2" fmla="*/ 106680 h 127635"/>
                          <a:gd name="connsiteX3" fmla="*/ 24765 w 104775"/>
                          <a:gd name="connsiteY3" fmla="*/ 110490 h 127635"/>
                          <a:gd name="connsiteX4" fmla="*/ 28575 w 104775"/>
                          <a:gd name="connsiteY4" fmla="*/ 116205 h 127635"/>
                          <a:gd name="connsiteX5" fmla="*/ 32385 w 104775"/>
                          <a:gd name="connsiteY5" fmla="*/ 127635 h 127635"/>
                          <a:gd name="connsiteX6" fmla="*/ 81915 w 104775"/>
                          <a:gd name="connsiteY6" fmla="*/ 125730 h 127635"/>
                          <a:gd name="connsiteX7" fmla="*/ 87630 w 104775"/>
                          <a:gd name="connsiteY7" fmla="*/ 123825 h 127635"/>
                          <a:gd name="connsiteX8" fmla="*/ 89535 w 104775"/>
                          <a:gd name="connsiteY8" fmla="*/ 118110 h 127635"/>
                          <a:gd name="connsiteX9" fmla="*/ 93345 w 104775"/>
                          <a:gd name="connsiteY9" fmla="*/ 112395 h 127635"/>
                          <a:gd name="connsiteX10" fmla="*/ 95250 w 104775"/>
                          <a:gd name="connsiteY10" fmla="*/ 99060 h 127635"/>
                          <a:gd name="connsiteX11" fmla="*/ 100965 w 104775"/>
                          <a:gd name="connsiteY11" fmla="*/ 95250 h 127635"/>
                          <a:gd name="connsiteX12" fmla="*/ 104775 w 104775"/>
                          <a:gd name="connsiteY12" fmla="*/ 83820 h 127635"/>
                          <a:gd name="connsiteX13" fmla="*/ 100965 w 104775"/>
                          <a:gd name="connsiteY13" fmla="*/ 57150 h 127635"/>
                          <a:gd name="connsiteX14" fmla="*/ 99060 w 104775"/>
                          <a:gd name="connsiteY14" fmla="*/ 49530 h 127635"/>
                          <a:gd name="connsiteX15" fmla="*/ 95250 w 104775"/>
                          <a:gd name="connsiteY15" fmla="*/ 43815 h 127635"/>
                          <a:gd name="connsiteX16" fmla="*/ 91440 w 104775"/>
                          <a:gd name="connsiteY16" fmla="*/ 32385 h 127635"/>
                          <a:gd name="connsiteX17" fmla="*/ 81915 w 104775"/>
                          <a:gd name="connsiteY17" fmla="*/ 15240 h 127635"/>
                          <a:gd name="connsiteX18" fmla="*/ 70485 w 104775"/>
                          <a:gd name="connsiteY18" fmla="*/ 3810 h 127635"/>
                          <a:gd name="connsiteX19" fmla="*/ 59055 w 104775"/>
                          <a:gd name="connsiteY19" fmla="*/ 0 h 127635"/>
                          <a:gd name="connsiteX20" fmla="*/ 45720 w 104775"/>
                          <a:gd name="connsiteY20" fmla="*/ 1905 h 127635"/>
                          <a:gd name="connsiteX21" fmla="*/ 43815 w 104775"/>
                          <a:gd name="connsiteY21" fmla="*/ 19050 h 127635"/>
                          <a:gd name="connsiteX22" fmla="*/ 41910 w 104775"/>
                          <a:gd name="connsiteY22" fmla="*/ 30480 h 127635"/>
                          <a:gd name="connsiteX23" fmla="*/ 40005 w 104775"/>
                          <a:gd name="connsiteY23" fmla="*/ 43815 h 127635"/>
                          <a:gd name="connsiteX24" fmla="*/ 28575 w 104775"/>
                          <a:gd name="connsiteY24" fmla="*/ 49530 h 127635"/>
                          <a:gd name="connsiteX25" fmla="*/ 3810 w 104775"/>
                          <a:gd name="connsiteY25" fmla="*/ 51435 h 127635"/>
                          <a:gd name="connsiteX26" fmla="*/ 1905 w 104775"/>
                          <a:gd name="connsiteY26" fmla="*/ 59055 h 127635"/>
                          <a:gd name="connsiteX27" fmla="*/ 0 w 104775"/>
                          <a:gd name="connsiteY27" fmla="*/ 64770 h 127635"/>
                          <a:gd name="connsiteX28" fmla="*/ 5715 w 104775"/>
                          <a:gd name="connsiteY28" fmla="*/ 78105 h 127635"/>
                          <a:gd name="connsiteX29" fmla="*/ 5715 w 104775"/>
                          <a:gd name="connsiteY29" fmla="*/ 81915 h 127635"/>
                          <a:gd name="connsiteX30" fmla="*/ 5715 w 104775"/>
                          <a:gd name="connsiteY30" fmla="*/ 87630 h 127635"/>
                          <a:gd name="connsiteX0" fmla="*/ 24765 w 104775"/>
                          <a:gd name="connsiteY0" fmla="*/ 80010 h 127635"/>
                          <a:gd name="connsiteX1" fmla="*/ 19050 w 104775"/>
                          <a:gd name="connsiteY1" fmla="*/ 106680 h 127635"/>
                          <a:gd name="connsiteX2" fmla="*/ 24765 w 104775"/>
                          <a:gd name="connsiteY2" fmla="*/ 110490 h 127635"/>
                          <a:gd name="connsiteX3" fmla="*/ 28575 w 104775"/>
                          <a:gd name="connsiteY3" fmla="*/ 116205 h 127635"/>
                          <a:gd name="connsiteX4" fmla="*/ 32385 w 104775"/>
                          <a:gd name="connsiteY4" fmla="*/ 127635 h 127635"/>
                          <a:gd name="connsiteX5" fmla="*/ 81915 w 104775"/>
                          <a:gd name="connsiteY5" fmla="*/ 125730 h 127635"/>
                          <a:gd name="connsiteX6" fmla="*/ 87630 w 104775"/>
                          <a:gd name="connsiteY6" fmla="*/ 123825 h 127635"/>
                          <a:gd name="connsiteX7" fmla="*/ 89535 w 104775"/>
                          <a:gd name="connsiteY7" fmla="*/ 118110 h 127635"/>
                          <a:gd name="connsiteX8" fmla="*/ 93345 w 104775"/>
                          <a:gd name="connsiteY8" fmla="*/ 112395 h 127635"/>
                          <a:gd name="connsiteX9" fmla="*/ 95250 w 104775"/>
                          <a:gd name="connsiteY9" fmla="*/ 99060 h 127635"/>
                          <a:gd name="connsiteX10" fmla="*/ 100965 w 104775"/>
                          <a:gd name="connsiteY10" fmla="*/ 95250 h 127635"/>
                          <a:gd name="connsiteX11" fmla="*/ 104775 w 104775"/>
                          <a:gd name="connsiteY11" fmla="*/ 83820 h 127635"/>
                          <a:gd name="connsiteX12" fmla="*/ 100965 w 104775"/>
                          <a:gd name="connsiteY12" fmla="*/ 57150 h 127635"/>
                          <a:gd name="connsiteX13" fmla="*/ 99060 w 104775"/>
                          <a:gd name="connsiteY13" fmla="*/ 49530 h 127635"/>
                          <a:gd name="connsiteX14" fmla="*/ 95250 w 104775"/>
                          <a:gd name="connsiteY14" fmla="*/ 43815 h 127635"/>
                          <a:gd name="connsiteX15" fmla="*/ 91440 w 104775"/>
                          <a:gd name="connsiteY15" fmla="*/ 32385 h 127635"/>
                          <a:gd name="connsiteX16" fmla="*/ 81915 w 104775"/>
                          <a:gd name="connsiteY16" fmla="*/ 15240 h 127635"/>
                          <a:gd name="connsiteX17" fmla="*/ 70485 w 104775"/>
                          <a:gd name="connsiteY17" fmla="*/ 3810 h 127635"/>
                          <a:gd name="connsiteX18" fmla="*/ 59055 w 104775"/>
                          <a:gd name="connsiteY18" fmla="*/ 0 h 127635"/>
                          <a:gd name="connsiteX19" fmla="*/ 45720 w 104775"/>
                          <a:gd name="connsiteY19" fmla="*/ 1905 h 127635"/>
                          <a:gd name="connsiteX20" fmla="*/ 43815 w 104775"/>
                          <a:gd name="connsiteY20" fmla="*/ 19050 h 127635"/>
                          <a:gd name="connsiteX21" fmla="*/ 41910 w 104775"/>
                          <a:gd name="connsiteY21" fmla="*/ 30480 h 127635"/>
                          <a:gd name="connsiteX22" fmla="*/ 40005 w 104775"/>
                          <a:gd name="connsiteY22" fmla="*/ 43815 h 127635"/>
                          <a:gd name="connsiteX23" fmla="*/ 28575 w 104775"/>
                          <a:gd name="connsiteY23" fmla="*/ 49530 h 127635"/>
                          <a:gd name="connsiteX24" fmla="*/ 3810 w 104775"/>
                          <a:gd name="connsiteY24" fmla="*/ 51435 h 127635"/>
                          <a:gd name="connsiteX25" fmla="*/ 1905 w 104775"/>
                          <a:gd name="connsiteY25" fmla="*/ 59055 h 127635"/>
                          <a:gd name="connsiteX26" fmla="*/ 0 w 104775"/>
                          <a:gd name="connsiteY26" fmla="*/ 64770 h 127635"/>
                          <a:gd name="connsiteX27" fmla="*/ 5715 w 104775"/>
                          <a:gd name="connsiteY27" fmla="*/ 78105 h 127635"/>
                          <a:gd name="connsiteX28" fmla="*/ 5715 w 104775"/>
                          <a:gd name="connsiteY28" fmla="*/ 81915 h 127635"/>
                          <a:gd name="connsiteX29" fmla="*/ 5715 w 104775"/>
                          <a:gd name="connsiteY29" fmla="*/ 8763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5715 w 104775"/>
                          <a:gd name="connsiteY28" fmla="*/ 8763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17145 w 104775"/>
                          <a:gd name="connsiteY28" fmla="*/ 11049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17145 w 104775"/>
                          <a:gd name="connsiteY28" fmla="*/ 110490 h 127635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81915 w 104775"/>
                          <a:gd name="connsiteY15" fmla="*/ 16019 h 128414"/>
                          <a:gd name="connsiteX16" fmla="*/ 70485 w 104775"/>
                          <a:gd name="connsiteY16" fmla="*/ 4589 h 128414"/>
                          <a:gd name="connsiteX17" fmla="*/ 59055 w 104775"/>
                          <a:gd name="connsiteY17" fmla="*/ 779 h 128414"/>
                          <a:gd name="connsiteX18" fmla="*/ 45720 w 104775"/>
                          <a:gd name="connsiteY18" fmla="*/ 2684 h 128414"/>
                          <a:gd name="connsiteX19" fmla="*/ 41910 w 104775"/>
                          <a:gd name="connsiteY19" fmla="*/ 31259 h 128414"/>
                          <a:gd name="connsiteX20" fmla="*/ 40005 w 104775"/>
                          <a:gd name="connsiteY20" fmla="*/ 44594 h 128414"/>
                          <a:gd name="connsiteX21" fmla="*/ 28575 w 104775"/>
                          <a:gd name="connsiteY21" fmla="*/ 50309 h 128414"/>
                          <a:gd name="connsiteX22" fmla="*/ 3810 w 104775"/>
                          <a:gd name="connsiteY22" fmla="*/ 52214 h 128414"/>
                          <a:gd name="connsiteX23" fmla="*/ 1905 w 104775"/>
                          <a:gd name="connsiteY23" fmla="*/ 59834 h 128414"/>
                          <a:gd name="connsiteX24" fmla="*/ 0 w 104775"/>
                          <a:gd name="connsiteY24" fmla="*/ 65549 h 128414"/>
                          <a:gd name="connsiteX25" fmla="*/ 5715 w 104775"/>
                          <a:gd name="connsiteY25" fmla="*/ 78884 h 128414"/>
                          <a:gd name="connsiteX26" fmla="*/ 5715 w 104775"/>
                          <a:gd name="connsiteY26" fmla="*/ 82694 h 128414"/>
                          <a:gd name="connsiteX27" fmla="*/ 17145 w 104775"/>
                          <a:gd name="connsiteY27" fmla="*/ 111269 h 128414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70485 w 104775"/>
                          <a:gd name="connsiteY15" fmla="*/ 4589 h 128414"/>
                          <a:gd name="connsiteX16" fmla="*/ 59055 w 104775"/>
                          <a:gd name="connsiteY16" fmla="*/ 779 h 128414"/>
                          <a:gd name="connsiteX17" fmla="*/ 45720 w 104775"/>
                          <a:gd name="connsiteY17" fmla="*/ 2684 h 128414"/>
                          <a:gd name="connsiteX18" fmla="*/ 41910 w 104775"/>
                          <a:gd name="connsiteY18" fmla="*/ 31259 h 128414"/>
                          <a:gd name="connsiteX19" fmla="*/ 40005 w 104775"/>
                          <a:gd name="connsiteY19" fmla="*/ 44594 h 128414"/>
                          <a:gd name="connsiteX20" fmla="*/ 28575 w 104775"/>
                          <a:gd name="connsiteY20" fmla="*/ 50309 h 128414"/>
                          <a:gd name="connsiteX21" fmla="*/ 3810 w 104775"/>
                          <a:gd name="connsiteY21" fmla="*/ 52214 h 128414"/>
                          <a:gd name="connsiteX22" fmla="*/ 1905 w 104775"/>
                          <a:gd name="connsiteY22" fmla="*/ 59834 h 128414"/>
                          <a:gd name="connsiteX23" fmla="*/ 0 w 104775"/>
                          <a:gd name="connsiteY23" fmla="*/ 65549 h 128414"/>
                          <a:gd name="connsiteX24" fmla="*/ 5715 w 104775"/>
                          <a:gd name="connsiteY24" fmla="*/ 78884 h 128414"/>
                          <a:gd name="connsiteX25" fmla="*/ 5715 w 104775"/>
                          <a:gd name="connsiteY25" fmla="*/ 82694 h 128414"/>
                          <a:gd name="connsiteX26" fmla="*/ 17145 w 104775"/>
                          <a:gd name="connsiteY26" fmla="*/ 111269 h 128414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70485 w 104775"/>
                          <a:gd name="connsiteY15" fmla="*/ 4589 h 128414"/>
                          <a:gd name="connsiteX16" fmla="*/ 59055 w 104775"/>
                          <a:gd name="connsiteY16" fmla="*/ 779 h 128414"/>
                          <a:gd name="connsiteX17" fmla="*/ 45720 w 104775"/>
                          <a:gd name="connsiteY17" fmla="*/ 2684 h 128414"/>
                          <a:gd name="connsiteX18" fmla="*/ 41910 w 104775"/>
                          <a:gd name="connsiteY18" fmla="*/ 31259 h 128414"/>
                          <a:gd name="connsiteX19" fmla="*/ 40005 w 104775"/>
                          <a:gd name="connsiteY19" fmla="*/ 44594 h 128414"/>
                          <a:gd name="connsiteX20" fmla="*/ 3810 w 104775"/>
                          <a:gd name="connsiteY20" fmla="*/ 52214 h 128414"/>
                          <a:gd name="connsiteX21" fmla="*/ 1905 w 104775"/>
                          <a:gd name="connsiteY21" fmla="*/ 59834 h 128414"/>
                          <a:gd name="connsiteX22" fmla="*/ 0 w 104775"/>
                          <a:gd name="connsiteY22" fmla="*/ 65549 h 128414"/>
                          <a:gd name="connsiteX23" fmla="*/ 5715 w 104775"/>
                          <a:gd name="connsiteY23" fmla="*/ 78884 h 128414"/>
                          <a:gd name="connsiteX24" fmla="*/ 5715 w 104775"/>
                          <a:gd name="connsiteY24" fmla="*/ 82694 h 128414"/>
                          <a:gd name="connsiteX25" fmla="*/ 17145 w 104775"/>
                          <a:gd name="connsiteY25" fmla="*/ 111269 h 128414"/>
                          <a:gd name="connsiteX0" fmla="*/ 19050 w 104775"/>
                          <a:gd name="connsiteY0" fmla="*/ 107492 h 128447"/>
                          <a:gd name="connsiteX1" fmla="*/ 24765 w 104775"/>
                          <a:gd name="connsiteY1" fmla="*/ 111302 h 128447"/>
                          <a:gd name="connsiteX2" fmla="*/ 28575 w 104775"/>
                          <a:gd name="connsiteY2" fmla="*/ 117017 h 128447"/>
                          <a:gd name="connsiteX3" fmla="*/ 32385 w 104775"/>
                          <a:gd name="connsiteY3" fmla="*/ 128447 h 128447"/>
                          <a:gd name="connsiteX4" fmla="*/ 81915 w 104775"/>
                          <a:gd name="connsiteY4" fmla="*/ 126542 h 128447"/>
                          <a:gd name="connsiteX5" fmla="*/ 87630 w 104775"/>
                          <a:gd name="connsiteY5" fmla="*/ 124637 h 128447"/>
                          <a:gd name="connsiteX6" fmla="*/ 89535 w 104775"/>
                          <a:gd name="connsiteY6" fmla="*/ 118922 h 128447"/>
                          <a:gd name="connsiteX7" fmla="*/ 93345 w 104775"/>
                          <a:gd name="connsiteY7" fmla="*/ 113207 h 128447"/>
                          <a:gd name="connsiteX8" fmla="*/ 95250 w 104775"/>
                          <a:gd name="connsiteY8" fmla="*/ 99872 h 128447"/>
                          <a:gd name="connsiteX9" fmla="*/ 100965 w 104775"/>
                          <a:gd name="connsiteY9" fmla="*/ 96062 h 128447"/>
                          <a:gd name="connsiteX10" fmla="*/ 104775 w 104775"/>
                          <a:gd name="connsiteY10" fmla="*/ 84632 h 128447"/>
                          <a:gd name="connsiteX11" fmla="*/ 100965 w 104775"/>
                          <a:gd name="connsiteY11" fmla="*/ 57962 h 128447"/>
                          <a:gd name="connsiteX12" fmla="*/ 99060 w 104775"/>
                          <a:gd name="connsiteY12" fmla="*/ 50342 h 128447"/>
                          <a:gd name="connsiteX13" fmla="*/ 95250 w 104775"/>
                          <a:gd name="connsiteY13" fmla="*/ 44627 h 128447"/>
                          <a:gd name="connsiteX14" fmla="*/ 91440 w 104775"/>
                          <a:gd name="connsiteY14" fmla="*/ 33197 h 128447"/>
                          <a:gd name="connsiteX15" fmla="*/ 70485 w 104775"/>
                          <a:gd name="connsiteY15" fmla="*/ 4622 h 128447"/>
                          <a:gd name="connsiteX16" fmla="*/ 45720 w 104775"/>
                          <a:gd name="connsiteY16" fmla="*/ 2717 h 128447"/>
                          <a:gd name="connsiteX17" fmla="*/ 41910 w 104775"/>
                          <a:gd name="connsiteY17" fmla="*/ 31292 h 128447"/>
                          <a:gd name="connsiteX18" fmla="*/ 40005 w 104775"/>
                          <a:gd name="connsiteY18" fmla="*/ 44627 h 128447"/>
                          <a:gd name="connsiteX19" fmla="*/ 3810 w 104775"/>
                          <a:gd name="connsiteY19" fmla="*/ 52247 h 128447"/>
                          <a:gd name="connsiteX20" fmla="*/ 1905 w 104775"/>
                          <a:gd name="connsiteY20" fmla="*/ 59867 h 128447"/>
                          <a:gd name="connsiteX21" fmla="*/ 0 w 104775"/>
                          <a:gd name="connsiteY21" fmla="*/ 65582 h 128447"/>
                          <a:gd name="connsiteX22" fmla="*/ 5715 w 104775"/>
                          <a:gd name="connsiteY22" fmla="*/ 78917 h 128447"/>
                          <a:gd name="connsiteX23" fmla="*/ 5715 w 104775"/>
                          <a:gd name="connsiteY23" fmla="*/ 82727 h 128447"/>
                          <a:gd name="connsiteX24" fmla="*/ 17145 w 104775"/>
                          <a:gd name="connsiteY24" fmla="*/ 111302 h 128447"/>
                          <a:gd name="connsiteX0" fmla="*/ 19050 w 104775"/>
                          <a:gd name="connsiteY0" fmla="*/ 102874 h 123829"/>
                          <a:gd name="connsiteX1" fmla="*/ 24765 w 104775"/>
                          <a:gd name="connsiteY1" fmla="*/ 106684 h 123829"/>
                          <a:gd name="connsiteX2" fmla="*/ 28575 w 104775"/>
                          <a:gd name="connsiteY2" fmla="*/ 112399 h 123829"/>
                          <a:gd name="connsiteX3" fmla="*/ 32385 w 104775"/>
                          <a:gd name="connsiteY3" fmla="*/ 123829 h 123829"/>
                          <a:gd name="connsiteX4" fmla="*/ 81915 w 104775"/>
                          <a:gd name="connsiteY4" fmla="*/ 121924 h 123829"/>
                          <a:gd name="connsiteX5" fmla="*/ 87630 w 104775"/>
                          <a:gd name="connsiteY5" fmla="*/ 120019 h 123829"/>
                          <a:gd name="connsiteX6" fmla="*/ 89535 w 104775"/>
                          <a:gd name="connsiteY6" fmla="*/ 114304 h 123829"/>
                          <a:gd name="connsiteX7" fmla="*/ 93345 w 104775"/>
                          <a:gd name="connsiteY7" fmla="*/ 108589 h 123829"/>
                          <a:gd name="connsiteX8" fmla="*/ 95250 w 104775"/>
                          <a:gd name="connsiteY8" fmla="*/ 95254 h 123829"/>
                          <a:gd name="connsiteX9" fmla="*/ 100965 w 104775"/>
                          <a:gd name="connsiteY9" fmla="*/ 91444 h 123829"/>
                          <a:gd name="connsiteX10" fmla="*/ 104775 w 104775"/>
                          <a:gd name="connsiteY10" fmla="*/ 80014 h 123829"/>
                          <a:gd name="connsiteX11" fmla="*/ 100965 w 104775"/>
                          <a:gd name="connsiteY11" fmla="*/ 53344 h 123829"/>
                          <a:gd name="connsiteX12" fmla="*/ 99060 w 104775"/>
                          <a:gd name="connsiteY12" fmla="*/ 45724 h 123829"/>
                          <a:gd name="connsiteX13" fmla="*/ 95250 w 104775"/>
                          <a:gd name="connsiteY13" fmla="*/ 40009 h 123829"/>
                          <a:gd name="connsiteX14" fmla="*/ 91440 w 104775"/>
                          <a:gd name="connsiteY14" fmla="*/ 28579 h 123829"/>
                          <a:gd name="connsiteX15" fmla="*/ 70485 w 104775"/>
                          <a:gd name="connsiteY15" fmla="*/ 4 h 123829"/>
                          <a:gd name="connsiteX16" fmla="*/ 41910 w 104775"/>
                          <a:gd name="connsiteY16" fmla="*/ 26674 h 123829"/>
                          <a:gd name="connsiteX17" fmla="*/ 40005 w 104775"/>
                          <a:gd name="connsiteY17" fmla="*/ 40009 h 123829"/>
                          <a:gd name="connsiteX18" fmla="*/ 3810 w 104775"/>
                          <a:gd name="connsiteY18" fmla="*/ 47629 h 123829"/>
                          <a:gd name="connsiteX19" fmla="*/ 1905 w 104775"/>
                          <a:gd name="connsiteY19" fmla="*/ 55249 h 123829"/>
                          <a:gd name="connsiteX20" fmla="*/ 0 w 104775"/>
                          <a:gd name="connsiteY20" fmla="*/ 60964 h 123829"/>
                          <a:gd name="connsiteX21" fmla="*/ 5715 w 104775"/>
                          <a:gd name="connsiteY21" fmla="*/ 74299 h 123829"/>
                          <a:gd name="connsiteX22" fmla="*/ 5715 w 104775"/>
                          <a:gd name="connsiteY22" fmla="*/ 78109 h 123829"/>
                          <a:gd name="connsiteX23" fmla="*/ 17145 w 104775"/>
                          <a:gd name="connsiteY23" fmla="*/ 106684 h 123829"/>
                          <a:gd name="connsiteX0" fmla="*/ 19050 w 104775"/>
                          <a:gd name="connsiteY0" fmla="*/ 77050 h 98005"/>
                          <a:gd name="connsiteX1" fmla="*/ 24765 w 104775"/>
                          <a:gd name="connsiteY1" fmla="*/ 80860 h 98005"/>
                          <a:gd name="connsiteX2" fmla="*/ 28575 w 104775"/>
                          <a:gd name="connsiteY2" fmla="*/ 86575 h 98005"/>
                          <a:gd name="connsiteX3" fmla="*/ 32385 w 104775"/>
                          <a:gd name="connsiteY3" fmla="*/ 98005 h 98005"/>
                          <a:gd name="connsiteX4" fmla="*/ 81915 w 104775"/>
                          <a:gd name="connsiteY4" fmla="*/ 96100 h 98005"/>
                          <a:gd name="connsiteX5" fmla="*/ 87630 w 104775"/>
                          <a:gd name="connsiteY5" fmla="*/ 94195 h 98005"/>
                          <a:gd name="connsiteX6" fmla="*/ 89535 w 104775"/>
                          <a:gd name="connsiteY6" fmla="*/ 88480 h 98005"/>
                          <a:gd name="connsiteX7" fmla="*/ 93345 w 104775"/>
                          <a:gd name="connsiteY7" fmla="*/ 82765 h 98005"/>
                          <a:gd name="connsiteX8" fmla="*/ 95250 w 104775"/>
                          <a:gd name="connsiteY8" fmla="*/ 69430 h 98005"/>
                          <a:gd name="connsiteX9" fmla="*/ 100965 w 104775"/>
                          <a:gd name="connsiteY9" fmla="*/ 65620 h 98005"/>
                          <a:gd name="connsiteX10" fmla="*/ 104775 w 104775"/>
                          <a:gd name="connsiteY10" fmla="*/ 54190 h 98005"/>
                          <a:gd name="connsiteX11" fmla="*/ 100965 w 104775"/>
                          <a:gd name="connsiteY11" fmla="*/ 27520 h 98005"/>
                          <a:gd name="connsiteX12" fmla="*/ 99060 w 104775"/>
                          <a:gd name="connsiteY12" fmla="*/ 19900 h 98005"/>
                          <a:gd name="connsiteX13" fmla="*/ 95250 w 104775"/>
                          <a:gd name="connsiteY13" fmla="*/ 14185 h 98005"/>
                          <a:gd name="connsiteX14" fmla="*/ 91440 w 104775"/>
                          <a:gd name="connsiteY14" fmla="*/ 2755 h 98005"/>
                          <a:gd name="connsiteX15" fmla="*/ 41910 w 104775"/>
                          <a:gd name="connsiteY15" fmla="*/ 850 h 98005"/>
                          <a:gd name="connsiteX16" fmla="*/ 40005 w 104775"/>
                          <a:gd name="connsiteY16" fmla="*/ 14185 h 98005"/>
                          <a:gd name="connsiteX17" fmla="*/ 3810 w 104775"/>
                          <a:gd name="connsiteY17" fmla="*/ 21805 h 98005"/>
                          <a:gd name="connsiteX18" fmla="*/ 1905 w 104775"/>
                          <a:gd name="connsiteY18" fmla="*/ 29425 h 98005"/>
                          <a:gd name="connsiteX19" fmla="*/ 0 w 104775"/>
                          <a:gd name="connsiteY19" fmla="*/ 35140 h 98005"/>
                          <a:gd name="connsiteX20" fmla="*/ 5715 w 104775"/>
                          <a:gd name="connsiteY20" fmla="*/ 48475 h 98005"/>
                          <a:gd name="connsiteX21" fmla="*/ 5715 w 104775"/>
                          <a:gd name="connsiteY21" fmla="*/ 52285 h 98005"/>
                          <a:gd name="connsiteX22" fmla="*/ 17145 w 104775"/>
                          <a:gd name="connsiteY22" fmla="*/ 80860 h 98005"/>
                          <a:gd name="connsiteX0" fmla="*/ 19050 w 104775"/>
                          <a:gd name="connsiteY0" fmla="*/ 76200 h 97155"/>
                          <a:gd name="connsiteX1" fmla="*/ 24765 w 104775"/>
                          <a:gd name="connsiteY1" fmla="*/ 80010 h 97155"/>
                          <a:gd name="connsiteX2" fmla="*/ 28575 w 104775"/>
                          <a:gd name="connsiteY2" fmla="*/ 85725 h 97155"/>
                          <a:gd name="connsiteX3" fmla="*/ 32385 w 104775"/>
                          <a:gd name="connsiteY3" fmla="*/ 97155 h 97155"/>
                          <a:gd name="connsiteX4" fmla="*/ 81915 w 104775"/>
                          <a:gd name="connsiteY4" fmla="*/ 95250 h 97155"/>
                          <a:gd name="connsiteX5" fmla="*/ 87630 w 104775"/>
                          <a:gd name="connsiteY5" fmla="*/ 93345 h 97155"/>
                          <a:gd name="connsiteX6" fmla="*/ 89535 w 104775"/>
                          <a:gd name="connsiteY6" fmla="*/ 87630 h 97155"/>
                          <a:gd name="connsiteX7" fmla="*/ 93345 w 104775"/>
                          <a:gd name="connsiteY7" fmla="*/ 81915 h 97155"/>
                          <a:gd name="connsiteX8" fmla="*/ 95250 w 104775"/>
                          <a:gd name="connsiteY8" fmla="*/ 68580 h 97155"/>
                          <a:gd name="connsiteX9" fmla="*/ 100965 w 104775"/>
                          <a:gd name="connsiteY9" fmla="*/ 64770 h 97155"/>
                          <a:gd name="connsiteX10" fmla="*/ 104775 w 104775"/>
                          <a:gd name="connsiteY10" fmla="*/ 53340 h 97155"/>
                          <a:gd name="connsiteX11" fmla="*/ 100965 w 104775"/>
                          <a:gd name="connsiteY11" fmla="*/ 26670 h 97155"/>
                          <a:gd name="connsiteX12" fmla="*/ 99060 w 104775"/>
                          <a:gd name="connsiteY12" fmla="*/ 19050 h 97155"/>
                          <a:gd name="connsiteX13" fmla="*/ 95250 w 104775"/>
                          <a:gd name="connsiteY13" fmla="*/ 13335 h 97155"/>
                          <a:gd name="connsiteX14" fmla="*/ 41910 w 104775"/>
                          <a:gd name="connsiteY14" fmla="*/ 0 h 97155"/>
                          <a:gd name="connsiteX15" fmla="*/ 40005 w 104775"/>
                          <a:gd name="connsiteY15" fmla="*/ 13335 h 97155"/>
                          <a:gd name="connsiteX16" fmla="*/ 3810 w 104775"/>
                          <a:gd name="connsiteY16" fmla="*/ 20955 h 97155"/>
                          <a:gd name="connsiteX17" fmla="*/ 1905 w 104775"/>
                          <a:gd name="connsiteY17" fmla="*/ 28575 h 97155"/>
                          <a:gd name="connsiteX18" fmla="*/ 0 w 104775"/>
                          <a:gd name="connsiteY18" fmla="*/ 34290 h 97155"/>
                          <a:gd name="connsiteX19" fmla="*/ 5715 w 104775"/>
                          <a:gd name="connsiteY19" fmla="*/ 47625 h 97155"/>
                          <a:gd name="connsiteX20" fmla="*/ 5715 w 104775"/>
                          <a:gd name="connsiteY20" fmla="*/ 51435 h 97155"/>
                          <a:gd name="connsiteX21" fmla="*/ 17145 w 104775"/>
                          <a:gd name="connsiteY21" fmla="*/ 80010 h 97155"/>
                          <a:gd name="connsiteX0" fmla="*/ 19050 w 104775"/>
                          <a:gd name="connsiteY0" fmla="*/ 76298 h 97253"/>
                          <a:gd name="connsiteX1" fmla="*/ 24765 w 104775"/>
                          <a:gd name="connsiteY1" fmla="*/ 80108 h 97253"/>
                          <a:gd name="connsiteX2" fmla="*/ 28575 w 104775"/>
                          <a:gd name="connsiteY2" fmla="*/ 85823 h 97253"/>
                          <a:gd name="connsiteX3" fmla="*/ 32385 w 104775"/>
                          <a:gd name="connsiteY3" fmla="*/ 97253 h 97253"/>
                          <a:gd name="connsiteX4" fmla="*/ 81915 w 104775"/>
                          <a:gd name="connsiteY4" fmla="*/ 95348 h 97253"/>
                          <a:gd name="connsiteX5" fmla="*/ 87630 w 104775"/>
                          <a:gd name="connsiteY5" fmla="*/ 93443 h 97253"/>
                          <a:gd name="connsiteX6" fmla="*/ 89535 w 104775"/>
                          <a:gd name="connsiteY6" fmla="*/ 87728 h 97253"/>
                          <a:gd name="connsiteX7" fmla="*/ 93345 w 104775"/>
                          <a:gd name="connsiteY7" fmla="*/ 82013 h 97253"/>
                          <a:gd name="connsiteX8" fmla="*/ 95250 w 104775"/>
                          <a:gd name="connsiteY8" fmla="*/ 68678 h 97253"/>
                          <a:gd name="connsiteX9" fmla="*/ 100965 w 104775"/>
                          <a:gd name="connsiteY9" fmla="*/ 64868 h 97253"/>
                          <a:gd name="connsiteX10" fmla="*/ 104775 w 104775"/>
                          <a:gd name="connsiteY10" fmla="*/ 53438 h 97253"/>
                          <a:gd name="connsiteX11" fmla="*/ 100965 w 104775"/>
                          <a:gd name="connsiteY11" fmla="*/ 26768 h 97253"/>
                          <a:gd name="connsiteX12" fmla="*/ 99060 w 104775"/>
                          <a:gd name="connsiteY12" fmla="*/ 19148 h 97253"/>
                          <a:gd name="connsiteX13" fmla="*/ 95250 w 104775"/>
                          <a:gd name="connsiteY13" fmla="*/ 13433 h 97253"/>
                          <a:gd name="connsiteX14" fmla="*/ 41910 w 104775"/>
                          <a:gd name="connsiteY14" fmla="*/ 98 h 97253"/>
                          <a:gd name="connsiteX15" fmla="*/ 3810 w 104775"/>
                          <a:gd name="connsiteY15" fmla="*/ 21053 h 97253"/>
                          <a:gd name="connsiteX16" fmla="*/ 1905 w 104775"/>
                          <a:gd name="connsiteY16" fmla="*/ 28673 h 97253"/>
                          <a:gd name="connsiteX17" fmla="*/ 0 w 104775"/>
                          <a:gd name="connsiteY17" fmla="*/ 34388 h 97253"/>
                          <a:gd name="connsiteX18" fmla="*/ 5715 w 104775"/>
                          <a:gd name="connsiteY18" fmla="*/ 47723 h 97253"/>
                          <a:gd name="connsiteX19" fmla="*/ 5715 w 104775"/>
                          <a:gd name="connsiteY19" fmla="*/ 51533 h 97253"/>
                          <a:gd name="connsiteX20" fmla="*/ 17145 w 104775"/>
                          <a:gd name="connsiteY20" fmla="*/ 80108 h 97253"/>
                          <a:gd name="connsiteX0" fmla="*/ 19050 w 104775"/>
                          <a:gd name="connsiteY0" fmla="*/ 76205 h 97160"/>
                          <a:gd name="connsiteX1" fmla="*/ 24765 w 104775"/>
                          <a:gd name="connsiteY1" fmla="*/ 80015 h 97160"/>
                          <a:gd name="connsiteX2" fmla="*/ 28575 w 104775"/>
                          <a:gd name="connsiteY2" fmla="*/ 85730 h 97160"/>
                          <a:gd name="connsiteX3" fmla="*/ 32385 w 104775"/>
                          <a:gd name="connsiteY3" fmla="*/ 97160 h 97160"/>
                          <a:gd name="connsiteX4" fmla="*/ 81915 w 104775"/>
                          <a:gd name="connsiteY4" fmla="*/ 95255 h 97160"/>
                          <a:gd name="connsiteX5" fmla="*/ 87630 w 104775"/>
                          <a:gd name="connsiteY5" fmla="*/ 93350 h 97160"/>
                          <a:gd name="connsiteX6" fmla="*/ 89535 w 104775"/>
                          <a:gd name="connsiteY6" fmla="*/ 87635 h 97160"/>
                          <a:gd name="connsiteX7" fmla="*/ 93345 w 104775"/>
                          <a:gd name="connsiteY7" fmla="*/ 81920 h 97160"/>
                          <a:gd name="connsiteX8" fmla="*/ 95250 w 104775"/>
                          <a:gd name="connsiteY8" fmla="*/ 68585 h 97160"/>
                          <a:gd name="connsiteX9" fmla="*/ 100965 w 104775"/>
                          <a:gd name="connsiteY9" fmla="*/ 64775 h 97160"/>
                          <a:gd name="connsiteX10" fmla="*/ 104775 w 104775"/>
                          <a:gd name="connsiteY10" fmla="*/ 53345 h 97160"/>
                          <a:gd name="connsiteX11" fmla="*/ 100965 w 104775"/>
                          <a:gd name="connsiteY11" fmla="*/ 26675 h 97160"/>
                          <a:gd name="connsiteX12" fmla="*/ 99060 w 104775"/>
                          <a:gd name="connsiteY12" fmla="*/ 19055 h 97160"/>
                          <a:gd name="connsiteX13" fmla="*/ 41910 w 104775"/>
                          <a:gd name="connsiteY13" fmla="*/ 5 h 97160"/>
                          <a:gd name="connsiteX14" fmla="*/ 3810 w 104775"/>
                          <a:gd name="connsiteY14" fmla="*/ 20960 h 97160"/>
                          <a:gd name="connsiteX15" fmla="*/ 1905 w 104775"/>
                          <a:gd name="connsiteY15" fmla="*/ 28580 h 97160"/>
                          <a:gd name="connsiteX16" fmla="*/ 0 w 104775"/>
                          <a:gd name="connsiteY16" fmla="*/ 34295 h 97160"/>
                          <a:gd name="connsiteX17" fmla="*/ 5715 w 104775"/>
                          <a:gd name="connsiteY17" fmla="*/ 47630 h 97160"/>
                          <a:gd name="connsiteX18" fmla="*/ 5715 w 104775"/>
                          <a:gd name="connsiteY18" fmla="*/ 51440 h 97160"/>
                          <a:gd name="connsiteX19" fmla="*/ 17145 w 104775"/>
                          <a:gd name="connsiteY19" fmla="*/ 80015 h 97160"/>
                          <a:gd name="connsiteX0" fmla="*/ 19050 w 105971"/>
                          <a:gd name="connsiteY0" fmla="*/ 76238 h 97193"/>
                          <a:gd name="connsiteX1" fmla="*/ 24765 w 105971"/>
                          <a:gd name="connsiteY1" fmla="*/ 80048 h 97193"/>
                          <a:gd name="connsiteX2" fmla="*/ 28575 w 105971"/>
                          <a:gd name="connsiteY2" fmla="*/ 85763 h 97193"/>
                          <a:gd name="connsiteX3" fmla="*/ 32385 w 105971"/>
                          <a:gd name="connsiteY3" fmla="*/ 97193 h 97193"/>
                          <a:gd name="connsiteX4" fmla="*/ 81915 w 105971"/>
                          <a:gd name="connsiteY4" fmla="*/ 95288 h 97193"/>
                          <a:gd name="connsiteX5" fmla="*/ 87630 w 105971"/>
                          <a:gd name="connsiteY5" fmla="*/ 93383 h 97193"/>
                          <a:gd name="connsiteX6" fmla="*/ 89535 w 105971"/>
                          <a:gd name="connsiteY6" fmla="*/ 87668 h 97193"/>
                          <a:gd name="connsiteX7" fmla="*/ 93345 w 105971"/>
                          <a:gd name="connsiteY7" fmla="*/ 81953 h 97193"/>
                          <a:gd name="connsiteX8" fmla="*/ 95250 w 105971"/>
                          <a:gd name="connsiteY8" fmla="*/ 68618 h 97193"/>
                          <a:gd name="connsiteX9" fmla="*/ 100965 w 105971"/>
                          <a:gd name="connsiteY9" fmla="*/ 64808 h 97193"/>
                          <a:gd name="connsiteX10" fmla="*/ 104775 w 105971"/>
                          <a:gd name="connsiteY10" fmla="*/ 53378 h 97193"/>
                          <a:gd name="connsiteX11" fmla="*/ 100965 w 105971"/>
                          <a:gd name="connsiteY11" fmla="*/ 26708 h 97193"/>
                          <a:gd name="connsiteX12" fmla="*/ 41910 w 105971"/>
                          <a:gd name="connsiteY12" fmla="*/ 38 h 97193"/>
                          <a:gd name="connsiteX13" fmla="*/ 3810 w 105971"/>
                          <a:gd name="connsiteY13" fmla="*/ 20993 h 97193"/>
                          <a:gd name="connsiteX14" fmla="*/ 1905 w 105971"/>
                          <a:gd name="connsiteY14" fmla="*/ 28613 h 97193"/>
                          <a:gd name="connsiteX15" fmla="*/ 0 w 105971"/>
                          <a:gd name="connsiteY15" fmla="*/ 34328 h 97193"/>
                          <a:gd name="connsiteX16" fmla="*/ 5715 w 105971"/>
                          <a:gd name="connsiteY16" fmla="*/ 47663 h 97193"/>
                          <a:gd name="connsiteX17" fmla="*/ 5715 w 105971"/>
                          <a:gd name="connsiteY17" fmla="*/ 51473 h 97193"/>
                          <a:gd name="connsiteX18" fmla="*/ 17145 w 105971"/>
                          <a:gd name="connsiteY18" fmla="*/ 80048 h 97193"/>
                          <a:gd name="connsiteX0" fmla="*/ 19050 w 106250"/>
                          <a:gd name="connsiteY0" fmla="*/ 64875 h 85830"/>
                          <a:gd name="connsiteX1" fmla="*/ 24765 w 106250"/>
                          <a:gd name="connsiteY1" fmla="*/ 68685 h 85830"/>
                          <a:gd name="connsiteX2" fmla="*/ 28575 w 106250"/>
                          <a:gd name="connsiteY2" fmla="*/ 74400 h 85830"/>
                          <a:gd name="connsiteX3" fmla="*/ 32385 w 106250"/>
                          <a:gd name="connsiteY3" fmla="*/ 85830 h 85830"/>
                          <a:gd name="connsiteX4" fmla="*/ 81915 w 106250"/>
                          <a:gd name="connsiteY4" fmla="*/ 83925 h 85830"/>
                          <a:gd name="connsiteX5" fmla="*/ 87630 w 106250"/>
                          <a:gd name="connsiteY5" fmla="*/ 82020 h 85830"/>
                          <a:gd name="connsiteX6" fmla="*/ 89535 w 106250"/>
                          <a:gd name="connsiteY6" fmla="*/ 76305 h 85830"/>
                          <a:gd name="connsiteX7" fmla="*/ 93345 w 106250"/>
                          <a:gd name="connsiteY7" fmla="*/ 70590 h 85830"/>
                          <a:gd name="connsiteX8" fmla="*/ 95250 w 106250"/>
                          <a:gd name="connsiteY8" fmla="*/ 57255 h 85830"/>
                          <a:gd name="connsiteX9" fmla="*/ 100965 w 106250"/>
                          <a:gd name="connsiteY9" fmla="*/ 53445 h 85830"/>
                          <a:gd name="connsiteX10" fmla="*/ 104775 w 106250"/>
                          <a:gd name="connsiteY10" fmla="*/ 42015 h 85830"/>
                          <a:gd name="connsiteX11" fmla="*/ 100965 w 106250"/>
                          <a:gd name="connsiteY11" fmla="*/ 15345 h 85830"/>
                          <a:gd name="connsiteX12" fmla="*/ 38100 w 106250"/>
                          <a:gd name="connsiteY12" fmla="*/ 105 h 85830"/>
                          <a:gd name="connsiteX13" fmla="*/ 3810 w 106250"/>
                          <a:gd name="connsiteY13" fmla="*/ 9630 h 85830"/>
                          <a:gd name="connsiteX14" fmla="*/ 1905 w 106250"/>
                          <a:gd name="connsiteY14" fmla="*/ 17250 h 85830"/>
                          <a:gd name="connsiteX15" fmla="*/ 0 w 106250"/>
                          <a:gd name="connsiteY15" fmla="*/ 22965 h 85830"/>
                          <a:gd name="connsiteX16" fmla="*/ 5715 w 106250"/>
                          <a:gd name="connsiteY16" fmla="*/ 36300 h 85830"/>
                          <a:gd name="connsiteX17" fmla="*/ 5715 w 106250"/>
                          <a:gd name="connsiteY17" fmla="*/ 40110 h 85830"/>
                          <a:gd name="connsiteX18" fmla="*/ 17145 w 106250"/>
                          <a:gd name="connsiteY18" fmla="*/ 68685 h 8583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</a:cxnLst>
                        <a:rect l="l" t="t" r="r" b="b"/>
                        <a:pathLst>
                          <a:path w="106250" h="85830">
                            <a:moveTo>
                              <a:pt x="19050" y="64875"/>
                            </a:moveTo>
                            <a:cubicBezTo>
                              <a:pt x="19050" y="69955"/>
                              <a:pt x="22860" y="67415"/>
                              <a:pt x="24765" y="68685"/>
                            </a:cubicBezTo>
                            <a:cubicBezTo>
                              <a:pt x="26035" y="70590"/>
                              <a:pt x="27645" y="72308"/>
                              <a:pt x="28575" y="74400"/>
                            </a:cubicBezTo>
                            <a:cubicBezTo>
                              <a:pt x="30206" y="78070"/>
                              <a:pt x="32385" y="85830"/>
                              <a:pt x="32385" y="85830"/>
                            </a:cubicBezTo>
                            <a:cubicBezTo>
                              <a:pt x="48895" y="85195"/>
                              <a:pt x="65432" y="85062"/>
                              <a:pt x="81915" y="83925"/>
                            </a:cubicBezTo>
                            <a:cubicBezTo>
                              <a:pt x="83918" y="83787"/>
                              <a:pt x="86210" y="83440"/>
                              <a:pt x="87630" y="82020"/>
                            </a:cubicBezTo>
                            <a:cubicBezTo>
                              <a:pt x="89050" y="80600"/>
                              <a:pt x="88637" y="78101"/>
                              <a:pt x="89535" y="76305"/>
                            </a:cubicBezTo>
                            <a:cubicBezTo>
                              <a:pt x="90559" y="74257"/>
                              <a:pt x="92075" y="72495"/>
                              <a:pt x="93345" y="70590"/>
                            </a:cubicBezTo>
                            <a:cubicBezTo>
                              <a:pt x="93980" y="66145"/>
                              <a:pt x="93426" y="61358"/>
                              <a:pt x="95250" y="57255"/>
                            </a:cubicBezTo>
                            <a:cubicBezTo>
                              <a:pt x="96180" y="55163"/>
                              <a:pt x="99752" y="55387"/>
                              <a:pt x="100965" y="53445"/>
                            </a:cubicBezTo>
                            <a:cubicBezTo>
                              <a:pt x="103094" y="50039"/>
                              <a:pt x="104775" y="42015"/>
                              <a:pt x="104775" y="42015"/>
                            </a:cubicBezTo>
                            <a:cubicBezTo>
                              <a:pt x="101728" y="8500"/>
                              <a:pt x="112077" y="22330"/>
                              <a:pt x="100965" y="15345"/>
                            </a:cubicBezTo>
                            <a:cubicBezTo>
                              <a:pt x="89853" y="8360"/>
                              <a:pt x="54292" y="1057"/>
                              <a:pt x="38100" y="105"/>
                            </a:cubicBezTo>
                            <a:cubicBezTo>
                              <a:pt x="21908" y="-847"/>
                              <a:pt x="10477" y="4868"/>
                              <a:pt x="3810" y="9630"/>
                            </a:cubicBezTo>
                            <a:cubicBezTo>
                              <a:pt x="3175" y="12170"/>
                              <a:pt x="2624" y="14733"/>
                              <a:pt x="1905" y="17250"/>
                            </a:cubicBezTo>
                            <a:cubicBezTo>
                              <a:pt x="1353" y="19181"/>
                              <a:pt x="0" y="20957"/>
                              <a:pt x="0" y="22965"/>
                            </a:cubicBezTo>
                            <a:cubicBezTo>
                              <a:pt x="0" y="32673"/>
                              <a:pt x="2604" y="28523"/>
                              <a:pt x="5715" y="36300"/>
                            </a:cubicBezTo>
                            <a:cubicBezTo>
                              <a:pt x="6187" y="37479"/>
                              <a:pt x="3810" y="34713"/>
                              <a:pt x="5715" y="40110"/>
                            </a:cubicBezTo>
                            <a:cubicBezTo>
                              <a:pt x="7620" y="45507"/>
                              <a:pt x="13335" y="59160"/>
                              <a:pt x="17145" y="68685"/>
                            </a:cubicBezTo>
                          </a:path>
                        </a:pathLst>
                      </a:custGeom>
                      <a:solidFill>
                        <a:srgbClr val="0D3759"/>
                      </a:solidFill>
                      <a:ln w="3175" cap="flat" cmpd="sng" algn="ctr">
                        <a:solidFill>
                          <a:srgbClr val="F2E8F8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38" name="Freeform: Shape 23">
                        <a:extLst>
                          <a:ext uri="{FF2B5EF4-FFF2-40B4-BE49-F238E27FC236}">
                            <a16:creationId xmlns:a16="http://schemas.microsoft.com/office/drawing/2014/main" id="{6A43F2AF-9539-62E2-E8A7-1E5ACBBB73BA}"/>
                          </a:ext>
                        </a:extLst>
                      </p:cNvPr>
                      <p:cNvSpPr/>
                      <p:nvPr/>
                    </p:nvSpPr>
                    <p:spPr>
                      <a:xfrm rot="9043087">
                        <a:off x="8883430" y="4342996"/>
                        <a:ext cx="27432" cy="36576"/>
                      </a:xfrm>
                      <a:custGeom>
                        <a:avLst/>
                        <a:gdLst>
                          <a:gd name="connsiteX0" fmla="*/ 57150 w 104775"/>
                          <a:gd name="connsiteY0" fmla="*/ 76200 h 127635"/>
                          <a:gd name="connsiteX1" fmla="*/ 57150 w 104775"/>
                          <a:gd name="connsiteY1" fmla="*/ 76200 h 127635"/>
                          <a:gd name="connsiteX2" fmla="*/ 24765 w 104775"/>
                          <a:gd name="connsiteY2" fmla="*/ 80010 h 127635"/>
                          <a:gd name="connsiteX3" fmla="*/ 19050 w 104775"/>
                          <a:gd name="connsiteY3" fmla="*/ 83820 h 127635"/>
                          <a:gd name="connsiteX4" fmla="*/ 19050 w 104775"/>
                          <a:gd name="connsiteY4" fmla="*/ 106680 h 127635"/>
                          <a:gd name="connsiteX5" fmla="*/ 24765 w 104775"/>
                          <a:gd name="connsiteY5" fmla="*/ 110490 h 127635"/>
                          <a:gd name="connsiteX6" fmla="*/ 28575 w 104775"/>
                          <a:gd name="connsiteY6" fmla="*/ 116205 h 127635"/>
                          <a:gd name="connsiteX7" fmla="*/ 32385 w 104775"/>
                          <a:gd name="connsiteY7" fmla="*/ 127635 h 127635"/>
                          <a:gd name="connsiteX8" fmla="*/ 81915 w 104775"/>
                          <a:gd name="connsiteY8" fmla="*/ 125730 h 127635"/>
                          <a:gd name="connsiteX9" fmla="*/ 87630 w 104775"/>
                          <a:gd name="connsiteY9" fmla="*/ 123825 h 127635"/>
                          <a:gd name="connsiteX10" fmla="*/ 89535 w 104775"/>
                          <a:gd name="connsiteY10" fmla="*/ 118110 h 127635"/>
                          <a:gd name="connsiteX11" fmla="*/ 93345 w 104775"/>
                          <a:gd name="connsiteY11" fmla="*/ 112395 h 127635"/>
                          <a:gd name="connsiteX12" fmla="*/ 95250 w 104775"/>
                          <a:gd name="connsiteY12" fmla="*/ 99060 h 127635"/>
                          <a:gd name="connsiteX13" fmla="*/ 100965 w 104775"/>
                          <a:gd name="connsiteY13" fmla="*/ 95250 h 127635"/>
                          <a:gd name="connsiteX14" fmla="*/ 104775 w 104775"/>
                          <a:gd name="connsiteY14" fmla="*/ 83820 h 127635"/>
                          <a:gd name="connsiteX15" fmla="*/ 100965 w 104775"/>
                          <a:gd name="connsiteY15" fmla="*/ 57150 h 127635"/>
                          <a:gd name="connsiteX16" fmla="*/ 99060 w 104775"/>
                          <a:gd name="connsiteY16" fmla="*/ 49530 h 127635"/>
                          <a:gd name="connsiteX17" fmla="*/ 95250 w 104775"/>
                          <a:gd name="connsiteY17" fmla="*/ 43815 h 127635"/>
                          <a:gd name="connsiteX18" fmla="*/ 91440 w 104775"/>
                          <a:gd name="connsiteY18" fmla="*/ 32385 h 127635"/>
                          <a:gd name="connsiteX19" fmla="*/ 81915 w 104775"/>
                          <a:gd name="connsiteY19" fmla="*/ 15240 h 127635"/>
                          <a:gd name="connsiteX20" fmla="*/ 70485 w 104775"/>
                          <a:gd name="connsiteY20" fmla="*/ 3810 h 127635"/>
                          <a:gd name="connsiteX21" fmla="*/ 59055 w 104775"/>
                          <a:gd name="connsiteY21" fmla="*/ 0 h 127635"/>
                          <a:gd name="connsiteX22" fmla="*/ 45720 w 104775"/>
                          <a:gd name="connsiteY22" fmla="*/ 1905 h 127635"/>
                          <a:gd name="connsiteX23" fmla="*/ 43815 w 104775"/>
                          <a:gd name="connsiteY23" fmla="*/ 19050 h 127635"/>
                          <a:gd name="connsiteX24" fmla="*/ 41910 w 104775"/>
                          <a:gd name="connsiteY24" fmla="*/ 30480 h 127635"/>
                          <a:gd name="connsiteX25" fmla="*/ 40005 w 104775"/>
                          <a:gd name="connsiteY25" fmla="*/ 43815 h 127635"/>
                          <a:gd name="connsiteX26" fmla="*/ 28575 w 104775"/>
                          <a:gd name="connsiteY26" fmla="*/ 49530 h 127635"/>
                          <a:gd name="connsiteX27" fmla="*/ 3810 w 104775"/>
                          <a:gd name="connsiteY27" fmla="*/ 51435 h 127635"/>
                          <a:gd name="connsiteX28" fmla="*/ 1905 w 104775"/>
                          <a:gd name="connsiteY28" fmla="*/ 59055 h 127635"/>
                          <a:gd name="connsiteX29" fmla="*/ 0 w 104775"/>
                          <a:gd name="connsiteY29" fmla="*/ 64770 h 127635"/>
                          <a:gd name="connsiteX30" fmla="*/ 5715 w 104775"/>
                          <a:gd name="connsiteY30" fmla="*/ 78105 h 127635"/>
                          <a:gd name="connsiteX31" fmla="*/ 5715 w 104775"/>
                          <a:gd name="connsiteY31" fmla="*/ 81915 h 127635"/>
                          <a:gd name="connsiteX32" fmla="*/ 5715 w 104775"/>
                          <a:gd name="connsiteY32" fmla="*/ 87630 h 127635"/>
                          <a:gd name="connsiteX0" fmla="*/ 57150 w 104775"/>
                          <a:gd name="connsiteY0" fmla="*/ 76200 h 127635"/>
                          <a:gd name="connsiteX1" fmla="*/ 24765 w 104775"/>
                          <a:gd name="connsiteY1" fmla="*/ 80010 h 127635"/>
                          <a:gd name="connsiteX2" fmla="*/ 19050 w 104775"/>
                          <a:gd name="connsiteY2" fmla="*/ 83820 h 127635"/>
                          <a:gd name="connsiteX3" fmla="*/ 19050 w 104775"/>
                          <a:gd name="connsiteY3" fmla="*/ 106680 h 127635"/>
                          <a:gd name="connsiteX4" fmla="*/ 24765 w 104775"/>
                          <a:gd name="connsiteY4" fmla="*/ 110490 h 127635"/>
                          <a:gd name="connsiteX5" fmla="*/ 28575 w 104775"/>
                          <a:gd name="connsiteY5" fmla="*/ 116205 h 127635"/>
                          <a:gd name="connsiteX6" fmla="*/ 32385 w 104775"/>
                          <a:gd name="connsiteY6" fmla="*/ 127635 h 127635"/>
                          <a:gd name="connsiteX7" fmla="*/ 81915 w 104775"/>
                          <a:gd name="connsiteY7" fmla="*/ 125730 h 127635"/>
                          <a:gd name="connsiteX8" fmla="*/ 87630 w 104775"/>
                          <a:gd name="connsiteY8" fmla="*/ 123825 h 127635"/>
                          <a:gd name="connsiteX9" fmla="*/ 89535 w 104775"/>
                          <a:gd name="connsiteY9" fmla="*/ 118110 h 127635"/>
                          <a:gd name="connsiteX10" fmla="*/ 93345 w 104775"/>
                          <a:gd name="connsiteY10" fmla="*/ 112395 h 127635"/>
                          <a:gd name="connsiteX11" fmla="*/ 95250 w 104775"/>
                          <a:gd name="connsiteY11" fmla="*/ 99060 h 127635"/>
                          <a:gd name="connsiteX12" fmla="*/ 100965 w 104775"/>
                          <a:gd name="connsiteY12" fmla="*/ 95250 h 127635"/>
                          <a:gd name="connsiteX13" fmla="*/ 104775 w 104775"/>
                          <a:gd name="connsiteY13" fmla="*/ 83820 h 127635"/>
                          <a:gd name="connsiteX14" fmla="*/ 100965 w 104775"/>
                          <a:gd name="connsiteY14" fmla="*/ 57150 h 127635"/>
                          <a:gd name="connsiteX15" fmla="*/ 99060 w 104775"/>
                          <a:gd name="connsiteY15" fmla="*/ 49530 h 127635"/>
                          <a:gd name="connsiteX16" fmla="*/ 95250 w 104775"/>
                          <a:gd name="connsiteY16" fmla="*/ 43815 h 127635"/>
                          <a:gd name="connsiteX17" fmla="*/ 91440 w 104775"/>
                          <a:gd name="connsiteY17" fmla="*/ 32385 h 127635"/>
                          <a:gd name="connsiteX18" fmla="*/ 81915 w 104775"/>
                          <a:gd name="connsiteY18" fmla="*/ 15240 h 127635"/>
                          <a:gd name="connsiteX19" fmla="*/ 70485 w 104775"/>
                          <a:gd name="connsiteY19" fmla="*/ 3810 h 127635"/>
                          <a:gd name="connsiteX20" fmla="*/ 59055 w 104775"/>
                          <a:gd name="connsiteY20" fmla="*/ 0 h 127635"/>
                          <a:gd name="connsiteX21" fmla="*/ 45720 w 104775"/>
                          <a:gd name="connsiteY21" fmla="*/ 1905 h 127635"/>
                          <a:gd name="connsiteX22" fmla="*/ 43815 w 104775"/>
                          <a:gd name="connsiteY22" fmla="*/ 19050 h 127635"/>
                          <a:gd name="connsiteX23" fmla="*/ 41910 w 104775"/>
                          <a:gd name="connsiteY23" fmla="*/ 30480 h 127635"/>
                          <a:gd name="connsiteX24" fmla="*/ 40005 w 104775"/>
                          <a:gd name="connsiteY24" fmla="*/ 43815 h 127635"/>
                          <a:gd name="connsiteX25" fmla="*/ 28575 w 104775"/>
                          <a:gd name="connsiteY25" fmla="*/ 49530 h 127635"/>
                          <a:gd name="connsiteX26" fmla="*/ 3810 w 104775"/>
                          <a:gd name="connsiteY26" fmla="*/ 51435 h 127635"/>
                          <a:gd name="connsiteX27" fmla="*/ 1905 w 104775"/>
                          <a:gd name="connsiteY27" fmla="*/ 59055 h 127635"/>
                          <a:gd name="connsiteX28" fmla="*/ 0 w 104775"/>
                          <a:gd name="connsiteY28" fmla="*/ 64770 h 127635"/>
                          <a:gd name="connsiteX29" fmla="*/ 5715 w 104775"/>
                          <a:gd name="connsiteY29" fmla="*/ 78105 h 127635"/>
                          <a:gd name="connsiteX30" fmla="*/ 5715 w 104775"/>
                          <a:gd name="connsiteY30" fmla="*/ 81915 h 127635"/>
                          <a:gd name="connsiteX31" fmla="*/ 5715 w 104775"/>
                          <a:gd name="connsiteY31" fmla="*/ 87630 h 127635"/>
                          <a:gd name="connsiteX0" fmla="*/ 24765 w 104775"/>
                          <a:gd name="connsiteY0" fmla="*/ 80010 h 127635"/>
                          <a:gd name="connsiteX1" fmla="*/ 19050 w 104775"/>
                          <a:gd name="connsiteY1" fmla="*/ 83820 h 127635"/>
                          <a:gd name="connsiteX2" fmla="*/ 19050 w 104775"/>
                          <a:gd name="connsiteY2" fmla="*/ 106680 h 127635"/>
                          <a:gd name="connsiteX3" fmla="*/ 24765 w 104775"/>
                          <a:gd name="connsiteY3" fmla="*/ 110490 h 127635"/>
                          <a:gd name="connsiteX4" fmla="*/ 28575 w 104775"/>
                          <a:gd name="connsiteY4" fmla="*/ 116205 h 127635"/>
                          <a:gd name="connsiteX5" fmla="*/ 32385 w 104775"/>
                          <a:gd name="connsiteY5" fmla="*/ 127635 h 127635"/>
                          <a:gd name="connsiteX6" fmla="*/ 81915 w 104775"/>
                          <a:gd name="connsiteY6" fmla="*/ 125730 h 127635"/>
                          <a:gd name="connsiteX7" fmla="*/ 87630 w 104775"/>
                          <a:gd name="connsiteY7" fmla="*/ 123825 h 127635"/>
                          <a:gd name="connsiteX8" fmla="*/ 89535 w 104775"/>
                          <a:gd name="connsiteY8" fmla="*/ 118110 h 127635"/>
                          <a:gd name="connsiteX9" fmla="*/ 93345 w 104775"/>
                          <a:gd name="connsiteY9" fmla="*/ 112395 h 127635"/>
                          <a:gd name="connsiteX10" fmla="*/ 95250 w 104775"/>
                          <a:gd name="connsiteY10" fmla="*/ 99060 h 127635"/>
                          <a:gd name="connsiteX11" fmla="*/ 100965 w 104775"/>
                          <a:gd name="connsiteY11" fmla="*/ 95250 h 127635"/>
                          <a:gd name="connsiteX12" fmla="*/ 104775 w 104775"/>
                          <a:gd name="connsiteY12" fmla="*/ 83820 h 127635"/>
                          <a:gd name="connsiteX13" fmla="*/ 100965 w 104775"/>
                          <a:gd name="connsiteY13" fmla="*/ 57150 h 127635"/>
                          <a:gd name="connsiteX14" fmla="*/ 99060 w 104775"/>
                          <a:gd name="connsiteY14" fmla="*/ 49530 h 127635"/>
                          <a:gd name="connsiteX15" fmla="*/ 95250 w 104775"/>
                          <a:gd name="connsiteY15" fmla="*/ 43815 h 127635"/>
                          <a:gd name="connsiteX16" fmla="*/ 91440 w 104775"/>
                          <a:gd name="connsiteY16" fmla="*/ 32385 h 127635"/>
                          <a:gd name="connsiteX17" fmla="*/ 81915 w 104775"/>
                          <a:gd name="connsiteY17" fmla="*/ 15240 h 127635"/>
                          <a:gd name="connsiteX18" fmla="*/ 70485 w 104775"/>
                          <a:gd name="connsiteY18" fmla="*/ 3810 h 127635"/>
                          <a:gd name="connsiteX19" fmla="*/ 59055 w 104775"/>
                          <a:gd name="connsiteY19" fmla="*/ 0 h 127635"/>
                          <a:gd name="connsiteX20" fmla="*/ 45720 w 104775"/>
                          <a:gd name="connsiteY20" fmla="*/ 1905 h 127635"/>
                          <a:gd name="connsiteX21" fmla="*/ 43815 w 104775"/>
                          <a:gd name="connsiteY21" fmla="*/ 19050 h 127635"/>
                          <a:gd name="connsiteX22" fmla="*/ 41910 w 104775"/>
                          <a:gd name="connsiteY22" fmla="*/ 30480 h 127635"/>
                          <a:gd name="connsiteX23" fmla="*/ 40005 w 104775"/>
                          <a:gd name="connsiteY23" fmla="*/ 43815 h 127635"/>
                          <a:gd name="connsiteX24" fmla="*/ 28575 w 104775"/>
                          <a:gd name="connsiteY24" fmla="*/ 49530 h 127635"/>
                          <a:gd name="connsiteX25" fmla="*/ 3810 w 104775"/>
                          <a:gd name="connsiteY25" fmla="*/ 51435 h 127635"/>
                          <a:gd name="connsiteX26" fmla="*/ 1905 w 104775"/>
                          <a:gd name="connsiteY26" fmla="*/ 59055 h 127635"/>
                          <a:gd name="connsiteX27" fmla="*/ 0 w 104775"/>
                          <a:gd name="connsiteY27" fmla="*/ 64770 h 127635"/>
                          <a:gd name="connsiteX28" fmla="*/ 5715 w 104775"/>
                          <a:gd name="connsiteY28" fmla="*/ 78105 h 127635"/>
                          <a:gd name="connsiteX29" fmla="*/ 5715 w 104775"/>
                          <a:gd name="connsiteY29" fmla="*/ 81915 h 127635"/>
                          <a:gd name="connsiteX30" fmla="*/ 5715 w 104775"/>
                          <a:gd name="connsiteY30" fmla="*/ 87630 h 127635"/>
                          <a:gd name="connsiteX0" fmla="*/ 24765 w 104775"/>
                          <a:gd name="connsiteY0" fmla="*/ 80010 h 127635"/>
                          <a:gd name="connsiteX1" fmla="*/ 19050 w 104775"/>
                          <a:gd name="connsiteY1" fmla="*/ 106680 h 127635"/>
                          <a:gd name="connsiteX2" fmla="*/ 24765 w 104775"/>
                          <a:gd name="connsiteY2" fmla="*/ 110490 h 127635"/>
                          <a:gd name="connsiteX3" fmla="*/ 28575 w 104775"/>
                          <a:gd name="connsiteY3" fmla="*/ 116205 h 127635"/>
                          <a:gd name="connsiteX4" fmla="*/ 32385 w 104775"/>
                          <a:gd name="connsiteY4" fmla="*/ 127635 h 127635"/>
                          <a:gd name="connsiteX5" fmla="*/ 81915 w 104775"/>
                          <a:gd name="connsiteY5" fmla="*/ 125730 h 127635"/>
                          <a:gd name="connsiteX6" fmla="*/ 87630 w 104775"/>
                          <a:gd name="connsiteY6" fmla="*/ 123825 h 127635"/>
                          <a:gd name="connsiteX7" fmla="*/ 89535 w 104775"/>
                          <a:gd name="connsiteY7" fmla="*/ 118110 h 127635"/>
                          <a:gd name="connsiteX8" fmla="*/ 93345 w 104775"/>
                          <a:gd name="connsiteY8" fmla="*/ 112395 h 127635"/>
                          <a:gd name="connsiteX9" fmla="*/ 95250 w 104775"/>
                          <a:gd name="connsiteY9" fmla="*/ 99060 h 127635"/>
                          <a:gd name="connsiteX10" fmla="*/ 100965 w 104775"/>
                          <a:gd name="connsiteY10" fmla="*/ 95250 h 127635"/>
                          <a:gd name="connsiteX11" fmla="*/ 104775 w 104775"/>
                          <a:gd name="connsiteY11" fmla="*/ 83820 h 127635"/>
                          <a:gd name="connsiteX12" fmla="*/ 100965 w 104775"/>
                          <a:gd name="connsiteY12" fmla="*/ 57150 h 127635"/>
                          <a:gd name="connsiteX13" fmla="*/ 99060 w 104775"/>
                          <a:gd name="connsiteY13" fmla="*/ 49530 h 127635"/>
                          <a:gd name="connsiteX14" fmla="*/ 95250 w 104775"/>
                          <a:gd name="connsiteY14" fmla="*/ 43815 h 127635"/>
                          <a:gd name="connsiteX15" fmla="*/ 91440 w 104775"/>
                          <a:gd name="connsiteY15" fmla="*/ 32385 h 127635"/>
                          <a:gd name="connsiteX16" fmla="*/ 81915 w 104775"/>
                          <a:gd name="connsiteY16" fmla="*/ 15240 h 127635"/>
                          <a:gd name="connsiteX17" fmla="*/ 70485 w 104775"/>
                          <a:gd name="connsiteY17" fmla="*/ 3810 h 127635"/>
                          <a:gd name="connsiteX18" fmla="*/ 59055 w 104775"/>
                          <a:gd name="connsiteY18" fmla="*/ 0 h 127635"/>
                          <a:gd name="connsiteX19" fmla="*/ 45720 w 104775"/>
                          <a:gd name="connsiteY19" fmla="*/ 1905 h 127635"/>
                          <a:gd name="connsiteX20" fmla="*/ 43815 w 104775"/>
                          <a:gd name="connsiteY20" fmla="*/ 19050 h 127635"/>
                          <a:gd name="connsiteX21" fmla="*/ 41910 w 104775"/>
                          <a:gd name="connsiteY21" fmla="*/ 30480 h 127635"/>
                          <a:gd name="connsiteX22" fmla="*/ 40005 w 104775"/>
                          <a:gd name="connsiteY22" fmla="*/ 43815 h 127635"/>
                          <a:gd name="connsiteX23" fmla="*/ 28575 w 104775"/>
                          <a:gd name="connsiteY23" fmla="*/ 49530 h 127635"/>
                          <a:gd name="connsiteX24" fmla="*/ 3810 w 104775"/>
                          <a:gd name="connsiteY24" fmla="*/ 51435 h 127635"/>
                          <a:gd name="connsiteX25" fmla="*/ 1905 w 104775"/>
                          <a:gd name="connsiteY25" fmla="*/ 59055 h 127635"/>
                          <a:gd name="connsiteX26" fmla="*/ 0 w 104775"/>
                          <a:gd name="connsiteY26" fmla="*/ 64770 h 127635"/>
                          <a:gd name="connsiteX27" fmla="*/ 5715 w 104775"/>
                          <a:gd name="connsiteY27" fmla="*/ 78105 h 127635"/>
                          <a:gd name="connsiteX28" fmla="*/ 5715 w 104775"/>
                          <a:gd name="connsiteY28" fmla="*/ 81915 h 127635"/>
                          <a:gd name="connsiteX29" fmla="*/ 5715 w 104775"/>
                          <a:gd name="connsiteY29" fmla="*/ 8763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5715 w 104775"/>
                          <a:gd name="connsiteY28" fmla="*/ 8763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17145 w 104775"/>
                          <a:gd name="connsiteY28" fmla="*/ 11049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17145 w 104775"/>
                          <a:gd name="connsiteY28" fmla="*/ 110490 h 127635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81915 w 104775"/>
                          <a:gd name="connsiteY15" fmla="*/ 16019 h 128414"/>
                          <a:gd name="connsiteX16" fmla="*/ 70485 w 104775"/>
                          <a:gd name="connsiteY16" fmla="*/ 4589 h 128414"/>
                          <a:gd name="connsiteX17" fmla="*/ 59055 w 104775"/>
                          <a:gd name="connsiteY17" fmla="*/ 779 h 128414"/>
                          <a:gd name="connsiteX18" fmla="*/ 45720 w 104775"/>
                          <a:gd name="connsiteY18" fmla="*/ 2684 h 128414"/>
                          <a:gd name="connsiteX19" fmla="*/ 41910 w 104775"/>
                          <a:gd name="connsiteY19" fmla="*/ 31259 h 128414"/>
                          <a:gd name="connsiteX20" fmla="*/ 40005 w 104775"/>
                          <a:gd name="connsiteY20" fmla="*/ 44594 h 128414"/>
                          <a:gd name="connsiteX21" fmla="*/ 28575 w 104775"/>
                          <a:gd name="connsiteY21" fmla="*/ 50309 h 128414"/>
                          <a:gd name="connsiteX22" fmla="*/ 3810 w 104775"/>
                          <a:gd name="connsiteY22" fmla="*/ 52214 h 128414"/>
                          <a:gd name="connsiteX23" fmla="*/ 1905 w 104775"/>
                          <a:gd name="connsiteY23" fmla="*/ 59834 h 128414"/>
                          <a:gd name="connsiteX24" fmla="*/ 0 w 104775"/>
                          <a:gd name="connsiteY24" fmla="*/ 65549 h 128414"/>
                          <a:gd name="connsiteX25" fmla="*/ 5715 w 104775"/>
                          <a:gd name="connsiteY25" fmla="*/ 78884 h 128414"/>
                          <a:gd name="connsiteX26" fmla="*/ 5715 w 104775"/>
                          <a:gd name="connsiteY26" fmla="*/ 82694 h 128414"/>
                          <a:gd name="connsiteX27" fmla="*/ 17145 w 104775"/>
                          <a:gd name="connsiteY27" fmla="*/ 111269 h 128414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70485 w 104775"/>
                          <a:gd name="connsiteY15" fmla="*/ 4589 h 128414"/>
                          <a:gd name="connsiteX16" fmla="*/ 59055 w 104775"/>
                          <a:gd name="connsiteY16" fmla="*/ 779 h 128414"/>
                          <a:gd name="connsiteX17" fmla="*/ 45720 w 104775"/>
                          <a:gd name="connsiteY17" fmla="*/ 2684 h 128414"/>
                          <a:gd name="connsiteX18" fmla="*/ 41910 w 104775"/>
                          <a:gd name="connsiteY18" fmla="*/ 31259 h 128414"/>
                          <a:gd name="connsiteX19" fmla="*/ 40005 w 104775"/>
                          <a:gd name="connsiteY19" fmla="*/ 44594 h 128414"/>
                          <a:gd name="connsiteX20" fmla="*/ 28575 w 104775"/>
                          <a:gd name="connsiteY20" fmla="*/ 50309 h 128414"/>
                          <a:gd name="connsiteX21" fmla="*/ 3810 w 104775"/>
                          <a:gd name="connsiteY21" fmla="*/ 52214 h 128414"/>
                          <a:gd name="connsiteX22" fmla="*/ 1905 w 104775"/>
                          <a:gd name="connsiteY22" fmla="*/ 59834 h 128414"/>
                          <a:gd name="connsiteX23" fmla="*/ 0 w 104775"/>
                          <a:gd name="connsiteY23" fmla="*/ 65549 h 128414"/>
                          <a:gd name="connsiteX24" fmla="*/ 5715 w 104775"/>
                          <a:gd name="connsiteY24" fmla="*/ 78884 h 128414"/>
                          <a:gd name="connsiteX25" fmla="*/ 5715 w 104775"/>
                          <a:gd name="connsiteY25" fmla="*/ 82694 h 128414"/>
                          <a:gd name="connsiteX26" fmla="*/ 17145 w 104775"/>
                          <a:gd name="connsiteY26" fmla="*/ 111269 h 128414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70485 w 104775"/>
                          <a:gd name="connsiteY15" fmla="*/ 4589 h 128414"/>
                          <a:gd name="connsiteX16" fmla="*/ 59055 w 104775"/>
                          <a:gd name="connsiteY16" fmla="*/ 779 h 128414"/>
                          <a:gd name="connsiteX17" fmla="*/ 45720 w 104775"/>
                          <a:gd name="connsiteY17" fmla="*/ 2684 h 128414"/>
                          <a:gd name="connsiteX18" fmla="*/ 41910 w 104775"/>
                          <a:gd name="connsiteY18" fmla="*/ 31259 h 128414"/>
                          <a:gd name="connsiteX19" fmla="*/ 40005 w 104775"/>
                          <a:gd name="connsiteY19" fmla="*/ 44594 h 128414"/>
                          <a:gd name="connsiteX20" fmla="*/ 3810 w 104775"/>
                          <a:gd name="connsiteY20" fmla="*/ 52214 h 128414"/>
                          <a:gd name="connsiteX21" fmla="*/ 1905 w 104775"/>
                          <a:gd name="connsiteY21" fmla="*/ 59834 h 128414"/>
                          <a:gd name="connsiteX22" fmla="*/ 0 w 104775"/>
                          <a:gd name="connsiteY22" fmla="*/ 65549 h 128414"/>
                          <a:gd name="connsiteX23" fmla="*/ 5715 w 104775"/>
                          <a:gd name="connsiteY23" fmla="*/ 78884 h 128414"/>
                          <a:gd name="connsiteX24" fmla="*/ 5715 w 104775"/>
                          <a:gd name="connsiteY24" fmla="*/ 82694 h 128414"/>
                          <a:gd name="connsiteX25" fmla="*/ 17145 w 104775"/>
                          <a:gd name="connsiteY25" fmla="*/ 111269 h 128414"/>
                          <a:gd name="connsiteX0" fmla="*/ 19050 w 104775"/>
                          <a:gd name="connsiteY0" fmla="*/ 107492 h 128447"/>
                          <a:gd name="connsiteX1" fmla="*/ 24765 w 104775"/>
                          <a:gd name="connsiteY1" fmla="*/ 111302 h 128447"/>
                          <a:gd name="connsiteX2" fmla="*/ 28575 w 104775"/>
                          <a:gd name="connsiteY2" fmla="*/ 117017 h 128447"/>
                          <a:gd name="connsiteX3" fmla="*/ 32385 w 104775"/>
                          <a:gd name="connsiteY3" fmla="*/ 128447 h 128447"/>
                          <a:gd name="connsiteX4" fmla="*/ 81915 w 104775"/>
                          <a:gd name="connsiteY4" fmla="*/ 126542 h 128447"/>
                          <a:gd name="connsiteX5" fmla="*/ 87630 w 104775"/>
                          <a:gd name="connsiteY5" fmla="*/ 124637 h 128447"/>
                          <a:gd name="connsiteX6" fmla="*/ 89535 w 104775"/>
                          <a:gd name="connsiteY6" fmla="*/ 118922 h 128447"/>
                          <a:gd name="connsiteX7" fmla="*/ 93345 w 104775"/>
                          <a:gd name="connsiteY7" fmla="*/ 113207 h 128447"/>
                          <a:gd name="connsiteX8" fmla="*/ 95250 w 104775"/>
                          <a:gd name="connsiteY8" fmla="*/ 99872 h 128447"/>
                          <a:gd name="connsiteX9" fmla="*/ 100965 w 104775"/>
                          <a:gd name="connsiteY9" fmla="*/ 96062 h 128447"/>
                          <a:gd name="connsiteX10" fmla="*/ 104775 w 104775"/>
                          <a:gd name="connsiteY10" fmla="*/ 84632 h 128447"/>
                          <a:gd name="connsiteX11" fmla="*/ 100965 w 104775"/>
                          <a:gd name="connsiteY11" fmla="*/ 57962 h 128447"/>
                          <a:gd name="connsiteX12" fmla="*/ 99060 w 104775"/>
                          <a:gd name="connsiteY12" fmla="*/ 50342 h 128447"/>
                          <a:gd name="connsiteX13" fmla="*/ 95250 w 104775"/>
                          <a:gd name="connsiteY13" fmla="*/ 44627 h 128447"/>
                          <a:gd name="connsiteX14" fmla="*/ 91440 w 104775"/>
                          <a:gd name="connsiteY14" fmla="*/ 33197 h 128447"/>
                          <a:gd name="connsiteX15" fmla="*/ 70485 w 104775"/>
                          <a:gd name="connsiteY15" fmla="*/ 4622 h 128447"/>
                          <a:gd name="connsiteX16" fmla="*/ 45720 w 104775"/>
                          <a:gd name="connsiteY16" fmla="*/ 2717 h 128447"/>
                          <a:gd name="connsiteX17" fmla="*/ 41910 w 104775"/>
                          <a:gd name="connsiteY17" fmla="*/ 31292 h 128447"/>
                          <a:gd name="connsiteX18" fmla="*/ 40005 w 104775"/>
                          <a:gd name="connsiteY18" fmla="*/ 44627 h 128447"/>
                          <a:gd name="connsiteX19" fmla="*/ 3810 w 104775"/>
                          <a:gd name="connsiteY19" fmla="*/ 52247 h 128447"/>
                          <a:gd name="connsiteX20" fmla="*/ 1905 w 104775"/>
                          <a:gd name="connsiteY20" fmla="*/ 59867 h 128447"/>
                          <a:gd name="connsiteX21" fmla="*/ 0 w 104775"/>
                          <a:gd name="connsiteY21" fmla="*/ 65582 h 128447"/>
                          <a:gd name="connsiteX22" fmla="*/ 5715 w 104775"/>
                          <a:gd name="connsiteY22" fmla="*/ 78917 h 128447"/>
                          <a:gd name="connsiteX23" fmla="*/ 5715 w 104775"/>
                          <a:gd name="connsiteY23" fmla="*/ 82727 h 128447"/>
                          <a:gd name="connsiteX24" fmla="*/ 17145 w 104775"/>
                          <a:gd name="connsiteY24" fmla="*/ 111302 h 128447"/>
                          <a:gd name="connsiteX0" fmla="*/ 19050 w 104775"/>
                          <a:gd name="connsiteY0" fmla="*/ 102874 h 123829"/>
                          <a:gd name="connsiteX1" fmla="*/ 24765 w 104775"/>
                          <a:gd name="connsiteY1" fmla="*/ 106684 h 123829"/>
                          <a:gd name="connsiteX2" fmla="*/ 28575 w 104775"/>
                          <a:gd name="connsiteY2" fmla="*/ 112399 h 123829"/>
                          <a:gd name="connsiteX3" fmla="*/ 32385 w 104775"/>
                          <a:gd name="connsiteY3" fmla="*/ 123829 h 123829"/>
                          <a:gd name="connsiteX4" fmla="*/ 81915 w 104775"/>
                          <a:gd name="connsiteY4" fmla="*/ 121924 h 123829"/>
                          <a:gd name="connsiteX5" fmla="*/ 87630 w 104775"/>
                          <a:gd name="connsiteY5" fmla="*/ 120019 h 123829"/>
                          <a:gd name="connsiteX6" fmla="*/ 89535 w 104775"/>
                          <a:gd name="connsiteY6" fmla="*/ 114304 h 123829"/>
                          <a:gd name="connsiteX7" fmla="*/ 93345 w 104775"/>
                          <a:gd name="connsiteY7" fmla="*/ 108589 h 123829"/>
                          <a:gd name="connsiteX8" fmla="*/ 95250 w 104775"/>
                          <a:gd name="connsiteY8" fmla="*/ 95254 h 123829"/>
                          <a:gd name="connsiteX9" fmla="*/ 100965 w 104775"/>
                          <a:gd name="connsiteY9" fmla="*/ 91444 h 123829"/>
                          <a:gd name="connsiteX10" fmla="*/ 104775 w 104775"/>
                          <a:gd name="connsiteY10" fmla="*/ 80014 h 123829"/>
                          <a:gd name="connsiteX11" fmla="*/ 100965 w 104775"/>
                          <a:gd name="connsiteY11" fmla="*/ 53344 h 123829"/>
                          <a:gd name="connsiteX12" fmla="*/ 99060 w 104775"/>
                          <a:gd name="connsiteY12" fmla="*/ 45724 h 123829"/>
                          <a:gd name="connsiteX13" fmla="*/ 95250 w 104775"/>
                          <a:gd name="connsiteY13" fmla="*/ 40009 h 123829"/>
                          <a:gd name="connsiteX14" fmla="*/ 91440 w 104775"/>
                          <a:gd name="connsiteY14" fmla="*/ 28579 h 123829"/>
                          <a:gd name="connsiteX15" fmla="*/ 70485 w 104775"/>
                          <a:gd name="connsiteY15" fmla="*/ 4 h 123829"/>
                          <a:gd name="connsiteX16" fmla="*/ 41910 w 104775"/>
                          <a:gd name="connsiteY16" fmla="*/ 26674 h 123829"/>
                          <a:gd name="connsiteX17" fmla="*/ 40005 w 104775"/>
                          <a:gd name="connsiteY17" fmla="*/ 40009 h 123829"/>
                          <a:gd name="connsiteX18" fmla="*/ 3810 w 104775"/>
                          <a:gd name="connsiteY18" fmla="*/ 47629 h 123829"/>
                          <a:gd name="connsiteX19" fmla="*/ 1905 w 104775"/>
                          <a:gd name="connsiteY19" fmla="*/ 55249 h 123829"/>
                          <a:gd name="connsiteX20" fmla="*/ 0 w 104775"/>
                          <a:gd name="connsiteY20" fmla="*/ 60964 h 123829"/>
                          <a:gd name="connsiteX21" fmla="*/ 5715 w 104775"/>
                          <a:gd name="connsiteY21" fmla="*/ 74299 h 123829"/>
                          <a:gd name="connsiteX22" fmla="*/ 5715 w 104775"/>
                          <a:gd name="connsiteY22" fmla="*/ 78109 h 123829"/>
                          <a:gd name="connsiteX23" fmla="*/ 17145 w 104775"/>
                          <a:gd name="connsiteY23" fmla="*/ 106684 h 123829"/>
                          <a:gd name="connsiteX0" fmla="*/ 19050 w 104775"/>
                          <a:gd name="connsiteY0" fmla="*/ 77050 h 98005"/>
                          <a:gd name="connsiteX1" fmla="*/ 24765 w 104775"/>
                          <a:gd name="connsiteY1" fmla="*/ 80860 h 98005"/>
                          <a:gd name="connsiteX2" fmla="*/ 28575 w 104775"/>
                          <a:gd name="connsiteY2" fmla="*/ 86575 h 98005"/>
                          <a:gd name="connsiteX3" fmla="*/ 32385 w 104775"/>
                          <a:gd name="connsiteY3" fmla="*/ 98005 h 98005"/>
                          <a:gd name="connsiteX4" fmla="*/ 81915 w 104775"/>
                          <a:gd name="connsiteY4" fmla="*/ 96100 h 98005"/>
                          <a:gd name="connsiteX5" fmla="*/ 87630 w 104775"/>
                          <a:gd name="connsiteY5" fmla="*/ 94195 h 98005"/>
                          <a:gd name="connsiteX6" fmla="*/ 89535 w 104775"/>
                          <a:gd name="connsiteY6" fmla="*/ 88480 h 98005"/>
                          <a:gd name="connsiteX7" fmla="*/ 93345 w 104775"/>
                          <a:gd name="connsiteY7" fmla="*/ 82765 h 98005"/>
                          <a:gd name="connsiteX8" fmla="*/ 95250 w 104775"/>
                          <a:gd name="connsiteY8" fmla="*/ 69430 h 98005"/>
                          <a:gd name="connsiteX9" fmla="*/ 100965 w 104775"/>
                          <a:gd name="connsiteY9" fmla="*/ 65620 h 98005"/>
                          <a:gd name="connsiteX10" fmla="*/ 104775 w 104775"/>
                          <a:gd name="connsiteY10" fmla="*/ 54190 h 98005"/>
                          <a:gd name="connsiteX11" fmla="*/ 100965 w 104775"/>
                          <a:gd name="connsiteY11" fmla="*/ 27520 h 98005"/>
                          <a:gd name="connsiteX12" fmla="*/ 99060 w 104775"/>
                          <a:gd name="connsiteY12" fmla="*/ 19900 h 98005"/>
                          <a:gd name="connsiteX13" fmla="*/ 95250 w 104775"/>
                          <a:gd name="connsiteY13" fmla="*/ 14185 h 98005"/>
                          <a:gd name="connsiteX14" fmla="*/ 91440 w 104775"/>
                          <a:gd name="connsiteY14" fmla="*/ 2755 h 98005"/>
                          <a:gd name="connsiteX15" fmla="*/ 41910 w 104775"/>
                          <a:gd name="connsiteY15" fmla="*/ 850 h 98005"/>
                          <a:gd name="connsiteX16" fmla="*/ 40005 w 104775"/>
                          <a:gd name="connsiteY16" fmla="*/ 14185 h 98005"/>
                          <a:gd name="connsiteX17" fmla="*/ 3810 w 104775"/>
                          <a:gd name="connsiteY17" fmla="*/ 21805 h 98005"/>
                          <a:gd name="connsiteX18" fmla="*/ 1905 w 104775"/>
                          <a:gd name="connsiteY18" fmla="*/ 29425 h 98005"/>
                          <a:gd name="connsiteX19" fmla="*/ 0 w 104775"/>
                          <a:gd name="connsiteY19" fmla="*/ 35140 h 98005"/>
                          <a:gd name="connsiteX20" fmla="*/ 5715 w 104775"/>
                          <a:gd name="connsiteY20" fmla="*/ 48475 h 98005"/>
                          <a:gd name="connsiteX21" fmla="*/ 5715 w 104775"/>
                          <a:gd name="connsiteY21" fmla="*/ 52285 h 98005"/>
                          <a:gd name="connsiteX22" fmla="*/ 17145 w 104775"/>
                          <a:gd name="connsiteY22" fmla="*/ 80860 h 98005"/>
                          <a:gd name="connsiteX0" fmla="*/ 19050 w 104775"/>
                          <a:gd name="connsiteY0" fmla="*/ 76200 h 97155"/>
                          <a:gd name="connsiteX1" fmla="*/ 24765 w 104775"/>
                          <a:gd name="connsiteY1" fmla="*/ 80010 h 97155"/>
                          <a:gd name="connsiteX2" fmla="*/ 28575 w 104775"/>
                          <a:gd name="connsiteY2" fmla="*/ 85725 h 97155"/>
                          <a:gd name="connsiteX3" fmla="*/ 32385 w 104775"/>
                          <a:gd name="connsiteY3" fmla="*/ 97155 h 97155"/>
                          <a:gd name="connsiteX4" fmla="*/ 81915 w 104775"/>
                          <a:gd name="connsiteY4" fmla="*/ 95250 h 97155"/>
                          <a:gd name="connsiteX5" fmla="*/ 87630 w 104775"/>
                          <a:gd name="connsiteY5" fmla="*/ 93345 h 97155"/>
                          <a:gd name="connsiteX6" fmla="*/ 89535 w 104775"/>
                          <a:gd name="connsiteY6" fmla="*/ 87630 h 97155"/>
                          <a:gd name="connsiteX7" fmla="*/ 93345 w 104775"/>
                          <a:gd name="connsiteY7" fmla="*/ 81915 h 97155"/>
                          <a:gd name="connsiteX8" fmla="*/ 95250 w 104775"/>
                          <a:gd name="connsiteY8" fmla="*/ 68580 h 97155"/>
                          <a:gd name="connsiteX9" fmla="*/ 100965 w 104775"/>
                          <a:gd name="connsiteY9" fmla="*/ 64770 h 97155"/>
                          <a:gd name="connsiteX10" fmla="*/ 104775 w 104775"/>
                          <a:gd name="connsiteY10" fmla="*/ 53340 h 97155"/>
                          <a:gd name="connsiteX11" fmla="*/ 100965 w 104775"/>
                          <a:gd name="connsiteY11" fmla="*/ 26670 h 97155"/>
                          <a:gd name="connsiteX12" fmla="*/ 99060 w 104775"/>
                          <a:gd name="connsiteY12" fmla="*/ 19050 h 97155"/>
                          <a:gd name="connsiteX13" fmla="*/ 95250 w 104775"/>
                          <a:gd name="connsiteY13" fmla="*/ 13335 h 97155"/>
                          <a:gd name="connsiteX14" fmla="*/ 41910 w 104775"/>
                          <a:gd name="connsiteY14" fmla="*/ 0 h 97155"/>
                          <a:gd name="connsiteX15" fmla="*/ 40005 w 104775"/>
                          <a:gd name="connsiteY15" fmla="*/ 13335 h 97155"/>
                          <a:gd name="connsiteX16" fmla="*/ 3810 w 104775"/>
                          <a:gd name="connsiteY16" fmla="*/ 20955 h 97155"/>
                          <a:gd name="connsiteX17" fmla="*/ 1905 w 104775"/>
                          <a:gd name="connsiteY17" fmla="*/ 28575 h 97155"/>
                          <a:gd name="connsiteX18" fmla="*/ 0 w 104775"/>
                          <a:gd name="connsiteY18" fmla="*/ 34290 h 97155"/>
                          <a:gd name="connsiteX19" fmla="*/ 5715 w 104775"/>
                          <a:gd name="connsiteY19" fmla="*/ 47625 h 97155"/>
                          <a:gd name="connsiteX20" fmla="*/ 5715 w 104775"/>
                          <a:gd name="connsiteY20" fmla="*/ 51435 h 97155"/>
                          <a:gd name="connsiteX21" fmla="*/ 17145 w 104775"/>
                          <a:gd name="connsiteY21" fmla="*/ 80010 h 97155"/>
                          <a:gd name="connsiteX0" fmla="*/ 19050 w 104775"/>
                          <a:gd name="connsiteY0" fmla="*/ 76298 h 97253"/>
                          <a:gd name="connsiteX1" fmla="*/ 24765 w 104775"/>
                          <a:gd name="connsiteY1" fmla="*/ 80108 h 97253"/>
                          <a:gd name="connsiteX2" fmla="*/ 28575 w 104775"/>
                          <a:gd name="connsiteY2" fmla="*/ 85823 h 97253"/>
                          <a:gd name="connsiteX3" fmla="*/ 32385 w 104775"/>
                          <a:gd name="connsiteY3" fmla="*/ 97253 h 97253"/>
                          <a:gd name="connsiteX4" fmla="*/ 81915 w 104775"/>
                          <a:gd name="connsiteY4" fmla="*/ 95348 h 97253"/>
                          <a:gd name="connsiteX5" fmla="*/ 87630 w 104775"/>
                          <a:gd name="connsiteY5" fmla="*/ 93443 h 97253"/>
                          <a:gd name="connsiteX6" fmla="*/ 89535 w 104775"/>
                          <a:gd name="connsiteY6" fmla="*/ 87728 h 97253"/>
                          <a:gd name="connsiteX7" fmla="*/ 93345 w 104775"/>
                          <a:gd name="connsiteY7" fmla="*/ 82013 h 97253"/>
                          <a:gd name="connsiteX8" fmla="*/ 95250 w 104775"/>
                          <a:gd name="connsiteY8" fmla="*/ 68678 h 97253"/>
                          <a:gd name="connsiteX9" fmla="*/ 100965 w 104775"/>
                          <a:gd name="connsiteY9" fmla="*/ 64868 h 97253"/>
                          <a:gd name="connsiteX10" fmla="*/ 104775 w 104775"/>
                          <a:gd name="connsiteY10" fmla="*/ 53438 h 97253"/>
                          <a:gd name="connsiteX11" fmla="*/ 100965 w 104775"/>
                          <a:gd name="connsiteY11" fmla="*/ 26768 h 97253"/>
                          <a:gd name="connsiteX12" fmla="*/ 99060 w 104775"/>
                          <a:gd name="connsiteY12" fmla="*/ 19148 h 97253"/>
                          <a:gd name="connsiteX13" fmla="*/ 95250 w 104775"/>
                          <a:gd name="connsiteY13" fmla="*/ 13433 h 97253"/>
                          <a:gd name="connsiteX14" fmla="*/ 41910 w 104775"/>
                          <a:gd name="connsiteY14" fmla="*/ 98 h 97253"/>
                          <a:gd name="connsiteX15" fmla="*/ 3810 w 104775"/>
                          <a:gd name="connsiteY15" fmla="*/ 21053 h 97253"/>
                          <a:gd name="connsiteX16" fmla="*/ 1905 w 104775"/>
                          <a:gd name="connsiteY16" fmla="*/ 28673 h 97253"/>
                          <a:gd name="connsiteX17" fmla="*/ 0 w 104775"/>
                          <a:gd name="connsiteY17" fmla="*/ 34388 h 97253"/>
                          <a:gd name="connsiteX18" fmla="*/ 5715 w 104775"/>
                          <a:gd name="connsiteY18" fmla="*/ 47723 h 97253"/>
                          <a:gd name="connsiteX19" fmla="*/ 5715 w 104775"/>
                          <a:gd name="connsiteY19" fmla="*/ 51533 h 97253"/>
                          <a:gd name="connsiteX20" fmla="*/ 17145 w 104775"/>
                          <a:gd name="connsiteY20" fmla="*/ 80108 h 97253"/>
                          <a:gd name="connsiteX0" fmla="*/ 19050 w 104775"/>
                          <a:gd name="connsiteY0" fmla="*/ 76205 h 97160"/>
                          <a:gd name="connsiteX1" fmla="*/ 24765 w 104775"/>
                          <a:gd name="connsiteY1" fmla="*/ 80015 h 97160"/>
                          <a:gd name="connsiteX2" fmla="*/ 28575 w 104775"/>
                          <a:gd name="connsiteY2" fmla="*/ 85730 h 97160"/>
                          <a:gd name="connsiteX3" fmla="*/ 32385 w 104775"/>
                          <a:gd name="connsiteY3" fmla="*/ 97160 h 97160"/>
                          <a:gd name="connsiteX4" fmla="*/ 81915 w 104775"/>
                          <a:gd name="connsiteY4" fmla="*/ 95255 h 97160"/>
                          <a:gd name="connsiteX5" fmla="*/ 87630 w 104775"/>
                          <a:gd name="connsiteY5" fmla="*/ 93350 h 97160"/>
                          <a:gd name="connsiteX6" fmla="*/ 89535 w 104775"/>
                          <a:gd name="connsiteY6" fmla="*/ 87635 h 97160"/>
                          <a:gd name="connsiteX7" fmla="*/ 93345 w 104775"/>
                          <a:gd name="connsiteY7" fmla="*/ 81920 h 97160"/>
                          <a:gd name="connsiteX8" fmla="*/ 95250 w 104775"/>
                          <a:gd name="connsiteY8" fmla="*/ 68585 h 97160"/>
                          <a:gd name="connsiteX9" fmla="*/ 100965 w 104775"/>
                          <a:gd name="connsiteY9" fmla="*/ 64775 h 97160"/>
                          <a:gd name="connsiteX10" fmla="*/ 104775 w 104775"/>
                          <a:gd name="connsiteY10" fmla="*/ 53345 h 97160"/>
                          <a:gd name="connsiteX11" fmla="*/ 100965 w 104775"/>
                          <a:gd name="connsiteY11" fmla="*/ 26675 h 97160"/>
                          <a:gd name="connsiteX12" fmla="*/ 99060 w 104775"/>
                          <a:gd name="connsiteY12" fmla="*/ 19055 h 97160"/>
                          <a:gd name="connsiteX13" fmla="*/ 41910 w 104775"/>
                          <a:gd name="connsiteY13" fmla="*/ 5 h 97160"/>
                          <a:gd name="connsiteX14" fmla="*/ 3810 w 104775"/>
                          <a:gd name="connsiteY14" fmla="*/ 20960 h 97160"/>
                          <a:gd name="connsiteX15" fmla="*/ 1905 w 104775"/>
                          <a:gd name="connsiteY15" fmla="*/ 28580 h 97160"/>
                          <a:gd name="connsiteX16" fmla="*/ 0 w 104775"/>
                          <a:gd name="connsiteY16" fmla="*/ 34295 h 97160"/>
                          <a:gd name="connsiteX17" fmla="*/ 5715 w 104775"/>
                          <a:gd name="connsiteY17" fmla="*/ 47630 h 97160"/>
                          <a:gd name="connsiteX18" fmla="*/ 5715 w 104775"/>
                          <a:gd name="connsiteY18" fmla="*/ 51440 h 97160"/>
                          <a:gd name="connsiteX19" fmla="*/ 17145 w 104775"/>
                          <a:gd name="connsiteY19" fmla="*/ 80015 h 97160"/>
                          <a:gd name="connsiteX0" fmla="*/ 19050 w 105971"/>
                          <a:gd name="connsiteY0" fmla="*/ 76238 h 97193"/>
                          <a:gd name="connsiteX1" fmla="*/ 24765 w 105971"/>
                          <a:gd name="connsiteY1" fmla="*/ 80048 h 97193"/>
                          <a:gd name="connsiteX2" fmla="*/ 28575 w 105971"/>
                          <a:gd name="connsiteY2" fmla="*/ 85763 h 97193"/>
                          <a:gd name="connsiteX3" fmla="*/ 32385 w 105971"/>
                          <a:gd name="connsiteY3" fmla="*/ 97193 h 97193"/>
                          <a:gd name="connsiteX4" fmla="*/ 81915 w 105971"/>
                          <a:gd name="connsiteY4" fmla="*/ 95288 h 97193"/>
                          <a:gd name="connsiteX5" fmla="*/ 87630 w 105971"/>
                          <a:gd name="connsiteY5" fmla="*/ 93383 h 97193"/>
                          <a:gd name="connsiteX6" fmla="*/ 89535 w 105971"/>
                          <a:gd name="connsiteY6" fmla="*/ 87668 h 97193"/>
                          <a:gd name="connsiteX7" fmla="*/ 93345 w 105971"/>
                          <a:gd name="connsiteY7" fmla="*/ 81953 h 97193"/>
                          <a:gd name="connsiteX8" fmla="*/ 95250 w 105971"/>
                          <a:gd name="connsiteY8" fmla="*/ 68618 h 97193"/>
                          <a:gd name="connsiteX9" fmla="*/ 100965 w 105971"/>
                          <a:gd name="connsiteY9" fmla="*/ 64808 h 97193"/>
                          <a:gd name="connsiteX10" fmla="*/ 104775 w 105971"/>
                          <a:gd name="connsiteY10" fmla="*/ 53378 h 97193"/>
                          <a:gd name="connsiteX11" fmla="*/ 100965 w 105971"/>
                          <a:gd name="connsiteY11" fmla="*/ 26708 h 97193"/>
                          <a:gd name="connsiteX12" fmla="*/ 41910 w 105971"/>
                          <a:gd name="connsiteY12" fmla="*/ 38 h 97193"/>
                          <a:gd name="connsiteX13" fmla="*/ 3810 w 105971"/>
                          <a:gd name="connsiteY13" fmla="*/ 20993 h 97193"/>
                          <a:gd name="connsiteX14" fmla="*/ 1905 w 105971"/>
                          <a:gd name="connsiteY14" fmla="*/ 28613 h 97193"/>
                          <a:gd name="connsiteX15" fmla="*/ 0 w 105971"/>
                          <a:gd name="connsiteY15" fmla="*/ 34328 h 97193"/>
                          <a:gd name="connsiteX16" fmla="*/ 5715 w 105971"/>
                          <a:gd name="connsiteY16" fmla="*/ 47663 h 97193"/>
                          <a:gd name="connsiteX17" fmla="*/ 5715 w 105971"/>
                          <a:gd name="connsiteY17" fmla="*/ 51473 h 97193"/>
                          <a:gd name="connsiteX18" fmla="*/ 17145 w 105971"/>
                          <a:gd name="connsiteY18" fmla="*/ 80048 h 97193"/>
                          <a:gd name="connsiteX0" fmla="*/ 19050 w 106250"/>
                          <a:gd name="connsiteY0" fmla="*/ 64875 h 85830"/>
                          <a:gd name="connsiteX1" fmla="*/ 24765 w 106250"/>
                          <a:gd name="connsiteY1" fmla="*/ 68685 h 85830"/>
                          <a:gd name="connsiteX2" fmla="*/ 28575 w 106250"/>
                          <a:gd name="connsiteY2" fmla="*/ 74400 h 85830"/>
                          <a:gd name="connsiteX3" fmla="*/ 32385 w 106250"/>
                          <a:gd name="connsiteY3" fmla="*/ 85830 h 85830"/>
                          <a:gd name="connsiteX4" fmla="*/ 81915 w 106250"/>
                          <a:gd name="connsiteY4" fmla="*/ 83925 h 85830"/>
                          <a:gd name="connsiteX5" fmla="*/ 87630 w 106250"/>
                          <a:gd name="connsiteY5" fmla="*/ 82020 h 85830"/>
                          <a:gd name="connsiteX6" fmla="*/ 89535 w 106250"/>
                          <a:gd name="connsiteY6" fmla="*/ 76305 h 85830"/>
                          <a:gd name="connsiteX7" fmla="*/ 93345 w 106250"/>
                          <a:gd name="connsiteY7" fmla="*/ 70590 h 85830"/>
                          <a:gd name="connsiteX8" fmla="*/ 95250 w 106250"/>
                          <a:gd name="connsiteY8" fmla="*/ 57255 h 85830"/>
                          <a:gd name="connsiteX9" fmla="*/ 100965 w 106250"/>
                          <a:gd name="connsiteY9" fmla="*/ 53445 h 85830"/>
                          <a:gd name="connsiteX10" fmla="*/ 104775 w 106250"/>
                          <a:gd name="connsiteY10" fmla="*/ 42015 h 85830"/>
                          <a:gd name="connsiteX11" fmla="*/ 100965 w 106250"/>
                          <a:gd name="connsiteY11" fmla="*/ 15345 h 85830"/>
                          <a:gd name="connsiteX12" fmla="*/ 38100 w 106250"/>
                          <a:gd name="connsiteY12" fmla="*/ 105 h 85830"/>
                          <a:gd name="connsiteX13" fmla="*/ 3810 w 106250"/>
                          <a:gd name="connsiteY13" fmla="*/ 9630 h 85830"/>
                          <a:gd name="connsiteX14" fmla="*/ 1905 w 106250"/>
                          <a:gd name="connsiteY14" fmla="*/ 17250 h 85830"/>
                          <a:gd name="connsiteX15" fmla="*/ 0 w 106250"/>
                          <a:gd name="connsiteY15" fmla="*/ 22965 h 85830"/>
                          <a:gd name="connsiteX16" fmla="*/ 5715 w 106250"/>
                          <a:gd name="connsiteY16" fmla="*/ 36300 h 85830"/>
                          <a:gd name="connsiteX17" fmla="*/ 5715 w 106250"/>
                          <a:gd name="connsiteY17" fmla="*/ 40110 h 85830"/>
                          <a:gd name="connsiteX18" fmla="*/ 17145 w 106250"/>
                          <a:gd name="connsiteY18" fmla="*/ 68685 h 8583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</a:cxnLst>
                        <a:rect l="l" t="t" r="r" b="b"/>
                        <a:pathLst>
                          <a:path w="106250" h="85830">
                            <a:moveTo>
                              <a:pt x="19050" y="64875"/>
                            </a:moveTo>
                            <a:cubicBezTo>
                              <a:pt x="19050" y="69955"/>
                              <a:pt x="22860" y="67415"/>
                              <a:pt x="24765" y="68685"/>
                            </a:cubicBezTo>
                            <a:cubicBezTo>
                              <a:pt x="26035" y="70590"/>
                              <a:pt x="27645" y="72308"/>
                              <a:pt x="28575" y="74400"/>
                            </a:cubicBezTo>
                            <a:cubicBezTo>
                              <a:pt x="30206" y="78070"/>
                              <a:pt x="32385" y="85830"/>
                              <a:pt x="32385" y="85830"/>
                            </a:cubicBezTo>
                            <a:cubicBezTo>
                              <a:pt x="48895" y="85195"/>
                              <a:pt x="65432" y="85062"/>
                              <a:pt x="81915" y="83925"/>
                            </a:cubicBezTo>
                            <a:cubicBezTo>
                              <a:pt x="83918" y="83787"/>
                              <a:pt x="86210" y="83440"/>
                              <a:pt x="87630" y="82020"/>
                            </a:cubicBezTo>
                            <a:cubicBezTo>
                              <a:pt x="89050" y="80600"/>
                              <a:pt x="88637" y="78101"/>
                              <a:pt x="89535" y="76305"/>
                            </a:cubicBezTo>
                            <a:cubicBezTo>
                              <a:pt x="90559" y="74257"/>
                              <a:pt x="92075" y="72495"/>
                              <a:pt x="93345" y="70590"/>
                            </a:cubicBezTo>
                            <a:cubicBezTo>
                              <a:pt x="93980" y="66145"/>
                              <a:pt x="93426" y="61358"/>
                              <a:pt x="95250" y="57255"/>
                            </a:cubicBezTo>
                            <a:cubicBezTo>
                              <a:pt x="96180" y="55163"/>
                              <a:pt x="99752" y="55387"/>
                              <a:pt x="100965" y="53445"/>
                            </a:cubicBezTo>
                            <a:cubicBezTo>
                              <a:pt x="103094" y="50039"/>
                              <a:pt x="104775" y="42015"/>
                              <a:pt x="104775" y="42015"/>
                            </a:cubicBezTo>
                            <a:cubicBezTo>
                              <a:pt x="101728" y="8500"/>
                              <a:pt x="112077" y="22330"/>
                              <a:pt x="100965" y="15345"/>
                            </a:cubicBezTo>
                            <a:cubicBezTo>
                              <a:pt x="89853" y="8360"/>
                              <a:pt x="54292" y="1057"/>
                              <a:pt x="38100" y="105"/>
                            </a:cubicBezTo>
                            <a:cubicBezTo>
                              <a:pt x="21908" y="-847"/>
                              <a:pt x="10477" y="4868"/>
                              <a:pt x="3810" y="9630"/>
                            </a:cubicBezTo>
                            <a:cubicBezTo>
                              <a:pt x="3175" y="12170"/>
                              <a:pt x="2624" y="14733"/>
                              <a:pt x="1905" y="17250"/>
                            </a:cubicBezTo>
                            <a:cubicBezTo>
                              <a:pt x="1353" y="19181"/>
                              <a:pt x="0" y="20957"/>
                              <a:pt x="0" y="22965"/>
                            </a:cubicBezTo>
                            <a:cubicBezTo>
                              <a:pt x="0" y="32673"/>
                              <a:pt x="2604" y="28523"/>
                              <a:pt x="5715" y="36300"/>
                            </a:cubicBezTo>
                            <a:cubicBezTo>
                              <a:pt x="6187" y="37479"/>
                              <a:pt x="3810" y="34713"/>
                              <a:pt x="5715" y="40110"/>
                            </a:cubicBezTo>
                            <a:cubicBezTo>
                              <a:pt x="7620" y="45507"/>
                              <a:pt x="13335" y="59160"/>
                              <a:pt x="17145" y="68685"/>
                            </a:cubicBezTo>
                          </a:path>
                        </a:pathLst>
                      </a:custGeom>
                      <a:solidFill>
                        <a:srgbClr val="0D3759"/>
                      </a:solidFill>
                      <a:ln w="3175" cap="flat" cmpd="sng" algn="ctr">
                        <a:solidFill>
                          <a:srgbClr val="F2E8F8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39" name="Freeform: Shape 24">
                        <a:extLst>
                          <a:ext uri="{FF2B5EF4-FFF2-40B4-BE49-F238E27FC236}">
                            <a16:creationId xmlns:a16="http://schemas.microsoft.com/office/drawing/2014/main" id="{47814BFE-E40A-8DB1-F074-21B80D56029A}"/>
                          </a:ext>
                        </a:extLst>
                      </p:cNvPr>
                      <p:cNvSpPr/>
                      <p:nvPr/>
                    </p:nvSpPr>
                    <p:spPr>
                      <a:xfrm rot="5209521">
                        <a:off x="8961351" y="4317762"/>
                        <a:ext cx="27432" cy="36576"/>
                      </a:xfrm>
                      <a:custGeom>
                        <a:avLst/>
                        <a:gdLst>
                          <a:gd name="connsiteX0" fmla="*/ 57150 w 104775"/>
                          <a:gd name="connsiteY0" fmla="*/ 76200 h 127635"/>
                          <a:gd name="connsiteX1" fmla="*/ 57150 w 104775"/>
                          <a:gd name="connsiteY1" fmla="*/ 76200 h 127635"/>
                          <a:gd name="connsiteX2" fmla="*/ 24765 w 104775"/>
                          <a:gd name="connsiteY2" fmla="*/ 80010 h 127635"/>
                          <a:gd name="connsiteX3" fmla="*/ 19050 w 104775"/>
                          <a:gd name="connsiteY3" fmla="*/ 83820 h 127635"/>
                          <a:gd name="connsiteX4" fmla="*/ 19050 w 104775"/>
                          <a:gd name="connsiteY4" fmla="*/ 106680 h 127635"/>
                          <a:gd name="connsiteX5" fmla="*/ 24765 w 104775"/>
                          <a:gd name="connsiteY5" fmla="*/ 110490 h 127635"/>
                          <a:gd name="connsiteX6" fmla="*/ 28575 w 104775"/>
                          <a:gd name="connsiteY6" fmla="*/ 116205 h 127635"/>
                          <a:gd name="connsiteX7" fmla="*/ 32385 w 104775"/>
                          <a:gd name="connsiteY7" fmla="*/ 127635 h 127635"/>
                          <a:gd name="connsiteX8" fmla="*/ 81915 w 104775"/>
                          <a:gd name="connsiteY8" fmla="*/ 125730 h 127635"/>
                          <a:gd name="connsiteX9" fmla="*/ 87630 w 104775"/>
                          <a:gd name="connsiteY9" fmla="*/ 123825 h 127635"/>
                          <a:gd name="connsiteX10" fmla="*/ 89535 w 104775"/>
                          <a:gd name="connsiteY10" fmla="*/ 118110 h 127635"/>
                          <a:gd name="connsiteX11" fmla="*/ 93345 w 104775"/>
                          <a:gd name="connsiteY11" fmla="*/ 112395 h 127635"/>
                          <a:gd name="connsiteX12" fmla="*/ 95250 w 104775"/>
                          <a:gd name="connsiteY12" fmla="*/ 99060 h 127635"/>
                          <a:gd name="connsiteX13" fmla="*/ 100965 w 104775"/>
                          <a:gd name="connsiteY13" fmla="*/ 95250 h 127635"/>
                          <a:gd name="connsiteX14" fmla="*/ 104775 w 104775"/>
                          <a:gd name="connsiteY14" fmla="*/ 83820 h 127635"/>
                          <a:gd name="connsiteX15" fmla="*/ 100965 w 104775"/>
                          <a:gd name="connsiteY15" fmla="*/ 57150 h 127635"/>
                          <a:gd name="connsiteX16" fmla="*/ 99060 w 104775"/>
                          <a:gd name="connsiteY16" fmla="*/ 49530 h 127635"/>
                          <a:gd name="connsiteX17" fmla="*/ 95250 w 104775"/>
                          <a:gd name="connsiteY17" fmla="*/ 43815 h 127635"/>
                          <a:gd name="connsiteX18" fmla="*/ 91440 w 104775"/>
                          <a:gd name="connsiteY18" fmla="*/ 32385 h 127635"/>
                          <a:gd name="connsiteX19" fmla="*/ 81915 w 104775"/>
                          <a:gd name="connsiteY19" fmla="*/ 15240 h 127635"/>
                          <a:gd name="connsiteX20" fmla="*/ 70485 w 104775"/>
                          <a:gd name="connsiteY20" fmla="*/ 3810 h 127635"/>
                          <a:gd name="connsiteX21" fmla="*/ 59055 w 104775"/>
                          <a:gd name="connsiteY21" fmla="*/ 0 h 127635"/>
                          <a:gd name="connsiteX22" fmla="*/ 45720 w 104775"/>
                          <a:gd name="connsiteY22" fmla="*/ 1905 h 127635"/>
                          <a:gd name="connsiteX23" fmla="*/ 43815 w 104775"/>
                          <a:gd name="connsiteY23" fmla="*/ 19050 h 127635"/>
                          <a:gd name="connsiteX24" fmla="*/ 41910 w 104775"/>
                          <a:gd name="connsiteY24" fmla="*/ 30480 h 127635"/>
                          <a:gd name="connsiteX25" fmla="*/ 40005 w 104775"/>
                          <a:gd name="connsiteY25" fmla="*/ 43815 h 127635"/>
                          <a:gd name="connsiteX26" fmla="*/ 28575 w 104775"/>
                          <a:gd name="connsiteY26" fmla="*/ 49530 h 127635"/>
                          <a:gd name="connsiteX27" fmla="*/ 3810 w 104775"/>
                          <a:gd name="connsiteY27" fmla="*/ 51435 h 127635"/>
                          <a:gd name="connsiteX28" fmla="*/ 1905 w 104775"/>
                          <a:gd name="connsiteY28" fmla="*/ 59055 h 127635"/>
                          <a:gd name="connsiteX29" fmla="*/ 0 w 104775"/>
                          <a:gd name="connsiteY29" fmla="*/ 64770 h 127635"/>
                          <a:gd name="connsiteX30" fmla="*/ 5715 w 104775"/>
                          <a:gd name="connsiteY30" fmla="*/ 78105 h 127635"/>
                          <a:gd name="connsiteX31" fmla="*/ 5715 w 104775"/>
                          <a:gd name="connsiteY31" fmla="*/ 81915 h 127635"/>
                          <a:gd name="connsiteX32" fmla="*/ 5715 w 104775"/>
                          <a:gd name="connsiteY32" fmla="*/ 87630 h 127635"/>
                          <a:gd name="connsiteX0" fmla="*/ 57150 w 104775"/>
                          <a:gd name="connsiteY0" fmla="*/ 76200 h 127635"/>
                          <a:gd name="connsiteX1" fmla="*/ 24765 w 104775"/>
                          <a:gd name="connsiteY1" fmla="*/ 80010 h 127635"/>
                          <a:gd name="connsiteX2" fmla="*/ 19050 w 104775"/>
                          <a:gd name="connsiteY2" fmla="*/ 83820 h 127635"/>
                          <a:gd name="connsiteX3" fmla="*/ 19050 w 104775"/>
                          <a:gd name="connsiteY3" fmla="*/ 106680 h 127635"/>
                          <a:gd name="connsiteX4" fmla="*/ 24765 w 104775"/>
                          <a:gd name="connsiteY4" fmla="*/ 110490 h 127635"/>
                          <a:gd name="connsiteX5" fmla="*/ 28575 w 104775"/>
                          <a:gd name="connsiteY5" fmla="*/ 116205 h 127635"/>
                          <a:gd name="connsiteX6" fmla="*/ 32385 w 104775"/>
                          <a:gd name="connsiteY6" fmla="*/ 127635 h 127635"/>
                          <a:gd name="connsiteX7" fmla="*/ 81915 w 104775"/>
                          <a:gd name="connsiteY7" fmla="*/ 125730 h 127635"/>
                          <a:gd name="connsiteX8" fmla="*/ 87630 w 104775"/>
                          <a:gd name="connsiteY8" fmla="*/ 123825 h 127635"/>
                          <a:gd name="connsiteX9" fmla="*/ 89535 w 104775"/>
                          <a:gd name="connsiteY9" fmla="*/ 118110 h 127635"/>
                          <a:gd name="connsiteX10" fmla="*/ 93345 w 104775"/>
                          <a:gd name="connsiteY10" fmla="*/ 112395 h 127635"/>
                          <a:gd name="connsiteX11" fmla="*/ 95250 w 104775"/>
                          <a:gd name="connsiteY11" fmla="*/ 99060 h 127635"/>
                          <a:gd name="connsiteX12" fmla="*/ 100965 w 104775"/>
                          <a:gd name="connsiteY12" fmla="*/ 95250 h 127635"/>
                          <a:gd name="connsiteX13" fmla="*/ 104775 w 104775"/>
                          <a:gd name="connsiteY13" fmla="*/ 83820 h 127635"/>
                          <a:gd name="connsiteX14" fmla="*/ 100965 w 104775"/>
                          <a:gd name="connsiteY14" fmla="*/ 57150 h 127635"/>
                          <a:gd name="connsiteX15" fmla="*/ 99060 w 104775"/>
                          <a:gd name="connsiteY15" fmla="*/ 49530 h 127635"/>
                          <a:gd name="connsiteX16" fmla="*/ 95250 w 104775"/>
                          <a:gd name="connsiteY16" fmla="*/ 43815 h 127635"/>
                          <a:gd name="connsiteX17" fmla="*/ 91440 w 104775"/>
                          <a:gd name="connsiteY17" fmla="*/ 32385 h 127635"/>
                          <a:gd name="connsiteX18" fmla="*/ 81915 w 104775"/>
                          <a:gd name="connsiteY18" fmla="*/ 15240 h 127635"/>
                          <a:gd name="connsiteX19" fmla="*/ 70485 w 104775"/>
                          <a:gd name="connsiteY19" fmla="*/ 3810 h 127635"/>
                          <a:gd name="connsiteX20" fmla="*/ 59055 w 104775"/>
                          <a:gd name="connsiteY20" fmla="*/ 0 h 127635"/>
                          <a:gd name="connsiteX21" fmla="*/ 45720 w 104775"/>
                          <a:gd name="connsiteY21" fmla="*/ 1905 h 127635"/>
                          <a:gd name="connsiteX22" fmla="*/ 43815 w 104775"/>
                          <a:gd name="connsiteY22" fmla="*/ 19050 h 127635"/>
                          <a:gd name="connsiteX23" fmla="*/ 41910 w 104775"/>
                          <a:gd name="connsiteY23" fmla="*/ 30480 h 127635"/>
                          <a:gd name="connsiteX24" fmla="*/ 40005 w 104775"/>
                          <a:gd name="connsiteY24" fmla="*/ 43815 h 127635"/>
                          <a:gd name="connsiteX25" fmla="*/ 28575 w 104775"/>
                          <a:gd name="connsiteY25" fmla="*/ 49530 h 127635"/>
                          <a:gd name="connsiteX26" fmla="*/ 3810 w 104775"/>
                          <a:gd name="connsiteY26" fmla="*/ 51435 h 127635"/>
                          <a:gd name="connsiteX27" fmla="*/ 1905 w 104775"/>
                          <a:gd name="connsiteY27" fmla="*/ 59055 h 127635"/>
                          <a:gd name="connsiteX28" fmla="*/ 0 w 104775"/>
                          <a:gd name="connsiteY28" fmla="*/ 64770 h 127635"/>
                          <a:gd name="connsiteX29" fmla="*/ 5715 w 104775"/>
                          <a:gd name="connsiteY29" fmla="*/ 78105 h 127635"/>
                          <a:gd name="connsiteX30" fmla="*/ 5715 w 104775"/>
                          <a:gd name="connsiteY30" fmla="*/ 81915 h 127635"/>
                          <a:gd name="connsiteX31" fmla="*/ 5715 w 104775"/>
                          <a:gd name="connsiteY31" fmla="*/ 87630 h 127635"/>
                          <a:gd name="connsiteX0" fmla="*/ 24765 w 104775"/>
                          <a:gd name="connsiteY0" fmla="*/ 80010 h 127635"/>
                          <a:gd name="connsiteX1" fmla="*/ 19050 w 104775"/>
                          <a:gd name="connsiteY1" fmla="*/ 83820 h 127635"/>
                          <a:gd name="connsiteX2" fmla="*/ 19050 w 104775"/>
                          <a:gd name="connsiteY2" fmla="*/ 106680 h 127635"/>
                          <a:gd name="connsiteX3" fmla="*/ 24765 w 104775"/>
                          <a:gd name="connsiteY3" fmla="*/ 110490 h 127635"/>
                          <a:gd name="connsiteX4" fmla="*/ 28575 w 104775"/>
                          <a:gd name="connsiteY4" fmla="*/ 116205 h 127635"/>
                          <a:gd name="connsiteX5" fmla="*/ 32385 w 104775"/>
                          <a:gd name="connsiteY5" fmla="*/ 127635 h 127635"/>
                          <a:gd name="connsiteX6" fmla="*/ 81915 w 104775"/>
                          <a:gd name="connsiteY6" fmla="*/ 125730 h 127635"/>
                          <a:gd name="connsiteX7" fmla="*/ 87630 w 104775"/>
                          <a:gd name="connsiteY7" fmla="*/ 123825 h 127635"/>
                          <a:gd name="connsiteX8" fmla="*/ 89535 w 104775"/>
                          <a:gd name="connsiteY8" fmla="*/ 118110 h 127635"/>
                          <a:gd name="connsiteX9" fmla="*/ 93345 w 104775"/>
                          <a:gd name="connsiteY9" fmla="*/ 112395 h 127635"/>
                          <a:gd name="connsiteX10" fmla="*/ 95250 w 104775"/>
                          <a:gd name="connsiteY10" fmla="*/ 99060 h 127635"/>
                          <a:gd name="connsiteX11" fmla="*/ 100965 w 104775"/>
                          <a:gd name="connsiteY11" fmla="*/ 95250 h 127635"/>
                          <a:gd name="connsiteX12" fmla="*/ 104775 w 104775"/>
                          <a:gd name="connsiteY12" fmla="*/ 83820 h 127635"/>
                          <a:gd name="connsiteX13" fmla="*/ 100965 w 104775"/>
                          <a:gd name="connsiteY13" fmla="*/ 57150 h 127635"/>
                          <a:gd name="connsiteX14" fmla="*/ 99060 w 104775"/>
                          <a:gd name="connsiteY14" fmla="*/ 49530 h 127635"/>
                          <a:gd name="connsiteX15" fmla="*/ 95250 w 104775"/>
                          <a:gd name="connsiteY15" fmla="*/ 43815 h 127635"/>
                          <a:gd name="connsiteX16" fmla="*/ 91440 w 104775"/>
                          <a:gd name="connsiteY16" fmla="*/ 32385 h 127635"/>
                          <a:gd name="connsiteX17" fmla="*/ 81915 w 104775"/>
                          <a:gd name="connsiteY17" fmla="*/ 15240 h 127635"/>
                          <a:gd name="connsiteX18" fmla="*/ 70485 w 104775"/>
                          <a:gd name="connsiteY18" fmla="*/ 3810 h 127635"/>
                          <a:gd name="connsiteX19" fmla="*/ 59055 w 104775"/>
                          <a:gd name="connsiteY19" fmla="*/ 0 h 127635"/>
                          <a:gd name="connsiteX20" fmla="*/ 45720 w 104775"/>
                          <a:gd name="connsiteY20" fmla="*/ 1905 h 127635"/>
                          <a:gd name="connsiteX21" fmla="*/ 43815 w 104775"/>
                          <a:gd name="connsiteY21" fmla="*/ 19050 h 127635"/>
                          <a:gd name="connsiteX22" fmla="*/ 41910 w 104775"/>
                          <a:gd name="connsiteY22" fmla="*/ 30480 h 127635"/>
                          <a:gd name="connsiteX23" fmla="*/ 40005 w 104775"/>
                          <a:gd name="connsiteY23" fmla="*/ 43815 h 127635"/>
                          <a:gd name="connsiteX24" fmla="*/ 28575 w 104775"/>
                          <a:gd name="connsiteY24" fmla="*/ 49530 h 127635"/>
                          <a:gd name="connsiteX25" fmla="*/ 3810 w 104775"/>
                          <a:gd name="connsiteY25" fmla="*/ 51435 h 127635"/>
                          <a:gd name="connsiteX26" fmla="*/ 1905 w 104775"/>
                          <a:gd name="connsiteY26" fmla="*/ 59055 h 127635"/>
                          <a:gd name="connsiteX27" fmla="*/ 0 w 104775"/>
                          <a:gd name="connsiteY27" fmla="*/ 64770 h 127635"/>
                          <a:gd name="connsiteX28" fmla="*/ 5715 w 104775"/>
                          <a:gd name="connsiteY28" fmla="*/ 78105 h 127635"/>
                          <a:gd name="connsiteX29" fmla="*/ 5715 w 104775"/>
                          <a:gd name="connsiteY29" fmla="*/ 81915 h 127635"/>
                          <a:gd name="connsiteX30" fmla="*/ 5715 w 104775"/>
                          <a:gd name="connsiteY30" fmla="*/ 87630 h 127635"/>
                          <a:gd name="connsiteX0" fmla="*/ 24765 w 104775"/>
                          <a:gd name="connsiteY0" fmla="*/ 80010 h 127635"/>
                          <a:gd name="connsiteX1" fmla="*/ 19050 w 104775"/>
                          <a:gd name="connsiteY1" fmla="*/ 106680 h 127635"/>
                          <a:gd name="connsiteX2" fmla="*/ 24765 w 104775"/>
                          <a:gd name="connsiteY2" fmla="*/ 110490 h 127635"/>
                          <a:gd name="connsiteX3" fmla="*/ 28575 w 104775"/>
                          <a:gd name="connsiteY3" fmla="*/ 116205 h 127635"/>
                          <a:gd name="connsiteX4" fmla="*/ 32385 w 104775"/>
                          <a:gd name="connsiteY4" fmla="*/ 127635 h 127635"/>
                          <a:gd name="connsiteX5" fmla="*/ 81915 w 104775"/>
                          <a:gd name="connsiteY5" fmla="*/ 125730 h 127635"/>
                          <a:gd name="connsiteX6" fmla="*/ 87630 w 104775"/>
                          <a:gd name="connsiteY6" fmla="*/ 123825 h 127635"/>
                          <a:gd name="connsiteX7" fmla="*/ 89535 w 104775"/>
                          <a:gd name="connsiteY7" fmla="*/ 118110 h 127635"/>
                          <a:gd name="connsiteX8" fmla="*/ 93345 w 104775"/>
                          <a:gd name="connsiteY8" fmla="*/ 112395 h 127635"/>
                          <a:gd name="connsiteX9" fmla="*/ 95250 w 104775"/>
                          <a:gd name="connsiteY9" fmla="*/ 99060 h 127635"/>
                          <a:gd name="connsiteX10" fmla="*/ 100965 w 104775"/>
                          <a:gd name="connsiteY10" fmla="*/ 95250 h 127635"/>
                          <a:gd name="connsiteX11" fmla="*/ 104775 w 104775"/>
                          <a:gd name="connsiteY11" fmla="*/ 83820 h 127635"/>
                          <a:gd name="connsiteX12" fmla="*/ 100965 w 104775"/>
                          <a:gd name="connsiteY12" fmla="*/ 57150 h 127635"/>
                          <a:gd name="connsiteX13" fmla="*/ 99060 w 104775"/>
                          <a:gd name="connsiteY13" fmla="*/ 49530 h 127635"/>
                          <a:gd name="connsiteX14" fmla="*/ 95250 w 104775"/>
                          <a:gd name="connsiteY14" fmla="*/ 43815 h 127635"/>
                          <a:gd name="connsiteX15" fmla="*/ 91440 w 104775"/>
                          <a:gd name="connsiteY15" fmla="*/ 32385 h 127635"/>
                          <a:gd name="connsiteX16" fmla="*/ 81915 w 104775"/>
                          <a:gd name="connsiteY16" fmla="*/ 15240 h 127635"/>
                          <a:gd name="connsiteX17" fmla="*/ 70485 w 104775"/>
                          <a:gd name="connsiteY17" fmla="*/ 3810 h 127635"/>
                          <a:gd name="connsiteX18" fmla="*/ 59055 w 104775"/>
                          <a:gd name="connsiteY18" fmla="*/ 0 h 127635"/>
                          <a:gd name="connsiteX19" fmla="*/ 45720 w 104775"/>
                          <a:gd name="connsiteY19" fmla="*/ 1905 h 127635"/>
                          <a:gd name="connsiteX20" fmla="*/ 43815 w 104775"/>
                          <a:gd name="connsiteY20" fmla="*/ 19050 h 127635"/>
                          <a:gd name="connsiteX21" fmla="*/ 41910 w 104775"/>
                          <a:gd name="connsiteY21" fmla="*/ 30480 h 127635"/>
                          <a:gd name="connsiteX22" fmla="*/ 40005 w 104775"/>
                          <a:gd name="connsiteY22" fmla="*/ 43815 h 127635"/>
                          <a:gd name="connsiteX23" fmla="*/ 28575 w 104775"/>
                          <a:gd name="connsiteY23" fmla="*/ 49530 h 127635"/>
                          <a:gd name="connsiteX24" fmla="*/ 3810 w 104775"/>
                          <a:gd name="connsiteY24" fmla="*/ 51435 h 127635"/>
                          <a:gd name="connsiteX25" fmla="*/ 1905 w 104775"/>
                          <a:gd name="connsiteY25" fmla="*/ 59055 h 127635"/>
                          <a:gd name="connsiteX26" fmla="*/ 0 w 104775"/>
                          <a:gd name="connsiteY26" fmla="*/ 64770 h 127635"/>
                          <a:gd name="connsiteX27" fmla="*/ 5715 w 104775"/>
                          <a:gd name="connsiteY27" fmla="*/ 78105 h 127635"/>
                          <a:gd name="connsiteX28" fmla="*/ 5715 w 104775"/>
                          <a:gd name="connsiteY28" fmla="*/ 81915 h 127635"/>
                          <a:gd name="connsiteX29" fmla="*/ 5715 w 104775"/>
                          <a:gd name="connsiteY29" fmla="*/ 8763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5715 w 104775"/>
                          <a:gd name="connsiteY28" fmla="*/ 8763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17145 w 104775"/>
                          <a:gd name="connsiteY28" fmla="*/ 11049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17145 w 104775"/>
                          <a:gd name="connsiteY28" fmla="*/ 110490 h 127635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81915 w 104775"/>
                          <a:gd name="connsiteY15" fmla="*/ 16019 h 128414"/>
                          <a:gd name="connsiteX16" fmla="*/ 70485 w 104775"/>
                          <a:gd name="connsiteY16" fmla="*/ 4589 h 128414"/>
                          <a:gd name="connsiteX17" fmla="*/ 59055 w 104775"/>
                          <a:gd name="connsiteY17" fmla="*/ 779 h 128414"/>
                          <a:gd name="connsiteX18" fmla="*/ 45720 w 104775"/>
                          <a:gd name="connsiteY18" fmla="*/ 2684 h 128414"/>
                          <a:gd name="connsiteX19" fmla="*/ 41910 w 104775"/>
                          <a:gd name="connsiteY19" fmla="*/ 31259 h 128414"/>
                          <a:gd name="connsiteX20" fmla="*/ 40005 w 104775"/>
                          <a:gd name="connsiteY20" fmla="*/ 44594 h 128414"/>
                          <a:gd name="connsiteX21" fmla="*/ 28575 w 104775"/>
                          <a:gd name="connsiteY21" fmla="*/ 50309 h 128414"/>
                          <a:gd name="connsiteX22" fmla="*/ 3810 w 104775"/>
                          <a:gd name="connsiteY22" fmla="*/ 52214 h 128414"/>
                          <a:gd name="connsiteX23" fmla="*/ 1905 w 104775"/>
                          <a:gd name="connsiteY23" fmla="*/ 59834 h 128414"/>
                          <a:gd name="connsiteX24" fmla="*/ 0 w 104775"/>
                          <a:gd name="connsiteY24" fmla="*/ 65549 h 128414"/>
                          <a:gd name="connsiteX25" fmla="*/ 5715 w 104775"/>
                          <a:gd name="connsiteY25" fmla="*/ 78884 h 128414"/>
                          <a:gd name="connsiteX26" fmla="*/ 5715 w 104775"/>
                          <a:gd name="connsiteY26" fmla="*/ 82694 h 128414"/>
                          <a:gd name="connsiteX27" fmla="*/ 17145 w 104775"/>
                          <a:gd name="connsiteY27" fmla="*/ 111269 h 128414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70485 w 104775"/>
                          <a:gd name="connsiteY15" fmla="*/ 4589 h 128414"/>
                          <a:gd name="connsiteX16" fmla="*/ 59055 w 104775"/>
                          <a:gd name="connsiteY16" fmla="*/ 779 h 128414"/>
                          <a:gd name="connsiteX17" fmla="*/ 45720 w 104775"/>
                          <a:gd name="connsiteY17" fmla="*/ 2684 h 128414"/>
                          <a:gd name="connsiteX18" fmla="*/ 41910 w 104775"/>
                          <a:gd name="connsiteY18" fmla="*/ 31259 h 128414"/>
                          <a:gd name="connsiteX19" fmla="*/ 40005 w 104775"/>
                          <a:gd name="connsiteY19" fmla="*/ 44594 h 128414"/>
                          <a:gd name="connsiteX20" fmla="*/ 28575 w 104775"/>
                          <a:gd name="connsiteY20" fmla="*/ 50309 h 128414"/>
                          <a:gd name="connsiteX21" fmla="*/ 3810 w 104775"/>
                          <a:gd name="connsiteY21" fmla="*/ 52214 h 128414"/>
                          <a:gd name="connsiteX22" fmla="*/ 1905 w 104775"/>
                          <a:gd name="connsiteY22" fmla="*/ 59834 h 128414"/>
                          <a:gd name="connsiteX23" fmla="*/ 0 w 104775"/>
                          <a:gd name="connsiteY23" fmla="*/ 65549 h 128414"/>
                          <a:gd name="connsiteX24" fmla="*/ 5715 w 104775"/>
                          <a:gd name="connsiteY24" fmla="*/ 78884 h 128414"/>
                          <a:gd name="connsiteX25" fmla="*/ 5715 w 104775"/>
                          <a:gd name="connsiteY25" fmla="*/ 82694 h 128414"/>
                          <a:gd name="connsiteX26" fmla="*/ 17145 w 104775"/>
                          <a:gd name="connsiteY26" fmla="*/ 111269 h 128414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70485 w 104775"/>
                          <a:gd name="connsiteY15" fmla="*/ 4589 h 128414"/>
                          <a:gd name="connsiteX16" fmla="*/ 59055 w 104775"/>
                          <a:gd name="connsiteY16" fmla="*/ 779 h 128414"/>
                          <a:gd name="connsiteX17" fmla="*/ 45720 w 104775"/>
                          <a:gd name="connsiteY17" fmla="*/ 2684 h 128414"/>
                          <a:gd name="connsiteX18" fmla="*/ 41910 w 104775"/>
                          <a:gd name="connsiteY18" fmla="*/ 31259 h 128414"/>
                          <a:gd name="connsiteX19" fmla="*/ 40005 w 104775"/>
                          <a:gd name="connsiteY19" fmla="*/ 44594 h 128414"/>
                          <a:gd name="connsiteX20" fmla="*/ 3810 w 104775"/>
                          <a:gd name="connsiteY20" fmla="*/ 52214 h 128414"/>
                          <a:gd name="connsiteX21" fmla="*/ 1905 w 104775"/>
                          <a:gd name="connsiteY21" fmla="*/ 59834 h 128414"/>
                          <a:gd name="connsiteX22" fmla="*/ 0 w 104775"/>
                          <a:gd name="connsiteY22" fmla="*/ 65549 h 128414"/>
                          <a:gd name="connsiteX23" fmla="*/ 5715 w 104775"/>
                          <a:gd name="connsiteY23" fmla="*/ 78884 h 128414"/>
                          <a:gd name="connsiteX24" fmla="*/ 5715 w 104775"/>
                          <a:gd name="connsiteY24" fmla="*/ 82694 h 128414"/>
                          <a:gd name="connsiteX25" fmla="*/ 17145 w 104775"/>
                          <a:gd name="connsiteY25" fmla="*/ 111269 h 128414"/>
                          <a:gd name="connsiteX0" fmla="*/ 19050 w 104775"/>
                          <a:gd name="connsiteY0" fmla="*/ 107492 h 128447"/>
                          <a:gd name="connsiteX1" fmla="*/ 24765 w 104775"/>
                          <a:gd name="connsiteY1" fmla="*/ 111302 h 128447"/>
                          <a:gd name="connsiteX2" fmla="*/ 28575 w 104775"/>
                          <a:gd name="connsiteY2" fmla="*/ 117017 h 128447"/>
                          <a:gd name="connsiteX3" fmla="*/ 32385 w 104775"/>
                          <a:gd name="connsiteY3" fmla="*/ 128447 h 128447"/>
                          <a:gd name="connsiteX4" fmla="*/ 81915 w 104775"/>
                          <a:gd name="connsiteY4" fmla="*/ 126542 h 128447"/>
                          <a:gd name="connsiteX5" fmla="*/ 87630 w 104775"/>
                          <a:gd name="connsiteY5" fmla="*/ 124637 h 128447"/>
                          <a:gd name="connsiteX6" fmla="*/ 89535 w 104775"/>
                          <a:gd name="connsiteY6" fmla="*/ 118922 h 128447"/>
                          <a:gd name="connsiteX7" fmla="*/ 93345 w 104775"/>
                          <a:gd name="connsiteY7" fmla="*/ 113207 h 128447"/>
                          <a:gd name="connsiteX8" fmla="*/ 95250 w 104775"/>
                          <a:gd name="connsiteY8" fmla="*/ 99872 h 128447"/>
                          <a:gd name="connsiteX9" fmla="*/ 100965 w 104775"/>
                          <a:gd name="connsiteY9" fmla="*/ 96062 h 128447"/>
                          <a:gd name="connsiteX10" fmla="*/ 104775 w 104775"/>
                          <a:gd name="connsiteY10" fmla="*/ 84632 h 128447"/>
                          <a:gd name="connsiteX11" fmla="*/ 100965 w 104775"/>
                          <a:gd name="connsiteY11" fmla="*/ 57962 h 128447"/>
                          <a:gd name="connsiteX12" fmla="*/ 99060 w 104775"/>
                          <a:gd name="connsiteY12" fmla="*/ 50342 h 128447"/>
                          <a:gd name="connsiteX13" fmla="*/ 95250 w 104775"/>
                          <a:gd name="connsiteY13" fmla="*/ 44627 h 128447"/>
                          <a:gd name="connsiteX14" fmla="*/ 91440 w 104775"/>
                          <a:gd name="connsiteY14" fmla="*/ 33197 h 128447"/>
                          <a:gd name="connsiteX15" fmla="*/ 70485 w 104775"/>
                          <a:gd name="connsiteY15" fmla="*/ 4622 h 128447"/>
                          <a:gd name="connsiteX16" fmla="*/ 45720 w 104775"/>
                          <a:gd name="connsiteY16" fmla="*/ 2717 h 128447"/>
                          <a:gd name="connsiteX17" fmla="*/ 41910 w 104775"/>
                          <a:gd name="connsiteY17" fmla="*/ 31292 h 128447"/>
                          <a:gd name="connsiteX18" fmla="*/ 40005 w 104775"/>
                          <a:gd name="connsiteY18" fmla="*/ 44627 h 128447"/>
                          <a:gd name="connsiteX19" fmla="*/ 3810 w 104775"/>
                          <a:gd name="connsiteY19" fmla="*/ 52247 h 128447"/>
                          <a:gd name="connsiteX20" fmla="*/ 1905 w 104775"/>
                          <a:gd name="connsiteY20" fmla="*/ 59867 h 128447"/>
                          <a:gd name="connsiteX21" fmla="*/ 0 w 104775"/>
                          <a:gd name="connsiteY21" fmla="*/ 65582 h 128447"/>
                          <a:gd name="connsiteX22" fmla="*/ 5715 w 104775"/>
                          <a:gd name="connsiteY22" fmla="*/ 78917 h 128447"/>
                          <a:gd name="connsiteX23" fmla="*/ 5715 w 104775"/>
                          <a:gd name="connsiteY23" fmla="*/ 82727 h 128447"/>
                          <a:gd name="connsiteX24" fmla="*/ 17145 w 104775"/>
                          <a:gd name="connsiteY24" fmla="*/ 111302 h 128447"/>
                          <a:gd name="connsiteX0" fmla="*/ 19050 w 104775"/>
                          <a:gd name="connsiteY0" fmla="*/ 102874 h 123829"/>
                          <a:gd name="connsiteX1" fmla="*/ 24765 w 104775"/>
                          <a:gd name="connsiteY1" fmla="*/ 106684 h 123829"/>
                          <a:gd name="connsiteX2" fmla="*/ 28575 w 104775"/>
                          <a:gd name="connsiteY2" fmla="*/ 112399 h 123829"/>
                          <a:gd name="connsiteX3" fmla="*/ 32385 w 104775"/>
                          <a:gd name="connsiteY3" fmla="*/ 123829 h 123829"/>
                          <a:gd name="connsiteX4" fmla="*/ 81915 w 104775"/>
                          <a:gd name="connsiteY4" fmla="*/ 121924 h 123829"/>
                          <a:gd name="connsiteX5" fmla="*/ 87630 w 104775"/>
                          <a:gd name="connsiteY5" fmla="*/ 120019 h 123829"/>
                          <a:gd name="connsiteX6" fmla="*/ 89535 w 104775"/>
                          <a:gd name="connsiteY6" fmla="*/ 114304 h 123829"/>
                          <a:gd name="connsiteX7" fmla="*/ 93345 w 104775"/>
                          <a:gd name="connsiteY7" fmla="*/ 108589 h 123829"/>
                          <a:gd name="connsiteX8" fmla="*/ 95250 w 104775"/>
                          <a:gd name="connsiteY8" fmla="*/ 95254 h 123829"/>
                          <a:gd name="connsiteX9" fmla="*/ 100965 w 104775"/>
                          <a:gd name="connsiteY9" fmla="*/ 91444 h 123829"/>
                          <a:gd name="connsiteX10" fmla="*/ 104775 w 104775"/>
                          <a:gd name="connsiteY10" fmla="*/ 80014 h 123829"/>
                          <a:gd name="connsiteX11" fmla="*/ 100965 w 104775"/>
                          <a:gd name="connsiteY11" fmla="*/ 53344 h 123829"/>
                          <a:gd name="connsiteX12" fmla="*/ 99060 w 104775"/>
                          <a:gd name="connsiteY12" fmla="*/ 45724 h 123829"/>
                          <a:gd name="connsiteX13" fmla="*/ 95250 w 104775"/>
                          <a:gd name="connsiteY13" fmla="*/ 40009 h 123829"/>
                          <a:gd name="connsiteX14" fmla="*/ 91440 w 104775"/>
                          <a:gd name="connsiteY14" fmla="*/ 28579 h 123829"/>
                          <a:gd name="connsiteX15" fmla="*/ 70485 w 104775"/>
                          <a:gd name="connsiteY15" fmla="*/ 4 h 123829"/>
                          <a:gd name="connsiteX16" fmla="*/ 41910 w 104775"/>
                          <a:gd name="connsiteY16" fmla="*/ 26674 h 123829"/>
                          <a:gd name="connsiteX17" fmla="*/ 40005 w 104775"/>
                          <a:gd name="connsiteY17" fmla="*/ 40009 h 123829"/>
                          <a:gd name="connsiteX18" fmla="*/ 3810 w 104775"/>
                          <a:gd name="connsiteY18" fmla="*/ 47629 h 123829"/>
                          <a:gd name="connsiteX19" fmla="*/ 1905 w 104775"/>
                          <a:gd name="connsiteY19" fmla="*/ 55249 h 123829"/>
                          <a:gd name="connsiteX20" fmla="*/ 0 w 104775"/>
                          <a:gd name="connsiteY20" fmla="*/ 60964 h 123829"/>
                          <a:gd name="connsiteX21" fmla="*/ 5715 w 104775"/>
                          <a:gd name="connsiteY21" fmla="*/ 74299 h 123829"/>
                          <a:gd name="connsiteX22" fmla="*/ 5715 w 104775"/>
                          <a:gd name="connsiteY22" fmla="*/ 78109 h 123829"/>
                          <a:gd name="connsiteX23" fmla="*/ 17145 w 104775"/>
                          <a:gd name="connsiteY23" fmla="*/ 106684 h 123829"/>
                          <a:gd name="connsiteX0" fmla="*/ 19050 w 104775"/>
                          <a:gd name="connsiteY0" fmla="*/ 77050 h 98005"/>
                          <a:gd name="connsiteX1" fmla="*/ 24765 w 104775"/>
                          <a:gd name="connsiteY1" fmla="*/ 80860 h 98005"/>
                          <a:gd name="connsiteX2" fmla="*/ 28575 w 104775"/>
                          <a:gd name="connsiteY2" fmla="*/ 86575 h 98005"/>
                          <a:gd name="connsiteX3" fmla="*/ 32385 w 104775"/>
                          <a:gd name="connsiteY3" fmla="*/ 98005 h 98005"/>
                          <a:gd name="connsiteX4" fmla="*/ 81915 w 104775"/>
                          <a:gd name="connsiteY4" fmla="*/ 96100 h 98005"/>
                          <a:gd name="connsiteX5" fmla="*/ 87630 w 104775"/>
                          <a:gd name="connsiteY5" fmla="*/ 94195 h 98005"/>
                          <a:gd name="connsiteX6" fmla="*/ 89535 w 104775"/>
                          <a:gd name="connsiteY6" fmla="*/ 88480 h 98005"/>
                          <a:gd name="connsiteX7" fmla="*/ 93345 w 104775"/>
                          <a:gd name="connsiteY7" fmla="*/ 82765 h 98005"/>
                          <a:gd name="connsiteX8" fmla="*/ 95250 w 104775"/>
                          <a:gd name="connsiteY8" fmla="*/ 69430 h 98005"/>
                          <a:gd name="connsiteX9" fmla="*/ 100965 w 104775"/>
                          <a:gd name="connsiteY9" fmla="*/ 65620 h 98005"/>
                          <a:gd name="connsiteX10" fmla="*/ 104775 w 104775"/>
                          <a:gd name="connsiteY10" fmla="*/ 54190 h 98005"/>
                          <a:gd name="connsiteX11" fmla="*/ 100965 w 104775"/>
                          <a:gd name="connsiteY11" fmla="*/ 27520 h 98005"/>
                          <a:gd name="connsiteX12" fmla="*/ 99060 w 104775"/>
                          <a:gd name="connsiteY12" fmla="*/ 19900 h 98005"/>
                          <a:gd name="connsiteX13" fmla="*/ 95250 w 104775"/>
                          <a:gd name="connsiteY13" fmla="*/ 14185 h 98005"/>
                          <a:gd name="connsiteX14" fmla="*/ 91440 w 104775"/>
                          <a:gd name="connsiteY14" fmla="*/ 2755 h 98005"/>
                          <a:gd name="connsiteX15" fmla="*/ 41910 w 104775"/>
                          <a:gd name="connsiteY15" fmla="*/ 850 h 98005"/>
                          <a:gd name="connsiteX16" fmla="*/ 40005 w 104775"/>
                          <a:gd name="connsiteY16" fmla="*/ 14185 h 98005"/>
                          <a:gd name="connsiteX17" fmla="*/ 3810 w 104775"/>
                          <a:gd name="connsiteY17" fmla="*/ 21805 h 98005"/>
                          <a:gd name="connsiteX18" fmla="*/ 1905 w 104775"/>
                          <a:gd name="connsiteY18" fmla="*/ 29425 h 98005"/>
                          <a:gd name="connsiteX19" fmla="*/ 0 w 104775"/>
                          <a:gd name="connsiteY19" fmla="*/ 35140 h 98005"/>
                          <a:gd name="connsiteX20" fmla="*/ 5715 w 104775"/>
                          <a:gd name="connsiteY20" fmla="*/ 48475 h 98005"/>
                          <a:gd name="connsiteX21" fmla="*/ 5715 w 104775"/>
                          <a:gd name="connsiteY21" fmla="*/ 52285 h 98005"/>
                          <a:gd name="connsiteX22" fmla="*/ 17145 w 104775"/>
                          <a:gd name="connsiteY22" fmla="*/ 80860 h 98005"/>
                          <a:gd name="connsiteX0" fmla="*/ 19050 w 104775"/>
                          <a:gd name="connsiteY0" fmla="*/ 76200 h 97155"/>
                          <a:gd name="connsiteX1" fmla="*/ 24765 w 104775"/>
                          <a:gd name="connsiteY1" fmla="*/ 80010 h 97155"/>
                          <a:gd name="connsiteX2" fmla="*/ 28575 w 104775"/>
                          <a:gd name="connsiteY2" fmla="*/ 85725 h 97155"/>
                          <a:gd name="connsiteX3" fmla="*/ 32385 w 104775"/>
                          <a:gd name="connsiteY3" fmla="*/ 97155 h 97155"/>
                          <a:gd name="connsiteX4" fmla="*/ 81915 w 104775"/>
                          <a:gd name="connsiteY4" fmla="*/ 95250 h 97155"/>
                          <a:gd name="connsiteX5" fmla="*/ 87630 w 104775"/>
                          <a:gd name="connsiteY5" fmla="*/ 93345 h 97155"/>
                          <a:gd name="connsiteX6" fmla="*/ 89535 w 104775"/>
                          <a:gd name="connsiteY6" fmla="*/ 87630 h 97155"/>
                          <a:gd name="connsiteX7" fmla="*/ 93345 w 104775"/>
                          <a:gd name="connsiteY7" fmla="*/ 81915 h 97155"/>
                          <a:gd name="connsiteX8" fmla="*/ 95250 w 104775"/>
                          <a:gd name="connsiteY8" fmla="*/ 68580 h 97155"/>
                          <a:gd name="connsiteX9" fmla="*/ 100965 w 104775"/>
                          <a:gd name="connsiteY9" fmla="*/ 64770 h 97155"/>
                          <a:gd name="connsiteX10" fmla="*/ 104775 w 104775"/>
                          <a:gd name="connsiteY10" fmla="*/ 53340 h 97155"/>
                          <a:gd name="connsiteX11" fmla="*/ 100965 w 104775"/>
                          <a:gd name="connsiteY11" fmla="*/ 26670 h 97155"/>
                          <a:gd name="connsiteX12" fmla="*/ 99060 w 104775"/>
                          <a:gd name="connsiteY12" fmla="*/ 19050 h 97155"/>
                          <a:gd name="connsiteX13" fmla="*/ 95250 w 104775"/>
                          <a:gd name="connsiteY13" fmla="*/ 13335 h 97155"/>
                          <a:gd name="connsiteX14" fmla="*/ 41910 w 104775"/>
                          <a:gd name="connsiteY14" fmla="*/ 0 h 97155"/>
                          <a:gd name="connsiteX15" fmla="*/ 40005 w 104775"/>
                          <a:gd name="connsiteY15" fmla="*/ 13335 h 97155"/>
                          <a:gd name="connsiteX16" fmla="*/ 3810 w 104775"/>
                          <a:gd name="connsiteY16" fmla="*/ 20955 h 97155"/>
                          <a:gd name="connsiteX17" fmla="*/ 1905 w 104775"/>
                          <a:gd name="connsiteY17" fmla="*/ 28575 h 97155"/>
                          <a:gd name="connsiteX18" fmla="*/ 0 w 104775"/>
                          <a:gd name="connsiteY18" fmla="*/ 34290 h 97155"/>
                          <a:gd name="connsiteX19" fmla="*/ 5715 w 104775"/>
                          <a:gd name="connsiteY19" fmla="*/ 47625 h 97155"/>
                          <a:gd name="connsiteX20" fmla="*/ 5715 w 104775"/>
                          <a:gd name="connsiteY20" fmla="*/ 51435 h 97155"/>
                          <a:gd name="connsiteX21" fmla="*/ 17145 w 104775"/>
                          <a:gd name="connsiteY21" fmla="*/ 80010 h 97155"/>
                          <a:gd name="connsiteX0" fmla="*/ 19050 w 104775"/>
                          <a:gd name="connsiteY0" fmla="*/ 76298 h 97253"/>
                          <a:gd name="connsiteX1" fmla="*/ 24765 w 104775"/>
                          <a:gd name="connsiteY1" fmla="*/ 80108 h 97253"/>
                          <a:gd name="connsiteX2" fmla="*/ 28575 w 104775"/>
                          <a:gd name="connsiteY2" fmla="*/ 85823 h 97253"/>
                          <a:gd name="connsiteX3" fmla="*/ 32385 w 104775"/>
                          <a:gd name="connsiteY3" fmla="*/ 97253 h 97253"/>
                          <a:gd name="connsiteX4" fmla="*/ 81915 w 104775"/>
                          <a:gd name="connsiteY4" fmla="*/ 95348 h 97253"/>
                          <a:gd name="connsiteX5" fmla="*/ 87630 w 104775"/>
                          <a:gd name="connsiteY5" fmla="*/ 93443 h 97253"/>
                          <a:gd name="connsiteX6" fmla="*/ 89535 w 104775"/>
                          <a:gd name="connsiteY6" fmla="*/ 87728 h 97253"/>
                          <a:gd name="connsiteX7" fmla="*/ 93345 w 104775"/>
                          <a:gd name="connsiteY7" fmla="*/ 82013 h 97253"/>
                          <a:gd name="connsiteX8" fmla="*/ 95250 w 104775"/>
                          <a:gd name="connsiteY8" fmla="*/ 68678 h 97253"/>
                          <a:gd name="connsiteX9" fmla="*/ 100965 w 104775"/>
                          <a:gd name="connsiteY9" fmla="*/ 64868 h 97253"/>
                          <a:gd name="connsiteX10" fmla="*/ 104775 w 104775"/>
                          <a:gd name="connsiteY10" fmla="*/ 53438 h 97253"/>
                          <a:gd name="connsiteX11" fmla="*/ 100965 w 104775"/>
                          <a:gd name="connsiteY11" fmla="*/ 26768 h 97253"/>
                          <a:gd name="connsiteX12" fmla="*/ 99060 w 104775"/>
                          <a:gd name="connsiteY12" fmla="*/ 19148 h 97253"/>
                          <a:gd name="connsiteX13" fmla="*/ 95250 w 104775"/>
                          <a:gd name="connsiteY13" fmla="*/ 13433 h 97253"/>
                          <a:gd name="connsiteX14" fmla="*/ 41910 w 104775"/>
                          <a:gd name="connsiteY14" fmla="*/ 98 h 97253"/>
                          <a:gd name="connsiteX15" fmla="*/ 3810 w 104775"/>
                          <a:gd name="connsiteY15" fmla="*/ 21053 h 97253"/>
                          <a:gd name="connsiteX16" fmla="*/ 1905 w 104775"/>
                          <a:gd name="connsiteY16" fmla="*/ 28673 h 97253"/>
                          <a:gd name="connsiteX17" fmla="*/ 0 w 104775"/>
                          <a:gd name="connsiteY17" fmla="*/ 34388 h 97253"/>
                          <a:gd name="connsiteX18" fmla="*/ 5715 w 104775"/>
                          <a:gd name="connsiteY18" fmla="*/ 47723 h 97253"/>
                          <a:gd name="connsiteX19" fmla="*/ 5715 w 104775"/>
                          <a:gd name="connsiteY19" fmla="*/ 51533 h 97253"/>
                          <a:gd name="connsiteX20" fmla="*/ 17145 w 104775"/>
                          <a:gd name="connsiteY20" fmla="*/ 80108 h 97253"/>
                          <a:gd name="connsiteX0" fmla="*/ 19050 w 104775"/>
                          <a:gd name="connsiteY0" fmla="*/ 76205 h 97160"/>
                          <a:gd name="connsiteX1" fmla="*/ 24765 w 104775"/>
                          <a:gd name="connsiteY1" fmla="*/ 80015 h 97160"/>
                          <a:gd name="connsiteX2" fmla="*/ 28575 w 104775"/>
                          <a:gd name="connsiteY2" fmla="*/ 85730 h 97160"/>
                          <a:gd name="connsiteX3" fmla="*/ 32385 w 104775"/>
                          <a:gd name="connsiteY3" fmla="*/ 97160 h 97160"/>
                          <a:gd name="connsiteX4" fmla="*/ 81915 w 104775"/>
                          <a:gd name="connsiteY4" fmla="*/ 95255 h 97160"/>
                          <a:gd name="connsiteX5" fmla="*/ 87630 w 104775"/>
                          <a:gd name="connsiteY5" fmla="*/ 93350 h 97160"/>
                          <a:gd name="connsiteX6" fmla="*/ 89535 w 104775"/>
                          <a:gd name="connsiteY6" fmla="*/ 87635 h 97160"/>
                          <a:gd name="connsiteX7" fmla="*/ 93345 w 104775"/>
                          <a:gd name="connsiteY7" fmla="*/ 81920 h 97160"/>
                          <a:gd name="connsiteX8" fmla="*/ 95250 w 104775"/>
                          <a:gd name="connsiteY8" fmla="*/ 68585 h 97160"/>
                          <a:gd name="connsiteX9" fmla="*/ 100965 w 104775"/>
                          <a:gd name="connsiteY9" fmla="*/ 64775 h 97160"/>
                          <a:gd name="connsiteX10" fmla="*/ 104775 w 104775"/>
                          <a:gd name="connsiteY10" fmla="*/ 53345 h 97160"/>
                          <a:gd name="connsiteX11" fmla="*/ 100965 w 104775"/>
                          <a:gd name="connsiteY11" fmla="*/ 26675 h 97160"/>
                          <a:gd name="connsiteX12" fmla="*/ 99060 w 104775"/>
                          <a:gd name="connsiteY12" fmla="*/ 19055 h 97160"/>
                          <a:gd name="connsiteX13" fmla="*/ 41910 w 104775"/>
                          <a:gd name="connsiteY13" fmla="*/ 5 h 97160"/>
                          <a:gd name="connsiteX14" fmla="*/ 3810 w 104775"/>
                          <a:gd name="connsiteY14" fmla="*/ 20960 h 97160"/>
                          <a:gd name="connsiteX15" fmla="*/ 1905 w 104775"/>
                          <a:gd name="connsiteY15" fmla="*/ 28580 h 97160"/>
                          <a:gd name="connsiteX16" fmla="*/ 0 w 104775"/>
                          <a:gd name="connsiteY16" fmla="*/ 34295 h 97160"/>
                          <a:gd name="connsiteX17" fmla="*/ 5715 w 104775"/>
                          <a:gd name="connsiteY17" fmla="*/ 47630 h 97160"/>
                          <a:gd name="connsiteX18" fmla="*/ 5715 w 104775"/>
                          <a:gd name="connsiteY18" fmla="*/ 51440 h 97160"/>
                          <a:gd name="connsiteX19" fmla="*/ 17145 w 104775"/>
                          <a:gd name="connsiteY19" fmla="*/ 80015 h 97160"/>
                          <a:gd name="connsiteX0" fmla="*/ 19050 w 105971"/>
                          <a:gd name="connsiteY0" fmla="*/ 76238 h 97193"/>
                          <a:gd name="connsiteX1" fmla="*/ 24765 w 105971"/>
                          <a:gd name="connsiteY1" fmla="*/ 80048 h 97193"/>
                          <a:gd name="connsiteX2" fmla="*/ 28575 w 105971"/>
                          <a:gd name="connsiteY2" fmla="*/ 85763 h 97193"/>
                          <a:gd name="connsiteX3" fmla="*/ 32385 w 105971"/>
                          <a:gd name="connsiteY3" fmla="*/ 97193 h 97193"/>
                          <a:gd name="connsiteX4" fmla="*/ 81915 w 105971"/>
                          <a:gd name="connsiteY4" fmla="*/ 95288 h 97193"/>
                          <a:gd name="connsiteX5" fmla="*/ 87630 w 105971"/>
                          <a:gd name="connsiteY5" fmla="*/ 93383 h 97193"/>
                          <a:gd name="connsiteX6" fmla="*/ 89535 w 105971"/>
                          <a:gd name="connsiteY6" fmla="*/ 87668 h 97193"/>
                          <a:gd name="connsiteX7" fmla="*/ 93345 w 105971"/>
                          <a:gd name="connsiteY7" fmla="*/ 81953 h 97193"/>
                          <a:gd name="connsiteX8" fmla="*/ 95250 w 105971"/>
                          <a:gd name="connsiteY8" fmla="*/ 68618 h 97193"/>
                          <a:gd name="connsiteX9" fmla="*/ 100965 w 105971"/>
                          <a:gd name="connsiteY9" fmla="*/ 64808 h 97193"/>
                          <a:gd name="connsiteX10" fmla="*/ 104775 w 105971"/>
                          <a:gd name="connsiteY10" fmla="*/ 53378 h 97193"/>
                          <a:gd name="connsiteX11" fmla="*/ 100965 w 105971"/>
                          <a:gd name="connsiteY11" fmla="*/ 26708 h 97193"/>
                          <a:gd name="connsiteX12" fmla="*/ 41910 w 105971"/>
                          <a:gd name="connsiteY12" fmla="*/ 38 h 97193"/>
                          <a:gd name="connsiteX13" fmla="*/ 3810 w 105971"/>
                          <a:gd name="connsiteY13" fmla="*/ 20993 h 97193"/>
                          <a:gd name="connsiteX14" fmla="*/ 1905 w 105971"/>
                          <a:gd name="connsiteY14" fmla="*/ 28613 h 97193"/>
                          <a:gd name="connsiteX15" fmla="*/ 0 w 105971"/>
                          <a:gd name="connsiteY15" fmla="*/ 34328 h 97193"/>
                          <a:gd name="connsiteX16" fmla="*/ 5715 w 105971"/>
                          <a:gd name="connsiteY16" fmla="*/ 47663 h 97193"/>
                          <a:gd name="connsiteX17" fmla="*/ 5715 w 105971"/>
                          <a:gd name="connsiteY17" fmla="*/ 51473 h 97193"/>
                          <a:gd name="connsiteX18" fmla="*/ 17145 w 105971"/>
                          <a:gd name="connsiteY18" fmla="*/ 80048 h 97193"/>
                          <a:gd name="connsiteX0" fmla="*/ 19050 w 106250"/>
                          <a:gd name="connsiteY0" fmla="*/ 64875 h 85830"/>
                          <a:gd name="connsiteX1" fmla="*/ 24765 w 106250"/>
                          <a:gd name="connsiteY1" fmla="*/ 68685 h 85830"/>
                          <a:gd name="connsiteX2" fmla="*/ 28575 w 106250"/>
                          <a:gd name="connsiteY2" fmla="*/ 74400 h 85830"/>
                          <a:gd name="connsiteX3" fmla="*/ 32385 w 106250"/>
                          <a:gd name="connsiteY3" fmla="*/ 85830 h 85830"/>
                          <a:gd name="connsiteX4" fmla="*/ 81915 w 106250"/>
                          <a:gd name="connsiteY4" fmla="*/ 83925 h 85830"/>
                          <a:gd name="connsiteX5" fmla="*/ 87630 w 106250"/>
                          <a:gd name="connsiteY5" fmla="*/ 82020 h 85830"/>
                          <a:gd name="connsiteX6" fmla="*/ 89535 w 106250"/>
                          <a:gd name="connsiteY6" fmla="*/ 76305 h 85830"/>
                          <a:gd name="connsiteX7" fmla="*/ 93345 w 106250"/>
                          <a:gd name="connsiteY7" fmla="*/ 70590 h 85830"/>
                          <a:gd name="connsiteX8" fmla="*/ 95250 w 106250"/>
                          <a:gd name="connsiteY8" fmla="*/ 57255 h 85830"/>
                          <a:gd name="connsiteX9" fmla="*/ 100965 w 106250"/>
                          <a:gd name="connsiteY9" fmla="*/ 53445 h 85830"/>
                          <a:gd name="connsiteX10" fmla="*/ 104775 w 106250"/>
                          <a:gd name="connsiteY10" fmla="*/ 42015 h 85830"/>
                          <a:gd name="connsiteX11" fmla="*/ 100965 w 106250"/>
                          <a:gd name="connsiteY11" fmla="*/ 15345 h 85830"/>
                          <a:gd name="connsiteX12" fmla="*/ 38100 w 106250"/>
                          <a:gd name="connsiteY12" fmla="*/ 105 h 85830"/>
                          <a:gd name="connsiteX13" fmla="*/ 3810 w 106250"/>
                          <a:gd name="connsiteY13" fmla="*/ 9630 h 85830"/>
                          <a:gd name="connsiteX14" fmla="*/ 1905 w 106250"/>
                          <a:gd name="connsiteY14" fmla="*/ 17250 h 85830"/>
                          <a:gd name="connsiteX15" fmla="*/ 0 w 106250"/>
                          <a:gd name="connsiteY15" fmla="*/ 22965 h 85830"/>
                          <a:gd name="connsiteX16" fmla="*/ 5715 w 106250"/>
                          <a:gd name="connsiteY16" fmla="*/ 36300 h 85830"/>
                          <a:gd name="connsiteX17" fmla="*/ 5715 w 106250"/>
                          <a:gd name="connsiteY17" fmla="*/ 40110 h 85830"/>
                          <a:gd name="connsiteX18" fmla="*/ 17145 w 106250"/>
                          <a:gd name="connsiteY18" fmla="*/ 68685 h 8583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</a:cxnLst>
                        <a:rect l="l" t="t" r="r" b="b"/>
                        <a:pathLst>
                          <a:path w="106250" h="85830">
                            <a:moveTo>
                              <a:pt x="19050" y="64875"/>
                            </a:moveTo>
                            <a:cubicBezTo>
                              <a:pt x="19050" y="69955"/>
                              <a:pt x="22860" y="67415"/>
                              <a:pt x="24765" y="68685"/>
                            </a:cubicBezTo>
                            <a:cubicBezTo>
                              <a:pt x="26035" y="70590"/>
                              <a:pt x="27645" y="72308"/>
                              <a:pt x="28575" y="74400"/>
                            </a:cubicBezTo>
                            <a:cubicBezTo>
                              <a:pt x="30206" y="78070"/>
                              <a:pt x="32385" y="85830"/>
                              <a:pt x="32385" y="85830"/>
                            </a:cubicBezTo>
                            <a:cubicBezTo>
                              <a:pt x="48895" y="85195"/>
                              <a:pt x="65432" y="85062"/>
                              <a:pt x="81915" y="83925"/>
                            </a:cubicBezTo>
                            <a:cubicBezTo>
                              <a:pt x="83918" y="83787"/>
                              <a:pt x="86210" y="83440"/>
                              <a:pt x="87630" y="82020"/>
                            </a:cubicBezTo>
                            <a:cubicBezTo>
                              <a:pt x="89050" y="80600"/>
                              <a:pt x="88637" y="78101"/>
                              <a:pt x="89535" y="76305"/>
                            </a:cubicBezTo>
                            <a:cubicBezTo>
                              <a:pt x="90559" y="74257"/>
                              <a:pt x="92075" y="72495"/>
                              <a:pt x="93345" y="70590"/>
                            </a:cubicBezTo>
                            <a:cubicBezTo>
                              <a:pt x="93980" y="66145"/>
                              <a:pt x="93426" y="61358"/>
                              <a:pt x="95250" y="57255"/>
                            </a:cubicBezTo>
                            <a:cubicBezTo>
                              <a:pt x="96180" y="55163"/>
                              <a:pt x="99752" y="55387"/>
                              <a:pt x="100965" y="53445"/>
                            </a:cubicBezTo>
                            <a:cubicBezTo>
                              <a:pt x="103094" y="50039"/>
                              <a:pt x="104775" y="42015"/>
                              <a:pt x="104775" y="42015"/>
                            </a:cubicBezTo>
                            <a:cubicBezTo>
                              <a:pt x="101728" y="8500"/>
                              <a:pt x="112077" y="22330"/>
                              <a:pt x="100965" y="15345"/>
                            </a:cubicBezTo>
                            <a:cubicBezTo>
                              <a:pt x="89853" y="8360"/>
                              <a:pt x="54292" y="1057"/>
                              <a:pt x="38100" y="105"/>
                            </a:cubicBezTo>
                            <a:cubicBezTo>
                              <a:pt x="21908" y="-847"/>
                              <a:pt x="10477" y="4868"/>
                              <a:pt x="3810" y="9630"/>
                            </a:cubicBezTo>
                            <a:cubicBezTo>
                              <a:pt x="3175" y="12170"/>
                              <a:pt x="2624" y="14733"/>
                              <a:pt x="1905" y="17250"/>
                            </a:cubicBezTo>
                            <a:cubicBezTo>
                              <a:pt x="1353" y="19181"/>
                              <a:pt x="0" y="20957"/>
                              <a:pt x="0" y="22965"/>
                            </a:cubicBezTo>
                            <a:cubicBezTo>
                              <a:pt x="0" y="32673"/>
                              <a:pt x="2604" y="28523"/>
                              <a:pt x="5715" y="36300"/>
                            </a:cubicBezTo>
                            <a:cubicBezTo>
                              <a:pt x="6187" y="37479"/>
                              <a:pt x="3810" y="34713"/>
                              <a:pt x="5715" y="40110"/>
                            </a:cubicBezTo>
                            <a:cubicBezTo>
                              <a:pt x="7620" y="45507"/>
                              <a:pt x="13335" y="59160"/>
                              <a:pt x="17145" y="68685"/>
                            </a:cubicBezTo>
                          </a:path>
                        </a:pathLst>
                      </a:custGeom>
                      <a:solidFill>
                        <a:srgbClr val="0D3759"/>
                      </a:solidFill>
                      <a:ln w="3175" cap="flat" cmpd="sng" algn="ctr">
                        <a:solidFill>
                          <a:srgbClr val="F2E8F8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40" name="Freeform: Shape 25">
                        <a:extLst>
                          <a:ext uri="{FF2B5EF4-FFF2-40B4-BE49-F238E27FC236}">
                            <a16:creationId xmlns:a16="http://schemas.microsoft.com/office/drawing/2014/main" id="{C5589F9A-A3D5-9056-A813-897B523534D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018409" y="4329533"/>
                        <a:ext cx="27432" cy="36576"/>
                      </a:xfrm>
                      <a:custGeom>
                        <a:avLst/>
                        <a:gdLst>
                          <a:gd name="connsiteX0" fmla="*/ 57150 w 104775"/>
                          <a:gd name="connsiteY0" fmla="*/ 76200 h 127635"/>
                          <a:gd name="connsiteX1" fmla="*/ 57150 w 104775"/>
                          <a:gd name="connsiteY1" fmla="*/ 76200 h 127635"/>
                          <a:gd name="connsiteX2" fmla="*/ 24765 w 104775"/>
                          <a:gd name="connsiteY2" fmla="*/ 80010 h 127635"/>
                          <a:gd name="connsiteX3" fmla="*/ 19050 w 104775"/>
                          <a:gd name="connsiteY3" fmla="*/ 83820 h 127635"/>
                          <a:gd name="connsiteX4" fmla="*/ 19050 w 104775"/>
                          <a:gd name="connsiteY4" fmla="*/ 106680 h 127635"/>
                          <a:gd name="connsiteX5" fmla="*/ 24765 w 104775"/>
                          <a:gd name="connsiteY5" fmla="*/ 110490 h 127635"/>
                          <a:gd name="connsiteX6" fmla="*/ 28575 w 104775"/>
                          <a:gd name="connsiteY6" fmla="*/ 116205 h 127635"/>
                          <a:gd name="connsiteX7" fmla="*/ 32385 w 104775"/>
                          <a:gd name="connsiteY7" fmla="*/ 127635 h 127635"/>
                          <a:gd name="connsiteX8" fmla="*/ 81915 w 104775"/>
                          <a:gd name="connsiteY8" fmla="*/ 125730 h 127635"/>
                          <a:gd name="connsiteX9" fmla="*/ 87630 w 104775"/>
                          <a:gd name="connsiteY9" fmla="*/ 123825 h 127635"/>
                          <a:gd name="connsiteX10" fmla="*/ 89535 w 104775"/>
                          <a:gd name="connsiteY10" fmla="*/ 118110 h 127635"/>
                          <a:gd name="connsiteX11" fmla="*/ 93345 w 104775"/>
                          <a:gd name="connsiteY11" fmla="*/ 112395 h 127635"/>
                          <a:gd name="connsiteX12" fmla="*/ 95250 w 104775"/>
                          <a:gd name="connsiteY12" fmla="*/ 99060 h 127635"/>
                          <a:gd name="connsiteX13" fmla="*/ 100965 w 104775"/>
                          <a:gd name="connsiteY13" fmla="*/ 95250 h 127635"/>
                          <a:gd name="connsiteX14" fmla="*/ 104775 w 104775"/>
                          <a:gd name="connsiteY14" fmla="*/ 83820 h 127635"/>
                          <a:gd name="connsiteX15" fmla="*/ 100965 w 104775"/>
                          <a:gd name="connsiteY15" fmla="*/ 57150 h 127635"/>
                          <a:gd name="connsiteX16" fmla="*/ 99060 w 104775"/>
                          <a:gd name="connsiteY16" fmla="*/ 49530 h 127635"/>
                          <a:gd name="connsiteX17" fmla="*/ 95250 w 104775"/>
                          <a:gd name="connsiteY17" fmla="*/ 43815 h 127635"/>
                          <a:gd name="connsiteX18" fmla="*/ 91440 w 104775"/>
                          <a:gd name="connsiteY18" fmla="*/ 32385 h 127635"/>
                          <a:gd name="connsiteX19" fmla="*/ 81915 w 104775"/>
                          <a:gd name="connsiteY19" fmla="*/ 15240 h 127635"/>
                          <a:gd name="connsiteX20" fmla="*/ 70485 w 104775"/>
                          <a:gd name="connsiteY20" fmla="*/ 3810 h 127635"/>
                          <a:gd name="connsiteX21" fmla="*/ 59055 w 104775"/>
                          <a:gd name="connsiteY21" fmla="*/ 0 h 127635"/>
                          <a:gd name="connsiteX22" fmla="*/ 45720 w 104775"/>
                          <a:gd name="connsiteY22" fmla="*/ 1905 h 127635"/>
                          <a:gd name="connsiteX23" fmla="*/ 43815 w 104775"/>
                          <a:gd name="connsiteY23" fmla="*/ 19050 h 127635"/>
                          <a:gd name="connsiteX24" fmla="*/ 41910 w 104775"/>
                          <a:gd name="connsiteY24" fmla="*/ 30480 h 127635"/>
                          <a:gd name="connsiteX25" fmla="*/ 40005 w 104775"/>
                          <a:gd name="connsiteY25" fmla="*/ 43815 h 127635"/>
                          <a:gd name="connsiteX26" fmla="*/ 28575 w 104775"/>
                          <a:gd name="connsiteY26" fmla="*/ 49530 h 127635"/>
                          <a:gd name="connsiteX27" fmla="*/ 3810 w 104775"/>
                          <a:gd name="connsiteY27" fmla="*/ 51435 h 127635"/>
                          <a:gd name="connsiteX28" fmla="*/ 1905 w 104775"/>
                          <a:gd name="connsiteY28" fmla="*/ 59055 h 127635"/>
                          <a:gd name="connsiteX29" fmla="*/ 0 w 104775"/>
                          <a:gd name="connsiteY29" fmla="*/ 64770 h 127635"/>
                          <a:gd name="connsiteX30" fmla="*/ 5715 w 104775"/>
                          <a:gd name="connsiteY30" fmla="*/ 78105 h 127635"/>
                          <a:gd name="connsiteX31" fmla="*/ 5715 w 104775"/>
                          <a:gd name="connsiteY31" fmla="*/ 81915 h 127635"/>
                          <a:gd name="connsiteX32" fmla="*/ 5715 w 104775"/>
                          <a:gd name="connsiteY32" fmla="*/ 87630 h 127635"/>
                          <a:gd name="connsiteX0" fmla="*/ 57150 w 104775"/>
                          <a:gd name="connsiteY0" fmla="*/ 76200 h 127635"/>
                          <a:gd name="connsiteX1" fmla="*/ 24765 w 104775"/>
                          <a:gd name="connsiteY1" fmla="*/ 80010 h 127635"/>
                          <a:gd name="connsiteX2" fmla="*/ 19050 w 104775"/>
                          <a:gd name="connsiteY2" fmla="*/ 83820 h 127635"/>
                          <a:gd name="connsiteX3" fmla="*/ 19050 w 104775"/>
                          <a:gd name="connsiteY3" fmla="*/ 106680 h 127635"/>
                          <a:gd name="connsiteX4" fmla="*/ 24765 w 104775"/>
                          <a:gd name="connsiteY4" fmla="*/ 110490 h 127635"/>
                          <a:gd name="connsiteX5" fmla="*/ 28575 w 104775"/>
                          <a:gd name="connsiteY5" fmla="*/ 116205 h 127635"/>
                          <a:gd name="connsiteX6" fmla="*/ 32385 w 104775"/>
                          <a:gd name="connsiteY6" fmla="*/ 127635 h 127635"/>
                          <a:gd name="connsiteX7" fmla="*/ 81915 w 104775"/>
                          <a:gd name="connsiteY7" fmla="*/ 125730 h 127635"/>
                          <a:gd name="connsiteX8" fmla="*/ 87630 w 104775"/>
                          <a:gd name="connsiteY8" fmla="*/ 123825 h 127635"/>
                          <a:gd name="connsiteX9" fmla="*/ 89535 w 104775"/>
                          <a:gd name="connsiteY9" fmla="*/ 118110 h 127635"/>
                          <a:gd name="connsiteX10" fmla="*/ 93345 w 104775"/>
                          <a:gd name="connsiteY10" fmla="*/ 112395 h 127635"/>
                          <a:gd name="connsiteX11" fmla="*/ 95250 w 104775"/>
                          <a:gd name="connsiteY11" fmla="*/ 99060 h 127635"/>
                          <a:gd name="connsiteX12" fmla="*/ 100965 w 104775"/>
                          <a:gd name="connsiteY12" fmla="*/ 95250 h 127635"/>
                          <a:gd name="connsiteX13" fmla="*/ 104775 w 104775"/>
                          <a:gd name="connsiteY13" fmla="*/ 83820 h 127635"/>
                          <a:gd name="connsiteX14" fmla="*/ 100965 w 104775"/>
                          <a:gd name="connsiteY14" fmla="*/ 57150 h 127635"/>
                          <a:gd name="connsiteX15" fmla="*/ 99060 w 104775"/>
                          <a:gd name="connsiteY15" fmla="*/ 49530 h 127635"/>
                          <a:gd name="connsiteX16" fmla="*/ 95250 w 104775"/>
                          <a:gd name="connsiteY16" fmla="*/ 43815 h 127635"/>
                          <a:gd name="connsiteX17" fmla="*/ 91440 w 104775"/>
                          <a:gd name="connsiteY17" fmla="*/ 32385 h 127635"/>
                          <a:gd name="connsiteX18" fmla="*/ 81915 w 104775"/>
                          <a:gd name="connsiteY18" fmla="*/ 15240 h 127635"/>
                          <a:gd name="connsiteX19" fmla="*/ 70485 w 104775"/>
                          <a:gd name="connsiteY19" fmla="*/ 3810 h 127635"/>
                          <a:gd name="connsiteX20" fmla="*/ 59055 w 104775"/>
                          <a:gd name="connsiteY20" fmla="*/ 0 h 127635"/>
                          <a:gd name="connsiteX21" fmla="*/ 45720 w 104775"/>
                          <a:gd name="connsiteY21" fmla="*/ 1905 h 127635"/>
                          <a:gd name="connsiteX22" fmla="*/ 43815 w 104775"/>
                          <a:gd name="connsiteY22" fmla="*/ 19050 h 127635"/>
                          <a:gd name="connsiteX23" fmla="*/ 41910 w 104775"/>
                          <a:gd name="connsiteY23" fmla="*/ 30480 h 127635"/>
                          <a:gd name="connsiteX24" fmla="*/ 40005 w 104775"/>
                          <a:gd name="connsiteY24" fmla="*/ 43815 h 127635"/>
                          <a:gd name="connsiteX25" fmla="*/ 28575 w 104775"/>
                          <a:gd name="connsiteY25" fmla="*/ 49530 h 127635"/>
                          <a:gd name="connsiteX26" fmla="*/ 3810 w 104775"/>
                          <a:gd name="connsiteY26" fmla="*/ 51435 h 127635"/>
                          <a:gd name="connsiteX27" fmla="*/ 1905 w 104775"/>
                          <a:gd name="connsiteY27" fmla="*/ 59055 h 127635"/>
                          <a:gd name="connsiteX28" fmla="*/ 0 w 104775"/>
                          <a:gd name="connsiteY28" fmla="*/ 64770 h 127635"/>
                          <a:gd name="connsiteX29" fmla="*/ 5715 w 104775"/>
                          <a:gd name="connsiteY29" fmla="*/ 78105 h 127635"/>
                          <a:gd name="connsiteX30" fmla="*/ 5715 w 104775"/>
                          <a:gd name="connsiteY30" fmla="*/ 81915 h 127635"/>
                          <a:gd name="connsiteX31" fmla="*/ 5715 w 104775"/>
                          <a:gd name="connsiteY31" fmla="*/ 87630 h 127635"/>
                          <a:gd name="connsiteX0" fmla="*/ 24765 w 104775"/>
                          <a:gd name="connsiteY0" fmla="*/ 80010 h 127635"/>
                          <a:gd name="connsiteX1" fmla="*/ 19050 w 104775"/>
                          <a:gd name="connsiteY1" fmla="*/ 83820 h 127635"/>
                          <a:gd name="connsiteX2" fmla="*/ 19050 w 104775"/>
                          <a:gd name="connsiteY2" fmla="*/ 106680 h 127635"/>
                          <a:gd name="connsiteX3" fmla="*/ 24765 w 104775"/>
                          <a:gd name="connsiteY3" fmla="*/ 110490 h 127635"/>
                          <a:gd name="connsiteX4" fmla="*/ 28575 w 104775"/>
                          <a:gd name="connsiteY4" fmla="*/ 116205 h 127635"/>
                          <a:gd name="connsiteX5" fmla="*/ 32385 w 104775"/>
                          <a:gd name="connsiteY5" fmla="*/ 127635 h 127635"/>
                          <a:gd name="connsiteX6" fmla="*/ 81915 w 104775"/>
                          <a:gd name="connsiteY6" fmla="*/ 125730 h 127635"/>
                          <a:gd name="connsiteX7" fmla="*/ 87630 w 104775"/>
                          <a:gd name="connsiteY7" fmla="*/ 123825 h 127635"/>
                          <a:gd name="connsiteX8" fmla="*/ 89535 w 104775"/>
                          <a:gd name="connsiteY8" fmla="*/ 118110 h 127635"/>
                          <a:gd name="connsiteX9" fmla="*/ 93345 w 104775"/>
                          <a:gd name="connsiteY9" fmla="*/ 112395 h 127635"/>
                          <a:gd name="connsiteX10" fmla="*/ 95250 w 104775"/>
                          <a:gd name="connsiteY10" fmla="*/ 99060 h 127635"/>
                          <a:gd name="connsiteX11" fmla="*/ 100965 w 104775"/>
                          <a:gd name="connsiteY11" fmla="*/ 95250 h 127635"/>
                          <a:gd name="connsiteX12" fmla="*/ 104775 w 104775"/>
                          <a:gd name="connsiteY12" fmla="*/ 83820 h 127635"/>
                          <a:gd name="connsiteX13" fmla="*/ 100965 w 104775"/>
                          <a:gd name="connsiteY13" fmla="*/ 57150 h 127635"/>
                          <a:gd name="connsiteX14" fmla="*/ 99060 w 104775"/>
                          <a:gd name="connsiteY14" fmla="*/ 49530 h 127635"/>
                          <a:gd name="connsiteX15" fmla="*/ 95250 w 104775"/>
                          <a:gd name="connsiteY15" fmla="*/ 43815 h 127635"/>
                          <a:gd name="connsiteX16" fmla="*/ 91440 w 104775"/>
                          <a:gd name="connsiteY16" fmla="*/ 32385 h 127635"/>
                          <a:gd name="connsiteX17" fmla="*/ 81915 w 104775"/>
                          <a:gd name="connsiteY17" fmla="*/ 15240 h 127635"/>
                          <a:gd name="connsiteX18" fmla="*/ 70485 w 104775"/>
                          <a:gd name="connsiteY18" fmla="*/ 3810 h 127635"/>
                          <a:gd name="connsiteX19" fmla="*/ 59055 w 104775"/>
                          <a:gd name="connsiteY19" fmla="*/ 0 h 127635"/>
                          <a:gd name="connsiteX20" fmla="*/ 45720 w 104775"/>
                          <a:gd name="connsiteY20" fmla="*/ 1905 h 127635"/>
                          <a:gd name="connsiteX21" fmla="*/ 43815 w 104775"/>
                          <a:gd name="connsiteY21" fmla="*/ 19050 h 127635"/>
                          <a:gd name="connsiteX22" fmla="*/ 41910 w 104775"/>
                          <a:gd name="connsiteY22" fmla="*/ 30480 h 127635"/>
                          <a:gd name="connsiteX23" fmla="*/ 40005 w 104775"/>
                          <a:gd name="connsiteY23" fmla="*/ 43815 h 127635"/>
                          <a:gd name="connsiteX24" fmla="*/ 28575 w 104775"/>
                          <a:gd name="connsiteY24" fmla="*/ 49530 h 127635"/>
                          <a:gd name="connsiteX25" fmla="*/ 3810 w 104775"/>
                          <a:gd name="connsiteY25" fmla="*/ 51435 h 127635"/>
                          <a:gd name="connsiteX26" fmla="*/ 1905 w 104775"/>
                          <a:gd name="connsiteY26" fmla="*/ 59055 h 127635"/>
                          <a:gd name="connsiteX27" fmla="*/ 0 w 104775"/>
                          <a:gd name="connsiteY27" fmla="*/ 64770 h 127635"/>
                          <a:gd name="connsiteX28" fmla="*/ 5715 w 104775"/>
                          <a:gd name="connsiteY28" fmla="*/ 78105 h 127635"/>
                          <a:gd name="connsiteX29" fmla="*/ 5715 w 104775"/>
                          <a:gd name="connsiteY29" fmla="*/ 81915 h 127635"/>
                          <a:gd name="connsiteX30" fmla="*/ 5715 w 104775"/>
                          <a:gd name="connsiteY30" fmla="*/ 87630 h 127635"/>
                          <a:gd name="connsiteX0" fmla="*/ 24765 w 104775"/>
                          <a:gd name="connsiteY0" fmla="*/ 80010 h 127635"/>
                          <a:gd name="connsiteX1" fmla="*/ 19050 w 104775"/>
                          <a:gd name="connsiteY1" fmla="*/ 106680 h 127635"/>
                          <a:gd name="connsiteX2" fmla="*/ 24765 w 104775"/>
                          <a:gd name="connsiteY2" fmla="*/ 110490 h 127635"/>
                          <a:gd name="connsiteX3" fmla="*/ 28575 w 104775"/>
                          <a:gd name="connsiteY3" fmla="*/ 116205 h 127635"/>
                          <a:gd name="connsiteX4" fmla="*/ 32385 w 104775"/>
                          <a:gd name="connsiteY4" fmla="*/ 127635 h 127635"/>
                          <a:gd name="connsiteX5" fmla="*/ 81915 w 104775"/>
                          <a:gd name="connsiteY5" fmla="*/ 125730 h 127635"/>
                          <a:gd name="connsiteX6" fmla="*/ 87630 w 104775"/>
                          <a:gd name="connsiteY6" fmla="*/ 123825 h 127635"/>
                          <a:gd name="connsiteX7" fmla="*/ 89535 w 104775"/>
                          <a:gd name="connsiteY7" fmla="*/ 118110 h 127635"/>
                          <a:gd name="connsiteX8" fmla="*/ 93345 w 104775"/>
                          <a:gd name="connsiteY8" fmla="*/ 112395 h 127635"/>
                          <a:gd name="connsiteX9" fmla="*/ 95250 w 104775"/>
                          <a:gd name="connsiteY9" fmla="*/ 99060 h 127635"/>
                          <a:gd name="connsiteX10" fmla="*/ 100965 w 104775"/>
                          <a:gd name="connsiteY10" fmla="*/ 95250 h 127635"/>
                          <a:gd name="connsiteX11" fmla="*/ 104775 w 104775"/>
                          <a:gd name="connsiteY11" fmla="*/ 83820 h 127635"/>
                          <a:gd name="connsiteX12" fmla="*/ 100965 w 104775"/>
                          <a:gd name="connsiteY12" fmla="*/ 57150 h 127635"/>
                          <a:gd name="connsiteX13" fmla="*/ 99060 w 104775"/>
                          <a:gd name="connsiteY13" fmla="*/ 49530 h 127635"/>
                          <a:gd name="connsiteX14" fmla="*/ 95250 w 104775"/>
                          <a:gd name="connsiteY14" fmla="*/ 43815 h 127635"/>
                          <a:gd name="connsiteX15" fmla="*/ 91440 w 104775"/>
                          <a:gd name="connsiteY15" fmla="*/ 32385 h 127635"/>
                          <a:gd name="connsiteX16" fmla="*/ 81915 w 104775"/>
                          <a:gd name="connsiteY16" fmla="*/ 15240 h 127635"/>
                          <a:gd name="connsiteX17" fmla="*/ 70485 w 104775"/>
                          <a:gd name="connsiteY17" fmla="*/ 3810 h 127635"/>
                          <a:gd name="connsiteX18" fmla="*/ 59055 w 104775"/>
                          <a:gd name="connsiteY18" fmla="*/ 0 h 127635"/>
                          <a:gd name="connsiteX19" fmla="*/ 45720 w 104775"/>
                          <a:gd name="connsiteY19" fmla="*/ 1905 h 127635"/>
                          <a:gd name="connsiteX20" fmla="*/ 43815 w 104775"/>
                          <a:gd name="connsiteY20" fmla="*/ 19050 h 127635"/>
                          <a:gd name="connsiteX21" fmla="*/ 41910 w 104775"/>
                          <a:gd name="connsiteY21" fmla="*/ 30480 h 127635"/>
                          <a:gd name="connsiteX22" fmla="*/ 40005 w 104775"/>
                          <a:gd name="connsiteY22" fmla="*/ 43815 h 127635"/>
                          <a:gd name="connsiteX23" fmla="*/ 28575 w 104775"/>
                          <a:gd name="connsiteY23" fmla="*/ 49530 h 127635"/>
                          <a:gd name="connsiteX24" fmla="*/ 3810 w 104775"/>
                          <a:gd name="connsiteY24" fmla="*/ 51435 h 127635"/>
                          <a:gd name="connsiteX25" fmla="*/ 1905 w 104775"/>
                          <a:gd name="connsiteY25" fmla="*/ 59055 h 127635"/>
                          <a:gd name="connsiteX26" fmla="*/ 0 w 104775"/>
                          <a:gd name="connsiteY26" fmla="*/ 64770 h 127635"/>
                          <a:gd name="connsiteX27" fmla="*/ 5715 w 104775"/>
                          <a:gd name="connsiteY27" fmla="*/ 78105 h 127635"/>
                          <a:gd name="connsiteX28" fmla="*/ 5715 w 104775"/>
                          <a:gd name="connsiteY28" fmla="*/ 81915 h 127635"/>
                          <a:gd name="connsiteX29" fmla="*/ 5715 w 104775"/>
                          <a:gd name="connsiteY29" fmla="*/ 8763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5715 w 104775"/>
                          <a:gd name="connsiteY28" fmla="*/ 8763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17145 w 104775"/>
                          <a:gd name="connsiteY28" fmla="*/ 11049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17145 w 104775"/>
                          <a:gd name="connsiteY28" fmla="*/ 110490 h 127635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81915 w 104775"/>
                          <a:gd name="connsiteY15" fmla="*/ 16019 h 128414"/>
                          <a:gd name="connsiteX16" fmla="*/ 70485 w 104775"/>
                          <a:gd name="connsiteY16" fmla="*/ 4589 h 128414"/>
                          <a:gd name="connsiteX17" fmla="*/ 59055 w 104775"/>
                          <a:gd name="connsiteY17" fmla="*/ 779 h 128414"/>
                          <a:gd name="connsiteX18" fmla="*/ 45720 w 104775"/>
                          <a:gd name="connsiteY18" fmla="*/ 2684 h 128414"/>
                          <a:gd name="connsiteX19" fmla="*/ 41910 w 104775"/>
                          <a:gd name="connsiteY19" fmla="*/ 31259 h 128414"/>
                          <a:gd name="connsiteX20" fmla="*/ 40005 w 104775"/>
                          <a:gd name="connsiteY20" fmla="*/ 44594 h 128414"/>
                          <a:gd name="connsiteX21" fmla="*/ 28575 w 104775"/>
                          <a:gd name="connsiteY21" fmla="*/ 50309 h 128414"/>
                          <a:gd name="connsiteX22" fmla="*/ 3810 w 104775"/>
                          <a:gd name="connsiteY22" fmla="*/ 52214 h 128414"/>
                          <a:gd name="connsiteX23" fmla="*/ 1905 w 104775"/>
                          <a:gd name="connsiteY23" fmla="*/ 59834 h 128414"/>
                          <a:gd name="connsiteX24" fmla="*/ 0 w 104775"/>
                          <a:gd name="connsiteY24" fmla="*/ 65549 h 128414"/>
                          <a:gd name="connsiteX25" fmla="*/ 5715 w 104775"/>
                          <a:gd name="connsiteY25" fmla="*/ 78884 h 128414"/>
                          <a:gd name="connsiteX26" fmla="*/ 5715 w 104775"/>
                          <a:gd name="connsiteY26" fmla="*/ 82694 h 128414"/>
                          <a:gd name="connsiteX27" fmla="*/ 17145 w 104775"/>
                          <a:gd name="connsiteY27" fmla="*/ 111269 h 128414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70485 w 104775"/>
                          <a:gd name="connsiteY15" fmla="*/ 4589 h 128414"/>
                          <a:gd name="connsiteX16" fmla="*/ 59055 w 104775"/>
                          <a:gd name="connsiteY16" fmla="*/ 779 h 128414"/>
                          <a:gd name="connsiteX17" fmla="*/ 45720 w 104775"/>
                          <a:gd name="connsiteY17" fmla="*/ 2684 h 128414"/>
                          <a:gd name="connsiteX18" fmla="*/ 41910 w 104775"/>
                          <a:gd name="connsiteY18" fmla="*/ 31259 h 128414"/>
                          <a:gd name="connsiteX19" fmla="*/ 40005 w 104775"/>
                          <a:gd name="connsiteY19" fmla="*/ 44594 h 128414"/>
                          <a:gd name="connsiteX20" fmla="*/ 28575 w 104775"/>
                          <a:gd name="connsiteY20" fmla="*/ 50309 h 128414"/>
                          <a:gd name="connsiteX21" fmla="*/ 3810 w 104775"/>
                          <a:gd name="connsiteY21" fmla="*/ 52214 h 128414"/>
                          <a:gd name="connsiteX22" fmla="*/ 1905 w 104775"/>
                          <a:gd name="connsiteY22" fmla="*/ 59834 h 128414"/>
                          <a:gd name="connsiteX23" fmla="*/ 0 w 104775"/>
                          <a:gd name="connsiteY23" fmla="*/ 65549 h 128414"/>
                          <a:gd name="connsiteX24" fmla="*/ 5715 w 104775"/>
                          <a:gd name="connsiteY24" fmla="*/ 78884 h 128414"/>
                          <a:gd name="connsiteX25" fmla="*/ 5715 w 104775"/>
                          <a:gd name="connsiteY25" fmla="*/ 82694 h 128414"/>
                          <a:gd name="connsiteX26" fmla="*/ 17145 w 104775"/>
                          <a:gd name="connsiteY26" fmla="*/ 111269 h 128414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70485 w 104775"/>
                          <a:gd name="connsiteY15" fmla="*/ 4589 h 128414"/>
                          <a:gd name="connsiteX16" fmla="*/ 59055 w 104775"/>
                          <a:gd name="connsiteY16" fmla="*/ 779 h 128414"/>
                          <a:gd name="connsiteX17" fmla="*/ 45720 w 104775"/>
                          <a:gd name="connsiteY17" fmla="*/ 2684 h 128414"/>
                          <a:gd name="connsiteX18" fmla="*/ 41910 w 104775"/>
                          <a:gd name="connsiteY18" fmla="*/ 31259 h 128414"/>
                          <a:gd name="connsiteX19" fmla="*/ 40005 w 104775"/>
                          <a:gd name="connsiteY19" fmla="*/ 44594 h 128414"/>
                          <a:gd name="connsiteX20" fmla="*/ 3810 w 104775"/>
                          <a:gd name="connsiteY20" fmla="*/ 52214 h 128414"/>
                          <a:gd name="connsiteX21" fmla="*/ 1905 w 104775"/>
                          <a:gd name="connsiteY21" fmla="*/ 59834 h 128414"/>
                          <a:gd name="connsiteX22" fmla="*/ 0 w 104775"/>
                          <a:gd name="connsiteY22" fmla="*/ 65549 h 128414"/>
                          <a:gd name="connsiteX23" fmla="*/ 5715 w 104775"/>
                          <a:gd name="connsiteY23" fmla="*/ 78884 h 128414"/>
                          <a:gd name="connsiteX24" fmla="*/ 5715 w 104775"/>
                          <a:gd name="connsiteY24" fmla="*/ 82694 h 128414"/>
                          <a:gd name="connsiteX25" fmla="*/ 17145 w 104775"/>
                          <a:gd name="connsiteY25" fmla="*/ 111269 h 128414"/>
                          <a:gd name="connsiteX0" fmla="*/ 19050 w 104775"/>
                          <a:gd name="connsiteY0" fmla="*/ 107492 h 128447"/>
                          <a:gd name="connsiteX1" fmla="*/ 24765 w 104775"/>
                          <a:gd name="connsiteY1" fmla="*/ 111302 h 128447"/>
                          <a:gd name="connsiteX2" fmla="*/ 28575 w 104775"/>
                          <a:gd name="connsiteY2" fmla="*/ 117017 h 128447"/>
                          <a:gd name="connsiteX3" fmla="*/ 32385 w 104775"/>
                          <a:gd name="connsiteY3" fmla="*/ 128447 h 128447"/>
                          <a:gd name="connsiteX4" fmla="*/ 81915 w 104775"/>
                          <a:gd name="connsiteY4" fmla="*/ 126542 h 128447"/>
                          <a:gd name="connsiteX5" fmla="*/ 87630 w 104775"/>
                          <a:gd name="connsiteY5" fmla="*/ 124637 h 128447"/>
                          <a:gd name="connsiteX6" fmla="*/ 89535 w 104775"/>
                          <a:gd name="connsiteY6" fmla="*/ 118922 h 128447"/>
                          <a:gd name="connsiteX7" fmla="*/ 93345 w 104775"/>
                          <a:gd name="connsiteY7" fmla="*/ 113207 h 128447"/>
                          <a:gd name="connsiteX8" fmla="*/ 95250 w 104775"/>
                          <a:gd name="connsiteY8" fmla="*/ 99872 h 128447"/>
                          <a:gd name="connsiteX9" fmla="*/ 100965 w 104775"/>
                          <a:gd name="connsiteY9" fmla="*/ 96062 h 128447"/>
                          <a:gd name="connsiteX10" fmla="*/ 104775 w 104775"/>
                          <a:gd name="connsiteY10" fmla="*/ 84632 h 128447"/>
                          <a:gd name="connsiteX11" fmla="*/ 100965 w 104775"/>
                          <a:gd name="connsiteY11" fmla="*/ 57962 h 128447"/>
                          <a:gd name="connsiteX12" fmla="*/ 99060 w 104775"/>
                          <a:gd name="connsiteY12" fmla="*/ 50342 h 128447"/>
                          <a:gd name="connsiteX13" fmla="*/ 95250 w 104775"/>
                          <a:gd name="connsiteY13" fmla="*/ 44627 h 128447"/>
                          <a:gd name="connsiteX14" fmla="*/ 91440 w 104775"/>
                          <a:gd name="connsiteY14" fmla="*/ 33197 h 128447"/>
                          <a:gd name="connsiteX15" fmla="*/ 70485 w 104775"/>
                          <a:gd name="connsiteY15" fmla="*/ 4622 h 128447"/>
                          <a:gd name="connsiteX16" fmla="*/ 45720 w 104775"/>
                          <a:gd name="connsiteY16" fmla="*/ 2717 h 128447"/>
                          <a:gd name="connsiteX17" fmla="*/ 41910 w 104775"/>
                          <a:gd name="connsiteY17" fmla="*/ 31292 h 128447"/>
                          <a:gd name="connsiteX18" fmla="*/ 40005 w 104775"/>
                          <a:gd name="connsiteY18" fmla="*/ 44627 h 128447"/>
                          <a:gd name="connsiteX19" fmla="*/ 3810 w 104775"/>
                          <a:gd name="connsiteY19" fmla="*/ 52247 h 128447"/>
                          <a:gd name="connsiteX20" fmla="*/ 1905 w 104775"/>
                          <a:gd name="connsiteY20" fmla="*/ 59867 h 128447"/>
                          <a:gd name="connsiteX21" fmla="*/ 0 w 104775"/>
                          <a:gd name="connsiteY21" fmla="*/ 65582 h 128447"/>
                          <a:gd name="connsiteX22" fmla="*/ 5715 w 104775"/>
                          <a:gd name="connsiteY22" fmla="*/ 78917 h 128447"/>
                          <a:gd name="connsiteX23" fmla="*/ 5715 w 104775"/>
                          <a:gd name="connsiteY23" fmla="*/ 82727 h 128447"/>
                          <a:gd name="connsiteX24" fmla="*/ 17145 w 104775"/>
                          <a:gd name="connsiteY24" fmla="*/ 111302 h 128447"/>
                          <a:gd name="connsiteX0" fmla="*/ 19050 w 104775"/>
                          <a:gd name="connsiteY0" fmla="*/ 102874 h 123829"/>
                          <a:gd name="connsiteX1" fmla="*/ 24765 w 104775"/>
                          <a:gd name="connsiteY1" fmla="*/ 106684 h 123829"/>
                          <a:gd name="connsiteX2" fmla="*/ 28575 w 104775"/>
                          <a:gd name="connsiteY2" fmla="*/ 112399 h 123829"/>
                          <a:gd name="connsiteX3" fmla="*/ 32385 w 104775"/>
                          <a:gd name="connsiteY3" fmla="*/ 123829 h 123829"/>
                          <a:gd name="connsiteX4" fmla="*/ 81915 w 104775"/>
                          <a:gd name="connsiteY4" fmla="*/ 121924 h 123829"/>
                          <a:gd name="connsiteX5" fmla="*/ 87630 w 104775"/>
                          <a:gd name="connsiteY5" fmla="*/ 120019 h 123829"/>
                          <a:gd name="connsiteX6" fmla="*/ 89535 w 104775"/>
                          <a:gd name="connsiteY6" fmla="*/ 114304 h 123829"/>
                          <a:gd name="connsiteX7" fmla="*/ 93345 w 104775"/>
                          <a:gd name="connsiteY7" fmla="*/ 108589 h 123829"/>
                          <a:gd name="connsiteX8" fmla="*/ 95250 w 104775"/>
                          <a:gd name="connsiteY8" fmla="*/ 95254 h 123829"/>
                          <a:gd name="connsiteX9" fmla="*/ 100965 w 104775"/>
                          <a:gd name="connsiteY9" fmla="*/ 91444 h 123829"/>
                          <a:gd name="connsiteX10" fmla="*/ 104775 w 104775"/>
                          <a:gd name="connsiteY10" fmla="*/ 80014 h 123829"/>
                          <a:gd name="connsiteX11" fmla="*/ 100965 w 104775"/>
                          <a:gd name="connsiteY11" fmla="*/ 53344 h 123829"/>
                          <a:gd name="connsiteX12" fmla="*/ 99060 w 104775"/>
                          <a:gd name="connsiteY12" fmla="*/ 45724 h 123829"/>
                          <a:gd name="connsiteX13" fmla="*/ 95250 w 104775"/>
                          <a:gd name="connsiteY13" fmla="*/ 40009 h 123829"/>
                          <a:gd name="connsiteX14" fmla="*/ 91440 w 104775"/>
                          <a:gd name="connsiteY14" fmla="*/ 28579 h 123829"/>
                          <a:gd name="connsiteX15" fmla="*/ 70485 w 104775"/>
                          <a:gd name="connsiteY15" fmla="*/ 4 h 123829"/>
                          <a:gd name="connsiteX16" fmla="*/ 41910 w 104775"/>
                          <a:gd name="connsiteY16" fmla="*/ 26674 h 123829"/>
                          <a:gd name="connsiteX17" fmla="*/ 40005 w 104775"/>
                          <a:gd name="connsiteY17" fmla="*/ 40009 h 123829"/>
                          <a:gd name="connsiteX18" fmla="*/ 3810 w 104775"/>
                          <a:gd name="connsiteY18" fmla="*/ 47629 h 123829"/>
                          <a:gd name="connsiteX19" fmla="*/ 1905 w 104775"/>
                          <a:gd name="connsiteY19" fmla="*/ 55249 h 123829"/>
                          <a:gd name="connsiteX20" fmla="*/ 0 w 104775"/>
                          <a:gd name="connsiteY20" fmla="*/ 60964 h 123829"/>
                          <a:gd name="connsiteX21" fmla="*/ 5715 w 104775"/>
                          <a:gd name="connsiteY21" fmla="*/ 74299 h 123829"/>
                          <a:gd name="connsiteX22" fmla="*/ 5715 w 104775"/>
                          <a:gd name="connsiteY22" fmla="*/ 78109 h 123829"/>
                          <a:gd name="connsiteX23" fmla="*/ 17145 w 104775"/>
                          <a:gd name="connsiteY23" fmla="*/ 106684 h 123829"/>
                          <a:gd name="connsiteX0" fmla="*/ 19050 w 104775"/>
                          <a:gd name="connsiteY0" fmla="*/ 77050 h 98005"/>
                          <a:gd name="connsiteX1" fmla="*/ 24765 w 104775"/>
                          <a:gd name="connsiteY1" fmla="*/ 80860 h 98005"/>
                          <a:gd name="connsiteX2" fmla="*/ 28575 w 104775"/>
                          <a:gd name="connsiteY2" fmla="*/ 86575 h 98005"/>
                          <a:gd name="connsiteX3" fmla="*/ 32385 w 104775"/>
                          <a:gd name="connsiteY3" fmla="*/ 98005 h 98005"/>
                          <a:gd name="connsiteX4" fmla="*/ 81915 w 104775"/>
                          <a:gd name="connsiteY4" fmla="*/ 96100 h 98005"/>
                          <a:gd name="connsiteX5" fmla="*/ 87630 w 104775"/>
                          <a:gd name="connsiteY5" fmla="*/ 94195 h 98005"/>
                          <a:gd name="connsiteX6" fmla="*/ 89535 w 104775"/>
                          <a:gd name="connsiteY6" fmla="*/ 88480 h 98005"/>
                          <a:gd name="connsiteX7" fmla="*/ 93345 w 104775"/>
                          <a:gd name="connsiteY7" fmla="*/ 82765 h 98005"/>
                          <a:gd name="connsiteX8" fmla="*/ 95250 w 104775"/>
                          <a:gd name="connsiteY8" fmla="*/ 69430 h 98005"/>
                          <a:gd name="connsiteX9" fmla="*/ 100965 w 104775"/>
                          <a:gd name="connsiteY9" fmla="*/ 65620 h 98005"/>
                          <a:gd name="connsiteX10" fmla="*/ 104775 w 104775"/>
                          <a:gd name="connsiteY10" fmla="*/ 54190 h 98005"/>
                          <a:gd name="connsiteX11" fmla="*/ 100965 w 104775"/>
                          <a:gd name="connsiteY11" fmla="*/ 27520 h 98005"/>
                          <a:gd name="connsiteX12" fmla="*/ 99060 w 104775"/>
                          <a:gd name="connsiteY12" fmla="*/ 19900 h 98005"/>
                          <a:gd name="connsiteX13" fmla="*/ 95250 w 104775"/>
                          <a:gd name="connsiteY13" fmla="*/ 14185 h 98005"/>
                          <a:gd name="connsiteX14" fmla="*/ 91440 w 104775"/>
                          <a:gd name="connsiteY14" fmla="*/ 2755 h 98005"/>
                          <a:gd name="connsiteX15" fmla="*/ 41910 w 104775"/>
                          <a:gd name="connsiteY15" fmla="*/ 850 h 98005"/>
                          <a:gd name="connsiteX16" fmla="*/ 40005 w 104775"/>
                          <a:gd name="connsiteY16" fmla="*/ 14185 h 98005"/>
                          <a:gd name="connsiteX17" fmla="*/ 3810 w 104775"/>
                          <a:gd name="connsiteY17" fmla="*/ 21805 h 98005"/>
                          <a:gd name="connsiteX18" fmla="*/ 1905 w 104775"/>
                          <a:gd name="connsiteY18" fmla="*/ 29425 h 98005"/>
                          <a:gd name="connsiteX19" fmla="*/ 0 w 104775"/>
                          <a:gd name="connsiteY19" fmla="*/ 35140 h 98005"/>
                          <a:gd name="connsiteX20" fmla="*/ 5715 w 104775"/>
                          <a:gd name="connsiteY20" fmla="*/ 48475 h 98005"/>
                          <a:gd name="connsiteX21" fmla="*/ 5715 w 104775"/>
                          <a:gd name="connsiteY21" fmla="*/ 52285 h 98005"/>
                          <a:gd name="connsiteX22" fmla="*/ 17145 w 104775"/>
                          <a:gd name="connsiteY22" fmla="*/ 80860 h 98005"/>
                          <a:gd name="connsiteX0" fmla="*/ 19050 w 104775"/>
                          <a:gd name="connsiteY0" fmla="*/ 76200 h 97155"/>
                          <a:gd name="connsiteX1" fmla="*/ 24765 w 104775"/>
                          <a:gd name="connsiteY1" fmla="*/ 80010 h 97155"/>
                          <a:gd name="connsiteX2" fmla="*/ 28575 w 104775"/>
                          <a:gd name="connsiteY2" fmla="*/ 85725 h 97155"/>
                          <a:gd name="connsiteX3" fmla="*/ 32385 w 104775"/>
                          <a:gd name="connsiteY3" fmla="*/ 97155 h 97155"/>
                          <a:gd name="connsiteX4" fmla="*/ 81915 w 104775"/>
                          <a:gd name="connsiteY4" fmla="*/ 95250 h 97155"/>
                          <a:gd name="connsiteX5" fmla="*/ 87630 w 104775"/>
                          <a:gd name="connsiteY5" fmla="*/ 93345 h 97155"/>
                          <a:gd name="connsiteX6" fmla="*/ 89535 w 104775"/>
                          <a:gd name="connsiteY6" fmla="*/ 87630 h 97155"/>
                          <a:gd name="connsiteX7" fmla="*/ 93345 w 104775"/>
                          <a:gd name="connsiteY7" fmla="*/ 81915 h 97155"/>
                          <a:gd name="connsiteX8" fmla="*/ 95250 w 104775"/>
                          <a:gd name="connsiteY8" fmla="*/ 68580 h 97155"/>
                          <a:gd name="connsiteX9" fmla="*/ 100965 w 104775"/>
                          <a:gd name="connsiteY9" fmla="*/ 64770 h 97155"/>
                          <a:gd name="connsiteX10" fmla="*/ 104775 w 104775"/>
                          <a:gd name="connsiteY10" fmla="*/ 53340 h 97155"/>
                          <a:gd name="connsiteX11" fmla="*/ 100965 w 104775"/>
                          <a:gd name="connsiteY11" fmla="*/ 26670 h 97155"/>
                          <a:gd name="connsiteX12" fmla="*/ 99060 w 104775"/>
                          <a:gd name="connsiteY12" fmla="*/ 19050 h 97155"/>
                          <a:gd name="connsiteX13" fmla="*/ 95250 w 104775"/>
                          <a:gd name="connsiteY13" fmla="*/ 13335 h 97155"/>
                          <a:gd name="connsiteX14" fmla="*/ 41910 w 104775"/>
                          <a:gd name="connsiteY14" fmla="*/ 0 h 97155"/>
                          <a:gd name="connsiteX15" fmla="*/ 40005 w 104775"/>
                          <a:gd name="connsiteY15" fmla="*/ 13335 h 97155"/>
                          <a:gd name="connsiteX16" fmla="*/ 3810 w 104775"/>
                          <a:gd name="connsiteY16" fmla="*/ 20955 h 97155"/>
                          <a:gd name="connsiteX17" fmla="*/ 1905 w 104775"/>
                          <a:gd name="connsiteY17" fmla="*/ 28575 h 97155"/>
                          <a:gd name="connsiteX18" fmla="*/ 0 w 104775"/>
                          <a:gd name="connsiteY18" fmla="*/ 34290 h 97155"/>
                          <a:gd name="connsiteX19" fmla="*/ 5715 w 104775"/>
                          <a:gd name="connsiteY19" fmla="*/ 47625 h 97155"/>
                          <a:gd name="connsiteX20" fmla="*/ 5715 w 104775"/>
                          <a:gd name="connsiteY20" fmla="*/ 51435 h 97155"/>
                          <a:gd name="connsiteX21" fmla="*/ 17145 w 104775"/>
                          <a:gd name="connsiteY21" fmla="*/ 80010 h 97155"/>
                          <a:gd name="connsiteX0" fmla="*/ 19050 w 104775"/>
                          <a:gd name="connsiteY0" fmla="*/ 76298 h 97253"/>
                          <a:gd name="connsiteX1" fmla="*/ 24765 w 104775"/>
                          <a:gd name="connsiteY1" fmla="*/ 80108 h 97253"/>
                          <a:gd name="connsiteX2" fmla="*/ 28575 w 104775"/>
                          <a:gd name="connsiteY2" fmla="*/ 85823 h 97253"/>
                          <a:gd name="connsiteX3" fmla="*/ 32385 w 104775"/>
                          <a:gd name="connsiteY3" fmla="*/ 97253 h 97253"/>
                          <a:gd name="connsiteX4" fmla="*/ 81915 w 104775"/>
                          <a:gd name="connsiteY4" fmla="*/ 95348 h 97253"/>
                          <a:gd name="connsiteX5" fmla="*/ 87630 w 104775"/>
                          <a:gd name="connsiteY5" fmla="*/ 93443 h 97253"/>
                          <a:gd name="connsiteX6" fmla="*/ 89535 w 104775"/>
                          <a:gd name="connsiteY6" fmla="*/ 87728 h 97253"/>
                          <a:gd name="connsiteX7" fmla="*/ 93345 w 104775"/>
                          <a:gd name="connsiteY7" fmla="*/ 82013 h 97253"/>
                          <a:gd name="connsiteX8" fmla="*/ 95250 w 104775"/>
                          <a:gd name="connsiteY8" fmla="*/ 68678 h 97253"/>
                          <a:gd name="connsiteX9" fmla="*/ 100965 w 104775"/>
                          <a:gd name="connsiteY9" fmla="*/ 64868 h 97253"/>
                          <a:gd name="connsiteX10" fmla="*/ 104775 w 104775"/>
                          <a:gd name="connsiteY10" fmla="*/ 53438 h 97253"/>
                          <a:gd name="connsiteX11" fmla="*/ 100965 w 104775"/>
                          <a:gd name="connsiteY11" fmla="*/ 26768 h 97253"/>
                          <a:gd name="connsiteX12" fmla="*/ 99060 w 104775"/>
                          <a:gd name="connsiteY12" fmla="*/ 19148 h 97253"/>
                          <a:gd name="connsiteX13" fmla="*/ 95250 w 104775"/>
                          <a:gd name="connsiteY13" fmla="*/ 13433 h 97253"/>
                          <a:gd name="connsiteX14" fmla="*/ 41910 w 104775"/>
                          <a:gd name="connsiteY14" fmla="*/ 98 h 97253"/>
                          <a:gd name="connsiteX15" fmla="*/ 3810 w 104775"/>
                          <a:gd name="connsiteY15" fmla="*/ 21053 h 97253"/>
                          <a:gd name="connsiteX16" fmla="*/ 1905 w 104775"/>
                          <a:gd name="connsiteY16" fmla="*/ 28673 h 97253"/>
                          <a:gd name="connsiteX17" fmla="*/ 0 w 104775"/>
                          <a:gd name="connsiteY17" fmla="*/ 34388 h 97253"/>
                          <a:gd name="connsiteX18" fmla="*/ 5715 w 104775"/>
                          <a:gd name="connsiteY18" fmla="*/ 47723 h 97253"/>
                          <a:gd name="connsiteX19" fmla="*/ 5715 w 104775"/>
                          <a:gd name="connsiteY19" fmla="*/ 51533 h 97253"/>
                          <a:gd name="connsiteX20" fmla="*/ 17145 w 104775"/>
                          <a:gd name="connsiteY20" fmla="*/ 80108 h 97253"/>
                          <a:gd name="connsiteX0" fmla="*/ 19050 w 104775"/>
                          <a:gd name="connsiteY0" fmla="*/ 76205 h 97160"/>
                          <a:gd name="connsiteX1" fmla="*/ 24765 w 104775"/>
                          <a:gd name="connsiteY1" fmla="*/ 80015 h 97160"/>
                          <a:gd name="connsiteX2" fmla="*/ 28575 w 104775"/>
                          <a:gd name="connsiteY2" fmla="*/ 85730 h 97160"/>
                          <a:gd name="connsiteX3" fmla="*/ 32385 w 104775"/>
                          <a:gd name="connsiteY3" fmla="*/ 97160 h 97160"/>
                          <a:gd name="connsiteX4" fmla="*/ 81915 w 104775"/>
                          <a:gd name="connsiteY4" fmla="*/ 95255 h 97160"/>
                          <a:gd name="connsiteX5" fmla="*/ 87630 w 104775"/>
                          <a:gd name="connsiteY5" fmla="*/ 93350 h 97160"/>
                          <a:gd name="connsiteX6" fmla="*/ 89535 w 104775"/>
                          <a:gd name="connsiteY6" fmla="*/ 87635 h 97160"/>
                          <a:gd name="connsiteX7" fmla="*/ 93345 w 104775"/>
                          <a:gd name="connsiteY7" fmla="*/ 81920 h 97160"/>
                          <a:gd name="connsiteX8" fmla="*/ 95250 w 104775"/>
                          <a:gd name="connsiteY8" fmla="*/ 68585 h 97160"/>
                          <a:gd name="connsiteX9" fmla="*/ 100965 w 104775"/>
                          <a:gd name="connsiteY9" fmla="*/ 64775 h 97160"/>
                          <a:gd name="connsiteX10" fmla="*/ 104775 w 104775"/>
                          <a:gd name="connsiteY10" fmla="*/ 53345 h 97160"/>
                          <a:gd name="connsiteX11" fmla="*/ 100965 w 104775"/>
                          <a:gd name="connsiteY11" fmla="*/ 26675 h 97160"/>
                          <a:gd name="connsiteX12" fmla="*/ 99060 w 104775"/>
                          <a:gd name="connsiteY12" fmla="*/ 19055 h 97160"/>
                          <a:gd name="connsiteX13" fmla="*/ 41910 w 104775"/>
                          <a:gd name="connsiteY13" fmla="*/ 5 h 97160"/>
                          <a:gd name="connsiteX14" fmla="*/ 3810 w 104775"/>
                          <a:gd name="connsiteY14" fmla="*/ 20960 h 97160"/>
                          <a:gd name="connsiteX15" fmla="*/ 1905 w 104775"/>
                          <a:gd name="connsiteY15" fmla="*/ 28580 h 97160"/>
                          <a:gd name="connsiteX16" fmla="*/ 0 w 104775"/>
                          <a:gd name="connsiteY16" fmla="*/ 34295 h 97160"/>
                          <a:gd name="connsiteX17" fmla="*/ 5715 w 104775"/>
                          <a:gd name="connsiteY17" fmla="*/ 47630 h 97160"/>
                          <a:gd name="connsiteX18" fmla="*/ 5715 w 104775"/>
                          <a:gd name="connsiteY18" fmla="*/ 51440 h 97160"/>
                          <a:gd name="connsiteX19" fmla="*/ 17145 w 104775"/>
                          <a:gd name="connsiteY19" fmla="*/ 80015 h 97160"/>
                          <a:gd name="connsiteX0" fmla="*/ 19050 w 105971"/>
                          <a:gd name="connsiteY0" fmla="*/ 76238 h 97193"/>
                          <a:gd name="connsiteX1" fmla="*/ 24765 w 105971"/>
                          <a:gd name="connsiteY1" fmla="*/ 80048 h 97193"/>
                          <a:gd name="connsiteX2" fmla="*/ 28575 w 105971"/>
                          <a:gd name="connsiteY2" fmla="*/ 85763 h 97193"/>
                          <a:gd name="connsiteX3" fmla="*/ 32385 w 105971"/>
                          <a:gd name="connsiteY3" fmla="*/ 97193 h 97193"/>
                          <a:gd name="connsiteX4" fmla="*/ 81915 w 105971"/>
                          <a:gd name="connsiteY4" fmla="*/ 95288 h 97193"/>
                          <a:gd name="connsiteX5" fmla="*/ 87630 w 105971"/>
                          <a:gd name="connsiteY5" fmla="*/ 93383 h 97193"/>
                          <a:gd name="connsiteX6" fmla="*/ 89535 w 105971"/>
                          <a:gd name="connsiteY6" fmla="*/ 87668 h 97193"/>
                          <a:gd name="connsiteX7" fmla="*/ 93345 w 105971"/>
                          <a:gd name="connsiteY7" fmla="*/ 81953 h 97193"/>
                          <a:gd name="connsiteX8" fmla="*/ 95250 w 105971"/>
                          <a:gd name="connsiteY8" fmla="*/ 68618 h 97193"/>
                          <a:gd name="connsiteX9" fmla="*/ 100965 w 105971"/>
                          <a:gd name="connsiteY9" fmla="*/ 64808 h 97193"/>
                          <a:gd name="connsiteX10" fmla="*/ 104775 w 105971"/>
                          <a:gd name="connsiteY10" fmla="*/ 53378 h 97193"/>
                          <a:gd name="connsiteX11" fmla="*/ 100965 w 105971"/>
                          <a:gd name="connsiteY11" fmla="*/ 26708 h 97193"/>
                          <a:gd name="connsiteX12" fmla="*/ 41910 w 105971"/>
                          <a:gd name="connsiteY12" fmla="*/ 38 h 97193"/>
                          <a:gd name="connsiteX13" fmla="*/ 3810 w 105971"/>
                          <a:gd name="connsiteY13" fmla="*/ 20993 h 97193"/>
                          <a:gd name="connsiteX14" fmla="*/ 1905 w 105971"/>
                          <a:gd name="connsiteY14" fmla="*/ 28613 h 97193"/>
                          <a:gd name="connsiteX15" fmla="*/ 0 w 105971"/>
                          <a:gd name="connsiteY15" fmla="*/ 34328 h 97193"/>
                          <a:gd name="connsiteX16" fmla="*/ 5715 w 105971"/>
                          <a:gd name="connsiteY16" fmla="*/ 47663 h 97193"/>
                          <a:gd name="connsiteX17" fmla="*/ 5715 w 105971"/>
                          <a:gd name="connsiteY17" fmla="*/ 51473 h 97193"/>
                          <a:gd name="connsiteX18" fmla="*/ 17145 w 105971"/>
                          <a:gd name="connsiteY18" fmla="*/ 80048 h 97193"/>
                          <a:gd name="connsiteX0" fmla="*/ 19050 w 106250"/>
                          <a:gd name="connsiteY0" fmla="*/ 64875 h 85830"/>
                          <a:gd name="connsiteX1" fmla="*/ 24765 w 106250"/>
                          <a:gd name="connsiteY1" fmla="*/ 68685 h 85830"/>
                          <a:gd name="connsiteX2" fmla="*/ 28575 w 106250"/>
                          <a:gd name="connsiteY2" fmla="*/ 74400 h 85830"/>
                          <a:gd name="connsiteX3" fmla="*/ 32385 w 106250"/>
                          <a:gd name="connsiteY3" fmla="*/ 85830 h 85830"/>
                          <a:gd name="connsiteX4" fmla="*/ 81915 w 106250"/>
                          <a:gd name="connsiteY4" fmla="*/ 83925 h 85830"/>
                          <a:gd name="connsiteX5" fmla="*/ 87630 w 106250"/>
                          <a:gd name="connsiteY5" fmla="*/ 82020 h 85830"/>
                          <a:gd name="connsiteX6" fmla="*/ 89535 w 106250"/>
                          <a:gd name="connsiteY6" fmla="*/ 76305 h 85830"/>
                          <a:gd name="connsiteX7" fmla="*/ 93345 w 106250"/>
                          <a:gd name="connsiteY7" fmla="*/ 70590 h 85830"/>
                          <a:gd name="connsiteX8" fmla="*/ 95250 w 106250"/>
                          <a:gd name="connsiteY8" fmla="*/ 57255 h 85830"/>
                          <a:gd name="connsiteX9" fmla="*/ 100965 w 106250"/>
                          <a:gd name="connsiteY9" fmla="*/ 53445 h 85830"/>
                          <a:gd name="connsiteX10" fmla="*/ 104775 w 106250"/>
                          <a:gd name="connsiteY10" fmla="*/ 42015 h 85830"/>
                          <a:gd name="connsiteX11" fmla="*/ 100965 w 106250"/>
                          <a:gd name="connsiteY11" fmla="*/ 15345 h 85830"/>
                          <a:gd name="connsiteX12" fmla="*/ 38100 w 106250"/>
                          <a:gd name="connsiteY12" fmla="*/ 105 h 85830"/>
                          <a:gd name="connsiteX13" fmla="*/ 3810 w 106250"/>
                          <a:gd name="connsiteY13" fmla="*/ 9630 h 85830"/>
                          <a:gd name="connsiteX14" fmla="*/ 1905 w 106250"/>
                          <a:gd name="connsiteY14" fmla="*/ 17250 h 85830"/>
                          <a:gd name="connsiteX15" fmla="*/ 0 w 106250"/>
                          <a:gd name="connsiteY15" fmla="*/ 22965 h 85830"/>
                          <a:gd name="connsiteX16" fmla="*/ 5715 w 106250"/>
                          <a:gd name="connsiteY16" fmla="*/ 36300 h 85830"/>
                          <a:gd name="connsiteX17" fmla="*/ 5715 w 106250"/>
                          <a:gd name="connsiteY17" fmla="*/ 40110 h 85830"/>
                          <a:gd name="connsiteX18" fmla="*/ 17145 w 106250"/>
                          <a:gd name="connsiteY18" fmla="*/ 68685 h 8583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</a:cxnLst>
                        <a:rect l="l" t="t" r="r" b="b"/>
                        <a:pathLst>
                          <a:path w="106250" h="85830">
                            <a:moveTo>
                              <a:pt x="19050" y="64875"/>
                            </a:moveTo>
                            <a:cubicBezTo>
                              <a:pt x="19050" y="69955"/>
                              <a:pt x="22860" y="67415"/>
                              <a:pt x="24765" y="68685"/>
                            </a:cubicBezTo>
                            <a:cubicBezTo>
                              <a:pt x="26035" y="70590"/>
                              <a:pt x="27645" y="72308"/>
                              <a:pt x="28575" y="74400"/>
                            </a:cubicBezTo>
                            <a:cubicBezTo>
                              <a:pt x="30206" y="78070"/>
                              <a:pt x="32385" y="85830"/>
                              <a:pt x="32385" y="85830"/>
                            </a:cubicBezTo>
                            <a:cubicBezTo>
                              <a:pt x="48895" y="85195"/>
                              <a:pt x="65432" y="85062"/>
                              <a:pt x="81915" y="83925"/>
                            </a:cubicBezTo>
                            <a:cubicBezTo>
                              <a:pt x="83918" y="83787"/>
                              <a:pt x="86210" y="83440"/>
                              <a:pt x="87630" y="82020"/>
                            </a:cubicBezTo>
                            <a:cubicBezTo>
                              <a:pt x="89050" y="80600"/>
                              <a:pt x="88637" y="78101"/>
                              <a:pt x="89535" y="76305"/>
                            </a:cubicBezTo>
                            <a:cubicBezTo>
                              <a:pt x="90559" y="74257"/>
                              <a:pt x="92075" y="72495"/>
                              <a:pt x="93345" y="70590"/>
                            </a:cubicBezTo>
                            <a:cubicBezTo>
                              <a:pt x="93980" y="66145"/>
                              <a:pt x="93426" y="61358"/>
                              <a:pt x="95250" y="57255"/>
                            </a:cubicBezTo>
                            <a:cubicBezTo>
                              <a:pt x="96180" y="55163"/>
                              <a:pt x="99752" y="55387"/>
                              <a:pt x="100965" y="53445"/>
                            </a:cubicBezTo>
                            <a:cubicBezTo>
                              <a:pt x="103094" y="50039"/>
                              <a:pt x="104775" y="42015"/>
                              <a:pt x="104775" y="42015"/>
                            </a:cubicBezTo>
                            <a:cubicBezTo>
                              <a:pt x="101728" y="8500"/>
                              <a:pt x="112077" y="22330"/>
                              <a:pt x="100965" y="15345"/>
                            </a:cubicBezTo>
                            <a:cubicBezTo>
                              <a:pt x="89853" y="8360"/>
                              <a:pt x="54292" y="1057"/>
                              <a:pt x="38100" y="105"/>
                            </a:cubicBezTo>
                            <a:cubicBezTo>
                              <a:pt x="21908" y="-847"/>
                              <a:pt x="10477" y="4868"/>
                              <a:pt x="3810" y="9630"/>
                            </a:cubicBezTo>
                            <a:cubicBezTo>
                              <a:pt x="3175" y="12170"/>
                              <a:pt x="2624" y="14733"/>
                              <a:pt x="1905" y="17250"/>
                            </a:cubicBezTo>
                            <a:cubicBezTo>
                              <a:pt x="1353" y="19181"/>
                              <a:pt x="0" y="20957"/>
                              <a:pt x="0" y="22965"/>
                            </a:cubicBezTo>
                            <a:cubicBezTo>
                              <a:pt x="0" y="32673"/>
                              <a:pt x="2604" y="28523"/>
                              <a:pt x="5715" y="36300"/>
                            </a:cubicBezTo>
                            <a:cubicBezTo>
                              <a:pt x="6187" y="37479"/>
                              <a:pt x="3810" y="34713"/>
                              <a:pt x="5715" y="40110"/>
                            </a:cubicBezTo>
                            <a:cubicBezTo>
                              <a:pt x="7620" y="45507"/>
                              <a:pt x="13335" y="59160"/>
                              <a:pt x="17145" y="68685"/>
                            </a:cubicBezTo>
                          </a:path>
                        </a:pathLst>
                      </a:custGeom>
                      <a:solidFill>
                        <a:srgbClr val="0D3759"/>
                      </a:solidFill>
                      <a:ln w="3175" cap="flat" cmpd="sng" algn="ctr">
                        <a:solidFill>
                          <a:srgbClr val="F2E8F8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41" name="Freeform: Shape 26">
                        <a:extLst>
                          <a:ext uri="{FF2B5EF4-FFF2-40B4-BE49-F238E27FC236}">
                            <a16:creationId xmlns:a16="http://schemas.microsoft.com/office/drawing/2014/main" id="{084ADC4B-ADAB-BC12-0471-6FDF7F3D5203}"/>
                          </a:ext>
                        </a:extLst>
                      </p:cNvPr>
                      <p:cNvSpPr/>
                      <p:nvPr/>
                    </p:nvSpPr>
                    <p:spPr>
                      <a:xfrm rot="18952815">
                        <a:off x="8990335" y="4236377"/>
                        <a:ext cx="27432" cy="36576"/>
                      </a:xfrm>
                      <a:custGeom>
                        <a:avLst/>
                        <a:gdLst>
                          <a:gd name="connsiteX0" fmla="*/ 57150 w 104775"/>
                          <a:gd name="connsiteY0" fmla="*/ 76200 h 127635"/>
                          <a:gd name="connsiteX1" fmla="*/ 57150 w 104775"/>
                          <a:gd name="connsiteY1" fmla="*/ 76200 h 127635"/>
                          <a:gd name="connsiteX2" fmla="*/ 24765 w 104775"/>
                          <a:gd name="connsiteY2" fmla="*/ 80010 h 127635"/>
                          <a:gd name="connsiteX3" fmla="*/ 19050 w 104775"/>
                          <a:gd name="connsiteY3" fmla="*/ 83820 h 127635"/>
                          <a:gd name="connsiteX4" fmla="*/ 19050 w 104775"/>
                          <a:gd name="connsiteY4" fmla="*/ 106680 h 127635"/>
                          <a:gd name="connsiteX5" fmla="*/ 24765 w 104775"/>
                          <a:gd name="connsiteY5" fmla="*/ 110490 h 127635"/>
                          <a:gd name="connsiteX6" fmla="*/ 28575 w 104775"/>
                          <a:gd name="connsiteY6" fmla="*/ 116205 h 127635"/>
                          <a:gd name="connsiteX7" fmla="*/ 32385 w 104775"/>
                          <a:gd name="connsiteY7" fmla="*/ 127635 h 127635"/>
                          <a:gd name="connsiteX8" fmla="*/ 81915 w 104775"/>
                          <a:gd name="connsiteY8" fmla="*/ 125730 h 127635"/>
                          <a:gd name="connsiteX9" fmla="*/ 87630 w 104775"/>
                          <a:gd name="connsiteY9" fmla="*/ 123825 h 127635"/>
                          <a:gd name="connsiteX10" fmla="*/ 89535 w 104775"/>
                          <a:gd name="connsiteY10" fmla="*/ 118110 h 127635"/>
                          <a:gd name="connsiteX11" fmla="*/ 93345 w 104775"/>
                          <a:gd name="connsiteY11" fmla="*/ 112395 h 127635"/>
                          <a:gd name="connsiteX12" fmla="*/ 95250 w 104775"/>
                          <a:gd name="connsiteY12" fmla="*/ 99060 h 127635"/>
                          <a:gd name="connsiteX13" fmla="*/ 100965 w 104775"/>
                          <a:gd name="connsiteY13" fmla="*/ 95250 h 127635"/>
                          <a:gd name="connsiteX14" fmla="*/ 104775 w 104775"/>
                          <a:gd name="connsiteY14" fmla="*/ 83820 h 127635"/>
                          <a:gd name="connsiteX15" fmla="*/ 100965 w 104775"/>
                          <a:gd name="connsiteY15" fmla="*/ 57150 h 127635"/>
                          <a:gd name="connsiteX16" fmla="*/ 99060 w 104775"/>
                          <a:gd name="connsiteY16" fmla="*/ 49530 h 127635"/>
                          <a:gd name="connsiteX17" fmla="*/ 95250 w 104775"/>
                          <a:gd name="connsiteY17" fmla="*/ 43815 h 127635"/>
                          <a:gd name="connsiteX18" fmla="*/ 91440 w 104775"/>
                          <a:gd name="connsiteY18" fmla="*/ 32385 h 127635"/>
                          <a:gd name="connsiteX19" fmla="*/ 81915 w 104775"/>
                          <a:gd name="connsiteY19" fmla="*/ 15240 h 127635"/>
                          <a:gd name="connsiteX20" fmla="*/ 70485 w 104775"/>
                          <a:gd name="connsiteY20" fmla="*/ 3810 h 127635"/>
                          <a:gd name="connsiteX21" fmla="*/ 59055 w 104775"/>
                          <a:gd name="connsiteY21" fmla="*/ 0 h 127635"/>
                          <a:gd name="connsiteX22" fmla="*/ 45720 w 104775"/>
                          <a:gd name="connsiteY22" fmla="*/ 1905 h 127635"/>
                          <a:gd name="connsiteX23" fmla="*/ 43815 w 104775"/>
                          <a:gd name="connsiteY23" fmla="*/ 19050 h 127635"/>
                          <a:gd name="connsiteX24" fmla="*/ 41910 w 104775"/>
                          <a:gd name="connsiteY24" fmla="*/ 30480 h 127635"/>
                          <a:gd name="connsiteX25" fmla="*/ 40005 w 104775"/>
                          <a:gd name="connsiteY25" fmla="*/ 43815 h 127635"/>
                          <a:gd name="connsiteX26" fmla="*/ 28575 w 104775"/>
                          <a:gd name="connsiteY26" fmla="*/ 49530 h 127635"/>
                          <a:gd name="connsiteX27" fmla="*/ 3810 w 104775"/>
                          <a:gd name="connsiteY27" fmla="*/ 51435 h 127635"/>
                          <a:gd name="connsiteX28" fmla="*/ 1905 w 104775"/>
                          <a:gd name="connsiteY28" fmla="*/ 59055 h 127635"/>
                          <a:gd name="connsiteX29" fmla="*/ 0 w 104775"/>
                          <a:gd name="connsiteY29" fmla="*/ 64770 h 127635"/>
                          <a:gd name="connsiteX30" fmla="*/ 5715 w 104775"/>
                          <a:gd name="connsiteY30" fmla="*/ 78105 h 127635"/>
                          <a:gd name="connsiteX31" fmla="*/ 5715 w 104775"/>
                          <a:gd name="connsiteY31" fmla="*/ 81915 h 127635"/>
                          <a:gd name="connsiteX32" fmla="*/ 5715 w 104775"/>
                          <a:gd name="connsiteY32" fmla="*/ 87630 h 127635"/>
                          <a:gd name="connsiteX0" fmla="*/ 57150 w 104775"/>
                          <a:gd name="connsiteY0" fmla="*/ 76200 h 127635"/>
                          <a:gd name="connsiteX1" fmla="*/ 24765 w 104775"/>
                          <a:gd name="connsiteY1" fmla="*/ 80010 h 127635"/>
                          <a:gd name="connsiteX2" fmla="*/ 19050 w 104775"/>
                          <a:gd name="connsiteY2" fmla="*/ 83820 h 127635"/>
                          <a:gd name="connsiteX3" fmla="*/ 19050 w 104775"/>
                          <a:gd name="connsiteY3" fmla="*/ 106680 h 127635"/>
                          <a:gd name="connsiteX4" fmla="*/ 24765 w 104775"/>
                          <a:gd name="connsiteY4" fmla="*/ 110490 h 127635"/>
                          <a:gd name="connsiteX5" fmla="*/ 28575 w 104775"/>
                          <a:gd name="connsiteY5" fmla="*/ 116205 h 127635"/>
                          <a:gd name="connsiteX6" fmla="*/ 32385 w 104775"/>
                          <a:gd name="connsiteY6" fmla="*/ 127635 h 127635"/>
                          <a:gd name="connsiteX7" fmla="*/ 81915 w 104775"/>
                          <a:gd name="connsiteY7" fmla="*/ 125730 h 127635"/>
                          <a:gd name="connsiteX8" fmla="*/ 87630 w 104775"/>
                          <a:gd name="connsiteY8" fmla="*/ 123825 h 127635"/>
                          <a:gd name="connsiteX9" fmla="*/ 89535 w 104775"/>
                          <a:gd name="connsiteY9" fmla="*/ 118110 h 127635"/>
                          <a:gd name="connsiteX10" fmla="*/ 93345 w 104775"/>
                          <a:gd name="connsiteY10" fmla="*/ 112395 h 127635"/>
                          <a:gd name="connsiteX11" fmla="*/ 95250 w 104775"/>
                          <a:gd name="connsiteY11" fmla="*/ 99060 h 127635"/>
                          <a:gd name="connsiteX12" fmla="*/ 100965 w 104775"/>
                          <a:gd name="connsiteY12" fmla="*/ 95250 h 127635"/>
                          <a:gd name="connsiteX13" fmla="*/ 104775 w 104775"/>
                          <a:gd name="connsiteY13" fmla="*/ 83820 h 127635"/>
                          <a:gd name="connsiteX14" fmla="*/ 100965 w 104775"/>
                          <a:gd name="connsiteY14" fmla="*/ 57150 h 127635"/>
                          <a:gd name="connsiteX15" fmla="*/ 99060 w 104775"/>
                          <a:gd name="connsiteY15" fmla="*/ 49530 h 127635"/>
                          <a:gd name="connsiteX16" fmla="*/ 95250 w 104775"/>
                          <a:gd name="connsiteY16" fmla="*/ 43815 h 127635"/>
                          <a:gd name="connsiteX17" fmla="*/ 91440 w 104775"/>
                          <a:gd name="connsiteY17" fmla="*/ 32385 h 127635"/>
                          <a:gd name="connsiteX18" fmla="*/ 81915 w 104775"/>
                          <a:gd name="connsiteY18" fmla="*/ 15240 h 127635"/>
                          <a:gd name="connsiteX19" fmla="*/ 70485 w 104775"/>
                          <a:gd name="connsiteY19" fmla="*/ 3810 h 127635"/>
                          <a:gd name="connsiteX20" fmla="*/ 59055 w 104775"/>
                          <a:gd name="connsiteY20" fmla="*/ 0 h 127635"/>
                          <a:gd name="connsiteX21" fmla="*/ 45720 w 104775"/>
                          <a:gd name="connsiteY21" fmla="*/ 1905 h 127635"/>
                          <a:gd name="connsiteX22" fmla="*/ 43815 w 104775"/>
                          <a:gd name="connsiteY22" fmla="*/ 19050 h 127635"/>
                          <a:gd name="connsiteX23" fmla="*/ 41910 w 104775"/>
                          <a:gd name="connsiteY23" fmla="*/ 30480 h 127635"/>
                          <a:gd name="connsiteX24" fmla="*/ 40005 w 104775"/>
                          <a:gd name="connsiteY24" fmla="*/ 43815 h 127635"/>
                          <a:gd name="connsiteX25" fmla="*/ 28575 w 104775"/>
                          <a:gd name="connsiteY25" fmla="*/ 49530 h 127635"/>
                          <a:gd name="connsiteX26" fmla="*/ 3810 w 104775"/>
                          <a:gd name="connsiteY26" fmla="*/ 51435 h 127635"/>
                          <a:gd name="connsiteX27" fmla="*/ 1905 w 104775"/>
                          <a:gd name="connsiteY27" fmla="*/ 59055 h 127635"/>
                          <a:gd name="connsiteX28" fmla="*/ 0 w 104775"/>
                          <a:gd name="connsiteY28" fmla="*/ 64770 h 127635"/>
                          <a:gd name="connsiteX29" fmla="*/ 5715 w 104775"/>
                          <a:gd name="connsiteY29" fmla="*/ 78105 h 127635"/>
                          <a:gd name="connsiteX30" fmla="*/ 5715 w 104775"/>
                          <a:gd name="connsiteY30" fmla="*/ 81915 h 127635"/>
                          <a:gd name="connsiteX31" fmla="*/ 5715 w 104775"/>
                          <a:gd name="connsiteY31" fmla="*/ 87630 h 127635"/>
                          <a:gd name="connsiteX0" fmla="*/ 24765 w 104775"/>
                          <a:gd name="connsiteY0" fmla="*/ 80010 h 127635"/>
                          <a:gd name="connsiteX1" fmla="*/ 19050 w 104775"/>
                          <a:gd name="connsiteY1" fmla="*/ 83820 h 127635"/>
                          <a:gd name="connsiteX2" fmla="*/ 19050 w 104775"/>
                          <a:gd name="connsiteY2" fmla="*/ 106680 h 127635"/>
                          <a:gd name="connsiteX3" fmla="*/ 24765 w 104775"/>
                          <a:gd name="connsiteY3" fmla="*/ 110490 h 127635"/>
                          <a:gd name="connsiteX4" fmla="*/ 28575 w 104775"/>
                          <a:gd name="connsiteY4" fmla="*/ 116205 h 127635"/>
                          <a:gd name="connsiteX5" fmla="*/ 32385 w 104775"/>
                          <a:gd name="connsiteY5" fmla="*/ 127635 h 127635"/>
                          <a:gd name="connsiteX6" fmla="*/ 81915 w 104775"/>
                          <a:gd name="connsiteY6" fmla="*/ 125730 h 127635"/>
                          <a:gd name="connsiteX7" fmla="*/ 87630 w 104775"/>
                          <a:gd name="connsiteY7" fmla="*/ 123825 h 127635"/>
                          <a:gd name="connsiteX8" fmla="*/ 89535 w 104775"/>
                          <a:gd name="connsiteY8" fmla="*/ 118110 h 127635"/>
                          <a:gd name="connsiteX9" fmla="*/ 93345 w 104775"/>
                          <a:gd name="connsiteY9" fmla="*/ 112395 h 127635"/>
                          <a:gd name="connsiteX10" fmla="*/ 95250 w 104775"/>
                          <a:gd name="connsiteY10" fmla="*/ 99060 h 127635"/>
                          <a:gd name="connsiteX11" fmla="*/ 100965 w 104775"/>
                          <a:gd name="connsiteY11" fmla="*/ 95250 h 127635"/>
                          <a:gd name="connsiteX12" fmla="*/ 104775 w 104775"/>
                          <a:gd name="connsiteY12" fmla="*/ 83820 h 127635"/>
                          <a:gd name="connsiteX13" fmla="*/ 100965 w 104775"/>
                          <a:gd name="connsiteY13" fmla="*/ 57150 h 127635"/>
                          <a:gd name="connsiteX14" fmla="*/ 99060 w 104775"/>
                          <a:gd name="connsiteY14" fmla="*/ 49530 h 127635"/>
                          <a:gd name="connsiteX15" fmla="*/ 95250 w 104775"/>
                          <a:gd name="connsiteY15" fmla="*/ 43815 h 127635"/>
                          <a:gd name="connsiteX16" fmla="*/ 91440 w 104775"/>
                          <a:gd name="connsiteY16" fmla="*/ 32385 h 127635"/>
                          <a:gd name="connsiteX17" fmla="*/ 81915 w 104775"/>
                          <a:gd name="connsiteY17" fmla="*/ 15240 h 127635"/>
                          <a:gd name="connsiteX18" fmla="*/ 70485 w 104775"/>
                          <a:gd name="connsiteY18" fmla="*/ 3810 h 127635"/>
                          <a:gd name="connsiteX19" fmla="*/ 59055 w 104775"/>
                          <a:gd name="connsiteY19" fmla="*/ 0 h 127635"/>
                          <a:gd name="connsiteX20" fmla="*/ 45720 w 104775"/>
                          <a:gd name="connsiteY20" fmla="*/ 1905 h 127635"/>
                          <a:gd name="connsiteX21" fmla="*/ 43815 w 104775"/>
                          <a:gd name="connsiteY21" fmla="*/ 19050 h 127635"/>
                          <a:gd name="connsiteX22" fmla="*/ 41910 w 104775"/>
                          <a:gd name="connsiteY22" fmla="*/ 30480 h 127635"/>
                          <a:gd name="connsiteX23" fmla="*/ 40005 w 104775"/>
                          <a:gd name="connsiteY23" fmla="*/ 43815 h 127635"/>
                          <a:gd name="connsiteX24" fmla="*/ 28575 w 104775"/>
                          <a:gd name="connsiteY24" fmla="*/ 49530 h 127635"/>
                          <a:gd name="connsiteX25" fmla="*/ 3810 w 104775"/>
                          <a:gd name="connsiteY25" fmla="*/ 51435 h 127635"/>
                          <a:gd name="connsiteX26" fmla="*/ 1905 w 104775"/>
                          <a:gd name="connsiteY26" fmla="*/ 59055 h 127635"/>
                          <a:gd name="connsiteX27" fmla="*/ 0 w 104775"/>
                          <a:gd name="connsiteY27" fmla="*/ 64770 h 127635"/>
                          <a:gd name="connsiteX28" fmla="*/ 5715 w 104775"/>
                          <a:gd name="connsiteY28" fmla="*/ 78105 h 127635"/>
                          <a:gd name="connsiteX29" fmla="*/ 5715 w 104775"/>
                          <a:gd name="connsiteY29" fmla="*/ 81915 h 127635"/>
                          <a:gd name="connsiteX30" fmla="*/ 5715 w 104775"/>
                          <a:gd name="connsiteY30" fmla="*/ 87630 h 127635"/>
                          <a:gd name="connsiteX0" fmla="*/ 24765 w 104775"/>
                          <a:gd name="connsiteY0" fmla="*/ 80010 h 127635"/>
                          <a:gd name="connsiteX1" fmla="*/ 19050 w 104775"/>
                          <a:gd name="connsiteY1" fmla="*/ 106680 h 127635"/>
                          <a:gd name="connsiteX2" fmla="*/ 24765 w 104775"/>
                          <a:gd name="connsiteY2" fmla="*/ 110490 h 127635"/>
                          <a:gd name="connsiteX3" fmla="*/ 28575 w 104775"/>
                          <a:gd name="connsiteY3" fmla="*/ 116205 h 127635"/>
                          <a:gd name="connsiteX4" fmla="*/ 32385 w 104775"/>
                          <a:gd name="connsiteY4" fmla="*/ 127635 h 127635"/>
                          <a:gd name="connsiteX5" fmla="*/ 81915 w 104775"/>
                          <a:gd name="connsiteY5" fmla="*/ 125730 h 127635"/>
                          <a:gd name="connsiteX6" fmla="*/ 87630 w 104775"/>
                          <a:gd name="connsiteY6" fmla="*/ 123825 h 127635"/>
                          <a:gd name="connsiteX7" fmla="*/ 89535 w 104775"/>
                          <a:gd name="connsiteY7" fmla="*/ 118110 h 127635"/>
                          <a:gd name="connsiteX8" fmla="*/ 93345 w 104775"/>
                          <a:gd name="connsiteY8" fmla="*/ 112395 h 127635"/>
                          <a:gd name="connsiteX9" fmla="*/ 95250 w 104775"/>
                          <a:gd name="connsiteY9" fmla="*/ 99060 h 127635"/>
                          <a:gd name="connsiteX10" fmla="*/ 100965 w 104775"/>
                          <a:gd name="connsiteY10" fmla="*/ 95250 h 127635"/>
                          <a:gd name="connsiteX11" fmla="*/ 104775 w 104775"/>
                          <a:gd name="connsiteY11" fmla="*/ 83820 h 127635"/>
                          <a:gd name="connsiteX12" fmla="*/ 100965 w 104775"/>
                          <a:gd name="connsiteY12" fmla="*/ 57150 h 127635"/>
                          <a:gd name="connsiteX13" fmla="*/ 99060 w 104775"/>
                          <a:gd name="connsiteY13" fmla="*/ 49530 h 127635"/>
                          <a:gd name="connsiteX14" fmla="*/ 95250 w 104775"/>
                          <a:gd name="connsiteY14" fmla="*/ 43815 h 127635"/>
                          <a:gd name="connsiteX15" fmla="*/ 91440 w 104775"/>
                          <a:gd name="connsiteY15" fmla="*/ 32385 h 127635"/>
                          <a:gd name="connsiteX16" fmla="*/ 81915 w 104775"/>
                          <a:gd name="connsiteY16" fmla="*/ 15240 h 127635"/>
                          <a:gd name="connsiteX17" fmla="*/ 70485 w 104775"/>
                          <a:gd name="connsiteY17" fmla="*/ 3810 h 127635"/>
                          <a:gd name="connsiteX18" fmla="*/ 59055 w 104775"/>
                          <a:gd name="connsiteY18" fmla="*/ 0 h 127635"/>
                          <a:gd name="connsiteX19" fmla="*/ 45720 w 104775"/>
                          <a:gd name="connsiteY19" fmla="*/ 1905 h 127635"/>
                          <a:gd name="connsiteX20" fmla="*/ 43815 w 104775"/>
                          <a:gd name="connsiteY20" fmla="*/ 19050 h 127635"/>
                          <a:gd name="connsiteX21" fmla="*/ 41910 w 104775"/>
                          <a:gd name="connsiteY21" fmla="*/ 30480 h 127635"/>
                          <a:gd name="connsiteX22" fmla="*/ 40005 w 104775"/>
                          <a:gd name="connsiteY22" fmla="*/ 43815 h 127635"/>
                          <a:gd name="connsiteX23" fmla="*/ 28575 w 104775"/>
                          <a:gd name="connsiteY23" fmla="*/ 49530 h 127635"/>
                          <a:gd name="connsiteX24" fmla="*/ 3810 w 104775"/>
                          <a:gd name="connsiteY24" fmla="*/ 51435 h 127635"/>
                          <a:gd name="connsiteX25" fmla="*/ 1905 w 104775"/>
                          <a:gd name="connsiteY25" fmla="*/ 59055 h 127635"/>
                          <a:gd name="connsiteX26" fmla="*/ 0 w 104775"/>
                          <a:gd name="connsiteY26" fmla="*/ 64770 h 127635"/>
                          <a:gd name="connsiteX27" fmla="*/ 5715 w 104775"/>
                          <a:gd name="connsiteY27" fmla="*/ 78105 h 127635"/>
                          <a:gd name="connsiteX28" fmla="*/ 5715 w 104775"/>
                          <a:gd name="connsiteY28" fmla="*/ 81915 h 127635"/>
                          <a:gd name="connsiteX29" fmla="*/ 5715 w 104775"/>
                          <a:gd name="connsiteY29" fmla="*/ 8763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5715 w 104775"/>
                          <a:gd name="connsiteY28" fmla="*/ 8763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17145 w 104775"/>
                          <a:gd name="connsiteY28" fmla="*/ 110490 h 127635"/>
                          <a:gd name="connsiteX0" fmla="*/ 19050 w 104775"/>
                          <a:gd name="connsiteY0" fmla="*/ 106680 h 127635"/>
                          <a:gd name="connsiteX1" fmla="*/ 24765 w 104775"/>
                          <a:gd name="connsiteY1" fmla="*/ 110490 h 127635"/>
                          <a:gd name="connsiteX2" fmla="*/ 28575 w 104775"/>
                          <a:gd name="connsiteY2" fmla="*/ 116205 h 127635"/>
                          <a:gd name="connsiteX3" fmla="*/ 32385 w 104775"/>
                          <a:gd name="connsiteY3" fmla="*/ 127635 h 127635"/>
                          <a:gd name="connsiteX4" fmla="*/ 81915 w 104775"/>
                          <a:gd name="connsiteY4" fmla="*/ 125730 h 127635"/>
                          <a:gd name="connsiteX5" fmla="*/ 87630 w 104775"/>
                          <a:gd name="connsiteY5" fmla="*/ 123825 h 127635"/>
                          <a:gd name="connsiteX6" fmla="*/ 89535 w 104775"/>
                          <a:gd name="connsiteY6" fmla="*/ 118110 h 127635"/>
                          <a:gd name="connsiteX7" fmla="*/ 93345 w 104775"/>
                          <a:gd name="connsiteY7" fmla="*/ 112395 h 127635"/>
                          <a:gd name="connsiteX8" fmla="*/ 95250 w 104775"/>
                          <a:gd name="connsiteY8" fmla="*/ 99060 h 127635"/>
                          <a:gd name="connsiteX9" fmla="*/ 100965 w 104775"/>
                          <a:gd name="connsiteY9" fmla="*/ 95250 h 127635"/>
                          <a:gd name="connsiteX10" fmla="*/ 104775 w 104775"/>
                          <a:gd name="connsiteY10" fmla="*/ 83820 h 127635"/>
                          <a:gd name="connsiteX11" fmla="*/ 100965 w 104775"/>
                          <a:gd name="connsiteY11" fmla="*/ 57150 h 127635"/>
                          <a:gd name="connsiteX12" fmla="*/ 99060 w 104775"/>
                          <a:gd name="connsiteY12" fmla="*/ 49530 h 127635"/>
                          <a:gd name="connsiteX13" fmla="*/ 95250 w 104775"/>
                          <a:gd name="connsiteY13" fmla="*/ 43815 h 127635"/>
                          <a:gd name="connsiteX14" fmla="*/ 91440 w 104775"/>
                          <a:gd name="connsiteY14" fmla="*/ 32385 h 127635"/>
                          <a:gd name="connsiteX15" fmla="*/ 81915 w 104775"/>
                          <a:gd name="connsiteY15" fmla="*/ 15240 h 127635"/>
                          <a:gd name="connsiteX16" fmla="*/ 70485 w 104775"/>
                          <a:gd name="connsiteY16" fmla="*/ 3810 h 127635"/>
                          <a:gd name="connsiteX17" fmla="*/ 59055 w 104775"/>
                          <a:gd name="connsiteY17" fmla="*/ 0 h 127635"/>
                          <a:gd name="connsiteX18" fmla="*/ 45720 w 104775"/>
                          <a:gd name="connsiteY18" fmla="*/ 1905 h 127635"/>
                          <a:gd name="connsiteX19" fmla="*/ 43815 w 104775"/>
                          <a:gd name="connsiteY19" fmla="*/ 19050 h 127635"/>
                          <a:gd name="connsiteX20" fmla="*/ 41910 w 104775"/>
                          <a:gd name="connsiteY20" fmla="*/ 30480 h 127635"/>
                          <a:gd name="connsiteX21" fmla="*/ 40005 w 104775"/>
                          <a:gd name="connsiteY21" fmla="*/ 43815 h 127635"/>
                          <a:gd name="connsiteX22" fmla="*/ 28575 w 104775"/>
                          <a:gd name="connsiteY22" fmla="*/ 49530 h 127635"/>
                          <a:gd name="connsiteX23" fmla="*/ 3810 w 104775"/>
                          <a:gd name="connsiteY23" fmla="*/ 51435 h 127635"/>
                          <a:gd name="connsiteX24" fmla="*/ 1905 w 104775"/>
                          <a:gd name="connsiteY24" fmla="*/ 59055 h 127635"/>
                          <a:gd name="connsiteX25" fmla="*/ 0 w 104775"/>
                          <a:gd name="connsiteY25" fmla="*/ 64770 h 127635"/>
                          <a:gd name="connsiteX26" fmla="*/ 5715 w 104775"/>
                          <a:gd name="connsiteY26" fmla="*/ 78105 h 127635"/>
                          <a:gd name="connsiteX27" fmla="*/ 5715 w 104775"/>
                          <a:gd name="connsiteY27" fmla="*/ 81915 h 127635"/>
                          <a:gd name="connsiteX28" fmla="*/ 17145 w 104775"/>
                          <a:gd name="connsiteY28" fmla="*/ 110490 h 127635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81915 w 104775"/>
                          <a:gd name="connsiteY15" fmla="*/ 16019 h 128414"/>
                          <a:gd name="connsiteX16" fmla="*/ 70485 w 104775"/>
                          <a:gd name="connsiteY16" fmla="*/ 4589 h 128414"/>
                          <a:gd name="connsiteX17" fmla="*/ 59055 w 104775"/>
                          <a:gd name="connsiteY17" fmla="*/ 779 h 128414"/>
                          <a:gd name="connsiteX18" fmla="*/ 45720 w 104775"/>
                          <a:gd name="connsiteY18" fmla="*/ 2684 h 128414"/>
                          <a:gd name="connsiteX19" fmla="*/ 41910 w 104775"/>
                          <a:gd name="connsiteY19" fmla="*/ 31259 h 128414"/>
                          <a:gd name="connsiteX20" fmla="*/ 40005 w 104775"/>
                          <a:gd name="connsiteY20" fmla="*/ 44594 h 128414"/>
                          <a:gd name="connsiteX21" fmla="*/ 28575 w 104775"/>
                          <a:gd name="connsiteY21" fmla="*/ 50309 h 128414"/>
                          <a:gd name="connsiteX22" fmla="*/ 3810 w 104775"/>
                          <a:gd name="connsiteY22" fmla="*/ 52214 h 128414"/>
                          <a:gd name="connsiteX23" fmla="*/ 1905 w 104775"/>
                          <a:gd name="connsiteY23" fmla="*/ 59834 h 128414"/>
                          <a:gd name="connsiteX24" fmla="*/ 0 w 104775"/>
                          <a:gd name="connsiteY24" fmla="*/ 65549 h 128414"/>
                          <a:gd name="connsiteX25" fmla="*/ 5715 w 104775"/>
                          <a:gd name="connsiteY25" fmla="*/ 78884 h 128414"/>
                          <a:gd name="connsiteX26" fmla="*/ 5715 w 104775"/>
                          <a:gd name="connsiteY26" fmla="*/ 82694 h 128414"/>
                          <a:gd name="connsiteX27" fmla="*/ 17145 w 104775"/>
                          <a:gd name="connsiteY27" fmla="*/ 111269 h 128414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70485 w 104775"/>
                          <a:gd name="connsiteY15" fmla="*/ 4589 h 128414"/>
                          <a:gd name="connsiteX16" fmla="*/ 59055 w 104775"/>
                          <a:gd name="connsiteY16" fmla="*/ 779 h 128414"/>
                          <a:gd name="connsiteX17" fmla="*/ 45720 w 104775"/>
                          <a:gd name="connsiteY17" fmla="*/ 2684 h 128414"/>
                          <a:gd name="connsiteX18" fmla="*/ 41910 w 104775"/>
                          <a:gd name="connsiteY18" fmla="*/ 31259 h 128414"/>
                          <a:gd name="connsiteX19" fmla="*/ 40005 w 104775"/>
                          <a:gd name="connsiteY19" fmla="*/ 44594 h 128414"/>
                          <a:gd name="connsiteX20" fmla="*/ 28575 w 104775"/>
                          <a:gd name="connsiteY20" fmla="*/ 50309 h 128414"/>
                          <a:gd name="connsiteX21" fmla="*/ 3810 w 104775"/>
                          <a:gd name="connsiteY21" fmla="*/ 52214 h 128414"/>
                          <a:gd name="connsiteX22" fmla="*/ 1905 w 104775"/>
                          <a:gd name="connsiteY22" fmla="*/ 59834 h 128414"/>
                          <a:gd name="connsiteX23" fmla="*/ 0 w 104775"/>
                          <a:gd name="connsiteY23" fmla="*/ 65549 h 128414"/>
                          <a:gd name="connsiteX24" fmla="*/ 5715 w 104775"/>
                          <a:gd name="connsiteY24" fmla="*/ 78884 h 128414"/>
                          <a:gd name="connsiteX25" fmla="*/ 5715 w 104775"/>
                          <a:gd name="connsiteY25" fmla="*/ 82694 h 128414"/>
                          <a:gd name="connsiteX26" fmla="*/ 17145 w 104775"/>
                          <a:gd name="connsiteY26" fmla="*/ 111269 h 128414"/>
                          <a:gd name="connsiteX0" fmla="*/ 19050 w 104775"/>
                          <a:gd name="connsiteY0" fmla="*/ 107459 h 128414"/>
                          <a:gd name="connsiteX1" fmla="*/ 24765 w 104775"/>
                          <a:gd name="connsiteY1" fmla="*/ 111269 h 128414"/>
                          <a:gd name="connsiteX2" fmla="*/ 28575 w 104775"/>
                          <a:gd name="connsiteY2" fmla="*/ 116984 h 128414"/>
                          <a:gd name="connsiteX3" fmla="*/ 32385 w 104775"/>
                          <a:gd name="connsiteY3" fmla="*/ 128414 h 128414"/>
                          <a:gd name="connsiteX4" fmla="*/ 81915 w 104775"/>
                          <a:gd name="connsiteY4" fmla="*/ 126509 h 128414"/>
                          <a:gd name="connsiteX5" fmla="*/ 87630 w 104775"/>
                          <a:gd name="connsiteY5" fmla="*/ 124604 h 128414"/>
                          <a:gd name="connsiteX6" fmla="*/ 89535 w 104775"/>
                          <a:gd name="connsiteY6" fmla="*/ 118889 h 128414"/>
                          <a:gd name="connsiteX7" fmla="*/ 93345 w 104775"/>
                          <a:gd name="connsiteY7" fmla="*/ 113174 h 128414"/>
                          <a:gd name="connsiteX8" fmla="*/ 95250 w 104775"/>
                          <a:gd name="connsiteY8" fmla="*/ 99839 h 128414"/>
                          <a:gd name="connsiteX9" fmla="*/ 100965 w 104775"/>
                          <a:gd name="connsiteY9" fmla="*/ 96029 h 128414"/>
                          <a:gd name="connsiteX10" fmla="*/ 104775 w 104775"/>
                          <a:gd name="connsiteY10" fmla="*/ 84599 h 128414"/>
                          <a:gd name="connsiteX11" fmla="*/ 100965 w 104775"/>
                          <a:gd name="connsiteY11" fmla="*/ 57929 h 128414"/>
                          <a:gd name="connsiteX12" fmla="*/ 99060 w 104775"/>
                          <a:gd name="connsiteY12" fmla="*/ 50309 h 128414"/>
                          <a:gd name="connsiteX13" fmla="*/ 95250 w 104775"/>
                          <a:gd name="connsiteY13" fmla="*/ 44594 h 128414"/>
                          <a:gd name="connsiteX14" fmla="*/ 91440 w 104775"/>
                          <a:gd name="connsiteY14" fmla="*/ 33164 h 128414"/>
                          <a:gd name="connsiteX15" fmla="*/ 70485 w 104775"/>
                          <a:gd name="connsiteY15" fmla="*/ 4589 h 128414"/>
                          <a:gd name="connsiteX16" fmla="*/ 59055 w 104775"/>
                          <a:gd name="connsiteY16" fmla="*/ 779 h 128414"/>
                          <a:gd name="connsiteX17" fmla="*/ 45720 w 104775"/>
                          <a:gd name="connsiteY17" fmla="*/ 2684 h 128414"/>
                          <a:gd name="connsiteX18" fmla="*/ 41910 w 104775"/>
                          <a:gd name="connsiteY18" fmla="*/ 31259 h 128414"/>
                          <a:gd name="connsiteX19" fmla="*/ 40005 w 104775"/>
                          <a:gd name="connsiteY19" fmla="*/ 44594 h 128414"/>
                          <a:gd name="connsiteX20" fmla="*/ 3810 w 104775"/>
                          <a:gd name="connsiteY20" fmla="*/ 52214 h 128414"/>
                          <a:gd name="connsiteX21" fmla="*/ 1905 w 104775"/>
                          <a:gd name="connsiteY21" fmla="*/ 59834 h 128414"/>
                          <a:gd name="connsiteX22" fmla="*/ 0 w 104775"/>
                          <a:gd name="connsiteY22" fmla="*/ 65549 h 128414"/>
                          <a:gd name="connsiteX23" fmla="*/ 5715 w 104775"/>
                          <a:gd name="connsiteY23" fmla="*/ 78884 h 128414"/>
                          <a:gd name="connsiteX24" fmla="*/ 5715 w 104775"/>
                          <a:gd name="connsiteY24" fmla="*/ 82694 h 128414"/>
                          <a:gd name="connsiteX25" fmla="*/ 17145 w 104775"/>
                          <a:gd name="connsiteY25" fmla="*/ 111269 h 128414"/>
                          <a:gd name="connsiteX0" fmla="*/ 19050 w 104775"/>
                          <a:gd name="connsiteY0" fmla="*/ 107492 h 128447"/>
                          <a:gd name="connsiteX1" fmla="*/ 24765 w 104775"/>
                          <a:gd name="connsiteY1" fmla="*/ 111302 h 128447"/>
                          <a:gd name="connsiteX2" fmla="*/ 28575 w 104775"/>
                          <a:gd name="connsiteY2" fmla="*/ 117017 h 128447"/>
                          <a:gd name="connsiteX3" fmla="*/ 32385 w 104775"/>
                          <a:gd name="connsiteY3" fmla="*/ 128447 h 128447"/>
                          <a:gd name="connsiteX4" fmla="*/ 81915 w 104775"/>
                          <a:gd name="connsiteY4" fmla="*/ 126542 h 128447"/>
                          <a:gd name="connsiteX5" fmla="*/ 87630 w 104775"/>
                          <a:gd name="connsiteY5" fmla="*/ 124637 h 128447"/>
                          <a:gd name="connsiteX6" fmla="*/ 89535 w 104775"/>
                          <a:gd name="connsiteY6" fmla="*/ 118922 h 128447"/>
                          <a:gd name="connsiteX7" fmla="*/ 93345 w 104775"/>
                          <a:gd name="connsiteY7" fmla="*/ 113207 h 128447"/>
                          <a:gd name="connsiteX8" fmla="*/ 95250 w 104775"/>
                          <a:gd name="connsiteY8" fmla="*/ 99872 h 128447"/>
                          <a:gd name="connsiteX9" fmla="*/ 100965 w 104775"/>
                          <a:gd name="connsiteY9" fmla="*/ 96062 h 128447"/>
                          <a:gd name="connsiteX10" fmla="*/ 104775 w 104775"/>
                          <a:gd name="connsiteY10" fmla="*/ 84632 h 128447"/>
                          <a:gd name="connsiteX11" fmla="*/ 100965 w 104775"/>
                          <a:gd name="connsiteY11" fmla="*/ 57962 h 128447"/>
                          <a:gd name="connsiteX12" fmla="*/ 99060 w 104775"/>
                          <a:gd name="connsiteY12" fmla="*/ 50342 h 128447"/>
                          <a:gd name="connsiteX13" fmla="*/ 95250 w 104775"/>
                          <a:gd name="connsiteY13" fmla="*/ 44627 h 128447"/>
                          <a:gd name="connsiteX14" fmla="*/ 91440 w 104775"/>
                          <a:gd name="connsiteY14" fmla="*/ 33197 h 128447"/>
                          <a:gd name="connsiteX15" fmla="*/ 70485 w 104775"/>
                          <a:gd name="connsiteY15" fmla="*/ 4622 h 128447"/>
                          <a:gd name="connsiteX16" fmla="*/ 45720 w 104775"/>
                          <a:gd name="connsiteY16" fmla="*/ 2717 h 128447"/>
                          <a:gd name="connsiteX17" fmla="*/ 41910 w 104775"/>
                          <a:gd name="connsiteY17" fmla="*/ 31292 h 128447"/>
                          <a:gd name="connsiteX18" fmla="*/ 40005 w 104775"/>
                          <a:gd name="connsiteY18" fmla="*/ 44627 h 128447"/>
                          <a:gd name="connsiteX19" fmla="*/ 3810 w 104775"/>
                          <a:gd name="connsiteY19" fmla="*/ 52247 h 128447"/>
                          <a:gd name="connsiteX20" fmla="*/ 1905 w 104775"/>
                          <a:gd name="connsiteY20" fmla="*/ 59867 h 128447"/>
                          <a:gd name="connsiteX21" fmla="*/ 0 w 104775"/>
                          <a:gd name="connsiteY21" fmla="*/ 65582 h 128447"/>
                          <a:gd name="connsiteX22" fmla="*/ 5715 w 104775"/>
                          <a:gd name="connsiteY22" fmla="*/ 78917 h 128447"/>
                          <a:gd name="connsiteX23" fmla="*/ 5715 w 104775"/>
                          <a:gd name="connsiteY23" fmla="*/ 82727 h 128447"/>
                          <a:gd name="connsiteX24" fmla="*/ 17145 w 104775"/>
                          <a:gd name="connsiteY24" fmla="*/ 111302 h 128447"/>
                          <a:gd name="connsiteX0" fmla="*/ 19050 w 104775"/>
                          <a:gd name="connsiteY0" fmla="*/ 102874 h 123829"/>
                          <a:gd name="connsiteX1" fmla="*/ 24765 w 104775"/>
                          <a:gd name="connsiteY1" fmla="*/ 106684 h 123829"/>
                          <a:gd name="connsiteX2" fmla="*/ 28575 w 104775"/>
                          <a:gd name="connsiteY2" fmla="*/ 112399 h 123829"/>
                          <a:gd name="connsiteX3" fmla="*/ 32385 w 104775"/>
                          <a:gd name="connsiteY3" fmla="*/ 123829 h 123829"/>
                          <a:gd name="connsiteX4" fmla="*/ 81915 w 104775"/>
                          <a:gd name="connsiteY4" fmla="*/ 121924 h 123829"/>
                          <a:gd name="connsiteX5" fmla="*/ 87630 w 104775"/>
                          <a:gd name="connsiteY5" fmla="*/ 120019 h 123829"/>
                          <a:gd name="connsiteX6" fmla="*/ 89535 w 104775"/>
                          <a:gd name="connsiteY6" fmla="*/ 114304 h 123829"/>
                          <a:gd name="connsiteX7" fmla="*/ 93345 w 104775"/>
                          <a:gd name="connsiteY7" fmla="*/ 108589 h 123829"/>
                          <a:gd name="connsiteX8" fmla="*/ 95250 w 104775"/>
                          <a:gd name="connsiteY8" fmla="*/ 95254 h 123829"/>
                          <a:gd name="connsiteX9" fmla="*/ 100965 w 104775"/>
                          <a:gd name="connsiteY9" fmla="*/ 91444 h 123829"/>
                          <a:gd name="connsiteX10" fmla="*/ 104775 w 104775"/>
                          <a:gd name="connsiteY10" fmla="*/ 80014 h 123829"/>
                          <a:gd name="connsiteX11" fmla="*/ 100965 w 104775"/>
                          <a:gd name="connsiteY11" fmla="*/ 53344 h 123829"/>
                          <a:gd name="connsiteX12" fmla="*/ 99060 w 104775"/>
                          <a:gd name="connsiteY12" fmla="*/ 45724 h 123829"/>
                          <a:gd name="connsiteX13" fmla="*/ 95250 w 104775"/>
                          <a:gd name="connsiteY13" fmla="*/ 40009 h 123829"/>
                          <a:gd name="connsiteX14" fmla="*/ 91440 w 104775"/>
                          <a:gd name="connsiteY14" fmla="*/ 28579 h 123829"/>
                          <a:gd name="connsiteX15" fmla="*/ 70485 w 104775"/>
                          <a:gd name="connsiteY15" fmla="*/ 4 h 123829"/>
                          <a:gd name="connsiteX16" fmla="*/ 41910 w 104775"/>
                          <a:gd name="connsiteY16" fmla="*/ 26674 h 123829"/>
                          <a:gd name="connsiteX17" fmla="*/ 40005 w 104775"/>
                          <a:gd name="connsiteY17" fmla="*/ 40009 h 123829"/>
                          <a:gd name="connsiteX18" fmla="*/ 3810 w 104775"/>
                          <a:gd name="connsiteY18" fmla="*/ 47629 h 123829"/>
                          <a:gd name="connsiteX19" fmla="*/ 1905 w 104775"/>
                          <a:gd name="connsiteY19" fmla="*/ 55249 h 123829"/>
                          <a:gd name="connsiteX20" fmla="*/ 0 w 104775"/>
                          <a:gd name="connsiteY20" fmla="*/ 60964 h 123829"/>
                          <a:gd name="connsiteX21" fmla="*/ 5715 w 104775"/>
                          <a:gd name="connsiteY21" fmla="*/ 74299 h 123829"/>
                          <a:gd name="connsiteX22" fmla="*/ 5715 w 104775"/>
                          <a:gd name="connsiteY22" fmla="*/ 78109 h 123829"/>
                          <a:gd name="connsiteX23" fmla="*/ 17145 w 104775"/>
                          <a:gd name="connsiteY23" fmla="*/ 106684 h 123829"/>
                          <a:gd name="connsiteX0" fmla="*/ 19050 w 104775"/>
                          <a:gd name="connsiteY0" fmla="*/ 77050 h 98005"/>
                          <a:gd name="connsiteX1" fmla="*/ 24765 w 104775"/>
                          <a:gd name="connsiteY1" fmla="*/ 80860 h 98005"/>
                          <a:gd name="connsiteX2" fmla="*/ 28575 w 104775"/>
                          <a:gd name="connsiteY2" fmla="*/ 86575 h 98005"/>
                          <a:gd name="connsiteX3" fmla="*/ 32385 w 104775"/>
                          <a:gd name="connsiteY3" fmla="*/ 98005 h 98005"/>
                          <a:gd name="connsiteX4" fmla="*/ 81915 w 104775"/>
                          <a:gd name="connsiteY4" fmla="*/ 96100 h 98005"/>
                          <a:gd name="connsiteX5" fmla="*/ 87630 w 104775"/>
                          <a:gd name="connsiteY5" fmla="*/ 94195 h 98005"/>
                          <a:gd name="connsiteX6" fmla="*/ 89535 w 104775"/>
                          <a:gd name="connsiteY6" fmla="*/ 88480 h 98005"/>
                          <a:gd name="connsiteX7" fmla="*/ 93345 w 104775"/>
                          <a:gd name="connsiteY7" fmla="*/ 82765 h 98005"/>
                          <a:gd name="connsiteX8" fmla="*/ 95250 w 104775"/>
                          <a:gd name="connsiteY8" fmla="*/ 69430 h 98005"/>
                          <a:gd name="connsiteX9" fmla="*/ 100965 w 104775"/>
                          <a:gd name="connsiteY9" fmla="*/ 65620 h 98005"/>
                          <a:gd name="connsiteX10" fmla="*/ 104775 w 104775"/>
                          <a:gd name="connsiteY10" fmla="*/ 54190 h 98005"/>
                          <a:gd name="connsiteX11" fmla="*/ 100965 w 104775"/>
                          <a:gd name="connsiteY11" fmla="*/ 27520 h 98005"/>
                          <a:gd name="connsiteX12" fmla="*/ 99060 w 104775"/>
                          <a:gd name="connsiteY12" fmla="*/ 19900 h 98005"/>
                          <a:gd name="connsiteX13" fmla="*/ 95250 w 104775"/>
                          <a:gd name="connsiteY13" fmla="*/ 14185 h 98005"/>
                          <a:gd name="connsiteX14" fmla="*/ 91440 w 104775"/>
                          <a:gd name="connsiteY14" fmla="*/ 2755 h 98005"/>
                          <a:gd name="connsiteX15" fmla="*/ 41910 w 104775"/>
                          <a:gd name="connsiteY15" fmla="*/ 850 h 98005"/>
                          <a:gd name="connsiteX16" fmla="*/ 40005 w 104775"/>
                          <a:gd name="connsiteY16" fmla="*/ 14185 h 98005"/>
                          <a:gd name="connsiteX17" fmla="*/ 3810 w 104775"/>
                          <a:gd name="connsiteY17" fmla="*/ 21805 h 98005"/>
                          <a:gd name="connsiteX18" fmla="*/ 1905 w 104775"/>
                          <a:gd name="connsiteY18" fmla="*/ 29425 h 98005"/>
                          <a:gd name="connsiteX19" fmla="*/ 0 w 104775"/>
                          <a:gd name="connsiteY19" fmla="*/ 35140 h 98005"/>
                          <a:gd name="connsiteX20" fmla="*/ 5715 w 104775"/>
                          <a:gd name="connsiteY20" fmla="*/ 48475 h 98005"/>
                          <a:gd name="connsiteX21" fmla="*/ 5715 w 104775"/>
                          <a:gd name="connsiteY21" fmla="*/ 52285 h 98005"/>
                          <a:gd name="connsiteX22" fmla="*/ 17145 w 104775"/>
                          <a:gd name="connsiteY22" fmla="*/ 80860 h 98005"/>
                          <a:gd name="connsiteX0" fmla="*/ 19050 w 104775"/>
                          <a:gd name="connsiteY0" fmla="*/ 76200 h 97155"/>
                          <a:gd name="connsiteX1" fmla="*/ 24765 w 104775"/>
                          <a:gd name="connsiteY1" fmla="*/ 80010 h 97155"/>
                          <a:gd name="connsiteX2" fmla="*/ 28575 w 104775"/>
                          <a:gd name="connsiteY2" fmla="*/ 85725 h 97155"/>
                          <a:gd name="connsiteX3" fmla="*/ 32385 w 104775"/>
                          <a:gd name="connsiteY3" fmla="*/ 97155 h 97155"/>
                          <a:gd name="connsiteX4" fmla="*/ 81915 w 104775"/>
                          <a:gd name="connsiteY4" fmla="*/ 95250 h 97155"/>
                          <a:gd name="connsiteX5" fmla="*/ 87630 w 104775"/>
                          <a:gd name="connsiteY5" fmla="*/ 93345 h 97155"/>
                          <a:gd name="connsiteX6" fmla="*/ 89535 w 104775"/>
                          <a:gd name="connsiteY6" fmla="*/ 87630 h 97155"/>
                          <a:gd name="connsiteX7" fmla="*/ 93345 w 104775"/>
                          <a:gd name="connsiteY7" fmla="*/ 81915 h 97155"/>
                          <a:gd name="connsiteX8" fmla="*/ 95250 w 104775"/>
                          <a:gd name="connsiteY8" fmla="*/ 68580 h 97155"/>
                          <a:gd name="connsiteX9" fmla="*/ 100965 w 104775"/>
                          <a:gd name="connsiteY9" fmla="*/ 64770 h 97155"/>
                          <a:gd name="connsiteX10" fmla="*/ 104775 w 104775"/>
                          <a:gd name="connsiteY10" fmla="*/ 53340 h 97155"/>
                          <a:gd name="connsiteX11" fmla="*/ 100965 w 104775"/>
                          <a:gd name="connsiteY11" fmla="*/ 26670 h 97155"/>
                          <a:gd name="connsiteX12" fmla="*/ 99060 w 104775"/>
                          <a:gd name="connsiteY12" fmla="*/ 19050 h 97155"/>
                          <a:gd name="connsiteX13" fmla="*/ 95250 w 104775"/>
                          <a:gd name="connsiteY13" fmla="*/ 13335 h 97155"/>
                          <a:gd name="connsiteX14" fmla="*/ 41910 w 104775"/>
                          <a:gd name="connsiteY14" fmla="*/ 0 h 97155"/>
                          <a:gd name="connsiteX15" fmla="*/ 40005 w 104775"/>
                          <a:gd name="connsiteY15" fmla="*/ 13335 h 97155"/>
                          <a:gd name="connsiteX16" fmla="*/ 3810 w 104775"/>
                          <a:gd name="connsiteY16" fmla="*/ 20955 h 97155"/>
                          <a:gd name="connsiteX17" fmla="*/ 1905 w 104775"/>
                          <a:gd name="connsiteY17" fmla="*/ 28575 h 97155"/>
                          <a:gd name="connsiteX18" fmla="*/ 0 w 104775"/>
                          <a:gd name="connsiteY18" fmla="*/ 34290 h 97155"/>
                          <a:gd name="connsiteX19" fmla="*/ 5715 w 104775"/>
                          <a:gd name="connsiteY19" fmla="*/ 47625 h 97155"/>
                          <a:gd name="connsiteX20" fmla="*/ 5715 w 104775"/>
                          <a:gd name="connsiteY20" fmla="*/ 51435 h 97155"/>
                          <a:gd name="connsiteX21" fmla="*/ 17145 w 104775"/>
                          <a:gd name="connsiteY21" fmla="*/ 80010 h 97155"/>
                          <a:gd name="connsiteX0" fmla="*/ 19050 w 104775"/>
                          <a:gd name="connsiteY0" fmla="*/ 76298 h 97253"/>
                          <a:gd name="connsiteX1" fmla="*/ 24765 w 104775"/>
                          <a:gd name="connsiteY1" fmla="*/ 80108 h 97253"/>
                          <a:gd name="connsiteX2" fmla="*/ 28575 w 104775"/>
                          <a:gd name="connsiteY2" fmla="*/ 85823 h 97253"/>
                          <a:gd name="connsiteX3" fmla="*/ 32385 w 104775"/>
                          <a:gd name="connsiteY3" fmla="*/ 97253 h 97253"/>
                          <a:gd name="connsiteX4" fmla="*/ 81915 w 104775"/>
                          <a:gd name="connsiteY4" fmla="*/ 95348 h 97253"/>
                          <a:gd name="connsiteX5" fmla="*/ 87630 w 104775"/>
                          <a:gd name="connsiteY5" fmla="*/ 93443 h 97253"/>
                          <a:gd name="connsiteX6" fmla="*/ 89535 w 104775"/>
                          <a:gd name="connsiteY6" fmla="*/ 87728 h 97253"/>
                          <a:gd name="connsiteX7" fmla="*/ 93345 w 104775"/>
                          <a:gd name="connsiteY7" fmla="*/ 82013 h 97253"/>
                          <a:gd name="connsiteX8" fmla="*/ 95250 w 104775"/>
                          <a:gd name="connsiteY8" fmla="*/ 68678 h 97253"/>
                          <a:gd name="connsiteX9" fmla="*/ 100965 w 104775"/>
                          <a:gd name="connsiteY9" fmla="*/ 64868 h 97253"/>
                          <a:gd name="connsiteX10" fmla="*/ 104775 w 104775"/>
                          <a:gd name="connsiteY10" fmla="*/ 53438 h 97253"/>
                          <a:gd name="connsiteX11" fmla="*/ 100965 w 104775"/>
                          <a:gd name="connsiteY11" fmla="*/ 26768 h 97253"/>
                          <a:gd name="connsiteX12" fmla="*/ 99060 w 104775"/>
                          <a:gd name="connsiteY12" fmla="*/ 19148 h 97253"/>
                          <a:gd name="connsiteX13" fmla="*/ 95250 w 104775"/>
                          <a:gd name="connsiteY13" fmla="*/ 13433 h 97253"/>
                          <a:gd name="connsiteX14" fmla="*/ 41910 w 104775"/>
                          <a:gd name="connsiteY14" fmla="*/ 98 h 97253"/>
                          <a:gd name="connsiteX15" fmla="*/ 3810 w 104775"/>
                          <a:gd name="connsiteY15" fmla="*/ 21053 h 97253"/>
                          <a:gd name="connsiteX16" fmla="*/ 1905 w 104775"/>
                          <a:gd name="connsiteY16" fmla="*/ 28673 h 97253"/>
                          <a:gd name="connsiteX17" fmla="*/ 0 w 104775"/>
                          <a:gd name="connsiteY17" fmla="*/ 34388 h 97253"/>
                          <a:gd name="connsiteX18" fmla="*/ 5715 w 104775"/>
                          <a:gd name="connsiteY18" fmla="*/ 47723 h 97253"/>
                          <a:gd name="connsiteX19" fmla="*/ 5715 w 104775"/>
                          <a:gd name="connsiteY19" fmla="*/ 51533 h 97253"/>
                          <a:gd name="connsiteX20" fmla="*/ 17145 w 104775"/>
                          <a:gd name="connsiteY20" fmla="*/ 80108 h 97253"/>
                          <a:gd name="connsiteX0" fmla="*/ 19050 w 104775"/>
                          <a:gd name="connsiteY0" fmla="*/ 76205 h 97160"/>
                          <a:gd name="connsiteX1" fmla="*/ 24765 w 104775"/>
                          <a:gd name="connsiteY1" fmla="*/ 80015 h 97160"/>
                          <a:gd name="connsiteX2" fmla="*/ 28575 w 104775"/>
                          <a:gd name="connsiteY2" fmla="*/ 85730 h 97160"/>
                          <a:gd name="connsiteX3" fmla="*/ 32385 w 104775"/>
                          <a:gd name="connsiteY3" fmla="*/ 97160 h 97160"/>
                          <a:gd name="connsiteX4" fmla="*/ 81915 w 104775"/>
                          <a:gd name="connsiteY4" fmla="*/ 95255 h 97160"/>
                          <a:gd name="connsiteX5" fmla="*/ 87630 w 104775"/>
                          <a:gd name="connsiteY5" fmla="*/ 93350 h 97160"/>
                          <a:gd name="connsiteX6" fmla="*/ 89535 w 104775"/>
                          <a:gd name="connsiteY6" fmla="*/ 87635 h 97160"/>
                          <a:gd name="connsiteX7" fmla="*/ 93345 w 104775"/>
                          <a:gd name="connsiteY7" fmla="*/ 81920 h 97160"/>
                          <a:gd name="connsiteX8" fmla="*/ 95250 w 104775"/>
                          <a:gd name="connsiteY8" fmla="*/ 68585 h 97160"/>
                          <a:gd name="connsiteX9" fmla="*/ 100965 w 104775"/>
                          <a:gd name="connsiteY9" fmla="*/ 64775 h 97160"/>
                          <a:gd name="connsiteX10" fmla="*/ 104775 w 104775"/>
                          <a:gd name="connsiteY10" fmla="*/ 53345 h 97160"/>
                          <a:gd name="connsiteX11" fmla="*/ 100965 w 104775"/>
                          <a:gd name="connsiteY11" fmla="*/ 26675 h 97160"/>
                          <a:gd name="connsiteX12" fmla="*/ 99060 w 104775"/>
                          <a:gd name="connsiteY12" fmla="*/ 19055 h 97160"/>
                          <a:gd name="connsiteX13" fmla="*/ 41910 w 104775"/>
                          <a:gd name="connsiteY13" fmla="*/ 5 h 97160"/>
                          <a:gd name="connsiteX14" fmla="*/ 3810 w 104775"/>
                          <a:gd name="connsiteY14" fmla="*/ 20960 h 97160"/>
                          <a:gd name="connsiteX15" fmla="*/ 1905 w 104775"/>
                          <a:gd name="connsiteY15" fmla="*/ 28580 h 97160"/>
                          <a:gd name="connsiteX16" fmla="*/ 0 w 104775"/>
                          <a:gd name="connsiteY16" fmla="*/ 34295 h 97160"/>
                          <a:gd name="connsiteX17" fmla="*/ 5715 w 104775"/>
                          <a:gd name="connsiteY17" fmla="*/ 47630 h 97160"/>
                          <a:gd name="connsiteX18" fmla="*/ 5715 w 104775"/>
                          <a:gd name="connsiteY18" fmla="*/ 51440 h 97160"/>
                          <a:gd name="connsiteX19" fmla="*/ 17145 w 104775"/>
                          <a:gd name="connsiteY19" fmla="*/ 80015 h 97160"/>
                          <a:gd name="connsiteX0" fmla="*/ 19050 w 105971"/>
                          <a:gd name="connsiteY0" fmla="*/ 76238 h 97193"/>
                          <a:gd name="connsiteX1" fmla="*/ 24765 w 105971"/>
                          <a:gd name="connsiteY1" fmla="*/ 80048 h 97193"/>
                          <a:gd name="connsiteX2" fmla="*/ 28575 w 105971"/>
                          <a:gd name="connsiteY2" fmla="*/ 85763 h 97193"/>
                          <a:gd name="connsiteX3" fmla="*/ 32385 w 105971"/>
                          <a:gd name="connsiteY3" fmla="*/ 97193 h 97193"/>
                          <a:gd name="connsiteX4" fmla="*/ 81915 w 105971"/>
                          <a:gd name="connsiteY4" fmla="*/ 95288 h 97193"/>
                          <a:gd name="connsiteX5" fmla="*/ 87630 w 105971"/>
                          <a:gd name="connsiteY5" fmla="*/ 93383 h 97193"/>
                          <a:gd name="connsiteX6" fmla="*/ 89535 w 105971"/>
                          <a:gd name="connsiteY6" fmla="*/ 87668 h 97193"/>
                          <a:gd name="connsiteX7" fmla="*/ 93345 w 105971"/>
                          <a:gd name="connsiteY7" fmla="*/ 81953 h 97193"/>
                          <a:gd name="connsiteX8" fmla="*/ 95250 w 105971"/>
                          <a:gd name="connsiteY8" fmla="*/ 68618 h 97193"/>
                          <a:gd name="connsiteX9" fmla="*/ 100965 w 105971"/>
                          <a:gd name="connsiteY9" fmla="*/ 64808 h 97193"/>
                          <a:gd name="connsiteX10" fmla="*/ 104775 w 105971"/>
                          <a:gd name="connsiteY10" fmla="*/ 53378 h 97193"/>
                          <a:gd name="connsiteX11" fmla="*/ 100965 w 105971"/>
                          <a:gd name="connsiteY11" fmla="*/ 26708 h 97193"/>
                          <a:gd name="connsiteX12" fmla="*/ 41910 w 105971"/>
                          <a:gd name="connsiteY12" fmla="*/ 38 h 97193"/>
                          <a:gd name="connsiteX13" fmla="*/ 3810 w 105971"/>
                          <a:gd name="connsiteY13" fmla="*/ 20993 h 97193"/>
                          <a:gd name="connsiteX14" fmla="*/ 1905 w 105971"/>
                          <a:gd name="connsiteY14" fmla="*/ 28613 h 97193"/>
                          <a:gd name="connsiteX15" fmla="*/ 0 w 105971"/>
                          <a:gd name="connsiteY15" fmla="*/ 34328 h 97193"/>
                          <a:gd name="connsiteX16" fmla="*/ 5715 w 105971"/>
                          <a:gd name="connsiteY16" fmla="*/ 47663 h 97193"/>
                          <a:gd name="connsiteX17" fmla="*/ 5715 w 105971"/>
                          <a:gd name="connsiteY17" fmla="*/ 51473 h 97193"/>
                          <a:gd name="connsiteX18" fmla="*/ 17145 w 105971"/>
                          <a:gd name="connsiteY18" fmla="*/ 80048 h 97193"/>
                          <a:gd name="connsiteX0" fmla="*/ 19050 w 106250"/>
                          <a:gd name="connsiteY0" fmla="*/ 64875 h 85830"/>
                          <a:gd name="connsiteX1" fmla="*/ 24765 w 106250"/>
                          <a:gd name="connsiteY1" fmla="*/ 68685 h 85830"/>
                          <a:gd name="connsiteX2" fmla="*/ 28575 w 106250"/>
                          <a:gd name="connsiteY2" fmla="*/ 74400 h 85830"/>
                          <a:gd name="connsiteX3" fmla="*/ 32385 w 106250"/>
                          <a:gd name="connsiteY3" fmla="*/ 85830 h 85830"/>
                          <a:gd name="connsiteX4" fmla="*/ 81915 w 106250"/>
                          <a:gd name="connsiteY4" fmla="*/ 83925 h 85830"/>
                          <a:gd name="connsiteX5" fmla="*/ 87630 w 106250"/>
                          <a:gd name="connsiteY5" fmla="*/ 82020 h 85830"/>
                          <a:gd name="connsiteX6" fmla="*/ 89535 w 106250"/>
                          <a:gd name="connsiteY6" fmla="*/ 76305 h 85830"/>
                          <a:gd name="connsiteX7" fmla="*/ 93345 w 106250"/>
                          <a:gd name="connsiteY7" fmla="*/ 70590 h 85830"/>
                          <a:gd name="connsiteX8" fmla="*/ 95250 w 106250"/>
                          <a:gd name="connsiteY8" fmla="*/ 57255 h 85830"/>
                          <a:gd name="connsiteX9" fmla="*/ 100965 w 106250"/>
                          <a:gd name="connsiteY9" fmla="*/ 53445 h 85830"/>
                          <a:gd name="connsiteX10" fmla="*/ 104775 w 106250"/>
                          <a:gd name="connsiteY10" fmla="*/ 42015 h 85830"/>
                          <a:gd name="connsiteX11" fmla="*/ 100965 w 106250"/>
                          <a:gd name="connsiteY11" fmla="*/ 15345 h 85830"/>
                          <a:gd name="connsiteX12" fmla="*/ 38100 w 106250"/>
                          <a:gd name="connsiteY12" fmla="*/ 105 h 85830"/>
                          <a:gd name="connsiteX13" fmla="*/ 3810 w 106250"/>
                          <a:gd name="connsiteY13" fmla="*/ 9630 h 85830"/>
                          <a:gd name="connsiteX14" fmla="*/ 1905 w 106250"/>
                          <a:gd name="connsiteY14" fmla="*/ 17250 h 85830"/>
                          <a:gd name="connsiteX15" fmla="*/ 0 w 106250"/>
                          <a:gd name="connsiteY15" fmla="*/ 22965 h 85830"/>
                          <a:gd name="connsiteX16" fmla="*/ 5715 w 106250"/>
                          <a:gd name="connsiteY16" fmla="*/ 36300 h 85830"/>
                          <a:gd name="connsiteX17" fmla="*/ 5715 w 106250"/>
                          <a:gd name="connsiteY17" fmla="*/ 40110 h 85830"/>
                          <a:gd name="connsiteX18" fmla="*/ 17145 w 106250"/>
                          <a:gd name="connsiteY18" fmla="*/ 68685 h 8583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</a:cxnLst>
                        <a:rect l="l" t="t" r="r" b="b"/>
                        <a:pathLst>
                          <a:path w="106250" h="85830">
                            <a:moveTo>
                              <a:pt x="19050" y="64875"/>
                            </a:moveTo>
                            <a:cubicBezTo>
                              <a:pt x="19050" y="69955"/>
                              <a:pt x="22860" y="67415"/>
                              <a:pt x="24765" y="68685"/>
                            </a:cubicBezTo>
                            <a:cubicBezTo>
                              <a:pt x="26035" y="70590"/>
                              <a:pt x="27645" y="72308"/>
                              <a:pt x="28575" y="74400"/>
                            </a:cubicBezTo>
                            <a:cubicBezTo>
                              <a:pt x="30206" y="78070"/>
                              <a:pt x="32385" y="85830"/>
                              <a:pt x="32385" y="85830"/>
                            </a:cubicBezTo>
                            <a:cubicBezTo>
                              <a:pt x="48895" y="85195"/>
                              <a:pt x="65432" y="85062"/>
                              <a:pt x="81915" y="83925"/>
                            </a:cubicBezTo>
                            <a:cubicBezTo>
                              <a:pt x="83918" y="83787"/>
                              <a:pt x="86210" y="83440"/>
                              <a:pt x="87630" y="82020"/>
                            </a:cubicBezTo>
                            <a:cubicBezTo>
                              <a:pt x="89050" y="80600"/>
                              <a:pt x="88637" y="78101"/>
                              <a:pt x="89535" y="76305"/>
                            </a:cubicBezTo>
                            <a:cubicBezTo>
                              <a:pt x="90559" y="74257"/>
                              <a:pt x="92075" y="72495"/>
                              <a:pt x="93345" y="70590"/>
                            </a:cubicBezTo>
                            <a:cubicBezTo>
                              <a:pt x="93980" y="66145"/>
                              <a:pt x="93426" y="61358"/>
                              <a:pt x="95250" y="57255"/>
                            </a:cubicBezTo>
                            <a:cubicBezTo>
                              <a:pt x="96180" y="55163"/>
                              <a:pt x="99752" y="55387"/>
                              <a:pt x="100965" y="53445"/>
                            </a:cubicBezTo>
                            <a:cubicBezTo>
                              <a:pt x="103094" y="50039"/>
                              <a:pt x="104775" y="42015"/>
                              <a:pt x="104775" y="42015"/>
                            </a:cubicBezTo>
                            <a:cubicBezTo>
                              <a:pt x="101728" y="8500"/>
                              <a:pt x="112077" y="22330"/>
                              <a:pt x="100965" y="15345"/>
                            </a:cubicBezTo>
                            <a:cubicBezTo>
                              <a:pt x="89853" y="8360"/>
                              <a:pt x="54292" y="1057"/>
                              <a:pt x="38100" y="105"/>
                            </a:cubicBezTo>
                            <a:cubicBezTo>
                              <a:pt x="21908" y="-847"/>
                              <a:pt x="10477" y="4868"/>
                              <a:pt x="3810" y="9630"/>
                            </a:cubicBezTo>
                            <a:cubicBezTo>
                              <a:pt x="3175" y="12170"/>
                              <a:pt x="2624" y="14733"/>
                              <a:pt x="1905" y="17250"/>
                            </a:cubicBezTo>
                            <a:cubicBezTo>
                              <a:pt x="1353" y="19181"/>
                              <a:pt x="0" y="20957"/>
                              <a:pt x="0" y="22965"/>
                            </a:cubicBezTo>
                            <a:cubicBezTo>
                              <a:pt x="0" y="32673"/>
                              <a:pt x="2604" y="28523"/>
                              <a:pt x="5715" y="36300"/>
                            </a:cubicBezTo>
                            <a:cubicBezTo>
                              <a:pt x="6187" y="37479"/>
                              <a:pt x="3810" y="34713"/>
                              <a:pt x="5715" y="40110"/>
                            </a:cubicBezTo>
                            <a:cubicBezTo>
                              <a:pt x="7620" y="45507"/>
                              <a:pt x="13335" y="59160"/>
                              <a:pt x="17145" y="68685"/>
                            </a:cubicBezTo>
                          </a:path>
                        </a:pathLst>
                      </a:custGeom>
                      <a:solidFill>
                        <a:srgbClr val="0D3759"/>
                      </a:solidFill>
                      <a:ln w="3175" cap="flat" cmpd="sng" algn="ctr">
                        <a:solidFill>
                          <a:srgbClr val="F2E8F8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42" name="Rectangle: Rounded Corners 27">
                        <a:extLst>
                          <a:ext uri="{FF2B5EF4-FFF2-40B4-BE49-F238E27FC236}">
                            <a16:creationId xmlns:a16="http://schemas.microsoft.com/office/drawing/2014/main" id="{4B1E07BE-07AD-1729-970F-BA92E7E7DF5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886901" y="4403741"/>
                        <a:ext cx="27432" cy="18288"/>
                      </a:xfrm>
                      <a:prstGeom prst="roundRect">
                        <a:avLst/>
                      </a:prstGeom>
                      <a:solidFill>
                        <a:srgbClr val="0D3759"/>
                      </a:solidFill>
                      <a:ln w="3175" cap="flat" cmpd="sng" algn="ctr">
                        <a:solidFill>
                          <a:srgbClr val="F2E8F8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43" name="Rectangle: Rounded Corners 28">
                        <a:extLst>
                          <a:ext uri="{FF2B5EF4-FFF2-40B4-BE49-F238E27FC236}">
                            <a16:creationId xmlns:a16="http://schemas.microsoft.com/office/drawing/2014/main" id="{C26EDC1E-1FEC-7561-5A3F-EDE0B56273B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770428" y="4196137"/>
                        <a:ext cx="27432" cy="18288"/>
                      </a:xfrm>
                      <a:prstGeom prst="roundRect">
                        <a:avLst/>
                      </a:prstGeom>
                      <a:grpFill/>
                      <a:ln w="3175" cap="flat" cmpd="sng" algn="ctr">
                        <a:solidFill>
                          <a:srgbClr val="F2E8F8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44" name="Rectangle: Rounded Corners 29">
                        <a:extLst>
                          <a:ext uri="{FF2B5EF4-FFF2-40B4-BE49-F238E27FC236}">
                            <a16:creationId xmlns:a16="http://schemas.microsoft.com/office/drawing/2014/main" id="{6EC2632D-B523-9BA1-2EB7-C94F25324AA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924873" y="4240076"/>
                        <a:ext cx="27432" cy="18288"/>
                      </a:xfrm>
                      <a:prstGeom prst="roundRect">
                        <a:avLst/>
                      </a:prstGeom>
                      <a:grpFill/>
                      <a:ln w="3175" cap="flat" cmpd="sng" algn="ctr">
                        <a:solidFill>
                          <a:srgbClr val="F2E8F8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1045" name="Rectangle: Rounded Corners 30">
                        <a:extLst>
                          <a:ext uri="{FF2B5EF4-FFF2-40B4-BE49-F238E27FC236}">
                            <a16:creationId xmlns:a16="http://schemas.microsoft.com/office/drawing/2014/main" id="{10134A38-D76A-FAD7-9DBD-3AF9073FE23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050643" y="4293981"/>
                        <a:ext cx="27432" cy="18288"/>
                      </a:xfrm>
                      <a:prstGeom prst="roundRect">
                        <a:avLst/>
                      </a:prstGeom>
                      <a:solidFill>
                        <a:srgbClr val="0D3759"/>
                      </a:solidFill>
                      <a:ln w="3175" cap="flat" cmpd="sng" algn="ctr">
                        <a:solidFill>
                          <a:srgbClr val="F2E8F8"/>
                        </a:solidFill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600" kern="0">
                          <a:solidFill>
                            <a:srgbClr val="FFFFFF"/>
                          </a:solidFill>
                          <a:latin typeface="Arial" panose="020B0604020202020204"/>
                        </a:endParaRPr>
                      </a:p>
                    </p:txBody>
                  </p:sp>
                </p:grpSp>
                <p:sp>
                  <p:nvSpPr>
                    <p:cNvPr id="1029" name="Oval 1028">
                      <a:extLst>
                        <a:ext uri="{FF2B5EF4-FFF2-40B4-BE49-F238E27FC236}">
                          <a16:creationId xmlns:a16="http://schemas.microsoft.com/office/drawing/2014/main" id="{8BAEF0A4-B192-FF5C-E9D9-6898CBEF402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736434" y="3324552"/>
                      <a:ext cx="114954" cy="145297"/>
                    </a:xfrm>
                    <a:prstGeom prst="ellipse">
                      <a:avLst/>
                    </a:prstGeom>
                    <a:gradFill flip="none" rotWithShape="1">
                      <a:gsLst>
                        <a:gs pos="16000">
                          <a:srgbClr val="0D3759">
                            <a:lumMod val="20000"/>
                            <a:lumOff val="80000"/>
                          </a:srgbClr>
                        </a:gs>
                        <a:gs pos="74000">
                          <a:srgbClr val="0D3759">
                            <a:lumMod val="75000"/>
                          </a:srgbClr>
                        </a:gs>
                        <a:gs pos="53000">
                          <a:srgbClr val="0D3759">
                            <a:lumMod val="60000"/>
                            <a:lumOff val="4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  <a:ln w="127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algn="ctr">
                        <a:defRPr/>
                      </a:pPr>
                      <a:endParaRPr lang="en-GB" sz="1600" kern="0">
                        <a:solidFill>
                          <a:srgbClr val="FFFFFF"/>
                        </a:solidFill>
                        <a:latin typeface="Arial" panose="020B0604020202020204"/>
                      </a:endParaRPr>
                    </a:p>
                  </p:txBody>
                </p:sp>
              </p:grpSp>
            </p:grpSp>
            <p:grpSp>
              <p:nvGrpSpPr>
                <p:cNvPr id="1003" name="IgE">
                  <a:extLst>
                    <a:ext uri="{FF2B5EF4-FFF2-40B4-BE49-F238E27FC236}">
                      <a16:creationId xmlns:a16="http://schemas.microsoft.com/office/drawing/2014/main" id="{DFC625F4-E1E7-FFC7-702D-7D33F13B315A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 rot="8196162" flipH="1">
                  <a:off x="4233786" y="2222100"/>
                  <a:ext cx="127076" cy="210527"/>
                  <a:chOff x="1589809" y="4304034"/>
                  <a:chExt cx="117389" cy="227030"/>
                </a:xfrm>
              </p:grpSpPr>
              <p:grpSp>
                <p:nvGrpSpPr>
                  <p:cNvPr id="1014" name="Group 1013">
                    <a:extLst>
                      <a:ext uri="{FF2B5EF4-FFF2-40B4-BE49-F238E27FC236}">
                        <a16:creationId xmlns:a16="http://schemas.microsoft.com/office/drawing/2014/main" id="{AB2439A3-2A97-8ABE-6EC3-B100D71FDB8D}"/>
                      </a:ext>
                    </a:extLst>
                  </p:cNvPr>
                  <p:cNvGrpSpPr/>
                  <p:nvPr/>
                </p:nvGrpSpPr>
                <p:grpSpPr>
                  <a:xfrm>
                    <a:off x="1628029" y="4393904"/>
                    <a:ext cx="35288" cy="137160"/>
                    <a:chOff x="1862901" y="3917418"/>
                    <a:chExt cx="35288" cy="537297"/>
                  </a:xfrm>
                </p:grpSpPr>
                <p:sp>
                  <p:nvSpPr>
                    <p:cNvPr id="1021" name="Rectangle: Rounded Corners 89">
                      <a:extLst>
                        <a:ext uri="{FF2B5EF4-FFF2-40B4-BE49-F238E27FC236}">
                          <a16:creationId xmlns:a16="http://schemas.microsoft.com/office/drawing/2014/main" id="{5C9AC03B-6E72-AFB5-845D-BA6A50BC940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862901" y="3917418"/>
                      <a:ext cx="18288" cy="537297"/>
                    </a:xfrm>
                    <a:prstGeom prst="roundRect">
                      <a:avLst/>
                    </a:prstGeom>
                    <a:gradFill flip="none" rotWithShape="1">
                      <a:gsLst>
                        <a:gs pos="0">
                          <a:srgbClr val="0D3759">
                            <a:lumMod val="20000"/>
                            <a:lumOff val="80000"/>
                          </a:srgbClr>
                        </a:gs>
                        <a:gs pos="73000">
                          <a:srgbClr val="0D3759">
                            <a:lumMod val="60000"/>
                            <a:lumOff val="40000"/>
                          </a:srgbClr>
                        </a:gs>
                        <a:gs pos="83000">
                          <a:srgbClr val="0D3759">
                            <a:lumMod val="75000"/>
                          </a:srgbClr>
                        </a:gs>
                        <a:gs pos="100000">
                          <a:srgbClr val="0D3759">
                            <a:lumMod val="50000"/>
                          </a:srgbClr>
                        </a:gs>
                      </a:gsLst>
                      <a:lin ang="0" scaled="1"/>
                      <a:tileRect/>
                    </a:gradFill>
                    <a:ln w="25400" cap="flat" cmpd="sng" algn="ctr">
                      <a:noFill/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>
                        <a:defRPr/>
                      </a:pPr>
                      <a:endParaRPr lang="en-US" sz="1600" kern="0">
                        <a:solidFill>
                          <a:srgbClr val="FFFFFF"/>
                        </a:solidFill>
                        <a:latin typeface="Arial" panose="020B0604020202020204"/>
                      </a:endParaRPr>
                    </a:p>
                  </p:txBody>
                </p:sp>
                <p:sp>
                  <p:nvSpPr>
                    <p:cNvPr id="1022" name="Rectangle: Rounded Corners 90">
                      <a:extLst>
                        <a:ext uri="{FF2B5EF4-FFF2-40B4-BE49-F238E27FC236}">
                          <a16:creationId xmlns:a16="http://schemas.microsoft.com/office/drawing/2014/main" id="{446F6263-B9EA-C30F-EB51-2CAD9438E543}"/>
                        </a:ext>
                      </a:extLst>
                    </p:cNvPr>
                    <p:cNvSpPr/>
                    <p:nvPr/>
                  </p:nvSpPr>
                  <p:spPr>
                    <a:xfrm rot="10800000">
                      <a:off x="1879901" y="3917418"/>
                      <a:ext cx="18288" cy="537297"/>
                    </a:xfrm>
                    <a:prstGeom prst="roundRect">
                      <a:avLst/>
                    </a:prstGeom>
                    <a:gradFill flip="none" rotWithShape="1">
                      <a:gsLst>
                        <a:gs pos="0">
                          <a:srgbClr val="0D3759">
                            <a:lumMod val="20000"/>
                            <a:lumOff val="80000"/>
                          </a:srgbClr>
                        </a:gs>
                        <a:gs pos="73000">
                          <a:srgbClr val="0D3759">
                            <a:lumMod val="60000"/>
                            <a:lumOff val="40000"/>
                          </a:srgbClr>
                        </a:gs>
                        <a:gs pos="83000">
                          <a:srgbClr val="0D3759">
                            <a:lumMod val="75000"/>
                          </a:srgbClr>
                        </a:gs>
                        <a:gs pos="100000">
                          <a:srgbClr val="0D3759">
                            <a:lumMod val="50000"/>
                          </a:srgbClr>
                        </a:gs>
                      </a:gsLst>
                      <a:lin ang="0" scaled="1"/>
                      <a:tileRect/>
                    </a:gradFill>
                    <a:ln w="25400" cap="flat" cmpd="sng" algn="ctr">
                      <a:noFill/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>
                        <a:defRPr/>
                      </a:pPr>
                      <a:endParaRPr lang="en-US" sz="1600" kern="0">
                        <a:solidFill>
                          <a:srgbClr val="FFFFFF"/>
                        </a:solidFill>
                        <a:latin typeface="Arial" panose="020B0604020202020204"/>
                      </a:endParaRPr>
                    </a:p>
                  </p:txBody>
                </p:sp>
              </p:grpSp>
              <p:grpSp>
                <p:nvGrpSpPr>
                  <p:cNvPr id="1015" name="Group 1014">
                    <a:extLst>
                      <a:ext uri="{FF2B5EF4-FFF2-40B4-BE49-F238E27FC236}">
                        <a16:creationId xmlns:a16="http://schemas.microsoft.com/office/drawing/2014/main" id="{AC248284-6DAF-0F47-1179-FA6E8A9F6CC1}"/>
                      </a:ext>
                    </a:extLst>
                  </p:cNvPr>
                  <p:cNvGrpSpPr/>
                  <p:nvPr/>
                </p:nvGrpSpPr>
                <p:grpSpPr>
                  <a:xfrm rot="19869607">
                    <a:off x="1589809" y="4304034"/>
                    <a:ext cx="35288" cy="91440"/>
                    <a:chOff x="1862901" y="3917418"/>
                    <a:chExt cx="35288" cy="537297"/>
                  </a:xfrm>
                </p:grpSpPr>
                <p:sp>
                  <p:nvSpPr>
                    <p:cNvPr id="1019" name="Rectangle: Rounded Corners 87">
                      <a:extLst>
                        <a:ext uri="{FF2B5EF4-FFF2-40B4-BE49-F238E27FC236}">
                          <a16:creationId xmlns:a16="http://schemas.microsoft.com/office/drawing/2014/main" id="{020042BC-E279-678A-92BB-E1F8774A0E4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862901" y="3917418"/>
                      <a:ext cx="18288" cy="537297"/>
                    </a:xfrm>
                    <a:prstGeom prst="roundRect">
                      <a:avLst/>
                    </a:prstGeom>
                    <a:gradFill flip="none" rotWithShape="1">
                      <a:gsLst>
                        <a:gs pos="0">
                          <a:srgbClr val="0D3759">
                            <a:lumMod val="20000"/>
                            <a:lumOff val="80000"/>
                          </a:srgbClr>
                        </a:gs>
                        <a:gs pos="73000">
                          <a:srgbClr val="0D3759">
                            <a:lumMod val="60000"/>
                            <a:lumOff val="40000"/>
                          </a:srgbClr>
                        </a:gs>
                        <a:gs pos="83000">
                          <a:srgbClr val="0D3759">
                            <a:lumMod val="75000"/>
                          </a:srgbClr>
                        </a:gs>
                        <a:gs pos="100000">
                          <a:srgbClr val="0D3759">
                            <a:lumMod val="50000"/>
                          </a:srgbClr>
                        </a:gs>
                      </a:gsLst>
                      <a:lin ang="0" scaled="1"/>
                      <a:tileRect/>
                    </a:gradFill>
                    <a:ln w="25400" cap="flat" cmpd="sng" algn="ctr">
                      <a:noFill/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>
                        <a:defRPr/>
                      </a:pPr>
                      <a:endParaRPr lang="en-US" sz="1600" kern="0">
                        <a:solidFill>
                          <a:srgbClr val="FFFFFF"/>
                        </a:solidFill>
                        <a:latin typeface="Arial" panose="020B0604020202020204"/>
                      </a:endParaRPr>
                    </a:p>
                  </p:txBody>
                </p:sp>
                <p:sp>
                  <p:nvSpPr>
                    <p:cNvPr id="1020" name="Rectangle: Rounded Corners 88">
                      <a:extLst>
                        <a:ext uri="{FF2B5EF4-FFF2-40B4-BE49-F238E27FC236}">
                          <a16:creationId xmlns:a16="http://schemas.microsoft.com/office/drawing/2014/main" id="{B500F156-54C4-A080-AC1B-EF89BB519CB5}"/>
                        </a:ext>
                      </a:extLst>
                    </p:cNvPr>
                    <p:cNvSpPr/>
                    <p:nvPr/>
                  </p:nvSpPr>
                  <p:spPr>
                    <a:xfrm rot="10800000">
                      <a:off x="1879901" y="3917418"/>
                      <a:ext cx="18288" cy="537297"/>
                    </a:xfrm>
                    <a:prstGeom prst="roundRect">
                      <a:avLst/>
                    </a:prstGeom>
                    <a:gradFill flip="none" rotWithShape="1">
                      <a:gsLst>
                        <a:gs pos="0">
                          <a:srgbClr val="0D3759">
                            <a:lumMod val="20000"/>
                            <a:lumOff val="80000"/>
                          </a:srgbClr>
                        </a:gs>
                        <a:gs pos="73000">
                          <a:srgbClr val="0D3759">
                            <a:lumMod val="60000"/>
                            <a:lumOff val="40000"/>
                          </a:srgbClr>
                        </a:gs>
                        <a:gs pos="83000">
                          <a:srgbClr val="0D3759">
                            <a:lumMod val="75000"/>
                          </a:srgbClr>
                        </a:gs>
                        <a:gs pos="100000">
                          <a:srgbClr val="0D3759">
                            <a:lumMod val="50000"/>
                          </a:srgbClr>
                        </a:gs>
                      </a:gsLst>
                      <a:lin ang="0" scaled="1"/>
                      <a:tileRect/>
                    </a:gradFill>
                    <a:ln w="25400" cap="flat" cmpd="sng" algn="ctr">
                      <a:noFill/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>
                        <a:defRPr/>
                      </a:pPr>
                      <a:endParaRPr lang="en-US" sz="1600" kern="0">
                        <a:solidFill>
                          <a:srgbClr val="FFFFFF"/>
                        </a:solidFill>
                        <a:latin typeface="Arial" panose="020B0604020202020204"/>
                      </a:endParaRPr>
                    </a:p>
                  </p:txBody>
                </p:sp>
              </p:grpSp>
              <p:grpSp>
                <p:nvGrpSpPr>
                  <p:cNvPr id="1016" name="Group 1015">
                    <a:extLst>
                      <a:ext uri="{FF2B5EF4-FFF2-40B4-BE49-F238E27FC236}">
                        <a16:creationId xmlns:a16="http://schemas.microsoft.com/office/drawing/2014/main" id="{59E410F8-3499-2C37-D724-523A6B196591}"/>
                      </a:ext>
                    </a:extLst>
                  </p:cNvPr>
                  <p:cNvGrpSpPr/>
                  <p:nvPr/>
                </p:nvGrpSpPr>
                <p:grpSpPr>
                  <a:xfrm rot="1730393" flipH="1">
                    <a:off x="1671910" y="4304960"/>
                    <a:ext cx="35288" cy="91441"/>
                    <a:chOff x="1862901" y="3917418"/>
                    <a:chExt cx="35288" cy="537305"/>
                  </a:xfrm>
                </p:grpSpPr>
                <p:sp>
                  <p:nvSpPr>
                    <p:cNvPr id="1017" name="Rectangle: Rounded Corners 85">
                      <a:extLst>
                        <a:ext uri="{FF2B5EF4-FFF2-40B4-BE49-F238E27FC236}">
                          <a16:creationId xmlns:a16="http://schemas.microsoft.com/office/drawing/2014/main" id="{8168D667-54A2-3DEA-4F07-B1CD6027882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862901" y="3917418"/>
                      <a:ext cx="18288" cy="537297"/>
                    </a:xfrm>
                    <a:prstGeom prst="roundRect">
                      <a:avLst/>
                    </a:prstGeom>
                    <a:gradFill flip="none" rotWithShape="1">
                      <a:gsLst>
                        <a:gs pos="0">
                          <a:srgbClr val="0D3759">
                            <a:lumMod val="20000"/>
                            <a:lumOff val="80000"/>
                          </a:srgbClr>
                        </a:gs>
                        <a:gs pos="73000">
                          <a:srgbClr val="0D3759">
                            <a:lumMod val="60000"/>
                            <a:lumOff val="40000"/>
                          </a:srgbClr>
                        </a:gs>
                        <a:gs pos="83000">
                          <a:srgbClr val="0D3759">
                            <a:lumMod val="75000"/>
                          </a:srgbClr>
                        </a:gs>
                        <a:gs pos="100000">
                          <a:srgbClr val="0D3759">
                            <a:lumMod val="50000"/>
                          </a:srgbClr>
                        </a:gs>
                      </a:gsLst>
                      <a:lin ang="0" scaled="1"/>
                      <a:tileRect/>
                    </a:gradFill>
                    <a:ln w="25400" cap="flat" cmpd="sng" algn="ctr">
                      <a:noFill/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>
                        <a:defRPr/>
                      </a:pPr>
                      <a:endParaRPr lang="en-US" sz="1600" kern="0">
                        <a:solidFill>
                          <a:srgbClr val="FFFFFF"/>
                        </a:solidFill>
                        <a:latin typeface="Arial" panose="020B0604020202020204"/>
                      </a:endParaRPr>
                    </a:p>
                  </p:txBody>
                </p:sp>
                <p:sp>
                  <p:nvSpPr>
                    <p:cNvPr id="1018" name="Rectangle: Rounded Corners 86">
                      <a:extLst>
                        <a:ext uri="{FF2B5EF4-FFF2-40B4-BE49-F238E27FC236}">
                          <a16:creationId xmlns:a16="http://schemas.microsoft.com/office/drawing/2014/main" id="{51D06B73-F522-CDC2-DABA-0D3CD7240D58}"/>
                        </a:ext>
                      </a:extLst>
                    </p:cNvPr>
                    <p:cNvSpPr/>
                    <p:nvPr/>
                  </p:nvSpPr>
                  <p:spPr>
                    <a:xfrm rot="10800000">
                      <a:off x="1879901" y="3917426"/>
                      <a:ext cx="18288" cy="537297"/>
                    </a:xfrm>
                    <a:prstGeom prst="roundRect">
                      <a:avLst/>
                    </a:prstGeom>
                    <a:gradFill flip="none" rotWithShape="1">
                      <a:gsLst>
                        <a:gs pos="0">
                          <a:srgbClr val="0D3759">
                            <a:lumMod val="20000"/>
                            <a:lumOff val="80000"/>
                          </a:srgbClr>
                        </a:gs>
                        <a:gs pos="73000">
                          <a:srgbClr val="0D3759">
                            <a:lumMod val="60000"/>
                            <a:lumOff val="40000"/>
                          </a:srgbClr>
                        </a:gs>
                        <a:gs pos="83000">
                          <a:srgbClr val="0D3759">
                            <a:lumMod val="75000"/>
                          </a:srgbClr>
                        </a:gs>
                        <a:gs pos="100000">
                          <a:srgbClr val="0D3759">
                            <a:lumMod val="50000"/>
                          </a:srgbClr>
                        </a:gs>
                      </a:gsLst>
                      <a:lin ang="0" scaled="1"/>
                      <a:tileRect/>
                    </a:gradFill>
                    <a:ln w="25400" cap="flat" cmpd="sng" algn="ctr">
                      <a:noFill/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>
                        <a:defRPr/>
                      </a:pPr>
                      <a:endParaRPr lang="en-US" sz="1600" kern="0">
                        <a:solidFill>
                          <a:srgbClr val="FFFFFF"/>
                        </a:solidFill>
                        <a:latin typeface="Arial" panose="020B0604020202020204"/>
                      </a:endParaRPr>
                    </a:p>
                  </p:txBody>
                </p:sp>
              </p:grpSp>
            </p:grpSp>
            <p:grpSp>
              <p:nvGrpSpPr>
                <p:cNvPr id="1004" name="IgE">
                  <a:extLst>
                    <a:ext uri="{FF2B5EF4-FFF2-40B4-BE49-F238E27FC236}">
                      <a16:creationId xmlns:a16="http://schemas.microsoft.com/office/drawing/2014/main" id="{85D2C858-ACB6-6F48-BEDC-FD8345FEA7E7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 rot="8196162" flipH="1">
                  <a:off x="4347467" y="2125415"/>
                  <a:ext cx="127076" cy="210527"/>
                  <a:chOff x="1589809" y="4304034"/>
                  <a:chExt cx="117389" cy="227030"/>
                </a:xfrm>
              </p:grpSpPr>
              <p:grpSp>
                <p:nvGrpSpPr>
                  <p:cNvPr id="1005" name="Group 1004">
                    <a:extLst>
                      <a:ext uri="{FF2B5EF4-FFF2-40B4-BE49-F238E27FC236}">
                        <a16:creationId xmlns:a16="http://schemas.microsoft.com/office/drawing/2014/main" id="{82607C37-7CF6-9262-336C-5D3F4E52AB1F}"/>
                      </a:ext>
                    </a:extLst>
                  </p:cNvPr>
                  <p:cNvGrpSpPr/>
                  <p:nvPr/>
                </p:nvGrpSpPr>
                <p:grpSpPr>
                  <a:xfrm>
                    <a:off x="1628029" y="4393904"/>
                    <a:ext cx="35288" cy="137160"/>
                    <a:chOff x="1862901" y="3917418"/>
                    <a:chExt cx="35288" cy="537297"/>
                  </a:xfrm>
                </p:grpSpPr>
                <p:sp>
                  <p:nvSpPr>
                    <p:cNvPr id="1012" name="Rectangle: Rounded Corners 89">
                      <a:extLst>
                        <a:ext uri="{FF2B5EF4-FFF2-40B4-BE49-F238E27FC236}">
                          <a16:creationId xmlns:a16="http://schemas.microsoft.com/office/drawing/2014/main" id="{4C403F6A-7DB7-BC0E-7146-41026B58E57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862901" y="3917418"/>
                      <a:ext cx="18288" cy="537297"/>
                    </a:xfrm>
                    <a:prstGeom prst="roundRect">
                      <a:avLst/>
                    </a:prstGeom>
                    <a:gradFill flip="none" rotWithShape="1">
                      <a:gsLst>
                        <a:gs pos="0">
                          <a:srgbClr val="0D3759">
                            <a:lumMod val="20000"/>
                            <a:lumOff val="80000"/>
                          </a:srgbClr>
                        </a:gs>
                        <a:gs pos="73000">
                          <a:srgbClr val="0D3759">
                            <a:lumMod val="60000"/>
                            <a:lumOff val="40000"/>
                          </a:srgbClr>
                        </a:gs>
                        <a:gs pos="83000">
                          <a:srgbClr val="0D3759">
                            <a:lumMod val="75000"/>
                          </a:srgbClr>
                        </a:gs>
                        <a:gs pos="100000">
                          <a:srgbClr val="0D3759">
                            <a:lumMod val="50000"/>
                          </a:srgbClr>
                        </a:gs>
                      </a:gsLst>
                      <a:lin ang="0" scaled="1"/>
                      <a:tileRect/>
                    </a:gradFill>
                    <a:ln w="25400" cap="flat" cmpd="sng" algn="ctr">
                      <a:noFill/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>
                        <a:defRPr/>
                      </a:pPr>
                      <a:endParaRPr lang="en-US" sz="1600" kern="0">
                        <a:solidFill>
                          <a:srgbClr val="FFFFFF"/>
                        </a:solidFill>
                        <a:latin typeface="Arial" panose="020B0604020202020204"/>
                      </a:endParaRPr>
                    </a:p>
                  </p:txBody>
                </p:sp>
                <p:sp>
                  <p:nvSpPr>
                    <p:cNvPr id="1013" name="Rectangle: Rounded Corners 90">
                      <a:extLst>
                        <a:ext uri="{FF2B5EF4-FFF2-40B4-BE49-F238E27FC236}">
                          <a16:creationId xmlns:a16="http://schemas.microsoft.com/office/drawing/2014/main" id="{514057FB-A585-5988-B8FA-9BF008CAA0EA}"/>
                        </a:ext>
                      </a:extLst>
                    </p:cNvPr>
                    <p:cNvSpPr/>
                    <p:nvPr/>
                  </p:nvSpPr>
                  <p:spPr>
                    <a:xfrm rot="10800000">
                      <a:off x="1879901" y="3917418"/>
                      <a:ext cx="18288" cy="537297"/>
                    </a:xfrm>
                    <a:prstGeom prst="roundRect">
                      <a:avLst/>
                    </a:prstGeom>
                    <a:gradFill flip="none" rotWithShape="1">
                      <a:gsLst>
                        <a:gs pos="0">
                          <a:srgbClr val="0D3759">
                            <a:lumMod val="20000"/>
                            <a:lumOff val="80000"/>
                          </a:srgbClr>
                        </a:gs>
                        <a:gs pos="73000">
                          <a:srgbClr val="0D3759">
                            <a:lumMod val="60000"/>
                            <a:lumOff val="40000"/>
                          </a:srgbClr>
                        </a:gs>
                        <a:gs pos="83000">
                          <a:srgbClr val="0D3759">
                            <a:lumMod val="75000"/>
                          </a:srgbClr>
                        </a:gs>
                        <a:gs pos="100000">
                          <a:srgbClr val="0D3759">
                            <a:lumMod val="50000"/>
                          </a:srgbClr>
                        </a:gs>
                      </a:gsLst>
                      <a:lin ang="0" scaled="1"/>
                      <a:tileRect/>
                    </a:gradFill>
                    <a:ln w="25400" cap="flat" cmpd="sng" algn="ctr">
                      <a:noFill/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>
                        <a:defRPr/>
                      </a:pPr>
                      <a:endParaRPr lang="en-US" sz="1600" kern="0">
                        <a:solidFill>
                          <a:srgbClr val="FFFFFF"/>
                        </a:solidFill>
                        <a:latin typeface="Arial" panose="020B0604020202020204"/>
                      </a:endParaRPr>
                    </a:p>
                  </p:txBody>
                </p:sp>
              </p:grpSp>
              <p:grpSp>
                <p:nvGrpSpPr>
                  <p:cNvPr id="1006" name="Group 1005">
                    <a:extLst>
                      <a:ext uri="{FF2B5EF4-FFF2-40B4-BE49-F238E27FC236}">
                        <a16:creationId xmlns:a16="http://schemas.microsoft.com/office/drawing/2014/main" id="{51BB0BFB-3962-EB62-1637-82005D988FC3}"/>
                      </a:ext>
                    </a:extLst>
                  </p:cNvPr>
                  <p:cNvGrpSpPr/>
                  <p:nvPr/>
                </p:nvGrpSpPr>
                <p:grpSpPr>
                  <a:xfrm rot="19869607">
                    <a:off x="1589809" y="4304034"/>
                    <a:ext cx="35288" cy="91440"/>
                    <a:chOff x="1862901" y="3917418"/>
                    <a:chExt cx="35288" cy="537297"/>
                  </a:xfrm>
                </p:grpSpPr>
                <p:sp>
                  <p:nvSpPr>
                    <p:cNvPr id="1010" name="Rectangle: Rounded Corners 87">
                      <a:extLst>
                        <a:ext uri="{FF2B5EF4-FFF2-40B4-BE49-F238E27FC236}">
                          <a16:creationId xmlns:a16="http://schemas.microsoft.com/office/drawing/2014/main" id="{C83D335A-7A18-3A1A-DF0D-28F8F50042A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862901" y="3917418"/>
                      <a:ext cx="18288" cy="537297"/>
                    </a:xfrm>
                    <a:prstGeom prst="roundRect">
                      <a:avLst/>
                    </a:prstGeom>
                    <a:gradFill flip="none" rotWithShape="1">
                      <a:gsLst>
                        <a:gs pos="0">
                          <a:srgbClr val="0D3759">
                            <a:lumMod val="20000"/>
                            <a:lumOff val="80000"/>
                          </a:srgbClr>
                        </a:gs>
                        <a:gs pos="73000">
                          <a:srgbClr val="0D3759">
                            <a:lumMod val="60000"/>
                            <a:lumOff val="40000"/>
                          </a:srgbClr>
                        </a:gs>
                        <a:gs pos="83000">
                          <a:srgbClr val="0D3759">
                            <a:lumMod val="75000"/>
                          </a:srgbClr>
                        </a:gs>
                        <a:gs pos="100000">
                          <a:srgbClr val="0D3759">
                            <a:lumMod val="50000"/>
                          </a:srgbClr>
                        </a:gs>
                      </a:gsLst>
                      <a:lin ang="0" scaled="1"/>
                      <a:tileRect/>
                    </a:gradFill>
                    <a:ln w="25400" cap="flat" cmpd="sng" algn="ctr">
                      <a:noFill/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>
                        <a:defRPr/>
                      </a:pPr>
                      <a:endParaRPr lang="en-US" sz="1600" kern="0">
                        <a:solidFill>
                          <a:srgbClr val="FFFFFF"/>
                        </a:solidFill>
                        <a:latin typeface="Arial" panose="020B0604020202020204"/>
                      </a:endParaRPr>
                    </a:p>
                  </p:txBody>
                </p:sp>
                <p:sp>
                  <p:nvSpPr>
                    <p:cNvPr id="1011" name="Rectangle: Rounded Corners 88">
                      <a:extLst>
                        <a:ext uri="{FF2B5EF4-FFF2-40B4-BE49-F238E27FC236}">
                          <a16:creationId xmlns:a16="http://schemas.microsoft.com/office/drawing/2014/main" id="{092DCA02-85F2-4403-D2D0-C5448A23BD3D}"/>
                        </a:ext>
                      </a:extLst>
                    </p:cNvPr>
                    <p:cNvSpPr/>
                    <p:nvPr/>
                  </p:nvSpPr>
                  <p:spPr>
                    <a:xfrm rot="10800000">
                      <a:off x="1879901" y="3917418"/>
                      <a:ext cx="18288" cy="537297"/>
                    </a:xfrm>
                    <a:prstGeom prst="roundRect">
                      <a:avLst/>
                    </a:prstGeom>
                    <a:gradFill flip="none" rotWithShape="1">
                      <a:gsLst>
                        <a:gs pos="0">
                          <a:srgbClr val="0D3759">
                            <a:lumMod val="20000"/>
                            <a:lumOff val="80000"/>
                          </a:srgbClr>
                        </a:gs>
                        <a:gs pos="73000">
                          <a:srgbClr val="0D3759">
                            <a:lumMod val="60000"/>
                            <a:lumOff val="40000"/>
                          </a:srgbClr>
                        </a:gs>
                        <a:gs pos="83000">
                          <a:srgbClr val="0D3759">
                            <a:lumMod val="75000"/>
                          </a:srgbClr>
                        </a:gs>
                        <a:gs pos="100000">
                          <a:srgbClr val="0D3759">
                            <a:lumMod val="50000"/>
                          </a:srgbClr>
                        </a:gs>
                      </a:gsLst>
                      <a:lin ang="0" scaled="1"/>
                      <a:tileRect/>
                    </a:gradFill>
                    <a:ln w="25400" cap="flat" cmpd="sng" algn="ctr">
                      <a:noFill/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>
                        <a:defRPr/>
                      </a:pPr>
                      <a:endParaRPr lang="en-US" sz="1600" kern="0">
                        <a:solidFill>
                          <a:srgbClr val="FFFFFF"/>
                        </a:solidFill>
                        <a:latin typeface="Arial" panose="020B0604020202020204"/>
                      </a:endParaRPr>
                    </a:p>
                  </p:txBody>
                </p:sp>
              </p:grpSp>
              <p:grpSp>
                <p:nvGrpSpPr>
                  <p:cNvPr id="1007" name="Group 1006">
                    <a:extLst>
                      <a:ext uri="{FF2B5EF4-FFF2-40B4-BE49-F238E27FC236}">
                        <a16:creationId xmlns:a16="http://schemas.microsoft.com/office/drawing/2014/main" id="{D2C4D5B7-3250-F776-EFA5-735ADF99FC63}"/>
                      </a:ext>
                    </a:extLst>
                  </p:cNvPr>
                  <p:cNvGrpSpPr/>
                  <p:nvPr/>
                </p:nvGrpSpPr>
                <p:grpSpPr>
                  <a:xfrm rot="1730393" flipH="1">
                    <a:off x="1671910" y="4304960"/>
                    <a:ext cx="35288" cy="91441"/>
                    <a:chOff x="1862901" y="3917418"/>
                    <a:chExt cx="35288" cy="537305"/>
                  </a:xfrm>
                </p:grpSpPr>
                <p:sp>
                  <p:nvSpPr>
                    <p:cNvPr id="1008" name="Rectangle: Rounded Corners 85">
                      <a:extLst>
                        <a:ext uri="{FF2B5EF4-FFF2-40B4-BE49-F238E27FC236}">
                          <a16:creationId xmlns:a16="http://schemas.microsoft.com/office/drawing/2014/main" id="{714C775B-1F71-06F6-57FC-487AB130481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862901" y="3917418"/>
                      <a:ext cx="18288" cy="537297"/>
                    </a:xfrm>
                    <a:prstGeom prst="roundRect">
                      <a:avLst/>
                    </a:prstGeom>
                    <a:gradFill flip="none" rotWithShape="1">
                      <a:gsLst>
                        <a:gs pos="0">
                          <a:srgbClr val="0D3759">
                            <a:lumMod val="20000"/>
                            <a:lumOff val="80000"/>
                          </a:srgbClr>
                        </a:gs>
                        <a:gs pos="73000">
                          <a:srgbClr val="0D3759">
                            <a:lumMod val="60000"/>
                            <a:lumOff val="40000"/>
                          </a:srgbClr>
                        </a:gs>
                        <a:gs pos="83000">
                          <a:srgbClr val="0D3759">
                            <a:lumMod val="75000"/>
                          </a:srgbClr>
                        </a:gs>
                        <a:gs pos="100000">
                          <a:srgbClr val="0D3759">
                            <a:lumMod val="50000"/>
                          </a:srgbClr>
                        </a:gs>
                      </a:gsLst>
                      <a:lin ang="0" scaled="1"/>
                      <a:tileRect/>
                    </a:gradFill>
                    <a:ln w="25400" cap="flat" cmpd="sng" algn="ctr">
                      <a:noFill/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>
                        <a:defRPr/>
                      </a:pPr>
                      <a:endParaRPr lang="en-US" sz="1600" kern="0">
                        <a:solidFill>
                          <a:srgbClr val="FFFFFF"/>
                        </a:solidFill>
                        <a:latin typeface="Arial" panose="020B0604020202020204"/>
                      </a:endParaRPr>
                    </a:p>
                  </p:txBody>
                </p:sp>
                <p:sp>
                  <p:nvSpPr>
                    <p:cNvPr id="1009" name="Rectangle: Rounded Corners 86">
                      <a:extLst>
                        <a:ext uri="{FF2B5EF4-FFF2-40B4-BE49-F238E27FC236}">
                          <a16:creationId xmlns:a16="http://schemas.microsoft.com/office/drawing/2014/main" id="{7FF6FAB1-7931-1F14-F40D-2498F6C228B4}"/>
                        </a:ext>
                      </a:extLst>
                    </p:cNvPr>
                    <p:cNvSpPr/>
                    <p:nvPr/>
                  </p:nvSpPr>
                  <p:spPr>
                    <a:xfrm rot="10800000">
                      <a:off x="1879901" y="3917426"/>
                      <a:ext cx="18288" cy="537297"/>
                    </a:xfrm>
                    <a:prstGeom prst="roundRect">
                      <a:avLst/>
                    </a:prstGeom>
                    <a:gradFill flip="none" rotWithShape="1">
                      <a:gsLst>
                        <a:gs pos="0">
                          <a:srgbClr val="0D3759">
                            <a:lumMod val="20000"/>
                            <a:lumOff val="80000"/>
                          </a:srgbClr>
                        </a:gs>
                        <a:gs pos="73000">
                          <a:srgbClr val="0D3759">
                            <a:lumMod val="60000"/>
                            <a:lumOff val="40000"/>
                          </a:srgbClr>
                        </a:gs>
                        <a:gs pos="83000">
                          <a:srgbClr val="0D3759">
                            <a:lumMod val="75000"/>
                          </a:srgbClr>
                        </a:gs>
                        <a:gs pos="100000">
                          <a:srgbClr val="0D3759">
                            <a:lumMod val="50000"/>
                          </a:srgbClr>
                        </a:gs>
                      </a:gsLst>
                      <a:lin ang="0" scaled="1"/>
                      <a:tileRect/>
                    </a:gradFill>
                    <a:ln w="25400" cap="flat" cmpd="sng" algn="ctr">
                      <a:noFill/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>
                        <a:defRPr/>
                      </a:pPr>
                      <a:endParaRPr lang="en-US" sz="1600" kern="0">
                        <a:solidFill>
                          <a:srgbClr val="FFFFFF"/>
                        </a:solidFill>
                        <a:latin typeface="Arial" panose="020B0604020202020204"/>
                      </a:endParaRPr>
                    </a:p>
                  </p:txBody>
                </p:sp>
              </p:grpSp>
            </p:grpSp>
          </p:grpSp>
          <p:grpSp>
            <p:nvGrpSpPr>
              <p:cNvPr id="1101" name="Group 1100">
                <a:extLst>
                  <a:ext uri="{FF2B5EF4-FFF2-40B4-BE49-F238E27FC236}">
                    <a16:creationId xmlns:a16="http://schemas.microsoft.com/office/drawing/2014/main" id="{AA5198FA-C916-77DB-C623-472D78FC32E2}"/>
                  </a:ext>
                </a:extLst>
              </p:cNvPr>
              <p:cNvGrpSpPr/>
              <p:nvPr/>
            </p:nvGrpSpPr>
            <p:grpSpPr>
              <a:xfrm rot="4790200">
                <a:off x="3002437" y="2570474"/>
                <a:ext cx="174867" cy="196879"/>
                <a:chOff x="3390226" y="902644"/>
                <a:chExt cx="294782" cy="292335"/>
              </a:xfrm>
            </p:grpSpPr>
            <p:grpSp>
              <p:nvGrpSpPr>
                <p:cNvPr id="1102" name="Group 1101">
                  <a:extLst>
                    <a:ext uri="{FF2B5EF4-FFF2-40B4-BE49-F238E27FC236}">
                      <a16:creationId xmlns:a16="http://schemas.microsoft.com/office/drawing/2014/main" id="{C0D704DF-C621-3E6E-6C86-125B9C98B78B}"/>
                    </a:ext>
                  </a:extLst>
                </p:cNvPr>
                <p:cNvGrpSpPr/>
                <p:nvPr/>
              </p:nvGrpSpPr>
              <p:grpSpPr>
                <a:xfrm>
                  <a:off x="3390226" y="902644"/>
                  <a:ext cx="294782" cy="292335"/>
                  <a:chOff x="3390226" y="902644"/>
                  <a:chExt cx="294782" cy="292335"/>
                </a:xfrm>
              </p:grpSpPr>
              <p:sp>
                <p:nvSpPr>
                  <p:cNvPr id="1104" name="Oval 1103">
                    <a:extLst>
                      <a:ext uri="{FF2B5EF4-FFF2-40B4-BE49-F238E27FC236}">
                        <a16:creationId xmlns:a16="http://schemas.microsoft.com/office/drawing/2014/main" id="{6736D34F-D219-1D7C-1911-C6AC58B0DF7C}"/>
                      </a:ext>
                    </a:extLst>
                  </p:cNvPr>
                  <p:cNvSpPr/>
                  <p:nvPr/>
                </p:nvSpPr>
                <p:spPr>
                  <a:xfrm rot="4711444">
                    <a:off x="3391449" y="901421"/>
                    <a:ext cx="292335" cy="294782"/>
                  </a:xfrm>
                  <a:prstGeom prst="ellipse">
                    <a:avLst/>
                  </a:prstGeom>
                  <a:solidFill>
                    <a:srgbClr val="FF2B28">
                      <a:lumMod val="20000"/>
                      <a:lumOff val="80000"/>
                    </a:srgbClr>
                  </a:solidFill>
                  <a:ln w="15875" cap="flat" cmpd="sng" algn="ctr">
                    <a:solidFill>
                      <a:srgbClr val="CC95BC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5783">
                      <a:defRPr/>
                    </a:pPr>
                    <a:endParaRPr lang="en-US" sz="1000" kern="0">
                      <a:solidFill>
                        <a:srgbClr val="FFFFFF"/>
                      </a:solidFill>
                      <a:latin typeface="Arial" panose="020B0604020202020204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1105" name="Group 1104">
                    <a:extLst>
                      <a:ext uri="{FF2B5EF4-FFF2-40B4-BE49-F238E27FC236}">
                        <a16:creationId xmlns:a16="http://schemas.microsoft.com/office/drawing/2014/main" id="{1F03E16C-6098-ADB0-A630-A700A15DCEBD}"/>
                      </a:ext>
                    </a:extLst>
                  </p:cNvPr>
                  <p:cNvGrpSpPr/>
                  <p:nvPr/>
                </p:nvGrpSpPr>
                <p:grpSpPr>
                  <a:xfrm rot="4711444">
                    <a:off x="3413226" y="963115"/>
                    <a:ext cx="164790" cy="149511"/>
                    <a:chOff x="8770428" y="4145225"/>
                    <a:chExt cx="307647" cy="276804"/>
                  </a:xfrm>
                </p:grpSpPr>
                <p:sp>
                  <p:nvSpPr>
                    <p:cNvPr id="1156" name="Freeform: Shape 474">
                      <a:extLst>
                        <a:ext uri="{FF2B5EF4-FFF2-40B4-BE49-F238E27FC236}">
                          <a16:creationId xmlns:a16="http://schemas.microsoft.com/office/drawing/2014/main" id="{3A21C61D-10D0-1F21-C98E-00B871DABDCC}"/>
                        </a:ext>
                      </a:extLst>
                    </p:cNvPr>
                    <p:cNvSpPr/>
                    <p:nvPr/>
                  </p:nvSpPr>
                  <p:spPr>
                    <a:xfrm rot="5813516">
                      <a:off x="8823930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57" name="Freeform: Shape 475">
                      <a:extLst>
                        <a:ext uri="{FF2B5EF4-FFF2-40B4-BE49-F238E27FC236}">
                          <a16:creationId xmlns:a16="http://schemas.microsoft.com/office/drawing/2014/main" id="{3A749575-F0E6-75FB-F1D1-7781E3D80C87}"/>
                        </a:ext>
                      </a:extLst>
                    </p:cNvPr>
                    <p:cNvSpPr/>
                    <p:nvPr/>
                  </p:nvSpPr>
                  <p:spPr>
                    <a:xfrm rot="6799576">
                      <a:off x="8855933" y="4253069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58" name="Freeform: Shape 476">
                      <a:extLst>
                        <a:ext uri="{FF2B5EF4-FFF2-40B4-BE49-F238E27FC236}">
                          <a16:creationId xmlns:a16="http://schemas.microsoft.com/office/drawing/2014/main" id="{1087A5D7-1B67-D16C-8E0E-2B8097C73DB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50061" y="4188172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59" name="Freeform: Shape 477">
                      <a:extLst>
                        <a:ext uri="{FF2B5EF4-FFF2-40B4-BE49-F238E27FC236}">
                          <a16:creationId xmlns:a16="http://schemas.microsoft.com/office/drawing/2014/main" id="{FBAF64D1-E28F-A731-7F29-2F14665D8A40}"/>
                        </a:ext>
                      </a:extLst>
                    </p:cNvPr>
                    <p:cNvSpPr/>
                    <p:nvPr/>
                  </p:nvSpPr>
                  <p:spPr>
                    <a:xfrm rot="15284729">
                      <a:off x="8851362" y="4146483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60" name="Freeform: Shape 478">
                      <a:extLst>
                        <a:ext uri="{FF2B5EF4-FFF2-40B4-BE49-F238E27FC236}">
                          <a16:creationId xmlns:a16="http://schemas.microsoft.com/office/drawing/2014/main" id="{7C12087E-7E54-BEE6-3799-89C18EF996E5}"/>
                        </a:ext>
                      </a:extLst>
                    </p:cNvPr>
                    <p:cNvSpPr/>
                    <p:nvPr/>
                  </p:nvSpPr>
                  <p:spPr>
                    <a:xfrm rot="4030563">
                      <a:off x="8954046" y="4390351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61" name="Freeform: Shape 479">
                      <a:extLst>
                        <a:ext uri="{FF2B5EF4-FFF2-40B4-BE49-F238E27FC236}">
                          <a16:creationId xmlns:a16="http://schemas.microsoft.com/office/drawing/2014/main" id="{FA3F8106-5DE3-47C1-D6E3-510C7E8A973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78794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62" name="Freeform: Shape 480">
                      <a:extLst>
                        <a:ext uri="{FF2B5EF4-FFF2-40B4-BE49-F238E27FC236}">
                          <a16:creationId xmlns:a16="http://schemas.microsoft.com/office/drawing/2014/main" id="{B33F8631-227F-A038-8CD7-4D7AD1B39DB4}"/>
                        </a:ext>
                      </a:extLst>
                    </p:cNvPr>
                    <p:cNvSpPr/>
                    <p:nvPr/>
                  </p:nvSpPr>
                  <p:spPr>
                    <a:xfrm rot="1648623">
                      <a:off x="8778238" y="4278378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63" name="Freeform: Shape 481">
                      <a:extLst>
                        <a:ext uri="{FF2B5EF4-FFF2-40B4-BE49-F238E27FC236}">
                          <a16:creationId xmlns:a16="http://schemas.microsoft.com/office/drawing/2014/main" id="{10FD7446-5568-1F98-2E88-E8BD4DB4A482}"/>
                        </a:ext>
                      </a:extLst>
                    </p:cNvPr>
                    <p:cNvSpPr/>
                    <p:nvPr/>
                  </p:nvSpPr>
                  <p:spPr>
                    <a:xfrm rot="20582585">
                      <a:off x="8817085" y="4302941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64" name="Freeform: Shape 482">
                      <a:extLst>
                        <a:ext uri="{FF2B5EF4-FFF2-40B4-BE49-F238E27FC236}">
                          <a16:creationId xmlns:a16="http://schemas.microsoft.com/office/drawing/2014/main" id="{C1EEB151-52CD-FD69-C6FB-720FF9D4A86A}"/>
                        </a:ext>
                      </a:extLst>
                    </p:cNvPr>
                    <p:cNvSpPr/>
                    <p:nvPr/>
                  </p:nvSpPr>
                  <p:spPr>
                    <a:xfrm rot="17414284">
                      <a:off x="8943702" y="414065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65" name="Freeform: Shape 483">
                      <a:extLst>
                        <a:ext uri="{FF2B5EF4-FFF2-40B4-BE49-F238E27FC236}">
                          <a16:creationId xmlns:a16="http://schemas.microsoft.com/office/drawing/2014/main" id="{88F87D81-A056-7721-B77C-0B51DA27FBFB}"/>
                        </a:ext>
                      </a:extLst>
                    </p:cNvPr>
                    <p:cNvSpPr/>
                    <p:nvPr/>
                  </p:nvSpPr>
                  <p:spPr>
                    <a:xfrm rot="9043087">
                      <a:off x="8883430" y="4342996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66" name="Freeform: Shape 484">
                      <a:extLst>
                        <a:ext uri="{FF2B5EF4-FFF2-40B4-BE49-F238E27FC236}">
                          <a16:creationId xmlns:a16="http://schemas.microsoft.com/office/drawing/2014/main" id="{316A2BB1-EB64-FAD3-CEEC-CCE25C882AC7}"/>
                        </a:ext>
                      </a:extLst>
                    </p:cNvPr>
                    <p:cNvSpPr/>
                    <p:nvPr/>
                  </p:nvSpPr>
                  <p:spPr>
                    <a:xfrm rot="5209521">
                      <a:off x="8961351" y="4317762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67" name="Freeform: Shape 485">
                      <a:extLst>
                        <a:ext uri="{FF2B5EF4-FFF2-40B4-BE49-F238E27FC236}">
                          <a16:creationId xmlns:a16="http://schemas.microsoft.com/office/drawing/2014/main" id="{88463C8A-FB3B-5883-E98D-B4B7970052F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18409" y="432953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68" name="Rectangle: Rounded Corners 486">
                      <a:extLst>
                        <a:ext uri="{FF2B5EF4-FFF2-40B4-BE49-F238E27FC236}">
                          <a16:creationId xmlns:a16="http://schemas.microsoft.com/office/drawing/2014/main" id="{5AC0E71A-CEC6-FC1C-75EC-56949B1AA6D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86901" y="440374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69" name="Rectangle: Rounded Corners 487">
                      <a:extLst>
                        <a:ext uri="{FF2B5EF4-FFF2-40B4-BE49-F238E27FC236}">
                          <a16:creationId xmlns:a16="http://schemas.microsoft.com/office/drawing/2014/main" id="{3C157018-C335-BEBD-7FE0-62B18D3B614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58174" y="429137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70" name="Rectangle: Rounded Corners 488">
                      <a:extLst>
                        <a:ext uri="{FF2B5EF4-FFF2-40B4-BE49-F238E27FC236}">
                          <a16:creationId xmlns:a16="http://schemas.microsoft.com/office/drawing/2014/main" id="{4932265B-A18D-53B1-10D4-CAD8CEA2E23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770428" y="419613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71" name="Rectangle: Rounded Corners 489">
                      <a:extLst>
                        <a:ext uri="{FF2B5EF4-FFF2-40B4-BE49-F238E27FC236}">
                          <a16:creationId xmlns:a16="http://schemas.microsoft.com/office/drawing/2014/main" id="{D69E9205-2D75-1563-9CEE-A0AFE4FED98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24873" y="4240076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72" name="Rectangle: Rounded Corners 490">
                      <a:extLst>
                        <a:ext uri="{FF2B5EF4-FFF2-40B4-BE49-F238E27FC236}">
                          <a16:creationId xmlns:a16="http://schemas.microsoft.com/office/drawing/2014/main" id="{0CCB2F3E-5132-81A3-92F7-D4C1890A8BA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50643" y="429398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73" name="Rectangle: Rounded Corners 491">
                      <a:extLst>
                        <a:ext uri="{FF2B5EF4-FFF2-40B4-BE49-F238E27FC236}">
                          <a16:creationId xmlns:a16="http://schemas.microsoft.com/office/drawing/2014/main" id="{AA532EE9-2292-7A9A-EA32-864F64D9034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17085" y="439459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</p:grpSp>
              <p:grpSp>
                <p:nvGrpSpPr>
                  <p:cNvPr id="1106" name="Group 1105">
                    <a:extLst>
                      <a:ext uri="{FF2B5EF4-FFF2-40B4-BE49-F238E27FC236}">
                        <a16:creationId xmlns:a16="http://schemas.microsoft.com/office/drawing/2014/main" id="{DF68D90C-5955-DC44-0014-878896940231}"/>
                      </a:ext>
                    </a:extLst>
                  </p:cNvPr>
                  <p:cNvGrpSpPr/>
                  <p:nvPr/>
                </p:nvGrpSpPr>
                <p:grpSpPr>
                  <a:xfrm rot="13031820">
                    <a:off x="3472433" y="927802"/>
                    <a:ext cx="164791" cy="149512"/>
                    <a:chOff x="8770428" y="4145225"/>
                    <a:chExt cx="307647" cy="276804"/>
                  </a:xfrm>
                </p:grpSpPr>
                <p:sp>
                  <p:nvSpPr>
                    <p:cNvPr id="1140" name="Freeform: Shape 458">
                      <a:extLst>
                        <a:ext uri="{FF2B5EF4-FFF2-40B4-BE49-F238E27FC236}">
                          <a16:creationId xmlns:a16="http://schemas.microsoft.com/office/drawing/2014/main" id="{725214CC-AB8C-C08D-96CC-AEFDFA0F9459}"/>
                        </a:ext>
                      </a:extLst>
                    </p:cNvPr>
                    <p:cNvSpPr/>
                    <p:nvPr/>
                  </p:nvSpPr>
                  <p:spPr>
                    <a:xfrm rot="5813516">
                      <a:off x="8823930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41" name="Freeform: Shape 459">
                      <a:extLst>
                        <a:ext uri="{FF2B5EF4-FFF2-40B4-BE49-F238E27FC236}">
                          <a16:creationId xmlns:a16="http://schemas.microsoft.com/office/drawing/2014/main" id="{7C75321E-E7B8-EA09-4035-661FB189D103}"/>
                        </a:ext>
                      </a:extLst>
                    </p:cNvPr>
                    <p:cNvSpPr/>
                    <p:nvPr/>
                  </p:nvSpPr>
                  <p:spPr>
                    <a:xfrm rot="15284729">
                      <a:off x="8851362" y="4146483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42" name="Freeform: Shape 460">
                      <a:extLst>
                        <a:ext uri="{FF2B5EF4-FFF2-40B4-BE49-F238E27FC236}">
                          <a16:creationId xmlns:a16="http://schemas.microsoft.com/office/drawing/2014/main" id="{B24715B1-AEEC-57F8-363C-AF483F3967D3}"/>
                        </a:ext>
                      </a:extLst>
                    </p:cNvPr>
                    <p:cNvSpPr/>
                    <p:nvPr/>
                  </p:nvSpPr>
                  <p:spPr>
                    <a:xfrm rot="4030563">
                      <a:off x="8954046" y="4390351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43" name="Freeform: Shape 461">
                      <a:extLst>
                        <a:ext uri="{FF2B5EF4-FFF2-40B4-BE49-F238E27FC236}">
                          <a16:creationId xmlns:a16="http://schemas.microsoft.com/office/drawing/2014/main" id="{C6F5024A-0FAD-766D-BAA3-D057ABD1C5F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29986" y="4287522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44" name="Freeform: Shape 462">
                      <a:extLst>
                        <a:ext uri="{FF2B5EF4-FFF2-40B4-BE49-F238E27FC236}">
                          <a16:creationId xmlns:a16="http://schemas.microsoft.com/office/drawing/2014/main" id="{6EAE1ED4-A901-9245-CBA5-B132E3DCAADA}"/>
                        </a:ext>
                      </a:extLst>
                    </p:cNvPr>
                    <p:cNvSpPr/>
                    <p:nvPr/>
                  </p:nvSpPr>
                  <p:spPr>
                    <a:xfrm rot="1648623">
                      <a:off x="8778238" y="4278378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45" name="Freeform: Shape 463">
                      <a:extLst>
                        <a:ext uri="{FF2B5EF4-FFF2-40B4-BE49-F238E27FC236}">
                          <a16:creationId xmlns:a16="http://schemas.microsoft.com/office/drawing/2014/main" id="{EFE11B9A-4E84-C0CB-15F4-E66A1F113EF0}"/>
                        </a:ext>
                      </a:extLst>
                    </p:cNvPr>
                    <p:cNvSpPr/>
                    <p:nvPr/>
                  </p:nvSpPr>
                  <p:spPr>
                    <a:xfrm rot="20582585">
                      <a:off x="8817085" y="4302941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46" name="Freeform: Shape 464">
                      <a:extLst>
                        <a:ext uri="{FF2B5EF4-FFF2-40B4-BE49-F238E27FC236}">
                          <a16:creationId xmlns:a16="http://schemas.microsoft.com/office/drawing/2014/main" id="{E7A5B763-CCB7-3784-D4F3-5D0E91C0D301}"/>
                        </a:ext>
                      </a:extLst>
                    </p:cNvPr>
                    <p:cNvSpPr/>
                    <p:nvPr/>
                  </p:nvSpPr>
                  <p:spPr>
                    <a:xfrm rot="17414284">
                      <a:off x="8943702" y="414065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47" name="Freeform: Shape 465">
                      <a:extLst>
                        <a:ext uri="{FF2B5EF4-FFF2-40B4-BE49-F238E27FC236}">
                          <a16:creationId xmlns:a16="http://schemas.microsoft.com/office/drawing/2014/main" id="{D3804B79-EF92-090F-78F0-0598AA8BF33A}"/>
                        </a:ext>
                      </a:extLst>
                    </p:cNvPr>
                    <p:cNvSpPr/>
                    <p:nvPr/>
                  </p:nvSpPr>
                  <p:spPr>
                    <a:xfrm rot="9043087">
                      <a:off x="8883430" y="4342996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48" name="Freeform: Shape 466">
                      <a:extLst>
                        <a:ext uri="{FF2B5EF4-FFF2-40B4-BE49-F238E27FC236}">
                          <a16:creationId xmlns:a16="http://schemas.microsoft.com/office/drawing/2014/main" id="{AEA26EBB-6BD4-8535-512E-33C0859BFA22}"/>
                        </a:ext>
                      </a:extLst>
                    </p:cNvPr>
                    <p:cNvSpPr/>
                    <p:nvPr/>
                  </p:nvSpPr>
                  <p:spPr>
                    <a:xfrm rot="5209521">
                      <a:off x="8961351" y="4317762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49" name="Freeform: Shape 467">
                      <a:extLst>
                        <a:ext uri="{FF2B5EF4-FFF2-40B4-BE49-F238E27FC236}">
                          <a16:creationId xmlns:a16="http://schemas.microsoft.com/office/drawing/2014/main" id="{6ED6CCC2-5F26-B0BB-DF66-F5B5309A549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18409" y="432953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50" name="Freeform: Shape 468">
                      <a:extLst>
                        <a:ext uri="{FF2B5EF4-FFF2-40B4-BE49-F238E27FC236}">
                          <a16:creationId xmlns:a16="http://schemas.microsoft.com/office/drawing/2014/main" id="{1F4B695C-542E-363B-A4E0-3FDA662768E4}"/>
                        </a:ext>
                      </a:extLst>
                    </p:cNvPr>
                    <p:cNvSpPr/>
                    <p:nvPr/>
                  </p:nvSpPr>
                  <p:spPr>
                    <a:xfrm rot="18952815">
                      <a:off x="8990335" y="4236377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51" name="Rectangle: Rounded Corners 469">
                      <a:extLst>
                        <a:ext uri="{FF2B5EF4-FFF2-40B4-BE49-F238E27FC236}">
                          <a16:creationId xmlns:a16="http://schemas.microsoft.com/office/drawing/2014/main" id="{AB37D83E-819B-B4DD-EA5C-33098E89F9A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86901" y="440374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52" name="Rectangle: Rounded Corners 470">
                      <a:extLst>
                        <a:ext uri="{FF2B5EF4-FFF2-40B4-BE49-F238E27FC236}">
                          <a16:creationId xmlns:a16="http://schemas.microsoft.com/office/drawing/2014/main" id="{2DB06C11-DB4B-52CA-913E-8D9FFA57F1D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58174" y="429137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53" name="Rectangle: Rounded Corners 471">
                      <a:extLst>
                        <a:ext uri="{FF2B5EF4-FFF2-40B4-BE49-F238E27FC236}">
                          <a16:creationId xmlns:a16="http://schemas.microsoft.com/office/drawing/2014/main" id="{9B5707DA-3E47-E443-1B6F-4A44CB7EFAD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770428" y="419613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54" name="Rectangle: Rounded Corners 472">
                      <a:extLst>
                        <a:ext uri="{FF2B5EF4-FFF2-40B4-BE49-F238E27FC236}">
                          <a16:creationId xmlns:a16="http://schemas.microsoft.com/office/drawing/2014/main" id="{D2D9C5CC-B82C-90DE-EB3A-D4455E3F590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50643" y="429398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55" name="Rectangle: Rounded Corners 473">
                      <a:extLst>
                        <a:ext uri="{FF2B5EF4-FFF2-40B4-BE49-F238E27FC236}">
                          <a16:creationId xmlns:a16="http://schemas.microsoft.com/office/drawing/2014/main" id="{34FEBF93-8AA0-4525-EE13-A1A57B0B9BB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17085" y="439459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</p:grpSp>
              <p:grpSp>
                <p:nvGrpSpPr>
                  <p:cNvPr id="1107" name="Group 1106">
                    <a:extLst>
                      <a:ext uri="{FF2B5EF4-FFF2-40B4-BE49-F238E27FC236}">
                        <a16:creationId xmlns:a16="http://schemas.microsoft.com/office/drawing/2014/main" id="{2C9BF16E-5845-D2A8-F215-10EA8E533B36}"/>
                      </a:ext>
                    </a:extLst>
                  </p:cNvPr>
                  <p:cNvGrpSpPr/>
                  <p:nvPr/>
                </p:nvGrpSpPr>
                <p:grpSpPr>
                  <a:xfrm rot="20035314">
                    <a:off x="3439984" y="1013397"/>
                    <a:ext cx="166170" cy="147874"/>
                    <a:chOff x="8770428" y="4145965"/>
                    <a:chExt cx="307647" cy="276064"/>
                  </a:xfrm>
                </p:grpSpPr>
                <p:sp>
                  <p:nvSpPr>
                    <p:cNvPr id="1125" name="Freeform: Shape 443">
                      <a:extLst>
                        <a:ext uri="{FF2B5EF4-FFF2-40B4-BE49-F238E27FC236}">
                          <a16:creationId xmlns:a16="http://schemas.microsoft.com/office/drawing/2014/main" id="{E757E80C-925D-9C4E-7A40-A7DCEF3B4FD9}"/>
                        </a:ext>
                      </a:extLst>
                    </p:cNvPr>
                    <p:cNvSpPr/>
                    <p:nvPr/>
                  </p:nvSpPr>
                  <p:spPr>
                    <a:xfrm rot="5813516">
                      <a:off x="8823930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26" name="Freeform: Shape 444">
                      <a:extLst>
                        <a:ext uri="{FF2B5EF4-FFF2-40B4-BE49-F238E27FC236}">
                          <a16:creationId xmlns:a16="http://schemas.microsoft.com/office/drawing/2014/main" id="{68B7467D-FC01-2558-5159-1B7021A24E2C}"/>
                        </a:ext>
                      </a:extLst>
                    </p:cNvPr>
                    <p:cNvSpPr/>
                    <p:nvPr/>
                  </p:nvSpPr>
                  <p:spPr>
                    <a:xfrm rot="15284729">
                      <a:off x="8851362" y="4146483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27" name="Freeform: Shape 445">
                      <a:extLst>
                        <a:ext uri="{FF2B5EF4-FFF2-40B4-BE49-F238E27FC236}">
                          <a16:creationId xmlns:a16="http://schemas.microsoft.com/office/drawing/2014/main" id="{4CCA1FDB-DF34-7A26-85C6-1C9FF34D0249}"/>
                        </a:ext>
                      </a:extLst>
                    </p:cNvPr>
                    <p:cNvSpPr/>
                    <p:nvPr/>
                  </p:nvSpPr>
                  <p:spPr>
                    <a:xfrm rot="4030563">
                      <a:off x="8954046" y="4390351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28" name="Freeform: Shape 446">
                      <a:extLst>
                        <a:ext uri="{FF2B5EF4-FFF2-40B4-BE49-F238E27FC236}">
                          <a16:creationId xmlns:a16="http://schemas.microsoft.com/office/drawing/2014/main" id="{8E853A55-53F1-2461-6496-80D972583B9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78794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29" name="Freeform: Shape 447">
                      <a:extLst>
                        <a:ext uri="{FF2B5EF4-FFF2-40B4-BE49-F238E27FC236}">
                          <a16:creationId xmlns:a16="http://schemas.microsoft.com/office/drawing/2014/main" id="{EBFBE412-02AA-F6DB-C6BA-5989C28AFD24}"/>
                        </a:ext>
                      </a:extLst>
                    </p:cNvPr>
                    <p:cNvSpPr/>
                    <p:nvPr/>
                  </p:nvSpPr>
                  <p:spPr>
                    <a:xfrm rot="1648623">
                      <a:off x="8778238" y="4278378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30" name="Freeform: Shape 448">
                      <a:extLst>
                        <a:ext uri="{FF2B5EF4-FFF2-40B4-BE49-F238E27FC236}">
                          <a16:creationId xmlns:a16="http://schemas.microsoft.com/office/drawing/2014/main" id="{9623BF21-265B-595D-70CE-2D34D3ECD1A5}"/>
                        </a:ext>
                      </a:extLst>
                    </p:cNvPr>
                    <p:cNvSpPr/>
                    <p:nvPr/>
                  </p:nvSpPr>
                  <p:spPr>
                    <a:xfrm rot="20582585">
                      <a:off x="8817085" y="4302941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31" name="Freeform: Shape 449">
                      <a:extLst>
                        <a:ext uri="{FF2B5EF4-FFF2-40B4-BE49-F238E27FC236}">
                          <a16:creationId xmlns:a16="http://schemas.microsoft.com/office/drawing/2014/main" id="{A313B003-38C0-FE72-4055-A60C135AA92C}"/>
                        </a:ext>
                      </a:extLst>
                    </p:cNvPr>
                    <p:cNvSpPr/>
                    <p:nvPr/>
                  </p:nvSpPr>
                  <p:spPr>
                    <a:xfrm rot="9043087">
                      <a:off x="8883430" y="4342996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32" name="Freeform: Shape 450">
                      <a:extLst>
                        <a:ext uri="{FF2B5EF4-FFF2-40B4-BE49-F238E27FC236}">
                          <a16:creationId xmlns:a16="http://schemas.microsoft.com/office/drawing/2014/main" id="{190C3375-A8E0-06DB-8610-7FED430CB700}"/>
                        </a:ext>
                      </a:extLst>
                    </p:cNvPr>
                    <p:cNvSpPr/>
                    <p:nvPr/>
                  </p:nvSpPr>
                  <p:spPr>
                    <a:xfrm rot="5209521">
                      <a:off x="8961351" y="4317762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33" name="Freeform: Shape 451">
                      <a:extLst>
                        <a:ext uri="{FF2B5EF4-FFF2-40B4-BE49-F238E27FC236}">
                          <a16:creationId xmlns:a16="http://schemas.microsoft.com/office/drawing/2014/main" id="{C1625E71-BE56-AC9E-5883-06E0FED16DD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18409" y="432953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34" name="Rectangle: Rounded Corners 452">
                      <a:extLst>
                        <a:ext uri="{FF2B5EF4-FFF2-40B4-BE49-F238E27FC236}">
                          <a16:creationId xmlns:a16="http://schemas.microsoft.com/office/drawing/2014/main" id="{3990C828-098C-41A7-B76B-5F891A57014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86901" y="440374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35" name="Rectangle: Rounded Corners 453">
                      <a:extLst>
                        <a:ext uri="{FF2B5EF4-FFF2-40B4-BE49-F238E27FC236}">
                          <a16:creationId xmlns:a16="http://schemas.microsoft.com/office/drawing/2014/main" id="{BB0A44F0-4943-9C4B-0150-4B5D80421F6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58174" y="429137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36" name="Rectangle: Rounded Corners 454">
                      <a:extLst>
                        <a:ext uri="{FF2B5EF4-FFF2-40B4-BE49-F238E27FC236}">
                          <a16:creationId xmlns:a16="http://schemas.microsoft.com/office/drawing/2014/main" id="{090888EF-BD24-3C37-5CF4-5FDE80824AB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770428" y="419613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37" name="Rectangle: Rounded Corners 455">
                      <a:extLst>
                        <a:ext uri="{FF2B5EF4-FFF2-40B4-BE49-F238E27FC236}">
                          <a16:creationId xmlns:a16="http://schemas.microsoft.com/office/drawing/2014/main" id="{425FFE83-E662-D747-09EF-3497706CCA2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50643" y="429398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38" name="Rectangle: Rounded Corners 456">
                      <a:extLst>
                        <a:ext uri="{FF2B5EF4-FFF2-40B4-BE49-F238E27FC236}">
                          <a16:creationId xmlns:a16="http://schemas.microsoft.com/office/drawing/2014/main" id="{43B7F64E-ABC5-16C5-79C8-BC1C59B5998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17085" y="439459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39" name="Rectangle: Rounded Corners 457">
                      <a:extLst>
                        <a:ext uri="{FF2B5EF4-FFF2-40B4-BE49-F238E27FC236}">
                          <a16:creationId xmlns:a16="http://schemas.microsoft.com/office/drawing/2014/main" id="{E4C6E37F-691C-6A5C-D1B2-584C696EB3B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94095" y="4145965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</p:grpSp>
              <p:grpSp>
                <p:nvGrpSpPr>
                  <p:cNvPr id="1108" name="Group 1107">
                    <a:extLst>
                      <a:ext uri="{FF2B5EF4-FFF2-40B4-BE49-F238E27FC236}">
                        <a16:creationId xmlns:a16="http://schemas.microsoft.com/office/drawing/2014/main" id="{73EFCEF9-0A9A-7B8A-F85C-CBDA0253FB65}"/>
                      </a:ext>
                    </a:extLst>
                  </p:cNvPr>
                  <p:cNvGrpSpPr/>
                  <p:nvPr/>
                </p:nvGrpSpPr>
                <p:grpSpPr>
                  <a:xfrm rot="4711444">
                    <a:off x="3501494" y="998460"/>
                    <a:ext cx="164790" cy="149511"/>
                    <a:chOff x="8770428" y="4145225"/>
                    <a:chExt cx="307647" cy="276804"/>
                  </a:xfrm>
                </p:grpSpPr>
                <p:sp>
                  <p:nvSpPr>
                    <p:cNvPr id="1109" name="Freeform: Shape 427">
                      <a:extLst>
                        <a:ext uri="{FF2B5EF4-FFF2-40B4-BE49-F238E27FC236}">
                          <a16:creationId xmlns:a16="http://schemas.microsoft.com/office/drawing/2014/main" id="{83D7F041-504F-6CFA-C79E-16DB03835976}"/>
                        </a:ext>
                      </a:extLst>
                    </p:cNvPr>
                    <p:cNvSpPr/>
                    <p:nvPr/>
                  </p:nvSpPr>
                  <p:spPr>
                    <a:xfrm rot="5813516">
                      <a:off x="8823930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10" name="Freeform: Shape 428">
                      <a:extLst>
                        <a:ext uri="{FF2B5EF4-FFF2-40B4-BE49-F238E27FC236}">
                          <a16:creationId xmlns:a16="http://schemas.microsoft.com/office/drawing/2014/main" id="{28955819-6CCB-A55B-D204-2FDFF831E8DB}"/>
                        </a:ext>
                      </a:extLst>
                    </p:cNvPr>
                    <p:cNvSpPr/>
                    <p:nvPr/>
                  </p:nvSpPr>
                  <p:spPr>
                    <a:xfrm rot="6799576">
                      <a:off x="8855933" y="4253069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11" name="Freeform: Shape 429">
                      <a:extLst>
                        <a:ext uri="{FF2B5EF4-FFF2-40B4-BE49-F238E27FC236}">
                          <a16:creationId xmlns:a16="http://schemas.microsoft.com/office/drawing/2014/main" id="{15541249-2195-06D6-27D0-D907D48A48E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50061" y="4188172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12" name="Freeform: Shape 430">
                      <a:extLst>
                        <a:ext uri="{FF2B5EF4-FFF2-40B4-BE49-F238E27FC236}">
                          <a16:creationId xmlns:a16="http://schemas.microsoft.com/office/drawing/2014/main" id="{9F35EF78-1F5C-CE95-7D8F-2A3939B16331}"/>
                        </a:ext>
                      </a:extLst>
                    </p:cNvPr>
                    <p:cNvSpPr/>
                    <p:nvPr/>
                  </p:nvSpPr>
                  <p:spPr>
                    <a:xfrm rot="15284729">
                      <a:off x="8851362" y="4146483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13" name="Freeform: Shape 431">
                      <a:extLst>
                        <a:ext uri="{FF2B5EF4-FFF2-40B4-BE49-F238E27FC236}">
                          <a16:creationId xmlns:a16="http://schemas.microsoft.com/office/drawing/2014/main" id="{CF91C1D7-C2C5-9242-A5E0-9A3B71019649}"/>
                        </a:ext>
                      </a:extLst>
                    </p:cNvPr>
                    <p:cNvSpPr/>
                    <p:nvPr/>
                  </p:nvSpPr>
                  <p:spPr>
                    <a:xfrm rot="4030563">
                      <a:off x="8954046" y="4390351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14" name="Freeform: Shape 432">
                      <a:extLst>
                        <a:ext uri="{FF2B5EF4-FFF2-40B4-BE49-F238E27FC236}">
                          <a16:creationId xmlns:a16="http://schemas.microsoft.com/office/drawing/2014/main" id="{CB14A66F-8384-388D-5D4A-D8575AB013F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78794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15" name="Freeform: Shape 433">
                      <a:extLst>
                        <a:ext uri="{FF2B5EF4-FFF2-40B4-BE49-F238E27FC236}">
                          <a16:creationId xmlns:a16="http://schemas.microsoft.com/office/drawing/2014/main" id="{6F2AA334-1FF7-5EE6-56F2-54AE7986E3AF}"/>
                        </a:ext>
                      </a:extLst>
                    </p:cNvPr>
                    <p:cNvSpPr/>
                    <p:nvPr/>
                  </p:nvSpPr>
                  <p:spPr>
                    <a:xfrm rot="1648623">
                      <a:off x="8778238" y="4278378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16" name="Freeform: Shape 434">
                      <a:extLst>
                        <a:ext uri="{FF2B5EF4-FFF2-40B4-BE49-F238E27FC236}">
                          <a16:creationId xmlns:a16="http://schemas.microsoft.com/office/drawing/2014/main" id="{272FCFED-AF9A-7852-4F17-38EC89789BEE}"/>
                        </a:ext>
                      </a:extLst>
                    </p:cNvPr>
                    <p:cNvSpPr/>
                    <p:nvPr/>
                  </p:nvSpPr>
                  <p:spPr>
                    <a:xfrm rot="17414284">
                      <a:off x="8943702" y="414065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17" name="Freeform: Shape 435">
                      <a:extLst>
                        <a:ext uri="{FF2B5EF4-FFF2-40B4-BE49-F238E27FC236}">
                          <a16:creationId xmlns:a16="http://schemas.microsoft.com/office/drawing/2014/main" id="{D4F21A92-9C4D-346D-2390-49DA6E975BE4}"/>
                        </a:ext>
                      </a:extLst>
                    </p:cNvPr>
                    <p:cNvSpPr/>
                    <p:nvPr/>
                  </p:nvSpPr>
                  <p:spPr>
                    <a:xfrm rot="9043087">
                      <a:off x="8883430" y="4342996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18" name="Freeform: Shape 436">
                      <a:extLst>
                        <a:ext uri="{FF2B5EF4-FFF2-40B4-BE49-F238E27FC236}">
                          <a16:creationId xmlns:a16="http://schemas.microsoft.com/office/drawing/2014/main" id="{FAA141A2-0557-167A-B28F-F8D6164FD4AD}"/>
                        </a:ext>
                      </a:extLst>
                    </p:cNvPr>
                    <p:cNvSpPr/>
                    <p:nvPr/>
                  </p:nvSpPr>
                  <p:spPr>
                    <a:xfrm rot="5209521">
                      <a:off x="8961351" y="4317762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19" name="Freeform: Shape 437">
                      <a:extLst>
                        <a:ext uri="{FF2B5EF4-FFF2-40B4-BE49-F238E27FC236}">
                          <a16:creationId xmlns:a16="http://schemas.microsoft.com/office/drawing/2014/main" id="{60442DF2-2854-B150-5CBC-BC3B1C24EAA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18409" y="432953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20" name="Freeform: Shape 438">
                      <a:extLst>
                        <a:ext uri="{FF2B5EF4-FFF2-40B4-BE49-F238E27FC236}">
                          <a16:creationId xmlns:a16="http://schemas.microsoft.com/office/drawing/2014/main" id="{5AA47287-E9C7-B2A4-78A0-D5F3F272D4F1}"/>
                        </a:ext>
                      </a:extLst>
                    </p:cNvPr>
                    <p:cNvSpPr/>
                    <p:nvPr/>
                  </p:nvSpPr>
                  <p:spPr>
                    <a:xfrm rot="18952815">
                      <a:off x="8990335" y="4236377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21" name="Rectangle: Rounded Corners 439">
                      <a:extLst>
                        <a:ext uri="{FF2B5EF4-FFF2-40B4-BE49-F238E27FC236}">
                          <a16:creationId xmlns:a16="http://schemas.microsoft.com/office/drawing/2014/main" id="{1C4E6AC5-7217-10B0-37BB-2A2AC4B3BA4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86901" y="440374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22" name="Rectangle: Rounded Corners 440">
                      <a:extLst>
                        <a:ext uri="{FF2B5EF4-FFF2-40B4-BE49-F238E27FC236}">
                          <a16:creationId xmlns:a16="http://schemas.microsoft.com/office/drawing/2014/main" id="{7D0F6270-52BB-3A74-A038-5B5DD6F2F2B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770428" y="419613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23" name="Rectangle: Rounded Corners 441">
                      <a:extLst>
                        <a:ext uri="{FF2B5EF4-FFF2-40B4-BE49-F238E27FC236}">
                          <a16:creationId xmlns:a16="http://schemas.microsoft.com/office/drawing/2014/main" id="{A438CB2E-F289-6E58-48FA-DAA1E80F02F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24873" y="4240076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24" name="Rectangle: Rounded Corners 442">
                      <a:extLst>
                        <a:ext uri="{FF2B5EF4-FFF2-40B4-BE49-F238E27FC236}">
                          <a16:creationId xmlns:a16="http://schemas.microsoft.com/office/drawing/2014/main" id="{34898A83-4CC6-ABEC-4261-935F2642134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50643" y="429398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</p:grpSp>
            </p:grpSp>
            <p:sp>
              <p:nvSpPr>
                <p:cNvPr id="1103" name="Freeform: Shape 426">
                  <a:extLst>
                    <a:ext uri="{FF2B5EF4-FFF2-40B4-BE49-F238E27FC236}">
                      <a16:creationId xmlns:a16="http://schemas.microsoft.com/office/drawing/2014/main" id="{20382712-A0F8-33EA-BF34-4B7E53EF029D}"/>
                    </a:ext>
                  </a:extLst>
                </p:cNvPr>
                <p:cNvSpPr/>
                <p:nvPr/>
              </p:nvSpPr>
              <p:spPr>
                <a:xfrm rot="18595250">
                  <a:off x="3464962" y="993886"/>
                  <a:ext cx="195428" cy="172893"/>
                </a:xfrm>
                <a:custGeom>
                  <a:avLst/>
                  <a:gdLst>
                    <a:gd name="connsiteX0" fmla="*/ 36195 w 254551"/>
                    <a:gd name="connsiteY0" fmla="*/ 30480 h 227192"/>
                    <a:gd name="connsiteX1" fmla="*/ 36195 w 254551"/>
                    <a:gd name="connsiteY1" fmla="*/ 30480 h 227192"/>
                    <a:gd name="connsiteX2" fmla="*/ 20955 w 254551"/>
                    <a:gd name="connsiteY2" fmla="*/ 20955 h 227192"/>
                    <a:gd name="connsiteX3" fmla="*/ 17145 w 254551"/>
                    <a:gd name="connsiteY3" fmla="*/ 9525 h 227192"/>
                    <a:gd name="connsiteX4" fmla="*/ 5715 w 254551"/>
                    <a:gd name="connsiteY4" fmla="*/ 15240 h 227192"/>
                    <a:gd name="connsiteX5" fmla="*/ 1905 w 254551"/>
                    <a:gd name="connsiteY5" fmla="*/ 20955 h 227192"/>
                    <a:gd name="connsiteX6" fmla="*/ 0 w 254551"/>
                    <a:gd name="connsiteY6" fmla="*/ 26670 h 227192"/>
                    <a:gd name="connsiteX7" fmla="*/ 1905 w 254551"/>
                    <a:gd name="connsiteY7" fmla="*/ 47625 h 227192"/>
                    <a:gd name="connsiteX8" fmla="*/ 9525 w 254551"/>
                    <a:gd name="connsiteY8" fmla="*/ 59055 h 227192"/>
                    <a:gd name="connsiteX9" fmla="*/ 13335 w 254551"/>
                    <a:gd name="connsiteY9" fmla="*/ 70485 h 227192"/>
                    <a:gd name="connsiteX10" fmla="*/ 15240 w 254551"/>
                    <a:gd name="connsiteY10" fmla="*/ 99060 h 227192"/>
                    <a:gd name="connsiteX11" fmla="*/ 17145 w 254551"/>
                    <a:gd name="connsiteY11" fmla="*/ 104775 h 227192"/>
                    <a:gd name="connsiteX12" fmla="*/ 22860 w 254551"/>
                    <a:gd name="connsiteY12" fmla="*/ 108585 h 227192"/>
                    <a:gd name="connsiteX13" fmla="*/ 26670 w 254551"/>
                    <a:gd name="connsiteY13" fmla="*/ 114300 h 227192"/>
                    <a:gd name="connsiteX14" fmla="*/ 32385 w 254551"/>
                    <a:gd name="connsiteY14" fmla="*/ 118110 h 227192"/>
                    <a:gd name="connsiteX15" fmla="*/ 41910 w 254551"/>
                    <a:gd name="connsiteY15" fmla="*/ 131445 h 227192"/>
                    <a:gd name="connsiteX16" fmla="*/ 59055 w 254551"/>
                    <a:gd name="connsiteY16" fmla="*/ 133350 h 227192"/>
                    <a:gd name="connsiteX17" fmla="*/ 64770 w 254551"/>
                    <a:gd name="connsiteY17" fmla="*/ 180975 h 227192"/>
                    <a:gd name="connsiteX18" fmla="*/ 74295 w 254551"/>
                    <a:gd name="connsiteY18" fmla="*/ 188595 h 227192"/>
                    <a:gd name="connsiteX19" fmla="*/ 80010 w 254551"/>
                    <a:gd name="connsiteY19" fmla="*/ 192405 h 227192"/>
                    <a:gd name="connsiteX20" fmla="*/ 87630 w 254551"/>
                    <a:gd name="connsiteY20" fmla="*/ 201930 h 227192"/>
                    <a:gd name="connsiteX21" fmla="*/ 95250 w 254551"/>
                    <a:gd name="connsiteY21" fmla="*/ 213360 h 227192"/>
                    <a:gd name="connsiteX22" fmla="*/ 99060 w 254551"/>
                    <a:gd name="connsiteY22" fmla="*/ 219075 h 227192"/>
                    <a:gd name="connsiteX23" fmla="*/ 104775 w 254551"/>
                    <a:gd name="connsiteY23" fmla="*/ 220980 h 227192"/>
                    <a:gd name="connsiteX24" fmla="*/ 108585 w 254551"/>
                    <a:gd name="connsiteY24" fmla="*/ 226695 h 227192"/>
                    <a:gd name="connsiteX25" fmla="*/ 133350 w 254551"/>
                    <a:gd name="connsiteY25" fmla="*/ 222885 h 227192"/>
                    <a:gd name="connsiteX26" fmla="*/ 144780 w 254551"/>
                    <a:gd name="connsiteY26" fmla="*/ 211455 h 227192"/>
                    <a:gd name="connsiteX27" fmla="*/ 148590 w 254551"/>
                    <a:gd name="connsiteY27" fmla="*/ 205740 h 227192"/>
                    <a:gd name="connsiteX28" fmla="*/ 160020 w 254551"/>
                    <a:gd name="connsiteY28" fmla="*/ 201930 h 227192"/>
                    <a:gd name="connsiteX29" fmla="*/ 161925 w 254551"/>
                    <a:gd name="connsiteY29" fmla="*/ 196215 h 227192"/>
                    <a:gd name="connsiteX30" fmla="*/ 163830 w 254551"/>
                    <a:gd name="connsiteY30" fmla="*/ 184785 h 227192"/>
                    <a:gd name="connsiteX31" fmla="*/ 175260 w 254551"/>
                    <a:gd name="connsiteY31" fmla="*/ 180975 h 227192"/>
                    <a:gd name="connsiteX32" fmla="*/ 198120 w 254551"/>
                    <a:gd name="connsiteY32" fmla="*/ 182880 h 227192"/>
                    <a:gd name="connsiteX33" fmla="*/ 203835 w 254551"/>
                    <a:gd name="connsiteY33" fmla="*/ 186690 h 227192"/>
                    <a:gd name="connsiteX34" fmla="*/ 209550 w 254551"/>
                    <a:gd name="connsiteY34" fmla="*/ 188595 h 227192"/>
                    <a:gd name="connsiteX35" fmla="*/ 220980 w 254551"/>
                    <a:gd name="connsiteY35" fmla="*/ 186690 h 227192"/>
                    <a:gd name="connsiteX36" fmla="*/ 226695 w 254551"/>
                    <a:gd name="connsiteY36" fmla="*/ 182880 h 227192"/>
                    <a:gd name="connsiteX37" fmla="*/ 234315 w 254551"/>
                    <a:gd name="connsiteY37" fmla="*/ 165735 h 227192"/>
                    <a:gd name="connsiteX38" fmla="*/ 238125 w 254551"/>
                    <a:gd name="connsiteY38" fmla="*/ 154305 h 227192"/>
                    <a:gd name="connsiteX39" fmla="*/ 240030 w 254551"/>
                    <a:gd name="connsiteY39" fmla="*/ 148590 h 227192"/>
                    <a:gd name="connsiteX40" fmla="*/ 245745 w 254551"/>
                    <a:gd name="connsiteY40" fmla="*/ 120015 h 227192"/>
                    <a:gd name="connsiteX41" fmla="*/ 247650 w 254551"/>
                    <a:gd name="connsiteY41" fmla="*/ 114300 h 227192"/>
                    <a:gd name="connsiteX42" fmla="*/ 249555 w 254551"/>
                    <a:gd name="connsiteY42" fmla="*/ 108585 h 227192"/>
                    <a:gd name="connsiteX43" fmla="*/ 241935 w 254551"/>
                    <a:gd name="connsiteY43" fmla="*/ 89535 h 227192"/>
                    <a:gd name="connsiteX44" fmla="*/ 236220 w 254551"/>
                    <a:gd name="connsiteY44" fmla="*/ 85725 h 227192"/>
                    <a:gd name="connsiteX45" fmla="*/ 238125 w 254551"/>
                    <a:gd name="connsiteY45" fmla="*/ 80010 h 227192"/>
                    <a:gd name="connsiteX46" fmla="*/ 243840 w 254551"/>
                    <a:gd name="connsiteY46" fmla="*/ 78105 h 227192"/>
                    <a:gd name="connsiteX47" fmla="*/ 249555 w 254551"/>
                    <a:gd name="connsiteY47" fmla="*/ 74295 h 227192"/>
                    <a:gd name="connsiteX48" fmla="*/ 251460 w 254551"/>
                    <a:gd name="connsiteY48" fmla="*/ 24765 h 227192"/>
                    <a:gd name="connsiteX49" fmla="*/ 249555 w 254551"/>
                    <a:gd name="connsiteY49" fmla="*/ 19050 h 227192"/>
                    <a:gd name="connsiteX50" fmla="*/ 243840 w 254551"/>
                    <a:gd name="connsiteY50" fmla="*/ 15240 h 227192"/>
                    <a:gd name="connsiteX51" fmla="*/ 234315 w 254551"/>
                    <a:gd name="connsiteY51" fmla="*/ 3810 h 227192"/>
                    <a:gd name="connsiteX52" fmla="*/ 228600 w 254551"/>
                    <a:gd name="connsiteY52" fmla="*/ 0 h 227192"/>
                    <a:gd name="connsiteX53" fmla="*/ 217170 w 254551"/>
                    <a:gd name="connsiteY53" fmla="*/ 1905 h 227192"/>
                    <a:gd name="connsiteX54" fmla="*/ 213360 w 254551"/>
                    <a:gd name="connsiteY54" fmla="*/ 7620 h 227192"/>
                    <a:gd name="connsiteX55" fmla="*/ 207645 w 254551"/>
                    <a:gd name="connsiteY55" fmla="*/ 9525 h 227192"/>
                    <a:gd name="connsiteX56" fmla="*/ 203835 w 254551"/>
                    <a:gd name="connsiteY56" fmla="*/ 20955 h 227192"/>
                    <a:gd name="connsiteX57" fmla="*/ 201930 w 254551"/>
                    <a:gd name="connsiteY57" fmla="*/ 26670 h 227192"/>
                    <a:gd name="connsiteX58" fmla="*/ 200025 w 254551"/>
                    <a:gd name="connsiteY58" fmla="*/ 38100 h 227192"/>
                    <a:gd name="connsiteX59" fmla="*/ 205740 w 254551"/>
                    <a:gd name="connsiteY59" fmla="*/ 72390 h 227192"/>
                    <a:gd name="connsiteX60" fmla="*/ 213360 w 254551"/>
                    <a:gd name="connsiteY60" fmla="*/ 83820 h 227192"/>
                    <a:gd name="connsiteX61" fmla="*/ 217170 w 254551"/>
                    <a:gd name="connsiteY61" fmla="*/ 89535 h 227192"/>
                    <a:gd name="connsiteX62" fmla="*/ 215265 w 254551"/>
                    <a:gd name="connsiteY62" fmla="*/ 97155 h 227192"/>
                    <a:gd name="connsiteX63" fmla="*/ 203835 w 254551"/>
                    <a:gd name="connsiteY63" fmla="*/ 104775 h 227192"/>
                    <a:gd name="connsiteX64" fmla="*/ 198120 w 254551"/>
                    <a:gd name="connsiteY64" fmla="*/ 116205 h 227192"/>
                    <a:gd name="connsiteX65" fmla="*/ 196215 w 254551"/>
                    <a:gd name="connsiteY65" fmla="*/ 121920 h 227192"/>
                    <a:gd name="connsiteX66" fmla="*/ 190500 w 254551"/>
                    <a:gd name="connsiteY66" fmla="*/ 133350 h 227192"/>
                    <a:gd name="connsiteX67" fmla="*/ 182880 w 254551"/>
                    <a:gd name="connsiteY67" fmla="*/ 154305 h 227192"/>
                    <a:gd name="connsiteX68" fmla="*/ 175260 w 254551"/>
                    <a:gd name="connsiteY68" fmla="*/ 156210 h 227192"/>
                    <a:gd name="connsiteX69" fmla="*/ 169545 w 254551"/>
                    <a:gd name="connsiteY69" fmla="*/ 150495 h 227192"/>
                    <a:gd name="connsiteX70" fmla="*/ 167640 w 254551"/>
                    <a:gd name="connsiteY70" fmla="*/ 144780 h 227192"/>
                    <a:gd name="connsiteX71" fmla="*/ 156210 w 254551"/>
                    <a:gd name="connsiteY71" fmla="*/ 140970 h 227192"/>
                    <a:gd name="connsiteX72" fmla="*/ 150495 w 254551"/>
                    <a:gd name="connsiteY72" fmla="*/ 139065 h 227192"/>
                    <a:gd name="connsiteX73" fmla="*/ 139065 w 254551"/>
                    <a:gd name="connsiteY73" fmla="*/ 135255 h 227192"/>
                    <a:gd name="connsiteX74" fmla="*/ 133350 w 254551"/>
                    <a:gd name="connsiteY74" fmla="*/ 133350 h 227192"/>
                    <a:gd name="connsiteX75" fmla="*/ 121920 w 254551"/>
                    <a:gd name="connsiteY75" fmla="*/ 127635 h 227192"/>
                    <a:gd name="connsiteX76" fmla="*/ 89535 w 254551"/>
                    <a:gd name="connsiteY76" fmla="*/ 125730 h 227192"/>
                    <a:gd name="connsiteX77" fmla="*/ 78105 w 254551"/>
                    <a:gd name="connsiteY77" fmla="*/ 116205 h 227192"/>
                    <a:gd name="connsiteX78" fmla="*/ 76200 w 254551"/>
                    <a:gd name="connsiteY78" fmla="*/ 110490 h 227192"/>
                    <a:gd name="connsiteX79" fmla="*/ 72390 w 254551"/>
                    <a:gd name="connsiteY79" fmla="*/ 104775 h 227192"/>
                    <a:gd name="connsiteX80" fmla="*/ 68580 w 254551"/>
                    <a:gd name="connsiteY80" fmla="*/ 89535 h 227192"/>
                    <a:gd name="connsiteX81" fmla="*/ 62865 w 254551"/>
                    <a:gd name="connsiteY81" fmla="*/ 85725 h 227192"/>
                    <a:gd name="connsiteX82" fmla="*/ 53340 w 254551"/>
                    <a:gd name="connsiteY82" fmla="*/ 83820 h 227192"/>
                    <a:gd name="connsiteX83" fmla="*/ 47625 w 254551"/>
                    <a:gd name="connsiteY83" fmla="*/ 80010 h 227192"/>
                    <a:gd name="connsiteX84" fmla="*/ 41910 w 254551"/>
                    <a:gd name="connsiteY84" fmla="*/ 78105 h 227192"/>
                    <a:gd name="connsiteX85" fmla="*/ 34290 w 254551"/>
                    <a:gd name="connsiteY85" fmla="*/ 64770 h 227192"/>
                    <a:gd name="connsiteX86" fmla="*/ 30480 w 254551"/>
                    <a:gd name="connsiteY86" fmla="*/ 53340 h 227192"/>
                    <a:gd name="connsiteX87" fmla="*/ 34290 w 254551"/>
                    <a:gd name="connsiteY87" fmla="*/ 47625 h 227192"/>
                    <a:gd name="connsiteX88" fmla="*/ 32385 w 254551"/>
                    <a:gd name="connsiteY88" fmla="*/ 28575 h 227192"/>
                    <a:gd name="connsiteX89" fmla="*/ 30480 w 254551"/>
                    <a:gd name="connsiteY89" fmla="*/ 22860 h 227192"/>
                    <a:gd name="connsiteX90" fmla="*/ 36195 w 254551"/>
                    <a:gd name="connsiteY90" fmla="*/ 30480 h 227192"/>
                    <a:gd name="connsiteX0" fmla="*/ 36195 w 254551"/>
                    <a:gd name="connsiteY0" fmla="*/ 30480 h 227192"/>
                    <a:gd name="connsiteX1" fmla="*/ 36195 w 254551"/>
                    <a:gd name="connsiteY1" fmla="*/ 30480 h 227192"/>
                    <a:gd name="connsiteX2" fmla="*/ 20955 w 254551"/>
                    <a:gd name="connsiteY2" fmla="*/ 20955 h 227192"/>
                    <a:gd name="connsiteX3" fmla="*/ 17145 w 254551"/>
                    <a:gd name="connsiteY3" fmla="*/ 9525 h 227192"/>
                    <a:gd name="connsiteX4" fmla="*/ 1905 w 254551"/>
                    <a:gd name="connsiteY4" fmla="*/ 20955 h 227192"/>
                    <a:gd name="connsiteX5" fmla="*/ 0 w 254551"/>
                    <a:gd name="connsiteY5" fmla="*/ 26670 h 227192"/>
                    <a:gd name="connsiteX6" fmla="*/ 1905 w 254551"/>
                    <a:gd name="connsiteY6" fmla="*/ 47625 h 227192"/>
                    <a:gd name="connsiteX7" fmla="*/ 9525 w 254551"/>
                    <a:gd name="connsiteY7" fmla="*/ 59055 h 227192"/>
                    <a:gd name="connsiteX8" fmla="*/ 13335 w 254551"/>
                    <a:gd name="connsiteY8" fmla="*/ 70485 h 227192"/>
                    <a:gd name="connsiteX9" fmla="*/ 15240 w 254551"/>
                    <a:gd name="connsiteY9" fmla="*/ 99060 h 227192"/>
                    <a:gd name="connsiteX10" fmla="*/ 17145 w 254551"/>
                    <a:gd name="connsiteY10" fmla="*/ 104775 h 227192"/>
                    <a:gd name="connsiteX11" fmla="*/ 22860 w 254551"/>
                    <a:gd name="connsiteY11" fmla="*/ 108585 h 227192"/>
                    <a:gd name="connsiteX12" fmla="*/ 26670 w 254551"/>
                    <a:gd name="connsiteY12" fmla="*/ 114300 h 227192"/>
                    <a:gd name="connsiteX13" fmla="*/ 32385 w 254551"/>
                    <a:gd name="connsiteY13" fmla="*/ 118110 h 227192"/>
                    <a:gd name="connsiteX14" fmla="*/ 41910 w 254551"/>
                    <a:gd name="connsiteY14" fmla="*/ 131445 h 227192"/>
                    <a:gd name="connsiteX15" fmla="*/ 59055 w 254551"/>
                    <a:gd name="connsiteY15" fmla="*/ 133350 h 227192"/>
                    <a:gd name="connsiteX16" fmla="*/ 64770 w 254551"/>
                    <a:gd name="connsiteY16" fmla="*/ 180975 h 227192"/>
                    <a:gd name="connsiteX17" fmla="*/ 74295 w 254551"/>
                    <a:gd name="connsiteY17" fmla="*/ 188595 h 227192"/>
                    <a:gd name="connsiteX18" fmla="*/ 80010 w 254551"/>
                    <a:gd name="connsiteY18" fmla="*/ 192405 h 227192"/>
                    <a:gd name="connsiteX19" fmla="*/ 87630 w 254551"/>
                    <a:gd name="connsiteY19" fmla="*/ 201930 h 227192"/>
                    <a:gd name="connsiteX20" fmla="*/ 95250 w 254551"/>
                    <a:gd name="connsiteY20" fmla="*/ 213360 h 227192"/>
                    <a:gd name="connsiteX21" fmla="*/ 99060 w 254551"/>
                    <a:gd name="connsiteY21" fmla="*/ 219075 h 227192"/>
                    <a:gd name="connsiteX22" fmla="*/ 104775 w 254551"/>
                    <a:gd name="connsiteY22" fmla="*/ 220980 h 227192"/>
                    <a:gd name="connsiteX23" fmla="*/ 108585 w 254551"/>
                    <a:gd name="connsiteY23" fmla="*/ 226695 h 227192"/>
                    <a:gd name="connsiteX24" fmla="*/ 133350 w 254551"/>
                    <a:gd name="connsiteY24" fmla="*/ 222885 h 227192"/>
                    <a:gd name="connsiteX25" fmla="*/ 144780 w 254551"/>
                    <a:gd name="connsiteY25" fmla="*/ 211455 h 227192"/>
                    <a:gd name="connsiteX26" fmla="*/ 148590 w 254551"/>
                    <a:gd name="connsiteY26" fmla="*/ 205740 h 227192"/>
                    <a:gd name="connsiteX27" fmla="*/ 160020 w 254551"/>
                    <a:gd name="connsiteY27" fmla="*/ 201930 h 227192"/>
                    <a:gd name="connsiteX28" fmla="*/ 161925 w 254551"/>
                    <a:gd name="connsiteY28" fmla="*/ 196215 h 227192"/>
                    <a:gd name="connsiteX29" fmla="*/ 163830 w 254551"/>
                    <a:gd name="connsiteY29" fmla="*/ 184785 h 227192"/>
                    <a:gd name="connsiteX30" fmla="*/ 175260 w 254551"/>
                    <a:gd name="connsiteY30" fmla="*/ 180975 h 227192"/>
                    <a:gd name="connsiteX31" fmla="*/ 198120 w 254551"/>
                    <a:gd name="connsiteY31" fmla="*/ 182880 h 227192"/>
                    <a:gd name="connsiteX32" fmla="*/ 203835 w 254551"/>
                    <a:gd name="connsiteY32" fmla="*/ 186690 h 227192"/>
                    <a:gd name="connsiteX33" fmla="*/ 209550 w 254551"/>
                    <a:gd name="connsiteY33" fmla="*/ 188595 h 227192"/>
                    <a:gd name="connsiteX34" fmla="*/ 220980 w 254551"/>
                    <a:gd name="connsiteY34" fmla="*/ 186690 h 227192"/>
                    <a:gd name="connsiteX35" fmla="*/ 226695 w 254551"/>
                    <a:gd name="connsiteY35" fmla="*/ 182880 h 227192"/>
                    <a:gd name="connsiteX36" fmla="*/ 234315 w 254551"/>
                    <a:gd name="connsiteY36" fmla="*/ 165735 h 227192"/>
                    <a:gd name="connsiteX37" fmla="*/ 238125 w 254551"/>
                    <a:gd name="connsiteY37" fmla="*/ 154305 h 227192"/>
                    <a:gd name="connsiteX38" fmla="*/ 240030 w 254551"/>
                    <a:gd name="connsiteY38" fmla="*/ 148590 h 227192"/>
                    <a:gd name="connsiteX39" fmla="*/ 245745 w 254551"/>
                    <a:gd name="connsiteY39" fmla="*/ 120015 h 227192"/>
                    <a:gd name="connsiteX40" fmla="*/ 247650 w 254551"/>
                    <a:gd name="connsiteY40" fmla="*/ 114300 h 227192"/>
                    <a:gd name="connsiteX41" fmla="*/ 249555 w 254551"/>
                    <a:gd name="connsiteY41" fmla="*/ 108585 h 227192"/>
                    <a:gd name="connsiteX42" fmla="*/ 241935 w 254551"/>
                    <a:gd name="connsiteY42" fmla="*/ 89535 h 227192"/>
                    <a:gd name="connsiteX43" fmla="*/ 236220 w 254551"/>
                    <a:gd name="connsiteY43" fmla="*/ 85725 h 227192"/>
                    <a:gd name="connsiteX44" fmla="*/ 238125 w 254551"/>
                    <a:gd name="connsiteY44" fmla="*/ 80010 h 227192"/>
                    <a:gd name="connsiteX45" fmla="*/ 243840 w 254551"/>
                    <a:gd name="connsiteY45" fmla="*/ 78105 h 227192"/>
                    <a:gd name="connsiteX46" fmla="*/ 249555 w 254551"/>
                    <a:gd name="connsiteY46" fmla="*/ 74295 h 227192"/>
                    <a:gd name="connsiteX47" fmla="*/ 251460 w 254551"/>
                    <a:gd name="connsiteY47" fmla="*/ 24765 h 227192"/>
                    <a:gd name="connsiteX48" fmla="*/ 249555 w 254551"/>
                    <a:gd name="connsiteY48" fmla="*/ 19050 h 227192"/>
                    <a:gd name="connsiteX49" fmla="*/ 243840 w 254551"/>
                    <a:gd name="connsiteY49" fmla="*/ 15240 h 227192"/>
                    <a:gd name="connsiteX50" fmla="*/ 234315 w 254551"/>
                    <a:gd name="connsiteY50" fmla="*/ 3810 h 227192"/>
                    <a:gd name="connsiteX51" fmla="*/ 228600 w 254551"/>
                    <a:gd name="connsiteY51" fmla="*/ 0 h 227192"/>
                    <a:gd name="connsiteX52" fmla="*/ 217170 w 254551"/>
                    <a:gd name="connsiteY52" fmla="*/ 1905 h 227192"/>
                    <a:gd name="connsiteX53" fmla="*/ 213360 w 254551"/>
                    <a:gd name="connsiteY53" fmla="*/ 7620 h 227192"/>
                    <a:gd name="connsiteX54" fmla="*/ 207645 w 254551"/>
                    <a:gd name="connsiteY54" fmla="*/ 9525 h 227192"/>
                    <a:gd name="connsiteX55" fmla="*/ 203835 w 254551"/>
                    <a:gd name="connsiteY55" fmla="*/ 20955 h 227192"/>
                    <a:gd name="connsiteX56" fmla="*/ 201930 w 254551"/>
                    <a:gd name="connsiteY56" fmla="*/ 26670 h 227192"/>
                    <a:gd name="connsiteX57" fmla="*/ 200025 w 254551"/>
                    <a:gd name="connsiteY57" fmla="*/ 38100 h 227192"/>
                    <a:gd name="connsiteX58" fmla="*/ 205740 w 254551"/>
                    <a:gd name="connsiteY58" fmla="*/ 72390 h 227192"/>
                    <a:gd name="connsiteX59" fmla="*/ 213360 w 254551"/>
                    <a:gd name="connsiteY59" fmla="*/ 83820 h 227192"/>
                    <a:gd name="connsiteX60" fmla="*/ 217170 w 254551"/>
                    <a:gd name="connsiteY60" fmla="*/ 89535 h 227192"/>
                    <a:gd name="connsiteX61" fmla="*/ 215265 w 254551"/>
                    <a:gd name="connsiteY61" fmla="*/ 97155 h 227192"/>
                    <a:gd name="connsiteX62" fmla="*/ 203835 w 254551"/>
                    <a:gd name="connsiteY62" fmla="*/ 104775 h 227192"/>
                    <a:gd name="connsiteX63" fmla="*/ 198120 w 254551"/>
                    <a:gd name="connsiteY63" fmla="*/ 116205 h 227192"/>
                    <a:gd name="connsiteX64" fmla="*/ 196215 w 254551"/>
                    <a:gd name="connsiteY64" fmla="*/ 121920 h 227192"/>
                    <a:gd name="connsiteX65" fmla="*/ 190500 w 254551"/>
                    <a:gd name="connsiteY65" fmla="*/ 133350 h 227192"/>
                    <a:gd name="connsiteX66" fmla="*/ 182880 w 254551"/>
                    <a:gd name="connsiteY66" fmla="*/ 154305 h 227192"/>
                    <a:gd name="connsiteX67" fmla="*/ 175260 w 254551"/>
                    <a:gd name="connsiteY67" fmla="*/ 156210 h 227192"/>
                    <a:gd name="connsiteX68" fmla="*/ 169545 w 254551"/>
                    <a:gd name="connsiteY68" fmla="*/ 150495 h 227192"/>
                    <a:gd name="connsiteX69" fmla="*/ 167640 w 254551"/>
                    <a:gd name="connsiteY69" fmla="*/ 144780 h 227192"/>
                    <a:gd name="connsiteX70" fmla="*/ 156210 w 254551"/>
                    <a:gd name="connsiteY70" fmla="*/ 140970 h 227192"/>
                    <a:gd name="connsiteX71" fmla="*/ 150495 w 254551"/>
                    <a:gd name="connsiteY71" fmla="*/ 139065 h 227192"/>
                    <a:gd name="connsiteX72" fmla="*/ 139065 w 254551"/>
                    <a:gd name="connsiteY72" fmla="*/ 135255 h 227192"/>
                    <a:gd name="connsiteX73" fmla="*/ 133350 w 254551"/>
                    <a:gd name="connsiteY73" fmla="*/ 133350 h 227192"/>
                    <a:gd name="connsiteX74" fmla="*/ 121920 w 254551"/>
                    <a:gd name="connsiteY74" fmla="*/ 127635 h 227192"/>
                    <a:gd name="connsiteX75" fmla="*/ 89535 w 254551"/>
                    <a:gd name="connsiteY75" fmla="*/ 125730 h 227192"/>
                    <a:gd name="connsiteX76" fmla="*/ 78105 w 254551"/>
                    <a:gd name="connsiteY76" fmla="*/ 116205 h 227192"/>
                    <a:gd name="connsiteX77" fmla="*/ 76200 w 254551"/>
                    <a:gd name="connsiteY77" fmla="*/ 110490 h 227192"/>
                    <a:gd name="connsiteX78" fmla="*/ 72390 w 254551"/>
                    <a:gd name="connsiteY78" fmla="*/ 104775 h 227192"/>
                    <a:gd name="connsiteX79" fmla="*/ 68580 w 254551"/>
                    <a:gd name="connsiteY79" fmla="*/ 89535 h 227192"/>
                    <a:gd name="connsiteX80" fmla="*/ 62865 w 254551"/>
                    <a:gd name="connsiteY80" fmla="*/ 85725 h 227192"/>
                    <a:gd name="connsiteX81" fmla="*/ 53340 w 254551"/>
                    <a:gd name="connsiteY81" fmla="*/ 83820 h 227192"/>
                    <a:gd name="connsiteX82" fmla="*/ 47625 w 254551"/>
                    <a:gd name="connsiteY82" fmla="*/ 80010 h 227192"/>
                    <a:gd name="connsiteX83" fmla="*/ 41910 w 254551"/>
                    <a:gd name="connsiteY83" fmla="*/ 78105 h 227192"/>
                    <a:gd name="connsiteX84" fmla="*/ 34290 w 254551"/>
                    <a:gd name="connsiteY84" fmla="*/ 64770 h 227192"/>
                    <a:gd name="connsiteX85" fmla="*/ 30480 w 254551"/>
                    <a:gd name="connsiteY85" fmla="*/ 53340 h 227192"/>
                    <a:gd name="connsiteX86" fmla="*/ 34290 w 254551"/>
                    <a:gd name="connsiteY86" fmla="*/ 47625 h 227192"/>
                    <a:gd name="connsiteX87" fmla="*/ 32385 w 254551"/>
                    <a:gd name="connsiteY87" fmla="*/ 28575 h 227192"/>
                    <a:gd name="connsiteX88" fmla="*/ 30480 w 254551"/>
                    <a:gd name="connsiteY88" fmla="*/ 22860 h 227192"/>
                    <a:gd name="connsiteX89" fmla="*/ 36195 w 254551"/>
                    <a:gd name="connsiteY89" fmla="*/ 30480 h 227192"/>
                    <a:gd name="connsiteX0" fmla="*/ 36195 w 254551"/>
                    <a:gd name="connsiteY0" fmla="*/ 30480 h 227192"/>
                    <a:gd name="connsiteX1" fmla="*/ 36195 w 254551"/>
                    <a:gd name="connsiteY1" fmla="*/ 30480 h 227192"/>
                    <a:gd name="connsiteX2" fmla="*/ 20955 w 254551"/>
                    <a:gd name="connsiteY2" fmla="*/ 20955 h 227192"/>
                    <a:gd name="connsiteX3" fmla="*/ 17145 w 254551"/>
                    <a:gd name="connsiteY3" fmla="*/ 9525 h 227192"/>
                    <a:gd name="connsiteX4" fmla="*/ 1905 w 254551"/>
                    <a:gd name="connsiteY4" fmla="*/ 20955 h 227192"/>
                    <a:gd name="connsiteX5" fmla="*/ 0 w 254551"/>
                    <a:gd name="connsiteY5" fmla="*/ 26670 h 227192"/>
                    <a:gd name="connsiteX6" fmla="*/ 1905 w 254551"/>
                    <a:gd name="connsiteY6" fmla="*/ 47625 h 227192"/>
                    <a:gd name="connsiteX7" fmla="*/ 9525 w 254551"/>
                    <a:gd name="connsiteY7" fmla="*/ 59055 h 227192"/>
                    <a:gd name="connsiteX8" fmla="*/ 13335 w 254551"/>
                    <a:gd name="connsiteY8" fmla="*/ 70485 h 227192"/>
                    <a:gd name="connsiteX9" fmla="*/ 15240 w 254551"/>
                    <a:gd name="connsiteY9" fmla="*/ 99060 h 227192"/>
                    <a:gd name="connsiteX10" fmla="*/ 17145 w 254551"/>
                    <a:gd name="connsiteY10" fmla="*/ 104775 h 227192"/>
                    <a:gd name="connsiteX11" fmla="*/ 22860 w 254551"/>
                    <a:gd name="connsiteY11" fmla="*/ 108585 h 227192"/>
                    <a:gd name="connsiteX12" fmla="*/ 26670 w 254551"/>
                    <a:gd name="connsiteY12" fmla="*/ 114300 h 227192"/>
                    <a:gd name="connsiteX13" fmla="*/ 32385 w 254551"/>
                    <a:gd name="connsiteY13" fmla="*/ 118110 h 227192"/>
                    <a:gd name="connsiteX14" fmla="*/ 41910 w 254551"/>
                    <a:gd name="connsiteY14" fmla="*/ 131445 h 227192"/>
                    <a:gd name="connsiteX15" fmla="*/ 59055 w 254551"/>
                    <a:gd name="connsiteY15" fmla="*/ 133350 h 227192"/>
                    <a:gd name="connsiteX16" fmla="*/ 64770 w 254551"/>
                    <a:gd name="connsiteY16" fmla="*/ 180975 h 227192"/>
                    <a:gd name="connsiteX17" fmla="*/ 74295 w 254551"/>
                    <a:gd name="connsiteY17" fmla="*/ 188595 h 227192"/>
                    <a:gd name="connsiteX18" fmla="*/ 80010 w 254551"/>
                    <a:gd name="connsiteY18" fmla="*/ 192405 h 227192"/>
                    <a:gd name="connsiteX19" fmla="*/ 87630 w 254551"/>
                    <a:gd name="connsiteY19" fmla="*/ 201930 h 227192"/>
                    <a:gd name="connsiteX20" fmla="*/ 95250 w 254551"/>
                    <a:gd name="connsiteY20" fmla="*/ 213360 h 227192"/>
                    <a:gd name="connsiteX21" fmla="*/ 99060 w 254551"/>
                    <a:gd name="connsiteY21" fmla="*/ 219075 h 227192"/>
                    <a:gd name="connsiteX22" fmla="*/ 104775 w 254551"/>
                    <a:gd name="connsiteY22" fmla="*/ 220980 h 227192"/>
                    <a:gd name="connsiteX23" fmla="*/ 108585 w 254551"/>
                    <a:gd name="connsiteY23" fmla="*/ 226695 h 227192"/>
                    <a:gd name="connsiteX24" fmla="*/ 133350 w 254551"/>
                    <a:gd name="connsiteY24" fmla="*/ 222885 h 227192"/>
                    <a:gd name="connsiteX25" fmla="*/ 144780 w 254551"/>
                    <a:gd name="connsiteY25" fmla="*/ 211455 h 227192"/>
                    <a:gd name="connsiteX26" fmla="*/ 148590 w 254551"/>
                    <a:gd name="connsiteY26" fmla="*/ 205740 h 227192"/>
                    <a:gd name="connsiteX27" fmla="*/ 160020 w 254551"/>
                    <a:gd name="connsiteY27" fmla="*/ 201930 h 227192"/>
                    <a:gd name="connsiteX28" fmla="*/ 161925 w 254551"/>
                    <a:gd name="connsiteY28" fmla="*/ 196215 h 227192"/>
                    <a:gd name="connsiteX29" fmla="*/ 163830 w 254551"/>
                    <a:gd name="connsiteY29" fmla="*/ 184785 h 227192"/>
                    <a:gd name="connsiteX30" fmla="*/ 175260 w 254551"/>
                    <a:gd name="connsiteY30" fmla="*/ 180975 h 227192"/>
                    <a:gd name="connsiteX31" fmla="*/ 198120 w 254551"/>
                    <a:gd name="connsiteY31" fmla="*/ 182880 h 227192"/>
                    <a:gd name="connsiteX32" fmla="*/ 203835 w 254551"/>
                    <a:gd name="connsiteY32" fmla="*/ 186690 h 227192"/>
                    <a:gd name="connsiteX33" fmla="*/ 209550 w 254551"/>
                    <a:gd name="connsiteY33" fmla="*/ 188595 h 227192"/>
                    <a:gd name="connsiteX34" fmla="*/ 220980 w 254551"/>
                    <a:gd name="connsiteY34" fmla="*/ 186690 h 227192"/>
                    <a:gd name="connsiteX35" fmla="*/ 226695 w 254551"/>
                    <a:gd name="connsiteY35" fmla="*/ 182880 h 227192"/>
                    <a:gd name="connsiteX36" fmla="*/ 234315 w 254551"/>
                    <a:gd name="connsiteY36" fmla="*/ 165735 h 227192"/>
                    <a:gd name="connsiteX37" fmla="*/ 238125 w 254551"/>
                    <a:gd name="connsiteY37" fmla="*/ 154305 h 227192"/>
                    <a:gd name="connsiteX38" fmla="*/ 240030 w 254551"/>
                    <a:gd name="connsiteY38" fmla="*/ 148590 h 227192"/>
                    <a:gd name="connsiteX39" fmla="*/ 245745 w 254551"/>
                    <a:gd name="connsiteY39" fmla="*/ 120015 h 227192"/>
                    <a:gd name="connsiteX40" fmla="*/ 247650 w 254551"/>
                    <a:gd name="connsiteY40" fmla="*/ 114300 h 227192"/>
                    <a:gd name="connsiteX41" fmla="*/ 249555 w 254551"/>
                    <a:gd name="connsiteY41" fmla="*/ 108585 h 227192"/>
                    <a:gd name="connsiteX42" fmla="*/ 241935 w 254551"/>
                    <a:gd name="connsiteY42" fmla="*/ 89535 h 227192"/>
                    <a:gd name="connsiteX43" fmla="*/ 236220 w 254551"/>
                    <a:gd name="connsiteY43" fmla="*/ 85725 h 227192"/>
                    <a:gd name="connsiteX44" fmla="*/ 238125 w 254551"/>
                    <a:gd name="connsiteY44" fmla="*/ 80010 h 227192"/>
                    <a:gd name="connsiteX45" fmla="*/ 243840 w 254551"/>
                    <a:gd name="connsiteY45" fmla="*/ 78105 h 227192"/>
                    <a:gd name="connsiteX46" fmla="*/ 249555 w 254551"/>
                    <a:gd name="connsiteY46" fmla="*/ 74295 h 227192"/>
                    <a:gd name="connsiteX47" fmla="*/ 251460 w 254551"/>
                    <a:gd name="connsiteY47" fmla="*/ 24765 h 227192"/>
                    <a:gd name="connsiteX48" fmla="*/ 249555 w 254551"/>
                    <a:gd name="connsiteY48" fmla="*/ 19050 h 227192"/>
                    <a:gd name="connsiteX49" fmla="*/ 243840 w 254551"/>
                    <a:gd name="connsiteY49" fmla="*/ 15240 h 227192"/>
                    <a:gd name="connsiteX50" fmla="*/ 234315 w 254551"/>
                    <a:gd name="connsiteY50" fmla="*/ 3810 h 227192"/>
                    <a:gd name="connsiteX51" fmla="*/ 228600 w 254551"/>
                    <a:gd name="connsiteY51" fmla="*/ 0 h 227192"/>
                    <a:gd name="connsiteX52" fmla="*/ 217170 w 254551"/>
                    <a:gd name="connsiteY52" fmla="*/ 1905 h 227192"/>
                    <a:gd name="connsiteX53" fmla="*/ 213360 w 254551"/>
                    <a:gd name="connsiteY53" fmla="*/ 7620 h 227192"/>
                    <a:gd name="connsiteX54" fmla="*/ 207645 w 254551"/>
                    <a:gd name="connsiteY54" fmla="*/ 9525 h 227192"/>
                    <a:gd name="connsiteX55" fmla="*/ 203835 w 254551"/>
                    <a:gd name="connsiteY55" fmla="*/ 20955 h 227192"/>
                    <a:gd name="connsiteX56" fmla="*/ 201930 w 254551"/>
                    <a:gd name="connsiteY56" fmla="*/ 26670 h 227192"/>
                    <a:gd name="connsiteX57" fmla="*/ 200025 w 254551"/>
                    <a:gd name="connsiteY57" fmla="*/ 38100 h 227192"/>
                    <a:gd name="connsiteX58" fmla="*/ 205740 w 254551"/>
                    <a:gd name="connsiteY58" fmla="*/ 72390 h 227192"/>
                    <a:gd name="connsiteX59" fmla="*/ 213360 w 254551"/>
                    <a:gd name="connsiteY59" fmla="*/ 83820 h 227192"/>
                    <a:gd name="connsiteX60" fmla="*/ 217170 w 254551"/>
                    <a:gd name="connsiteY60" fmla="*/ 89535 h 227192"/>
                    <a:gd name="connsiteX61" fmla="*/ 215265 w 254551"/>
                    <a:gd name="connsiteY61" fmla="*/ 97155 h 227192"/>
                    <a:gd name="connsiteX62" fmla="*/ 203835 w 254551"/>
                    <a:gd name="connsiteY62" fmla="*/ 104775 h 227192"/>
                    <a:gd name="connsiteX63" fmla="*/ 198120 w 254551"/>
                    <a:gd name="connsiteY63" fmla="*/ 116205 h 227192"/>
                    <a:gd name="connsiteX64" fmla="*/ 196215 w 254551"/>
                    <a:gd name="connsiteY64" fmla="*/ 121920 h 227192"/>
                    <a:gd name="connsiteX65" fmla="*/ 190500 w 254551"/>
                    <a:gd name="connsiteY65" fmla="*/ 133350 h 227192"/>
                    <a:gd name="connsiteX66" fmla="*/ 182880 w 254551"/>
                    <a:gd name="connsiteY66" fmla="*/ 154305 h 227192"/>
                    <a:gd name="connsiteX67" fmla="*/ 175260 w 254551"/>
                    <a:gd name="connsiteY67" fmla="*/ 156210 h 227192"/>
                    <a:gd name="connsiteX68" fmla="*/ 169545 w 254551"/>
                    <a:gd name="connsiteY68" fmla="*/ 150495 h 227192"/>
                    <a:gd name="connsiteX69" fmla="*/ 167640 w 254551"/>
                    <a:gd name="connsiteY69" fmla="*/ 144780 h 227192"/>
                    <a:gd name="connsiteX70" fmla="*/ 156210 w 254551"/>
                    <a:gd name="connsiteY70" fmla="*/ 140970 h 227192"/>
                    <a:gd name="connsiteX71" fmla="*/ 150495 w 254551"/>
                    <a:gd name="connsiteY71" fmla="*/ 139065 h 227192"/>
                    <a:gd name="connsiteX72" fmla="*/ 139065 w 254551"/>
                    <a:gd name="connsiteY72" fmla="*/ 135255 h 227192"/>
                    <a:gd name="connsiteX73" fmla="*/ 133350 w 254551"/>
                    <a:gd name="connsiteY73" fmla="*/ 133350 h 227192"/>
                    <a:gd name="connsiteX74" fmla="*/ 121920 w 254551"/>
                    <a:gd name="connsiteY74" fmla="*/ 127635 h 227192"/>
                    <a:gd name="connsiteX75" fmla="*/ 89535 w 254551"/>
                    <a:gd name="connsiteY75" fmla="*/ 125730 h 227192"/>
                    <a:gd name="connsiteX76" fmla="*/ 78105 w 254551"/>
                    <a:gd name="connsiteY76" fmla="*/ 116205 h 227192"/>
                    <a:gd name="connsiteX77" fmla="*/ 76200 w 254551"/>
                    <a:gd name="connsiteY77" fmla="*/ 110490 h 227192"/>
                    <a:gd name="connsiteX78" fmla="*/ 72390 w 254551"/>
                    <a:gd name="connsiteY78" fmla="*/ 104775 h 227192"/>
                    <a:gd name="connsiteX79" fmla="*/ 68580 w 254551"/>
                    <a:gd name="connsiteY79" fmla="*/ 89535 h 227192"/>
                    <a:gd name="connsiteX80" fmla="*/ 62865 w 254551"/>
                    <a:gd name="connsiteY80" fmla="*/ 85725 h 227192"/>
                    <a:gd name="connsiteX81" fmla="*/ 53340 w 254551"/>
                    <a:gd name="connsiteY81" fmla="*/ 83820 h 227192"/>
                    <a:gd name="connsiteX82" fmla="*/ 47625 w 254551"/>
                    <a:gd name="connsiteY82" fmla="*/ 80010 h 227192"/>
                    <a:gd name="connsiteX83" fmla="*/ 41910 w 254551"/>
                    <a:gd name="connsiteY83" fmla="*/ 78105 h 227192"/>
                    <a:gd name="connsiteX84" fmla="*/ 34290 w 254551"/>
                    <a:gd name="connsiteY84" fmla="*/ 64770 h 227192"/>
                    <a:gd name="connsiteX85" fmla="*/ 30480 w 254551"/>
                    <a:gd name="connsiteY85" fmla="*/ 53340 h 227192"/>
                    <a:gd name="connsiteX86" fmla="*/ 34290 w 254551"/>
                    <a:gd name="connsiteY86" fmla="*/ 47625 h 227192"/>
                    <a:gd name="connsiteX87" fmla="*/ 32385 w 254551"/>
                    <a:gd name="connsiteY87" fmla="*/ 28575 h 227192"/>
                    <a:gd name="connsiteX88" fmla="*/ 30480 w 254551"/>
                    <a:gd name="connsiteY88" fmla="*/ 22860 h 227192"/>
                    <a:gd name="connsiteX89" fmla="*/ 36195 w 254551"/>
                    <a:gd name="connsiteY89" fmla="*/ 30480 h 227192"/>
                    <a:gd name="connsiteX0" fmla="*/ 36317 w 254673"/>
                    <a:gd name="connsiteY0" fmla="*/ 30480 h 227192"/>
                    <a:gd name="connsiteX1" fmla="*/ 36317 w 254673"/>
                    <a:gd name="connsiteY1" fmla="*/ 30480 h 227192"/>
                    <a:gd name="connsiteX2" fmla="*/ 21077 w 254673"/>
                    <a:gd name="connsiteY2" fmla="*/ 20955 h 227192"/>
                    <a:gd name="connsiteX3" fmla="*/ 2027 w 254673"/>
                    <a:gd name="connsiteY3" fmla="*/ 20955 h 227192"/>
                    <a:gd name="connsiteX4" fmla="*/ 122 w 254673"/>
                    <a:gd name="connsiteY4" fmla="*/ 26670 h 227192"/>
                    <a:gd name="connsiteX5" fmla="*/ 2027 w 254673"/>
                    <a:gd name="connsiteY5" fmla="*/ 47625 h 227192"/>
                    <a:gd name="connsiteX6" fmla="*/ 9647 w 254673"/>
                    <a:gd name="connsiteY6" fmla="*/ 59055 h 227192"/>
                    <a:gd name="connsiteX7" fmla="*/ 13457 w 254673"/>
                    <a:gd name="connsiteY7" fmla="*/ 70485 h 227192"/>
                    <a:gd name="connsiteX8" fmla="*/ 15362 w 254673"/>
                    <a:gd name="connsiteY8" fmla="*/ 99060 h 227192"/>
                    <a:gd name="connsiteX9" fmla="*/ 17267 w 254673"/>
                    <a:gd name="connsiteY9" fmla="*/ 104775 h 227192"/>
                    <a:gd name="connsiteX10" fmla="*/ 22982 w 254673"/>
                    <a:gd name="connsiteY10" fmla="*/ 108585 h 227192"/>
                    <a:gd name="connsiteX11" fmla="*/ 26792 w 254673"/>
                    <a:gd name="connsiteY11" fmla="*/ 114300 h 227192"/>
                    <a:gd name="connsiteX12" fmla="*/ 32507 w 254673"/>
                    <a:gd name="connsiteY12" fmla="*/ 118110 h 227192"/>
                    <a:gd name="connsiteX13" fmla="*/ 42032 w 254673"/>
                    <a:gd name="connsiteY13" fmla="*/ 131445 h 227192"/>
                    <a:gd name="connsiteX14" fmla="*/ 59177 w 254673"/>
                    <a:gd name="connsiteY14" fmla="*/ 133350 h 227192"/>
                    <a:gd name="connsiteX15" fmla="*/ 64892 w 254673"/>
                    <a:gd name="connsiteY15" fmla="*/ 180975 h 227192"/>
                    <a:gd name="connsiteX16" fmla="*/ 74417 w 254673"/>
                    <a:gd name="connsiteY16" fmla="*/ 188595 h 227192"/>
                    <a:gd name="connsiteX17" fmla="*/ 80132 w 254673"/>
                    <a:gd name="connsiteY17" fmla="*/ 192405 h 227192"/>
                    <a:gd name="connsiteX18" fmla="*/ 87752 w 254673"/>
                    <a:gd name="connsiteY18" fmla="*/ 201930 h 227192"/>
                    <a:gd name="connsiteX19" fmla="*/ 95372 w 254673"/>
                    <a:gd name="connsiteY19" fmla="*/ 213360 h 227192"/>
                    <a:gd name="connsiteX20" fmla="*/ 99182 w 254673"/>
                    <a:gd name="connsiteY20" fmla="*/ 219075 h 227192"/>
                    <a:gd name="connsiteX21" fmla="*/ 104897 w 254673"/>
                    <a:gd name="connsiteY21" fmla="*/ 220980 h 227192"/>
                    <a:gd name="connsiteX22" fmla="*/ 108707 w 254673"/>
                    <a:gd name="connsiteY22" fmla="*/ 226695 h 227192"/>
                    <a:gd name="connsiteX23" fmla="*/ 133472 w 254673"/>
                    <a:gd name="connsiteY23" fmla="*/ 222885 h 227192"/>
                    <a:gd name="connsiteX24" fmla="*/ 144902 w 254673"/>
                    <a:gd name="connsiteY24" fmla="*/ 211455 h 227192"/>
                    <a:gd name="connsiteX25" fmla="*/ 148712 w 254673"/>
                    <a:gd name="connsiteY25" fmla="*/ 205740 h 227192"/>
                    <a:gd name="connsiteX26" fmla="*/ 160142 w 254673"/>
                    <a:gd name="connsiteY26" fmla="*/ 201930 h 227192"/>
                    <a:gd name="connsiteX27" fmla="*/ 162047 w 254673"/>
                    <a:gd name="connsiteY27" fmla="*/ 196215 h 227192"/>
                    <a:gd name="connsiteX28" fmla="*/ 163952 w 254673"/>
                    <a:gd name="connsiteY28" fmla="*/ 184785 h 227192"/>
                    <a:gd name="connsiteX29" fmla="*/ 175382 w 254673"/>
                    <a:gd name="connsiteY29" fmla="*/ 180975 h 227192"/>
                    <a:gd name="connsiteX30" fmla="*/ 198242 w 254673"/>
                    <a:gd name="connsiteY30" fmla="*/ 182880 h 227192"/>
                    <a:gd name="connsiteX31" fmla="*/ 203957 w 254673"/>
                    <a:gd name="connsiteY31" fmla="*/ 186690 h 227192"/>
                    <a:gd name="connsiteX32" fmla="*/ 209672 w 254673"/>
                    <a:gd name="connsiteY32" fmla="*/ 188595 h 227192"/>
                    <a:gd name="connsiteX33" fmla="*/ 221102 w 254673"/>
                    <a:gd name="connsiteY33" fmla="*/ 186690 h 227192"/>
                    <a:gd name="connsiteX34" fmla="*/ 226817 w 254673"/>
                    <a:gd name="connsiteY34" fmla="*/ 182880 h 227192"/>
                    <a:gd name="connsiteX35" fmla="*/ 234437 w 254673"/>
                    <a:gd name="connsiteY35" fmla="*/ 165735 h 227192"/>
                    <a:gd name="connsiteX36" fmla="*/ 238247 w 254673"/>
                    <a:gd name="connsiteY36" fmla="*/ 154305 h 227192"/>
                    <a:gd name="connsiteX37" fmla="*/ 240152 w 254673"/>
                    <a:gd name="connsiteY37" fmla="*/ 148590 h 227192"/>
                    <a:gd name="connsiteX38" fmla="*/ 245867 w 254673"/>
                    <a:gd name="connsiteY38" fmla="*/ 120015 h 227192"/>
                    <a:gd name="connsiteX39" fmla="*/ 247772 w 254673"/>
                    <a:gd name="connsiteY39" fmla="*/ 114300 h 227192"/>
                    <a:gd name="connsiteX40" fmla="*/ 249677 w 254673"/>
                    <a:gd name="connsiteY40" fmla="*/ 108585 h 227192"/>
                    <a:gd name="connsiteX41" fmla="*/ 242057 w 254673"/>
                    <a:gd name="connsiteY41" fmla="*/ 89535 h 227192"/>
                    <a:gd name="connsiteX42" fmla="*/ 236342 w 254673"/>
                    <a:gd name="connsiteY42" fmla="*/ 85725 h 227192"/>
                    <a:gd name="connsiteX43" fmla="*/ 238247 w 254673"/>
                    <a:gd name="connsiteY43" fmla="*/ 80010 h 227192"/>
                    <a:gd name="connsiteX44" fmla="*/ 243962 w 254673"/>
                    <a:gd name="connsiteY44" fmla="*/ 78105 h 227192"/>
                    <a:gd name="connsiteX45" fmla="*/ 249677 w 254673"/>
                    <a:gd name="connsiteY45" fmla="*/ 74295 h 227192"/>
                    <a:gd name="connsiteX46" fmla="*/ 251582 w 254673"/>
                    <a:gd name="connsiteY46" fmla="*/ 24765 h 227192"/>
                    <a:gd name="connsiteX47" fmla="*/ 249677 w 254673"/>
                    <a:gd name="connsiteY47" fmla="*/ 19050 h 227192"/>
                    <a:gd name="connsiteX48" fmla="*/ 243962 w 254673"/>
                    <a:gd name="connsiteY48" fmla="*/ 15240 h 227192"/>
                    <a:gd name="connsiteX49" fmla="*/ 234437 w 254673"/>
                    <a:gd name="connsiteY49" fmla="*/ 3810 h 227192"/>
                    <a:gd name="connsiteX50" fmla="*/ 228722 w 254673"/>
                    <a:gd name="connsiteY50" fmla="*/ 0 h 227192"/>
                    <a:gd name="connsiteX51" fmla="*/ 217292 w 254673"/>
                    <a:gd name="connsiteY51" fmla="*/ 1905 h 227192"/>
                    <a:gd name="connsiteX52" fmla="*/ 213482 w 254673"/>
                    <a:gd name="connsiteY52" fmla="*/ 7620 h 227192"/>
                    <a:gd name="connsiteX53" fmla="*/ 207767 w 254673"/>
                    <a:gd name="connsiteY53" fmla="*/ 9525 h 227192"/>
                    <a:gd name="connsiteX54" fmla="*/ 203957 w 254673"/>
                    <a:gd name="connsiteY54" fmla="*/ 20955 h 227192"/>
                    <a:gd name="connsiteX55" fmla="*/ 202052 w 254673"/>
                    <a:gd name="connsiteY55" fmla="*/ 26670 h 227192"/>
                    <a:gd name="connsiteX56" fmla="*/ 200147 w 254673"/>
                    <a:gd name="connsiteY56" fmla="*/ 38100 h 227192"/>
                    <a:gd name="connsiteX57" fmla="*/ 205862 w 254673"/>
                    <a:gd name="connsiteY57" fmla="*/ 72390 h 227192"/>
                    <a:gd name="connsiteX58" fmla="*/ 213482 w 254673"/>
                    <a:gd name="connsiteY58" fmla="*/ 83820 h 227192"/>
                    <a:gd name="connsiteX59" fmla="*/ 217292 w 254673"/>
                    <a:gd name="connsiteY59" fmla="*/ 89535 h 227192"/>
                    <a:gd name="connsiteX60" fmla="*/ 215387 w 254673"/>
                    <a:gd name="connsiteY60" fmla="*/ 97155 h 227192"/>
                    <a:gd name="connsiteX61" fmla="*/ 203957 w 254673"/>
                    <a:gd name="connsiteY61" fmla="*/ 104775 h 227192"/>
                    <a:gd name="connsiteX62" fmla="*/ 198242 w 254673"/>
                    <a:gd name="connsiteY62" fmla="*/ 116205 h 227192"/>
                    <a:gd name="connsiteX63" fmla="*/ 196337 w 254673"/>
                    <a:gd name="connsiteY63" fmla="*/ 121920 h 227192"/>
                    <a:gd name="connsiteX64" fmla="*/ 190622 w 254673"/>
                    <a:gd name="connsiteY64" fmla="*/ 133350 h 227192"/>
                    <a:gd name="connsiteX65" fmla="*/ 183002 w 254673"/>
                    <a:gd name="connsiteY65" fmla="*/ 154305 h 227192"/>
                    <a:gd name="connsiteX66" fmla="*/ 175382 w 254673"/>
                    <a:gd name="connsiteY66" fmla="*/ 156210 h 227192"/>
                    <a:gd name="connsiteX67" fmla="*/ 169667 w 254673"/>
                    <a:gd name="connsiteY67" fmla="*/ 150495 h 227192"/>
                    <a:gd name="connsiteX68" fmla="*/ 167762 w 254673"/>
                    <a:gd name="connsiteY68" fmla="*/ 144780 h 227192"/>
                    <a:gd name="connsiteX69" fmla="*/ 156332 w 254673"/>
                    <a:gd name="connsiteY69" fmla="*/ 140970 h 227192"/>
                    <a:gd name="connsiteX70" fmla="*/ 150617 w 254673"/>
                    <a:gd name="connsiteY70" fmla="*/ 139065 h 227192"/>
                    <a:gd name="connsiteX71" fmla="*/ 139187 w 254673"/>
                    <a:gd name="connsiteY71" fmla="*/ 135255 h 227192"/>
                    <a:gd name="connsiteX72" fmla="*/ 133472 w 254673"/>
                    <a:gd name="connsiteY72" fmla="*/ 133350 h 227192"/>
                    <a:gd name="connsiteX73" fmla="*/ 122042 w 254673"/>
                    <a:gd name="connsiteY73" fmla="*/ 127635 h 227192"/>
                    <a:gd name="connsiteX74" fmla="*/ 89657 w 254673"/>
                    <a:gd name="connsiteY74" fmla="*/ 125730 h 227192"/>
                    <a:gd name="connsiteX75" fmla="*/ 78227 w 254673"/>
                    <a:gd name="connsiteY75" fmla="*/ 116205 h 227192"/>
                    <a:gd name="connsiteX76" fmla="*/ 76322 w 254673"/>
                    <a:gd name="connsiteY76" fmla="*/ 110490 h 227192"/>
                    <a:gd name="connsiteX77" fmla="*/ 72512 w 254673"/>
                    <a:gd name="connsiteY77" fmla="*/ 104775 h 227192"/>
                    <a:gd name="connsiteX78" fmla="*/ 68702 w 254673"/>
                    <a:gd name="connsiteY78" fmla="*/ 89535 h 227192"/>
                    <a:gd name="connsiteX79" fmla="*/ 62987 w 254673"/>
                    <a:gd name="connsiteY79" fmla="*/ 85725 h 227192"/>
                    <a:gd name="connsiteX80" fmla="*/ 53462 w 254673"/>
                    <a:gd name="connsiteY80" fmla="*/ 83820 h 227192"/>
                    <a:gd name="connsiteX81" fmla="*/ 47747 w 254673"/>
                    <a:gd name="connsiteY81" fmla="*/ 80010 h 227192"/>
                    <a:gd name="connsiteX82" fmla="*/ 42032 w 254673"/>
                    <a:gd name="connsiteY82" fmla="*/ 78105 h 227192"/>
                    <a:gd name="connsiteX83" fmla="*/ 34412 w 254673"/>
                    <a:gd name="connsiteY83" fmla="*/ 64770 h 227192"/>
                    <a:gd name="connsiteX84" fmla="*/ 30602 w 254673"/>
                    <a:gd name="connsiteY84" fmla="*/ 53340 h 227192"/>
                    <a:gd name="connsiteX85" fmla="*/ 34412 w 254673"/>
                    <a:gd name="connsiteY85" fmla="*/ 47625 h 227192"/>
                    <a:gd name="connsiteX86" fmla="*/ 32507 w 254673"/>
                    <a:gd name="connsiteY86" fmla="*/ 28575 h 227192"/>
                    <a:gd name="connsiteX87" fmla="*/ 30602 w 254673"/>
                    <a:gd name="connsiteY87" fmla="*/ 22860 h 227192"/>
                    <a:gd name="connsiteX88" fmla="*/ 36317 w 254673"/>
                    <a:gd name="connsiteY88" fmla="*/ 30480 h 227192"/>
                    <a:gd name="connsiteX0" fmla="*/ 30602 w 254673"/>
                    <a:gd name="connsiteY0" fmla="*/ 22860 h 227192"/>
                    <a:gd name="connsiteX1" fmla="*/ 36317 w 254673"/>
                    <a:gd name="connsiteY1" fmla="*/ 30480 h 227192"/>
                    <a:gd name="connsiteX2" fmla="*/ 21077 w 254673"/>
                    <a:gd name="connsiteY2" fmla="*/ 20955 h 227192"/>
                    <a:gd name="connsiteX3" fmla="*/ 2027 w 254673"/>
                    <a:gd name="connsiteY3" fmla="*/ 20955 h 227192"/>
                    <a:gd name="connsiteX4" fmla="*/ 122 w 254673"/>
                    <a:gd name="connsiteY4" fmla="*/ 26670 h 227192"/>
                    <a:gd name="connsiteX5" fmla="*/ 2027 w 254673"/>
                    <a:gd name="connsiteY5" fmla="*/ 47625 h 227192"/>
                    <a:gd name="connsiteX6" fmla="*/ 9647 w 254673"/>
                    <a:gd name="connsiteY6" fmla="*/ 59055 h 227192"/>
                    <a:gd name="connsiteX7" fmla="*/ 13457 w 254673"/>
                    <a:gd name="connsiteY7" fmla="*/ 70485 h 227192"/>
                    <a:gd name="connsiteX8" fmla="*/ 15362 w 254673"/>
                    <a:gd name="connsiteY8" fmla="*/ 99060 h 227192"/>
                    <a:gd name="connsiteX9" fmla="*/ 17267 w 254673"/>
                    <a:gd name="connsiteY9" fmla="*/ 104775 h 227192"/>
                    <a:gd name="connsiteX10" fmla="*/ 22982 w 254673"/>
                    <a:gd name="connsiteY10" fmla="*/ 108585 h 227192"/>
                    <a:gd name="connsiteX11" fmla="*/ 26792 w 254673"/>
                    <a:gd name="connsiteY11" fmla="*/ 114300 h 227192"/>
                    <a:gd name="connsiteX12" fmla="*/ 32507 w 254673"/>
                    <a:gd name="connsiteY12" fmla="*/ 118110 h 227192"/>
                    <a:gd name="connsiteX13" fmla="*/ 42032 w 254673"/>
                    <a:gd name="connsiteY13" fmla="*/ 131445 h 227192"/>
                    <a:gd name="connsiteX14" fmla="*/ 59177 w 254673"/>
                    <a:gd name="connsiteY14" fmla="*/ 133350 h 227192"/>
                    <a:gd name="connsiteX15" fmla="*/ 64892 w 254673"/>
                    <a:gd name="connsiteY15" fmla="*/ 180975 h 227192"/>
                    <a:gd name="connsiteX16" fmla="*/ 74417 w 254673"/>
                    <a:gd name="connsiteY16" fmla="*/ 188595 h 227192"/>
                    <a:gd name="connsiteX17" fmla="*/ 80132 w 254673"/>
                    <a:gd name="connsiteY17" fmla="*/ 192405 h 227192"/>
                    <a:gd name="connsiteX18" fmla="*/ 87752 w 254673"/>
                    <a:gd name="connsiteY18" fmla="*/ 201930 h 227192"/>
                    <a:gd name="connsiteX19" fmla="*/ 95372 w 254673"/>
                    <a:gd name="connsiteY19" fmla="*/ 213360 h 227192"/>
                    <a:gd name="connsiteX20" fmla="*/ 99182 w 254673"/>
                    <a:gd name="connsiteY20" fmla="*/ 219075 h 227192"/>
                    <a:gd name="connsiteX21" fmla="*/ 104897 w 254673"/>
                    <a:gd name="connsiteY21" fmla="*/ 220980 h 227192"/>
                    <a:gd name="connsiteX22" fmla="*/ 108707 w 254673"/>
                    <a:gd name="connsiteY22" fmla="*/ 226695 h 227192"/>
                    <a:gd name="connsiteX23" fmla="*/ 133472 w 254673"/>
                    <a:gd name="connsiteY23" fmla="*/ 222885 h 227192"/>
                    <a:gd name="connsiteX24" fmla="*/ 144902 w 254673"/>
                    <a:gd name="connsiteY24" fmla="*/ 211455 h 227192"/>
                    <a:gd name="connsiteX25" fmla="*/ 148712 w 254673"/>
                    <a:gd name="connsiteY25" fmla="*/ 205740 h 227192"/>
                    <a:gd name="connsiteX26" fmla="*/ 160142 w 254673"/>
                    <a:gd name="connsiteY26" fmla="*/ 201930 h 227192"/>
                    <a:gd name="connsiteX27" fmla="*/ 162047 w 254673"/>
                    <a:gd name="connsiteY27" fmla="*/ 196215 h 227192"/>
                    <a:gd name="connsiteX28" fmla="*/ 163952 w 254673"/>
                    <a:gd name="connsiteY28" fmla="*/ 184785 h 227192"/>
                    <a:gd name="connsiteX29" fmla="*/ 175382 w 254673"/>
                    <a:gd name="connsiteY29" fmla="*/ 180975 h 227192"/>
                    <a:gd name="connsiteX30" fmla="*/ 198242 w 254673"/>
                    <a:gd name="connsiteY30" fmla="*/ 182880 h 227192"/>
                    <a:gd name="connsiteX31" fmla="*/ 203957 w 254673"/>
                    <a:gd name="connsiteY31" fmla="*/ 186690 h 227192"/>
                    <a:gd name="connsiteX32" fmla="*/ 209672 w 254673"/>
                    <a:gd name="connsiteY32" fmla="*/ 188595 h 227192"/>
                    <a:gd name="connsiteX33" fmla="*/ 221102 w 254673"/>
                    <a:gd name="connsiteY33" fmla="*/ 186690 h 227192"/>
                    <a:gd name="connsiteX34" fmla="*/ 226817 w 254673"/>
                    <a:gd name="connsiteY34" fmla="*/ 182880 h 227192"/>
                    <a:gd name="connsiteX35" fmla="*/ 234437 w 254673"/>
                    <a:gd name="connsiteY35" fmla="*/ 165735 h 227192"/>
                    <a:gd name="connsiteX36" fmla="*/ 238247 w 254673"/>
                    <a:gd name="connsiteY36" fmla="*/ 154305 h 227192"/>
                    <a:gd name="connsiteX37" fmla="*/ 240152 w 254673"/>
                    <a:gd name="connsiteY37" fmla="*/ 148590 h 227192"/>
                    <a:gd name="connsiteX38" fmla="*/ 245867 w 254673"/>
                    <a:gd name="connsiteY38" fmla="*/ 120015 h 227192"/>
                    <a:gd name="connsiteX39" fmla="*/ 247772 w 254673"/>
                    <a:gd name="connsiteY39" fmla="*/ 114300 h 227192"/>
                    <a:gd name="connsiteX40" fmla="*/ 249677 w 254673"/>
                    <a:gd name="connsiteY40" fmla="*/ 108585 h 227192"/>
                    <a:gd name="connsiteX41" fmla="*/ 242057 w 254673"/>
                    <a:gd name="connsiteY41" fmla="*/ 89535 h 227192"/>
                    <a:gd name="connsiteX42" fmla="*/ 236342 w 254673"/>
                    <a:gd name="connsiteY42" fmla="*/ 85725 h 227192"/>
                    <a:gd name="connsiteX43" fmla="*/ 238247 w 254673"/>
                    <a:gd name="connsiteY43" fmla="*/ 80010 h 227192"/>
                    <a:gd name="connsiteX44" fmla="*/ 243962 w 254673"/>
                    <a:gd name="connsiteY44" fmla="*/ 78105 h 227192"/>
                    <a:gd name="connsiteX45" fmla="*/ 249677 w 254673"/>
                    <a:gd name="connsiteY45" fmla="*/ 74295 h 227192"/>
                    <a:gd name="connsiteX46" fmla="*/ 251582 w 254673"/>
                    <a:gd name="connsiteY46" fmla="*/ 24765 h 227192"/>
                    <a:gd name="connsiteX47" fmla="*/ 249677 w 254673"/>
                    <a:gd name="connsiteY47" fmla="*/ 19050 h 227192"/>
                    <a:gd name="connsiteX48" fmla="*/ 243962 w 254673"/>
                    <a:gd name="connsiteY48" fmla="*/ 15240 h 227192"/>
                    <a:gd name="connsiteX49" fmla="*/ 234437 w 254673"/>
                    <a:gd name="connsiteY49" fmla="*/ 3810 h 227192"/>
                    <a:gd name="connsiteX50" fmla="*/ 228722 w 254673"/>
                    <a:gd name="connsiteY50" fmla="*/ 0 h 227192"/>
                    <a:gd name="connsiteX51" fmla="*/ 217292 w 254673"/>
                    <a:gd name="connsiteY51" fmla="*/ 1905 h 227192"/>
                    <a:gd name="connsiteX52" fmla="*/ 213482 w 254673"/>
                    <a:gd name="connsiteY52" fmla="*/ 7620 h 227192"/>
                    <a:gd name="connsiteX53" fmla="*/ 207767 w 254673"/>
                    <a:gd name="connsiteY53" fmla="*/ 9525 h 227192"/>
                    <a:gd name="connsiteX54" fmla="*/ 203957 w 254673"/>
                    <a:gd name="connsiteY54" fmla="*/ 20955 h 227192"/>
                    <a:gd name="connsiteX55" fmla="*/ 202052 w 254673"/>
                    <a:gd name="connsiteY55" fmla="*/ 26670 h 227192"/>
                    <a:gd name="connsiteX56" fmla="*/ 200147 w 254673"/>
                    <a:gd name="connsiteY56" fmla="*/ 38100 h 227192"/>
                    <a:gd name="connsiteX57" fmla="*/ 205862 w 254673"/>
                    <a:gd name="connsiteY57" fmla="*/ 72390 h 227192"/>
                    <a:gd name="connsiteX58" fmla="*/ 213482 w 254673"/>
                    <a:gd name="connsiteY58" fmla="*/ 83820 h 227192"/>
                    <a:gd name="connsiteX59" fmla="*/ 217292 w 254673"/>
                    <a:gd name="connsiteY59" fmla="*/ 89535 h 227192"/>
                    <a:gd name="connsiteX60" fmla="*/ 215387 w 254673"/>
                    <a:gd name="connsiteY60" fmla="*/ 97155 h 227192"/>
                    <a:gd name="connsiteX61" fmla="*/ 203957 w 254673"/>
                    <a:gd name="connsiteY61" fmla="*/ 104775 h 227192"/>
                    <a:gd name="connsiteX62" fmla="*/ 198242 w 254673"/>
                    <a:gd name="connsiteY62" fmla="*/ 116205 h 227192"/>
                    <a:gd name="connsiteX63" fmla="*/ 196337 w 254673"/>
                    <a:gd name="connsiteY63" fmla="*/ 121920 h 227192"/>
                    <a:gd name="connsiteX64" fmla="*/ 190622 w 254673"/>
                    <a:gd name="connsiteY64" fmla="*/ 133350 h 227192"/>
                    <a:gd name="connsiteX65" fmla="*/ 183002 w 254673"/>
                    <a:gd name="connsiteY65" fmla="*/ 154305 h 227192"/>
                    <a:gd name="connsiteX66" fmla="*/ 175382 w 254673"/>
                    <a:gd name="connsiteY66" fmla="*/ 156210 h 227192"/>
                    <a:gd name="connsiteX67" fmla="*/ 169667 w 254673"/>
                    <a:gd name="connsiteY67" fmla="*/ 150495 h 227192"/>
                    <a:gd name="connsiteX68" fmla="*/ 167762 w 254673"/>
                    <a:gd name="connsiteY68" fmla="*/ 144780 h 227192"/>
                    <a:gd name="connsiteX69" fmla="*/ 156332 w 254673"/>
                    <a:gd name="connsiteY69" fmla="*/ 140970 h 227192"/>
                    <a:gd name="connsiteX70" fmla="*/ 150617 w 254673"/>
                    <a:gd name="connsiteY70" fmla="*/ 139065 h 227192"/>
                    <a:gd name="connsiteX71" fmla="*/ 139187 w 254673"/>
                    <a:gd name="connsiteY71" fmla="*/ 135255 h 227192"/>
                    <a:gd name="connsiteX72" fmla="*/ 133472 w 254673"/>
                    <a:gd name="connsiteY72" fmla="*/ 133350 h 227192"/>
                    <a:gd name="connsiteX73" fmla="*/ 122042 w 254673"/>
                    <a:gd name="connsiteY73" fmla="*/ 127635 h 227192"/>
                    <a:gd name="connsiteX74" fmla="*/ 89657 w 254673"/>
                    <a:gd name="connsiteY74" fmla="*/ 125730 h 227192"/>
                    <a:gd name="connsiteX75" fmla="*/ 78227 w 254673"/>
                    <a:gd name="connsiteY75" fmla="*/ 116205 h 227192"/>
                    <a:gd name="connsiteX76" fmla="*/ 76322 w 254673"/>
                    <a:gd name="connsiteY76" fmla="*/ 110490 h 227192"/>
                    <a:gd name="connsiteX77" fmla="*/ 72512 w 254673"/>
                    <a:gd name="connsiteY77" fmla="*/ 104775 h 227192"/>
                    <a:gd name="connsiteX78" fmla="*/ 68702 w 254673"/>
                    <a:gd name="connsiteY78" fmla="*/ 89535 h 227192"/>
                    <a:gd name="connsiteX79" fmla="*/ 62987 w 254673"/>
                    <a:gd name="connsiteY79" fmla="*/ 85725 h 227192"/>
                    <a:gd name="connsiteX80" fmla="*/ 53462 w 254673"/>
                    <a:gd name="connsiteY80" fmla="*/ 83820 h 227192"/>
                    <a:gd name="connsiteX81" fmla="*/ 47747 w 254673"/>
                    <a:gd name="connsiteY81" fmla="*/ 80010 h 227192"/>
                    <a:gd name="connsiteX82" fmla="*/ 42032 w 254673"/>
                    <a:gd name="connsiteY82" fmla="*/ 78105 h 227192"/>
                    <a:gd name="connsiteX83" fmla="*/ 34412 w 254673"/>
                    <a:gd name="connsiteY83" fmla="*/ 64770 h 227192"/>
                    <a:gd name="connsiteX84" fmla="*/ 30602 w 254673"/>
                    <a:gd name="connsiteY84" fmla="*/ 53340 h 227192"/>
                    <a:gd name="connsiteX85" fmla="*/ 34412 w 254673"/>
                    <a:gd name="connsiteY85" fmla="*/ 47625 h 227192"/>
                    <a:gd name="connsiteX86" fmla="*/ 32507 w 254673"/>
                    <a:gd name="connsiteY86" fmla="*/ 28575 h 227192"/>
                    <a:gd name="connsiteX87" fmla="*/ 30602 w 254673"/>
                    <a:gd name="connsiteY87" fmla="*/ 22860 h 227192"/>
                    <a:gd name="connsiteX0" fmla="*/ 32507 w 254673"/>
                    <a:gd name="connsiteY0" fmla="*/ 28575 h 227192"/>
                    <a:gd name="connsiteX1" fmla="*/ 36317 w 254673"/>
                    <a:gd name="connsiteY1" fmla="*/ 30480 h 227192"/>
                    <a:gd name="connsiteX2" fmla="*/ 21077 w 254673"/>
                    <a:gd name="connsiteY2" fmla="*/ 20955 h 227192"/>
                    <a:gd name="connsiteX3" fmla="*/ 2027 w 254673"/>
                    <a:gd name="connsiteY3" fmla="*/ 20955 h 227192"/>
                    <a:gd name="connsiteX4" fmla="*/ 122 w 254673"/>
                    <a:gd name="connsiteY4" fmla="*/ 26670 h 227192"/>
                    <a:gd name="connsiteX5" fmla="*/ 2027 w 254673"/>
                    <a:gd name="connsiteY5" fmla="*/ 47625 h 227192"/>
                    <a:gd name="connsiteX6" fmla="*/ 9647 w 254673"/>
                    <a:gd name="connsiteY6" fmla="*/ 59055 h 227192"/>
                    <a:gd name="connsiteX7" fmla="*/ 13457 w 254673"/>
                    <a:gd name="connsiteY7" fmla="*/ 70485 h 227192"/>
                    <a:gd name="connsiteX8" fmla="*/ 15362 w 254673"/>
                    <a:gd name="connsiteY8" fmla="*/ 99060 h 227192"/>
                    <a:gd name="connsiteX9" fmla="*/ 17267 w 254673"/>
                    <a:gd name="connsiteY9" fmla="*/ 104775 h 227192"/>
                    <a:gd name="connsiteX10" fmla="*/ 22982 w 254673"/>
                    <a:gd name="connsiteY10" fmla="*/ 108585 h 227192"/>
                    <a:gd name="connsiteX11" fmla="*/ 26792 w 254673"/>
                    <a:gd name="connsiteY11" fmla="*/ 114300 h 227192"/>
                    <a:gd name="connsiteX12" fmla="*/ 32507 w 254673"/>
                    <a:gd name="connsiteY12" fmla="*/ 118110 h 227192"/>
                    <a:gd name="connsiteX13" fmla="*/ 42032 w 254673"/>
                    <a:gd name="connsiteY13" fmla="*/ 131445 h 227192"/>
                    <a:gd name="connsiteX14" fmla="*/ 59177 w 254673"/>
                    <a:gd name="connsiteY14" fmla="*/ 133350 h 227192"/>
                    <a:gd name="connsiteX15" fmla="*/ 64892 w 254673"/>
                    <a:gd name="connsiteY15" fmla="*/ 180975 h 227192"/>
                    <a:gd name="connsiteX16" fmla="*/ 74417 w 254673"/>
                    <a:gd name="connsiteY16" fmla="*/ 188595 h 227192"/>
                    <a:gd name="connsiteX17" fmla="*/ 80132 w 254673"/>
                    <a:gd name="connsiteY17" fmla="*/ 192405 h 227192"/>
                    <a:gd name="connsiteX18" fmla="*/ 87752 w 254673"/>
                    <a:gd name="connsiteY18" fmla="*/ 201930 h 227192"/>
                    <a:gd name="connsiteX19" fmla="*/ 95372 w 254673"/>
                    <a:gd name="connsiteY19" fmla="*/ 213360 h 227192"/>
                    <a:gd name="connsiteX20" fmla="*/ 99182 w 254673"/>
                    <a:gd name="connsiteY20" fmla="*/ 219075 h 227192"/>
                    <a:gd name="connsiteX21" fmla="*/ 104897 w 254673"/>
                    <a:gd name="connsiteY21" fmla="*/ 220980 h 227192"/>
                    <a:gd name="connsiteX22" fmla="*/ 108707 w 254673"/>
                    <a:gd name="connsiteY22" fmla="*/ 226695 h 227192"/>
                    <a:gd name="connsiteX23" fmla="*/ 133472 w 254673"/>
                    <a:gd name="connsiteY23" fmla="*/ 222885 h 227192"/>
                    <a:gd name="connsiteX24" fmla="*/ 144902 w 254673"/>
                    <a:gd name="connsiteY24" fmla="*/ 211455 h 227192"/>
                    <a:gd name="connsiteX25" fmla="*/ 148712 w 254673"/>
                    <a:gd name="connsiteY25" fmla="*/ 205740 h 227192"/>
                    <a:gd name="connsiteX26" fmla="*/ 160142 w 254673"/>
                    <a:gd name="connsiteY26" fmla="*/ 201930 h 227192"/>
                    <a:gd name="connsiteX27" fmla="*/ 162047 w 254673"/>
                    <a:gd name="connsiteY27" fmla="*/ 196215 h 227192"/>
                    <a:gd name="connsiteX28" fmla="*/ 163952 w 254673"/>
                    <a:gd name="connsiteY28" fmla="*/ 184785 h 227192"/>
                    <a:gd name="connsiteX29" fmla="*/ 175382 w 254673"/>
                    <a:gd name="connsiteY29" fmla="*/ 180975 h 227192"/>
                    <a:gd name="connsiteX30" fmla="*/ 198242 w 254673"/>
                    <a:gd name="connsiteY30" fmla="*/ 182880 h 227192"/>
                    <a:gd name="connsiteX31" fmla="*/ 203957 w 254673"/>
                    <a:gd name="connsiteY31" fmla="*/ 186690 h 227192"/>
                    <a:gd name="connsiteX32" fmla="*/ 209672 w 254673"/>
                    <a:gd name="connsiteY32" fmla="*/ 188595 h 227192"/>
                    <a:gd name="connsiteX33" fmla="*/ 221102 w 254673"/>
                    <a:gd name="connsiteY33" fmla="*/ 186690 h 227192"/>
                    <a:gd name="connsiteX34" fmla="*/ 226817 w 254673"/>
                    <a:gd name="connsiteY34" fmla="*/ 182880 h 227192"/>
                    <a:gd name="connsiteX35" fmla="*/ 234437 w 254673"/>
                    <a:gd name="connsiteY35" fmla="*/ 165735 h 227192"/>
                    <a:gd name="connsiteX36" fmla="*/ 238247 w 254673"/>
                    <a:gd name="connsiteY36" fmla="*/ 154305 h 227192"/>
                    <a:gd name="connsiteX37" fmla="*/ 240152 w 254673"/>
                    <a:gd name="connsiteY37" fmla="*/ 148590 h 227192"/>
                    <a:gd name="connsiteX38" fmla="*/ 245867 w 254673"/>
                    <a:gd name="connsiteY38" fmla="*/ 120015 h 227192"/>
                    <a:gd name="connsiteX39" fmla="*/ 247772 w 254673"/>
                    <a:gd name="connsiteY39" fmla="*/ 114300 h 227192"/>
                    <a:gd name="connsiteX40" fmla="*/ 249677 w 254673"/>
                    <a:gd name="connsiteY40" fmla="*/ 108585 h 227192"/>
                    <a:gd name="connsiteX41" fmla="*/ 242057 w 254673"/>
                    <a:gd name="connsiteY41" fmla="*/ 89535 h 227192"/>
                    <a:gd name="connsiteX42" fmla="*/ 236342 w 254673"/>
                    <a:gd name="connsiteY42" fmla="*/ 85725 h 227192"/>
                    <a:gd name="connsiteX43" fmla="*/ 238247 w 254673"/>
                    <a:gd name="connsiteY43" fmla="*/ 80010 h 227192"/>
                    <a:gd name="connsiteX44" fmla="*/ 243962 w 254673"/>
                    <a:gd name="connsiteY44" fmla="*/ 78105 h 227192"/>
                    <a:gd name="connsiteX45" fmla="*/ 249677 w 254673"/>
                    <a:gd name="connsiteY45" fmla="*/ 74295 h 227192"/>
                    <a:gd name="connsiteX46" fmla="*/ 251582 w 254673"/>
                    <a:gd name="connsiteY46" fmla="*/ 24765 h 227192"/>
                    <a:gd name="connsiteX47" fmla="*/ 249677 w 254673"/>
                    <a:gd name="connsiteY47" fmla="*/ 19050 h 227192"/>
                    <a:gd name="connsiteX48" fmla="*/ 243962 w 254673"/>
                    <a:gd name="connsiteY48" fmla="*/ 15240 h 227192"/>
                    <a:gd name="connsiteX49" fmla="*/ 234437 w 254673"/>
                    <a:gd name="connsiteY49" fmla="*/ 3810 h 227192"/>
                    <a:gd name="connsiteX50" fmla="*/ 228722 w 254673"/>
                    <a:gd name="connsiteY50" fmla="*/ 0 h 227192"/>
                    <a:gd name="connsiteX51" fmla="*/ 217292 w 254673"/>
                    <a:gd name="connsiteY51" fmla="*/ 1905 h 227192"/>
                    <a:gd name="connsiteX52" fmla="*/ 213482 w 254673"/>
                    <a:gd name="connsiteY52" fmla="*/ 7620 h 227192"/>
                    <a:gd name="connsiteX53" fmla="*/ 207767 w 254673"/>
                    <a:gd name="connsiteY53" fmla="*/ 9525 h 227192"/>
                    <a:gd name="connsiteX54" fmla="*/ 203957 w 254673"/>
                    <a:gd name="connsiteY54" fmla="*/ 20955 h 227192"/>
                    <a:gd name="connsiteX55" fmla="*/ 202052 w 254673"/>
                    <a:gd name="connsiteY55" fmla="*/ 26670 h 227192"/>
                    <a:gd name="connsiteX56" fmla="*/ 200147 w 254673"/>
                    <a:gd name="connsiteY56" fmla="*/ 38100 h 227192"/>
                    <a:gd name="connsiteX57" fmla="*/ 205862 w 254673"/>
                    <a:gd name="connsiteY57" fmla="*/ 72390 h 227192"/>
                    <a:gd name="connsiteX58" fmla="*/ 213482 w 254673"/>
                    <a:gd name="connsiteY58" fmla="*/ 83820 h 227192"/>
                    <a:gd name="connsiteX59" fmla="*/ 217292 w 254673"/>
                    <a:gd name="connsiteY59" fmla="*/ 89535 h 227192"/>
                    <a:gd name="connsiteX60" fmla="*/ 215387 w 254673"/>
                    <a:gd name="connsiteY60" fmla="*/ 97155 h 227192"/>
                    <a:gd name="connsiteX61" fmla="*/ 203957 w 254673"/>
                    <a:gd name="connsiteY61" fmla="*/ 104775 h 227192"/>
                    <a:gd name="connsiteX62" fmla="*/ 198242 w 254673"/>
                    <a:gd name="connsiteY62" fmla="*/ 116205 h 227192"/>
                    <a:gd name="connsiteX63" fmla="*/ 196337 w 254673"/>
                    <a:gd name="connsiteY63" fmla="*/ 121920 h 227192"/>
                    <a:gd name="connsiteX64" fmla="*/ 190622 w 254673"/>
                    <a:gd name="connsiteY64" fmla="*/ 133350 h 227192"/>
                    <a:gd name="connsiteX65" fmla="*/ 183002 w 254673"/>
                    <a:gd name="connsiteY65" fmla="*/ 154305 h 227192"/>
                    <a:gd name="connsiteX66" fmla="*/ 175382 w 254673"/>
                    <a:gd name="connsiteY66" fmla="*/ 156210 h 227192"/>
                    <a:gd name="connsiteX67" fmla="*/ 169667 w 254673"/>
                    <a:gd name="connsiteY67" fmla="*/ 150495 h 227192"/>
                    <a:gd name="connsiteX68" fmla="*/ 167762 w 254673"/>
                    <a:gd name="connsiteY68" fmla="*/ 144780 h 227192"/>
                    <a:gd name="connsiteX69" fmla="*/ 156332 w 254673"/>
                    <a:gd name="connsiteY69" fmla="*/ 140970 h 227192"/>
                    <a:gd name="connsiteX70" fmla="*/ 150617 w 254673"/>
                    <a:gd name="connsiteY70" fmla="*/ 139065 h 227192"/>
                    <a:gd name="connsiteX71" fmla="*/ 139187 w 254673"/>
                    <a:gd name="connsiteY71" fmla="*/ 135255 h 227192"/>
                    <a:gd name="connsiteX72" fmla="*/ 133472 w 254673"/>
                    <a:gd name="connsiteY72" fmla="*/ 133350 h 227192"/>
                    <a:gd name="connsiteX73" fmla="*/ 122042 w 254673"/>
                    <a:gd name="connsiteY73" fmla="*/ 127635 h 227192"/>
                    <a:gd name="connsiteX74" fmla="*/ 89657 w 254673"/>
                    <a:gd name="connsiteY74" fmla="*/ 125730 h 227192"/>
                    <a:gd name="connsiteX75" fmla="*/ 78227 w 254673"/>
                    <a:gd name="connsiteY75" fmla="*/ 116205 h 227192"/>
                    <a:gd name="connsiteX76" fmla="*/ 76322 w 254673"/>
                    <a:gd name="connsiteY76" fmla="*/ 110490 h 227192"/>
                    <a:gd name="connsiteX77" fmla="*/ 72512 w 254673"/>
                    <a:gd name="connsiteY77" fmla="*/ 104775 h 227192"/>
                    <a:gd name="connsiteX78" fmla="*/ 68702 w 254673"/>
                    <a:gd name="connsiteY78" fmla="*/ 89535 h 227192"/>
                    <a:gd name="connsiteX79" fmla="*/ 62987 w 254673"/>
                    <a:gd name="connsiteY79" fmla="*/ 85725 h 227192"/>
                    <a:gd name="connsiteX80" fmla="*/ 53462 w 254673"/>
                    <a:gd name="connsiteY80" fmla="*/ 83820 h 227192"/>
                    <a:gd name="connsiteX81" fmla="*/ 47747 w 254673"/>
                    <a:gd name="connsiteY81" fmla="*/ 80010 h 227192"/>
                    <a:gd name="connsiteX82" fmla="*/ 42032 w 254673"/>
                    <a:gd name="connsiteY82" fmla="*/ 78105 h 227192"/>
                    <a:gd name="connsiteX83" fmla="*/ 34412 w 254673"/>
                    <a:gd name="connsiteY83" fmla="*/ 64770 h 227192"/>
                    <a:gd name="connsiteX84" fmla="*/ 30602 w 254673"/>
                    <a:gd name="connsiteY84" fmla="*/ 53340 h 227192"/>
                    <a:gd name="connsiteX85" fmla="*/ 34412 w 254673"/>
                    <a:gd name="connsiteY85" fmla="*/ 47625 h 227192"/>
                    <a:gd name="connsiteX86" fmla="*/ 32507 w 254673"/>
                    <a:gd name="connsiteY86" fmla="*/ 28575 h 227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</a:cxnLst>
                  <a:rect l="l" t="t" r="r" b="b"/>
                  <a:pathLst>
                    <a:path w="254673" h="227192">
                      <a:moveTo>
                        <a:pt x="32507" y="28575"/>
                      </a:moveTo>
                      <a:cubicBezTo>
                        <a:pt x="32825" y="25718"/>
                        <a:pt x="38222" y="31750"/>
                        <a:pt x="36317" y="30480"/>
                      </a:cubicBezTo>
                      <a:cubicBezTo>
                        <a:pt x="34412" y="29210"/>
                        <a:pt x="26792" y="22543"/>
                        <a:pt x="21077" y="20955"/>
                      </a:cubicBezTo>
                      <a:cubicBezTo>
                        <a:pt x="15362" y="19368"/>
                        <a:pt x="5519" y="20003"/>
                        <a:pt x="2027" y="20955"/>
                      </a:cubicBezTo>
                      <a:cubicBezTo>
                        <a:pt x="-1465" y="21907"/>
                        <a:pt x="757" y="24765"/>
                        <a:pt x="122" y="26670"/>
                      </a:cubicBezTo>
                      <a:cubicBezTo>
                        <a:pt x="757" y="33655"/>
                        <a:pt x="48" y="40896"/>
                        <a:pt x="2027" y="47625"/>
                      </a:cubicBezTo>
                      <a:cubicBezTo>
                        <a:pt x="3319" y="52018"/>
                        <a:pt x="8199" y="54711"/>
                        <a:pt x="9647" y="59055"/>
                      </a:cubicBezTo>
                      <a:lnTo>
                        <a:pt x="13457" y="70485"/>
                      </a:lnTo>
                      <a:cubicBezTo>
                        <a:pt x="14092" y="80010"/>
                        <a:pt x="14308" y="89572"/>
                        <a:pt x="15362" y="99060"/>
                      </a:cubicBezTo>
                      <a:cubicBezTo>
                        <a:pt x="15584" y="101056"/>
                        <a:pt x="16013" y="103207"/>
                        <a:pt x="17267" y="104775"/>
                      </a:cubicBezTo>
                      <a:cubicBezTo>
                        <a:pt x="18697" y="106563"/>
                        <a:pt x="21077" y="107315"/>
                        <a:pt x="22982" y="108585"/>
                      </a:cubicBezTo>
                      <a:cubicBezTo>
                        <a:pt x="24252" y="110490"/>
                        <a:pt x="25173" y="112681"/>
                        <a:pt x="26792" y="114300"/>
                      </a:cubicBezTo>
                      <a:cubicBezTo>
                        <a:pt x="28411" y="115919"/>
                        <a:pt x="31294" y="116168"/>
                        <a:pt x="32507" y="118110"/>
                      </a:cubicBezTo>
                      <a:cubicBezTo>
                        <a:pt x="39079" y="128624"/>
                        <a:pt x="31444" y="129680"/>
                        <a:pt x="42032" y="131445"/>
                      </a:cubicBezTo>
                      <a:cubicBezTo>
                        <a:pt x="47704" y="132390"/>
                        <a:pt x="53462" y="132715"/>
                        <a:pt x="59177" y="133350"/>
                      </a:cubicBezTo>
                      <a:cubicBezTo>
                        <a:pt x="71402" y="151687"/>
                        <a:pt x="58865" y="130751"/>
                        <a:pt x="64892" y="180975"/>
                      </a:cubicBezTo>
                      <a:cubicBezTo>
                        <a:pt x="65712" y="187808"/>
                        <a:pt x="70129" y="186451"/>
                        <a:pt x="74417" y="188595"/>
                      </a:cubicBezTo>
                      <a:cubicBezTo>
                        <a:pt x="76465" y="189619"/>
                        <a:pt x="78227" y="191135"/>
                        <a:pt x="80132" y="192405"/>
                      </a:cubicBezTo>
                      <a:cubicBezTo>
                        <a:pt x="84422" y="205275"/>
                        <a:pt x="78472" y="191325"/>
                        <a:pt x="87752" y="201930"/>
                      </a:cubicBezTo>
                      <a:cubicBezTo>
                        <a:pt x="90767" y="205376"/>
                        <a:pt x="92832" y="209550"/>
                        <a:pt x="95372" y="213360"/>
                      </a:cubicBezTo>
                      <a:cubicBezTo>
                        <a:pt x="96642" y="215265"/>
                        <a:pt x="97010" y="218351"/>
                        <a:pt x="99182" y="219075"/>
                      </a:cubicBezTo>
                      <a:lnTo>
                        <a:pt x="104897" y="220980"/>
                      </a:lnTo>
                      <a:cubicBezTo>
                        <a:pt x="106167" y="222885"/>
                        <a:pt x="106449" y="226319"/>
                        <a:pt x="108707" y="226695"/>
                      </a:cubicBezTo>
                      <a:cubicBezTo>
                        <a:pt x="118529" y="228332"/>
                        <a:pt x="125235" y="225631"/>
                        <a:pt x="133472" y="222885"/>
                      </a:cubicBezTo>
                      <a:cubicBezTo>
                        <a:pt x="137282" y="219075"/>
                        <a:pt x="141913" y="215938"/>
                        <a:pt x="144902" y="211455"/>
                      </a:cubicBezTo>
                      <a:cubicBezTo>
                        <a:pt x="146172" y="209550"/>
                        <a:pt x="146770" y="206953"/>
                        <a:pt x="148712" y="205740"/>
                      </a:cubicBezTo>
                      <a:cubicBezTo>
                        <a:pt x="152118" y="203611"/>
                        <a:pt x="160142" y="201930"/>
                        <a:pt x="160142" y="201930"/>
                      </a:cubicBezTo>
                      <a:cubicBezTo>
                        <a:pt x="160777" y="200025"/>
                        <a:pt x="161611" y="198175"/>
                        <a:pt x="162047" y="196215"/>
                      </a:cubicBezTo>
                      <a:cubicBezTo>
                        <a:pt x="162885" y="192444"/>
                        <a:pt x="161408" y="187692"/>
                        <a:pt x="163952" y="184785"/>
                      </a:cubicBezTo>
                      <a:cubicBezTo>
                        <a:pt x="166597" y="181763"/>
                        <a:pt x="175382" y="180975"/>
                        <a:pt x="175382" y="180975"/>
                      </a:cubicBezTo>
                      <a:cubicBezTo>
                        <a:pt x="183002" y="181610"/>
                        <a:pt x="190744" y="181380"/>
                        <a:pt x="198242" y="182880"/>
                      </a:cubicBezTo>
                      <a:cubicBezTo>
                        <a:pt x="200487" y="183329"/>
                        <a:pt x="201909" y="185666"/>
                        <a:pt x="203957" y="186690"/>
                      </a:cubicBezTo>
                      <a:cubicBezTo>
                        <a:pt x="205753" y="187588"/>
                        <a:pt x="207767" y="187960"/>
                        <a:pt x="209672" y="188595"/>
                      </a:cubicBezTo>
                      <a:cubicBezTo>
                        <a:pt x="213482" y="187960"/>
                        <a:pt x="217438" y="187911"/>
                        <a:pt x="221102" y="186690"/>
                      </a:cubicBezTo>
                      <a:cubicBezTo>
                        <a:pt x="223274" y="185966"/>
                        <a:pt x="225198" y="184499"/>
                        <a:pt x="226817" y="182880"/>
                      </a:cubicBezTo>
                      <a:cubicBezTo>
                        <a:pt x="231345" y="178352"/>
                        <a:pt x="232551" y="171394"/>
                        <a:pt x="234437" y="165735"/>
                      </a:cubicBezTo>
                      <a:lnTo>
                        <a:pt x="238247" y="154305"/>
                      </a:lnTo>
                      <a:lnTo>
                        <a:pt x="240152" y="148590"/>
                      </a:lnTo>
                      <a:cubicBezTo>
                        <a:pt x="242501" y="127453"/>
                        <a:pt x="240239" y="136900"/>
                        <a:pt x="245867" y="120015"/>
                      </a:cubicBezTo>
                      <a:lnTo>
                        <a:pt x="247772" y="114300"/>
                      </a:lnTo>
                      <a:lnTo>
                        <a:pt x="249677" y="108585"/>
                      </a:lnTo>
                      <a:cubicBezTo>
                        <a:pt x="248493" y="105032"/>
                        <a:pt x="245171" y="93272"/>
                        <a:pt x="242057" y="89535"/>
                      </a:cubicBezTo>
                      <a:cubicBezTo>
                        <a:pt x="240591" y="87776"/>
                        <a:pt x="238247" y="86995"/>
                        <a:pt x="236342" y="85725"/>
                      </a:cubicBezTo>
                      <a:cubicBezTo>
                        <a:pt x="236977" y="83820"/>
                        <a:pt x="236827" y="81430"/>
                        <a:pt x="238247" y="80010"/>
                      </a:cubicBezTo>
                      <a:cubicBezTo>
                        <a:pt x="239667" y="78590"/>
                        <a:pt x="242166" y="79003"/>
                        <a:pt x="243962" y="78105"/>
                      </a:cubicBezTo>
                      <a:cubicBezTo>
                        <a:pt x="246010" y="77081"/>
                        <a:pt x="247772" y="75565"/>
                        <a:pt x="249677" y="74295"/>
                      </a:cubicBezTo>
                      <a:cubicBezTo>
                        <a:pt x="257118" y="51971"/>
                        <a:pt x="254922" y="63173"/>
                        <a:pt x="251582" y="24765"/>
                      </a:cubicBezTo>
                      <a:cubicBezTo>
                        <a:pt x="251408" y="22765"/>
                        <a:pt x="250931" y="20618"/>
                        <a:pt x="249677" y="19050"/>
                      </a:cubicBezTo>
                      <a:cubicBezTo>
                        <a:pt x="248247" y="17262"/>
                        <a:pt x="245867" y="16510"/>
                        <a:pt x="243962" y="15240"/>
                      </a:cubicBezTo>
                      <a:cubicBezTo>
                        <a:pt x="240216" y="9621"/>
                        <a:pt x="239937" y="8394"/>
                        <a:pt x="234437" y="3810"/>
                      </a:cubicBezTo>
                      <a:cubicBezTo>
                        <a:pt x="232678" y="2344"/>
                        <a:pt x="230627" y="1270"/>
                        <a:pt x="228722" y="0"/>
                      </a:cubicBezTo>
                      <a:cubicBezTo>
                        <a:pt x="224912" y="635"/>
                        <a:pt x="220747" y="178"/>
                        <a:pt x="217292" y="1905"/>
                      </a:cubicBezTo>
                      <a:cubicBezTo>
                        <a:pt x="215244" y="2929"/>
                        <a:pt x="215270" y="6190"/>
                        <a:pt x="213482" y="7620"/>
                      </a:cubicBezTo>
                      <a:cubicBezTo>
                        <a:pt x="211914" y="8874"/>
                        <a:pt x="209672" y="8890"/>
                        <a:pt x="207767" y="9525"/>
                      </a:cubicBezTo>
                      <a:lnTo>
                        <a:pt x="203957" y="20955"/>
                      </a:lnTo>
                      <a:cubicBezTo>
                        <a:pt x="203322" y="22860"/>
                        <a:pt x="202382" y="24689"/>
                        <a:pt x="202052" y="26670"/>
                      </a:cubicBezTo>
                      <a:lnTo>
                        <a:pt x="200147" y="38100"/>
                      </a:lnTo>
                      <a:cubicBezTo>
                        <a:pt x="200692" y="44635"/>
                        <a:pt x="200524" y="64383"/>
                        <a:pt x="205862" y="72390"/>
                      </a:cubicBezTo>
                      <a:lnTo>
                        <a:pt x="213482" y="83820"/>
                      </a:lnTo>
                      <a:lnTo>
                        <a:pt x="217292" y="89535"/>
                      </a:lnTo>
                      <a:cubicBezTo>
                        <a:pt x="216657" y="92075"/>
                        <a:pt x="217111" y="95185"/>
                        <a:pt x="215387" y="97155"/>
                      </a:cubicBezTo>
                      <a:cubicBezTo>
                        <a:pt x="212372" y="100601"/>
                        <a:pt x="203957" y="104775"/>
                        <a:pt x="203957" y="104775"/>
                      </a:cubicBezTo>
                      <a:cubicBezTo>
                        <a:pt x="199169" y="119140"/>
                        <a:pt x="205628" y="101433"/>
                        <a:pt x="198242" y="116205"/>
                      </a:cubicBezTo>
                      <a:cubicBezTo>
                        <a:pt x="197344" y="118001"/>
                        <a:pt x="197235" y="120124"/>
                        <a:pt x="196337" y="121920"/>
                      </a:cubicBezTo>
                      <a:cubicBezTo>
                        <a:pt x="188951" y="136692"/>
                        <a:pt x="195410" y="118985"/>
                        <a:pt x="190622" y="133350"/>
                      </a:cubicBezTo>
                      <a:cubicBezTo>
                        <a:pt x="189197" y="146178"/>
                        <a:pt x="193210" y="149930"/>
                        <a:pt x="183002" y="154305"/>
                      </a:cubicBezTo>
                      <a:cubicBezTo>
                        <a:pt x="180596" y="155336"/>
                        <a:pt x="177922" y="155575"/>
                        <a:pt x="175382" y="156210"/>
                      </a:cubicBezTo>
                      <a:cubicBezTo>
                        <a:pt x="173477" y="154305"/>
                        <a:pt x="171161" y="152737"/>
                        <a:pt x="169667" y="150495"/>
                      </a:cubicBezTo>
                      <a:cubicBezTo>
                        <a:pt x="168553" y="148824"/>
                        <a:pt x="169396" y="145947"/>
                        <a:pt x="167762" y="144780"/>
                      </a:cubicBezTo>
                      <a:cubicBezTo>
                        <a:pt x="164494" y="142446"/>
                        <a:pt x="160142" y="142240"/>
                        <a:pt x="156332" y="140970"/>
                      </a:cubicBezTo>
                      <a:lnTo>
                        <a:pt x="150617" y="139065"/>
                      </a:lnTo>
                      <a:lnTo>
                        <a:pt x="139187" y="135255"/>
                      </a:lnTo>
                      <a:cubicBezTo>
                        <a:pt x="137282" y="134620"/>
                        <a:pt x="135143" y="134464"/>
                        <a:pt x="133472" y="133350"/>
                      </a:cubicBezTo>
                      <a:cubicBezTo>
                        <a:pt x="129789" y="130895"/>
                        <a:pt x="126681" y="128099"/>
                        <a:pt x="122042" y="127635"/>
                      </a:cubicBezTo>
                      <a:cubicBezTo>
                        <a:pt x="111282" y="126559"/>
                        <a:pt x="100452" y="126365"/>
                        <a:pt x="89657" y="125730"/>
                      </a:cubicBezTo>
                      <a:cubicBezTo>
                        <a:pt x="85440" y="122919"/>
                        <a:pt x="81161" y="120605"/>
                        <a:pt x="78227" y="116205"/>
                      </a:cubicBezTo>
                      <a:cubicBezTo>
                        <a:pt x="77113" y="114534"/>
                        <a:pt x="77220" y="112286"/>
                        <a:pt x="76322" y="110490"/>
                      </a:cubicBezTo>
                      <a:cubicBezTo>
                        <a:pt x="75298" y="108442"/>
                        <a:pt x="73782" y="106680"/>
                        <a:pt x="72512" y="104775"/>
                      </a:cubicBezTo>
                      <a:cubicBezTo>
                        <a:pt x="72417" y="104301"/>
                        <a:pt x="70264" y="91488"/>
                        <a:pt x="68702" y="89535"/>
                      </a:cubicBezTo>
                      <a:cubicBezTo>
                        <a:pt x="67272" y="87747"/>
                        <a:pt x="65131" y="86529"/>
                        <a:pt x="62987" y="85725"/>
                      </a:cubicBezTo>
                      <a:cubicBezTo>
                        <a:pt x="59955" y="84588"/>
                        <a:pt x="56637" y="84455"/>
                        <a:pt x="53462" y="83820"/>
                      </a:cubicBezTo>
                      <a:cubicBezTo>
                        <a:pt x="51557" y="82550"/>
                        <a:pt x="49795" y="81034"/>
                        <a:pt x="47747" y="80010"/>
                      </a:cubicBezTo>
                      <a:cubicBezTo>
                        <a:pt x="45951" y="79112"/>
                        <a:pt x="43600" y="79359"/>
                        <a:pt x="42032" y="78105"/>
                      </a:cubicBezTo>
                      <a:cubicBezTo>
                        <a:pt x="40010" y="76488"/>
                        <a:pt x="35074" y="66424"/>
                        <a:pt x="34412" y="64770"/>
                      </a:cubicBezTo>
                      <a:cubicBezTo>
                        <a:pt x="32920" y="61041"/>
                        <a:pt x="30602" y="53340"/>
                        <a:pt x="30602" y="53340"/>
                      </a:cubicBezTo>
                      <a:cubicBezTo>
                        <a:pt x="31872" y="51435"/>
                        <a:pt x="34236" y="49908"/>
                        <a:pt x="34412" y="47625"/>
                      </a:cubicBezTo>
                      <a:cubicBezTo>
                        <a:pt x="34901" y="41262"/>
                        <a:pt x="33477" y="34882"/>
                        <a:pt x="32507" y="28575"/>
                      </a:cubicBezTo>
                      <a:close/>
                    </a:path>
                  </a:pathLst>
                </a:custGeom>
                <a:solidFill>
                  <a:srgbClr val="9E6AAF">
                    <a:alpha val="72941"/>
                  </a:srgbClr>
                </a:solidFill>
                <a:ln w="19050" cap="flat" cmpd="sng" algn="ctr">
                  <a:solidFill>
                    <a:srgbClr val="7F5292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5783">
                    <a:defRPr/>
                  </a:pPr>
                  <a:endParaRPr lang="en-US" sz="1000" kern="0">
                    <a:solidFill>
                      <a:srgbClr val="FFFFFF"/>
                    </a:solidFill>
                    <a:latin typeface="Arial" panose="020B0604020202020204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174" name="Group 1173">
                <a:extLst>
                  <a:ext uri="{FF2B5EF4-FFF2-40B4-BE49-F238E27FC236}">
                    <a16:creationId xmlns:a16="http://schemas.microsoft.com/office/drawing/2014/main" id="{E1ED800B-C167-C839-87F4-D64CB01EE663}"/>
                  </a:ext>
                </a:extLst>
              </p:cNvPr>
              <p:cNvGrpSpPr/>
              <p:nvPr/>
            </p:nvGrpSpPr>
            <p:grpSpPr>
              <a:xfrm rot="8370926">
                <a:off x="2942111" y="3047449"/>
                <a:ext cx="198527" cy="173415"/>
                <a:chOff x="3390226" y="902644"/>
                <a:chExt cx="294782" cy="292335"/>
              </a:xfrm>
            </p:grpSpPr>
            <p:grpSp>
              <p:nvGrpSpPr>
                <p:cNvPr id="1175" name="Group 1174">
                  <a:extLst>
                    <a:ext uri="{FF2B5EF4-FFF2-40B4-BE49-F238E27FC236}">
                      <a16:creationId xmlns:a16="http://schemas.microsoft.com/office/drawing/2014/main" id="{49DFE8A9-0075-40A8-DA8B-61A7A2E99DE5}"/>
                    </a:ext>
                  </a:extLst>
                </p:cNvPr>
                <p:cNvGrpSpPr/>
                <p:nvPr/>
              </p:nvGrpSpPr>
              <p:grpSpPr>
                <a:xfrm>
                  <a:off x="3390226" y="902644"/>
                  <a:ext cx="294782" cy="292335"/>
                  <a:chOff x="3390226" y="902644"/>
                  <a:chExt cx="294782" cy="292335"/>
                </a:xfrm>
              </p:grpSpPr>
              <p:sp>
                <p:nvSpPr>
                  <p:cNvPr id="1177" name="Oval 1176">
                    <a:extLst>
                      <a:ext uri="{FF2B5EF4-FFF2-40B4-BE49-F238E27FC236}">
                        <a16:creationId xmlns:a16="http://schemas.microsoft.com/office/drawing/2014/main" id="{6C8562DD-E3F3-C256-D759-E409D71784AC}"/>
                      </a:ext>
                    </a:extLst>
                  </p:cNvPr>
                  <p:cNvSpPr/>
                  <p:nvPr/>
                </p:nvSpPr>
                <p:spPr>
                  <a:xfrm rot="4711444">
                    <a:off x="3391449" y="901421"/>
                    <a:ext cx="292335" cy="294782"/>
                  </a:xfrm>
                  <a:prstGeom prst="ellipse">
                    <a:avLst/>
                  </a:prstGeom>
                  <a:solidFill>
                    <a:srgbClr val="FF2B28">
                      <a:lumMod val="20000"/>
                      <a:lumOff val="80000"/>
                    </a:srgbClr>
                  </a:solidFill>
                  <a:ln w="15875" cap="flat" cmpd="sng" algn="ctr">
                    <a:solidFill>
                      <a:srgbClr val="CC95BC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5783">
                      <a:defRPr/>
                    </a:pPr>
                    <a:endParaRPr lang="en-US" sz="1000" kern="0">
                      <a:solidFill>
                        <a:srgbClr val="FFFFFF"/>
                      </a:solidFill>
                      <a:latin typeface="Arial" panose="020B0604020202020204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1178" name="Group 1177">
                    <a:extLst>
                      <a:ext uri="{FF2B5EF4-FFF2-40B4-BE49-F238E27FC236}">
                        <a16:creationId xmlns:a16="http://schemas.microsoft.com/office/drawing/2014/main" id="{6A1FB8AE-CDCA-96ED-0B97-F6D8B40E91DF}"/>
                      </a:ext>
                    </a:extLst>
                  </p:cNvPr>
                  <p:cNvGrpSpPr/>
                  <p:nvPr/>
                </p:nvGrpSpPr>
                <p:grpSpPr>
                  <a:xfrm rot="4711444">
                    <a:off x="3413226" y="963115"/>
                    <a:ext cx="164790" cy="149511"/>
                    <a:chOff x="8770428" y="4145225"/>
                    <a:chExt cx="307647" cy="276804"/>
                  </a:xfrm>
                </p:grpSpPr>
                <p:sp>
                  <p:nvSpPr>
                    <p:cNvPr id="1229" name="Freeform: Shape 474">
                      <a:extLst>
                        <a:ext uri="{FF2B5EF4-FFF2-40B4-BE49-F238E27FC236}">
                          <a16:creationId xmlns:a16="http://schemas.microsoft.com/office/drawing/2014/main" id="{DE6C9EB9-B688-26F6-FD71-221FEB12B821}"/>
                        </a:ext>
                      </a:extLst>
                    </p:cNvPr>
                    <p:cNvSpPr/>
                    <p:nvPr/>
                  </p:nvSpPr>
                  <p:spPr>
                    <a:xfrm rot="5813516">
                      <a:off x="8823930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30" name="Freeform: Shape 475">
                      <a:extLst>
                        <a:ext uri="{FF2B5EF4-FFF2-40B4-BE49-F238E27FC236}">
                          <a16:creationId xmlns:a16="http://schemas.microsoft.com/office/drawing/2014/main" id="{0E37D0A8-9225-5A1F-9F68-00562C8C893B}"/>
                        </a:ext>
                      </a:extLst>
                    </p:cNvPr>
                    <p:cNvSpPr/>
                    <p:nvPr/>
                  </p:nvSpPr>
                  <p:spPr>
                    <a:xfrm rot="6799576">
                      <a:off x="8855933" y="4253069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31" name="Freeform: Shape 476">
                      <a:extLst>
                        <a:ext uri="{FF2B5EF4-FFF2-40B4-BE49-F238E27FC236}">
                          <a16:creationId xmlns:a16="http://schemas.microsoft.com/office/drawing/2014/main" id="{C15490D9-CF91-2B3D-CD0F-06280ABD179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50061" y="4188172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32" name="Freeform: Shape 477">
                      <a:extLst>
                        <a:ext uri="{FF2B5EF4-FFF2-40B4-BE49-F238E27FC236}">
                          <a16:creationId xmlns:a16="http://schemas.microsoft.com/office/drawing/2014/main" id="{8C0AB84D-71C7-90E4-5F4F-4FFD863CDD58}"/>
                        </a:ext>
                      </a:extLst>
                    </p:cNvPr>
                    <p:cNvSpPr/>
                    <p:nvPr/>
                  </p:nvSpPr>
                  <p:spPr>
                    <a:xfrm rot="15284729">
                      <a:off x="8851362" y="4146483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33" name="Freeform: Shape 478">
                      <a:extLst>
                        <a:ext uri="{FF2B5EF4-FFF2-40B4-BE49-F238E27FC236}">
                          <a16:creationId xmlns:a16="http://schemas.microsoft.com/office/drawing/2014/main" id="{ADD411B9-3D65-513E-C6E0-202C3A584D38}"/>
                        </a:ext>
                      </a:extLst>
                    </p:cNvPr>
                    <p:cNvSpPr/>
                    <p:nvPr/>
                  </p:nvSpPr>
                  <p:spPr>
                    <a:xfrm rot="4030563">
                      <a:off x="8954046" y="4390351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34" name="Freeform: Shape 479">
                      <a:extLst>
                        <a:ext uri="{FF2B5EF4-FFF2-40B4-BE49-F238E27FC236}">
                          <a16:creationId xmlns:a16="http://schemas.microsoft.com/office/drawing/2014/main" id="{4AD7EAB1-A013-332C-6D84-BE6C76F7896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78794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35" name="Freeform: Shape 480">
                      <a:extLst>
                        <a:ext uri="{FF2B5EF4-FFF2-40B4-BE49-F238E27FC236}">
                          <a16:creationId xmlns:a16="http://schemas.microsoft.com/office/drawing/2014/main" id="{99666455-8705-9069-1521-B15B2D252C17}"/>
                        </a:ext>
                      </a:extLst>
                    </p:cNvPr>
                    <p:cNvSpPr/>
                    <p:nvPr/>
                  </p:nvSpPr>
                  <p:spPr>
                    <a:xfrm rot="1648623">
                      <a:off x="8778238" y="4278378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36" name="Freeform: Shape 481">
                      <a:extLst>
                        <a:ext uri="{FF2B5EF4-FFF2-40B4-BE49-F238E27FC236}">
                          <a16:creationId xmlns:a16="http://schemas.microsoft.com/office/drawing/2014/main" id="{9EE6D6B0-1201-8D9F-6A82-600758BFE163}"/>
                        </a:ext>
                      </a:extLst>
                    </p:cNvPr>
                    <p:cNvSpPr/>
                    <p:nvPr/>
                  </p:nvSpPr>
                  <p:spPr>
                    <a:xfrm rot="20582585">
                      <a:off x="8817085" y="4302941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37" name="Freeform: Shape 482">
                      <a:extLst>
                        <a:ext uri="{FF2B5EF4-FFF2-40B4-BE49-F238E27FC236}">
                          <a16:creationId xmlns:a16="http://schemas.microsoft.com/office/drawing/2014/main" id="{769905C3-61BF-4424-083C-3870F0256662}"/>
                        </a:ext>
                      </a:extLst>
                    </p:cNvPr>
                    <p:cNvSpPr/>
                    <p:nvPr/>
                  </p:nvSpPr>
                  <p:spPr>
                    <a:xfrm rot="17414284">
                      <a:off x="8943702" y="414065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38" name="Freeform: Shape 483">
                      <a:extLst>
                        <a:ext uri="{FF2B5EF4-FFF2-40B4-BE49-F238E27FC236}">
                          <a16:creationId xmlns:a16="http://schemas.microsoft.com/office/drawing/2014/main" id="{308AC0D0-9E6D-55F4-FE7B-09BC96CD9B8C}"/>
                        </a:ext>
                      </a:extLst>
                    </p:cNvPr>
                    <p:cNvSpPr/>
                    <p:nvPr/>
                  </p:nvSpPr>
                  <p:spPr>
                    <a:xfrm rot="9043087">
                      <a:off x="8883430" y="4342996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39" name="Freeform: Shape 484">
                      <a:extLst>
                        <a:ext uri="{FF2B5EF4-FFF2-40B4-BE49-F238E27FC236}">
                          <a16:creationId xmlns:a16="http://schemas.microsoft.com/office/drawing/2014/main" id="{8D1C5953-434D-D382-43EF-B4ED87292FDB}"/>
                        </a:ext>
                      </a:extLst>
                    </p:cNvPr>
                    <p:cNvSpPr/>
                    <p:nvPr/>
                  </p:nvSpPr>
                  <p:spPr>
                    <a:xfrm rot="5209521">
                      <a:off x="8961351" y="4317762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40" name="Freeform: Shape 485">
                      <a:extLst>
                        <a:ext uri="{FF2B5EF4-FFF2-40B4-BE49-F238E27FC236}">
                          <a16:creationId xmlns:a16="http://schemas.microsoft.com/office/drawing/2014/main" id="{CDE707A8-F7F7-47A5-C732-CD9EC622C33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18409" y="432953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41" name="Rectangle: Rounded Corners 486">
                      <a:extLst>
                        <a:ext uri="{FF2B5EF4-FFF2-40B4-BE49-F238E27FC236}">
                          <a16:creationId xmlns:a16="http://schemas.microsoft.com/office/drawing/2014/main" id="{08EB3EB2-2456-B38F-E115-FEDE0454E59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86901" y="440374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42" name="Rectangle: Rounded Corners 487">
                      <a:extLst>
                        <a:ext uri="{FF2B5EF4-FFF2-40B4-BE49-F238E27FC236}">
                          <a16:creationId xmlns:a16="http://schemas.microsoft.com/office/drawing/2014/main" id="{5C699C39-4DBF-9347-E80F-2DC545101F3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58174" y="429137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43" name="Rectangle: Rounded Corners 488">
                      <a:extLst>
                        <a:ext uri="{FF2B5EF4-FFF2-40B4-BE49-F238E27FC236}">
                          <a16:creationId xmlns:a16="http://schemas.microsoft.com/office/drawing/2014/main" id="{92D3B9EE-59C1-B538-121B-4918215599C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770428" y="419613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44" name="Rectangle: Rounded Corners 489">
                      <a:extLst>
                        <a:ext uri="{FF2B5EF4-FFF2-40B4-BE49-F238E27FC236}">
                          <a16:creationId xmlns:a16="http://schemas.microsoft.com/office/drawing/2014/main" id="{7CED4AF3-13A3-E2BE-7506-85FA0003B9A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24873" y="4240076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45" name="Rectangle: Rounded Corners 490">
                      <a:extLst>
                        <a:ext uri="{FF2B5EF4-FFF2-40B4-BE49-F238E27FC236}">
                          <a16:creationId xmlns:a16="http://schemas.microsoft.com/office/drawing/2014/main" id="{CF1AA53F-55D1-3F96-3006-5DDDF3F7494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50643" y="429398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46" name="Rectangle: Rounded Corners 491">
                      <a:extLst>
                        <a:ext uri="{FF2B5EF4-FFF2-40B4-BE49-F238E27FC236}">
                          <a16:creationId xmlns:a16="http://schemas.microsoft.com/office/drawing/2014/main" id="{9FA2E966-5596-6BD6-B438-15BC1A40742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17085" y="439459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</p:grpSp>
              <p:grpSp>
                <p:nvGrpSpPr>
                  <p:cNvPr id="1179" name="Group 1178">
                    <a:extLst>
                      <a:ext uri="{FF2B5EF4-FFF2-40B4-BE49-F238E27FC236}">
                        <a16:creationId xmlns:a16="http://schemas.microsoft.com/office/drawing/2014/main" id="{96A5D562-5B47-FA34-7857-00B819BE4369}"/>
                      </a:ext>
                    </a:extLst>
                  </p:cNvPr>
                  <p:cNvGrpSpPr/>
                  <p:nvPr/>
                </p:nvGrpSpPr>
                <p:grpSpPr>
                  <a:xfrm rot="13031820">
                    <a:off x="3472433" y="927802"/>
                    <a:ext cx="164791" cy="149512"/>
                    <a:chOff x="8770428" y="4145225"/>
                    <a:chExt cx="307647" cy="276804"/>
                  </a:xfrm>
                </p:grpSpPr>
                <p:sp>
                  <p:nvSpPr>
                    <p:cNvPr id="1213" name="Freeform: Shape 458">
                      <a:extLst>
                        <a:ext uri="{FF2B5EF4-FFF2-40B4-BE49-F238E27FC236}">
                          <a16:creationId xmlns:a16="http://schemas.microsoft.com/office/drawing/2014/main" id="{0181C08F-4E26-EBCB-2553-34B0D052E600}"/>
                        </a:ext>
                      </a:extLst>
                    </p:cNvPr>
                    <p:cNvSpPr/>
                    <p:nvPr/>
                  </p:nvSpPr>
                  <p:spPr>
                    <a:xfrm rot="5813516">
                      <a:off x="8823930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14" name="Freeform: Shape 459">
                      <a:extLst>
                        <a:ext uri="{FF2B5EF4-FFF2-40B4-BE49-F238E27FC236}">
                          <a16:creationId xmlns:a16="http://schemas.microsoft.com/office/drawing/2014/main" id="{B4F55A3C-C747-6B37-2AC7-9D7C7AA5E830}"/>
                        </a:ext>
                      </a:extLst>
                    </p:cNvPr>
                    <p:cNvSpPr/>
                    <p:nvPr/>
                  </p:nvSpPr>
                  <p:spPr>
                    <a:xfrm rot="15284729">
                      <a:off x="8851362" y="4146483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15" name="Freeform: Shape 460">
                      <a:extLst>
                        <a:ext uri="{FF2B5EF4-FFF2-40B4-BE49-F238E27FC236}">
                          <a16:creationId xmlns:a16="http://schemas.microsoft.com/office/drawing/2014/main" id="{D9D0B706-67F4-01F2-2E37-4946BCD7BF32}"/>
                        </a:ext>
                      </a:extLst>
                    </p:cNvPr>
                    <p:cNvSpPr/>
                    <p:nvPr/>
                  </p:nvSpPr>
                  <p:spPr>
                    <a:xfrm rot="4030563">
                      <a:off x="8954046" y="4390351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16" name="Freeform: Shape 461">
                      <a:extLst>
                        <a:ext uri="{FF2B5EF4-FFF2-40B4-BE49-F238E27FC236}">
                          <a16:creationId xmlns:a16="http://schemas.microsoft.com/office/drawing/2014/main" id="{8D740D7B-5C0D-7C86-0A33-57AD3DF31AD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29986" y="4287522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17" name="Freeform: Shape 462">
                      <a:extLst>
                        <a:ext uri="{FF2B5EF4-FFF2-40B4-BE49-F238E27FC236}">
                          <a16:creationId xmlns:a16="http://schemas.microsoft.com/office/drawing/2014/main" id="{40CC2ADC-FCD6-7194-D8F5-BA5F9B1AA168}"/>
                        </a:ext>
                      </a:extLst>
                    </p:cNvPr>
                    <p:cNvSpPr/>
                    <p:nvPr/>
                  </p:nvSpPr>
                  <p:spPr>
                    <a:xfrm rot="1648623">
                      <a:off x="8778238" y="4278378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18" name="Freeform: Shape 463">
                      <a:extLst>
                        <a:ext uri="{FF2B5EF4-FFF2-40B4-BE49-F238E27FC236}">
                          <a16:creationId xmlns:a16="http://schemas.microsoft.com/office/drawing/2014/main" id="{B1C5D358-3D24-7A80-90BB-E71707259234}"/>
                        </a:ext>
                      </a:extLst>
                    </p:cNvPr>
                    <p:cNvSpPr/>
                    <p:nvPr/>
                  </p:nvSpPr>
                  <p:spPr>
                    <a:xfrm rot="20582585">
                      <a:off x="8817085" y="4302941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19" name="Freeform: Shape 464">
                      <a:extLst>
                        <a:ext uri="{FF2B5EF4-FFF2-40B4-BE49-F238E27FC236}">
                          <a16:creationId xmlns:a16="http://schemas.microsoft.com/office/drawing/2014/main" id="{D6D806E6-E51F-03BB-8AA6-90ADFD41EFE8}"/>
                        </a:ext>
                      </a:extLst>
                    </p:cNvPr>
                    <p:cNvSpPr/>
                    <p:nvPr/>
                  </p:nvSpPr>
                  <p:spPr>
                    <a:xfrm rot="17414284">
                      <a:off x="8943702" y="414065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20" name="Freeform: Shape 465">
                      <a:extLst>
                        <a:ext uri="{FF2B5EF4-FFF2-40B4-BE49-F238E27FC236}">
                          <a16:creationId xmlns:a16="http://schemas.microsoft.com/office/drawing/2014/main" id="{809B24B0-4888-0DAF-7D54-F09474C1718E}"/>
                        </a:ext>
                      </a:extLst>
                    </p:cNvPr>
                    <p:cNvSpPr/>
                    <p:nvPr/>
                  </p:nvSpPr>
                  <p:spPr>
                    <a:xfrm rot="9043087">
                      <a:off x="8883430" y="4342996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21" name="Freeform: Shape 466">
                      <a:extLst>
                        <a:ext uri="{FF2B5EF4-FFF2-40B4-BE49-F238E27FC236}">
                          <a16:creationId xmlns:a16="http://schemas.microsoft.com/office/drawing/2014/main" id="{D231EEF8-1972-871C-66DD-21FF2F686E12}"/>
                        </a:ext>
                      </a:extLst>
                    </p:cNvPr>
                    <p:cNvSpPr/>
                    <p:nvPr/>
                  </p:nvSpPr>
                  <p:spPr>
                    <a:xfrm rot="5209521">
                      <a:off x="8961351" y="4317762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22" name="Freeform: Shape 467">
                      <a:extLst>
                        <a:ext uri="{FF2B5EF4-FFF2-40B4-BE49-F238E27FC236}">
                          <a16:creationId xmlns:a16="http://schemas.microsoft.com/office/drawing/2014/main" id="{2328C992-5FEA-B369-C650-C86B05A8AA9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18409" y="432953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23" name="Freeform: Shape 468">
                      <a:extLst>
                        <a:ext uri="{FF2B5EF4-FFF2-40B4-BE49-F238E27FC236}">
                          <a16:creationId xmlns:a16="http://schemas.microsoft.com/office/drawing/2014/main" id="{D00AD062-6990-18A0-F21E-4462219477BA}"/>
                        </a:ext>
                      </a:extLst>
                    </p:cNvPr>
                    <p:cNvSpPr/>
                    <p:nvPr/>
                  </p:nvSpPr>
                  <p:spPr>
                    <a:xfrm rot="18952815">
                      <a:off x="8990335" y="4236377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24" name="Rectangle: Rounded Corners 469">
                      <a:extLst>
                        <a:ext uri="{FF2B5EF4-FFF2-40B4-BE49-F238E27FC236}">
                          <a16:creationId xmlns:a16="http://schemas.microsoft.com/office/drawing/2014/main" id="{E833E0B2-9190-8CFD-F9EF-56DD45A97C3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86901" y="440374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25" name="Rectangle: Rounded Corners 470">
                      <a:extLst>
                        <a:ext uri="{FF2B5EF4-FFF2-40B4-BE49-F238E27FC236}">
                          <a16:creationId xmlns:a16="http://schemas.microsoft.com/office/drawing/2014/main" id="{124474A0-AD04-2982-74C3-72B8EBDDCFA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58174" y="429137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26" name="Rectangle: Rounded Corners 471">
                      <a:extLst>
                        <a:ext uri="{FF2B5EF4-FFF2-40B4-BE49-F238E27FC236}">
                          <a16:creationId xmlns:a16="http://schemas.microsoft.com/office/drawing/2014/main" id="{E24AEC5F-D3EC-4A1D-FD94-6624F5DB5D8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770428" y="419613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27" name="Rectangle: Rounded Corners 472">
                      <a:extLst>
                        <a:ext uri="{FF2B5EF4-FFF2-40B4-BE49-F238E27FC236}">
                          <a16:creationId xmlns:a16="http://schemas.microsoft.com/office/drawing/2014/main" id="{048C988C-FBAB-BF86-830E-5EB4FF2F011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50643" y="429398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28" name="Rectangle: Rounded Corners 473">
                      <a:extLst>
                        <a:ext uri="{FF2B5EF4-FFF2-40B4-BE49-F238E27FC236}">
                          <a16:creationId xmlns:a16="http://schemas.microsoft.com/office/drawing/2014/main" id="{32EC39AD-FD9D-67FA-CAA7-0023456BA41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17085" y="439459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</p:grpSp>
              <p:grpSp>
                <p:nvGrpSpPr>
                  <p:cNvPr id="1180" name="Group 1179">
                    <a:extLst>
                      <a:ext uri="{FF2B5EF4-FFF2-40B4-BE49-F238E27FC236}">
                        <a16:creationId xmlns:a16="http://schemas.microsoft.com/office/drawing/2014/main" id="{BC9A80AC-486F-B2B9-9C93-0F356212A4F7}"/>
                      </a:ext>
                    </a:extLst>
                  </p:cNvPr>
                  <p:cNvGrpSpPr/>
                  <p:nvPr/>
                </p:nvGrpSpPr>
                <p:grpSpPr>
                  <a:xfrm rot="20035314">
                    <a:off x="3439984" y="1013397"/>
                    <a:ext cx="166170" cy="147874"/>
                    <a:chOff x="8770428" y="4145965"/>
                    <a:chExt cx="307647" cy="276064"/>
                  </a:xfrm>
                </p:grpSpPr>
                <p:sp>
                  <p:nvSpPr>
                    <p:cNvPr id="1198" name="Freeform: Shape 443">
                      <a:extLst>
                        <a:ext uri="{FF2B5EF4-FFF2-40B4-BE49-F238E27FC236}">
                          <a16:creationId xmlns:a16="http://schemas.microsoft.com/office/drawing/2014/main" id="{A684A51D-3914-3B84-61AA-4C6873A09548}"/>
                        </a:ext>
                      </a:extLst>
                    </p:cNvPr>
                    <p:cNvSpPr/>
                    <p:nvPr/>
                  </p:nvSpPr>
                  <p:spPr>
                    <a:xfrm rot="5813516">
                      <a:off x="8823930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99" name="Freeform: Shape 444">
                      <a:extLst>
                        <a:ext uri="{FF2B5EF4-FFF2-40B4-BE49-F238E27FC236}">
                          <a16:creationId xmlns:a16="http://schemas.microsoft.com/office/drawing/2014/main" id="{C53FE07F-79C1-EB1D-033C-5352C191683B}"/>
                        </a:ext>
                      </a:extLst>
                    </p:cNvPr>
                    <p:cNvSpPr/>
                    <p:nvPr/>
                  </p:nvSpPr>
                  <p:spPr>
                    <a:xfrm rot="15284729">
                      <a:off x="8851362" y="4146483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00" name="Freeform: Shape 445">
                      <a:extLst>
                        <a:ext uri="{FF2B5EF4-FFF2-40B4-BE49-F238E27FC236}">
                          <a16:creationId xmlns:a16="http://schemas.microsoft.com/office/drawing/2014/main" id="{8562D788-403E-1BA3-CC54-D362769D52B3}"/>
                        </a:ext>
                      </a:extLst>
                    </p:cNvPr>
                    <p:cNvSpPr/>
                    <p:nvPr/>
                  </p:nvSpPr>
                  <p:spPr>
                    <a:xfrm rot="4030563">
                      <a:off x="8954046" y="4390351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01" name="Freeform: Shape 446">
                      <a:extLst>
                        <a:ext uri="{FF2B5EF4-FFF2-40B4-BE49-F238E27FC236}">
                          <a16:creationId xmlns:a16="http://schemas.microsoft.com/office/drawing/2014/main" id="{00BDB69D-AD19-37D4-AE6B-C6CF1048EDB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78794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02" name="Freeform: Shape 447">
                      <a:extLst>
                        <a:ext uri="{FF2B5EF4-FFF2-40B4-BE49-F238E27FC236}">
                          <a16:creationId xmlns:a16="http://schemas.microsoft.com/office/drawing/2014/main" id="{E0EECC26-2D70-9A63-E627-9A33F28F1059}"/>
                        </a:ext>
                      </a:extLst>
                    </p:cNvPr>
                    <p:cNvSpPr/>
                    <p:nvPr/>
                  </p:nvSpPr>
                  <p:spPr>
                    <a:xfrm rot="1648623">
                      <a:off x="8778238" y="4278378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03" name="Freeform: Shape 448">
                      <a:extLst>
                        <a:ext uri="{FF2B5EF4-FFF2-40B4-BE49-F238E27FC236}">
                          <a16:creationId xmlns:a16="http://schemas.microsoft.com/office/drawing/2014/main" id="{FDE511EF-6147-3E3F-C3A9-87C0EB6EB054}"/>
                        </a:ext>
                      </a:extLst>
                    </p:cNvPr>
                    <p:cNvSpPr/>
                    <p:nvPr/>
                  </p:nvSpPr>
                  <p:spPr>
                    <a:xfrm rot="20582585">
                      <a:off x="8817085" y="4302941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04" name="Freeform: Shape 449">
                      <a:extLst>
                        <a:ext uri="{FF2B5EF4-FFF2-40B4-BE49-F238E27FC236}">
                          <a16:creationId xmlns:a16="http://schemas.microsoft.com/office/drawing/2014/main" id="{643BE291-FDEC-C7F7-65A4-0BB37065857E}"/>
                        </a:ext>
                      </a:extLst>
                    </p:cNvPr>
                    <p:cNvSpPr/>
                    <p:nvPr/>
                  </p:nvSpPr>
                  <p:spPr>
                    <a:xfrm rot="9043087">
                      <a:off x="8883430" y="4342996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05" name="Freeform: Shape 450">
                      <a:extLst>
                        <a:ext uri="{FF2B5EF4-FFF2-40B4-BE49-F238E27FC236}">
                          <a16:creationId xmlns:a16="http://schemas.microsoft.com/office/drawing/2014/main" id="{1979D37E-76C1-DB30-7755-F64187F02BD8}"/>
                        </a:ext>
                      </a:extLst>
                    </p:cNvPr>
                    <p:cNvSpPr/>
                    <p:nvPr/>
                  </p:nvSpPr>
                  <p:spPr>
                    <a:xfrm rot="5209521">
                      <a:off x="8961351" y="4317762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06" name="Freeform: Shape 451">
                      <a:extLst>
                        <a:ext uri="{FF2B5EF4-FFF2-40B4-BE49-F238E27FC236}">
                          <a16:creationId xmlns:a16="http://schemas.microsoft.com/office/drawing/2014/main" id="{8C0378D8-3D91-7ADC-9974-2125A2ABA2F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18409" y="432953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07" name="Rectangle: Rounded Corners 452">
                      <a:extLst>
                        <a:ext uri="{FF2B5EF4-FFF2-40B4-BE49-F238E27FC236}">
                          <a16:creationId xmlns:a16="http://schemas.microsoft.com/office/drawing/2014/main" id="{3D8B516E-C109-8BF4-FAAF-A8460951567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86901" y="440374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08" name="Rectangle: Rounded Corners 453">
                      <a:extLst>
                        <a:ext uri="{FF2B5EF4-FFF2-40B4-BE49-F238E27FC236}">
                          <a16:creationId xmlns:a16="http://schemas.microsoft.com/office/drawing/2014/main" id="{886CC9EB-3232-3216-F2AE-8F20ED63586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58174" y="429137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09" name="Rectangle: Rounded Corners 454">
                      <a:extLst>
                        <a:ext uri="{FF2B5EF4-FFF2-40B4-BE49-F238E27FC236}">
                          <a16:creationId xmlns:a16="http://schemas.microsoft.com/office/drawing/2014/main" id="{BB09BAD8-AC59-E350-5616-B9030FD33B2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770428" y="419613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10" name="Rectangle: Rounded Corners 455">
                      <a:extLst>
                        <a:ext uri="{FF2B5EF4-FFF2-40B4-BE49-F238E27FC236}">
                          <a16:creationId xmlns:a16="http://schemas.microsoft.com/office/drawing/2014/main" id="{39B8EAD0-EBF4-1543-6618-CA71A723FDD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50643" y="429398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11" name="Rectangle: Rounded Corners 456">
                      <a:extLst>
                        <a:ext uri="{FF2B5EF4-FFF2-40B4-BE49-F238E27FC236}">
                          <a16:creationId xmlns:a16="http://schemas.microsoft.com/office/drawing/2014/main" id="{12590320-B07B-E5EE-9392-3905CB25692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17085" y="439459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12" name="Rectangle: Rounded Corners 457">
                      <a:extLst>
                        <a:ext uri="{FF2B5EF4-FFF2-40B4-BE49-F238E27FC236}">
                          <a16:creationId xmlns:a16="http://schemas.microsoft.com/office/drawing/2014/main" id="{D39851ED-2D76-233B-5A38-811AD83B037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94095" y="4145965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</p:grpSp>
              <p:grpSp>
                <p:nvGrpSpPr>
                  <p:cNvPr id="1181" name="Group 1180">
                    <a:extLst>
                      <a:ext uri="{FF2B5EF4-FFF2-40B4-BE49-F238E27FC236}">
                        <a16:creationId xmlns:a16="http://schemas.microsoft.com/office/drawing/2014/main" id="{B8E7F3FC-A0C6-E2E5-8833-046146C3CA6C}"/>
                      </a:ext>
                    </a:extLst>
                  </p:cNvPr>
                  <p:cNvGrpSpPr/>
                  <p:nvPr/>
                </p:nvGrpSpPr>
                <p:grpSpPr>
                  <a:xfrm rot="4711444">
                    <a:off x="3501494" y="998460"/>
                    <a:ext cx="164790" cy="149511"/>
                    <a:chOff x="8770428" y="4145225"/>
                    <a:chExt cx="307647" cy="276804"/>
                  </a:xfrm>
                </p:grpSpPr>
                <p:sp>
                  <p:nvSpPr>
                    <p:cNvPr id="1182" name="Freeform: Shape 427">
                      <a:extLst>
                        <a:ext uri="{FF2B5EF4-FFF2-40B4-BE49-F238E27FC236}">
                          <a16:creationId xmlns:a16="http://schemas.microsoft.com/office/drawing/2014/main" id="{D6D6E8E6-50C5-1159-2773-8B0BD9F6AB2B}"/>
                        </a:ext>
                      </a:extLst>
                    </p:cNvPr>
                    <p:cNvSpPr/>
                    <p:nvPr/>
                  </p:nvSpPr>
                  <p:spPr>
                    <a:xfrm rot="5813516">
                      <a:off x="8823930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83" name="Freeform: Shape 428">
                      <a:extLst>
                        <a:ext uri="{FF2B5EF4-FFF2-40B4-BE49-F238E27FC236}">
                          <a16:creationId xmlns:a16="http://schemas.microsoft.com/office/drawing/2014/main" id="{377A12E3-85AF-902C-7789-DC2093664814}"/>
                        </a:ext>
                      </a:extLst>
                    </p:cNvPr>
                    <p:cNvSpPr/>
                    <p:nvPr/>
                  </p:nvSpPr>
                  <p:spPr>
                    <a:xfrm rot="6799576">
                      <a:off x="8855933" y="4253069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84" name="Freeform: Shape 429">
                      <a:extLst>
                        <a:ext uri="{FF2B5EF4-FFF2-40B4-BE49-F238E27FC236}">
                          <a16:creationId xmlns:a16="http://schemas.microsoft.com/office/drawing/2014/main" id="{6461AB8A-DDBB-F303-D2E9-88CF06F2F48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50061" y="4188172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85" name="Freeform: Shape 430">
                      <a:extLst>
                        <a:ext uri="{FF2B5EF4-FFF2-40B4-BE49-F238E27FC236}">
                          <a16:creationId xmlns:a16="http://schemas.microsoft.com/office/drawing/2014/main" id="{BB449406-526A-8B09-297A-3AFE307B14F0}"/>
                        </a:ext>
                      </a:extLst>
                    </p:cNvPr>
                    <p:cNvSpPr/>
                    <p:nvPr/>
                  </p:nvSpPr>
                  <p:spPr>
                    <a:xfrm rot="15284729">
                      <a:off x="8851362" y="4146483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86" name="Freeform: Shape 431">
                      <a:extLst>
                        <a:ext uri="{FF2B5EF4-FFF2-40B4-BE49-F238E27FC236}">
                          <a16:creationId xmlns:a16="http://schemas.microsoft.com/office/drawing/2014/main" id="{1074FD6D-BEAF-C52E-4AC3-7412E23DF551}"/>
                        </a:ext>
                      </a:extLst>
                    </p:cNvPr>
                    <p:cNvSpPr/>
                    <p:nvPr/>
                  </p:nvSpPr>
                  <p:spPr>
                    <a:xfrm rot="4030563">
                      <a:off x="8954046" y="4390351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87" name="Freeform: Shape 432">
                      <a:extLst>
                        <a:ext uri="{FF2B5EF4-FFF2-40B4-BE49-F238E27FC236}">
                          <a16:creationId xmlns:a16="http://schemas.microsoft.com/office/drawing/2014/main" id="{DBDA4B1B-AE06-D0AE-6739-19B09F20971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78794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88" name="Freeform: Shape 433">
                      <a:extLst>
                        <a:ext uri="{FF2B5EF4-FFF2-40B4-BE49-F238E27FC236}">
                          <a16:creationId xmlns:a16="http://schemas.microsoft.com/office/drawing/2014/main" id="{F84AD5B6-FF06-7BC0-02F3-9E2F141CBD60}"/>
                        </a:ext>
                      </a:extLst>
                    </p:cNvPr>
                    <p:cNvSpPr/>
                    <p:nvPr/>
                  </p:nvSpPr>
                  <p:spPr>
                    <a:xfrm rot="1648623">
                      <a:off x="8778238" y="4278378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89" name="Freeform: Shape 434">
                      <a:extLst>
                        <a:ext uri="{FF2B5EF4-FFF2-40B4-BE49-F238E27FC236}">
                          <a16:creationId xmlns:a16="http://schemas.microsoft.com/office/drawing/2014/main" id="{0503D736-D4BC-D02E-4116-AD0BB4CCF61A}"/>
                        </a:ext>
                      </a:extLst>
                    </p:cNvPr>
                    <p:cNvSpPr/>
                    <p:nvPr/>
                  </p:nvSpPr>
                  <p:spPr>
                    <a:xfrm rot="17414284">
                      <a:off x="8943702" y="414065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90" name="Freeform: Shape 435">
                      <a:extLst>
                        <a:ext uri="{FF2B5EF4-FFF2-40B4-BE49-F238E27FC236}">
                          <a16:creationId xmlns:a16="http://schemas.microsoft.com/office/drawing/2014/main" id="{09F59267-1BC9-6574-DC09-57B323BDD8AF}"/>
                        </a:ext>
                      </a:extLst>
                    </p:cNvPr>
                    <p:cNvSpPr/>
                    <p:nvPr/>
                  </p:nvSpPr>
                  <p:spPr>
                    <a:xfrm rot="9043087">
                      <a:off x="8883430" y="4342996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91" name="Freeform: Shape 436">
                      <a:extLst>
                        <a:ext uri="{FF2B5EF4-FFF2-40B4-BE49-F238E27FC236}">
                          <a16:creationId xmlns:a16="http://schemas.microsoft.com/office/drawing/2014/main" id="{12EEA1FE-0279-1388-E952-6B5A69F42C2D}"/>
                        </a:ext>
                      </a:extLst>
                    </p:cNvPr>
                    <p:cNvSpPr/>
                    <p:nvPr/>
                  </p:nvSpPr>
                  <p:spPr>
                    <a:xfrm rot="5209521">
                      <a:off x="8961351" y="4317762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92" name="Freeform: Shape 437">
                      <a:extLst>
                        <a:ext uri="{FF2B5EF4-FFF2-40B4-BE49-F238E27FC236}">
                          <a16:creationId xmlns:a16="http://schemas.microsoft.com/office/drawing/2014/main" id="{374A355E-C32C-7F75-A5BA-251F30520B8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18409" y="432953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93" name="Freeform: Shape 438">
                      <a:extLst>
                        <a:ext uri="{FF2B5EF4-FFF2-40B4-BE49-F238E27FC236}">
                          <a16:creationId xmlns:a16="http://schemas.microsoft.com/office/drawing/2014/main" id="{D9DEF063-DDF3-F3BF-8DE7-917101F5D507}"/>
                        </a:ext>
                      </a:extLst>
                    </p:cNvPr>
                    <p:cNvSpPr/>
                    <p:nvPr/>
                  </p:nvSpPr>
                  <p:spPr>
                    <a:xfrm rot="18952815">
                      <a:off x="8990335" y="4236377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94" name="Rectangle: Rounded Corners 439">
                      <a:extLst>
                        <a:ext uri="{FF2B5EF4-FFF2-40B4-BE49-F238E27FC236}">
                          <a16:creationId xmlns:a16="http://schemas.microsoft.com/office/drawing/2014/main" id="{FCF6FC2E-8202-96EC-150F-0FF49F96A6C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86901" y="440374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95" name="Rectangle: Rounded Corners 440">
                      <a:extLst>
                        <a:ext uri="{FF2B5EF4-FFF2-40B4-BE49-F238E27FC236}">
                          <a16:creationId xmlns:a16="http://schemas.microsoft.com/office/drawing/2014/main" id="{264AC2E5-B9B7-80F2-10A2-DBCF402632A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770428" y="419613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96" name="Rectangle: Rounded Corners 441">
                      <a:extLst>
                        <a:ext uri="{FF2B5EF4-FFF2-40B4-BE49-F238E27FC236}">
                          <a16:creationId xmlns:a16="http://schemas.microsoft.com/office/drawing/2014/main" id="{069EC93D-AF8E-9FF7-9D97-278E272553E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24873" y="4240076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97" name="Rectangle: Rounded Corners 442">
                      <a:extLst>
                        <a:ext uri="{FF2B5EF4-FFF2-40B4-BE49-F238E27FC236}">
                          <a16:creationId xmlns:a16="http://schemas.microsoft.com/office/drawing/2014/main" id="{58BE5681-1752-C08E-7864-D4C7A407A99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50643" y="429398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</p:grpSp>
            </p:grpSp>
            <p:sp>
              <p:nvSpPr>
                <p:cNvPr id="1176" name="Freeform: Shape 426">
                  <a:extLst>
                    <a:ext uri="{FF2B5EF4-FFF2-40B4-BE49-F238E27FC236}">
                      <a16:creationId xmlns:a16="http://schemas.microsoft.com/office/drawing/2014/main" id="{EB3E5C3F-CE17-36B0-27E0-B94FFB0FCFCF}"/>
                    </a:ext>
                  </a:extLst>
                </p:cNvPr>
                <p:cNvSpPr/>
                <p:nvPr/>
              </p:nvSpPr>
              <p:spPr>
                <a:xfrm rot="18595250">
                  <a:off x="3464962" y="993886"/>
                  <a:ext cx="195428" cy="172893"/>
                </a:xfrm>
                <a:custGeom>
                  <a:avLst/>
                  <a:gdLst>
                    <a:gd name="connsiteX0" fmla="*/ 36195 w 254551"/>
                    <a:gd name="connsiteY0" fmla="*/ 30480 h 227192"/>
                    <a:gd name="connsiteX1" fmla="*/ 36195 w 254551"/>
                    <a:gd name="connsiteY1" fmla="*/ 30480 h 227192"/>
                    <a:gd name="connsiteX2" fmla="*/ 20955 w 254551"/>
                    <a:gd name="connsiteY2" fmla="*/ 20955 h 227192"/>
                    <a:gd name="connsiteX3" fmla="*/ 17145 w 254551"/>
                    <a:gd name="connsiteY3" fmla="*/ 9525 h 227192"/>
                    <a:gd name="connsiteX4" fmla="*/ 5715 w 254551"/>
                    <a:gd name="connsiteY4" fmla="*/ 15240 h 227192"/>
                    <a:gd name="connsiteX5" fmla="*/ 1905 w 254551"/>
                    <a:gd name="connsiteY5" fmla="*/ 20955 h 227192"/>
                    <a:gd name="connsiteX6" fmla="*/ 0 w 254551"/>
                    <a:gd name="connsiteY6" fmla="*/ 26670 h 227192"/>
                    <a:gd name="connsiteX7" fmla="*/ 1905 w 254551"/>
                    <a:gd name="connsiteY7" fmla="*/ 47625 h 227192"/>
                    <a:gd name="connsiteX8" fmla="*/ 9525 w 254551"/>
                    <a:gd name="connsiteY8" fmla="*/ 59055 h 227192"/>
                    <a:gd name="connsiteX9" fmla="*/ 13335 w 254551"/>
                    <a:gd name="connsiteY9" fmla="*/ 70485 h 227192"/>
                    <a:gd name="connsiteX10" fmla="*/ 15240 w 254551"/>
                    <a:gd name="connsiteY10" fmla="*/ 99060 h 227192"/>
                    <a:gd name="connsiteX11" fmla="*/ 17145 w 254551"/>
                    <a:gd name="connsiteY11" fmla="*/ 104775 h 227192"/>
                    <a:gd name="connsiteX12" fmla="*/ 22860 w 254551"/>
                    <a:gd name="connsiteY12" fmla="*/ 108585 h 227192"/>
                    <a:gd name="connsiteX13" fmla="*/ 26670 w 254551"/>
                    <a:gd name="connsiteY13" fmla="*/ 114300 h 227192"/>
                    <a:gd name="connsiteX14" fmla="*/ 32385 w 254551"/>
                    <a:gd name="connsiteY14" fmla="*/ 118110 h 227192"/>
                    <a:gd name="connsiteX15" fmla="*/ 41910 w 254551"/>
                    <a:gd name="connsiteY15" fmla="*/ 131445 h 227192"/>
                    <a:gd name="connsiteX16" fmla="*/ 59055 w 254551"/>
                    <a:gd name="connsiteY16" fmla="*/ 133350 h 227192"/>
                    <a:gd name="connsiteX17" fmla="*/ 64770 w 254551"/>
                    <a:gd name="connsiteY17" fmla="*/ 180975 h 227192"/>
                    <a:gd name="connsiteX18" fmla="*/ 74295 w 254551"/>
                    <a:gd name="connsiteY18" fmla="*/ 188595 h 227192"/>
                    <a:gd name="connsiteX19" fmla="*/ 80010 w 254551"/>
                    <a:gd name="connsiteY19" fmla="*/ 192405 h 227192"/>
                    <a:gd name="connsiteX20" fmla="*/ 87630 w 254551"/>
                    <a:gd name="connsiteY20" fmla="*/ 201930 h 227192"/>
                    <a:gd name="connsiteX21" fmla="*/ 95250 w 254551"/>
                    <a:gd name="connsiteY21" fmla="*/ 213360 h 227192"/>
                    <a:gd name="connsiteX22" fmla="*/ 99060 w 254551"/>
                    <a:gd name="connsiteY22" fmla="*/ 219075 h 227192"/>
                    <a:gd name="connsiteX23" fmla="*/ 104775 w 254551"/>
                    <a:gd name="connsiteY23" fmla="*/ 220980 h 227192"/>
                    <a:gd name="connsiteX24" fmla="*/ 108585 w 254551"/>
                    <a:gd name="connsiteY24" fmla="*/ 226695 h 227192"/>
                    <a:gd name="connsiteX25" fmla="*/ 133350 w 254551"/>
                    <a:gd name="connsiteY25" fmla="*/ 222885 h 227192"/>
                    <a:gd name="connsiteX26" fmla="*/ 144780 w 254551"/>
                    <a:gd name="connsiteY26" fmla="*/ 211455 h 227192"/>
                    <a:gd name="connsiteX27" fmla="*/ 148590 w 254551"/>
                    <a:gd name="connsiteY27" fmla="*/ 205740 h 227192"/>
                    <a:gd name="connsiteX28" fmla="*/ 160020 w 254551"/>
                    <a:gd name="connsiteY28" fmla="*/ 201930 h 227192"/>
                    <a:gd name="connsiteX29" fmla="*/ 161925 w 254551"/>
                    <a:gd name="connsiteY29" fmla="*/ 196215 h 227192"/>
                    <a:gd name="connsiteX30" fmla="*/ 163830 w 254551"/>
                    <a:gd name="connsiteY30" fmla="*/ 184785 h 227192"/>
                    <a:gd name="connsiteX31" fmla="*/ 175260 w 254551"/>
                    <a:gd name="connsiteY31" fmla="*/ 180975 h 227192"/>
                    <a:gd name="connsiteX32" fmla="*/ 198120 w 254551"/>
                    <a:gd name="connsiteY32" fmla="*/ 182880 h 227192"/>
                    <a:gd name="connsiteX33" fmla="*/ 203835 w 254551"/>
                    <a:gd name="connsiteY33" fmla="*/ 186690 h 227192"/>
                    <a:gd name="connsiteX34" fmla="*/ 209550 w 254551"/>
                    <a:gd name="connsiteY34" fmla="*/ 188595 h 227192"/>
                    <a:gd name="connsiteX35" fmla="*/ 220980 w 254551"/>
                    <a:gd name="connsiteY35" fmla="*/ 186690 h 227192"/>
                    <a:gd name="connsiteX36" fmla="*/ 226695 w 254551"/>
                    <a:gd name="connsiteY36" fmla="*/ 182880 h 227192"/>
                    <a:gd name="connsiteX37" fmla="*/ 234315 w 254551"/>
                    <a:gd name="connsiteY37" fmla="*/ 165735 h 227192"/>
                    <a:gd name="connsiteX38" fmla="*/ 238125 w 254551"/>
                    <a:gd name="connsiteY38" fmla="*/ 154305 h 227192"/>
                    <a:gd name="connsiteX39" fmla="*/ 240030 w 254551"/>
                    <a:gd name="connsiteY39" fmla="*/ 148590 h 227192"/>
                    <a:gd name="connsiteX40" fmla="*/ 245745 w 254551"/>
                    <a:gd name="connsiteY40" fmla="*/ 120015 h 227192"/>
                    <a:gd name="connsiteX41" fmla="*/ 247650 w 254551"/>
                    <a:gd name="connsiteY41" fmla="*/ 114300 h 227192"/>
                    <a:gd name="connsiteX42" fmla="*/ 249555 w 254551"/>
                    <a:gd name="connsiteY42" fmla="*/ 108585 h 227192"/>
                    <a:gd name="connsiteX43" fmla="*/ 241935 w 254551"/>
                    <a:gd name="connsiteY43" fmla="*/ 89535 h 227192"/>
                    <a:gd name="connsiteX44" fmla="*/ 236220 w 254551"/>
                    <a:gd name="connsiteY44" fmla="*/ 85725 h 227192"/>
                    <a:gd name="connsiteX45" fmla="*/ 238125 w 254551"/>
                    <a:gd name="connsiteY45" fmla="*/ 80010 h 227192"/>
                    <a:gd name="connsiteX46" fmla="*/ 243840 w 254551"/>
                    <a:gd name="connsiteY46" fmla="*/ 78105 h 227192"/>
                    <a:gd name="connsiteX47" fmla="*/ 249555 w 254551"/>
                    <a:gd name="connsiteY47" fmla="*/ 74295 h 227192"/>
                    <a:gd name="connsiteX48" fmla="*/ 251460 w 254551"/>
                    <a:gd name="connsiteY48" fmla="*/ 24765 h 227192"/>
                    <a:gd name="connsiteX49" fmla="*/ 249555 w 254551"/>
                    <a:gd name="connsiteY49" fmla="*/ 19050 h 227192"/>
                    <a:gd name="connsiteX50" fmla="*/ 243840 w 254551"/>
                    <a:gd name="connsiteY50" fmla="*/ 15240 h 227192"/>
                    <a:gd name="connsiteX51" fmla="*/ 234315 w 254551"/>
                    <a:gd name="connsiteY51" fmla="*/ 3810 h 227192"/>
                    <a:gd name="connsiteX52" fmla="*/ 228600 w 254551"/>
                    <a:gd name="connsiteY52" fmla="*/ 0 h 227192"/>
                    <a:gd name="connsiteX53" fmla="*/ 217170 w 254551"/>
                    <a:gd name="connsiteY53" fmla="*/ 1905 h 227192"/>
                    <a:gd name="connsiteX54" fmla="*/ 213360 w 254551"/>
                    <a:gd name="connsiteY54" fmla="*/ 7620 h 227192"/>
                    <a:gd name="connsiteX55" fmla="*/ 207645 w 254551"/>
                    <a:gd name="connsiteY55" fmla="*/ 9525 h 227192"/>
                    <a:gd name="connsiteX56" fmla="*/ 203835 w 254551"/>
                    <a:gd name="connsiteY56" fmla="*/ 20955 h 227192"/>
                    <a:gd name="connsiteX57" fmla="*/ 201930 w 254551"/>
                    <a:gd name="connsiteY57" fmla="*/ 26670 h 227192"/>
                    <a:gd name="connsiteX58" fmla="*/ 200025 w 254551"/>
                    <a:gd name="connsiteY58" fmla="*/ 38100 h 227192"/>
                    <a:gd name="connsiteX59" fmla="*/ 205740 w 254551"/>
                    <a:gd name="connsiteY59" fmla="*/ 72390 h 227192"/>
                    <a:gd name="connsiteX60" fmla="*/ 213360 w 254551"/>
                    <a:gd name="connsiteY60" fmla="*/ 83820 h 227192"/>
                    <a:gd name="connsiteX61" fmla="*/ 217170 w 254551"/>
                    <a:gd name="connsiteY61" fmla="*/ 89535 h 227192"/>
                    <a:gd name="connsiteX62" fmla="*/ 215265 w 254551"/>
                    <a:gd name="connsiteY62" fmla="*/ 97155 h 227192"/>
                    <a:gd name="connsiteX63" fmla="*/ 203835 w 254551"/>
                    <a:gd name="connsiteY63" fmla="*/ 104775 h 227192"/>
                    <a:gd name="connsiteX64" fmla="*/ 198120 w 254551"/>
                    <a:gd name="connsiteY64" fmla="*/ 116205 h 227192"/>
                    <a:gd name="connsiteX65" fmla="*/ 196215 w 254551"/>
                    <a:gd name="connsiteY65" fmla="*/ 121920 h 227192"/>
                    <a:gd name="connsiteX66" fmla="*/ 190500 w 254551"/>
                    <a:gd name="connsiteY66" fmla="*/ 133350 h 227192"/>
                    <a:gd name="connsiteX67" fmla="*/ 182880 w 254551"/>
                    <a:gd name="connsiteY67" fmla="*/ 154305 h 227192"/>
                    <a:gd name="connsiteX68" fmla="*/ 175260 w 254551"/>
                    <a:gd name="connsiteY68" fmla="*/ 156210 h 227192"/>
                    <a:gd name="connsiteX69" fmla="*/ 169545 w 254551"/>
                    <a:gd name="connsiteY69" fmla="*/ 150495 h 227192"/>
                    <a:gd name="connsiteX70" fmla="*/ 167640 w 254551"/>
                    <a:gd name="connsiteY70" fmla="*/ 144780 h 227192"/>
                    <a:gd name="connsiteX71" fmla="*/ 156210 w 254551"/>
                    <a:gd name="connsiteY71" fmla="*/ 140970 h 227192"/>
                    <a:gd name="connsiteX72" fmla="*/ 150495 w 254551"/>
                    <a:gd name="connsiteY72" fmla="*/ 139065 h 227192"/>
                    <a:gd name="connsiteX73" fmla="*/ 139065 w 254551"/>
                    <a:gd name="connsiteY73" fmla="*/ 135255 h 227192"/>
                    <a:gd name="connsiteX74" fmla="*/ 133350 w 254551"/>
                    <a:gd name="connsiteY74" fmla="*/ 133350 h 227192"/>
                    <a:gd name="connsiteX75" fmla="*/ 121920 w 254551"/>
                    <a:gd name="connsiteY75" fmla="*/ 127635 h 227192"/>
                    <a:gd name="connsiteX76" fmla="*/ 89535 w 254551"/>
                    <a:gd name="connsiteY76" fmla="*/ 125730 h 227192"/>
                    <a:gd name="connsiteX77" fmla="*/ 78105 w 254551"/>
                    <a:gd name="connsiteY77" fmla="*/ 116205 h 227192"/>
                    <a:gd name="connsiteX78" fmla="*/ 76200 w 254551"/>
                    <a:gd name="connsiteY78" fmla="*/ 110490 h 227192"/>
                    <a:gd name="connsiteX79" fmla="*/ 72390 w 254551"/>
                    <a:gd name="connsiteY79" fmla="*/ 104775 h 227192"/>
                    <a:gd name="connsiteX80" fmla="*/ 68580 w 254551"/>
                    <a:gd name="connsiteY80" fmla="*/ 89535 h 227192"/>
                    <a:gd name="connsiteX81" fmla="*/ 62865 w 254551"/>
                    <a:gd name="connsiteY81" fmla="*/ 85725 h 227192"/>
                    <a:gd name="connsiteX82" fmla="*/ 53340 w 254551"/>
                    <a:gd name="connsiteY82" fmla="*/ 83820 h 227192"/>
                    <a:gd name="connsiteX83" fmla="*/ 47625 w 254551"/>
                    <a:gd name="connsiteY83" fmla="*/ 80010 h 227192"/>
                    <a:gd name="connsiteX84" fmla="*/ 41910 w 254551"/>
                    <a:gd name="connsiteY84" fmla="*/ 78105 h 227192"/>
                    <a:gd name="connsiteX85" fmla="*/ 34290 w 254551"/>
                    <a:gd name="connsiteY85" fmla="*/ 64770 h 227192"/>
                    <a:gd name="connsiteX86" fmla="*/ 30480 w 254551"/>
                    <a:gd name="connsiteY86" fmla="*/ 53340 h 227192"/>
                    <a:gd name="connsiteX87" fmla="*/ 34290 w 254551"/>
                    <a:gd name="connsiteY87" fmla="*/ 47625 h 227192"/>
                    <a:gd name="connsiteX88" fmla="*/ 32385 w 254551"/>
                    <a:gd name="connsiteY88" fmla="*/ 28575 h 227192"/>
                    <a:gd name="connsiteX89" fmla="*/ 30480 w 254551"/>
                    <a:gd name="connsiteY89" fmla="*/ 22860 h 227192"/>
                    <a:gd name="connsiteX90" fmla="*/ 36195 w 254551"/>
                    <a:gd name="connsiteY90" fmla="*/ 30480 h 227192"/>
                    <a:gd name="connsiteX0" fmla="*/ 36195 w 254551"/>
                    <a:gd name="connsiteY0" fmla="*/ 30480 h 227192"/>
                    <a:gd name="connsiteX1" fmla="*/ 36195 w 254551"/>
                    <a:gd name="connsiteY1" fmla="*/ 30480 h 227192"/>
                    <a:gd name="connsiteX2" fmla="*/ 20955 w 254551"/>
                    <a:gd name="connsiteY2" fmla="*/ 20955 h 227192"/>
                    <a:gd name="connsiteX3" fmla="*/ 17145 w 254551"/>
                    <a:gd name="connsiteY3" fmla="*/ 9525 h 227192"/>
                    <a:gd name="connsiteX4" fmla="*/ 1905 w 254551"/>
                    <a:gd name="connsiteY4" fmla="*/ 20955 h 227192"/>
                    <a:gd name="connsiteX5" fmla="*/ 0 w 254551"/>
                    <a:gd name="connsiteY5" fmla="*/ 26670 h 227192"/>
                    <a:gd name="connsiteX6" fmla="*/ 1905 w 254551"/>
                    <a:gd name="connsiteY6" fmla="*/ 47625 h 227192"/>
                    <a:gd name="connsiteX7" fmla="*/ 9525 w 254551"/>
                    <a:gd name="connsiteY7" fmla="*/ 59055 h 227192"/>
                    <a:gd name="connsiteX8" fmla="*/ 13335 w 254551"/>
                    <a:gd name="connsiteY8" fmla="*/ 70485 h 227192"/>
                    <a:gd name="connsiteX9" fmla="*/ 15240 w 254551"/>
                    <a:gd name="connsiteY9" fmla="*/ 99060 h 227192"/>
                    <a:gd name="connsiteX10" fmla="*/ 17145 w 254551"/>
                    <a:gd name="connsiteY10" fmla="*/ 104775 h 227192"/>
                    <a:gd name="connsiteX11" fmla="*/ 22860 w 254551"/>
                    <a:gd name="connsiteY11" fmla="*/ 108585 h 227192"/>
                    <a:gd name="connsiteX12" fmla="*/ 26670 w 254551"/>
                    <a:gd name="connsiteY12" fmla="*/ 114300 h 227192"/>
                    <a:gd name="connsiteX13" fmla="*/ 32385 w 254551"/>
                    <a:gd name="connsiteY13" fmla="*/ 118110 h 227192"/>
                    <a:gd name="connsiteX14" fmla="*/ 41910 w 254551"/>
                    <a:gd name="connsiteY14" fmla="*/ 131445 h 227192"/>
                    <a:gd name="connsiteX15" fmla="*/ 59055 w 254551"/>
                    <a:gd name="connsiteY15" fmla="*/ 133350 h 227192"/>
                    <a:gd name="connsiteX16" fmla="*/ 64770 w 254551"/>
                    <a:gd name="connsiteY16" fmla="*/ 180975 h 227192"/>
                    <a:gd name="connsiteX17" fmla="*/ 74295 w 254551"/>
                    <a:gd name="connsiteY17" fmla="*/ 188595 h 227192"/>
                    <a:gd name="connsiteX18" fmla="*/ 80010 w 254551"/>
                    <a:gd name="connsiteY18" fmla="*/ 192405 h 227192"/>
                    <a:gd name="connsiteX19" fmla="*/ 87630 w 254551"/>
                    <a:gd name="connsiteY19" fmla="*/ 201930 h 227192"/>
                    <a:gd name="connsiteX20" fmla="*/ 95250 w 254551"/>
                    <a:gd name="connsiteY20" fmla="*/ 213360 h 227192"/>
                    <a:gd name="connsiteX21" fmla="*/ 99060 w 254551"/>
                    <a:gd name="connsiteY21" fmla="*/ 219075 h 227192"/>
                    <a:gd name="connsiteX22" fmla="*/ 104775 w 254551"/>
                    <a:gd name="connsiteY22" fmla="*/ 220980 h 227192"/>
                    <a:gd name="connsiteX23" fmla="*/ 108585 w 254551"/>
                    <a:gd name="connsiteY23" fmla="*/ 226695 h 227192"/>
                    <a:gd name="connsiteX24" fmla="*/ 133350 w 254551"/>
                    <a:gd name="connsiteY24" fmla="*/ 222885 h 227192"/>
                    <a:gd name="connsiteX25" fmla="*/ 144780 w 254551"/>
                    <a:gd name="connsiteY25" fmla="*/ 211455 h 227192"/>
                    <a:gd name="connsiteX26" fmla="*/ 148590 w 254551"/>
                    <a:gd name="connsiteY26" fmla="*/ 205740 h 227192"/>
                    <a:gd name="connsiteX27" fmla="*/ 160020 w 254551"/>
                    <a:gd name="connsiteY27" fmla="*/ 201930 h 227192"/>
                    <a:gd name="connsiteX28" fmla="*/ 161925 w 254551"/>
                    <a:gd name="connsiteY28" fmla="*/ 196215 h 227192"/>
                    <a:gd name="connsiteX29" fmla="*/ 163830 w 254551"/>
                    <a:gd name="connsiteY29" fmla="*/ 184785 h 227192"/>
                    <a:gd name="connsiteX30" fmla="*/ 175260 w 254551"/>
                    <a:gd name="connsiteY30" fmla="*/ 180975 h 227192"/>
                    <a:gd name="connsiteX31" fmla="*/ 198120 w 254551"/>
                    <a:gd name="connsiteY31" fmla="*/ 182880 h 227192"/>
                    <a:gd name="connsiteX32" fmla="*/ 203835 w 254551"/>
                    <a:gd name="connsiteY32" fmla="*/ 186690 h 227192"/>
                    <a:gd name="connsiteX33" fmla="*/ 209550 w 254551"/>
                    <a:gd name="connsiteY33" fmla="*/ 188595 h 227192"/>
                    <a:gd name="connsiteX34" fmla="*/ 220980 w 254551"/>
                    <a:gd name="connsiteY34" fmla="*/ 186690 h 227192"/>
                    <a:gd name="connsiteX35" fmla="*/ 226695 w 254551"/>
                    <a:gd name="connsiteY35" fmla="*/ 182880 h 227192"/>
                    <a:gd name="connsiteX36" fmla="*/ 234315 w 254551"/>
                    <a:gd name="connsiteY36" fmla="*/ 165735 h 227192"/>
                    <a:gd name="connsiteX37" fmla="*/ 238125 w 254551"/>
                    <a:gd name="connsiteY37" fmla="*/ 154305 h 227192"/>
                    <a:gd name="connsiteX38" fmla="*/ 240030 w 254551"/>
                    <a:gd name="connsiteY38" fmla="*/ 148590 h 227192"/>
                    <a:gd name="connsiteX39" fmla="*/ 245745 w 254551"/>
                    <a:gd name="connsiteY39" fmla="*/ 120015 h 227192"/>
                    <a:gd name="connsiteX40" fmla="*/ 247650 w 254551"/>
                    <a:gd name="connsiteY40" fmla="*/ 114300 h 227192"/>
                    <a:gd name="connsiteX41" fmla="*/ 249555 w 254551"/>
                    <a:gd name="connsiteY41" fmla="*/ 108585 h 227192"/>
                    <a:gd name="connsiteX42" fmla="*/ 241935 w 254551"/>
                    <a:gd name="connsiteY42" fmla="*/ 89535 h 227192"/>
                    <a:gd name="connsiteX43" fmla="*/ 236220 w 254551"/>
                    <a:gd name="connsiteY43" fmla="*/ 85725 h 227192"/>
                    <a:gd name="connsiteX44" fmla="*/ 238125 w 254551"/>
                    <a:gd name="connsiteY44" fmla="*/ 80010 h 227192"/>
                    <a:gd name="connsiteX45" fmla="*/ 243840 w 254551"/>
                    <a:gd name="connsiteY45" fmla="*/ 78105 h 227192"/>
                    <a:gd name="connsiteX46" fmla="*/ 249555 w 254551"/>
                    <a:gd name="connsiteY46" fmla="*/ 74295 h 227192"/>
                    <a:gd name="connsiteX47" fmla="*/ 251460 w 254551"/>
                    <a:gd name="connsiteY47" fmla="*/ 24765 h 227192"/>
                    <a:gd name="connsiteX48" fmla="*/ 249555 w 254551"/>
                    <a:gd name="connsiteY48" fmla="*/ 19050 h 227192"/>
                    <a:gd name="connsiteX49" fmla="*/ 243840 w 254551"/>
                    <a:gd name="connsiteY49" fmla="*/ 15240 h 227192"/>
                    <a:gd name="connsiteX50" fmla="*/ 234315 w 254551"/>
                    <a:gd name="connsiteY50" fmla="*/ 3810 h 227192"/>
                    <a:gd name="connsiteX51" fmla="*/ 228600 w 254551"/>
                    <a:gd name="connsiteY51" fmla="*/ 0 h 227192"/>
                    <a:gd name="connsiteX52" fmla="*/ 217170 w 254551"/>
                    <a:gd name="connsiteY52" fmla="*/ 1905 h 227192"/>
                    <a:gd name="connsiteX53" fmla="*/ 213360 w 254551"/>
                    <a:gd name="connsiteY53" fmla="*/ 7620 h 227192"/>
                    <a:gd name="connsiteX54" fmla="*/ 207645 w 254551"/>
                    <a:gd name="connsiteY54" fmla="*/ 9525 h 227192"/>
                    <a:gd name="connsiteX55" fmla="*/ 203835 w 254551"/>
                    <a:gd name="connsiteY55" fmla="*/ 20955 h 227192"/>
                    <a:gd name="connsiteX56" fmla="*/ 201930 w 254551"/>
                    <a:gd name="connsiteY56" fmla="*/ 26670 h 227192"/>
                    <a:gd name="connsiteX57" fmla="*/ 200025 w 254551"/>
                    <a:gd name="connsiteY57" fmla="*/ 38100 h 227192"/>
                    <a:gd name="connsiteX58" fmla="*/ 205740 w 254551"/>
                    <a:gd name="connsiteY58" fmla="*/ 72390 h 227192"/>
                    <a:gd name="connsiteX59" fmla="*/ 213360 w 254551"/>
                    <a:gd name="connsiteY59" fmla="*/ 83820 h 227192"/>
                    <a:gd name="connsiteX60" fmla="*/ 217170 w 254551"/>
                    <a:gd name="connsiteY60" fmla="*/ 89535 h 227192"/>
                    <a:gd name="connsiteX61" fmla="*/ 215265 w 254551"/>
                    <a:gd name="connsiteY61" fmla="*/ 97155 h 227192"/>
                    <a:gd name="connsiteX62" fmla="*/ 203835 w 254551"/>
                    <a:gd name="connsiteY62" fmla="*/ 104775 h 227192"/>
                    <a:gd name="connsiteX63" fmla="*/ 198120 w 254551"/>
                    <a:gd name="connsiteY63" fmla="*/ 116205 h 227192"/>
                    <a:gd name="connsiteX64" fmla="*/ 196215 w 254551"/>
                    <a:gd name="connsiteY64" fmla="*/ 121920 h 227192"/>
                    <a:gd name="connsiteX65" fmla="*/ 190500 w 254551"/>
                    <a:gd name="connsiteY65" fmla="*/ 133350 h 227192"/>
                    <a:gd name="connsiteX66" fmla="*/ 182880 w 254551"/>
                    <a:gd name="connsiteY66" fmla="*/ 154305 h 227192"/>
                    <a:gd name="connsiteX67" fmla="*/ 175260 w 254551"/>
                    <a:gd name="connsiteY67" fmla="*/ 156210 h 227192"/>
                    <a:gd name="connsiteX68" fmla="*/ 169545 w 254551"/>
                    <a:gd name="connsiteY68" fmla="*/ 150495 h 227192"/>
                    <a:gd name="connsiteX69" fmla="*/ 167640 w 254551"/>
                    <a:gd name="connsiteY69" fmla="*/ 144780 h 227192"/>
                    <a:gd name="connsiteX70" fmla="*/ 156210 w 254551"/>
                    <a:gd name="connsiteY70" fmla="*/ 140970 h 227192"/>
                    <a:gd name="connsiteX71" fmla="*/ 150495 w 254551"/>
                    <a:gd name="connsiteY71" fmla="*/ 139065 h 227192"/>
                    <a:gd name="connsiteX72" fmla="*/ 139065 w 254551"/>
                    <a:gd name="connsiteY72" fmla="*/ 135255 h 227192"/>
                    <a:gd name="connsiteX73" fmla="*/ 133350 w 254551"/>
                    <a:gd name="connsiteY73" fmla="*/ 133350 h 227192"/>
                    <a:gd name="connsiteX74" fmla="*/ 121920 w 254551"/>
                    <a:gd name="connsiteY74" fmla="*/ 127635 h 227192"/>
                    <a:gd name="connsiteX75" fmla="*/ 89535 w 254551"/>
                    <a:gd name="connsiteY75" fmla="*/ 125730 h 227192"/>
                    <a:gd name="connsiteX76" fmla="*/ 78105 w 254551"/>
                    <a:gd name="connsiteY76" fmla="*/ 116205 h 227192"/>
                    <a:gd name="connsiteX77" fmla="*/ 76200 w 254551"/>
                    <a:gd name="connsiteY77" fmla="*/ 110490 h 227192"/>
                    <a:gd name="connsiteX78" fmla="*/ 72390 w 254551"/>
                    <a:gd name="connsiteY78" fmla="*/ 104775 h 227192"/>
                    <a:gd name="connsiteX79" fmla="*/ 68580 w 254551"/>
                    <a:gd name="connsiteY79" fmla="*/ 89535 h 227192"/>
                    <a:gd name="connsiteX80" fmla="*/ 62865 w 254551"/>
                    <a:gd name="connsiteY80" fmla="*/ 85725 h 227192"/>
                    <a:gd name="connsiteX81" fmla="*/ 53340 w 254551"/>
                    <a:gd name="connsiteY81" fmla="*/ 83820 h 227192"/>
                    <a:gd name="connsiteX82" fmla="*/ 47625 w 254551"/>
                    <a:gd name="connsiteY82" fmla="*/ 80010 h 227192"/>
                    <a:gd name="connsiteX83" fmla="*/ 41910 w 254551"/>
                    <a:gd name="connsiteY83" fmla="*/ 78105 h 227192"/>
                    <a:gd name="connsiteX84" fmla="*/ 34290 w 254551"/>
                    <a:gd name="connsiteY84" fmla="*/ 64770 h 227192"/>
                    <a:gd name="connsiteX85" fmla="*/ 30480 w 254551"/>
                    <a:gd name="connsiteY85" fmla="*/ 53340 h 227192"/>
                    <a:gd name="connsiteX86" fmla="*/ 34290 w 254551"/>
                    <a:gd name="connsiteY86" fmla="*/ 47625 h 227192"/>
                    <a:gd name="connsiteX87" fmla="*/ 32385 w 254551"/>
                    <a:gd name="connsiteY87" fmla="*/ 28575 h 227192"/>
                    <a:gd name="connsiteX88" fmla="*/ 30480 w 254551"/>
                    <a:gd name="connsiteY88" fmla="*/ 22860 h 227192"/>
                    <a:gd name="connsiteX89" fmla="*/ 36195 w 254551"/>
                    <a:gd name="connsiteY89" fmla="*/ 30480 h 227192"/>
                    <a:gd name="connsiteX0" fmla="*/ 36195 w 254551"/>
                    <a:gd name="connsiteY0" fmla="*/ 30480 h 227192"/>
                    <a:gd name="connsiteX1" fmla="*/ 36195 w 254551"/>
                    <a:gd name="connsiteY1" fmla="*/ 30480 h 227192"/>
                    <a:gd name="connsiteX2" fmla="*/ 20955 w 254551"/>
                    <a:gd name="connsiteY2" fmla="*/ 20955 h 227192"/>
                    <a:gd name="connsiteX3" fmla="*/ 17145 w 254551"/>
                    <a:gd name="connsiteY3" fmla="*/ 9525 h 227192"/>
                    <a:gd name="connsiteX4" fmla="*/ 1905 w 254551"/>
                    <a:gd name="connsiteY4" fmla="*/ 20955 h 227192"/>
                    <a:gd name="connsiteX5" fmla="*/ 0 w 254551"/>
                    <a:gd name="connsiteY5" fmla="*/ 26670 h 227192"/>
                    <a:gd name="connsiteX6" fmla="*/ 1905 w 254551"/>
                    <a:gd name="connsiteY6" fmla="*/ 47625 h 227192"/>
                    <a:gd name="connsiteX7" fmla="*/ 9525 w 254551"/>
                    <a:gd name="connsiteY7" fmla="*/ 59055 h 227192"/>
                    <a:gd name="connsiteX8" fmla="*/ 13335 w 254551"/>
                    <a:gd name="connsiteY8" fmla="*/ 70485 h 227192"/>
                    <a:gd name="connsiteX9" fmla="*/ 15240 w 254551"/>
                    <a:gd name="connsiteY9" fmla="*/ 99060 h 227192"/>
                    <a:gd name="connsiteX10" fmla="*/ 17145 w 254551"/>
                    <a:gd name="connsiteY10" fmla="*/ 104775 h 227192"/>
                    <a:gd name="connsiteX11" fmla="*/ 22860 w 254551"/>
                    <a:gd name="connsiteY11" fmla="*/ 108585 h 227192"/>
                    <a:gd name="connsiteX12" fmla="*/ 26670 w 254551"/>
                    <a:gd name="connsiteY12" fmla="*/ 114300 h 227192"/>
                    <a:gd name="connsiteX13" fmla="*/ 32385 w 254551"/>
                    <a:gd name="connsiteY13" fmla="*/ 118110 h 227192"/>
                    <a:gd name="connsiteX14" fmla="*/ 41910 w 254551"/>
                    <a:gd name="connsiteY14" fmla="*/ 131445 h 227192"/>
                    <a:gd name="connsiteX15" fmla="*/ 59055 w 254551"/>
                    <a:gd name="connsiteY15" fmla="*/ 133350 h 227192"/>
                    <a:gd name="connsiteX16" fmla="*/ 64770 w 254551"/>
                    <a:gd name="connsiteY16" fmla="*/ 180975 h 227192"/>
                    <a:gd name="connsiteX17" fmla="*/ 74295 w 254551"/>
                    <a:gd name="connsiteY17" fmla="*/ 188595 h 227192"/>
                    <a:gd name="connsiteX18" fmla="*/ 80010 w 254551"/>
                    <a:gd name="connsiteY18" fmla="*/ 192405 h 227192"/>
                    <a:gd name="connsiteX19" fmla="*/ 87630 w 254551"/>
                    <a:gd name="connsiteY19" fmla="*/ 201930 h 227192"/>
                    <a:gd name="connsiteX20" fmla="*/ 95250 w 254551"/>
                    <a:gd name="connsiteY20" fmla="*/ 213360 h 227192"/>
                    <a:gd name="connsiteX21" fmla="*/ 99060 w 254551"/>
                    <a:gd name="connsiteY21" fmla="*/ 219075 h 227192"/>
                    <a:gd name="connsiteX22" fmla="*/ 104775 w 254551"/>
                    <a:gd name="connsiteY22" fmla="*/ 220980 h 227192"/>
                    <a:gd name="connsiteX23" fmla="*/ 108585 w 254551"/>
                    <a:gd name="connsiteY23" fmla="*/ 226695 h 227192"/>
                    <a:gd name="connsiteX24" fmla="*/ 133350 w 254551"/>
                    <a:gd name="connsiteY24" fmla="*/ 222885 h 227192"/>
                    <a:gd name="connsiteX25" fmla="*/ 144780 w 254551"/>
                    <a:gd name="connsiteY25" fmla="*/ 211455 h 227192"/>
                    <a:gd name="connsiteX26" fmla="*/ 148590 w 254551"/>
                    <a:gd name="connsiteY26" fmla="*/ 205740 h 227192"/>
                    <a:gd name="connsiteX27" fmla="*/ 160020 w 254551"/>
                    <a:gd name="connsiteY27" fmla="*/ 201930 h 227192"/>
                    <a:gd name="connsiteX28" fmla="*/ 161925 w 254551"/>
                    <a:gd name="connsiteY28" fmla="*/ 196215 h 227192"/>
                    <a:gd name="connsiteX29" fmla="*/ 163830 w 254551"/>
                    <a:gd name="connsiteY29" fmla="*/ 184785 h 227192"/>
                    <a:gd name="connsiteX30" fmla="*/ 175260 w 254551"/>
                    <a:gd name="connsiteY30" fmla="*/ 180975 h 227192"/>
                    <a:gd name="connsiteX31" fmla="*/ 198120 w 254551"/>
                    <a:gd name="connsiteY31" fmla="*/ 182880 h 227192"/>
                    <a:gd name="connsiteX32" fmla="*/ 203835 w 254551"/>
                    <a:gd name="connsiteY32" fmla="*/ 186690 h 227192"/>
                    <a:gd name="connsiteX33" fmla="*/ 209550 w 254551"/>
                    <a:gd name="connsiteY33" fmla="*/ 188595 h 227192"/>
                    <a:gd name="connsiteX34" fmla="*/ 220980 w 254551"/>
                    <a:gd name="connsiteY34" fmla="*/ 186690 h 227192"/>
                    <a:gd name="connsiteX35" fmla="*/ 226695 w 254551"/>
                    <a:gd name="connsiteY35" fmla="*/ 182880 h 227192"/>
                    <a:gd name="connsiteX36" fmla="*/ 234315 w 254551"/>
                    <a:gd name="connsiteY36" fmla="*/ 165735 h 227192"/>
                    <a:gd name="connsiteX37" fmla="*/ 238125 w 254551"/>
                    <a:gd name="connsiteY37" fmla="*/ 154305 h 227192"/>
                    <a:gd name="connsiteX38" fmla="*/ 240030 w 254551"/>
                    <a:gd name="connsiteY38" fmla="*/ 148590 h 227192"/>
                    <a:gd name="connsiteX39" fmla="*/ 245745 w 254551"/>
                    <a:gd name="connsiteY39" fmla="*/ 120015 h 227192"/>
                    <a:gd name="connsiteX40" fmla="*/ 247650 w 254551"/>
                    <a:gd name="connsiteY40" fmla="*/ 114300 h 227192"/>
                    <a:gd name="connsiteX41" fmla="*/ 249555 w 254551"/>
                    <a:gd name="connsiteY41" fmla="*/ 108585 h 227192"/>
                    <a:gd name="connsiteX42" fmla="*/ 241935 w 254551"/>
                    <a:gd name="connsiteY42" fmla="*/ 89535 h 227192"/>
                    <a:gd name="connsiteX43" fmla="*/ 236220 w 254551"/>
                    <a:gd name="connsiteY43" fmla="*/ 85725 h 227192"/>
                    <a:gd name="connsiteX44" fmla="*/ 238125 w 254551"/>
                    <a:gd name="connsiteY44" fmla="*/ 80010 h 227192"/>
                    <a:gd name="connsiteX45" fmla="*/ 243840 w 254551"/>
                    <a:gd name="connsiteY45" fmla="*/ 78105 h 227192"/>
                    <a:gd name="connsiteX46" fmla="*/ 249555 w 254551"/>
                    <a:gd name="connsiteY46" fmla="*/ 74295 h 227192"/>
                    <a:gd name="connsiteX47" fmla="*/ 251460 w 254551"/>
                    <a:gd name="connsiteY47" fmla="*/ 24765 h 227192"/>
                    <a:gd name="connsiteX48" fmla="*/ 249555 w 254551"/>
                    <a:gd name="connsiteY48" fmla="*/ 19050 h 227192"/>
                    <a:gd name="connsiteX49" fmla="*/ 243840 w 254551"/>
                    <a:gd name="connsiteY49" fmla="*/ 15240 h 227192"/>
                    <a:gd name="connsiteX50" fmla="*/ 234315 w 254551"/>
                    <a:gd name="connsiteY50" fmla="*/ 3810 h 227192"/>
                    <a:gd name="connsiteX51" fmla="*/ 228600 w 254551"/>
                    <a:gd name="connsiteY51" fmla="*/ 0 h 227192"/>
                    <a:gd name="connsiteX52" fmla="*/ 217170 w 254551"/>
                    <a:gd name="connsiteY52" fmla="*/ 1905 h 227192"/>
                    <a:gd name="connsiteX53" fmla="*/ 213360 w 254551"/>
                    <a:gd name="connsiteY53" fmla="*/ 7620 h 227192"/>
                    <a:gd name="connsiteX54" fmla="*/ 207645 w 254551"/>
                    <a:gd name="connsiteY54" fmla="*/ 9525 h 227192"/>
                    <a:gd name="connsiteX55" fmla="*/ 203835 w 254551"/>
                    <a:gd name="connsiteY55" fmla="*/ 20955 h 227192"/>
                    <a:gd name="connsiteX56" fmla="*/ 201930 w 254551"/>
                    <a:gd name="connsiteY56" fmla="*/ 26670 h 227192"/>
                    <a:gd name="connsiteX57" fmla="*/ 200025 w 254551"/>
                    <a:gd name="connsiteY57" fmla="*/ 38100 h 227192"/>
                    <a:gd name="connsiteX58" fmla="*/ 205740 w 254551"/>
                    <a:gd name="connsiteY58" fmla="*/ 72390 h 227192"/>
                    <a:gd name="connsiteX59" fmla="*/ 213360 w 254551"/>
                    <a:gd name="connsiteY59" fmla="*/ 83820 h 227192"/>
                    <a:gd name="connsiteX60" fmla="*/ 217170 w 254551"/>
                    <a:gd name="connsiteY60" fmla="*/ 89535 h 227192"/>
                    <a:gd name="connsiteX61" fmla="*/ 215265 w 254551"/>
                    <a:gd name="connsiteY61" fmla="*/ 97155 h 227192"/>
                    <a:gd name="connsiteX62" fmla="*/ 203835 w 254551"/>
                    <a:gd name="connsiteY62" fmla="*/ 104775 h 227192"/>
                    <a:gd name="connsiteX63" fmla="*/ 198120 w 254551"/>
                    <a:gd name="connsiteY63" fmla="*/ 116205 h 227192"/>
                    <a:gd name="connsiteX64" fmla="*/ 196215 w 254551"/>
                    <a:gd name="connsiteY64" fmla="*/ 121920 h 227192"/>
                    <a:gd name="connsiteX65" fmla="*/ 190500 w 254551"/>
                    <a:gd name="connsiteY65" fmla="*/ 133350 h 227192"/>
                    <a:gd name="connsiteX66" fmla="*/ 182880 w 254551"/>
                    <a:gd name="connsiteY66" fmla="*/ 154305 h 227192"/>
                    <a:gd name="connsiteX67" fmla="*/ 175260 w 254551"/>
                    <a:gd name="connsiteY67" fmla="*/ 156210 h 227192"/>
                    <a:gd name="connsiteX68" fmla="*/ 169545 w 254551"/>
                    <a:gd name="connsiteY68" fmla="*/ 150495 h 227192"/>
                    <a:gd name="connsiteX69" fmla="*/ 167640 w 254551"/>
                    <a:gd name="connsiteY69" fmla="*/ 144780 h 227192"/>
                    <a:gd name="connsiteX70" fmla="*/ 156210 w 254551"/>
                    <a:gd name="connsiteY70" fmla="*/ 140970 h 227192"/>
                    <a:gd name="connsiteX71" fmla="*/ 150495 w 254551"/>
                    <a:gd name="connsiteY71" fmla="*/ 139065 h 227192"/>
                    <a:gd name="connsiteX72" fmla="*/ 139065 w 254551"/>
                    <a:gd name="connsiteY72" fmla="*/ 135255 h 227192"/>
                    <a:gd name="connsiteX73" fmla="*/ 133350 w 254551"/>
                    <a:gd name="connsiteY73" fmla="*/ 133350 h 227192"/>
                    <a:gd name="connsiteX74" fmla="*/ 121920 w 254551"/>
                    <a:gd name="connsiteY74" fmla="*/ 127635 h 227192"/>
                    <a:gd name="connsiteX75" fmla="*/ 89535 w 254551"/>
                    <a:gd name="connsiteY75" fmla="*/ 125730 h 227192"/>
                    <a:gd name="connsiteX76" fmla="*/ 78105 w 254551"/>
                    <a:gd name="connsiteY76" fmla="*/ 116205 h 227192"/>
                    <a:gd name="connsiteX77" fmla="*/ 76200 w 254551"/>
                    <a:gd name="connsiteY77" fmla="*/ 110490 h 227192"/>
                    <a:gd name="connsiteX78" fmla="*/ 72390 w 254551"/>
                    <a:gd name="connsiteY78" fmla="*/ 104775 h 227192"/>
                    <a:gd name="connsiteX79" fmla="*/ 68580 w 254551"/>
                    <a:gd name="connsiteY79" fmla="*/ 89535 h 227192"/>
                    <a:gd name="connsiteX80" fmla="*/ 62865 w 254551"/>
                    <a:gd name="connsiteY80" fmla="*/ 85725 h 227192"/>
                    <a:gd name="connsiteX81" fmla="*/ 53340 w 254551"/>
                    <a:gd name="connsiteY81" fmla="*/ 83820 h 227192"/>
                    <a:gd name="connsiteX82" fmla="*/ 47625 w 254551"/>
                    <a:gd name="connsiteY82" fmla="*/ 80010 h 227192"/>
                    <a:gd name="connsiteX83" fmla="*/ 41910 w 254551"/>
                    <a:gd name="connsiteY83" fmla="*/ 78105 h 227192"/>
                    <a:gd name="connsiteX84" fmla="*/ 34290 w 254551"/>
                    <a:gd name="connsiteY84" fmla="*/ 64770 h 227192"/>
                    <a:gd name="connsiteX85" fmla="*/ 30480 w 254551"/>
                    <a:gd name="connsiteY85" fmla="*/ 53340 h 227192"/>
                    <a:gd name="connsiteX86" fmla="*/ 34290 w 254551"/>
                    <a:gd name="connsiteY86" fmla="*/ 47625 h 227192"/>
                    <a:gd name="connsiteX87" fmla="*/ 32385 w 254551"/>
                    <a:gd name="connsiteY87" fmla="*/ 28575 h 227192"/>
                    <a:gd name="connsiteX88" fmla="*/ 30480 w 254551"/>
                    <a:gd name="connsiteY88" fmla="*/ 22860 h 227192"/>
                    <a:gd name="connsiteX89" fmla="*/ 36195 w 254551"/>
                    <a:gd name="connsiteY89" fmla="*/ 30480 h 227192"/>
                    <a:gd name="connsiteX0" fmla="*/ 36317 w 254673"/>
                    <a:gd name="connsiteY0" fmla="*/ 30480 h 227192"/>
                    <a:gd name="connsiteX1" fmla="*/ 36317 w 254673"/>
                    <a:gd name="connsiteY1" fmla="*/ 30480 h 227192"/>
                    <a:gd name="connsiteX2" fmla="*/ 21077 w 254673"/>
                    <a:gd name="connsiteY2" fmla="*/ 20955 h 227192"/>
                    <a:gd name="connsiteX3" fmla="*/ 2027 w 254673"/>
                    <a:gd name="connsiteY3" fmla="*/ 20955 h 227192"/>
                    <a:gd name="connsiteX4" fmla="*/ 122 w 254673"/>
                    <a:gd name="connsiteY4" fmla="*/ 26670 h 227192"/>
                    <a:gd name="connsiteX5" fmla="*/ 2027 w 254673"/>
                    <a:gd name="connsiteY5" fmla="*/ 47625 h 227192"/>
                    <a:gd name="connsiteX6" fmla="*/ 9647 w 254673"/>
                    <a:gd name="connsiteY6" fmla="*/ 59055 h 227192"/>
                    <a:gd name="connsiteX7" fmla="*/ 13457 w 254673"/>
                    <a:gd name="connsiteY7" fmla="*/ 70485 h 227192"/>
                    <a:gd name="connsiteX8" fmla="*/ 15362 w 254673"/>
                    <a:gd name="connsiteY8" fmla="*/ 99060 h 227192"/>
                    <a:gd name="connsiteX9" fmla="*/ 17267 w 254673"/>
                    <a:gd name="connsiteY9" fmla="*/ 104775 h 227192"/>
                    <a:gd name="connsiteX10" fmla="*/ 22982 w 254673"/>
                    <a:gd name="connsiteY10" fmla="*/ 108585 h 227192"/>
                    <a:gd name="connsiteX11" fmla="*/ 26792 w 254673"/>
                    <a:gd name="connsiteY11" fmla="*/ 114300 h 227192"/>
                    <a:gd name="connsiteX12" fmla="*/ 32507 w 254673"/>
                    <a:gd name="connsiteY12" fmla="*/ 118110 h 227192"/>
                    <a:gd name="connsiteX13" fmla="*/ 42032 w 254673"/>
                    <a:gd name="connsiteY13" fmla="*/ 131445 h 227192"/>
                    <a:gd name="connsiteX14" fmla="*/ 59177 w 254673"/>
                    <a:gd name="connsiteY14" fmla="*/ 133350 h 227192"/>
                    <a:gd name="connsiteX15" fmla="*/ 64892 w 254673"/>
                    <a:gd name="connsiteY15" fmla="*/ 180975 h 227192"/>
                    <a:gd name="connsiteX16" fmla="*/ 74417 w 254673"/>
                    <a:gd name="connsiteY16" fmla="*/ 188595 h 227192"/>
                    <a:gd name="connsiteX17" fmla="*/ 80132 w 254673"/>
                    <a:gd name="connsiteY17" fmla="*/ 192405 h 227192"/>
                    <a:gd name="connsiteX18" fmla="*/ 87752 w 254673"/>
                    <a:gd name="connsiteY18" fmla="*/ 201930 h 227192"/>
                    <a:gd name="connsiteX19" fmla="*/ 95372 w 254673"/>
                    <a:gd name="connsiteY19" fmla="*/ 213360 h 227192"/>
                    <a:gd name="connsiteX20" fmla="*/ 99182 w 254673"/>
                    <a:gd name="connsiteY20" fmla="*/ 219075 h 227192"/>
                    <a:gd name="connsiteX21" fmla="*/ 104897 w 254673"/>
                    <a:gd name="connsiteY21" fmla="*/ 220980 h 227192"/>
                    <a:gd name="connsiteX22" fmla="*/ 108707 w 254673"/>
                    <a:gd name="connsiteY22" fmla="*/ 226695 h 227192"/>
                    <a:gd name="connsiteX23" fmla="*/ 133472 w 254673"/>
                    <a:gd name="connsiteY23" fmla="*/ 222885 h 227192"/>
                    <a:gd name="connsiteX24" fmla="*/ 144902 w 254673"/>
                    <a:gd name="connsiteY24" fmla="*/ 211455 h 227192"/>
                    <a:gd name="connsiteX25" fmla="*/ 148712 w 254673"/>
                    <a:gd name="connsiteY25" fmla="*/ 205740 h 227192"/>
                    <a:gd name="connsiteX26" fmla="*/ 160142 w 254673"/>
                    <a:gd name="connsiteY26" fmla="*/ 201930 h 227192"/>
                    <a:gd name="connsiteX27" fmla="*/ 162047 w 254673"/>
                    <a:gd name="connsiteY27" fmla="*/ 196215 h 227192"/>
                    <a:gd name="connsiteX28" fmla="*/ 163952 w 254673"/>
                    <a:gd name="connsiteY28" fmla="*/ 184785 h 227192"/>
                    <a:gd name="connsiteX29" fmla="*/ 175382 w 254673"/>
                    <a:gd name="connsiteY29" fmla="*/ 180975 h 227192"/>
                    <a:gd name="connsiteX30" fmla="*/ 198242 w 254673"/>
                    <a:gd name="connsiteY30" fmla="*/ 182880 h 227192"/>
                    <a:gd name="connsiteX31" fmla="*/ 203957 w 254673"/>
                    <a:gd name="connsiteY31" fmla="*/ 186690 h 227192"/>
                    <a:gd name="connsiteX32" fmla="*/ 209672 w 254673"/>
                    <a:gd name="connsiteY32" fmla="*/ 188595 h 227192"/>
                    <a:gd name="connsiteX33" fmla="*/ 221102 w 254673"/>
                    <a:gd name="connsiteY33" fmla="*/ 186690 h 227192"/>
                    <a:gd name="connsiteX34" fmla="*/ 226817 w 254673"/>
                    <a:gd name="connsiteY34" fmla="*/ 182880 h 227192"/>
                    <a:gd name="connsiteX35" fmla="*/ 234437 w 254673"/>
                    <a:gd name="connsiteY35" fmla="*/ 165735 h 227192"/>
                    <a:gd name="connsiteX36" fmla="*/ 238247 w 254673"/>
                    <a:gd name="connsiteY36" fmla="*/ 154305 h 227192"/>
                    <a:gd name="connsiteX37" fmla="*/ 240152 w 254673"/>
                    <a:gd name="connsiteY37" fmla="*/ 148590 h 227192"/>
                    <a:gd name="connsiteX38" fmla="*/ 245867 w 254673"/>
                    <a:gd name="connsiteY38" fmla="*/ 120015 h 227192"/>
                    <a:gd name="connsiteX39" fmla="*/ 247772 w 254673"/>
                    <a:gd name="connsiteY39" fmla="*/ 114300 h 227192"/>
                    <a:gd name="connsiteX40" fmla="*/ 249677 w 254673"/>
                    <a:gd name="connsiteY40" fmla="*/ 108585 h 227192"/>
                    <a:gd name="connsiteX41" fmla="*/ 242057 w 254673"/>
                    <a:gd name="connsiteY41" fmla="*/ 89535 h 227192"/>
                    <a:gd name="connsiteX42" fmla="*/ 236342 w 254673"/>
                    <a:gd name="connsiteY42" fmla="*/ 85725 h 227192"/>
                    <a:gd name="connsiteX43" fmla="*/ 238247 w 254673"/>
                    <a:gd name="connsiteY43" fmla="*/ 80010 h 227192"/>
                    <a:gd name="connsiteX44" fmla="*/ 243962 w 254673"/>
                    <a:gd name="connsiteY44" fmla="*/ 78105 h 227192"/>
                    <a:gd name="connsiteX45" fmla="*/ 249677 w 254673"/>
                    <a:gd name="connsiteY45" fmla="*/ 74295 h 227192"/>
                    <a:gd name="connsiteX46" fmla="*/ 251582 w 254673"/>
                    <a:gd name="connsiteY46" fmla="*/ 24765 h 227192"/>
                    <a:gd name="connsiteX47" fmla="*/ 249677 w 254673"/>
                    <a:gd name="connsiteY47" fmla="*/ 19050 h 227192"/>
                    <a:gd name="connsiteX48" fmla="*/ 243962 w 254673"/>
                    <a:gd name="connsiteY48" fmla="*/ 15240 h 227192"/>
                    <a:gd name="connsiteX49" fmla="*/ 234437 w 254673"/>
                    <a:gd name="connsiteY49" fmla="*/ 3810 h 227192"/>
                    <a:gd name="connsiteX50" fmla="*/ 228722 w 254673"/>
                    <a:gd name="connsiteY50" fmla="*/ 0 h 227192"/>
                    <a:gd name="connsiteX51" fmla="*/ 217292 w 254673"/>
                    <a:gd name="connsiteY51" fmla="*/ 1905 h 227192"/>
                    <a:gd name="connsiteX52" fmla="*/ 213482 w 254673"/>
                    <a:gd name="connsiteY52" fmla="*/ 7620 h 227192"/>
                    <a:gd name="connsiteX53" fmla="*/ 207767 w 254673"/>
                    <a:gd name="connsiteY53" fmla="*/ 9525 h 227192"/>
                    <a:gd name="connsiteX54" fmla="*/ 203957 w 254673"/>
                    <a:gd name="connsiteY54" fmla="*/ 20955 h 227192"/>
                    <a:gd name="connsiteX55" fmla="*/ 202052 w 254673"/>
                    <a:gd name="connsiteY55" fmla="*/ 26670 h 227192"/>
                    <a:gd name="connsiteX56" fmla="*/ 200147 w 254673"/>
                    <a:gd name="connsiteY56" fmla="*/ 38100 h 227192"/>
                    <a:gd name="connsiteX57" fmla="*/ 205862 w 254673"/>
                    <a:gd name="connsiteY57" fmla="*/ 72390 h 227192"/>
                    <a:gd name="connsiteX58" fmla="*/ 213482 w 254673"/>
                    <a:gd name="connsiteY58" fmla="*/ 83820 h 227192"/>
                    <a:gd name="connsiteX59" fmla="*/ 217292 w 254673"/>
                    <a:gd name="connsiteY59" fmla="*/ 89535 h 227192"/>
                    <a:gd name="connsiteX60" fmla="*/ 215387 w 254673"/>
                    <a:gd name="connsiteY60" fmla="*/ 97155 h 227192"/>
                    <a:gd name="connsiteX61" fmla="*/ 203957 w 254673"/>
                    <a:gd name="connsiteY61" fmla="*/ 104775 h 227192"/>
                    <a:gd name="connsiteX62" fmla="*/ 198242 w 254673"/>
                    <a:gd name="connsiteY62" fmla="*/ 116205 h 227192"/>
                    <a:gd name="connsiteX63" fmla="*/ 196337 w 254673"/>
                    <a:gd name="connsiteY63" fmla="*/ 121920 h 227192"/>
                    <a:gd name="connsiteX64" fmla="*/ 190622 w 254673"/>
                    <a:gd name="connsiteY64" fmla="*/ 133350 h 227192"/>
                    <a:gd name="connsiteX65" fmla="*/ 183002 w 254673"/>
                    <a:gd name="connsiteY65" fmla="*/ 154305 h 227192"/>
                    <a:gd name="connsiteX66" fmla="*/ 175382 w 254673"/>
                    <a:gd name="connsiteY66" fmla="*/ 156210 h 227192"/>
                    <a:gd name="connsiteX67" fmla="*/ 169667 w 254673"/>
                    <a:gd name="connsiteY67" fmla="*/ 150495 h 227192"/>
                    <a:gd name="connsiteX68" fmla="*/ 167762 w 254673"/>
                    <a:gd name="connsiteY68" fmla="*/ 144780 h 227192"/>
                    <a:gd name="connsiteX69" fmla="*/ 156332 w 254673"/>
                    <a:gd name="connsiteY69" fmla="*/ 140970 h 227192"/>
                    <a:gd name="connsiteX70" fmla="*/ 150617 w 254673"/>
                    <a:gd name="connsiteY70" fmla="*/ 139065 h 227192"/>
                    <a:gd name="connsiteX71" fmla="*/ 139187 w 254673"/>
                    <a:gd name="connsiteY71" fmla="*/ 135255 h 227192"/>
                    <a:gd name="connsiteX72" fmla="*/ 133472 w 254673"/>
                    <a:gd name="connsiteY72" fmla="*/ 133350 h 227192"/>
                    <a:gd name="connsiteX73" fmla="*/ 122042 w 254673"/>
                    <a:gd name="connsiteY73" fmla="*/ 127635 h 227192"/>
                    <a:gd name="connsiteX74" fmla="*/ 89657 w 254673"/>
                    <a:gd name="connsiteY74" fmla="*/ 125730 h 227192"/>
                    <a:gd name="connsiteX75" fmla="*/ 78227 w 254673"/>
                    <a:gd name="connsiteY75" fmla="*/ 116205 h 227192"/>
                    <a:gd name="connsiteX76" fmla="*/ 76322 w 254673"/>
                    <a:gd name="connsiteY76" fmla="*/ 110490 h 227192"/>
                    <a:gd name="connsiteX77" fmla="*/ 72512 w 254673"/>
                    <a:gd name="connsiteY77" fmla="*/ 104775 h 227192"/>
                    <a:gd name="connsiteX78" fmla="*/ 68702 w 254673"/>
                    <a:gd name="connsiteY78" fmla="*/ 89535 h 227192"/>
                    <a:gd name="connsiteX79" fmla="*/ 62987 w 254673"/>
                    <a:gd name="connsiteY79" fmla="*/ 85725 h 227192"/>
                    <a:gd name="connsiteX80" fmla="*/ 53462 w 254673"/>
                    <a:gd name="connsiteY80" fmla="*/ 83820 h 227192"/>
                    <a:gd name="connsiteX81" fmla="*/ 47747 w 254673"/>
                    <a:gd name="connsiteY81" fmla="*/ 80010 h 227192"/>
                    <a:gd name="connsiteX82" fmla="*/ 42032 w 254673"/>
                    <a:gd name="connsiteY82" fmla="*/ 78105 h 227192"/>
                    <a:gd name="connsiteX83" fmla="*/ 34412 w 254673"/>
                    <a:gd name="connsiteY83" fmla="*/ 64770 h 227192"/>
                    <a:gd name="connsiteX84" fmla="*/ 30602 w 254673"/>
                    <a:gd name="connsiteY84" fmla="*/ 53340 h 227192"/>
                    <a:gd name="connsiteX85" fmla="*/ 34412 w 254673"/>
                    <a:gd name="connsiteY85" fmla="*/ 47625 h 227192"/>
                    <a:gd name="connsiteX86" fmla="*/ 32507 w 254673"/>
                    <a:gd name="connsiteY86" fmla="*/ 28575 h 227192"/>
                    <a:gd name="connsiteX87" fmla="*/ 30602 w 254673"/>
                    <a:gd name="connsiteY87" fmla="*/ 22860 h 227192"/>
                    <a:gd name="connsiteX88" fmla="*/ 36317 w 254673"/>
                    <a:gd name="connsiteY88" fmla="*/ 30480 h 227192"/>
                    <a:gd name="connsiteX0" fmla="*/ 30602 w 254673"/>
                    <a:gd name="connsiteY0" fmla="*/ 22860 h 227192"/>
                    <a:gd name="connsiteX1" fmla="*/ 36317 w 254673"/>
                    <a:gd name="connsiteY1" fmla="*/ 30480 h 227192"/>
                    <a:gd name="connsiteX2" fmla="*/ 21077 w 254673"/>
                    <a:gd name="connsiteY2" fmla="*/ 20955 h 227192"/>
                    <a:gd name="connsiteX3" fmla="*/ 2027 w 254673"/>
                    <a:gd name="connsiteY3" fmla="*/ 20955 h 227192"/>
                    <a:gd name="connsiteX4" fmla="*/ 122 w 254673"/>
                    <a:gd name="connsiteY4" fmla="*/ 26670 h 227192"/>
                    <a:gd name="connsiteX5" fmla="*/ 2027 w 254673"/>
                    <a:gd name="connsiteY5" fmla="*/ 47625 h 227192"/>
                    <a:gd name="connsiteX6" fmla="*/ 9647 w 254673"/>
                    <a:gd name="connsiteY6" fmla="*/ 59055 h 227192"/>
                    <a:gd name="connsiteX7" fmla="*/ 13457 w 254673"/>
                    <a:gd name="connsiteY7" fmla="*/ 70485 h 227192"/>
                    <a:gd name="connsiteX8" fmla="*/ 15362 w 254673"/>
                    <a:gd name="connsiteY8" fmla="*/ 99060 h 227192"/>
                    <a:gd name="connsiteX9" fmla="*/ 17267 w 254673"/>
                    <a:gd name="connsiteY9" fmla="*/ 104775 h 227192"/>
                    <a:gd name="connsiteX10" fmla="*/ 22982 w 254673"/>
                    <a:gd name="connsiteY10" fmla="*/ 108585 h 227192"/>
                    <a:gd name="connsiteX11" fmla="*/ 26792 w 254673"/>
                    <a:gd name="connsiteY11" fmla="*/ 114300 h 227192"/>
                    <a:gd name="connsiteX12" fmla="*/ 32507 w 254673"/>
                    <a:gd name="connsiteY12" fmla="*/ 118110 h 227192"/>
                    <a:gd name="connsiteX13" fmla="*/ 42032 w 254673"/>
                    <a:gd name="connsiteY13" fmla="*/ 131445 h 227192"/>
                    <a:gd name="connsiteX14" fmla="*/ 59177 w 254673"/>
                    <a:gd name="connsiteY14" fmla="*/ 133350 h 227192"/>
                    <a:gd name="connsiteX15" fmla="*/ 64892 w 254673"/>
                    <a:gd name="connsiteY15" fmla="*/ 180975 h 227192"/>
                    <a:gd name="connsiteX16" fmla="*/ 74417 w 254673"/>
                    <a:gd name="connsiteY16" fmla="*/ 188595 h 227192"/>
                    <a:gd name="connsiteX17" fmla="*/ 80132 w 254673"/>
                    <a:gd name="connsiteY17" fmla="*/ 192405 h 227192"/>
                    <a:gd name="connsiteX18" fmla="*/ 87752 w 254673"/>
                    <a:gd name="connsiteY18" fmla="*/ 201930 h 227192"/>
                    <a:gd name="connsiteX19" fmla="*/ 95372 w 254673"/>
                    <a:gd name="connsiteY19" fmla="*/ 213360 h 227192"/>
                    <a:gd name="connsiteX20" fmla="*/ 99182 w 254673"/>
                    <a:gd name="connsiteY20" fmla="*/ 219075 h 227192"/>
                    <a:gd name="connsiteX21" fmla="*/ 104897 w 254673"/>
                    <a:gd name="connsiteY21" fmla="*/ 220980 h 227192"/>
                    <a:gd name="connsiteX22" fmla="*/ 108707 w 254673"/>
                    <a:gd name="connsiteY22" fmla="*/ 226695 h 227192"/>
                    <a:gd name="connsiteX23" fmla="*/ 133472 w 254673"/>
                    <a:gd name="connsiteY23" fmla="*/ 222885 h 227192"/>
                    <a:gd name="connsiteX24" fmla="*/ 144902 w 254673"/>
                    <a:gd name="connsiteY24" fmla="*/ 211455 h 227192"/>
                    <a:gd name="connsiteX25" fmla="*/ 148712 w 254673"/>
                    <a:gd name="connsiteY25" fmla="*/ 205740 h 227192"/>
                    <a:gd name="connsiteX26" fmla="*/ 160142 w 254673"/>
                    <a:gd name="connsiteY26" fmla="*/ 201930 h 227192"/>
                    <a:gd name="connsiteX27" fmla="*/ 162047 w 254673"/>
                    <a:gd name="connsiteY27" fmla="*/ 196215 h 227192"/>
                    <a:gd name="connsiteX28" fmla="*/ 163952 w 254673"/>
                    <a:gd name="connsiteY28" fmla="*/ 184785 h 227192"/>
                    <a:gd name="connsiteX29" fmla="*/ 175382 w 254673"/>
                    <a:gd name="connsiteY29" fmla="*/ 180975 h 227192"/>
                    <a:gd name="connsiteX30" fmla="*/ 198242 w 254673"/>
                    <a:gd name="connsiteY30" fmla="*/ 182880 h 227192"/>
                    <a:gd name="connsiteX31" fmla="*/ 203957 w 254673"/>
                    <a:gd name="connsiteY31" fmla="*/ 186690 h 227192"/>
                    <a:gd name="connsiteX32" fmla="*/ 209672 w 254673"/>
                    <a:gd name="connsiteY32" fmla="*/ 188595 h 227192"/>
                    <a:gd name="connsiteX33" fmla="*/ 221102 w 254673"/>
                    <a:gd name="connsiteY33" fmla="*/ 186690 h 227192"/>
                    <a:gd name="connsiteX34" fmla="*/ 226817 w 254673"/>
                    <a:gd name="connsiteY34" fmla="*/ 182880 h 227192"/>
                    <a:gd name="connsiteX35" fmla="*/ 234437 w 254673"/>
                    <a:gd name="connsiteY35" fmla="*/ 165735 h 227192"/>
                    <a:gd name="connsiteX36" fmla="*/ 238247 w 254673"/>
                    <a:gd name="connsiteY36" fmla="*/ 154305 h 227192"/>
                    <a:gd name="connsiteX37" fmla="*/ 240152 w 254673"/>
                    <a:gd name="connsiteY37" fmla="*/ 148590 h 227192"/>
                    <a:gd name="connsiteX38" fmla="*/ 245867 w 254673"/>
                    <a:gd name="connsiteY38" fmla="*/ 120015 h 227192"/>
                    <a:gd name="connsiteX39" fmla="*/ 247772 w 254673"/>
                    <a:gd name="connsiteY39" fmla="*/ 114300 h 227192"/>
                    <a:gd name="connsiteX40" fmla="*/ 249677 w 254673"/>
                    <a:gd name="connsiteY40" fmla="*/ 108585 h 227192"/>
                    <a:gd name="connsiteX41" fmla="*/ 242057 w 254673"/>
                    <a:gd name="connsiteY41" fmla="*/ 89535 h 227192"/>
                    <a:gd name="connsiteX42" fmla="*/ 236342 w 254673"/>
                    <a:gd name="connsiteY42" fmla="*/ 85725 h 227192"/>
                    <a:gd name="connsiteX43" fmla="*/ 238247 w 254673"/>
                    <a:gd name="connsiteY43" fmla="*/ 80010 h 227192"/>
                    <a:gd name="connsiteX44" fmla="*/ 243962 w 254673"/>
                    <a:gd name="connsiteY44" fmla="*/ 78105 h 227192"/>
                    <a:gd name="connsiteX45" fmla="*/ 249677 w 254673"/>
                    <a:gd name="connsiteY45" fmla="*/ 74295 h 227192"/>
                    <a:gd name="connsiteX46" fmla="*/ 251582 w 254673"/>
                    <a:gd name="connsiteY46" fmla="*/ 24765 h 227192"/>
                    <a:gd name="connsiteX47" fmla="*/ 249677 w 254673"/>
                    <a:gd name="connsiteY47" fmla="*/ 19050 h 227192"/>
                    <a:gd name="connsiteX48" fmla="*/ 243962 w 254673"/>
                    <a:gd name="connsiteY48" fmla="*/ 15240 h 227192"/>
                    <a:gd name="connsiteX49" fmla="*/ 234437 w 254673"/>
                    <a:gd name="connsiteY49" fmla="*/ 3810 h 227192"/>
                    <a:gd name="connsiteX50" fmla="*/ 228722 w 254673"/>
                    <a:gd name="connsiteY50" fmla="*/ 0 h 227192"/>
                    <a:gd name="connsiteX51" fmla="*/ 217292 w 254673"/>
                    <a:gd name="connsiteY51" fmla="*/ 1905 h 227192"/>
                    <a:gd name="connsiteX52" fmla="*/ 213482 w 254673"/>
                    <a:gd name="connsiteY52" fmla="*/ 7620 h 227192"/>
                    <a:gd name="connsiteX53" fmla="*/ 207767 w 254673"/>
                    <a:gd name="connsiteY53" fmla="*/ 9525 h 227192"/>
                    <a:gd name="connsiteX54" fmla="*/ 203957 w 254673"/>
                    <a:gd name="connsiteY54" fmla="*/ 20955 h 227192"/>
                    <a:gd name="connsiteX55" fmla="*/ 202052 w 254673"/>
                    <a:gd name="connsiteY55" fmla="*/ 26670 h 227192"/>
                    <a:gd name="connsiteX56" fmla="*/ 200147 w 254673"/>
                    <a:gd name="connsiteY56" fmla="*/ 38100 h 227192"/>
                    <a:gd name="connsiteX57" fmla="*/ 205862 w 254673"/>
                    <a:gd name="connsiteY57" fmla="*/ 72390 h 227192"/>
                    <a:gd name="connsiteX58" fmla="*/ 213482 w 254673"/>
                    <a:gd name="connsiteY58" fmla="*/ 83820 h 227192"/>
                    <a:gd name="connsiteX59" fmla="*/ 217292 w 254673"/>
                    <a:gd name="connsiteY59" fmla="*/ 89535 h 227192"/>
                    <a:gd name="connsiteX60" fmla="*/ 215387 w 254673"/>
                    <a:gd name="connsiteY60" fmla="*/ 97155 h 227192"/>
                    <a:gd name="connsiteX61" fmla="*/ 203957 w 254673"/>
                    <a:gd name="connsiteY61" fmla="*/ 104775 h 227192"/>
                    <a:gd name="connsiteX62" fmla="*/ 198242 w 254673"/>
                    <a:gd name="connsiteY62" fmla="*/ 116205 h 227192"/>
                    <a:gd name="connsiteX63" fmla="*/ 196337 w 254673"/>
                    <a:gd name="connsiteY63" fmla="*/ 121920 h 227192"/>
                    <a:gd name="connsiteX64" fmla="*/ 190622 w 254673"/>
                    <a:gd name="connsiteY64" fmla="*/ 133350 h 227192"/>
                    <a:gd name="connsiteX65" fmla="*/ 183002 w 254673"/>
                    <a:gd name="connsiteY65" fmla="*/ 154305 h 227192"/>
                    <a:gd name="connsiteX66" fmla="*/ 175382 w 254673"/>
                    <a:gd name="connsiteY66" fmla="*/ 156210 h 227192"/>
                    <a:gd name="connsiteX67" fmla="*/ 169667 w 254673"/>
                    <a:gd name="connsiteY67" fmla="*/ 150495 h 227192"/>
                    <a:gd name="connsiteX68" fmla="*/ 167762 w 254673"/>
                    <a:gd name="connsiteY68" fmla="*/ 144780 h 227192"/>
                    <a:gd name="connsiteX69" fmla="*/ 156332 w 254673"/>
                    <a:gd name="connsiteY69" fmla="*/ 140970 h 227192"/>
                    <a:gd name="connsiteX70" fmla="*/ 150617 w 254673"/>
                    <a:gd name="connsiteY70" fmla="*/ 139065 h 227192"/>
                    <a:gd name="connsiteX71" fmla="*/ 139187 w 254673"/>
                    <a:gd name="connsiteY71" fmla="*/ 135255 h 227192"/>
                    <a:gd name="connsiteX72" fmla="*/ 133472 w 254673"/>
                    <a:gd name="connsiteY72" fmla="*/ 133350 h 227192"/>
                    <a:gd name="connsiteX73" fmla="*/ 122042 w 254673"/>
                    <a:gd name="connsiteY73" fmla="*/ 127635 h 227192"/>
                    <a:gd name="connsiteX74" fmla="*/ 89657 w 254673"/>
                    <a:gd name="connsiteY74" fmla="*/ 125730 h 227192"/>
                    <a:gd name="connsiteX75" fmla="*/ 78227 w 254673"/>
                    <a:gd name="connsiteY75" fmla="*/ 116205 h 227192"/>
                    <a:gd name="connsiteX76" fmla="*/ 76322 w 254673"/>
                    <a:gd name="connsiteY76" fmla="*/ 110490 h 227192"/>
                    <a:gd name="connsiteX77" fmla="*/ 72512 w 254673"/>
                    <a:gd name="connsiteY77" fmla="*/ 104775 h 227192"/>
                    <a:gd name="connsiteX78" fmla="*/ 68702 w 254673"/>
                    <a:gd name="connsiteY78" fmla="*/ 89535 h 227192"/>
                    <a:gd name="connsiteX79" fmla="*/ 62987 w 254673"/>
                    <a:gd name="connsiteY79" fmla="*/ 85725 h 227192"/>
                    <a:gd name="connsiteX80" fmla="*/ 53462 w 254673"/>
                    <a:gd name="connsiteY80" fmla="*/ 83820 h 227192"/>
                    <a:gd name="connsiteX81" fmla="*/ 47747 w 254673"/>
                    <a:gd name="connsiteY81" fmla="*/ 80010 h 227192"/>
                    <a:gd name="connsiteX82" fmla="*/ 42032 w 254673"/>
                    <a:gd name="connsiteY82" fmla="*/ 78105 h 227192"/>
                    <a:gd name="connsiteX83" fmla="*/ 34412 w 254673"/>
                    <a:gd name="connsiteY83" fmla="*/ 64770 h 227192"/>
                    <a:gd name="connsiteX84" fmla="*/ 30602 w 254673"/>
                    <a:gd name="connsiteY84" fmla="*/ 53340 h 227192"/>
                    <a:gd name="connsiteX85" fmla="*/ 34412 w 254673"/>
                    <a:gd name="connsiteY85" fmla="*/ 47625 h 227192"/>
                    <a:gd name="connsiteX86" fmla="*/ 32507 w 254673"/>
                    <a:gd name="connsiteY86" fmla="*/ 28575 h 227192"/>
                    <a:gd name="connsiteX87" fmla="*/ 30602 w 254673"/>
                    <a:gd name="connsiteY87" fmla="*/ 22860 h 227192"/>
                    <a:gd name="connsiteX0" fmla="*/ 32507 w 254673"/>
                    <a:gd name="connsiteY0" fmla="*/ 28575 h 227192"/>
                    <a:gd name="connsiteX1" fmla="*/ 36317 w 254673"/>
                    <a:gd name="connsiteY1" fmla="*/ 30480 h 227192"/>
                    <a:gd name="connsiteX2" fmla="*/ 21077 w 254673"/>
                    <a:gd name="connsiteY2" fmla="*/ 20955 h 227192"/>
                    <a:gd name="connsiteX3" fmla="*/ 2027 w 254673"/>
                    <a:gd name="connsiteY3" fmla="*/ 20955 h 227192"/>
                    <a:gd name="connsiteX4" fmla="*/ 122 w 254673"/>
                    <a:gd name="connsiteY4" fmla="*/ 26670 h 227192"/>
                    <a:gd name="connsiteX5" fmla="*/ 2027 w 254673"/>
                    <a:gd name="connsiteY5" fmla="*/ 47625 h 227192"/>
                    <a:gd name="connsiteX6" fmla="*/ 9647 w 254673"/>
                    <a:gd name="connsiteY6" fmla="*/ 59055 h 227192"/>
                    <a:gd name="connsiteX7" fmla="*/ 13457 w 254673"/>
                    <a:gd name="connsiteY7" fmla="*/ 70485 h 227192"/>
                    <a:gd name="connsiteX8" fmla="*/ 15362 w 254673"/>
                    <a:gd name="connsiteY8" fmla="*/ 99060 h 227192"/>
                    <a:gd name="connsiteX9" fmla="*/ 17267 w 254673"/>
                    <a:gd name="connsiteY9" fmla="*/ 104775 h 227192"/>
                    <a:gd name="connsiteX10" fmla="*/ 22982 w 254673"/>
                    <a:gd name="connsiteY10" fmla="*/ 108585 h 227192"/>
                    <a:gd name="connsiteX11" fmla="*/ 26792 w 254673"/>
                    <a:gd name="connsiteY11" fmla="*/ 114300 h 227192"/>
                    <a:gd name="connsiteX12" fmla="*/ 32507 w 254673"/>
                    <a:gd name="connsiteY12" fmla="*/ 118110 h 227192"/>
                    <a:gd name="connsiteX13" fmla="*/ 42032 w 254673"/>
                    <a:gd name="connsiteY13" fmla="*/ 131445 h 227192"/>
                    <a:gd name="connsiteX14" fmla="*/ 59177 w 254673"/>
                    <a:gd name="connsiteY14" fmla="*/ 133350 h 227192"/>
                    <a:gd name="connsiteX15" fmla="*/ 64892 w 254673"/>
                    <a:gd name="connsiteY15" fmla="*/ 180975 h 227192"/>
                    <a:gd name="connsiteX16" fmla="*/ 74417 w 254673"/>
                    <a:gd name="connsiteY16" fmla="*/ 188595 h 227192"/>
                    <a:gd name="connsiteX17" fmla="*/ 80132 w 254673"/>
                    <a:gd name="connsiteY17" fmla="*/ 192405 h 227192"/>
                    <a:gd name="connsiteX18" fmla="*/ 87752 w 254673"/>
                    <a:gd name="connsiteY18" fmla="*/ 201930 h 227192"/>
                    <a:gd name="connsiteX19" fmla="*/ 95372 w 254673"/>
                    <a:gd name="connsiteY19" fmla="*/ 213360 h 227192"/>
                    <a:gd name="connsiteX20" fmla="*/ 99182 w 254673"/>
                    <a:gd name="connsiteY20" fmla="*/ 219075 h 227192"/>
                    <a:gd name="connsiteX21" fmla="*/ 104897 w 254673"/>
                    <a:gd name="connsiteY21" fmla="*/ 220980 h 227192"/>
                    <a:gd name="connsiteX22" fmla="*/ 108707 w 254673"/>
                    <a:gd name="connsiteY22" fmla="*/ 226695 h 227192"/>
                    <a:gd name="connsiteX23" fmla="*/ 133472 w 254673"/>
                    <a:gd name="connsiteY23" fmla="*/ 222885 h 227192"/>
                    <a:gd name="connsiteX24" fmla="*/ 144902 w 254673"/>
                    <a:gd name="connsiteY24" fmla="*/ 211455 h 227192"/>
                    <a:gd name="connsiteX25" fmla="*/ 148712 w 254673"/>
                    <a:gd name="connsiteY25" fmla="*/ 205740 h 227192"/>
                    <a:gd name="connsiteX26" fmla="*/ 160142 w 254673"/>
                    <a:gd name="connsiteY26" fmla="*/ 201930 h 227192"/>
                    <a:gd name="connsiteX27" fmla="*/ 162047 w 254673"/>
                    <a:gd name="connsiteY27" fmla="*/ 196215 h 227192"/>
                    <a:gd name="connsiteX28" fmla="*/ 163952 w 254673"/>
                    <a:gd name="connsiteY28" fmla="*/ 184785 h 227192"/>
                    <a:gd name="connsiteX29" fmla="*/ 175382 w 254673"/>
                    <a:gd name="connsiteY29" fmla="*/ 180975 h 227192"/>
                    <a:gd name="connsiteX30" fmla="*/ 198242 w 254673"/>
                    <a:gd name="connsiteY30" fmla="*/ 182880 h 227192"/>
                    <a:gd name="connsiteX31" fmla="*/ 203957 w 254673"/>
                    <a:gd name="connsiteY31" fmla="*/ 186690 h 227192"/>
                    <a:gd name="connsiteX32" fmla="*/ 209672 w 254673"/>
                    <a:gd name="connsiteY32" fmla="*/ 188595 h 227192"/>
                    <a:gd name="connsiteX33" fmla="*/ 221102 w 254673"/>
                    <a:gd name="connsiteY33" fmla="*/ 186690 h 227192"/>
                    <a:gd name="connsiteX34" fmla="*/ 226817 w 254673"/>
                    <a:gd name="connsiteY34" fmla="*/ 182880 h 227192"/>
                    <a:gd name="connsiteX35" fmla="*/ 234437 w 254673"/>
                    <a:gd name="connsiteY35" fmla="*/ 165735 h 227192"/>
                    <a:gd name="connsiteX36" fmla="*/ 238247 w 254673"/>
                    <a:gd name="connsiteY36" fmla="*/ 154305 h 227192"/>
                    <a:gd name="connsiteX37" fmla="*/ 240152 w 254673"/>
                    <a:gd name="connsiteY37" fmla="*/ 148590 h 227192"/>
                    <a:gd name="connsiteX38" fmla="*/ 245867 w 254673"/>
                    <a:gd name="connsiteY38" fmla="*/ 120015 h 227192"/>
                    <a:gd name="connsiteX39" fmla="*/ 247772 w 254673"/>
                    <a:gd name="connsiteY39" fmla="*/ 114300 h 227192"/>
                    <a:gd name="connsiteX40" fmla="*/ 249677 w 254673"/>
                    <a:gd name="connsiteY40" fmla="*/ 108585 h 227192"/>
                    <a:gd name="connsiteX41" fmla="*/ 242057 w 254673"/>
                    <a:gd name="connsiteY41" fmla="*/ 89535 h 227192"/>
                    <a:gd name="connsiteX42" fmla="*/ 236342 w 254673"/>
                    <a:gd name="connsiteY42" fmla="*/ 85725 h 227192"/>
                    <a:gd name="connsiteX43" fmla="*/ 238247 w 254673"/>
                    <a:gd name="connsiteY43" fmla="*/ 80010 h 227192"/>
                    <a:gd name="connsiteX44" fmla="*/ 243962 w 254673"/>
                    <a:gd name="connsiteY44" fmla="*/ 78105 h 227192"/>
                    <a:gd name="connsiteX45" fmla="*/ 249677 w 254673"/>
                    <a:gd name="connsiteY45" fmla="*/ 74295 h 227192"/>
                    <a:gd name="connsiteX46" fmla="*/ 251582 w 254673"/>
                    <a:gd name="connsiteY46" fmla="*/ 24765 h 227192"/>
                    <a:gd name="connsiteX47" fmla="*/ 249677 w 254673"/>
                    <a:gd name="connsiteY47" fmla="*/ 19050 h 227192"/>
                    <a:gd name="connsiteX48" fmla="*/ 243962 w 254673"/>
                    <a:gd name="connsiteY48" fmla="*/ 15240 h 227192"/>
                    <a:gd name="connsiteX49" fmla="*/ 234437 w 254673"/>
                    <a:gd name="connsiteY49" fmla="*/ 3810 h 227192"/>
                    <a:gd name="connsiteX50" fmla="*/ 228722 w 254673"/>
                    <a:gd name="connsiteY50" fmla="*/ 0 h 227192"/>
                    <a:gd name="connsiteX51" fmla="*/ 217292 w 254673"/>
                    <a:gd name="connsiteY51" fmla="*/ 1905 h 227192"/>
                    <a:gd name="connsiteX52" fmla="*/ 213482 w 254673"/>
                    <a:gd name="connsiteY52" fmla="*/ 7620 h 227192"/>
                    <a:gd name="connsiteX53" fmla="*/ 207767 w 254673"/>
                    <a:gd name="connsiteY53" fmla="*/ 9525 h 227192"/>
                    <a:gd name="connsiteX54" fmla="*/ 203957 w 254673"/>
                    <a:gd name="connsiteY54" fmla="*/ 20955 h 227192"/>
                    <a:gd name="connsiteX55" fmla="*/ 202052 w 254673"/>
                    <a:gd name="connsiteY55" fmla="*/ 26670 h 227192"/>
                    <a:gd name="connsiteX56" fmla="*/ 200147 w 254673"/>
                    <a:gd name="connsiteY56" fmla="*/ 38100 h 227192"/>
                    <a:gd name="connsiteX57" fmla="*/ 205862 w 254673"/>
                    <a:gd name="connsiteY57" fmla="*/ 72390 h 227192"/>
                    <a:gd name="connsiteX58" fmla="*/ 213482 w 254673"/>
                    <a:gd name="connsiteY58" fmla="*/ 83820 h 227192"/>
                    <a:gd name="connsiteX59" fmla="*/ 217292 w 254673"/>
                    <a:gd name="connsiteY59" fmla="*/ 89535 h 227192"/>
                    <a:gd name="connsiteX60" fmla="*/ 215387 w 254673"/>
                    <a:gd name="connsiteY60" fmla="*/ 97155 h 227192"/>
                    <a:gd name="connsiteX61" fmla="*/ 203957 w 254673"/>
                    <a:gd name="connsiteY61" fmla="*/ 104775 h 227192"/>
                    <a:gd name="connsiteX62" fmla="*/ 198242 w 254673"/>
                    <a:gd name="connsiteY62" fmla="*/ 116205 h 227192"/>
                    <a:gd name="connsiteX63" fmla="*/ 196337 w 254673"/>
                    <a:gd name="connsiteY63" fmla="*/ 121920 h 227192"/>
                    <a:gd name="connsiteX64" fmla="*/ 190622 w 254673"/>
                    <a:gd name="connsiteY64" fmla="*/ 133350 h 227192"/>
                    <a:gd name="connsiteX65" fmla="*/ 183002 w 254673"/>
                    <a:gd name="connsiteY65" fmla="*/ 154305 h 227192"/>
                    <a:gd name="connsiteX66" fmla="*/ 175382 w 254673"/>
                    <a:gd name="connsiteY66" fmla="*/ 156210 h 227192"/>
                    <a:gd name="connsiteX67" fmla="*/ 169667 w 254673"/>
                    <a:gd name="connsiteY67" fmla="*/ 150495 h 227192"/>
                    <a:gd name="connsiteX68" fmla="*/ 167762 w 254673"/>
                    <a:gd name="connsiteY68" fmla="*/ 144780 h 227192"/>
                    <a:gd name="connsiteX69" fmla="*/ 156332 w 254673"/>
                    <a:gd name="connsiteY69" fmla="*/ 140970 h 227192"/>
                    <a:gd name="connsiteX70" fmla="*/ 150617 w 254673"/>
                    <a:gd name="connsiteY70" fmla="*/ 139065 h 227192"/>
                    <a:gd name="connsiteX71" fmla="*/ 139187 w 254673"/>
                    <a:gd name="connsiteY71" fmla="*/ 135255 h 227192"/>
                    <a:gd name="connsiteX72" fmla="*/ 133472 w 254673"/>
                    <a:gd name="connsiteY72" fmla="*/ 133350 h 227192"/>
                    <a:gd name="connsiteX73" fmla="*/ 122042 w 254673"/>
                    <a:gd name="connsiteY73" fmla="*/ 127635 h 227192"/>
                    <a:gd name="connsiteX74" fmla="*/ 89657 w 254673"/>
                    <a:gd name="connsiteY74" fmla="*/ 125730 h 227192"/>
                    <a:gd name="connsiteX75" fmla="*/ 78227 w 254673"/>
                    <a:gd name="connsiteY75" fmla="*/ 116205 h 227192"/>
                    <a:gd name="connsiteX76" fmla="*/ 76322 w 254673"/>
                    <a:gd name="connsiteY76" fmla="*/ 110490 h 227192"/>
                    <a:gd name="connsiteX77" fmla="*/ 72512 w 254673"/>
                    <a:gd name="connsiteY77" fmla="*/ 104775 h 227192"/>
                    <a:gd name="connsiteX78" fmla="*/ 68702 w 254673"/>
                    <a:gd name="connsiteY78" fmla="*/ 89535 h 227192"/>
                    <a:gd name="connsiteX79" fmla="*/ 62987 w 254673"/>
                    <a:gd name="connsiteY79" fmla="*/ 85725 h 227192"/>
                    <a:gd name="connsiteX80" fmla="*/ 53462 w 254673"/>
                    <a:gd name="connsiteY80" fmla="*/ 83820 h 227192"/>
                    <a:gd name="connsiteX81" fmla="*/ 47747 w 254673"/>
                    <a:gd name="connsiteY81" fmla="*/ 80010 h 227192"/>
                    <a:gd name="connsiteX82" fmla="*/ 42032 w 254673"/>
                    <a:gd name="connsiteY82" fmla="*/ 78105 h 227192"/>
                    <a:gd name="connsiteX83" fmla="*/ 34412 w 254673"/>
                    <a:gd name="connsiteY83" fmla="*/ 64770 h 227192"/>
                    <a:gd name="connsiteX84" fmla="*/ 30602 w 254673"/>
                    <a:gd name="connsiteY84" fmla="*/ 53340 h 227192"/>
                    <a:gd name="connsiteX85" fmla="*/ 34412 w 254673"/>
                    <a:gd name="connsiteY85" fmla="*/ 47625 h 227192"/>
                    <a:gd name="connsiteX86" fmla="*/ 32507 w 254673"/>
                    <a:gd name="connsiteY86" fmla="*/ 28575 h 227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</a:cxnLst>
                  <a:rect l="l" t="t" r="r" b="b"/>
                  <a:pathLst>
                    <a:path w="254673" h="227192">
                      <a:moveTo>
                        <a:pt x="32507" y="28575"/>
                      </a:moveTo>
                      <a:cubicBezTo>
                        <a:pt x="32825" y="25718"/>
                        <a:pt x="38222" y="31750"/>
                        <a:pt x="36317" y="30480"/>
                      </a:cubicBezTo>
                      <a:cubicBezTo>
                        <a:pt x="34412" y="29210"/>
                        <a:pt x="26792" y="22543"/>
                        <a:pt x="21077" y="20955"/>
                      </a:cubicBezTo>
                      <a:cubicBezTo>
                        <a:pt x="15362" y="19368"/>
                        <a:pt x="5519" y="20003"/>
                        <a:pt x="2027" y="20955"/>
                      </a:cubicBezTo>
                      <a:cubicBezTo>
                        <a:pt x="-1465" y="21907"/>
                        <a:pt x="757" y="24765"/>
                        <a:pt x="122" y="26670"/>
                      </a:cubicBezTo>
                      <a:cubicBezTo>
                        <a:pt x="757" y="33655"/>
                        <a:pt x="48" y="40896"/>
                        <a:pt x="2027" y="47625"/>
                      </a:cubicBezTo>
                      <a:cubicBezTo>
                        <a:pt x="3319" y="52018"/>
                        <a:pt x="8199" y="54711"/>
                        <a:pt x="9647" y="59055"/>
                      </a:cubicBezTo>
                      <a:lnTo>
                        <a:pt x="13457" y="70485"/>
                      </a:lnTo>
                      <a:cubicBezTo>
                        <a:pt x="14092" y="80010"/>
                        <a:pt x="14308" y="89572"/>
                        <a:pt x="15362" y="99060"/>
                      </a:cubicBezTo>
                      <a:cubicBezTo>
                        <a:pt x="15584" y="101056"/>
                        <a:pt x="16013" y="103207"/>
                        <a:pt x="17267" y="104775"/>
                      </a:cubicBezTo>
                      <a:cubicBezTo>
                        <a:pt x="18697" y="106563"/>
                        <a:pt x="21077" y="107315"/>
                        <a:pt x="22982" y="108585"/>
                      </a:cubicBezTo>
                      <a:cubicBezTo>
                        <a:pt x="24252" y="110490"/>
                        <a:pt x="25173" y="112681"/>
                        <a:pt x="26792" y="114300"/>
                      </a:cubicBezTo>
                      <a:cubicBezTo>
                        <a:pt x="28411" y="115919"/>
                        <a:pt x="31294" y="116168"/>
                        <a:pt x="32507" y="118110"/>
                      </a:cubicBezTo>
                      <a:cubicBezTo>
                        <a:pt x="39079" y="128624"/>
                        <a:pt x="31444" y="129680"/>
                        <a:pt x="42032" y="131445"/>
                      </a:cubicBezTo>
                      <a:cubicBezTo>
                        <a:pt x="47704" y="132390"/>
                        <a:pt x="53462" y="132715"/>
                        <a:pt x="59177" y="133350"/>
                      </a:cubicBezTo>
                      <a:cubicBezTo>
                        <a:pt x="71402" y="151687"/>
                        <a:pt x="58865" y="130751"/>
                        <a:pt x="64892" y="180975"/>
                      </a:cubicBezTo>
                      <a:cubicBezTo>
                        <a:pt x="65712" y="187808"/>
                        <a:pt x="70129" y="186451"/>
                        <a:pt x="74417" y="188595"/>
                      </a:cubicBezTo>
                      <a:cubicBezTo>
                        <a:pt x="76465" y="189619"/>
                        <a:pt x="78227" y="191135"/>
                        <a:pt x="80132" y="192405"/>
                      </a:cubicBezTo>
                      <a:cubicBezTo>
                        <a:pt x="84422" y="205275"/>
                        <a:pt x="78472" y="191325"/>
                        <a:pt x="87752" y="201930"/>
                      </a:cubicBezTo>
                      <a:cubicBezTo>
                        <a:pt x="90767" y="205376"/>
                        <a:pt x="92832" y="209550"/>
                        <a:pt x="95372" y="213360"/>
                      </a:cubicBezTo>
                      <a:cubicBezTo>
                        <a:pt x="96642" y="215265"/>
                        <a:pt x="97010" y="218351"/>
                        <a:pt x="99182" y="219075"/>
                      </a:cubicBezTo>
                      <a:lnTo>
                        <a:pt x="104897" y="220980"/>
                      </a:lnTo>
                      <a:cubicBezTo>
                        <a:pt x="106167" y="222885"/>
                        <a:pt x="106449" y="226319"/>
                        <a:pt x="108707" y="226695"/>
                      </a:cubicBezTo>
                      <a:cubicBezTo>
                        <a:pt x="118529" y="228332"/>
                        <a:pt x="125235" y="225631"/>
                        <a:pt x="133472" y="222885"/>
                      </a:cubicBezTo>
                      <a:cubicBezTo>
                        <a:pt x="137282" y="219075"/>
                        <a:pt x="141913" y="215938"/>
                        <a:pt x="144902" y="211455"/>
                      </a:cubicBezTo>
                      <a:cubicBezTo>
                        <a:pt x="146172" y="209550"/>
                        <a:pt x="146770" y="206953"/>
                        <a:pt x="148712" y="205740"/>
                      </a:cubicBezTo>
                      <a:cubicBezTo>
                        <a:pt x="152118" y="203611"/>
                        <a:pt x="160142" y="201930"/>
                        <a:pt x="160142" y="201930"/>
                      </a:cubicBezTo>
                      <a:cubicBezTo>
                        <a:pt x="160777" y="200025"/>
                        <a:pt x="161611" y="198175"/>
                        <a:pt x="162047" y="196215"/>
                      </a:cubicBezTo>
                      <a:cubicBezTo>
                        <a:pt x="162885" y="192444"/>
                        <a:pt x="161408" y="187692"/>
                        <a:pt x="163952" y="184785"/>
                      </a:cubicBezTo>
                      <a:cubicBezTo>
                        <a:pt x="166597" y="181763"/>
                        <a:pt x="175382" y="180975"/>
                        <a:pt x="175382" y="180975"/>
                      </a:cubicBezTo>
                      <a:cubicBezTo>
                        <a:pt x="183002" y="181610"/>
                        <a:pt x="190744" y="181380"/>
                        <a:pt x="198242" y="182880"/>
                      </a:cubicBezTo>
                      <a:cubicBezTo>
                        <a:pt x="200487" y="183329"/>
                        <a:pt x="201909" y="185666"/>
                        <a:pt x="203957" y="186690"/>
                      </a:cubicBezTo>
                      <a:cubicBezTo>
                        <a:pt x="205753" y="187588"/>
                        <a:pt x="207767" y="187960"/>
                        <a:pt x="209672" y="188595"/>
                      </a:cubicBezTo>
                      <a:cubicBezTo>
                        <a:pt x="213482" y="187960"/>
                        <a:pt x="217438" y="187911"/>
                        <a:pt x="221102" y="186690"/>
                      </a:cubicBezTo>
                      <a:cubicBezTo>
                        <a:pt x="223274" y="185966"/>
                        <a:pt x="225198" y="184499"/>
                        <a:pt x="226817" y="182880"/>
                      </a:cubicBezTo>
                      <a:cubicBezTo>
                        <a:pt x="231345" y="178352"/>
                        <a:pt x="232551" y="171394"/>
                        <a:pt x="234437" y="165735"/>
                      </a:cubicBezTo>
                      <a:lnTo>
                        <a:pt x="238247" y="154305"/>
                      </a:lnTo>
                      <a:lnTo>
                        <a:pt x="240152" y="148590"/>
                      </a:lnTo>
                      <a:cubicBezTo>
                        <a:pt x="242501" y="127453"/>
                        <a:pt x="240239" y="136900"/>
                        <a:pt x="245867" y="120015"/>
                      </a:cubicBezTo>
                      <a:lnTo>
                        <a:pt x="247772" y="114300"/>
                      </a:lnTo>
                      <a:lnTo>
                        <a:pt x="249677" y="108585"/>
                      </a:lnTo>
                      <a:cubicBezTo>
                        <a:pt x="248493" y="105032"/>
                        <a:pt x="245171" y="93272"/>
                        <a:pt x="242057" y="89535"/>
                      </a:cubicBezTo>
                      <a:cubicBezTo>
                        <a:pt x="240591" y="87776"/>
                        <a:pt x="238247" y="86995"/>
                        <a:pt x="236342" y="85725"/>
                      </a:cubicBezTo>
                      <a:cubicBezTo>
                        <a:pt x="236977" y="83820"/>
                        <a:pt x="236827" y="81430"/>
                        <a:pt x="238247" y="80010"/>
                      </a:cubicBezTo>
                      <a:cubicBezTo>
                        <a:pt x="239667" y="78590"/>
                        <a:pt x="242166" y="79003"/>
                        <a:pt x="243962" y="78105"/>
                      </a:cubicBezTo>
                      <a:cubicBezTo>
                        <a:pt x="246010" y="77081"/>
                        <a:pt x="247772" y="75565"/>
                        <a:pt x="249677" y="74295"/>
                      </a:cubicBezTo>
                      <a:cubicBezTo>
                        <a:pt x="257118" y="51971"/>
                        <a:pt x="254922" y="63173"/>
                        <a:pt x="251582" y="24765"/>
                      </a:cubicBezTo>
                      <a:cubicBezTo>
                        <a:pt x="251408" y="22765"/>
                        <a:pt x="250931" y="20618"/>
                        <a:pt x="249677" y="19050"/>
                      </a:cubicBezTo>
                      <a:cubicBezTo>
                        <a:pt x="248247" y="17262"/>
                        <a:pt x="245867" y="16510"/>
                        <a:pt x="243962" y="15240"/>
                      </a:cubicBezTo>
                      <a:cubicBezTo>
                        <a:pt x="240216" y="9621"/>
                        <a:pt x="239937" y="8394"/>
                        <a:pt x="234437" y="3810"/>
                      </a:cubicBezTo>
                      <a:cubicBezTo>
                        <a:pt x="232678" y="2344"/>
                        <a:pt x="230627" y="1270"/>
                        <a:pt x="228722" y="0"/>
                      </a:cubicBezTo>
                      <a:cubicBezTo>
                        <a:pt x="224912" y="635"/>
                        <a:pt x="220747" y="178"/>
                        <a:pt x="217292" y="1905"/>
                      </a:cubicBezTo>
                      <a:cubicBezTo>
                        <a:pt x="215244" y="2929"/>
                        <a:pt x="215270" y="6190"/>
                        <a:pt x="213482" y="7620"/>
                      </a:cubicBezTo>
                      <a:cubicBezTo>
                        <a:pt x="211914" y="8874"/>
                        <a:pt x="209672" y="8890"/>
                        <a:pt x="207767" y="9525"/>
                      </a:cubicBezTo>
                      <a:lnTo>
                        <a:pt x="203957" y="20955"/>
                      </a:lnTo>
                      <a:cubicBezTo>
                        <a:pt x="203322" y="22860"/>
                        <a:pt x="202382" y="24689"/>
                        <a:pt x="202052" y="26670"/>
                      </a:cubicBezTo>
                      <a:lnTo>
                        <a:pt x="200147" y="38100"/>
                      </a:lnTo>
                      <a:cubicBezTo>
                        <a:pt x="200692" y="44635"/>
                        <a:pt x="200524" y="64383"/>
                        <a:pt x="205862" y="72390"/>
                      </a:cubicBezTo>
                      <a:lnTo>
                        <a:pt x="213482" y="83820"/>
                      </a:lnTo>
                      <a:lnTo>
                        <a:pt x="217292" y="89535"/>
                      </a:lnTo>
                      <a:cubicBezTo>
                        <a:pt x="216657" y="92075"/>
                        <a:pt x="217111" y="95185"/>
                        <a:pt x="215387" y="97155"/>
                      </a:cubicBezTo>
                      <a:cubicBezTo>
                        <a:pt x="212372" y="100601"/>
                        <a:pt x="203957" y="104775"/>
                        <a:pt x="203957" y="104775"/>
                      </a:cubicBezTo>
                      <a:cubicBezTo>
                        <a:pt x="199169" y="119140"/>
                        <a:pt x="205628" y="101433"/>
                        <a:pt x="198242" y="116205"/>
                      </a:cubicBezTo>
                      <a:cubicBezTo>
                        <a:pt x="197344" y="118001"/>
                        <a:pt x="197235" y="120124"/>
                        <a:pt x="196337" y="121920"/>
                      </a:cubicBezTo>
                      <a:cubicBezTo>
                        <a:pt x="188951" y="136692"/>
                        <a:pt x="195410" y="118985"/>
                        <a:pt x="190622" y="133350"/>
                      </a:cubicBezTo>
                      <a:cubicBezTo>
                        <a:pt x="189197" y="146178"/>
                        <a:pt x="193210" y="149930"/>
                        <a:pt x="183002" y="154305"/>
                      </a:cubicBezTo>
                      <a:cubicBezTo>
                        <a:pt x="180596" y="155336"/>
                        <a:pt x="177922" y="155575"/>
                        <a:pt x="175382" y="156210"/>
                      </a:cubicBezTo>
                      <a:cubicBezTo>
                        <a:pt x="173477" y="154305"/>
                        <a:pt x="171161" y="152737"/>
                        <a:pt x="169667" y="150495"/>
                      </a:cubicBezTo>
                      <a:cubicBezTo>
                        <a:pt x="168553" y="148824"/>
                        <a:pt x="169396" y="145947"/>
                        <a:pt x="167762" y="144780"/>
                      </a:cubicBezTo>
                      <a:cubicBezTo>
                        <a:pt x="164494" y="142446"/>
                        <a:pt x="160142" y="142240"/>
                        <a:pt x="156332" y="140970"/>
                      </a:cubicBezTo>
                      <a:lnTo>
                        <a:pt x="150617" y="139065"/>
                      </a:lnTo>
                      <a:lnTo>
                        <a:pt x="139187" y="135255"/>
                      </a:lnTo>
                      <a:cubicBezTo>
                        <a:pt x="137282" y="134620"/>
                        <a:pt x="135143" y="134464"/>
                        <a:pt x="133472" y="133350"/>
                      </a:cubicBezTo>
                      <a:cubicBezTo>
                        <a:pt x="129789" y="130895"/>
                        <a:pt x="126681" y="128099"/>
                        <a:pt x="122042" y="127635"/>
                      </a:cubicBezTo>
                      <a:cubicBezTo>
                        <a:pt x="111282" y="126559"/>
                        <a:pt x="100452" y="126365"/>
                        <a:pt x="89657" y="125730"/>
                      </a:cubicBezTo>
                      <a:cubicBezTo>
                        <a:pt x="85440" y="122919"/>
                        <a:pt x="81161" y="120605"/>
                        <a:pt x="78227" y="116205"/>
                      </a:cubicBezTo>
                      <a:cubicBezTo>
                        <a:pt x="77113" y="114534"/>
                        <a:pt x="77220" y="112286"/>
                        <a:pt x="76322" y="110490"/>
                      </a:cubicBezTo>
                      <a:cubicBezTo>
                        <a:pt x="75298" y="108442"/>
                        <a:pt x="73782" y="106680"/>
                        <a:pt x="72512" y="104775"/>
                      </a:cubicBezTo>
                      <a:cubicBezTo>
                        <a:pt x="72417" y="104301"/>
                        <a:pt x="70264" y="91488"/>
                        <a:pt x="68702" y="89535"/>
                      </a:cubicBezTo>
                      <a:cubicBezTo>
                        <a:pt x="67272" y="87747"/>
                        <a:pt x="65131" y="86529"/>
                        <a:pt x="62987" y="85725"/>
                      </a:cubicBezTo>
                      <a:cubicBezTo>
                        <a:pt x="59955" y="84588"/>
                        <a:pt x="56637" y="84455"/>
                        <a:pt x="53462" y="83820"/>
                      </a:cubicBezTo>
                      <a:cubicBezTo>
                        <a:pt x="51557" y="82550"/>
                        <a:pt x="49795" y="81034"/>
                        <a:pt x="47747" y="80010"/>
                      </a:cubicBezTo>
                      <a:cubicBezTo>
                        <a:pt x="45951" y="79112"/>
                        <a:pt x="43600" y="79359"/>
                        <a:pt x="42032" y="78105"/>
                      </a:cubicBezTo>
                      <a:cubicBezTo>
                        <a:pt x="40010" y="76488"/>
                        <a:pt x="35074" y="66424"/>
                        <a:pt x="34412" y="64770"/>
                      </a:cubicBezTo>
                      <a:cubicBezTo>
                        <a:pt x="32920" y="61041"/>
                        <a:pt x="30602" y="53340"/>
                        <a:pt x="30602" y="53340"/>
                      </a:cubicBezTo>
                      <a:cubicBezTo>
                        <a:pt x="31872" y="51435"/>
                        <a:pt x="34236" y="49908"/>
                        <a:pt x="34412" y="47625"/>
                      </a:cubicBezTo>
                      <a:cubicBezTo>
                        <a:pt x="34901" y="41262"/>
                        <a:pt x="33477" y="34882"/>
                        <a:pt x="32507" y="28575"/>
                      </a:cubicBezTo>
                      <a:close/>
                    </a:path>
                  </a:pathLst>
                </a:custGeom>
                <a:solidFill>
                  <a:srgbClr val="9E6AAF">
                    <a:alpha val="72941"/>
                  </a:srgbClr>
                </a:solidFill>
                <a:ln w="19050" cap="flat" cmpd="sng" algn="ctr">
                  <a:solidFill>
                    <a:srgbClr val="7F5292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5783">
                    <a:defRPr/>
                  </a:pPr>
                  <a:endParaRPr lang="en-US" sz="1000" kern="0">
                    <a:solidFill>
                      <a:srgbClr val="FFFFFF"/>
                    </a:solidFill>
                    <a:latin typeface="Arial" panose="020B0604020202020204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247" name="Group 1246">
                <a:extLst>
                  <a:ext uri="{FF2B5EF4-FFF2-40B4-BE49-F238E27FC236}">
                    <a16:creationId xmlns:a16="http://schemas.microsoft.com/office/drawing/2014/main" id="{74141AAB-F9CB-D1A1-047F-8C700D0D5FEC}"/>
                  </a:ext>
                </a:extLst>
              </p:cNvPr>
              <p:cNvGrpSpPr/>
              <p:nvPr/>
            </p:nvGrpSpPr>
            <p:grpSpPr>
              <a:xfrm rot="17095920">
                <a:off x="4050942" y="3061890"/>
                <a:ext cx="174867" cy="196879"/>
                <a:chOff x="3390226" y="902644"/>
                <a:chExt cx="294782" cy="292335"/>
              </a:xfrm>
            </p:grpSpPr>
            <p:grpSp>
              <p:nvGrpSpPr>
                <p:cNvPr id="1248" name="Group 1247">
                  <a:extLst>
                    <a:ext uri="{FF2B5EF4-FFF2-40B4-BE49-F238E27FC236}">
                      <a16:creationId xmlns:a16="http://schemas.microsoft.com/office/drawing/2014/main" id="{31BDADC9-706A-8206-A0B9-CF15C8088AB8}"/>
                    </a:ext>
                  </a:extLst>
                </p:cNvPr>
                <p:cNvGrpSpPr/>
                <p:nvPr/>
              </p:nvGrpSpPr>
              <p:grpSpPr>
                <a:xfrm>
                  <a:off x="3390226" y="902644"/>
                  <a:ext cx="294782" cy="292335"/>
                  <a:chOff x="3390226" y="902644"/>
                  <a:chExt cx="294782" cy="292335"/>
                </a:xfrm>
              </p:grpSpPr>
              <p:sp>
                <p:nvSpPr>
                  <p:cNvPr id="1250" name="Oval 1249">
                    <a:extLst>
                      <a:ext uri="{FF2B5EF4-FFF2-40B4-BE49-F238E27FC236}">
                        <a16:creationId xmlns:a16="http://schemas.microsoft.com/office/drawing/2014/main" id="{6A92EBC8-E605-C2D2-2EB4-C9B82AC19AED}"/>
                      </a:ext>
                    </a:extLst>
                  </p:cNvPr>
                  <p:cNvSpPr/>
                  <p:nvPr/>
                </p:nvSpPr>
                <p:spPr>
                  <a:xfrm rot="4711444">
                    <a:off x="3391449" y="901421"/>
                    <a:ext cx="292335" cy="294782"/>
                  </a:xfrm>
                  <a:prstGeom prst="ellipse">
                    <a:avLst/>
                  </a:prstGeom>
                  <a:solidFill>
                    <a:srgbClr val="FF2B28">
                      <a:lumMod val="20000"/>
                      <a:lumOff val="80000"/>
                    </a:srgbClr>
                  </a:solidFill>
                  <a:ln w="15875" cap="flat" cmpd="sng" algn="ctr">
                    <a:solidFill>
                      <a:srgbClr val="CC95BC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5783">
                      <a:defRPr/>
                    </a:pPr>
                    <a:endParaRPr lang="en-US" sz="1000" kern="0">
                      <a:solidFill>
                        <a:srgbClr val="FFFFFF"/>
                      </a:solidFill>
                      <a:latin typeface="Arial" panose="020B0604020202020204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1251" name="Group 1250">
                    <a:extLst>
                      <a:ext uri="{FF2B5EF4-FFF2-40B4-BE49-F238E27FC236}">
                        <a16:creationId xmlns:a16="http://schemas.microsoft.com/office/drawing/2014/main" id="{4EDDDAC7-BAE8-0220-4B49-4EFAAD7F9E00}"/>
                      </a:ext>
                    </a:extLst>
                  </p:cNvPr>
                  <p:cNvGrpSpPr/>
                  <p:nvPr/>
                </p:nvGrpSpPr>
                <p:grpSpPr>
                  <a:xfrm rot="4711444">
                    <a:off x="3413226" y="963115"/>
                    <a:ext cx="164790" cy="149511"/>
                    <a:chOff x="8770428" y="4145225"/>
                    <a:chExt cx="307647" cy="276804"/>
                  </a:xfrm>
                </p:grpSpPr>
                <p:sp>
                  <p:nvSpPr>
                    <p:cNvPr id="1302" name="Freeform: Shape 474">
                      <a:extLst>
                        <a:ext uri="{FF2B5EF4-FFF2-40B4-BE49-F238E27FC236}">
                          <a16:creationId xmlns:a16="http://schemas.microsoft.com/office/drawing/2014/main" id="{26660BDD-243D-C69E-28CB-5937E326E4B3}"/>
                        </a:ext>
                      </a:extLst>
                    </p:cNvPr>
                    <p:cNvSpPr/>
                    <p:nvPr/>
                  </p:nvSpPr>
                  <p:spPr>
                    <a:xfrm rot="5813516">
                      <a:off x="8823930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03" name="Freeform: Shape 475">
                      <a:extLst>
                        <a:ext uri="{FF2B5EF4-FFF2-40B4-BE49-F238E27FC236}">
                          <a16:creationId xmlns:a16="http://schemas.microsoft.com/office/drawing/2014/main" id="{B2D1A4AA-A050-B847-2DE1-B20B9280C636}"/>
                        </a:ext>
                      </a:extLst>
                    </p:cNvPr>
                    <p:cNvSpPr/>
                    <p:nvPr/>
                  </p:nvSpPr>
                  <p:spPr>
                    <a:xfrm rot="6799576">
                      <a:off x="8855933" y="4253069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04" name="Freeform: Shape 476">
                      <a:extLst>
                        <a:ext uri="{FF2B5EF4-FFF2-40B4-BE49-F238E27FC236}">
                          <a16:creationId xmlns:a16="http://schemas.microsoft.com/office/drawing/2014/main" id="{5029ABF5-BF8C-90C6-313C-F029006C0EC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50061" y="4188172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05" name="Freeform: Shape 477">
                      <a:extLst>
                        <a:ext uri="{FF2B5EF4-FFF2-40B4-BE49-F238E27FC236}">
                          <a16:creationId xmlns:a16="http://schemas.microsoft.com/office/drawing/2014/main" id="{6754D12E-5E54-9A40-F71E-0ADDA8AF95BA}"/>
                        </a:ext>
                      </a:extLst>
                    </p:cNvPr>
                    <p:cNvSpPr/>
                    <p:nvPr/>
                  </p:nvSpPr>
                  <p:spPr>
                    <a:xfrm rot="15284729">
                      <a:off x="8851362" y="4146483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06" name="Freeform: Shape 478">
                      <a:extLst>
                        <a:ext uri="{FF2B5EF4-FFF2-40B4-BE49-F238E27FC236}">
                          <a16:creationId xmlns:a16="http://schemas.microsoft.com/office/drawing/2014/main" id="{FBC13630-CB39-4847-7359-7851BFAAF114}"/>
                        </a:ext>
                      </a:extLst>
                    </p:cNvPr>
                    <p:cNvSpPr/>
                    <p:nvPr/>
                  </p:nvSpPr>
                  <p:spPr>
                    <a:xfrm rot="4030563">
                      <a:off x="8954046" y="4390351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07" name="Freeform: Shape 479">
                      <a:extLst>
                        <a:ext uri="{FF2B5EF4-FFF2-40B4-BE49-F238E27FC236}">
                          <a16:creationId xmlns:a16="http://schemas.microsoft.com/office/drawing/2014/main" id="{EB309711-44F8-46ED-5816-1046F760276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78794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08" name="Freeform: Shape 480">
                      <a:extLst>
                        <a:ext uri="{FF2B5EF4-FFF2-40B4-BE49-F238E27FC236}">
                          <a16:creationId xmlns:a16="http://schemas.microsoft.com/office/drawing/2014/main" id="{77E9314B-B876-A1CF-F7D2-643395814FF7}"/>
                        </a:ext>
                      </a:extLst>
                    </p:cNvPr>
                    <p:cNvSpPr/>
                    <p:nvPr/>
                  </p:nvSpPr>
                  <p:spPr>
                    <a:xfrm rot="1648623">
                      <a:off x="8778238" y="4278378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09" name="Freeform: Shape 481">
                      <a:extLst>
                        <a:ext uri="{FF2B5EF4-FFF2-40B4-BE49-F238E27FC236}">
                          <a16:creationId xmlns:a16="http://schemas.microsoft.com/office/drawing/2014/main" id="{F57C89DE-2940-7CCD-49F4-8F874C97FE55}"/>
                        </a:ext>
                      </a:extLst>
                    </p:cNvPr>
                    <p:cNvSpPr/>
                    <p:nvPr/>
                  </p:nvSpPr>
                  <p:spPr>
                    <a:xfrm rot="20582585">
                      <a:off x="8817085" y="4302941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10" name="Freeform: Shape 482">
                      <a:extLst>
                        <a:ext uri="{FF2B5EF4-FFF2-40B4-BE49-F238E27FC236}">
                          <a16:creationId xmlns:a16="http://schemas.microsoft.com/office/drawing/2014/main" id="{17651948-9A15-B4B9-5476-3DFDF9B2E0D2}"/>
                        </a:ext>
                      </a:extLst>
                    </p:cNvPr>
                    <p:cNvSpPr/>
                    <p:nvPr/>
                  </p:nvSpPr>
                  <p:spPr>
                    <a:xfrm rot="17414284">
                      <a:off x="8943702" y="414065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11" name="Freeform: Shape 483">
                      <a:extLst>
                        <a:ext uri="{FF2B5EF4-FFF2-40B4-BE49-F238E27FC236}">
                          <a16:creationId xmlns:a16="http://schemas.microsoft.com/office/drawing/2014/main" id="{E6788D54-CABC-14C8-2441-D59B06B3009B}"/>
                        </a:ext>
                      </a:extLst>
                    </p:cNvPr>
                    <p:cNvSpPr/>
                    <p:nvPr/>
                  </p:nvSpPr>
                  <p:spPr>
                    <a:xfrm rot="9043087">
                      <a:off x="8883430" y="4342996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12" name="Freeform: Shape 484">
                      <a:extLst>
                        <a:ext uri="{FF2B5EF4-FFF2-40B4-BE49-F238E27FC236}">
                          <a16:creationId xmlns:a16="http://schemas.microsoft.com/office/drawing/2014/main" id="{26A4446D-C5DA-2C16-D7CE-A7541B529FF1}"/>
                        </a:ext>
                      </a:extLst>
                    </p:cNvPr>
                    <p:cNvSpPr/>
                    <p:nvPr/>
                  </p:nvSpPr>
                  <p:spPr>
                    <a:xfrm rot="5209521">
                      <a:off x="8961351" y="4317762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13" name="Freeform: Shape 485">
                      <a:extLst>
                        <a:ext uri="{FF2B5EF4-FFF2-40B4-BE49-F238E27FC236}">
                          <a16:creationId xmlns:a16="http://schemas.microsoft.com/office/drawing/2014/main" id="{E0BEA31C-D848-6B00-B3D2-F0DC813E7CE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18409" y="432953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14" name="Rectangle: Rounded Corners 486">
                      <a:extLst>
                        <a:ext uri="{FF2B5EF4-FFF2-40B4-BE49-F238E27FC236}">
                          <a16:creationId xmlns:a16="http://schemas.microsoft.com/office/drawing/2014/main" id="{D8A3EC24-5DD7-958B-D728-E7E87FA654B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86901" y="440374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15" name="Rectangle: Rounded Corners 487">
                      <a:extLst>
                        <a:ext uri="{FF2B5EF4-FFF2-40B4-BE49-F238E27FC236}">
                          <a16:creationId xmlns:a16="http://schemas.microsoft.com/office/drawing/2014/main" id="{3C69EA7A-93AF-FD4B-96E3-7C140CE0174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58174" y="429137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16" name="Rectangle: Rounded Corners 488">
                      <a:extLst>
                        <a:ext uri="{FF2B5EF4-FFF2-40B4-BE49-F238E27FC236}">
                          <a16:creationId xmlns:a16="http://schemas.microsoft.com/office/drawing/2014/main" id="{105A172D-C5CF-79D7-77DE-62EAC390576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770428" y="419613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17" name="Rectangle: Rounded Corners 489">
                      <a:extLst>
                        <a:ext uri="{FF2B5EF4-FFF2-40B4-BE49-F238E27FC236}">
                          <a16:creationId xmlns:a16="http://schemas.microsoft.com/office/drawing/2014/main" id="{9A373A00-627C-00B3-FC67-FF3C73A979A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24873" y="4240076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18" name="Rectangle: Rounded Corners 490">
                      <a:extLst>
                        <a:ext uri="{FF2B5EF4-FFF2-40B4-BE49-F238E27FC236}">
                          <a16:creationId xmlns:a16="http://schemas.microsoft.com/office/drawing/2014/main" id="{33F2F61E-FC7E-02D2-E2E2-A86229C8CA5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50643" y="429398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19" name="Rectangle: Rounded Corners 491">
                      <a:extLst>
                        <a:ext uri="{FF2B5EF4-FFF2-40B4-BE49-F238E27FC236}">
                          <a16:creationId xmlns:a16="http://schemas.microsoft.com/office/drawing/2014/main" id="{F4EF3BAE-43FB-9729-380B-E8E025C3E63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17085" y="439459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</p:grpSp>
              <p:grpSp>
                <p:nvGrpSpPr>
                  <p:cNvPr id="1252" name="Group 1251">
                    <a:extLst>
                      <a:ext uri="{FF2B5EF4-FFF2-40B4-BE49-F238E27FC236}">
                        <a16:creationId xmlns:a16="http://schemas.microsoft.com/office/drawing/2014/main" id="{3E98DD5E-5011-6B81-7FDD-36412592F0CA}"/>
                      </a:ext>
                    </a:extLst>
                  </p:cNvPr>
                  <p:cNvGrpSpPr/>
                  <p:nvPr/>
                </p:nvGrpSpPr>
                <p:grpSpPr>
                  <a:xfrm rot="13031820">
                    <a:off x="3472433" y="927802"/>
                    <a:ext cx="164791" cy="149512"/>
                    <a:chOff x="8770428" y="4145225"/>
                    <a:chExt cx="307647" cy="276804"/>
                  </a:xfrm>
                </p:grpSpPr>
                <p:sp>
                  <p:nvSpPr>
                    <p:cNvPr id="1286" name="Freeform: Shape 458">
                      <a:extLst>
                        <a:ext uri="{FF2B5EF4-FFF2-40B4-BE49-F238E27FC236}">
                          <a16:creationId xmlns:a16="http://schemas.microsoft.com/office/drawing/2014/main" id="{F14183B9-A7D9-09D1-B3EC-C720886EBBEA}"/>
                        </a:ext>
                      </a:extLst>
                    </p:cNvPr>
                    <p:cNvSpPr/>
                    <p:nvPr/>
                  </p:nvSpPr>
                  <p:spPr>
                    <a:xfrm rot="5813516">
                      <a:off x="8823930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87" name="Freeform: Shape 459">
                      <a:extLst>
                        <a:ext uri="{FF2B5EF4-FFF2-40B4-BE49-F238E27FC236}">
                          <a16:creationId xmlns:a16="http://schemas.microsoft.com/office/drawing/2014/main" id="{BF59D03A-E403-B1C4-CE1E-3DCD4DA605E0}"/>
                        </a:ext>
                      </a:extLst>
                    </p:cNvPr>
                    <p:cNvSpPr/>
                    <p:nvPr/>
                  </p:nvSpPr>
                  <p:spPr>
                    <a:xfrm rot="15284729">
                      <a:off x="8851362" y="4146483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88" name="Freeform: Shape 460">
                      <a:extLst>
                        <a:ext uri="{FF2B5EF4-FFF2-40B4-BE49-F238E27FC236}">
                          <a16:creationId xmlns:a16="http://schemas.microsoft.com/office/drawing/2014/main" id="{AE57E259-E692-0EE6-870A-EBDEF74BB32F}"/>
                        </a:ext>
                      </a:extLst>
                    </p:cNvPr>
                    <p:cNvSpPr/>
                    <p:nvPr/>
                  </p:nvSpPr>
                  <p:spPr>
                    <a:xfrm rot="4030563">
                      <a:off x="8954046" y="4390351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89" name="Freeform: Shape 461">
                      <a:extLst>
                        <a:ext uri="{FF2B5EF4-FFF2-40B4-BE49-F238E27FC236}">
                          <a16:creationId xmlns:a16="http://schemas.microsoft.com/office/drawing/2014/main" id="{90EF9826-D5D5-8D90-B35C-B53469399D9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29986" y="4287522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90" name="Freeform: Shape 462">
                      <a:extLst>
                        <a:ext uri="{FF2B5EF4-FFF2-40B4-BE49-F238E27FC236}">
                          <a16:creationId xmlns:a16="http://schemas.microsoft.com/office/drawing/2014/main" id="{9AD1F6B2-9FF1-2138-A46E-5776D6C47233}"/>
                        </a:ext>
                      </a:extLst>
                    </p:cNvPr>
                    <p:cNvSpPr/>
                    <p:nvPr/>
                  </p:nvSpPr>
                  <p:spPr>
                    <a:xfrm rot="1648623">
                      <a:off x="8778238" y="4278378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91" name="Freeform: Shape 463">
                      <a:extLst>
                        <a:ext uri="{FF2B5EF4-FFF2-40B4-BE49-F238E27FC236}">
                          <a16:creationId xmlns:a16="http://schemas.microsoft.com/office/drawing/2014/main" id="{86F6E67E-F0EA-802D-A9C1-0A6341081DE6}"/>
                        </a:ext>
                      </a:extLst>
                    </p:cNvPr>
                    <p:cNvSpPr/>
                    <p:nvPr/>
                  </p:nvSpPr>
                  <p:spPr>
                    <a:xfrm rot="20582585">
                      <a:off x="8817085" y="4302941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92" name="Freeform: Shape 464">
                      <a:extLst>
                        <a:ext uri="{FF2B5EF4-FFF2-40B4-BE49-F238E27FC236}">
                          <a16:creationId xmlns:a16="http://schemas.microsoft.com/office/drawing/2014/main" id="{651FE6B8-0623-C21D-9F99-3E8E80AE460D}"/>
                        </a:ext>
                      </a:extLst>
                    </p:cNvPr>
                    <p:cNvSpPr/>
                    <p:nvPr/>
                  </p:nvSpPr>
                  <p:spPr>
                    <a:xfrm rot="17414284">
                      <a:off x="8943702" y="414065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93" name="Freeform: Shape 465">
                      <a:extLst>
                        <a:ext uri="{FF2B5EF4-FFF2-40B4-BE49-F238E27FC236}">
                          <a16:creationId xmlns:a16="http://schemas.microsoft.com/office/drawing/2014/main" id="{4704E0A0-9801-036C-3ADE-119132806071}"/>
                        </a:ext>
                      </a:extLst>
                    </p:cNvPr>
                    <p:cNvSpPr/>
                    <p:nvPr/>
                  </p:nvSpPr>
                  <p:spPr>
                    <a:xfrm rot="9043087">
                      <a:off x="8883430" y="4342996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94" name="Freeform: Shape 466">
                      <a:extLst>
                        <a:ext uri="{FF2B5EF4-FFF2-40B4-BE49-F238E27FC236}">
                          <a16:creationId xmlns:a16="http://schemas.microsoft.com/office/drawing/2014/main" id="{739933B5-8C12-EDAC-1C03-898C90B7C824}"/>
                        </a:ext>
                      </a:extLst>
                    </p:cNvPr>
                    <p:cNvSpPr/>
                    <p:nvPr/>
                  </p:nvSpPr>
                  <p:spPr>
                    <a:xfrm rot="5209521">
                      <a:off x="8961351" y="4317762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95" name="Freeform: Shape 467">
                      <a:extLst>
                        <a:ext uri="{FF2B5EF4-FFF2-40B4-BE49-F238E27FC236}">
                          <a16:creationId xmlns:a16="http://schemas.microsoft.com/office/drawing/2014/main" id="{6AD5A0D5-DB84-C0A7-4FCD-119D6B204CE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18409" y="432953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96" name="Freeform: Shape 468">
                      <a:extLst>
                        <a:ext uri="{FF2B5EF4-FFF2-40B4-BE49-F238E27FC236}">
                          <a16:creationId xmlns:a16="http://schemas.microsoft.com/office/drawing/2014/main" id="{71FE9680-1D70-3738-D6F8-4D8358B0110F}"/>
                        </a:ext>
                      </a:extLst>
                    </p:cNvPr>
                    <p:cNvSpPr/>
                    <p:nvPr/>
                  </p:nvSpPr>
                  <p:spPr>
                    <a:xfrm rot="18952815">
                      <a:off x="8990335" y="4236377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97" name="Rectangle: Rounded Corners 469">
                      <a:extLst>
                        <a:ext uri="{FF2B5EF4-FFF2-40B4-BE49-F238E27FC236}">
                          <a16:creationId xmlns:a16="http://schemas.microsoft.com/office/drawing/2014/main" id="{C804134C-6357-82BC-EC9F-4A7A2DCB881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86901" y="440374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98" name="Rectangle: Rounded Corners 470">
                      <a:extLst>
                        <a:ext uri="{FF2B5EF4-FFF2-40B4-BE49-F238E27FC236}">
                          <a16:creationId xmlns:a16="http://schemas.microsoft.com/office/drawing/2014/main" id="{56DD0649-5C8D-5922-E85B-0491069A8B0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58174" y="429137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99" name="Rectangle: Rounded Corners 471">
                      <a:extLst>
                        <a:ext uri="{FF2B5EF4-FFF2-40B4-BE49-F238E27FC236}">
                          <a16:creationId xmlns:a16="http://schemas.microsoft.com/office/drawing/2014/main" id="{62B1C640-AF5E-C049-25BA-9A66E5E852B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770428" y="419613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00" name="Rectangle: Rounded Corners 472">
                      <a:extLst>
                        <a:ext uri="{FF2B5EF4-FFF2-40B4-BE49-F238E27FC236}">
                          <a16:creationId xmlns:a16="http://schemas.microsoft.com/office/drawing/2014/main" id="{B4DE49A6-6B4D-CD0A-B841-32271D9B1C5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50643" y="429398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01" name="Rectangle: Rounded Corners 473">
                      <a:extLst>
                        <a:ext uri="{FF2B5EF4-FFF2-40B4-BE49-F238E27FC236}">
                          <a16:creationId xmlns:a16="http://schemas.microsoft.com/office/drawing/2014/main" id="{7826BD19-637F-A84A-3BB8-D8C30E0CE89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17085" y="439459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</p:grpSp>
              <p:grpSp>
                <p:nvGrpSpPr>
                  <p:cNvPr id="1253" name="Group 1252">
                    <a:extLst>
                      <a:ext uri="{FF2B5EF4-FFF2-40B4-BE49-F238E27FC236}">
                        <a16:creationId xmlns:a16="http://schemas.microsoft.com/office/drawing/2014/main" id="{A64EEB58-0630-9993-5F05-05607398C567}"/>
                      </a:ext>
                    </a:extLst>
                  </p:cNvPr>
                  <p:cNvGrpSpPr/>
                  <p:nvPr/>
                </p:nvGrpSpPr>
                <p:grpSpPr>
                  <a:xfrm rot="20035314">
                    <a:off x="3439984" y="1013397"/>
                    <a:ext cx="166170" cy="147874"/>
                    <a:chOff x="8770428" y="4145965"/>
                    <a:chExt cx="307647" cy="276064"/>
                  </a:xfrm>
                </p:grpSpPr>
                <p:sp>
                  <p:nvSpPr>
                    <p:cNvPr id="1271" name="Freeform: Shape 443">
                      <a:extLst>
                        <a:ext uri="{FF2B5EF4-FFF2-40B4-BE49-F238E27FC236}">
                          <a16:creationId xmlns:a16="http://schemas.microsoft.com/office/drawing/2014/main" id="{618D24C8-ABAD-2EC6-CF72-A603D5512747}"/>
                        </a:ext>
                      </a:extLst>
                    </p:cNvPr>
                    <p:cNvSpPr/>
                    <p:nvPr/>
                  </p:nvSpPr>
                  <p:spPr>
                    <a:xfrm rot="5813516">
                      <a:off x="8823930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72" name="Freeform: Shape 444">
                      <a:extLst>
                        <a:ext uri="{FF2B5EF4-FFF2-40B4-BE49-F238E27FC236}">
                          <a16:creationId xmlns:a16="http://schemas.microsoft.com/office/drawing/2014/main" id="{FA4907CC-B7EA-1322-7401-3BF8732A9E0A}"/>
                        </a:ext>
                      </a:extLst>
                    </p:cNvPr>
                    <p:cNvSpPr/>
                    <p:nvPr/>
                  </p:nvSpPr>
                  <p:spPr>
                    <a:xfrm rot="15284729">
                      <a:off x="8851362" y="4146483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73" name="Freeform: Shape 445">
                      <a:extLst>
                        <a:ext uri="{FF2B5EF4-FFF2-40B4-BE49-F238E27FC236}">
                          <a16:creationId xmlns:a16="http://schemas.microsoft.com/office/drawing/2014/main" id="{B2CED82F-9561-6E98-84D9-A6086C4DB3F2}"/>
                        </a:ext>
                      </a:extLst>
                    </p:cNvPr>
                    <p:cNvSpPr/>
                    <p:nvPr/>
                  </p:nvSpPr>
                  <p:spPr>
                    <a:xfrm rot="4030563">
                      <a:off x="8954046" y="4390351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74" name="Freeform: Shape 446">
                      <a:extLst>
                        <a:ext uri="{FF2B5EF4-FFF2-40B4-BE49-F238E27FC236}">
                          <a16:creationId xmlns:a16="http://schemas.microsoft.com/office/drawing/2014/main" id="{4911E39E-EFD8-3C20-A0AD-0095C40B759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78794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75" name="Freeform: Shape 447">
                      <a:extLst>
                        <a:ext uri="{FF2B5EF4-FFF2-40B4-BE49-F238E27FC236}">
                          <a16:creationId xmlns:a16="http://schemas.microsoft.com/office/drawing/2014/main" id="{D7B748A2-9BFB-F62A-12AB-F8DE44F1BB25}"/>
                        </a:ext>
                      </a:extLst>
                    </p:cNvPr>
                    <p:cNvSpPr/>
                    <p:nvPr/>
                  </p:nvSpPr>
                  <p:spPr>
                    <a:xfrm rot="1648623">
                      <a:off x="8778238" y="4278378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76" name="Freeform: Shape 448">
                      <a:extLst>
                        <a:ext uri="{FF2B5EF4-FFF2-40B4-BE49-F238E27FC236}">
                          <a16:creationId xmlns:a16="http://schemas.microsoft.com/office/drawing/2014/main" id="{B0C7BD53-35BB-E6B7-398E-CD0D3AAD8A66}"/>
                        </a:ext>
                      </a:extLst>
                    </p:cNvPr>
                    <p:cNvSpPr/>
                    <p:nvPr/>
                  </p:nvSpPr>
                  <p:spPr>
                    <a:xfrm rot="20582585">
                      <a:off x="8817085" y="4302941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77" name="Freeform: Shape 449">
                      <a:extLst>
                        <a:ext uri="{FF2B5EF4-FFF2-40B4-BE49-F238E27FC236}">
                          <a16:creationId xmlns:a16="http://schemas.microsoft.com/office/drawing/2014/main" id="{B0D4D742-07D9-7B50-90CA-71B49D2B9BF9}"/>
                        </a:ext>
                      </a:extLst>
                    </p:cNvPr>
                    <p:cNvSpPr/>
                    <p:nvPr/>
                  </p:nvSpPr>
                  <p:spPr>
                    <a:xfrm rot="9043087">
                      <a:off x="8883430" y="4342996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78" name="Freeform: Shape 450">
                      <a:extLst>
                        <a:ext uri="{FF2B5EF4-FFF2-40B4-BE49-F238E27FC236}">
                          <a16:creationId xmlns:a16="http://schemas.microsoft.com/office/drawing/2014/main" id="{675052B5-8B95-A7DF-241C-2BC7DA7210D3}"/>
                        </a:ext>
                      </a:extLst>
                    </p:cNvPr>
                    <p:cNvSpPr/>
                    <p:nvPr/>
                  </p:nvSpPr>
                  <p:spPr>
                    <a:xfrm rot="5209521">
                      <a:off x="8961351" y="4317762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79" name="Freeform: Shape 451">
                      <a:extLst>
                        <a:ext uri="{FF2B5EF4-FFF2-40B4-BE49-F238E27FC236}">
                          <a16:creationId xmlns:a16="http://schemas.microsoft.com/office/drawing/2014/main" id="{94D7DB6D-BC0C-B3D9-8437-F8E0B3B297E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18409" y="432953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80" name="Rectangle: Rounded Corners 452">
                      <a:extLst>
                        <a:ext uri="{FF2B5EF4-FFF2-40B4-BE49-F238E27FC236}">
                          <a16:creationId xmlns:a16="http://schemas.microsoft.com/office/drawing/2014/main" id="{424F1789-0198-5AC6-61DC-F4D8EB8DCED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86901" y="440374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81" name="Rectangle: Rounded Corners 453">
                      <a:extLst>
                        <a:ext uri="{FF2B5EF4-FFF2-40B4-BE49-F238E27FC236}">
                          <a16:creationId xmlns:a16="http://schemas.microsoft.com/office/drawing/2014/main" id="{16E6CFFF-BF7F-1DC8-F3AB-FE981C6172C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58174" y="429137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82" name="Rectangle: Rounded Corners 454">
                      <a:extLst>
                        <a:ext uri="{FF2B5EF4-FFF2-40B4-BE49-F238E27FC236}">
                          <a16:creationId xmlns:a16="http://schemas.microsoft.com/office/drawing/2014/main" id="{0FA2E3A7-7FEB-2B30-AE6D-E0C282D1DAF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770428" y="419613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83" name="Rectangle: Rounded Corners 455">
                      <a:extLst>
                        <a:ext uri="{FF2B5EF4-FFF2-40B4-BE49-F238E27FC236}">
                          <a16:creationId xmlns:a16="http://schemas.microsoft.com/office/drawing/2014/main" id="{1F9BEC5F-8684-B2AB-152A-89A71457837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50643" y="429398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84" name="Rectangle: Rounded Corners 456">
                      <a:extLst>
                        <a:ext uri="{FF2B5EF4-FFF2-40B4-BE49-F238E27FC236}">
                          <a16:creationId xmlns:a16="http://schemas.microsoft.com/office/drawing/2014/main" id="{1E1B27E0-6768-486B-9FF4-3F5A603D603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17085" y="439459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85" name="Rectangle: Rounded Corners 457">
                      <a:extLst>
                        <a:ext uri="{FF2B5EF4-FFF2-40B4-BE49-F238E27FC236}">
                          <a16:creationId xmlns:a16="http://schemas.microsoft.com/office/drawing/2014/main" id="{5630AAE1-B9E6-1FDE-4FEA-0E36B8428BB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94095" y="4145965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</p:grpSp>
              <p:grpSp>
                <p:nvGrpSpPr>
                  <p:cNvPr id="1254" name="Group 1253">
                    <a:extLst>
                      <a:ext uri="{FF2B5EF4-FFF2-40B4-BE49-F238E27FC236}">
                        <a16:creationId xmlns:a16="http://schemas.microsoft.com/office/drawing/2014/main" id="{B620C807-7728-AC05-7D5C-FDF5506C324C}"/>
                      </a:ext>
                    </a:extLst>
                  </p:cNvPr>
                  <p:cNvGrpSpPr/>
                  <p:nvPr/>
                </p:nvGrpSpPr>
                <p:grpSpPr>
                  <a:xfrm rot="4711444">
                    <a:off x="3501494" y="998460"/>
                    <a:ext cx="164790" cy="149511"/>
                    <a:chOff x="8770428" y="4145225"/>
                    <a:chExt cx="307647" cy="276804"/>
                  </a:xfrm>
                </p:grpSpPr>
                <p:sp>
                  <p:nvSpPr>
                    <p:cNvPr id="1255" name="Freeform: Shape 427">
                      <a:extLst>
                        <a:ext uri="{FF2B5EF4-FFF2-40B4-BE49-F238E27FC236}">
                          <a16:creationId xmlns:a16="http://schemas.microsoft.com/office/drawing/2014/main" id="{E501F48C-2FAC-1D2C-270C-E2923FFA37B9}"/>
                        </a:ext>
                      </a:extLst>
                    </p:cNvPr>
                    <p:cNvSpPr/>
                    <p:nvPr/>
                  </p:nvSpPr>
                  <p:spPr>
                    <a:xfrm rot="5813516">
                      <a:off x="8823930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56" name="Freeform: Shape 428">
                      <a:extLst>
                        <a:ext uri="{FF2B5EF4-FFF2-40B4-BE49-F238E27FC236}">
                          <a16:creationId xmlns:a16="http://schemas.microsoft.com/office/drawing/2014/main" id="{8F95680F-71FB-31FC-3900-D6E77B09DA0F}"/>
                        </a:ext>
                      </a:extLst>
                    </p:cNvPr>
                    <p:cNvSpPr/>
                    <p:nvPr/>
                  </p:nvSpPr>
                  <p:spPr>
                    <a:xfrm rot="6799576">
                      <a:off x="8855933" y="4253069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57" name="Freeform: Shape 429">
                      <a:extLst>
                        <a:ext uri="{FF2B5EF4-FFF2-40B4-BE49-F238E27FC236}">
                          <a16:creationId xmlns:a16="http://schemas.microsoft.com/office/drawing/2014/main" id="{021DA411-7989-EDAC-01E1-9FC666E0A34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50061" y="4188172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58" name="Freeform: Shape 430">
                      <a:extLst>
                        <a:ext uri="{FF2B5EF4-FFF2-40B4-BE49-F238E27FC236}">
                          <a16:creationId xmlns:a16="http://schemas.microsoft.com/office/drawing/2014/main" id="{66CF221F-A2E2-73A1-D153-455D8BD931E9}"/>
                        </a:ext>
                      </a:extLst>
                    </p:cNvPr>
                    <p:cNvSpPr/>
                    <p:nvPr/>
                  </p:nvSpPr>
                  <p:spPr>
                    <a:xfrm rot="15284729">
                      <a:off x="8851362" y="4146483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59" name="Freeform: Shape 431">
                      <a:extLst>
                        <a:ext uri="{FF2B5EF4-FFF2-40B4-BE49-F238E27FC236}">
                          <a16:creationId xmlns:a16="http://schemas.microsoft.com/office/drawing/2014/main" id="{C826FE5A-3F30-21A0-95DD-B807D8FD320F}"/>
                        </a:ext>
                      </a:extLst>
                    </p:cNvPr>
                    <p:cNvSpPr/>
                    <p:nvPr/>
                  </p:nvSpPr>
                  <p:spPr>
                    <a:xfrm rot="4030563">
                      <a:off x="8954046" y="4390351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60" name="Freeform: Shape 432">
                      <a:extLst>
                        <a:ext uri="{FF2B5EF4-FFF2-40B4-BE49-F238E27FC236}">
                          <a16:creationId xmlns:a16="http://schemas.microsoft.com/office/drawing/2014/main" id="{EFBE3F43-4681-044C-5F39-95701C65C94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78794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61" name="Freeform: Shape 433">
                      <a:extLst>
                        <a:ext uri="{FF2B5EF4-FFF2-40B4-BE49-F238E27FC236}">
                          <a16:creationId xmlns:a16="http://schemas.microsoft.com/office/drawing/2014/main" id="{3CD0856C-1AAC-25DE-EE4C-154C44D54159}"/>
                        </a:ext>
                      </a:extLst>
                    </p:cNvPr>
                    <p:cNvSpPr/>
                    <p:nvPr/>
                  </p:nvSpPr>
                  <p:spPr>
                    <a:xfrm rot="1648623">
                      <a:off x="8778238" y="4278378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62" name="Freeform: Shape 434">
                      <a:extLst>
                        <a:ext uri="{FF2B5EF4-FFF2-40B4-BE49-F238E27FC236}">
                          <a16:creationId xmlns:a16="http://schemas.microsoft.com/office/drawing/2014/main" id="{CBDE9267-E3A3-C54E-16AB-24DB7CA50125}"/>
                        </a:ext>
                      </a:extLst>
                    </p:cNvPr>
                    <p:cNvSpPr/>
                    <p:nvPr/>
                  </p:nvSpPr>
                  <p:spPr>
                    <a:xfrm rot="17414284">
                      <a:off x="8943702" y="414065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63" name="Freeform: Shape 435">
                      <a:extLst>
                        <a:ext uri="{FF2B5EF4-FFF2-40B4-BE49-F238E27FC236}">
                          <a16:creationId xmlns:a16="http://schemas.microsoft.com/office/drawing/2014/main" id="{C1453595-7E4E-0FE2-FF2E-858E37690452}"/>
                        </a:ext>
                      </a:extLst>
                    </p:cNvPr>
                    <p:cNvSpPr/>
                    <p:nvPr/>
                  </p:nvSpPr>
                  <p:spPr>
                    <a:xfrm rot="9043087">
                      <a:off x="8883430" y="4342996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64" name="Freeform: Shape 436">
                      <a:extLst>
                        <a:ext uri="{FF2B5EF4-FFF2-40B4-BE49-F238E27FC236}">
                          <a16:creationId xmlns:a16="http://schemas.microsoft.com/office/drawing/2014/main" id="{2C0D3075-46B7-6786-18F0-DC713CD751C5}"/>
                        </a:ext>
                      </a:extLst>
                    </p:cNvPr>
                    <p:cNvSpPr/>
                    <p:nvPr/>
                  </p:nvSpPr>
                  <p:spPr>
                    <a:xfrm rot="5209521">
                      <a:off x="8961351" y="4317762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65" name="Freeform: Shape 437">
                      <a:extLst>
                        <a:ext uri="{FF2B5EF4-FFF2-40B4-BE49-F238E27FC236}">
                          <a16:creationId xmlns:a16="http://schemas.microsoft.com/office/drawing/2014/main" id="{25DEEBC6-FD95-AF79-540B-1F969CC7592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18409" y="432953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66" name="Freeform: Shape 438">
                      <a:extLst>
                        <a:ext uri="{FF2B5EF4-FFF2-40B4-BE49-F238E27FC236}">
                          <a16:creationId xmlns:a16="http://schemas.microsoft.com/office/drawing/2014/main" id="{FD4D646E-E409-DE0B-5C59-341513C3C93D}"/>
                        </a:ext>
                      </a:extLst>
                    </p:cNvPr>
                    <p:cNvSpPr/>
                    <p:nvPr/>
                  </p:nvSpPr>
                  <p:spPr>
                    <a:xfrm rot="18952815">
                      <a:off x="8990335" y="4236377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67" name="Rectangle: Rounded Corners 439">
                      <a:extLst>
                        <a:ext uri="{FF2B5EF4-FFF2-40B4-BE49-F238E27FC236}">
                          <a16:creationId xmlns:a16="http://schemas.microsoft.com/office/drawing/2014/main" id="{7F17B492-8FD5-4469-345B-C6C40635181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86901" y="440374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68" name="Rectangle: Rounded Corners 440">
                      <a:extLst>
                        <a:ext uri="{FF2B5EF4-FFF2-40B4-BE49-F238E27FC236}">
                          <a16:creationId xmlns:a16="http://schemas.microsoft.com/office/drawing/2014/main" id="{A793A17F-29B8-22D7-B68A-A47C5878196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770428" y="419613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69" name="Rectangle: Rounded Corners 441">
                      <a:extLst>
                        <a:ext uri="{FF2B5EF4-FFF2-40B4-BE49-F238E27FC236}">
                          <a16:creationId xmlns:a16="http://schemas.microsoft.com/office/drawing/2014/main" id="{58B9A0C4-F0F8-2DD9-8708-97E817C18F6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24873" y="4240076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70" name="Rectangle: Rounded Corners 442">
                      <a:extLst>
                        <a:ext uri="{FF2B5EF4-FFF2-40B4-BE49-F238E27FC236}">
                          <a16:creationId xmlns:a16="http://schemas.microsoft.com/office/drawing/2014/main" id="{B8C3F205-9696-0404-18A4-BFD9C58BD3D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50643" y="429398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</p:grpSp>
            </p:grpSp>
            <p:sp>
              <p:nvSpPr>
                <p:cNvPr id="1249" name="Freeform: Shape 426">
                  <a:extLst>
                    <a:ext uri="{FF2B5EF4-FFF2-40B4-BE49-F238E27FC236}">
                      <a16:creationId xmlns:a16="http://schemas.microsoft.com/office/drawing/2014/main" id="{20A044B1-1F43-5077-C4A9-113E4DC26BDF}"/>
                    </a:ext>
                  </a:extLst>
                </p:cNvPr>
                <p:cNvSpPr/>
                <p:nvPr/>
              </p:nvSpPr>
              <p:spPr>
                <a:xfrm rot="18595250">
                  <a:off x="3464962" y="993886"/>
                  <a:ext cx="195428" cy="172893"/>
                </a:xfrm>
                <a:custGeom>
                  <a:avLst/>
                  <a:gdLst>
                    <a:gd name="connsiteX0" fmla="*/ 36195 w 254551"/>
                    <a:gd name="connsiteY0" fmla="*/ 30480 h 227192"/>
                    <a:gd name="connsiteX1" fmla="*/ 36195 w 254551"/>
                    <a:gd name="connsiteY1" fmla="*/ 30480 h 227192"/>
                    <a:gd name="connsiteX2" fmla="*/ 20955 w 254551"/>
                    <a:gd name="connsiteY2" fmla="*/ 20955 h 227192"/>
                    <a:gd name="connsiteX3" fmla="*/ 17145 w 254551"/>
                    <a:gd name="connsiteY3" fmla="*/ 9525 h 227192"/>
                    <a:gd name="connsiteX4" fmla="*/ 5715 w 254551"/>
                    <a:gd name="connsiteY4" fmla="*/ 15240 h 227192"/>
                    <a:gd name="connsiteX5" fmla="*/ 1905 w 254551"/>
                    <a:gd name="connsiteY5" fmla="*/ 20955 h 227192"/>
                    <a:gd name="connsiteX6" fmla="*/ 0 w 254551"/>
                    <a:gd name="connsiteY6" fmla="*/ 26670 h 227192"/>
                    <a:gd name="connsiteX7" fmla="*/ 1905 w 254551"/>
                    <a:gd name="connsiteY7" fmla="*/ 47625 h 227192"/>
                    <a:gd name="connsiteX8" fmla="*/ 9525 w 254551"/>
                    <a:gd name="connsiteY8" fmla="*/ 59055 h 227192"/>
                    <a:gd name="connsiteX9" fmla="*/ 13335 w 254551"/>
                    <a:gd name="connsiteY9" fmla="*/ 70485 h 227192"/>
                    <a:gd name="connsiteX10" fmla="*/ 15240 w 254551"/>
                    <a:gd name="connsiteY10" fmla="*/ 99060 h 227192"/>
                    <a:gd name="connsiteX11" fmla="*/ 17145 w 254551"/>
                    <a:gd name="connsiteY11" fmla="*/ 104775 h 227192"/>
                    <a:gd name="connsiteX12" fmla="*/ 22860 w 254551"/>
                    <a:gd name="connsiteY12" fmla="*/ 108585 h 227192"/>
                    <a:gd name="connsiteX13" fmla="*/ 26670 w 254551"/>
                    <a:gd name="connsiteY13" fmla="*/ 114300 h 227192"/>
                    <a:gd name="connsiteX14" fmla="*/ 32385 w 254551"/>
                    <a:gd name="connsiteY14" fmla="*/ 118110 h 227192"/>
                    <a:gd name="connsiteX15" fmla="*/ 41910 w 254551"/>
                    <a:gd name="connsiteY15" fmla="*/ 131445 h 227192"/>
                    <a:gd name="connsiteX16" fmla="*/ 59055 w 254551"/>
                    <a:gd name="connsiteY16" fmla="*/ 133350 h 227192"/>
                    <a:gd name="connsiteX17" fmla="*/ 64770 w 254551"/>
                    <a:gd name="connsiteY17" fmla="*/ 180975 h 227192"/>
                    <a:gd name="connsiteX18" fmla="*/ 74295 w 254551"/>
                    <a:gd name="connsiteY18" fmla="*/ 188595 h 227192"/>
                    <a:gd name="connsiteX19" fmla="*/ 80010 w 254551"/>
                    <a:gd name="connsiteY19" fmla="*/ 192405 h 227192"/>
                    <a:gd name="connsiteX20" fmla="*/ 87630 w 254551"/>
                    <a:gd name="connsiteY20" fmla="*/ 201930 h 227192"/>
                    <a:gd name="connsiteX21" fmla="*/ 95250 w 254551"/>
                    <a:gd name="connsiteY21" fmla="*/ 213360 h 227192"/>
                    <a:gd name="connsiteX22" fmla="*/ 99060 w 254551"/>
                    <a:gd name="connsiteY22" fmla="*/ 219075 h 227192"/>
                    <a:gd name="connsiteX23" fmla="*/ 104775 w 254551"/>
                    <a:gd name="connsiteY23" fmla="*/ 220980 h 227192"/>
                    <a:gd name="connsiteX24" fmla="*/ 108585 w 254551"/>
                    <a:gd name="connsiteY24" fmla="*/ 226695 h 227192"/>
                    <a:gd name="connsiteX25" fmla="*/ 133350 w 254551"/>
                    <a:gd name="connsiteY25" fmla="*/ 222885 h 227192"/>
                    <a:gd name="connsiteX26" fmla="*/ 144780 w 254551"/>
                    <a:gd name="connsiteY26" fmla="*/ 211455 h 227192"/>
                    <a:gd name="connsiteX27" fmla="*/ 148590 w 254551"/>
                    <a:gd name="connsiteY27" fmla="*/ 205740 h 227192"/>
                    <a:gd name="connsiteX28" fmla="*/ 160020 w 254551"/>
                    <a:gd name="connsiteY28" fmla="*/ 201930 h 227192"/>
                    <a:gd name="connsiteX29" fmla="*/ 161925 w 254551"/>
                    <a:gd name="connsiteY29" fmla="*/ 196215 h 227192"/>
                    <a:gd name="connsiteX30" fmla="*/ 163830 w 254551"/>
                    <a:gd name="connsiteY30" fmla="*/ 184785 h 227192"/>
                    <a:gd name="connsiteX31" fmla="*/ 175260 w 254551"/>
                    <a:gd name="connsiteY31" fmla="*/ 180975 h 227192"/>
                    <a:gd name="connsiteX32" fmla="*/ 198120 w 254551"/>
                    <a:gd name="connsiteY32" fmla="*/ 182880 h 227192"/>
                    <a:gd name="connsiteX33" fmla="*/ 203835 w 254551"/>
                    <a:gd name="connsiteY33" fmla="*/ 186690 h 227192"/>
                    <a:gd name="connsiteX34" fmla="*/ 209550 w 254551"/>
                    <a:gd name="connsiteY34" fmla="*/ 188595 h 227192"/>
                    <a:gd name="connsiteX35" fmla="*/ 220980 w 254551"/>
                    <a:gd name="connsiteY35" fmla="*/ 186690 h 227192"/>
                    <a:gd name="connsiteX36" fmla="*/ 226695 w 254551"/>
                    <a:gd name="connsiteY36" fmla="*/ 182880 h 227192"/>
                    <a:gd name="connsiteX37" fmla="*/ 234315 w 254551"/>
                    <a:gd name="connsiteY37" fmla="*/ 165735 h 227192"/>
                    <a:gd name="connsiteX38" fmla="*/ 238125 w 254551"/>
                    <a:gd name="connsiteY38" fmla="*/ 154305 h 227192"/>
                    <a:gd name="connsiteX39" fmla="*/ 240030 w 254551"/>
                    <a:gd name="connsiteY39" fmla="*/ 148590 h 227192"/>
                    <a:gd name="connsiteX40" fmla="*/ 245745 w 254551"/>
                    <a:gd name="connsiteY40" fmla="*/ 120015 h 227192"/>
                    <a:gd name="connsiteX41" fmla="*/ 247650 w 254551"/>
                    <a:gd name="connsiteY41" fmla="*/ 114300 h 227192"/>
                    <a:gd name="connsiteX42" fmla="*/ 249555 w 254551"/>
                    <a:gd name="connsiteY42" fmla="*/ 108585 h 227192"/>
                    <a:gd name="connsiteX43" fmla="*/ 241935 w 254551"/>
                    <a:gd name="connsiteY43" fmla="*/ 89535 h 227192"/>
                    <a:gd name="connsiteX44" fmla="*/ 236220 w 254551"/>
                    <a:gd name="connsiteY44" fmla="*/ 85725 h 227192"/>
                    <a:gd name="connsiteX45" fmla="*/ 238125 w 254551"/>
                    <a:gd name="connsiteY45" fmla="*/ 80010 h 227192"/>
                    <a:gd name="connsiteX46" fmla="*/ 243840 w 254551"/>
                    <a:gd name="connsiteY46" fmla="*/ 78105 h 227192"/>
                    <a:gd name="connsiteX47" fmla="*/ 249555 w 254551"/>
                    <a:gd name="connsiteY47" fmla="*/ 74295 h 227192"/>
                    <a:gd name="connsiteX48" fmla="*/ 251460 w 254551"/>
                    <a:gd name="connsiteY48" fmla="*/ 24765 h 227192"/>
                    <a:gd name="connsiteX49" fmla="*/ 249555 w 254551"/>
                    <a:gd name="connsiteY49" fmla="*/ 19050 h 227192"/>
                    <a:gd name="connsiteX50" fmla="*/ 243840 w 254551"/>
                    <a:gd name="connsiteY50" fmla="*/ 15240 h 227192"/>
                    <a:gd name="connsiteX51" fmla="*/ 234315 w 254551"/>
                    <a:gd name="connsiteY51" fmla="*/ 3810 h 227192"/>
                    <a:gd name="connsiteX52" fmla="*/ 228600 w 254551"/>
                    <a:gd name="connsiteY52" fmla="*/ 0 h 227192"/>
                    <a:gd name="connsiteX53" fmla="*/ 217170 w 254551"/>
                    <a:gd name="connsiteY53" fmla="*/ 1905 h 227192"/>
                    <a:gd name="connsiteX54" fmla="*/ 213360 w 254551"/>
                    <a:gd name="connsiteY54" fmla="*/ 7620 h 227192"/>
                    <a:gd name="connsiteX55" fmla="*/ 207645 w 254551"/>
                    <a:gd name="connsiteY55" fmla="*/ 9525 h 227192"/>
                    <a:gd name="connsiteX56" fmla="*/ 203835 w 254551"/>
                    <a:gd name="connsiteY56" fmla="*/ 20955 h 227192"/>
                    <a:gd name="connsiteX57" fmla="*/ 201930 w 254551"/>
                    <a:gd name="connsiteY57" fmla="*/ 26670 h 227192"/>
                    <a:gd name="connsiteX58" fmla="*/ 200025 w 254551"/>
                    <a:gd name="connsiteY58" fmla="*/ 38100 h 227192"/>
                    <a:gd name="connsiteX59" fmla="*/ 205740 w 254551"/>
                    <a:gd name="connsiteY59" fmla="*/ 72390 h 227192"/>
                    <a:gd name="connsiteX60" fmla="*/ 213360 w 254551"/>
                    <a:gd name="connsiteY60" fmla="*/ 83820 h 227192"/>
                    <a:gd name="connsiteX61" fmla="*/ 217170 w 254551"/>
                    <a:gd name="connsiteY61" fmla="*/ 89535 h 227192"/>
                    <a:gd name="connsiteX62" fmla="*/ 215265 w 254551"/>
                    <a:gd name="connsiteY62" fmla="*/ 97155 h 227192"/>
                    <a:gd name="connsiteX63" fmla="*/ 203835 w 254551"/>
                    <a:gd name="connsiteY63" fmla="*/ 104775 h 227192"/>
                    <a:gd name="connsiteX64" fmla="*/ 198120 w 254551"/>
                    <a:gd name="connsiteY64" fmla="*/ 116205 h 227192"/>
                    <a:gd name="connsiteX65" fmla="*/ 196215 w 254551"/>
                    <a:gd name="connsiteY65" fmla="*/ 121920 h 227192"/>
                    <a:gd name="connsiteX66" fmla="*/ 190500 w 254551"/>
                    <a:gd name="connsiteY66" fmla="*/ 133350 h 227192"/>
                    <a:gd name="connsiteX67" fmla="*/ 182880 w 254551"/>
                    <a:gd name="connsiteY67" fmla="*/ 154305 h 227192"/>
                    <a:gd name="connsiteX68" fmla="*/ 175260 w 254551"/>
                    <a:gd name="connsiteY68" fmla="*/ 156210 h 227192"/>
                    <a:gd name="connsiteX69" fmla="*/ 169545 w 254551"/>
                    <a:gd name="connsiteY69" fmla="*/ 150495 h 227192"/>
                    <a:gd name="connsiteX70" fmla="*/ 167640 w 254551"/>
                    <a:gd name="connsiteY70" fmla="*/ 144780 h 227192"/>
                    <a:gd name="connsiteX71" fmla="*/ 156210 w 254551"/>
                    <a:gd name="connsiteY71" fmla="*/ 140970 h 227192"/>
                    <a:gd name="connsiteX72" fmla="*/ 150495 w 254551"/>
                    <a:gd name="connsiteY72" fmla="*/ 139065 h 227192"/>
                    <a:gd name="connsiteX73" fmla="*/ 139065 w 254551"/>
                    <a:gd name="connsiteY73" fmla="*/ 135255 h 227192"/>
                    <a:gd name="connsiteX74" fmla="*/ 133350 w 254551"/>
                    <a:gd name="connsiteY74" fmla="*/ 133350 h 227192"/>
                    <a:gd name="connsiteX75" fmla="*/ 121920 w 254551"/>
                    <a:gd name="connsiteY75" fmla="*/ 127635 h 227192"/>
                    <a:gd name="connsiteX76" fmla="*/ 89535 w 254551"/>
                    <a:gd name="connsiteY76" fmla="*/ 125730 h 227192"/>
                    <a:gd name="connsiteX77" fmla="*/ 78105 w 254551"/>
                    <a:gd name="connsiteY77" fmla="*/ 116205 h 227192"/>
                    <a:gd name="connsiteX78" fmla="*/ 76200 w 254551"/>
                    <a:gd name="connsiteY78" fmla="*/ 110490 h 227192"/>
                    <a:gd name="connsiteX79" fmla="*/ 72390 w 254551"/>
                    <a:gd name="connsiteY79" fmla="*/ 104775 h 227192"/>
                    <a:gd name="connsiteX80" fmla="*/ 68580 w 254551"/>
                    <a:gd name="connsiteY80" fmla="*/ 89535 h 227192"/>
                    <a:gd name="connsiteX81" fmla="*/ 62865 w 254551"/>
                    <a:gd name="connsiteY81" fmla="*/ 85725 h 227192"/>
                    <a:gd name="connsiteX82" fmla="*/ 53340 w 254551"/>
                    <a:gd name="connsiteY82" fmla="*/ 83820 h 227192"/>
                    <a:gd name="connsiteX83" fmla="*/ 47625 w 254551"/>
                    <a:gd name="connsiteY83" fmla="*/ 80010 h 227192"/>
                    <a:gd name="connsiteX84" fmla="*/ 41910 w 254551"/>
                    <a:gd name="connsiteY84" fmla="*/ 78105 h 227192"/>
                    <a:gd name="connsiteX85" fmla="*/ 34290 w 254551"/>
                    <a:gd name="connsiteY85" fmla="*/ 64770 h 227192"/>
                    <a:gd name="connsiteX86" fmla="*/ 30480 w 254551"/>
                    <a:gd name="connsiteY86" fmla="*/ 53340 h 227192"/>
                    <a:gd name="connsiteX87" fmla="*/ 34290 w 254551"/>
                    <a:gd name="connsiteY87" fmla="*/ 47625 h 227192"/>
                    <a:gd name="connsiteX88" fmla="*/ 32385 w 254551"/>
                    <a:gd name="connsiteY88" fmla="*/ 28575 h 227192"/>
                    <a:gd name="connsiteX89" fmla="*/ 30480 w 254551"/>
                    <a:gd name="connsiteY89" fmla="*/ 22860 h 227192"/>
                    <a:gd name="connsiteX90" fmla="*/ 36195 w 254551"/>
                    <a:gd name="connsiteY90" fmla="*/ 30480 h 227192"/>
                    <a:gd name="connsiteX0" fmla="*/ 36195 w 254551"/>
                    <a:gd name="connsiteY0" fmla="*/ 30480 h 227192"/>
                    <a:gd name="connsiteX1" fmla="*/ 36195 w 254551"/>
                    <a:gd name="connsiteY1" fmla="*/ 30480 h 227192"/>
                    <a:gd name="connsiteX2" fmla="*/ 20955 w 254551"/>
                    <a:gd name="connsiteY2" fmla="*/ 20955 h 227192"/>
                    <a:gd name="connsiteX3" fmla="*/ 17145 w 254551"/>
                    <a:gd name="connsiteY3" fmla="*/ 9525 h 227192"/>
                    <a:gd name="connsiteX4" fmla="*/ 1905 w 254551"/>
                    <a:gd name="connsiteY4" fmla="*/ 20955 h 227192"/>
                    <a:gd name="connsiteX5" fmla="*/ 0 w 254551"/>
                    <a:gd name="connsiteY5" fmla="*/ 26670 h 227192"/>
                    <a:gd name="connsiteX6" fmla="*/ 1905 w 254551"/>
                    <a:gd name="connsiteY6" fmla="*/ 47625 h 227192"/>
                    <a:gd name="connsiteX7" fmla="*/ 9525 w 254551"/>
                    <a:gd name="connsiteY7" fmla="*/ 59055 h 227192"/>
                    <a:gd name="connsiteX8" fmla="*/ 13335 w 254551"/>
                    <a:gd name="connsiteY8" fmla="*/ 70485 h 227192"/>
                    <a:gd name="connsiteX9" fmla="*/ 15240 w 254551"/>
                    <a:gd name="connsiteY9" fmla="*/ 99060 h 227192"/>
                    <a:gd name="connsiteX10" fmla="*/ 17145 w 254551"/>
                    <a:gd name="connsiteY10" fmla="*/ 104775 h 227192"/>
                    <a:gd name="connsiteX11" fmla="*/ 22860 w 254551"/>
                    <a:gd name="connsiteY11" fmla="*/ 108585 h 227192"/>
                    <a:gd name="connsiteX12" fmla="*/ 26670 w 254551"/>
                    <a:gd name="connsiteY12" fmla="*/ 114300 h 227192"/>
                    <a:gd name="connsiteX13" fmla="*/ 32385 w 254551"/>
                    <a:gd name="connsiteY13" fmla="*/ 118110 h 227192"/>
                    <a:gd name="connsiteX14" fmla="*/ 41910 w 254551"/>
                    <a:gd name="connsiteY14" fmla="*/ 131445 h 227192"/>
                    <a:gd name="connsiteX15" fmla="*/ 59055 w 254551"/>
                    <a:gd name="connsiteY15" fmla="*/ 133350 h 227192"/>
                    <a:gd name="connsiteX16" fmla="*/ 64770 w 254551"/>
                    <a:gd name="connsiteY16" fmla="*/ 180975 h 227192"/>
                    <a:gd name="connsiteX17" fmla="*/ 74295 w 254551"/>
                    <a:gd name="connsiteY17" fmla="*/ 188595 h 227192"/>
                    <a:gd name="connsiteX18" fmla="*/ 80010 w 254551"/>
                    <a:gd name="connsiteY18" fmla="*/ 192405 h 227192"/>
                    <a:gd name="connsiteX19" fmla="*/ 87630 w 254551"/>
                    <a:gd name="connsiteY19" fmla="*/ 201930 h 227192"/>
                    <a:gd name="connsiteX20" fmla="*/ 95250 w 254551"/>
                    <a:gd name="connsiteY20" fmla="*/ 213360 h 227192"/>
                    <a:gd name="connsiteX21" fmla="*/ 99060 w 254551"/>
                    <a:gd name="connsiteY21" fmla="*/ 219075 h 227192"/>
                    <a:gd name="connsiteX22" fmla="*/ 104775 w 254551"/>
                    <a:gd name="connsiteY22" fmla="*/ 220980 h 227192"/>
                    <a:gd name="connsiteX23" fmla="*/ 108585 w 254551"/>
                    <a:gd name="connsiteY23" fmla="*/ 226695 h 227192"/>
                    <a:gd name="connsiteX24" fmla="*/ 133350 w 254551"/>
                    <a:gd name="connsiteY24" fmla="*/ 222885 h 227192"/>
                    <a:gd name="connsiteX25" fmla="*/ 144780 w 254551"/>
                    <a:gd name="connsiteY25" fmla="*/ 211455 h 227192"/>
                    <a:gd name="connsiteX26" fmla="*/ 148590 w 254551"/>
                    <a:gd name="connsiteY26" fmla="*/ 205740 h 227192"/>
                    <a:gd name="connsiteX27" fmla="*/ 160020 w 254551"/>
                    <a:gd name="connsiteY27" fmla="*/ 201930 h 227192"/>
                    <a:gd name="connsiteX28" fmla="*/ 161925 w 254551"/>
                    <a:gd name="connsiteY28" fmla="*/ 196215 h 227192"/>
                    <a:gd name="connsiteX29" fmla="*/ 163830 w 254551"/>
                    <a:gd name="connsiteY29" fmla="*/ 184785 h 227192"/>
                    <a:gd name="connsiteX30" fmla="*/ 175260 w 254551"/>
                    <a:gd name="connsiteY30" fmla="*/ 180975 h 227192"/>
                    <a:gd name="connsiteX31" fmla="*/ 198120 w 254551"/>
                    <a:gd name="connsiteY31" fmla="*/ 182880 h 227192"/>
                    <a:gd name="connsiteX32" fmla="*/ 203835 w 254551"/>
                    <a:gd name="connsiteY32" fmla="*/ 186690 h 227192"/>
                    <a:gd name="connsiteX33" fmla="*/ 209550 w 254551"/>
                    <a:gd name="connsiteY33" fmla="*/ 188595 h 227192"/>
                    <a:gd name="connsiteX34" fmla="*/ 220980 w 254551"/>
                    <a:gd name="connsiteY34" fmla="*/ 186690 h 227192"/>
                    <a:gd name="connsiteX35" fmla="*/ 226695 w 254551"/>
                    <a:gd name="connsiteY35" fmla="*/ 182880 h 227192"/>
                    <a:gd name="connsiteX36" fmla="*/ 234315 w 254551"/>
                    <a:gd name="connsiteY36" fmla="*/ 165735 h 227192"/>
                    <a:gd name="connsiteX37" fmla="*/ 238125 w 254551"/>
                    <a:gd name="connsiteY37" fmla="*/ 154305 h 227192"/>
                    <a:gd name="connsiteX38" fmla="*/ 240030 w 254551"/>
                    <a:gd name="connsiteY38" fmla="*/ 148590 h 227192"/>
                    <a:gd name="connsiteX39" fmla="*/ 245745 w 254551"/>
                    <a:gd name="connsiteY39" fmla="*/ 120015 h 227192"/>
                    <a:gd name="connsiteX40" fmla="*/ 247650 w 254551"/>
                    <a:gd name="connsiteY40" fmla="*/ 114300 h 227192"/>
                    <a:gd name="connsiteX41" fmla="*/ 249555 w 254551"/>
                    <a:gd name="connsiteY41" fmla="*/ 108585 h 227192"/>
                    <a:gd name="connsiteX42" fmla="*/ 241935 w 254551"/>
                    <a:gd name="connsiteY42" fmla="*/ 89535 h 227192"/>
                    <a:gd name="connsiteX43" fmla="*/ 236220 w 254551"/>
                    <a:gd name="connsiteY43" fmla="*/ 85725 h 227192"/>
                    <a:gd name="connsiteX44" fmla="*/ 238125 w 254551"/>
                    <a:gd name="connsiteY44" fmla="*/ 80010 h 227192"/>
                    <a:gd name="connsiteX45" fmla="*/ 243840 w 254551"/>
                    <a:gd name="connsiteY45" fmla="*/ 78105 h 227192"/>
                    <a:gd name="connsiteX46" fmla="*/ 249555 w 254551"/>
                    <a:gd name="connsiteY46" fmla="*/ 74295 h 227192"/>
                    <a:gd name="connsiteX47" fmla="*/ 251460 w 254551"/>
                    <a:gd name="connsiteY47" fmla="*/ 24765 h 227192"/>
                    <a:gd name="connsiteX48" fmla="*/ 249555 w 254551"/>
                    <a:gd name="connsiteY48" fmla="*/ 19050 h 227192"/>
                    <a:gd name="connsiteX49" fmla="*/ 243840 w 254551"/>
                    <a:gd name="connsiteY49" fmla="*/ 15240 h 227192"/>
                    <a:gd name="connsiteX50" fmla="*/ 234315 w 254551"/>
                    <a:gd name="connsiteY50" fmla="*/ 3810 h 227192"/>
                    <a:gd name="connsiteX51" fmla="*/ 228600 w 254551"/>
                    <a:gd name="connsiteY51" fmla="*/ 0 h 227192"/>
                    <a:gd name="connsiteX52" fmla="*/ 217170 w 254551"/>
                    <a:gd name="connsiteY52" fmla="*/ 1905 h 227192"/>
                    <a:gd name="connsiteX53" fmla="*/ 213360 w 254551"/>
                    <a:gd name="connsiteY53" fmla="*/ 7620 h 227192"/>
                    <a:gd name="connsiteX54" fmla="*/ 207645 w 254551"/>
                    <a:gd name="connsiteY54" fmla="*/ 9525 h 227192"/>
                    <a:gd name="connsiteX55" fmla="*/ 203835 w 254551"/>
                    <a:gd name="connsiteY55" fmla="*/ 20955 h 227192"/>
                    <a:gd name="connsiteX56" fmla="*/ 201930 w 254551"/>
                    <a:gd name="connsiteY56" fmla="*/ 26670 h 227192"/>
                    <a:gd name="connsiteX57" fmla="*/ 200025 w 254551"/>
                    <a:gd name="connsiteY57" fmla="*/ 38100 h 227192"/>
                    <a:gd name="connsiteX58" fmla="*/ 205740 w 254551"/>
                    <a:gd name="connsiteY58" fmla="*/ 72390 h 227192"/>
                    <a:gd name="connsiteX59" fmla="*/ 213360 w 254551"/>
                    <a:gd name="connsiteY59" fmla="*/ 83820 h 227192"/>
                    <a:gd name="connsiteX60" fmla="*/ 217170 w 254551"/>
                    <a:gd name="connsiteY60" fmla="*/ 89535 h 227192"/>
                    <a:gd name="connsiteX61" fmla="*/ 215265 w 254551"/>
                    <a:gd name="connsiteY61" fmla="*/ 97155 h 227192"/>
                    <a:gd name="connsiteX62" fmla="*/ 203835 w 254551"/>
                    <a:gd name="connsiteY62" fmla="*/ 104775 h 227192"/>
                    <a:gd name="connsiteX63" fmla="*/ 198120 w 254551"/>
                    <a:gd name="connsiteY63" fmla="*/ 116205 h 227192"/>
                    <a:gd name="connsiteX64" fmla="*/ 196215 w 254551"/>
                    <a:gd name="connsiteY64" fmla="*/ 121920 h 227192"/>
                    <a:gd name="connsiteX65" fmla="*/ 190500 w 254551"/>
                    <a:gd name="connsiteY65" fmla="*/ 133350 h 227192"/>
                    <a:gd name="connsiteX66" fmla="*/ 182880 w 254551"/>
                    <a:gd name="connsiteY66" fmla="*/ 154305 h 227192"/>
                    <a:gd name="connsiteX67" fmla="*/ 175260 w 254551"/>
                    <a:gd name="connsiteY67" fmla="*/ 156210 h 227192"/>
                    <a:gd name="connsiteX68" fmla="*/ 169545 w 254551"/>
                    <a:gd name="connsiteY68" fmla="*/ 150495 h 227192"/>
                    <a:gd name="connsiteX69" fmla="*/ 167640 w 254551"/>
                    <a:gd name="connsiteY69" fmla="*/ 144780 h 227192"/>
                    <a:gd name="connsiteX70" fmla="*/ 156210 w 254551"/>
                    <a:gd name="connsiteY70" fmla="*/ 140970 h 227192"/>
                    <a:gd name="connsiteX71" fmla="*/ 150495 w 254551"/>
                    <a:gd name="connsiteY71" fmla="*/ 139065 h 227192"/>
                    <a:gd name="connsiteX72" fmla="*/ 139065 w 254551"/>
                    <a:gd name="connsiteY72" fmla="*/ 135255 h 227192"/>
                    <a:gd name="connsiteX73" fmla="*/ 133350 w 254551"/>
                    <a:gd name="connsiteY73" fmla="*/ 133350 h 227192"/>
                    <a:gd name="connsiteX74" fmla="*/ 121920 w 254551"/>
                    <a:gd name="connsiteY74" fmla="*/ 127635 h 227192"/>
                    <a:gd name="connsiteX75" fmla="*/ 89535 w 254551"/>
                    <a:gd name="connsiteY75" fmla="*/ 125730 h 227192"/>
                    <a:gd name="connsiteX76" fmla="*/ 78105 w 254551"/>
                    <a:gd name="connsiteY76" fmla="*/ 116205 h 227192"/>
                    <a:gd name="connsiteX77" fmla="*/ 76200 w 254551"/>
                    <a:gd name="connsiteY77" fmla="*/ 110490 h 227192"/>
                    <a:gd name="connsiteX78" fmla="*/ 72390 w 254551"/>
                    <a:gd name="connsiteY78" fmla="*/ 104775 h 227192"/>
                    <a:gd name="connsiteX79" fmla="*/ 68580 w 254551"/>
                    <a:gd name="connsiteY79" fmla="*/ 89535 h 227192"/>
                    <a:gd name="connsiteX80" fmla="*/ 62865 w 254551"/>
                    <a:gd name="connsiteY80" fmla="*/ 85725 h 227192"/>
                    <a:gd name="connsiteX81" fmla="*/ 53340 w 254551"/>
                    <a:gd name="connsiteY81" fmla="*/ 83820 h 227192"/>
                    <a:gd name="connsiteX82" fmla="*/ 47625 w 254551"/>
                    <a:gd name="connsiteY82" fmla="*/ 80010 h 227192"/>
                    <a:gd name="connsiteX83" fmla="*/ 41910 w 254551"/>
                    <a:gd name="connsiteY83" fmla="*/ 78105 h 227192"/>
                    <a:gd name="connsiteX84" fmla="*/ 34290 w 254551"/>
                    <a:gd name="connsiteY84" fmla="*/ 64770 h 227192"/>
                    <a:gd name="connsiteX85" fmla="*/ 30480 w 254551"/>
                    <a:gd name="connsiteY85" fmla="*/ 53340 h 227192"/>
                    <a:gd name="connsiteX86" fmla="*/ 34290 w 254551"/>
                    <a:gd name="connsiteY86" fmla="*/ 47625 h 227192"/>
                    <a:gd name="connsiteX87" fmla="*/ 32385 w 254551"/>
                    <a:gd name="connsiteY87" fmla="*/ 28575 h 227192"/>
                    <a:gd name="connsiteX88" fmla="*/ 30480 w 254551"/>
                    <a:gd name="connsiteY88" fmla="*/ 22860 h 227192"/>
                    <a:gd name="connsiteX89" fmla="*/ 36195 w 254551"/>
                    <a:gd name="connsiteY89" fmla="*/ 30480 h 227192"/>
                    <a:gd name="connsiteX0" fmla="*/ 36195 w 254551"/>
                    <a:gd name="connsiteY0" fmla="*/ 30480 h 227192"/>
                    <a:gd name="connsiteX1" fmla="*/ 36195 w 254551"/>
                    <a:gd name="connsiteY1" fmla="*/ 30480 h 227192"/>
                    <a:gd name="connsiteX2" fmla="*/ 20955 w 254551"/>
                    <a:gd name="connsiteY2" fmla="*/ 20955 h 227192"/>
                    <a:gd name="connsiteX3" fmla="*/ 17145 w 254551"/>
                    <a:gd name="connsiteY3" fmla="*/ 9525 h 227192"/>
                    <a:gd name="connsiteX4" fmla="*/ 1905 w 254551"/>
                    <a:gd name="connsiteY4" fmla="*/ 20955 h 227192"/>
                    <a:gd name="connsiteX5" fmla="*/ 0 w 254551"/>
                    <a:gd name="connsiteY5" fmla="*/ 26670 h 227192"/>
                    <a:gd name="connsiteX6" fmla="*/ 1905 w 254551"/>
                    <a:gd name="connsiteY6" fmla="*/ 47625 h 227192"/>
                    <a:gd name="connsiteX7" fmla="*/ 9525 w 254551"/>
                    <a:gd name="connsiteY7" fmla="*/ 59055 h 227192"/>
                    <a:gd name="connsiteX8" fmla="*/ 13335 w 254551"/>
                    <a:gd name="connsiteY8" fmla="*/ 70485 h 227192"/>
                    <a:gd name="connsiteX9" fmla="*/ 15240 w 254551"/>
                    <a:gd name="connsiteY9" fmla="*/ 99060 h 227192"/>
                    <a:gd name="connsiteX10" fmla="*/ 17145 w 254551"/>
                    <a:gd name="connsiteY10" fmla="*/ 104775 h 227192"/>
                    <a:gd name="connsiteX11" fmla="*/ 22860 w 254551"/>
                    <a:gd name="connsiteY11" fmla="*/ 108585 h 227192"/>
                    <a:gd name="connsiteX12" fmla="*/ 26670 w 254551"/>
                    <a:gd name="connsiteY12" fmla="*/ 114300 h 227192"/>
                    <a:gd name="connsiteX13" fmla="*/ 32385 w 254551"/>
                    <a:gd name="connsiteY13" fmla="*/ 118110 h 227192"/>
                    <a:gd name="connsiteX14" fmla="*/ 41910 w 254551"/>
                    <a:gd name="connsiteY14" fmla="*/ 131445 h 227192"/>
                    <a:gd name="connsiteX15" fmla="*/ 59055 w 254551"/>
                    <a:gd name="connsiteY15" fmla="*/ 133350 h 227192"/>
                    <a:gd name="connsiteX16" fmla="*/ 64770 w 254551"/>
                    <a:gd name="connsiteY16" fmla="*/ 180975 h 227192"/>
                    <a:gd name="connsiteX17" fmla="*/ 74295 w 254551"/>
                    <a:gd name="connsiteY17" fmla="*/ 188595 h 227192"/>
                    <a:gd name="connsiteX18" fmla="*/ 80010 w 254551"/>
                    <a:gd name="connsiteY18" fmla="*/ 192405 h 227192"/>
                    <a:gd name="connsiteX19" fmla="*/ 87630 w 254551"/>
                    <a:gd name="connsiteY19" fmla="*/ 201930 h 227192"/>
                    <a:gd name="connsiteX20" fmla="*/ 95250 w 254551"/>
                    <a:gd name="connsiteY20" fmla="*/ 213360 h 227192"/>
                    <a:gd name="connsiteX21" fmla="*/ 99060 w 254551"/>
                    <a:gd name="connsiteY21" fmla="*/ 219075 h 227192"/>
                    <a:gd name="connsiteX22" fmla="*/ 104775 w 254551"/>
                    <a:gd name="connsiteY22" fmla="*/ 220980 h 227192"/>
                    <a:gd name="connsiteX23" fmla="*/ 108585 w 254551"/>
                    <a:gd name="connsiteY23" fmla="*/ 226695 h 227192"/>
                    <a:gd name="connsiteX24" fmla="*/ 133350 w 254551"/>
                    <a:gd name="connsiteY24" fmla="*/ 222885 h 227192"/>
                    <a:gd name="connsiteX25" fmla="*/ 144780 w 254551"/>
                    <a:gd name="connsiteY25" fmla="*/ 211455 h 227192"/>
                    <a:gd name="connsiteX26" fmla="*/ 148590 w 254551"/>
                    <a:gd name="connsiteY26" fmla="*/ 205740 h 227192"/>
                    <a:gd name="connsiteX27" fmla="*/ 160020 w 254551"/>
                    <a:gd name="connsiteY27" fmla="*/ 201930 h 227192"/>
                    <a:gd name="connsiteX28" fmla="*/ 161925 w 254551"/>
                    <a:gd name="connsiteY28" fmla="*/ 196215 h 227192"/>
                    <a:gd name="connsiteX29" fmla="*/ 163830 w 254551"/>
                    <a:gd name="connsiteY29" fmla="*/ 184785 h 227192"/>
                    <a:gd name="connsiteX30" fmla="*/ 175260 w 254551"/>
                    <a:gd name="connsiteY30" fmla="*/ 180975 h 227192"/>
                    <a:gd name="connsiteX31" fmla="*/ 198120 w 254551"/>
                    <a:gd name="connsiteY31" fmla="*/ 182880 h 227192"/>
                    <a:gd name="connsiteX32" fmla="*/ 203835 w 254551"/>
                    <a:gd name="connsiteY32" fmla="*/ 186690 h 227192"/>
                    <a:gd name="connsiteX33" fmla="*/ 209550 w 254551"/>
                    <a:gd name="connsiteY33" fmla="*/ 188595 h 227192"/>
                    <a:gd name="connsiteX34" fmla="*/ 220980 w 254551"/>
                    <a:gd name="connsiteY34" fmla="*/ 186690 h 227192"/>
                    <a:gd name="connsiteX35" fmla="*/ 226695 w 254551"/>
                    <a:gd name="connsiteY35" fmla="*/ 182880 h 227192"/>
                    <a:gd name="connsiteX36" fmla="*/ 234315 w 254551"/>
                    <a:gd name="connsiteY36" fmla="*/ 165735 h 227192"/>
                    <a:gd name="connsiteX37" fmla="*/ 238125 w 254551"/>
                    <a:gd name="connsiteY37" fmla="*/ 154305 h 227192"/>
                    <a:gd name="connsiteX38" fmla="*/ 240030 w 254551"/>
                    <a:gd name="connsiteY38" fmla="*/ 148590 h 227192"/>
                    <a:gd name="connsiteX39" fmla="*/ 245745 w 254551"/>
                    <a:gd name="connsiteY39" fmla="*/ 120015 h 227192"/>
                    <a:gd name="connsiteX40" fmla="*/ 247650 w 254551"/>
                    <a:gd name="connsiteY40" fmla="*/ 114300 h 227192"/>
                    <a:gd name="connsiteX41" fmla="*/ 249555 w 254551"/>
                    <a:gd name="connsiteY41" fmla="*/ 108585 h 227192"/>
                    <a:gd name="connsiteX42" fmla="*/ 241935 w 254551"/>
                    <a:gd name="connsiteY42" fmla="*/ 89535 h 227192"/>
                    <a:gd name="connsiteX43" fmla="*/ 236220 w 254551"/>
                    <a:gd name="connsiteY43" fmla="*/ 85725 h 227192"/>
                    <a:gd name="connsiteX44" fmla="*/ 238125 w 254551"/>
                    <a:gd name="connsiteY44" fmla="*/ 80010 h 227192"/>
                    <a:gd name="connsiteX45" fmla="*/ 243840 w 254551"/>
                    <a:gd name="connsiteY45" fmla="*/ 78105 h 227192"/>
                    <a:gd name="connsiteX46" fmla="*/ 249555 w 254551"/>
                    <a:gd name="connsiteY46" fmla="*/ 74295 h 227192"/>
                    <a:gd name="connsiteX47" fmla="*/ 251460 w 254551"/>
                    <a:gd name="connsiteY47" fmla="*/ 24765 h 227192"/>
                    <a:gd name="connsiteX48" fmla="*/ 249555 w 254551"/>
                    <a:gd name="connsiteY48" fmla="*/ 19050 h 227192"/>
                    <a:gd name="connsiteX49" fmla="*/ 243840 w 254551"/>
                    <a:gd name="connsiteY49" fmla="*/ 15240 h 227192"/>
                    <a:gd name="connsiteX50" fmla="*/ 234315 w 254551"/>
                    <a:gd name="connsiteY50" fmla="*/ 3810 h 227192"/>
                    <a:gd name="connsiteX51" fmla="*/ 228600 w 254551"/>
                    <a:gd name="connsiteY51" fmla="*/ 0 h 227192"/>
                    <a:gd name="connsiteX52" fmla="*/ 217170 w 254551"/>
                    <a:gd name="connsiteY52" fmla="*/ 1905 h 227192"/>
                    <a:gd name="connsiteX53" fmla="*/ 213360 w 254551"/>
                    <a:gd name="connsiteY53" fmla="*/ 7620 h 227192"/>
                    <a:gd name="connsiteX54" fmla="*/ 207645 w 254551"/>
                    <a:gd name="connsiteY54" fmla="*/ 9525 h 227192"/>
                    <a:gd name="connsiteX55" fmla="*/ 203835 w 254551"/>
                    <a:gd name="connsiteY55" fmla="*/ 20955 h 227192"/>
                    <a:gd name="connsiteX56" fmla="*/ 201930 w 254551"/>
                    <a:gd name="connsiteY56" fmla="*/ 26670 h 227192"/>
                    <a:gd name="connsiteX57" fmla="*/ 200025 w 254551"/>
                    <a:gd name="connsiteY57" fmla="*/ 38100 h 227192"/>
                    <a:gd name="connsiteX58" fmla="*/ 205740 w 254551"/>
                    <a:gd name="connsiteY58" fmla="*/ 72390 h 227192"/>
                    <a:gd name="connsiteX59" fmla="*/ 213360 w 254551"/>
                    <a:gd name="connsiteY59" fmla="*/ 83820 h 227192"/>
                    <a:gd name="connsiteX60" fmla="*/ 217170 w 254551"/>
                    <a:gd name="connsiteY60" fmla="*/ 89535 h 227192"/>
                    <a:gd name="connsiteX61" fmla="*/ 215265 w 254551"/>
                    <a:gd name="connsiteY61" fmla="*/ 97155 h 227192"/>
                    <a:gd name="connsiteX62" fmla="*/ 203835 w 254551"/>
                    <a:gd name="connsiteY62" fmla="*/ 104775 h 227192"/>
                    <a:gd name="connsiteX63" fmla="*/ 198120 w 254551"/>
                    <a:gd name="connsiteY63" fmla="*/ 116205 h 227192"/>
                    <a:gd name="connsiteX64" fmla="*/ 196215 w 254551"/>
                    <a:gd name="connsiteY64" fmla="*/ 121920 h 227192"/>
                    <a:gd name="connsiteX65" fmla="*/ 190500 w 254551"/>
                    <a:gd name="connsiteY65" fmla="*/ 133350 h 227192"/>
                    <a:gd name="connsiteX66" fmla="*/ 182880 w 254551"/>
                    <a:gd name="connsiteY66" fmla="*/ 154305 h 227192"/>
                    <a:gd name="connsiteX67" fmla="*/ 175260 w 254551"/>
                    <a:gd name="connsiteY67" fmla="*/ 156210 h 227192"/>
                    <a:gd name="connsiteX68" fmla="*/ 169545 w 254551"/>
                    <a:gd name="connsiteY68" fmla="*/ 150495 h 227192"/>
                    <a:gd name="connsiteX69" fmla="*/ 167640 w 254551"/>
                    <a:gd name="connsiteY69" fmla="*/ 144780 h 227192"/>
                    <a:gd name="connsiteX70" fmla="*/ 156210 w 254551"/>
                    <a:gd name="connsiteY70" fmla="*/ 140970 h 227192"/>
                    <a:gd name="connsiteX71" fmla="*/ 150495 w 254551"/>
                    <a:gd name="connsiteY71" fmla="*/ 139065 h 227192"/>
                    <a:gd name="connsiteX72" fmla="*/ 139065 w 254551"/>
                    <a:gd name="connsiteY72" fmla="*/ 135255 h 227192"/>
                    <a:gd name="connsiteX73" fmla="*/ 133350 w 254551"/>
                    <a:gd name="connsiteY73" fmla="*/ 133350 h 227192"/>
                    <a:gd name="connsiteX74" fmla="*/ 121920 w 254551"/>
                    <a:gd name="connsiteY74" fmla="*/ 127635 h 227192"/>
                    <a:gd name="connsiteX75" fmla="*/ 89535 w 254551"/>
                    <a:gd name="connsiteY75" fmla="*/ 125730 h 227192"/>
                    <a:gd name="connsiteX76" fmla="*/ 78105 w 254551"/>
                    <a:gd name="connsiteY76" fmla="*/ 116205 h 227192"/>
                    <a:gd name="connsiteX77" fmla="*/ 76200 w 254551"/>
                    <a:gd name="connsiteY77" fmla="*/ 110490 h 227192"/>
                    <a:gd name="connsiteX78" fmla="*/ 72390 w 254551"/>
                    <a:gd name="connsiteY78" fmla="*/ 104775 h 227192"/>
                    <a:gd name="connsiteX79" fmla="*/ 68580 w 254551"/>
                    <a:gd name="connsiteY79" fmla="*/ 89535 h 227192"/>
                    <a:gd name="connsiteX80" fmla="*/ 62865 w 254551"/>
                    <a:gd name="connsiteY80" fmla="*/ 85725 h 227192"/>
                    <a:gd name="connsiteX81" fmla="*/ 53340 w 254551"/>
                    <a:gd name="connsiteY81" fmla="*/ 83820 h 227192"/>
                    <a:gd name="connsiteX82" fmla="*/ 47625 w 254551"/>
                    <a:gd name="connsiteY82" fmla="*/ 80010 h 227192"/>
                    <a:gd name="connsiteX83" fmla="*/ 41910 w 254551"/>
                    <a:gd name="connsiteY83" fmla="*/ 78105 h 227192"/>
                    <a:gd name="connsiteX84" fmla="*/ 34290 w 254551"/>
                    <a:gd name="connsiteY84" fmla="*/ 64770 h 227192"/>
                    <a:gd name="connsiteX85" fmla="*/ 30480 w 254551"/>
                    <a:gd name="connsiteY85" fmla="*/ 53340 h 227192"/>
                    <a:gd name="connsiteX86" fmla="*/ 34290 w 254551"/>
                    <a:gd name="connsiteY86" fmla="*/ 47625 h 227192"/>
                    <a:gd name="connsiteX87" fmla="*/ 32385 w 254551"/>
                    <a:gd name="connsiteY87" fmla="*/ 28575 h 227192"/>
                    <a:gd name="connsiteX88" fmla="*/ 30480 w 254551"/>
                    <a:gd name="connsiteY88" fmla="*/ 22860 h 227192"/>
                    <a:gd name="connsiteX89" fmla="*/ 36195 w 254551"/>
                    <a:gd name="connsiteY89" fmla="*/ 30480 h 227192"/>
                    <a:gd name="connsiteX0" fmla="*/ 36317 w 254673"/>
                    <a:gd name="connsiteY0" fmla="*/ 30480 h 227192"/>
                    <a:gd name="connsiteX1" fmla="*/ 36317 w 254673"/>
                    <a:gd name="connsiteY1" fmla="*/ 30480 h 227192"/>
                    <a:gd name="connsiteX2" fmla="*/ 21077 w 254673"/>
                    <a:gd name="connsiteY2" fmla="*/ 20955 h 227192"/>
                    <a:gd name="connsiteX3" fmla="*/ 2027 w 254673"/>
                    <a:gd name="connsiteY3" fmla="*/ 20955 h 227192"/>
                    <a:gd name="connsiteX4" fmla="*/ 122 w 254673"/>
                    <a:gd name="connsiteY4" fmla="*/ 26670 h 227192"/>
                    <a:gd name="connsiteX5" fmla="*/ 2027 w 254673"/>
                    <a:gd name="connsiteY5" fmla="*/ 47625 h 227192"/>
                    <a:gd name="connsiteX6" fmla="*/ 9647 w 254673"/>
                    <a:gd name="connsiteY6" fmla="*/ 59055 h 227192"/>
                    <a:gd name="connsiteX7" fmla="*/ 13457 w 254673"/>
                    <a:gd name="connsiteY7" fmla="*/ 70485 h 227192"/>
                    <a:gd name="connsiteX8" fmla="*/ 15362 w 254673"/>
                    <a:gd name="connsiteY8" fmla="*/ 99060 h 227192"/>
                    <a:gd name="connsiteX9" fmla="*/ 17267 w 254673"/>
                    <a:gd name="connsiteY9" fmla="*/ 104775 h 227192"/>
                    <a:gd name="connsiteX10" fmla="*/ 22982 w 254673"/>
                    <a:gd name="connsiteY10" fmla="*/ 108585 h 227192"/>
                    <a:gd name="connsiteX11" fmla="*/ 26792 w 254673"/>
                    <a:gd name="connsiteY11" fmla="*/ 114300 h 227192"/>
                    <a:gd name="connsiteX12" fmla="*/ 32507 w 254673"/>
                    <a:gd name="connsiteY12" fmla="*/ 118110 h 227192"/>
                    <a:gd name="connsiteX13" fmla="*/ 42032 w 254673"/>
                    <a:gd name="connsiteY13" fmla="*/ 131445 h 227192"/>
                    <a:gd name="connsiteX14" fmla="*/ 59177 w 254673"/>
                    <a:gd name="connsiteY14" fmla="*/ 133350 h 227192"/>
                    <a:gd name="connsiteX15" fmla="*/ 64892 w 254673"/>
                    <a:gd name="connsiteY15" fmla="*/ 180975 h 227192"/>
                    <a:gd name="connsiteX16" fmla="*/ 74417 w 254673"/>
                    <a:gd name="connsiteY16" fmla="*/ 188595 h 227192"/>
                    <a:gd name="connsiteX17" fmla="*/ 80132 w 254673"/>
                    <a:gd name="connsiteY17" fmla="*/ 192405 h 227192"/>
                    <a:gd name="connsiteX18" fmla="*/ 87752 w 254673"/>
                    <a:gd name="connsiteY18" fmla="*/ 201930 h 227192"/>
                    <a:gd name="connsiteX19" fmla="*/ 95372 w 254673"/>
                    <a:gd name="connsiteY19" fmla="*/ 213360 h 227192"/>
                    <a:gd name="connsiteX20" fmla="*/ 99182 w 254673"/>
                    <a:gd name="connsiteY20" fmla="*/ 219075 h 227192"/>
                    <a:gd name="connsiteX21" fmla="*/ 104897 w 254673"/>
                    <a:gd name="connsiteY21" fmla="*/ 220980 h 227192"/>
                    <a:gd name="connsiteX22" fmla="*/ 108707 w 254673"/>
                    <a:gd name="connsiteY22" fmla="*/ 226695 h 227192"/>
                    <a:gd name="connsiteX23" fmla="*/ 133472 w 254673"/>
                    <a:gd name="connsiteY23" fmla="*/ 222885 h 227192"/>
                    <a:gd name="connsiteX24" fmla="*/ 144902 w 254673"/>
                    <a:gd name="connsiteY24" fmla="*/ 211455 h 227192"/>
                    <a:gd name="connsiteX25" fmla="*/ 148712 w 254673"/>
                    <a:gd name="connsiteY25" fmla="*/ 205740 h 227192"/>
                    <a:gd name="connsiteX26" fmla="*/ 160142 w 254673"/>
                    <a:gd name="connsiteY26" fmla="*/ 201930 h 227192"/>
                    <a:gd name="connsiteX27" fmla="*/ 162047 w 254673"/>
                    <a:gd name="connsiteY27" fmla="*/ 196215 h 227192"/>
                    <a:gd name="connsiteX28" fmla="*/ 163952 w 254673"/>
                    <a:gd name="connsiteY28" fmla="*/ 184785 h 227192"/>
                    <a:gd name="connsiteX29" fmla="*/ 175382 w 254673"/>
                    <a:gd name="connsiteY29" fmla="*/ 180975 h 227192"/>
                    <a:gd name="connsiteX30" fmla="*/ 198242 w 254673"/>
                    <a:gd name="connsiteY30" fmla="*/ 182880 h 227192"/>
                    <a:gd name="connsiteX31" fmla="*/ 203957 w 254673"/>
                    <a:gd name="connsiteY31" fmla="*/ 186690 h 227192"/>
                    <a:gd name="connsiteX32" fmla="*/ 209672 w 254673"/>
                    <a:gd name="connsiteY32" fmla="*/ 188595 h 227192"/>
                    <a:gd name="connsiteX33" fmla="*/ 221102 w 254673"/>
                    <a:gd name="connsiteY33" fmla="*/ 186690 h 227192"/>
                    <a:gd name="connsiteX34" fmla="*/ 226817 w 254673"/>
                    <a:gd name="connsiteY34" fmla="*/ 182880 h 227192"/>
                    <a:gd name="connsiteX35" fmla="*/ 234437 w 254673"/>
                    <a:gd name="connsiteY35" fmla="*/ 165735 h 227192"/>
                    <a:gd name="connsiteX36" fmla="*/ 238247 w 254673"/>
                    <a:gd name="connsiteY36" fmla="*/ 154305 h 227192"/>
                    <a:gd name="connsiteX37" fmla="*/ 240152 w 254673"/>
                    <a:gd name="connsiteY37" fmla="*/ 148590 h 227192"/>
                    <a:gd name="connsiteX38" fmla="*/ 245867 w 254673"/>
                    <a:gd name="connsiteY38" fmla="*/ 120015 h 227192"/>
                    <a:gd name="connsiteX39" fmla="*/ 247772 w 254673"/>
                    <a:gd name="connsiteY39" fmla="*/ 114300 h 227192"/>
                    <a:gd name="connsiteX40" fmla="*/ 249677 w 254673"/>
                    <a:gd name="connsiteY40" fmla="*/ 108585 h 227192"/>
                    <a:gd name="connsiteX41" fmla="*/ 242057 w 254673"/>
                    <a:gd name="connsiteY41" fmla="*/ 89535 h 227192"/>
                    <a:gd name="connsiteX42" fmla="*/ 236342 w 254673"/>
                    <a:gd name="connsiteY42" fmla="*/ 85725 h 227192"/>
                    <a:gd name="connsiteX43" fmla="*/ 238247 w 254673"/>
                    <a:gd name="connsiteY43" fmla="*/ 80010 h 227192"/>
                    <a:gd name="connsiteX44" fmla="*/ 243962 w 254673"/>
                    <a:gd name="connsiteY44" fmla="*/ 78105 h 227192"/>
                    <a:gd name="connsiteX45" fmla="*/ 249677 w 254673"/>
                    <a:gd name="connsiteY45" fmla="*/ 74295 h 227192"/>
                    <a:gd name="connsiteX46" fmla="*/ 251582 w 254673"/>
                    <a:gd name="connsiteY46" fmla="*/ 24765 h 227192"/>
                    <a:gd name="connsiteX47" fmla="*/ 249677 w 254673"/>
                    <a:gd name="connsiteY47" fmla="*/ 19050 h 227192"/>
                    <a:gd name="connsiteX48" fmla="*/ 243962 w 254673"/>
                    <a:gd name="connsiteY48" fmla="*/ 15240 h 227192"/>
                    <a:gd name="connsiteX49" fmla="*/ 234437 w 254673"/>
                    <a:gd name="connsiteY49" fmla="*/ 3810 h 227192"/>
                    <a:gd name="connsiteX50" fmla="*/ 228722 w 254673"/>
                    <a:gd name="connsiteY50" fmla="*/ 0 h 227192"/>
                    <a:gd name="connsiteX51" fmla="*/ 217292 w 254673"/>
                    <a:gd name="connsiteY51" fmla="*/ 1905 h 227192"/>
                    <a:gd name="connsiteX52" fmla="*/ 213482 w 254673"/>
                    <a:gd name="connsiteY52" fmla="*/ 7620 h 227192"/>
                    <a:gd name="connsiteX53" fmla="*/ 207767 w 254673"/>
                    <a:gd name="connsiteY53" fmla="*/ 9525 h 227192"/>
                    <a:gd name="connsiteX54" fmla="*/ 203957 w 254673"/>
                    <a:gd name="connsiteY54" fmla="*/ 20955 h 227192"/>
                    <a:gd name="connsiteX55" fmla="*/ 202052 w 254673"/>
                    <a:gd name="connsiteY55" fmla="*/ 26670 h 227192"/>
                    <a:gd name="connsiteX56" fmla="*/ 200147 w 254673"/>
                    <a:gd name="connsiteY56" fmla="*/ 38100 h 227192"/>
                    <a:gd name="connsiteX57" fmla="*/ 205862 w 254673"/>
                    <a:gd name="connsiteY57" fmla="*/ 72390 h 227192"/>
                    <a:gd name="connsiteX58" fmla="*/ 213482 w 254673"/>
                    <a:gd name="connsiteY58" fmla="*/ 83820 h 227192"/>
                    <a:gd name="connsiteX59" fmla="*/ 217292 w 254673"/>
                    <a:gd name="connsiteY59" fmla="*/ 89535 h 227192"/>
                    <a:gd name="connsiteX60" fmla="*/ 215387 w 254673"/>
                    <a:gd name="connsiteY60" fmla="*/ 97155 h 227192"/>
                    <a:gd name="connsiteX61" fmla="*/ 203957 w 254673"/>
                    <a:gd name="connsiteY61" fmla="*/ 104775 h 227192"/>
                    <a:gd name="connsiteX62" fmla="*/ 198242 w 254673"/>
                    <a:gd name="connsiteY62" fmla="*/ 116205 h 227192"/>
                    <a:gd name="connsiteX63" fmla="*/ 196337 w 254673"/>
                    <a:gd name="connsiteY63" fmla="*/ 121920 h 227192"/>
                    <a:gd name="connsiteX64" fmla="*/ 190622 w 254673"/>
                    <a:gd name="connsiteY64" fmla="*/ 133350 h 227192"/>
                    <a:gd name="connsiteX65" fmla="*/ 183002 w 254673"/>
                    <a:gd name="connsiteY65" fmla="*/ 154305 h 227192"/>
                    <a:gd name="connsiteX66" fmla="*/ 175382 w 254673"/>
                    <a:gd name="connsiteY66" fmla="*/ 156210 h 227192"/>
                    <a:gd name="connsiteX67" fmla="*/ 169667 w 254673"/>
                    <a:gd name="connsiteY67" fmla="*/ 150495 h 227192"/>
                    <a:gd name="connsiteX68" fmla="*/ 167762 w 254673"/>
                    <a:gd name="connsiteY68" fmla="*/ 144780 h 227192"/>
                    <a:gd name="connsiteX69" fmla="*/ 156332 w 254673"/>
                    <a:gd name="connsiteY69" fmla="*/ 140970 h 227192"/>
                    <a:gd name="connsiteX70" fmla="*/ 150617 w 254673"/>
                    <a:gd name="connsiteY70" fmla="*/ 139065 h 227192"/>
                    <a:gd name="connsiteX71" fmla="*/ 139187 w 254673"/>
                    <a:gd name="connsiteY71" fmla="*/ 135255 h 227192"/>
                    <a:gd name="connsiteX72" fmla="*/ 133472 w 254673"/>
                    <a:gd name="connsiteY72" fmla="*/ 133350 h 227192"/>
                    <a:gd name="connsiteX73" fmla="*/ 122042 w 254673"/>
                    <a:gd name="connsiteY73" fmla="*/ 127635 h 227192"/>
                    <a:gd name="connsiteX74" fmla="*/ 89657 w 254673"/>
                    <a:gd name="connsiteY74" fmla="*/ 125730 h 227192"/>
                    <a:gd name="connsiteX75" fmla="*/ 78227 w 254673"/>
                    <a:gd name="connsiteY75" fmla="*/ 116205 h 227192"/>
                    <a:gd name="connsiteX76" fmla="*/ 76322 w 254673"/>
                    <a:gd name="connsiteY76" fmla="*/ 110490 h 227192"/>
                    <a:gd name="connsiteX77" fmla="*/ 72512 w 254673"/>
                    <a:gd name="connsiteY77" fmla="*/ 104775 h 227192"/>
                    <a:gd name="connsiteX78" fmla="*/ 68702 w 254673"/>
                    <a:gd name="connsiteY78" fmla="*/ 89535 h 227192"/>
                    <a:gd name="connsiteX79" fmla="*/ 62987 w 254673"/>
                    <a:gd name="connsiteY79" fmla="*/ 85725 h 227192"/>
                    <a:gd name="connsiteX80" fmla="*/ 53462 w 254673"/>
                    <a:gd name="connsiteY80" fmla="*/ 83820 h 227192"/>
                    <a:gd name="connsiteX81" fmla="*/ 47747 w 254673"/>
                    <a:gd name="connsiteY81" fmla="*/ 80010 h 227192"/>
                    <a:gd name="connsiteX82" fmla="*/ 42032 w 254673"/>
                    <a:gd name="connsiteY82" fmla="*/ 78105 h 227192"/>
                    <a:gd name="connsiteX83" fmla="*/ 34412 w 254673"/>
                    <a:gd name="connsiteY83" fmla="*/ 64770 h 227192"/>
                    <a:gd name="connsiteX84" fmla="*/ 30602 w 254673"/>
                    <a:gd name="connsiteY84" fmla="*/ 53340 h 227192"/>
                    <a:gd name="connsiteX85" fmla="*/ 34412 w 254673"/>
                    <a:gd name="connsiteY85" fmla="*/ 47625 h 227192"/>
                    <a:gd name="connsiteX86" fmla="*/ 32507 w 254673"/>
                    <a:gd name="connsiteY86" fmla="*/ 28575 h 227192"/>
                    <a:gd name="connsiteX87" fmla="*/ 30602 w 254673"/>
                    <a:gd name="connsiteY87" fmla="*/ 22860 h 227192"/>
                    <a:gd name="connsiteX88" fmla="*/ 36317 w 254673"/>
                    <a:gd name="connsiteY88" fmla="*/ 30480 h 227192"/>
                    <a:gd name="connsiteX0" fmla="*/ 30602 w 254673"/>
                    <a:gd name="connsiteY0" fmla="*/ 22860 h 227192"/>
                    <a:gd name="connsiteX1" fmla="*/ 36317 w 254673"/>
                    <a:gd name="connsiteY1" fmla="*/ 30480 h 227192"/>
                    <a:gd name="connsiteX2" fmla="*/ 21077 w 254673"/>
                    <a:gd name="connsiteY2" fmla="*/ 20955 h 227192"/>
                    <a:gd name="connsiteX3" fmla="*/ 2027 w 254673"/>
                    <a:gd name="connsiteY3" fmla="*/ 20955 h 227192"/>
                    <a:gd name="connsiteX4" fmla="*/ 122 w 254673"/>
                    <a:gd name="connsiteY4" fmla="*/ 26670 h 227192"/>
                    <a:gd name="connsiteX5" fmla="*/ 2027 w 254673"/>
                    <a:gd name="connsiteY5" fmla="*/ 47625 h 227192"/>
                    <a:gd name="connsiteX6" fmla="*/ 9647 w 254673"/>
                    <a:gd name="connsiteY6" fmla="*/ 59055 h 227192"/>
                    <a:gd name="connsiteX7" fmla="*/ 13457 w 254673"/>
                    <a:gd name="connsiteY7" fmla="*/ 70485 h 227192"/>
                    <a:gd name="connsiteX8" fmla="*/ 15362 w 254673"/>
                    <a:gd name="connsiteY8" fmla="*/ 99060 h 227192"/>
                    <a:gd name="connsiteX9" fmla="*/ 17267 w 254673"/>
                    <a:gd name="connsiteY9" fmla="*/ 104775 h 227192"/>
                    <a:gd name="connsiteX10" fmla="*/ 22982 w 254673"/>
                    <a:gd name="connsiteY10" fmla="*/ 108585 h 227192"/>
                    <a:gd name="connsiteX11" fmla="*/ 26792 w 254673"/>
                    <a:gd name="connsiteY11" fmla="*/ 114300 h 227192"/>
                    <a:gd name="connsiteX12" fmla="*/ 32507 w 254673"/>
                    <a:gd name="connsiteY12" fmla="*/ 118110 h 227192"/>
                    <a:gd name="connsiteX13" fmla="*/ 42032 w 254673"/>
                    <a:gd name="connsiteY13" fmla="*/ 131445 h 227192"/>
                    <a:gd name="connsiteX14" fmla="*/ 59177 w 254673"/>
                    <a:gd name="connsiteY14" fmla="*/ 133350 h 227192"/>
                    <a:gd name="connsiteX15" fmla="*/ 64892 w 254673"/>
                    <a:gd name="connsiteY15" fmla="*/ 180975 h 227192"/>
                    <a:gd name="connsiteX16" fmla="*/ 74417 w 254673"/>
                    <a:gd name="connsiteY16" fmla="*/ 188595 h 227192"/>
                    <a:gd name="connsiteX17" fmla="*/ 80132 w 254673"/>
                    <a:gd name="connsiteY17" fmla="*/ 192405 h 227192"/>
                    <a:gd name="connsiteX18" fmla="*/ 87752 w 254673"/>
                    <a:gd name="connsiteY18" fmla="*/ 201930 h 227192"/>
                    <a:gd name="connsiteX19" fmla="*/ 95372 w 254673"/>
                    <a:gd name="connsiteY19" fmla="*/ 213360 h 227192"/>
                    <a:gd name="connsiteX20" fmla="*/ 99182 w 254673"/>
                    <a:gd name="connsiteY20" fmla="*/ 219075 h 227192"/>
                    <a:gd name="connsiteX21" fmla="*/ 104897 w 254673"/>
                    <a:gd name="connsiteY21" fmla="*/ 220980 h 227192"/>
                    <a:gd name="connsiteX22" fmla="*/ 108707 w 254673"/>
                    <a:gd name="connsiteY22" fmla="*/ 226695 h 227192"/>
                    <a:gd name="connsiteX23" fmla="*/ 133472 w 254673"/>
                    <a:gd name="connsiteY23" fmla="*/ 222885 h 227192"/>
                    <a:gd name="connsiteX24" fmla="*/ 144902 w 254673"/>
                    <a:gd name="connsiteY24" fmla="*/ 211455 h 227192"/>
                    <a:gd name="connsiteX25" fmla="*/ 148712 w 254673"/>
                    <a:gd name="connsiteY25" fmla="*/ 205740 h 227192"/>
                    <a:gd name="connsiteX26" fmla="*/ 160142 w 254673"/>
                    <a:gd name="connsiteY26" fmla="*/ 201930 h 227192"/>
                    <a:gd name="connsiteX27" fmla="*/ 162047 w 254673"/>
                    <a:gd name="connsiteY27" fmla="*/ 196215 h 227192"/>
                    <a:gd name="connsiteX28" fmla="*/ 163952 w 254673"/>
                    <a:gd name="connsiteY28" fmla="*/ 184785 h 227192"/>
                    <a:gd name="connsiteX29" fmla="*/ 175382 w 254673"/>
                    <a:gd name="connsiteY29" fmla="*/ 180975 h 227192"/>
                    <a:gd name="connsiteX30" fmla="*/ 198242 w 254673"/>
                    <a:gd name="connsiteY30" fmla="*/ 182880 h 227192"/>
                    <a:gd name="connsiteX31" fmla="*/ 203957 w 254673"/>
                    <a:gd name="connsiteY31" fmla="*/ 186690 h 227192"/>
                    <a:gd name="connsiteX32" fmla="*/ 209672 w 254673"/>
                    <a:gd name="connsiteY32" fmla="*/ 188595 h 227192"/>
                    <a:gd name="connsiteX33" fmla="*/ 221102 w 254673"/>
                    <a:gd name="connsiteY33" fmla="*/ 186690 h 227192"/>
                    <a:gd name="connsiteX34" fmla="*/ 226817 w 254673"/>
                    <a:gd name="connsiteY34" fmla="*/ 182880 h 227192"/>
                    <a:gd name="connsiteX35" fmla="*/ 234437 w 254673"/>
                    <a:gd name="connsiteY35" fmla="*/ 165735 h 227192"/>
                    <a:gd name="connsiteX36" fmla="*/ 238247 w 254673"/>
                    <a:gd name="connsiteY36" fmla="*/ 154305 h 227192"/>
                    <a:gd name="connsiteX37" fmla="*/ 240152 w 254673"/>
                    <a:gd name="connsiteY37" fmla="*/ 148590 h 227192"/>
                    <a:gd name="connsiteX38" fmla="*/ 245867 w 254673"/>
                    <a:gd name="connsiteY38" fmla="*/ 120015 h 227192"/>
                    <a:gd name="connsiteX39" fmla="*/ 247772 w 254673"/>
                    <a:gd name="connsiteY39" fmla="*/ 114300 h 227192"/>
                    <a:gd name="connsiteX40" fmla="*/ 249677 w 254673"/>
                    <a:gd name="connsiteY40" fmla="*/ 108585 h 227192"/>
                    <a:gd name="connsiteX41" fmla="*/ 242057 w 254673"/>
                    <a:gd name="connsiteY41" fmla="*/ 89535 h 227192"/>
                    <a:gd name="connsiteX42" fmla="*/ 236342 w 254673"/>
                    <a:gd name="connsiteY42" fmla="*/ 85725 h 227192"/>
                    <a:gd name="connsiteX43" fmla="*/ 238247 w 254673"/>
                    <a:gd name="connsiteY43" fmla="*/ 80010 h 227192"/>
                    <a:gd name="connsiteX44" fmla="*/ 243962 w 254673"/>
                    <a:gd name="connsiteY44" fmla="*/ 78105 h 227192"/>
                    <a:gd name="connsiteX45" fmla="*/ 249677 w 254673"/>
                    <a:gd name="connsiteY45" fmla="*/ 74295 h 227192"/>
                    <a:gd name="connsiteX46" fmla="*/ 251582 w 254673"/>
                    <a:gd name="connsiteY46" fmla="*/ 24765 h 227192"/>
                    <a:gd name="connsiteX47" fmla="*/ 249677 w 254673"/>
                    <a:gd name="connsiteY47" fmla="*/ 19050 h 227192"/>
                    <a:gd name="connsiteX48" fmla="*/ 243962 w 254673"/>
                    <a:gd name="connsiteY48" fmla="*/ 15240 h 227192"/>
                    <a:gd name="connsiteX49" fmla="*/ 234437 w 254673"/>
                    <a:gd name="connsiteY49" fmla="*/ 3810 h 227192"/>
                    <a:gd name="connsiteX50" fmla="*/ 228722 w 254673"/>
                    <a:gd name="connsiteY50" fmla="*/ 0 h 227192"/>
                    <a:gd name="connsiteX51" fmla="*/ 217292 w 254673"/>
                    <a:gd name="connsiteY51" fmla="*/ 1905 h 227192"/>
                    <a:gd name="connsiteX52" fmla="*/ 213482 w 254673"/>
                    <a:gd name="connsiteY52" fmla="*/ 7620 h 227192"/>
                    <a:gd name="connsiteX53" fmla="*/ 207767 w 254673"/>
                    <a:gd name="connsiteY53" fmla="*/ 9525 h 227192"/>
                    <a:gd name="connsiteX54" fmla="*/ 203957 w 254673"/>
                    <a:gd name="connsiteY54" fmla="*/ 20955 h 227192"/>
                    <a:gd name="connsiteX55" fmla="*/ 202052 w 254673"/>
                    <a:gd name="connsiteY55" fmla="*/ 26670 h 227192"/>
                    <a:gd name="connsiteX56" fmla="*/ 200147 w 254673"/>
                    <a:gd name="connsiteY56" fmla="*/ 38100 h 227192"/>
                    <a:gd name="connsiteX57" fmla="*/ 205862 w 254673"/>
                    <a:gd name="connsiteY57" fmla="*/ 72390 h 227192"/>
                    <a:gd name="connsiteX58" fmla="*/ 213482 w 254673"/>
                    <a:gd name="connsiteY58" fmla="*/ 83820 h 227192"/>
                    <a:gd name="connsiteX59" fmla="*/ 217292 w 254673"/>
                    <a:gd name="connsiteY59" fmla="*/ 89535 h 227192"/>
                    <a:gd name="connsiteX60" fmla="*/ 215387 w 254673"/>
                    <a:gd name="connsiteY60" fmla="*/ 97155 h 227192"/>
                    <a:gd name="connsiteX61" fmla="*/ 203957 w 254673"/>
                    <a:gd name="connsiteY61" fmla="*/ 104775 h 227192"/>
                    <a:gd name="connsiteX62" fmla="*/ 198242 w 254673"/>
                    <a:gd name="connsiteY62" fmla="*/ 116205 h 227192"/>
                    <a:gd name="connsiteX63" fmla="*/ 196337 w 254673"/>
                    <a:gd name="connsiteY63" fmla="*/ 121920 h 227192"/>
                    <a:gd name="connsiteX64" fmla="*/ 190622 w 254673"/>
                    <a:gd name="connsiteY64" fmla="*/ 133350 h 227192"/>
                    <a:gd name="connsiteX65" fmla="*/ 183002 w 254673"/>
                    <a:gd name="connsiteY65" fmla="*/ 154305 h 227192"/>
                    <a:gd name="connsiteX66" fmla="*/ 175382 w 254673"/>
                    <a:gd name="connsiteY66" fmla="*/ 156210 h 227192"/>
                    <a:gd name="connsiteX67" fmla="*/ 169667 w 254673"/>
                    <a:gd name="connsiteY67" fmla="*/ 150495 h 227192"/>
                    <a:gd name="connsiteX68" fmla="*/ 167762 w 254673"/>
                    <a:gd name="connsiteY68" fmla="*/ 144780 h 227192"/>
                    <a:gd name="connsiteX69" fmla="*/ 156332 w 254673"/>
                    <a:gd name="connsiteY69" fmla="*/ 140970 h 227192"/>
                    <a:gd name="connsiteX70" fmla="*/ 150617 w 254673"/>
                    <a:gd name="connsiteY70" fmla="*/ 139065 h 227192"/>
                    <a:gd name="connsiteX71" fmla="*/ 139187 w 254673"/>
                    <a:gd name="connsiteY71" fmla="*/ 135255 h 227192"/>
                    <a:gd name="connsiteX72" fmla="*/ 133472 w 254673"/>
                    <a:gd name="connsiteY72" fmla="*/ 133350 h 227192"/>
                    <a:gd name="connsiteX73" fmla="*/ 122042 w 254673"/>
                    <a:gd name="connsiteY73" fmla="*/ 127635 h 227192"/>
                    <a:gd name="connsiteX74" fmla="*/ 89657 w 254673"/>
                    <a:gd name="connsiteY74" fmla="*/ 125730 h 227192"/>
                    <a:gd name="connsiteX75" fmla="*/ 78227 w 254673"/>
                    <a:gd name="connsiteY75" fmla="*/ 116205 h 227192"/>
                    <a:gd name="connsiteX76" fmla="*/ 76322 w 254673"/>
                    <a:gd name="connsiteY76" fmla="*/ 110490 h 227192"/>
                    <a:gd name="connsiteX77" fmla="*/ 72512 w 254673"/>
                    <a:gd name="connsiteY77" fmla="*/ 104775 h 227192"/>
                    <a:gd name="connsiteX78" fmla="*/ 68702 w 254673"/>
                    <a:gd name="connsiteY78" fmla="*/ 89535 h 227192"/>
                    <a:gd name="connsiteX79" fmla="*/ 62987 w 254673"/>
                    <a:gd name="connsiteY79" fmla="*/ 85725 h 227192"/>
                    <a:gd name="connsiteX80" fmla="*/ 53462 w 254673"/>
                    <a:gd name="connsiteY80" fmla="*/ 83820 h 227192"/>
                    <a:gd name="connsiteX81" fmla="*/ 47747 w 254673"/>
                    <a:gd name="connsiteY81" fmla="*/ 80010 h 227192"/>
                    <a:gd name="connsiteX82" fmla="*/ 42032 w 254673"/>
                    <a:gd name="connsiteY82" fmla="*/ 78105 h 227192"/>
                    <a:gd name="connsiteX83" fmla="*/ 34412 w 254673"/>
                    <a:gd name="connsiteY83" fmla="*/ 64770 h 227192"/>
                    <a:gd name="connsiteX84" fmla="*/ 30602 w 254673"/>
                    <a:gd name="connsiteY84" fmla="*/ 53340 h 227192"/>
                    <a:gd name="connsiteX85" fmla="*/ 34412 w 254673"/>
                    <a:gd name="connsiteY85" fmla="*/ 47625 h 227192"/>
                    <a:gd name="connsiteX86" fmla="*/ 32507 w 254673"/>
                    <a:gd name="connsiteY86" fmla="*/ 28575 h 227192"/>
                    <a:gd name="connsiteX87" fmla="*/ 30602 w 254673"/>
                    <a:gd name="connsiteY87" fmla="*/ 22860 h 227192"/>
                    <a:gd name="connsiteX0" fmla="*/ 32507 w 254673"/>
                    <a:gd name="connsiteY0" fmla="*/ 28575 h 227192"/>
                    <a:gd name="connsiteX1" fmla="*/ 36317 w 254673"/>
                    <a:gd name="connsiteY1" fmla="*/ 30480 h 227192"/>
                    <a:gd name="connsiteX2" fmla="*/ 21077 w 254673"/>
                    <a:gd name="connsiteY2" fmla="*/ 20955 h 227192"/>
                    <a:gd name="connsiteX3" fmla="*/ 2027 w 254673"/>
                    <a:gd name="connsiteY3" fmla="*/ 20955 h 227192"/>
                    <a:gd name="connsiteX4" fmla="*/ 122 w 254673"/>
                    <a:gd name="connsiteY4" fmla="*/ 26670 h 227192"/>
                    <a:gd name="connsiteX5" fmla="*/ 2027 w 254673"/>
                    <a:gd name="connsiteY5" fmla="*/ 47625 h 227192"/>
                    <a:gd name="connsiteX6" fmla="*/ 9647 w 254673"/>
                    <a:gd name="connsiteY6" fmla="*/ 59055 h 227192"/>
                    <a:gd name="connsiteX7" fmla="*/ 13457 w 254673"/>
                    <a:gd name="connsiteY7" fmla="*/ 70485 h 227192"/>
                    <a:gd name="connsiteX8" fmla="*/ 15362 w 254673"/>
                    <a:gd name="connsiteY8" fmla="*/ 99060 h 227192"/>
                    <a:gd name="connsiteX9" fmla="*/ 17267 w 254673"/>
                    <a:gd name="connsiteY9" fmla="*/ 104775 h 227192"/>
                    <a:gd name="connsiteX10" fmla="*/ 22982 w 254673"/>
                    <a:gd name="connsiteY10" fmla="*/ 108585 h 227192"/>
                    <a:gd name="connsiteX11" fmla="*/ 26792 w 254673"/>
                    <a:gd name="connsiteY11" fmla="*/ 114300 h 227192"/>
                    <a:gd name="connsiteX12" fmla="*/ 32507 w 254673"/>
                    <a:gd name="connsiteY12" fmla="*/ 118110 h 227192"/>
                    <a:gd name="connsiteX13" fmla="*/ 42032 w 254673"/>
                    <a:gd name="connsiteY13" fmla="*/ 131445 h 227192"/>
                    <a:gd name="connsiteX14" fmla="*/ 59177 w 254673"/>
                    <a:gd name="connsiteY14" fmla="*/ 133350 h 227192"/>
                    <a:gd name="connsiteX15" fmla="*/ 64892 w 254673"/>
                    <a:gd name="connsiteY15" fmla="*/ 180975 h 227192"/>
                    <a:gd name="connsiteX16" fmla="*/ 74417 w 254673"/>
                    <a:gd name="connsiteY16" fmla="*/ 188595 h 227192"/>
                    <a:gd name="connsiteX17" fmla="*/ 80132 w 254673"/>
                    <a:gd name="connsiteY17" fmla="*/ 192405 h 227192"/>
                    <a:gd name="connsiteX18" fmla="*/ 87752 w 254673"/>
                    <a:gd name="connsiteY18" fmla="*/ 201930 h 227192"/>
                    <a:gd name="connsiteX19" fmla="*/ 95372 w 254673"/>
                    <a:gd name="connsiteY19" fmla="*/ 213360 h 227192"/>
                    <a:gd name="connsiteX20" fmla="*/ 99182 w 254673"/>
                    <a:gd name="connsiteY20" fmla="*/ 219075 h 227192"/>
                    <a:gd name="connsiteX21" fmla="*/ 104897 w 254673"/>
                    <a:gd name="connsiteY21" fmla="*/ 220980 h 227192"/>
                    <a:gd name="connsiteX22" fmla="*/ 108707 w 254673"/>
                    <a:gd name="connsiteY22" fmla="*/ 226695 h 227192"/>
                    <a:gd name="connsiteX23" fmla="*/ 133472 w 254673"/>
                    <a:gd name="connsiteY23" fmla="*/ 222885 h 227192"/>
                    <a:gd name="connsiteX24" fmla="*/ 144902 w 254673"/>
                    <a:gd name="connsiteY24" fmla="*/ 211455 h 227192"/>
                    <a:gd name="connsiteX25" fmla="*/ 148712 w 254673"/>
                    <a:gd name="connsiteY25" fmla="*/ 205740 h 227192"/>
                    <a:gd name="connsiteX26" fmla="*/ 160142 w 254673"/>
                    <a:gd name="connsiteY26" fmla="*/ 201930 h 227192"/>
                    <a:gd name="connsiteX27" fmla="*/ 162047 w 254673"/>
                    <a:gd name="connsiteY27" fmla="*/ 196215 h 227192"/>
                    <a:gd name="connsiteX28" fmla="*/ 163952 w 254673"/>
                    <a:gd name="connsiteY28" fmla="*/ 184785 h 227192"/>
                    <a:gd name="connsiteX29" fmla="*/ 175382 w 254673"/>
                    <a:gd name="connsiteY29" fmla="*/ 180975 h 227192"/>
                    <a:gd name="connsiteX30" fmla="*/ 198242 w 254673"/>
                    <a:gd name="connsiteY30" fmla="*/ 182880 h 227192"/>
                    <a:gd name="connsiteX31" fmla="*/ 203957 w 254673"/>
                    <a:gd name="connsiteY31" fmla="*/ 186690 h 227192"/>
                    <a:gd name="connsiteX32" fmla="*/ 209672 w 254673"/>
                    <a:gd name="connsiteY32" fmla="*/ 188595 h 227192"/>
                    <a:gd name="connsiteX33" fmla="*/ 221102 w 254673"/>
                    <a:gd name="connsiteY33" fmla="*/ 186690 h 227192"/>
                    <a:gd name="connsiteX34" fmla="*/ 226817 w 254673"/>
                    <a:gd name="connsiteY34" fmla="*/ 182880 h 227192"/>
                    <a:gd name="connsiteX35" fmla="*/ 234437 w 254673"/>
                    <a:gd name="connsiteY35" fmla="*/ 165735 h 227192"/>
                    <a:gd name="connsiteX36" fmla="*/ 238247 w 254673"/>
                    <a:gd name="connsiteY36" fmla="*/ 154305 h 227192"/>
                    <a:gd name="connsiteX37" fmla="*/ 240152 w 254673"/>
                    <a:gd name="connsiteY37" fmla="*/ 148590 h 227192"/>
                    <a:gd name="connsiteX38" fmla="*/ 245867 w 254673"/>
                    <a:gd name="connsiteY38" fmla="*/ 120015 h 227192"/>
                    <a:gd name="connsiteX39" fmla="*/ 247772 w 254673"/>
                    <a:gd name="connsiteY39" fmla="*/ 114300 h 227192"/>
                    <a:gd name="connsiteX40" fmla="*/ 249677 w 254673"/>
                    <a:gd name="connsiteY40" fmla="*/ 108585 h 227192"/>
                    <a:gd name="connsiteX41" fmla="*/ 242057 w 254673"/>
                    <a:gd name="connsiteY41" fmla="*/ 89535 h 227192"/>
                    <a:gd name="connsiteX42" fmla="*/ 236342 w 254673"/>
                    <a:gd name="connsiteY42" fmla="*/ 85725 h 227192"/>
                    <a:gd name="connsiteX43" fmla="*/ 238247 w 254673"/>
                    <a:gd name="connsiteY43" fmla="*/ 80010 h 227192"/>
                    <a:gd name="connsiteX44" fmla="*/ 243962 w 254673"/>
                    <a:gd name="connsiteY44" fmla="*/ 78105 h 227192"/>
                    <a:gd name="connsiteX45" fmla="*/ 249677 w 254673"/>
                    <a:gd name="connsiteY45" fmla="*/ 74295 h 227192"/>
                    <a:gd name="connsiteX46" fmla="*/ 251582 w 254673"/>
                    <a:gd name="connsiteY46" fmla="*/ 24765 h 227192"/>
                    <a:gd name="connsiteX47" fmla="*/ 249677 w 254673"/>
                    <a:gd name="connsiteY47" fmla="*/ 19050 h 227192"/>
                    <a:gd name="connsiteX48" fmla="*/ 243962 w 254673"/>
                    <a:gd name="connsiteY48" fmla="*/ 15240 h 227192"/>
                    <a:gd name="connsiteX49" fmla="*/ 234437 w 254673"/>
                    <a:gd name="connsiteY49" fmla="*/ 3810 h 227192"/>
                    <a:gd name="connsiteX50" fmla="*/ 228722 w 254673"/>
                    <a:gd name="connsiteY50" fmla="*/ 0 h 227192"/>
                    <a:gd name="connsiteX51" fmla="*/ 217292 w 254673"/>
                    <a:gd name="connsiteY51" fmla="*/ 1905 h 227192"/>
                    <a:gd name="connsiteX52" fmla="*/ 213482 w 254673"/>
                    <a:gd name="connsiteY52" fmla="*/ 7620 h 227192"/>
                    <a:gd name="connsiteX53" fmla="*/ 207767 w 254673"/>
                    <a:gd name="connsiteY53" fmla="*/ 9525 h 227192"/>
                    <a:gd name="connsiteX54" fmla="*/ 203957 w 254673"/>
                    <a:gd name="connsiteY54" fmla="*/ 20955 h 227192"/>
                    <a:gd name="connsiteX55" fmla="*/ 202052 w 254673"/>
                    <a:gd name="connsiteY55" fmla="*/ 26670 h 227192"/>
                    <a:gd name="connsiteX56" fmla="*/ 200147 w 254673"/>
                    <a:gd name="connsiteY56" fmla="*/ 38100 h 227192"/>
                    <a:gd name="connsiteX57" fmla="*/ 205862 w 254673"/>
                    <a:gd name="connsiteY57" fmla="*/ 72390 h 227192"/>
                    <a:gd name="connsiteX58" fmla="*/ 213482 w 254673"/>
                    <a:gd name="connsiteY58" fmla="*/ 83820 h 227192"/>
                    <a:gd name="connsiteX59" fmla="*/ 217292 w 254673"/>
                    <a:gd name="connsiteY59" fmla="*/ 89535 h 227192"/>
                    <a:gd name="connsiteX60" fmla="*/ 215387 w 254673"/>
                    <a:gd name="connsiteY60" fmla="*/ 97155 h 227192"/>
                    <a:gd name="connsiteX61" fmla="*/ 203957 w 254673"/>
                    <a:gd name="connsiteY61" fmla="*/ 104775 h 227192"/>
                    <a:gd name="connsiteX62" fmla="*/ 198242 w 254673"/>
                    <a:gd name="connsiteY62" fmla="*/ 116205 h 227192"/>
                    <a:gd name="connsiteX63" fmla="*/ 196337 w 254673"/>
                    <a:gd name="connsiteY63" fmla="*/ 121920 h 227192"/>
                    <a:gd name="connsiteX64" fmla="*/ 190622 w 254673"/>
                    <a:gd name="connsiteY64" fmla="*/ 133350 h 227192"/>
                    <a:gd name="connsiteX65" fmla="*/ 183002 w 254673"/>
                    <a:gd name="connsiteY65" fmla="*/ 154305 h 227192"/>
                    <a:gd name="connsiteX66" fmla="*/ 175382 w 254673"/>
                    <a:gd name="connsiteY66" fmla="*/ 156210 h 227192"/>
                    <a:gd name="connsiteX67" fmla="*/ 169667 w 254673"/>
                    <a:gd name="connsiteY67" fmla="*/ 150495 h 227192"/>
                    <a:gd name="connsiteX68" fmla="*/ 167762 w 254673"/>
                    <a:gd name="connsiteY68" fmla="*/ 144780 h 227192"/>
                    <a:gd name="connsiteX69" fmla="*/ 156332 w 254673"/>
                    <a:gd name="connsiteY69" fmla="*/ 140970 h 227192"/>
                    <a:gd name="connsiteX70" fmla="*/ 150617 w 254673"/>
                    <a:gd name="connsiteY70" fmla="*/ 139065 h 227192"/>
                    <a:gd name="connsiteX71" fmla="*/ 139187 w 254673"/>
                    <a:gd name="connsiteY71" fmla="*/ 135255 h 227192"/>
                    <a:gd name="connsiteX72" fmla="*/ 133472 w 254673"/>
                    <a:gd name="connsiteY72" fmla="*/ 133350 h 227192"/>
                    <a:gd name="connsiteX73" fmla="*/ 122042 w 254673"/>
                    <a:gd name="connsiteY73" fmla="*/ 127635 h 227192"/>
                    <a:gd name="connsiteX74" fmla="*/ 89657 w 254673"/>
                    <a:gd name="connsiteY74" fmla="*/ 125730 h 227192"/>
                    <a:gd name="connsiteX75" fmla="*/ 78227 w 254673"/>
                    <a:gd name="connsiteY75" fmla="*/ 116205 h 227192"/>
                    <a:gd name="connsiteX76" fmla="*/ 76322 w 254673"/>
                    <a:gd name="connsiteY76" fmla="*/ 110490 h 227192"/>
                    <a:gd name="connsiteX77" fmla="*/ 72512 w 254673"/>
                    <a:gd name="connsiteY77" fmla="*/ 104775 h 227192"/>
                    <a:gd name="connsiteX78" fmla="*/ 68702 w 254673"/>
                    <a:gd name="connsiteY78" fmla="*/ 89535 h 227192"/>
                    <a:gd name="connsiteX79" fmla="*/ 62987 w 254673"/>
                    <a:gd name="connsiteY79" fmla="*/ 85725 h 227192"/>
                    <a:gd name="connsiteX80" fmla="*/ 53462 w 254673"/>
                    <a:gd name="connsiteY80" fmla="*/ 83820 h 227192"/>
                    <a:gd name="connsiteX81" fmla="*/ 47747 w 254673"/>
                    <a:gd name="connsiteY81" fmla="*/ 80010 h 227192"/>
                    <a:gd name="connsiteX82" fmla="*/ 42032 w 254673"/>
                    <a:gd name="connsiteY82" fmla="*/ 78105 h 227192"/>
                    <a:gd name="connsiteX83" fmla="*/ 34412 w 254673"/>
                    <a:gd name="connsiteY83" fmla="*/ 64770 h 227192"/>
                    <a:gd name="connsiteX84" fmla="*/ 30602 w 254673"/>
                    <a:gd name="connsiteY84" fmla="*/ 53340 h 227192"/>
                    <a:gd name="connsiteX85" fmla="*/ 34412 w 254673"/>
                    <a:gd name="connsiteY85" fmla="*/ 47625 h 227192"/>
                    <a:gd name="connsiteX86" fmla="*/ 32507 w 254673"/>
                    <a:gd name="connsiteY86" fmla="*/ 28575 h 227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</a:cxnLst>
                  <a:rect l="l" t="t" r="r" b="b"/>
                  <a:pathLst>
                    <a:path w="254673" h="227192">
                      <a:moveTo>
                        <a:pt x="32507" y="28575"/>
                      </a:moveTo>
                      <a:cubicBezTo>
                        <a:pt x="32825" y="25718"/>
                        <a:pt x="38222" y="31750"/>
                        <a:pt x="36317" y="30480"/>
                      </a:cubicBezTo>
                      <a:cubicBezTo>
                        <a:pt x="34412" y="29210"/>
                        <a:pt x="26792" y="22543"/>
                        <a:pt x="21077" y="20955"/>
                      </a:cubicBezTo>
                      <a:cubicBezTo>
                        <a:pt x="15362" y="19368"/>
                        <a:pt x="5519" y="20003"/>
                        <a:pt x="2027" y="20955"/>
                      </a:cubicBezTo>
                      <a:cubicBezTo>
                        <a:pt x="-1465" y="21907"/>
                        <a:pt x="757" y="24765"/>
                        <a:pt x="122" y="26670"/>
                      </a:cubicBezTo>
                      <a:cubicBezTo>
                        <a:pt x="757" y="33655"/>
                        <a:pt x="48" y="40896"/>
                        <a:pt x="2027" y="47625"/>
                      </a:cubicBezTo>
                      <a:cubicBezTo>
                        <a:pt x="3319" y="52018"/>
                        <a:pt x="8199" y="54711"/>
                        <a:pt x="9647" y="59055"/>
                      </a:cubicBezTo>
                      <a:lnTo>
                        <a:pt x="13457" y="70485"/>
                      </a:lnTo>
                      <a:cubicBezTo>
                        <a:pt x="14092" y="80010"/>
                        <a:pt x="14308" y="89572"/>
                        <a:pt x="15362" y="99060"/>
                      </a:cubicBezTo>
                      <a:cubicBezTo>
                        <a:pt x="15584" y="101056"/>
                        <a:pt x="16013" y="103207"/>
                        <a:pt x="17267" y="104775"/>
                      </a:cubicBezTo>
                      <a:cubicBezTo>
                        <a:pt x="18697" y="106563"/>
                        <a:pt x="21077" y="107315"/>
                        <a:pt x="22982" y="108585"/>
                      </a:cubicBezTo>
                      <a:cubicBezTo>
                        <a:pt x="24252" y="110490"/>
                        <a:pt x="25173" y="112681"/>
                        <a:pt x="26792" y="114300"/>
                      </a:cubicBezTo>
                      <a:cubicBezTo>
                        <a:pt x="28411" y="115919"/>
                        <a:pt x="31294" y="116168"/>
                        <a:pt x="32507" y="118110"/>
                      </a:cubicBezTo>
                      <a:cubicBezTo>
                        <a:pt x="39079" y="128624"/>
                        <a:pt x="31444" y="129680"/>
                        <a:pt x="42032" y="131445"/>
                      </a:cubicBezTo>
                      <a:cubicBezTo>
                        <a:pt x="47704" y="132390"/>
                        <a:pt x="53462" y="132715"/>
                        <a:pt x="59177" y="133350"/>
                      </a:cubicBezTo>
                      <a:cubicBezTo>
                        <a:pt x="71402" y="151687"/>
                        <a:pt x="58865" y="130751"/>
                        <a:pt x="64892" y="180975"/>
                      </a:cubicBezTo>
                      <a:cubicBezTo>
                        <a:pt x="65712" y="187808"/>
                        <a:pt x="70129" y="186451"/>
                        <a:pt x="74417" y="188595"/>
                      </a:cubicBezTo>
                      <a:cubicBezTo>
                        <a:pt x="76465" y="189619"/>
                        <a:pt x="78227" y="191135"/>
                        <a:pt x="80132" y="192405"/>
                      </a:cubicBezTo>
                      <a:cubicBezTo>
                        <a:pt x="84422" y="205275"/>
                        <a:pt x="78472" y="191325"/>
                        <a:pt x="87752" y="201930"/>
                      </a:cubicBezTo>
                      <a:cubicBezTo>
                        <a:pt x="90767" y="205376"/>
                        <a:pt x="92832" y="209550"/>
                        <a:pt x="95372" y="213360"/>
                      </a:cubicBezTo>
                      <a:cubicBezTo>
                        <a:pt x="96642" y="215265"/>
                        <a:pt x="97010" y="218351"/>
                        <a:pt x="99182" y="219075"/>
                      </a:cubicBezTo>
                      <a:lnTo>
                        <a:pt x="104897" y="220980"/>
                      </a:lnTo>
                      <a:cubicBezTo>
                        <a:pt x="106167" y="222885"/>
                        <a:pt x="106449" y="226319"/>
                        <a:pt x="108707" y="226695"/>
                      </a:cubicBezTo>
                      <a:cubicBezTo>
                        <a:pt x="118529" y="228332"/>
                        <a:pt x="125235" y="225631"/>
                        <a:pt x="133472" y="222885"/>
                      </a:cubicBezTo>
                      <a:cubicBezTo>
                        <a:pt x="137282" y="219075"/>
                        <a:pt x="141913" y="215938"/>
                        <a:pt x="144902" y="211455"/>
                      </a:cubicBezTo>
                      <a:cubicBezTo>
                        <a:pt x="146172" y="209550"/>
                        <a:pt x="146770" y="206953"/>
                        <a:pt x="148712" y="205740"/>
                      </a:cubicBezTo>
                      <a:cubicBezTo>
                        <a:pt x="152118" y="203611"/>
                        <a:pt x="160142" y="201930"/>
                        <a:pt x="160142" y="201930"/>
                      </a:cubicBezTo>
                      <a:cubicBezTo>
                        <a:pt x="160777" y="200025"/>
                        <a:pt x="161611" y="198175"/>
                        <a:pt x="162047" y="196215"/>
                      </a:cubicBezTo>
                      <a:cubicBezTo>
                        <a:pt x="162885" y="192444"/>
                        <a:pt x="161408" y="187692"/>
                        <a:pt x="163952" y="184785"/>
                      </a:cubicBezTo>
                      <a:cubicBezTo>
                        <a:pt x="166597" y="181763"/>
                        <a:pt x="175382" y="180975"/>
                        <a:pt x="175382" y="180975"/>
                      </a:cubicBezTo>
                      <a:cubicBezTo>
                        <a:pt x="183002" y="181610"/>
                        <a:pt x="190744" y="181380"/>
                        <a:pt x="198242" y="182880"/>
                      </a:cubicBezTo>
                      <a:cubicBezTo>
                        <a:pt x="200487" y="183329"/>
                        <a:pt x="201909" y="185666"/>
                        <a:pt x="203957" y="186690"/>
                      </a:cubicBezTo>
                      <a:cubicBezTo>
                        <a:pt x="205753" y="187588"/>
                        <a:pt x="207767" y="187960"/>
                        <a:pt x="209672" y="188595"/>
                      </a:cubicBezTo>
                      <a:cubicBezTo>
                        <a:pt x="213482" y="187960"/>
                        <a:pt x="217438" y="187911"/>
                        <a:pt x="221102" y="186690"/>
                      </a:cubicBezTo>
                      <a:cubicBezTo>
                        <a:pt x="223274" y="185966"/>
                        <a:pt x="225198" y="184499"/>
                        <a:pt x="226817" y="182880"/>
                      </a:cubicBezTo>
                      <a:cubicBezTo>
                        <a:pt x="231345" y="178352"/>
                        <a:pt x="232551" y="171394"/>
                        <a:pt x="234437" y="165735"/>
                      </a:cubicBezTo>
                      <a:lnTo>
                        <a:pt x="238247" y="154305"/>
                      </a:lnTo>
                      <a:lnTo>
                        <a:pt x="240152" y="148590"/>
                      </a:lnTo>
                      <a:cubicBezTo>
                        <a:pt x="242501" y="127453"/>
                        <a:pt x="240239" y="136900"/>
                        <a:pt x="245867" y="120015"/>
                      </a:cubicBezTo>
                      <a:lnTo>
                        <a:pt x="247772" y="114300"/>
                      </a:lnTo>
                      <a:lnTo>
                        <a:pt x="249677" y="108585"/>
                      </a:lnTo>
                      <a:cubicBezTo>
                        <a:pt x="248493" y="105032"/>
                        <a:pt x="245171" y="93272"/>
                        <a:pt x="242057" y="89535"/>
                      </a:cubicBezTo>
                      <a:cubicBezTo>
                        <a:pt x="240591" y="87776"/>
                        <a:pt x="238247" y="86995"/>
                        <a:pt x="236342" y="85725"/>
                      </a:cubicBezTo>
                      <a:cubicBezTo>
                        <a:pt x="236977" y="83820"/>
                        <a:pt x="236827" y="81430"/>
                        <a:pt x="238247" y="80010"/>
                      </a:cubicBezTo>
                      <a:cubicBezTo>
                        <a:pt x="239667" y="78590"/>
                        <a:pt x="242166" y="79003"/>
                        <a:pt x="243962" y="78105"/>
                      </a:cubicBezTo>
                      <a:cubicBezTo>
                        <a:pt x="246010" y="77081"/>
                        <a:pt x="247772" y="75565"/>
                        <a:pt x="249677" y="74295"/>
                      </a:cubicBezTo>
                      <a:cubicBezTo>
                        <a:pt x="257118" y="51971"/>
                        <a:pt x="254922" y="63173"/>
                        <a:pt x="251582" y="24765"/>
                      </a:cubicBezTo>
                      <a:cubicBezTo>
                        <a:pt x="251408" y="22765"/>
                        <a:pt x="250931" y="20618"/>
                        <a:pt x="249677" y="19050"/>
                      </a:cubicBezTo>
                      <a:cubicBezTo>
                        <a:pt x="248247" y="17262"/>
                        <a:pt x="245867" y="16510"/>
                        <a:pt x="243962" y="15240"/>
                      </a:cubicBezTo>
                      <a:cubicBezTo>
                        <a:pt x="240216" y="9621"/>
                        <a:pt x="239937" y="8394"/>
                        <a:pt x="234437" y="3810"/>
                      </a:cubicBezTo>
                      <a:cubicBezTo>
                        <a:pt x="232678" y="2344"/>
                        <a:pt x="230627" y="1270"/>
                        <a:pt x="228722" y="0"/>
                      </a:cubicBezTo>
                      <a:cubicBezTo>
                        <a:pt x="224912" y="635"/>
                        <a:pt x="220747" y="178"/>
                        <a:pt x="217292" y="1905"/>
                      </a:cubicBezTo>
                      <a:cubicBezTo>
                        <a:pt x="215244" y="2929"/>
                        <a:pt x="215270" y="6190"/>
                        <a:pt x="213482" y="7620"/>
                      </a:cubicBezTo>
                      <a:cubicBezTo>
                        <a:pt x="211914" y="8874"/>
                        <a:pt x="209672" y="8890"/>
                        <a:pt x="207767" y="9525"/>
                      </a:cubicBezTo>
                      <a:lnTo>
                        <a:pt x="203957" y="20955"/>
                      </a:lnTo>
                      <a:cubicBezTo>
                        <a:pt x="203322" y="22860"/>
                        <a:pt x="202382" y="24689"/>
                        <a:pt x="202052" y="26670"/>
                      </a:cubicBezTo>
                      <a:lnTo>
                        <a:pt x="200147" y="38100"/>
                      </a:lnTo>
                      <a:cubicBezTo>
                        <a:pt x="200692" y="44635"/>
                        <a:pt x="200524" y="64383"/>
                        <a:pt x="205862" y="72390"/>
                      </a:cubicBezTo>
                      <a:lnTo>
                        <a:pt x="213482" y="83820"/>
                      </a:lnTo>
                      <a:lnTo>
                        <a:pt x="217292" y="89535"/>
                      </a:lnTo>
                      <a:cubicBezTo>
                        <a:pt x="216657" y="92075"/>
                        <a:pt x="217111" y="95185"/>
                        <a:pt x="215387" y="97155"/>
                      </a:cubicBezTo>
                      <a:cubicBezTo>
                        <a:pt x="212372" y="100601"/>
                        <a:pt x="203957" y="104775"/>
                        <a:pt x="203957" y="104775"/>
                      </a:cubicBezTo>
                      <a:cubicBezTo>
                        <a:pt x="199169" y="119140"/>
                        <a:pt x="205628" y="101433"/>
                        <a:pt x="198242" y="116205"/>
                      </a:cubicBezTo>
                      <a:cubicBezTo>
                        <a:pt x="197344" y="118001"/>
                        <a:pt x="197235" y="120124"/>
                        <a:pt x="196337" y="121920"/>
                      </a:cubicBezTo>
                      <a:cubicBezTo>
                        <a:pt x="188951" y="136692"/>
                        <a:pt x="195410" y="118985"/>
                        <a:pt x="190622" y="133350"/>
                      </a:cubicBezTo>
                      <a:cubicBezTo>
                        <a:pt x="189197" y="146178"/>
                        <a:pt x="193210" y="149930"/>
                        <a:pt x="183002" y="154305"/>
                      </a:cubicBezTo>
                      <a:cubicBezTo>
                        <a:pt x="180596" y="155336"/>
                        <a:pt x="177922" y="155575"/>
                        <a:pt x="175382" y="156210"/>
                      </a:cubicBezTo>
                      <a:cubicBezTo>
                        <a:pt x="173477" y="154305"/>
                        <a:pt x="171161" y="152737"/>
                        <a:pt x="169667" y="150495"/>
                      </a:cubicBezTo>
                      <a:cubicBezTo>
                        <a:pt x="168553" y="148824"/>
                        <a:pt x="169396" y="145947"/>
                        <a:pt x="167762" y="144780"/>
                      </a:cubicBezTo>
                      <a:cubicBezTo>
                        <a:pt x="164494" y="142446"/>
                        <a:pt x="160142" y="142240"/>
                        <a:pt x="156332" y="140970"/>
                      </a:cubicBezTo>
                      <a:lnTo>
                        <a:pt x="150617" y="139065"/>
                      </a:lnTo>
                      <a:lnTo>
                        <a:pt x="139187" y="135255"/>
                      </a:lnTo>
                      <a:cubicBezTo>
                        <a:pt x="137282" y="134620"/>
                        <a:pt x="135143" y="134464"/>
                        <a:pt x="133472" y="133350"/>
                      </a:cubicBezTo>
                      <a:cubicBezTo>
                        <a:pt x="129789" y="130895"/>
                        <a:pt x="126681" y="128099"/>
                        <a:pt x="122042" y="127635"/>
                      </a:cubicBezTo>
                      <a:cubicBezTo>
                        <a:pt x="111282" y="126559"/>
                        <a:pt x="100452" y="126365"/>
                        <a:pt x="89657" y="125730"/>
                      </a:cubicBezTo>
                      <a:cubicBezTo>
                        <a:pt x="85440" y="122919"/>
                        <a:pt x="81161" y="120605"/>
                        <a:pt x="78227" y="116205"/>
                      </a:cubicBezTo>
                      <a:cubicBezTo>
                        <a:pt x="77113" y="114534"/>
                        <a:pt x="77220" y="112286"/>
                        <a:pt x="76322" y="110490"/>
                      </a:cubicBezTo>
                      <a:cubicBezTo>
                        <a:pt x="75298" y="108442"/>
                        <a:pt x="73782" y="106680"/>
                        <a:pt x="72512" y="104775"/>
                      </a:cubicBezTo>
                      <a:cubicBezTo>
                        <a:pt x="72417" y="104301"/>
                        <a:pt x="70264" y="91488"/>
                        <a:pt x="68702" y="89535"/>
                      </a:cubicBezTo>
                      <a:cubicBezTo>
                        <a:pt x="67272" y="87747"/>
                        <a:pt x="65131" y="86529"/>
                        <a:pt x="62987" y="85725"/>
                      </a:cubicBezTo>
                      <a:cubicBezTo>
                        <a:pt x="59955" y="84588"/>
                        <a:pt x="56637" y="84455"/>
                        <a:pt x="53462" y="83820"/>
                      </a:cubicBezTo>
                      <a:cubicBezTo>
                        <a:pt x="51557" y="82550"/>
                        <a:pt x="49795" y="81034"/>
                        <a:pt x="47747" y="80010"/>
                      </a:cubicBezTo>
                      <a:cubicBezTo>
                        <a:pt x="45951" y="79112"/>
                        <a:pt x="43600" y="79359"/>
                        <a:pt x="42032" y="78105"/>
                      </a:cubicBezTo>
                      <a:cubicBezTo>
                        <a:pt x="40010" y="76488"/>
                        <a:pt x="35074" y="66424"/>
                        <a:pt x="34412" y="64770"/>
                      </a:cubicBezTo>
                      <a:cubicBezTo>
                        <a:pt x="32920" y="61041"/>
                        <a:pt x="30602" y="53340"/>
                        <a:pt x="30602" y="53340"/>
                      </a:cubicBezTo>
                      <a:cubicBezTo>
                        <a:pt x="31872" y="51435"/>
                        <a:pt x="34236" y="49908"/>
                        <a:pt x="34412" y="47625"/>
                      </a:cubicBezTo>
                      <a:cubicBezTo>
                        <a:pt x="34901" y="41262"/>
                        <a:pt x="33477" y="34882"/>
                        <a:pt x="32507" y="28575"/>
                      </a:cubicBezTo>
                      <a:close/>
                    </a:path>
                  </a:pathLst>
                </a:custGeom>
                <a:solidFill>
                  <a:srgbClr val="9E6AAF">
                    <a:alpha val="72941"/>
                  </a:srgbClr>
                </a:solidFill>
                <a:ln w="19050" cap="flat" cmpd="sng" algn="ctr">
                  <a:solidFill>
                    <a:srgbClr val="7F5292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5783">
                    <a:defRPr/>
                  </a:pPr>
                  <a:endParaRPr lang="en-US" sz="1000" kern="0">
                    <a:solidFill>
                      <a:srgbClr val="FFFFFF"/>
                    </a:solidFill>
                    <a:latin typeface="Arial" panose="020B0604020202020204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320" name="Group 1319">
                <a:extLst>
                  <a:ext uri="{FF2B5EF4-FFF2-40B4-BE49-F238E27FC236}">
                    <a16:creationId xmlns:a16="http://schemas.microsoft.com/office/drawing/2014/main" id="{EAD9CD76-CCF6-EAA3-0AE4-DA0831690151}"/>
                  </a:ext>
                </a:extLst>
              </p:cNvPr>
              <p:cNvGrpSpPr/>
              <p:nvPr/>
            </p:nvGrpSpPr>
            <p:grpSpPr>
              <a:xfrm rot="4790200">
                <a:off x="3769912" y="4186776"/>
                <a:ext cx="174867" cy="196879"/>
                <a:chOff x="3390226" y="902644"/>
                <a:chExt cx="294782" cy="292335"/>
              </a:xfrm>
            </p:grpSpPr>
            <p:grpSp>
              <p:nvGrpSpPr>
                <p:cNvPr id="1321" name="Group 1320">
                  <a:extLst>
                    <a:ext uri="{FF2B5EF4-FFF2-40B4-BE49-F238E27FC236}">
                      <a16:creationId xmlns:a16="http://schemas.microsoft.com/office/drawing/2014/main" id="{8DF57A4E-41F3-86F7-5DCE-146432CEA72F}"/>
                    </a:ext>
                  </a:extLst>
                </p:cNvPr>
                <p:cNvGrpSpPr/>
                <p:nvPr/>
              </p:nvGrpSpPr>
              <p:grpSpPr>
                <a:xfrm>
                  <a:off x="3390226" y="902644"/>
                  <a:ext cx="294782" cy="292335"/>
                  <a:chOff x="3390226" y="902644"/>
                  <a:chExt cx="294782" cy="292335"/>
                </a:xfrm>
              </p:grpSpPr>
              <p:sp>
                <p:nvSpPr>
                  <p:cNvPr id="1323" name="Oval 1322">
                    <a:extLst>
                      <a:ext uri="{FF2B5EF4-FFF2-40B4-BE49-F238E27FC236}">
                        <a16:creationId xmlns:a16="http://schemas.microsoft.com/office/drawing/2014/main" id="{AE2D5794-0C8E-8278-B5C1-03068E338449}"/>
                      </a:ext>
                    </a:extLst>
                  </p:cNvPr>
                  <p:cNvSpPr/>
                  <p:nvPr/>
                </p:nvSpPr>
                <p:spPr>
                  <a:xfrm rot="4711444">
                    <a:off x="3391449" y="901421"/>
                    <a:ext cx="292335" cy="294782"/>
                  </a:xfrm>
                  <a:prstGeom prst="ellipse">
                    <a:avLst/>
                  </a:prstGeom>
                  <a:solidFill>
                    <a:srgbClr val="FF2B28">
                      <a:lumMod val="20000"/>
                      <a:lumOff val="80000"/>
                    </a:srgbClr>
                  </a:solidFill>
                  <a:ln w="15875" cap="flat" cmpd="sng" algn="ctr">
                    <a:solidFill>
                      <a:srgbClr val="CC95BC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5783">
                      <a:defRPr/>
                    </a:pPr>
                    <a:endParaRPr lang="en-US" sz="1000" kern="0">
                      <a:solidFill>
                        <a:srgbClr val="FFFFFF"/>
                      </a:solidFill>
                      <a:latin typeface="Arial" panose="020B0604020202020204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1324" name="Group 1323">
                    <a:extLst>
                      <a:ext uri="{FF2B5EF4-FFF2-40B4-BE49-F238E27FC236}">
                        <a16:creationId xmlns:a16="http://schemas.microsoft.com/office/drawing/2014/main" id="{0DFFC51C-8B20-E83A-0C82-CCEF0FEA13E3}"/>
                      </a:ext>
                    </a:extLst>
                  </p:cNvPr>
                  <p:cNvGrpSpPr/>
                  <p:nvPr/>
                </p:nvGrpSpPr>
                <p:grpSpPr>
                  <a:xfrm rot="4711444">
                    <a:off x="3413226" y="963115"/>
                    <a:ext cx="164790" cy="149511"/>
                    <a:chOff x="8770428" y="4145225"/>
                    <a:chExt cx="307647" cy="276804"/>
                  </a:xfrm>
                </p:grpSpPr>
                <p:sp>
                  <p:nvSpPr>
                    <p:cNvPr id="1375" name="Freeform: Shape 474">
                      <a:extLst>
                        <a:ext uri="{FF2B5EF4-FFF2-40B4-BE49-F238E27FC236}">
                          <a16:creationId xmlns:a16="http://schemas.microsoft.com/office/drawing/2014/main" id="{347F18B4-69ED-110D-5402-77885A654D64}"/>
                        </a:ext>
                      </a:extLst>
                    </p:cNvPr>
                    <p:cNvSpPr/>
                    <p:nvPr/>
                  </p:nvSpPr>
                  <p:spPr>
                    <a:xfrm rot="5813516">
                      <a:off x="8823930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76" name="Freeform: Shape 475">
                      <a:extLst>
                        <a:ext uri="{FF2B5EF4-FFF2-40B4-BE49-F238E27FC236}">
                          <a16:creationId xmlns:a16="http://schemas.microsoft.com/office/drawing/2014/main" id="{064D20C0-0A15-FD56-22A2-62D99575E6FE}"/>
                        </a:ext>
                      </a:extLst>
                    </p:cNvPr>
                    <p:cNvSpPr/>
                    <p:nvPr/>
                  </p:nvSpPr>
                  <p:spPr>
                    <a:xfrm rot="6799576">
                      <a:off x="8855933" y="4253069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77" name="Freeform: Shape 476">
                      <a:extLst>
                        <a:ext uri="{FF2B5EF4-FFF2-40B4-BE49-F238E27FC236}">
                          <a16:creationId xmlns:a16="http://schemas.microsoft.com/office/drawing/2014/main" id="{23695F06-AC02-F95A-978A-18B4DE4A321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50061" y="4188172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78" name="Freeform: Shape 477">
                      <a:extLst>
                        <a:ext uri="{FF2B5EF4-FFF2-40B4-BE49-F238E27FC236}">
                          <a16:creationId xmlns:a16="http://schemas.microsoft.com/office/drawing/2014/main" id="{AB32336F-009A-491E-E43D-10422978C970}"/>
                        </a:ext>
                      </a:extLst>
                    </p:cNvPr>
                    <p:cNvSpPr/>
                    <p:nvPr/>
                  </p:nvSpPr>
                  <p:spPr>
                    <a:xfrm rot="15284729">
                      <a:off x="8851362" y="4146483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79" name="Freeform: Shape 478">
                      <a:extLst>
                        <a:ext uri="{FF2B5EF4-FFF2-40B4-BE49-F238E27FC236}">
                          <a16:creationId xmlns:a16="http://schemas.microsoft.com/office/drawing/2014/main" id="{98AD17A1-2332-3005-D485-EA2D1F37E7CD}"/>
                        </a:ext>
                      </a:extLst>
                    </p:cNvPr>
                    <p:cNvSpPr/>
                    <p:nvPr/>
                  </p:nvSpPr>
                  <p:spPr>
                    <a:xfrm rot="4030563">
                      <a:off x="8954046" y="4390351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80" name="Freeform: Shape 479">
                      <a:extLst>
                        <a:ext uri="{FF2B5EF4-FFF2-40B4-BE49-F238E27FC236}">
                          <a16:creationId xmlns:a16="http://schemas.microsoft.com/office/drawing/2014/main" id="{6B456690-43A3-6C77-F3FD-7A9905CA258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78794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81" name="Freeform: Shape 480">
                      <a:extLst>
                        <a:ext uri="{FF2B5EF4-FFF2-40B4-BE49-F238E27FC236}">
                          <a16:creationId xmlns:a16="http://schemas.microsoft.com/office/drawing/2014/main" id="{F8858E62-D040-EC3C-86E3-7BC1EA0E6A8E}"/>
                        </a:ext>
                      </a:extLst>
                    </p:cNvPr>
                    <p:cNvSpPr/>
                    <p:nvPr/>
                  </p:nvSpPr>
                  <p:spPr>
                    <a:xfrm rot="1648623">
                      <a:off x="8778238" y="4278378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82" name="Freeform: Shape 481">
                      <a:extLst>
                        <a:ext uri="{FF2B5EF4-FFF2-40B4-BE49-F238E27FC236}">
                          <a16:creationId xmlns:a16="http://schemas.microsoft.com/office/drawing/2014/main" id="{491CD43E-8EE1-F4CE-F279-BED30FFFF924}"/>
                        </a:ext>
                      </a:extLst>
                    </p:cNvPr>
                    <p:cNvSpPr/>
                    <p:nvPr/>
                  </p:nvSpPr>
                  <p:spPr>
                    <a:xfrm rot="20582585">
                      <a:off x="8817085" y="4302941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83" name="Freeform: Shape 482">
                      <a:extLst>
                        <a:ext uri="{FF2B5EF4-FFF2-40B4-BE49-F238E27FC236}">
                          <a16:creationId xmlns:a16="http://schemas.microsoft.com/office/drawing/2014/main" id="{0C40A8C1-FC35-064D-1ECE-4C4F5A698D17}"/>
                        </a:ext>
                      </a:extLst>
                    </p:cNvPr>
                    <p:cNvSpPr/>
                    <p:nvPr/>
                  </p:nvSpPr>
                  <p:spPr>
                    <a:xfrm rot="17414284">
                      <a:off x="8943702" y="414065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84" name="Freeform: Shape 483">
                      <a:extLst>
                        <a:ext uri="{FF2B5EF4-FFF2-40B4-BE49-F238E27FC236}">
                          <a16:creationId xmlns:a16="http://schemas.microsoft.com/office/drawing/2014/main" id="{39D860B8-E3BF-7A1D-A8D9-7D076665BD33}"/>
                        </a:ext>
                      </a:extLst>
                    </p:cNvPr>
                    <p:cNvSpPr/>
                    <p:nvPr/>
                  </p:nvSpPr>
                  <p:spPr>
                    <a:xfrm rot="9043087">
                      <a:off x="8883430" y="4342996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85" name="Freeform: Shape 484">
                      <a:extLst>
                        <a:ext uri="{FF2B5EF4-FFF2-40B4-BE49-F238E27FC236}">
                          <a16:creationId xmlns:a16="http://schemas.microsoft.com/office/drawing/2014/main" id="{2676A73A-51EE-5CB9-8F12-1C4DE7CEFDA8}"/>
                        </a:ext>
                      </a:extLst>
                    </p:cNvPr>
                    <p:cNvSpPr/>
                    <p:nvPr/>
                  </p:nvSpPr>
                  <p:spPr>
                    <a:xfrm rot="5209521">
                      <a:off x="8961351" y="4317762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86" name="Freeform: Shape 485">
                      <a:extLst>
                        <a:ext uri="{FF2B5EF4-FFF2-40B4-BE49-F238E27FC236}">
                          <a16:creationId xmlns:a16="http://schemas.microsoft.com/office/drawing/2014/main" id="{8D6580D2-8F6C-9781-86B9-5FD25DB639C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18409" y="432953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87" name="Rectangle: Rounded Corners 486">
                      <a:extLst>
                        <a:ext uri="{FF2B5EF4-FFF2-40B4-BE49-F238E27FC236}">
                          <a16:creationId xmlns:a16="http://schemas.microsoft.com/office/drawing/2014/main" id="{A03F7854-0F7F-8AE0-8C86-3262842E326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86901" y="440374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88" name="Rectangle: Rounded Corners 487">
                      <a:extLst>
                        <a:ext uri="{FF2B5EF4-FFF2-40B4-BE49-F238E27FC236}">
                          <a16:creationId xmlns:a16="http://schemas.microsoft.com/office/drawing/2014/main" id="{8DB8D7DD-8006-F497-E5A8-C14612F325D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58174" y="429137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89" name="Rectangle: Rounded Corners 488">
                      <a:extLst>
                        <a:ext uri="{FF2B5EF4-FFF2-40B4-BE49-F238E27FC236}">
                          <a16:creationId xmlns:a16="http://schemas.microsoft.com/office/drawing/2014/main" id="{7C2732E0-B7D1-CF8F-07DF-79DE46559BC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770428" y="419613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90" name="Rectangle: Rounded Corners 489">
                      <a:extLst>
                        <a:ext uri="{FF2B5EF4-FFF2-40B4-BE49-F238E27FC236}">
                          <a16:creationId xmlns:a16="http://schemas.microsoft.com/office/drawing/2014/main" id="{198FE2A8-B300-5C38-65AF-6BA74A17739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24873" y="4240076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91" name="Rectangle: Rounded Corners 490">
                      <a:extLst>
                        <a:ext uri="{FF2B5EF4-FFF2-40B4-BE49-F238E27FC236}">
                          <a16:creationId xmlns:a16="http://schemas.microsoft.com/office/drawing/2014/main" id="{9FF9AE05-F1C4-07F0-D142-A56AB1A2601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50643" y="429398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92" name="Rectangle: Rounded Corners 491">
                      <a:extLst>
                        <a:ext uri="{FF2B5EF4-FFF2-40B4-BE49-F238E27FC236}">
                          <a16:creationId xmlns:a16="http://schemas.microsoft.com/office/drawing/2014/main" id="{F18274E7-25FA-0A17-611C-DD1A15F4F76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17085" y="439459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</p:grpSp>
              <p:grpSp>
                <p:nvGrpSpPr>
                  <p:cNvPr id="1325" name="Group 1324">
                    <a:extLst>
                      <a:ext uri="{FF2B5EF4-FFF2-40B4-BE49-F238E27FC236}">
                        <a16:creationId xmlns:a16="http://schemas.microsoft.com/office/drawing/2014/main" id="{809DB341-CEB2-F4D4-6DFB-67C4843B43C6}"/>
                      </a:ext>
                    </a:extLst>
                  </p:cNvPr>
                  <p:cNvGrpSpPr/>
                  <p:nvPr/>
                </p:nvGrpSpPr>
                <p:grpSpPr>
                  <a:xfrm rot="13031820">
                    <a:off x="3472433" y="927802"/>
                    <a:ext cx="164791" cy="149512"/>
                    <a:chOff x="8770428" y="4145225"/>
                    <a:chExt cx="307647" cy="276804"/>
                  </a:xfrm>
                </p:grpSpPr>
                <p:sp>
                  <p:nvSpPr>
                    <p:cNvPr id="1359" name="Freeform: Shape 458">
                      <a:extLst>
                        <a:ext uri="{FF2B5EF4-FFF2-40B4-BE49-F238E27FC236}">
                          <a16:creationId xmlns:a16="http://schemas.microsoft.com/office/drawing/2014/main" id="{CB71A9F5-6795-576D-8302-D014B27096CC}"/>
                        </a:ext>
                      </a:extLst>
                    </p:cNvPr>
                    <p:cNvSpPr/>
                    <p:nvPr/>
                  </p:nvSpPr>
                  <p:spPr>
                    <a:xfrm rot="5813516">
                      <a:off x="8823930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60" name="Freeform: Shape 459">
                      <a:extLst>
                        <a:ext uri="{FF2B5EF4-FFF2-40B4-BE49-F238E27FC236}">
                          <a16:creationId xmlns:a16="http://schemas.microsoft.com/office/drawing/2014/main" id="{E2C64137-28BB-A72B-8E04-ADEA919156E4}"/>
                        </a:ext>
                      </a:extLst>
                    </p:cNvPr>
                    <p:cNvSpPr/>
                    <p:nvPr/>
                  </p:nvSpPr>
                  <p:spPr>
                    <a:xfrm rot="15284729">
                      <a:off x="8851362" y="4146483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61" name="Freeform: Shape 460">
                      <a:extLst>
                        <a:ext uri="{FF2B5EF4-FFF2-40B4-BE49-F238E27FC236}">
                          <a16:creationId xmlns:a16="http://schemas.microsoft.com/office/drawing/2014/main" id="{625A740E-6ED5-C628-E4D4-5D32D3434B76}"/>
                        </a:ext>
                      </a:extLst>
                    </p:cNvPr>
                    <p:cNvSpPr/>
                    <p:nvPr/>
                  </p:nvSpPr>
                  <p:spPr>
                    <a:xfrm rot="4030563">
                      <a:off x="8954046" y="4390351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62" name="Freeform: Shape 461">
                      <a:extLst>
                        <a:ext uri="{FF2B5EF4-FFF2-40B4-BE49-F238E27FC236}">
                          <a16:creationId xmlns:a16="http://schemas.microsoft.com/office/drawing/2014/main" id="{607707BF-D78C-CAF4-3E12-66F133821A6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29986" y="4287522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63" name="Freeform: Shape 462">
                      <a:extLst>
                        <a:ext uri="{FF2B5EF4-FFF2-40B4-BE49-F238E27FC236}">
                          <a16:creationId xmlns:a16="http://schemas.microsoft.com/office/drawing/2014/main" id="{463328BB-127E-F969-1597-47603FD779AD}"/>
                        </a:ext>
                      </a:extLst>
                    </p:cNvPr>
                    <p:cNvSpPr/>
                    <p:nvPr/>
                  </p:nvSpPr>
                  <p:spPr>
                    <a:xfrm rot="1648623">
                      <a:off x="8778238" y="4278378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64" name="Freeform: Shape 463">
                      <a:extLst>
                        <a:ext uri="{FF2B5EF4-FFF2-40B4-BE49-F238E27FC236}">
                          <a16:creationId xmlns:a16="http://schemas.microsoft.com/office/drawing/2014/main" id="{3DAB1134-5230-8B97-F4B0-B3B704B3A896}"/>
                        </a:ext>
                      </a:extLst>
                    </p:cNvPr>
                    <p:cNvSpPr/>
                    <p:nvPr/>
                  </p:nvSpPr>
                  <p:spPr>
                    <a:xfrm rot="20582585">
                      <a:off x="8817085" y="4302941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65" name="Freeform: Shape 464">
                      <a:extLst>
                        <a:ext uri="{FF2B5EF4-FFF2-40B4-BE49-F238E27FC236}">
                          <a16:creationId xmlns:a16="http://schemas.microsoft.com/office/drawing/2014/main" id="{F1B5177B-130E-130A-B705-5CB7E3D58AD0}"/>
                        </a:ext>
                      </a:extLst>
                    </p:cNvPr>
                    <p:cNvSpPr/>
                    <p:nvPr/>
                  </p:nvSpPr>
                  <p:spPr>
                    <a:xfrm rot="17414284">
                      <a:off x="8943702" y="414065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66" name="Freeform: Shape 465">
                      <a:extLst>
                        <a:ext uri="{FF2B5EF4-FFF2-40B4-BE49-F238E27FC236}">
                          <a16:creationId xmlns:a16="http://schemas.microsoft.com/office/drawing/2014/main" id="{171A916D-1201-1F67-01C0-700E9CDFDB3E}"/>
                        </a:ext>
                      </a:extLst>
                    </p:cNvPr>
                    <p:cNvSpPr/>
                    <p:nvPr/>
                  </p:nvSpPr>
                  <p:spPr>
                    <a:xfrm rot="9043087">
                      <a:off x="8883430" y="4342996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67" name="Freeform: Shape 466">
                      <a:extLst>
                        <a:ext uri="{FF2B5EF4-FFF2-40B4-BE49-F238E27FC236}">
                          <a16:creationId xmlns:a16="http://schemas.microsoft.com/office/drawing/2014/main" id="{3AB1A74B-D315-D939-DC3A-9BC6F1E53970}"/>
                        </a:ext>
                      </a:extLst>
                    </p:cNvPr>
                    <p:cNvSpPr/>
                    <p:nvPr/>
                  </p:nvSpPr>
                  <p:spPr>
                    <a:xfrm rot="5209521">
                      <a:off x="8961351" y="4317762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68" name="Freeform: Shape 467">
                      <a:extLst>
                        <a:ext uri="{FF2B5EF4-FFF2-40B4-BE49-F238E27FC236}">
                          <a16:creationId xmlns:a16="http://schemas.microsoft.com/office/drawing/2014/main" id="{3B5D49EE-3535-973E-6BA1-87B26858F71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18409" y="432953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69" name="Freeform: Shape 468">
                      <a:extLst>
                        <a:ext uri="{FF2B5EF4-FFF2-40B4-BE49-F238E27FC236}">
                          <a16:creationId xmlns:a16="http://schemas.microsoft.com/office/drawing/2014/main" id="{8051BE28-677B-4854-3D7A-2DBD12D616F7}"/>
                        </a:ext>
                      </a:extLst>
                    </p:cNvPr>
                    <p:cNvSpPr/>
                    <p:nvPr/>
                  </p:nvSpPr>
                  <p:spPr>
                    <a:xfrm rot="18952815">
                      <a:off x="8990335" y="4236377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70" name="Rectangle: Rounded Corners 469">
                      <a:extLst>
                        <a:ext uri="{FF2B5EF4-FFF2-40B4-BE49-F238E27FC236}">
                          <a16:creationId xmlns:a16="http://schemas.microsoft.com/office/drawing/2014/main" id="{F0C02FF1-0883-B3FF-597C-8037656D464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86901" y="440374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71" name="Rectangle: Rounded Corners 470">
                      <a:extLst>
                        <a:ext uri="{FF2B5EF4-FFF2-40B4-BE49-F238E27FC236}">
                          <a16:creationId xmlns:a16="http://schemas.microsoft.com/office/drawing/2014/main" id="{6958F3CB-7010-3D54-E0E6-102534B422F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58174" y="429137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72" name="Rectangle: Rounded Corners 471">
                      <a:extLst>
                        <a:ext uri="{FF2B5EF4-FFF2-40B4-BE49-F238E27FC236}">
                          <a16:creationId xmlns:a16="http://schemas.microsoft.com/office/drawing/2014/main" id="{1D99ADBB-70D6-B548-D63E-33AD0B458B0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770428" y="419613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73" name="Rectangle: Rounded Corners 472">
                      <a:extLst>
                        <a:ext uri="{FF2B5EF4-FFF2-40B4-BE49-F238E27FC236}">
                          <a16:creationId xmlns:a16="http://schemas.microsoft.com/office/drawing/2014/main" id="{7646494A-2B18-DD3F-2E6E-CEE196BC302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50643" y="429398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74" name="Rectangle: Rounded Corners 473">
                      <a:extLst>
                        <a:ext uri="{FF2B5EF4-FFF2-40B4-BE49-F238E27FC236}">
                          <a16:creationId xmlns:a16="http://schemas.microsoft.com/office/drawing/2014/main" id="{C6D615EE-EBFC-6DE6-9D95-D482EBD4414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17085" y="439459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</p:grpSp>
              <p:grpSp>
                <p:nvGrpSpPr>
                  <p:cNvPr id="1326" name="Group 1325">
                    <a:extLst>
                      <a:ext uri="{FF2B5EF4-FFF2-40B4-BE49-F238E27FC236}">
                        <a16:creationId xmlns:a16="http://schemas.microsoft.com/office/drawing/2014/main" id="{442CE221-7ACF-A1D4-7DD6-11957D1939D0}"/>
                      </a:ext>
                    </a:extLst>
                  </p:cNvPr>
                  <p:cNvGrpSpPr/>
                  <p:nvPr/>
                </p:nvGrpSpPr>
                <p:grpSpPr>
                  <a:xfrm rot="20035314">
                    <a:off x="3439984" y="1013397"/>
                    <a:ext cx="166170" cy="147874"/>
                    <a:chOff x="8770428" y="4145965"/>
                    <a:chExt cx="307647" cy="276064"/>
                  </a:xfrm>
                </p:grpSpPr>
                <p:sp>
                  <p:nvSpPr>
                    <p:cNvPr id="1344" name="Freeform: Shape 443">
                      <a:extLst>
                        <a:ext uri="{FF2B5EF4-FFF2-40B4-BE49-F238E27FC236}">
                          <a16:creationId xmlns:a16="http://schemas.microsoft.com/office/drawing/2014/main" id="{454C945E-2BA5-69B4-899D-88E4E4650CC3}"/>
                        </a:ext>
                      </a:extLst>
                    </p:cNvPr>
                    <p:cNvSpPr/>
                    <p:nvPr/>
                  </p:nvSpPr>
                  <p:spPr>
                    <a:xfrm rot="5813516">
                      <a:off x="8823930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45" name="Freeform: Shape 444">
                      <a:extLst>
                        <a:ext uri="{FF2B5EF4-FFF2-40B4-BE49-F238E27FC236}">
                          <a16:creationId xmlns:a16="http://schemas.microsoft.com/office/drawing/2014/main" id="{98D3DD63-FEF5-F289-29B0-748B7482483F}"/>
                        </a:ext>
                      </a:extLst>
                    </p:cNvPr>
                    <p:cNvSpPr/>
                    <p:nvPr/>
                  </p:nvSpPr>
                  <p:spPr>
                    <a:xfrm rot="15284729">
                      <a:off x="8851362" y="4146483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46" name="Freeform: Shape 445">
                      <a:extLst>
                        <a:ext uri="{FF2B5EF4-FFF2-40B4-BE49-F238E27FC236}">
                          <a16:creationId xmlns:a16="http://schemas.microsoft.com/office/drawing/2014/main" id="{6D0406A1-19BA-0B40-3BA6-D9F936202FBA}"/>
                        </a:ext>
                      </a:extLst>
                    </p:cNvPr>
                    <p:cNvSpPr/>
                    <p:nvPr/>
                  </p:nvSpPr>
                  <p:spPr>
                    <a:xfrm rot="4030563">
                      <a:off x="8954046" y="4390351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47" name="Freeform: Shape 446">
                      <a:extLst>
                        <a:ext uri="{FF2B5EF4-FFF2-40B4-BE49-F238E27FC236}">
                          <a16:creationId xmlns:a16="http://schemas.microsoft.com/office/drawing/2014/main" id="{F9752139-5D73-4FFB-7BD6-177FCC40AE2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78794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48" name="Freeform: Shape 447">
                      <a:extLst>
                        <a:ext uri="{FF2B5EF4-FFF2-40B4-BE49-F238E27FC236}">
                          <a16:creationId xmlns:a16="http://schemas.microsoft.com/office/drawing/2014/main" id="{FB3E48D8-B28D-52F0-849E-7B1BD9731EF7}"/>
                        </a:ext>
                      </a:extLst>
                    </p:cNvPr>
                    <p:cNvSpPr/>
                    <p:nvPr/>
                  </p:nvSpPr>
                  <p:spPr>
                    <a:xfrm rot="1648623">
                      <a:off x="8778238" y="4278378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49" name="Freeform: Shape 448">
                      <a:extLst>
                        <a:ext uri="{FF2B5EF4-FFF2-40B4-BE49-F238E27FC236}">
                          <a16:creationId xmlns:a16="http://schemas.microsoft.com/office/drawing/2014/main" id="{72392076-897A-3C42-0946-E8DB4119D686}"/>
                        </a:ext>
                      </a:extLst>
                    </p:cNvPr>
                    <p:cNvSpPr/>
                    <p:nvPr/>
                  </p:nvSpPr>
                  <p:spPr>
                    <a:xfrm rot="20582585">
                      <a:off x="8817085" y="4302941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50" name="Freeform: Shape 449">
                      <a:extLst>
                        <a:ext uri="{FF2B5EF4-FFF2-40B4-BE49-F238E27FC236}">
                          <a16:creationId xmlns:a16="http://schemas.microsoft.com/office/drawing/2014/main" id="{FCB683A5-C876-6768-A03E-64BF161676D3}"/>
                        </a:ext>
                      </a:extLst>
                    </p:cNvPr>
                    <p:cNvSpPr/>
                    <p:nvPr/>
                  </p:nvSpPr>
                  <p:spPr>
                    <a:xfrm rot="9043087">
                      <a:off x="8883430" y="4342996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51" name="Freeform: Shape 450">
                      <a:extLst>
                        <a:ext uri="{FF2B5EF4-FFF2-40B4-BE49-F238E27FC236}">
                          <a16:creationId xmlns:a16="http://schemas.microsoft.com/office/drawing/2014/main" id="{363616D2-F2E4-B57E-D115-A9566E24153E}"/>
                        </a:ext>
                      </a:extLst>
                    </p:cNvPr>
                    <p:cNvSpPr/>
                    <p:nvPr/>
                  </p:nvSpPr>
                  <p:spPr>
                    <a:xfrm rot="5209521">
                      <a:off x="8961351" y="4317762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52" name="Freeform: Shape 451">
                      <a:extLst>
                        <a:ext uri="{FF2B5EF4-FFF2-40B4-BE49-F238E27FC236}">
                          <a16:creationId xmlns:a16="http://schemas.microsoft.com/office/drawing/2014/main" id="{893AD2D5-4C85-7B05-FA9C-C847BD6F8C3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18409" y="432953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53" name="Rectangle: Rounded Corners 452">
                      <a:extLst>
                        <a:ext uri="{FF2B5EF4-FFF2-40B4-BE49-F238E27FC236}">
                          <a16:creationId xmlns:a16="http://schemas.microsoft.com/office/drawing/2014/main" id="{F7A3988B-6B8F-14BF-930B-891698DDF8A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86901" y="440374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54" name="Rectangle: Rounded Corners 453">
                      <a:extLst>
                        <a:ext uri="{FF2B5EF4-FFF2-40B4-BE49-F238E27FC236}">
                          <a16:creationId xmlns:a16="http://schemas.microsoft.com/office/drawing/2014/main" id="{29545CCB-5264-F67C-9DEC-F59AAAF1F67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58174" y="429137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55" name="Rectangle: Rounded Corners 454">
                      <a:extLst>
                        <a:ext uri="{FF2B5EF4-FFF2-40B4-BE49-F238E27FC236}">
                          <a16:creationId xmlns:a16="http://schemas.microsoft.com/office/drawing/2014/main" id="{CA053A9A-1CB0-7478-F1AE-66D58A60DA9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770428" y="419613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56" name="Rectangle: Rounded Corners 455">
                      <a:extLst>
                        <a:ext uri="{FF2B5EF4-FFF2-40B4-BE49-F238E27FC236}">
                          <a16:creationId xmlns:a16="http://schemas.microsoft.com/office/drawing/2014/main" id="{8F0AB916-71FC-3A96-954F-E5957B0588A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50643" y="429398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57" name="Rectangle: Rounded Corners 456">
                      <a:extLst>
                        <a:ext uri="{FF2B5EF4-FFF2-40B4-BE49-F238E27FC236}">
                          <a16:creationId xmlns:a16="http://schemas.microsoft.com/office/drawing/2014/main" id="{E194776C-1F0D-A1FE-6D35-75025BAF551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17085" y="439459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58" name="Rectangle: Rounded Corners 457">
                      <a:extLst>
                        <a:ext uri="{FF2B5EF4-FFF2-40B4-BE49-F238E27FC236}">
                          <a16:creationId xmlns:a16="http://schemas.microsoft.com/office/drawing/2014/main" id="{E95A057A-460D-7D3B-0717-657F7FC3C65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94095" y="4145965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</p:grpSp>
              <p:grpSp>
                <p:nvGrpSpPr>
                  <p:cNvPr id="1327" name="Group 1326">
                    <a:extLst>
                      <a:ext uri="{FF2B5EF4-FFF2-40B4-BE49-F238E27FC236}">
                        <a16:creationId xmlns:a16="http://schemas.microsoft.com/office/drawing/2014/main" id="{6CF9632B-3A3A-F1BD-49E7-0F444E743DA3}"/>
                      </a:ext>
                    </a:extLst>
                  </p:cNvPr>
                  <p:cNvGrpSpPr/>
                  <p:nvPr/>
                </p:nvGrpSpPr>
                <p:grpSpPr>
                  <a:xfrm rot="4711444">
                    <a:off x="3501494" y="998460"/>
                    <a:ext cx="164790" cy="149511"/>
                    <a:chOff x="8770428" y="4145225"/>
                    <a:chExt cx="307647" cy="276804"/>
                  </a:xfrm>
                </p:grpSpPr>
                <p:sp>
                  <p:nvSpPr>
                    <p:cNvPr id="1328" name="Freeform: Shape 427">
                      <a:extLst>
                        <a:ext uri="{FF2B5EF4-FFF2-40B4-BE49-F238E27FC236}">
                          <a16:creationId xmlns:a16="http://schemas.microsoft.com/office/drawing/2014/main" id="{241719F7-ADEF-A7C8-5A0C-18685FE67672}"/>
                        </a:ext>
                      </a:extLst>
                    </p:cNvPr>
                    <p:cNvSpPr/>
                    <p:nvPr/>
                  </p:nvSpPr>
                  <p:spPr>
                    <a:xfrm rot="5813516">
                      <a:off x="8823930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29" name="Freeform: Shape 428">
                      <a:extLst>
                        <a:ext uri="{FF2B5EF4-FFF2-40B4-BE49-F238E27FC236}">
                          <a16:creationId xmlns:a16="http://schemas.microsoft.com/office/drawing/2014/main" id="{4802C45F-11CB-9063-1701-B2C9659FCE02}"/>
                        </a:ext>
                      </a:extLst>
                    </p:cNvPr>
                    <p:cNvSpPr/>
                    <p:nvPr/>
                  </p:nvSpPr>
                  <p:spPr>
                    <a:xfrm rot="6799576">
                      <a:off x="8855933" y="4253069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30" name="Freeform: Shape 429">
                      <a:extLst>
                        <a:ext uri="{FF2B5EF4-FFF2-40B4-BE49-F238E27FC236}">
                          <a16:creationId xmlns:a16="http://schemas.microsoft.com/office/drawing/2014/main" id="{ABEE08D0-C782-02FB-B421-5338FDD21B5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50061" y="4188172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31" name="Freeform: Shape 430">
                      <a:extLst>
                        <a:ext uri="{FF2B5EF4-FFF2-40B4-BE49-F238E27FC236}">
                          <a16:creationId xmlns:a16="http://schemas.microsoft.com/office/drawing/2014/main" id="{E25213F4-0AB8-3331-C9B8-DB2B55C678B9}"/>
                        </a:ext>
                      </a:extLst>
                    </p:cNvPr>
                    <p:cNvSpPr/>
                    <p:nvPr/>
                  </p:nvSpPr>
                  <p:spPr>
                    <a:xfrm rot="15284729">
                      <a:off x="8851362" y="4146483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32" name="Freeform: Shape 431">
                      <a:extLst>
                        <a:ext uri="{FF2B5EF4-FFF2-40B4-BE49-F238E27FC236}">
                          <a16:creationId xmlns:a16="http://schemas.microsoft.com/office/drawing/2014/main" id="{A6281435-5023-4134-A694-D08FCD9201A6}"/>
                        </a:ext>
                      </a:extLst>
                    </p:cNvPr>
                    <p:cNvSpPr/>
                    <p:nvPr/>
                  </p:nvSpPr>
                  <p:spPr>
                    <a:xfrm rot="4030563">
                      <a:off x="8954046" y="4390351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33" name="Freeform: Shape 432">
                      <a:extLst>
                        <a:ext uri="{FF2B5EF4-FFF2-40B4-BE49-F238E27FC236}">
                          <a16:creationId xmlns:a16="http://schemas.microsoft.com/office/drawing/2014/main" id="{85891CAE-3A16-0D15-C853-42C44BE24E7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78794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34" name="Freeform: Shape 433">
                      <a:extLst>
                        <a:ext uri="{FF2B5EF4-FFF2-40B4-BE49-F238E27FC236}">
                          <a16:creationId xmlns:a16="http://schemas.microsoft.com/office/drawing/2014/main" id="{06050516-2C65-296A-7C56-7926A9870218}"/>
                        </a:ext>
                      </a:extLst>
                    </p:cNvPr>
                    <p:cNvSpPr/>
                    <p:nvPr/>
                  </p:nvSpPr>
                  <p:spPr>
                    <a:xfrm rot="1648623">
                      <a:off x="8778238" y="4278378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35" name="Freeform: Shape 434">
                      <a:extLst>
                        <a:ext uri="{FF2B5EF4-FFF2-40B4-BE49-F238E27FC236}">
                          <a16:creationId xmlns:a16="http://schemas.microsoft.com/office/drawing/2014/main" id="{E69BE34C-99B2-76EF-A3C1-6228139CB1C4}"/>
                        </a:ext>
                      </a:extLst>
                    </p:cNvPr>
                    <p:cNvSpPr/>
                    <p:nvPr/>
                  </p:nvSpPr>
                  <p:spPr>
                    <a:xfrm rot="17414284">
                      <a:off x="8943702" y="414065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36" name="Freeform: Shape 435">
                      <a:extLst>
                        <a:ext uri="{FF2B5EF4-FFF2-40B4-BE49-F238E27FC236}">
                          <a16:creationId xmlns:a16="http://schemas.microsoft.com/office/drawing/2014/main" id="{4793F70B-121E-94E4-815D-E09898C85871}"/>
                        </a:ext>
                      </a:extLst>
                    </p:cNvPr>
                    <p:cNvSpPr/>
                    <p:nvPr/>
                  </p:nvSpPr>
                  <p:spPr>
                    <a:xfrm rot="9043087">
                      <a:off x="8883430" y="4342996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37" name="Freeform: Shape 436">
                      <a:extLst>
                        <a:ext uri="{FF2B5EF4-FFF2-40B4-BE49-F238E27FC236}">
                          <a16:creationId xmlns:a16="http://schemas.microsoft.com/office/drawing/2014/main" id="{31BCF723-09EC-7857-9D0B-A8F3510899DD}"/>
                        </a:ext>
                      </a:extLst>
                    </p:cNvPr>
                    <p:cNvSpPr/>
                    <p:nvPr/>
                  </p:nvSpPr>
                  <p:spPr>
                    <a:xfrm rot="5209521">
                      <a:off x="8961351" y="4317762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38" name="Freeform: Shape 437">
                      <a:extLst>
                        <a:ext uri="{FF2B5EF4-FFF2-40B4-BE49-F238E27FC236}">
                          <a16:creationId xmlns:a16="http://schemas.microsoft.com/office/drawing/2014/main" id="{AF891E1A-9D1E-1299-E9F2-FD6D14CF185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18409" y="432953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39" name="Freeform: Shape 438">
                      <a:extLst>
                        <a:ext uri="{FF2B5EF4-FFF2-40B4-BE49-F238E27FC236}">
                          <a16:creationId xmlns:a16="http://schemas.microsoft.com/office/drawing/2014/main" id="{31925664-E53A-A594-2356-FBE7989F7ADA}"/>
                        </a:ext>
                      </a:extLst>
                    </p:cNvPr>
                    <p:cNvSpPr/>
                    <p:nvPr/>
                  </p:nvSpPr>
                  <p:spPr>
                    <a:xfrm rot="18952815">
                      <a:off x="8990335" y="4236377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40" name="Rectangle: Rounded Corners 439">
                      <a:extLst>
                        <a:ext uri="{FF2B5EF4-FFF2-40B4-BE49-F238E27FC236}">
                          <a16:creationId xmlns:a16="http://schemas.microsoft.com/office/drawing/2014/main" id="{4B99F057-D4A7-282E-5694-C862F64AD5D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86901" y="440374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41" name="Rectangle: Rounded Corners 440">
                      <a:extLst>
                        <a:ext uri="{FF2B5EF4-FFF2-40B4-BE49-F238E27FC236}">
                          <a16:creationId xmlns:a16="http://schemas.microsoft.com/office/drawing/2014/main" id="{1C8713DE-8B53-3B7A-5329-D8DA078A321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770428" y="419613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42" name="Rectangle: Rounded Corners 441">
                      <a:extLst>
                        <a:ext uri="{FF2B5EF4-FFF2-40B4-BE49-F238E27FC236}">
                          <a16:creationId xmlns:a16="http://schemas.microsoft.com/office/drawing/2014/main" id="{1D4C9A77-285A-B9A0-A2C2-AAD56E7A066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24873" y="4240076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43" name="Rectangle: Rounded Corners 442">
                      <a:extLst>
                        <a:ext uri="{FF2B5EF4-FFF2-40B4-BE49-F238E27FC236}">
                          <a16:creationId xmlns:a16="http://schemas.microsoft.com/office/drawing/2014/main" id="{E5B8579B-3268-487A-386B-8B272824C6B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50643" y="429398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</p:grpSp>
            </p:grpSp>
            <p:sp>
              <p:nvSpPr>
                <p:cNvPr id="1322" name="Freeform: Shape 426">
                  <a:extLst>
                    <a:ext uri="{FF2B5EF4-FFF2-40B4-BE49-F238E27FC236}">
                      <a16:creationId xmlns:a16="http://schemas.microsoft.com/office/drawing/2014/main" id="{1ABFF52F-2128-9322-B607-D28C82A738A0}"/>
                    </a:ext>
                  </a:extLst>
                </p:cNvPr>
                <p:cNvSpPr/>
                <p:nvPr/>
              </p:nvSpPr>
              <p:spPr>
                <a:xfrm rot="18595250">
                  <a:off x="3464962" y="993886"/>
                  <a:ext cx="195428" cy="172893"/>
                </a:xfrm>
                <a:custGeom>
                  <a:avLst/>
                  <a:gdLst>
                    <a:gd name="connsiteX0" fmla="*/ 36195 w 254551"/>
                    <a:gd name="connsiteY0" fmla="*/ 30480 h 227192"/>
                    <a:gd name="connsiteX1" fmla="*/ 36195 w 254551"/>
                    <a:gd name="connsiteY1" fmla="*/ 30480 h 227192"/>
                    <a:gd name="connsiteX2" fmla="*/ 20955 w 254551"/>
                    <a:gd name="connsiteY2" fmla="*/ 20955 h 227192"/>
                    <a:gd name="connsiteX3" fmla="*/ 17145 w 254551"/>
                    <a:gd name="connsiteY3" fmla="*/ 9525 h 227192"/>
                    <a:gd name="connsiteX4" fmla="*/ 5715 w 254551"/>
                    <a:gd name="connsiteY4" fmla="*/ 15240 h 227192"/>
                    <a:gd name="connsiteX5" fmla="*/ 1905 w 254551"/>
                    <a:gd name="connsiteY5" fmla="*/ 20955 h 227192"/>
                    <a:gd name="connsiteX6" fmla="*/ 0 w 254551"/>
                    <a:gd name="connsiteY6" fmla="*/ 26670 h 227192"/>
                    <a:gd name="connsiteX7" fmla="*/ 1905 w 254551"/>
                    <a:gd name="connsiteY7" fmla="*/ 47625 h 227192"/>
                    <a:gd name="connsiteX8" fmla="*/ 9525 w 254551"/>
                    <a:gd name="connsiteY8" fmla="*/ 59055 h 227192"/>
                    <a:gd name="connsiteX9" fmla="*/ 13335 w 254551"/>
                    <a:gd name="connsiteY9" fmla="*/ 70485 h 227192"/>
                    <a:gd name="connsiteX10" fmla="*/ 15240 w 254551"/>
                    <a:gd name="connsiteY10" fmla="*/ 99060 h 227192"/>
                    <a:gd name="connsiteX11" fmla="*/ 17145 w 254551"/>
                    <a:gd name="connsiteY11" fmla="*/ 104775 h 227192"/>
                    <a:gd name="connsiteX12" fmla="*/ 22860 w 254551"/>
                    <a:gd name="connsiteY12" fmla="*/ 108585 h 227192"/>
                    <a:gd name="connsiteX13" fmla="*/ 26670 w 254551"/>
                    <a:gd name="connsiteY13" fmla="*/ 114300 h 227192"/>
                    <a:gd name="connsiteX14" fmla="*/ 32385 w 254551"/>
                    <a:gd name="connsiteY14" fmla="*/ 118110 h 227192"/>
                    <a:gd name="connsiteX15" fmla="*/ 41910 w 254551"/>
                    <a:gd name="connsiteY15" fmla="*/ 131445 h 227192"/>
                    <a:gd name="connsiteX16" fmla="*/ 59055 w 254551"/>
                    <a:gd name="connsiteY16" fmla="*/ 133350 h 227192"/>
                    <a:gd name="connsiteX17" fmla="*/ 64770 w 254551"/>
                    <a:gd name="connsiteY17" fmla="*/ 180975 h 227192"/>
                    <a:gd name="connsiteX18" fmla="*/ 74295 w 254551"/>
                    <a:gd name="connsiteY18" fmla="*/ 188595 h 227192"/>
                    <a:gd name="connsiteX19" fmla="*/ 80010 w 254551"/>
                    <a:gd name="connsiteY19" fmla="*/ 192405 h 227192"/>
                    <a:gd name="connsiteX20" fmla="*/ 87630 w 254551"/>
                    <a:gd name="connsiteY20" fmla="*/ 201930 h 227192"/>
                    <a:gd name="connsiteX21" fmla="*/ 95250 w 254551"/>
                    <a:gd name="connsiteY21" fmla="*/ 213360 h 227192"/>
                    <a:gd name="connsiteX22" fmla="*/ 99060 w 254551"/>
                    <a:gd name="connsiteY22" fmla="*/ 219075 h 227192"/>
                    <a:gd name="connsiteX23" fmla="*/ 104775 w 254551"/>
                    <a:gd name="connsiteY23" fmla="*/ 220980 h 227192"/>
                    <a:gd name="connsiteX24" fmla="*/ 108585 w 254551"/>
                    <a:gd name="connsiteY24" fmla="*/ 226695 h 227192"/>
                    <a:gd name="connsiteX25" fmla="*/ 133350 w 254551"/>
                    <a:gd name="connsiteY25" fmla="*/ 222885 h 227192"/>
                    <a:gd name="connsiteX26" fmla="*/ 144780 w 254551"/>
                    <a:gd name="connsiteY26" fmla="*/ 211455 h 227192"/>
                    <a:gd name="connsiteX27" fmla="*/ 148590 w 254551"/>
                    <a:gd name="connsiteY27" fmla="*/ 205740 h 227192"/>
                    <a:gd name="connsiteX28" fmla="*/ 160020 w 254551"/>
                    <a:gd name="connsiteY28" fmla="*/ 201930 h 227192"/>
                    <a:gd name="connsiteX29" fmla="*/ 161925 w 254551"/>
                    <a:gd name="connsiteY29" fmla="*/ 196215 h 227192"/>
                    <a:gd name="connsiteX30" fmla="*/ 163830 w 254551"/>
                    <a:gd name="connsiteY30" fmla="*/ 184785 h 227192"/>
                    <a:gd name="connsiteX31" fmla="*/ 175260 w 254551"/>
                    <a:gd name="connsiteY31" fmla="*/ 180975 h 227192"/>
                    <a:gd name="connsiteX32" fmla="*/ 198120 w 254551"/>
                    <a:gd name="connsiteY32" fmla="*/ 182880 h 227192"/>
                    <a:gd name="connsiteX33" fmla="*/ 203835 w 254551"/>
                    <a:gd name="connsiteY33" fmla="*/ 186690 h 227192"/>
                    <a:gd name="connsiteX34" fmla="*/ 209550 w 254551"/>
                    <a:gd name="connsiteY34" fmla="*/ 188595 h 227192"/>
                    <a:gd name="connsiteX35" fmla="*/ 220980 w 254551"/>
                    <a:gd name="connsiteY35" fmla="*/ 186690 h 227192"/>
                    <a:gd name="connsiteX36" fmla="*/ 226695 w 254551"/>
                    <a:gd name="connsiteY36" fmla="*/ 182880 h 227192"/>
                    <a:gd name="connsiteX37" fmla="*/ 234315 w 254551"/>
                    <a:gd name="connsiteY37" fmla="*/ 165735 h 227192"/>
                    <a:gd name="connsiteX38" fmla="*/ 238125 w 254551"/>
                    <a:gd name="connsiteY38" fmla="*/ 154305 h 227192"/>
                    <a:gd name="connsiteX39" fmla="*/ 240030 w 254551"/>
                    <a:gd name="connsiteY39" fmla="*/ 148590 h 227192"/>
                    <a:gd name="connsiteX40" fmla="*/ 245745 w 254551"/>
                    <a:gd name="connsiteY40" fmla="*/ 120015 h 227192"/>
                    <a:gd name="connsiteX41" fmla="*/ 247650 w 254551"/>
                    <a:gd name="connsiteY41" fmla="*/ 114300 h 227192"/>
                    <a:gd name="connsiteX42" fmla="*/ 249555 w 254551"/>
                    <a:gd name="connsiteY42" fmla="*/ 108585 h 227192"/>
                    <a:gd name="connsiteX43" fmla="*/ 241935 w 254551"/>
                    <a:gd name="connsiteY43" fmla="*/ 89535 h 227192"/>
                    <a:gd name="connsiteX44" fmla="*/ 236220 w 254551"/>
                    <a:gd name="connsiteY44" fmla="*/ 85725 h 227192"/>
                    <a:gd name="connsiteX45" fmla="*/ 238125 w 254551"/>
                    <a:gd name="connsiteY45" fmla="*/ 80010 h 227192"/>
                    <a:gd name="connsiteX46" fmla="*/ 243840 w 254551"/>
                    <a:gd name="connsiteY46" fmla="*/ 78105 h 227192"/>
                    <a:gd name="connsiteX47" fmla="*/ 249555 w 254551"/>
                    <a:gd name="connsiteY47" fmla="*/ 74295 h 227192"/>
                    <a:gd name="connsiteX48" fmla="*/ 251460 w 254551"/>
                    <a:gd name="connsiteY48" fmla="*/ 24765 h 227192"/>
                    <a:gd name="connsiteX49" fmla="*/ 249555 w 254551"/>
                    <a:gd name="connsiteY49" fmla="*/ 19050 h 227192"/>
                    <a:gd name="connsiteX50" fmla="*/ 243840 w 254551"/>
                    <a:gd name="connsiteY50" fmla="*/ 15240 h 227192"/>
                    <a:gd name="connsiteX51" fmla="*/ 234315 w 254551"/>
                    <a:gd name="connsiteY51" fmla="*/ 3810 h 227192"/>
                    <a:gd name="connsiteX52" fmla="*/ 228600 w 254551"/>
                    <a:gd name="connsiteY52" fmla="*/ 0 h 227192"/>
                    <a:gd name="connsiteX53" fmla="*/ 217170 w 254551"/>
                    <a:gd name="connsiteY53" fmla="*/ 1905 h 227192"/>
                    <a:gd name="connsiteX54" fmla="*/ 213360 w 254551"/>
                    <a:gd name="connsiteY54" fmla="*/ 7620 h 227192"/>
                    <a:gd name="connsiteX55" fmla="*/ 207645 w 254551"/>
                    <a:gd name="connsiteY55" fmla="*/ 9525 h 227192"/>
                    <a:gd name="connsiteX56" fmla="*/ 203835 w 254551"/>
                    <a:gd name="connsiteY56" fmla="*/ 20955 h 227192"/>
                    <a:gd name="connsiteX57" fmla="*/ 201930 w 254551"/>
                    <a:gd name="connsiteY57" fmla="*/ 26670 h 227192"/>
                    <a:gd name="connsiteX58" fmla="*/ 200025 w 254551"/>
                    <a:gd name="connsiteY58" fmla="*/ 38100 h 227192"/>
                    <a:gd name="connsiteX59" fmla="*/ 205740 w 254551"/>
                    <a:gd name="connsiteY59" fmla="*/ 72390 h 227192"/>
                    <a:gd name="connsiteX60" fmla="*/ 213360 w 254551"/>
                    <a:gd name="connsiteY60" fmla="*/ 83820 h 227192"/>
                    <a:gd name="connsiteX61" fmla="*/ 217170 w 254551"/>
                    <a:gd name="connsiteY61" fmla="*/ 89535 h 227192"/>
                    <a:gd name="connsiteX62" fmla="*/ 215265 w 254551"/>
                    <a:gd name="connsiteY62" fmla="*/ 97155 h 227192"/>
                    <a:gd name="connsiteX63" fmla="*/ 203835 w 254551"/>
                    <a:gd name="connsiteY63" fmla="*/ 104775 h 227192"/>
                    <a:gd name="connsiteX64" fmla="*/ 198120 w 254551"/>
                    <a:gd name="connsiteY64" fmla="*/ 116205 h 227192"/>
                    <a:gd name="connsiteX65" fmla="*/ 196215 w 254551"/>
                    <a:gd name="connsiteY65" fmla="*/ 121920 h 227192"/>
                    <a:gd name="connsiteX66" fmla="*/ 190500 w 254551"/>
                    <a:gd name="connsiteY66" fmla="*/ 133350 h 227192"/>
                    <a:gd name="connsiteX67" fmla="*/ 182880 w 254551"/>
                    <a:gd name="connsiteY67" fmla="*/ 154305 h 227192"/>
                    <a:gd name="connsiteX68" fmla="*/ 175260 w 254551"/>
                    <a:gd name="connsiteY68" fmla="*/ 156210 h 227192"/>
                    <a:gd name="connsiteX69" fmla="*/ 169545 w 254551"/>
                    <a:gd name="connsiteY69" fmla="*/ 150495 h 227192"/>
                    <a:gd name="connsiteX70" fmla="*/ 167640 w 254551"/>
                    <a:gd name="connsiteY70" fmla="*/ 144780 h 227192"/>
                    <a:gd name="connsiteX71" fmla="*/ 156210 w 254551"/>
                    <a:gd name="connsiteY71" fmla="*/ 140970 h 227192"/>
                    <a:gd name="connsiteX72" fmla="*/ 150495 w 254551"/>
                    <a:gd name="connsiteY72" fmla="*/ 139065 h 227192"/>
                    <a:gd name="connsiteX73" fmla="*/ 139065 w 254551"/>
                    <a:gd name="connsiteY73" fmla="*/ 135255 h 227192"/>
                    <a:gd name="connsiteX74" fmla="*/ 133350 w 254551"/>
                    <a:gd name="connsiteY74" fmla="*/ 133350 h 227192"/>
                    <a:gd name="connsiteX75" fmla="*/ 121920 w 254551"/>
                    <a:gd name="connsiteY75" fmla="*/ 127635 h 227192"/>
                    <a:gd name="connsiteX76" fmla="*/ 89535 w 254551"/>
                    <a:gd name="connsiteY76" fmla="*/ 125730 h 227192"/>
                    <a:gd name="connsiteX77" fmla="*/ 78105 w 254551"/>
                    <a:gd name="connsiteY77" fmla="*/ 116205 h 227192"/>
                    <a:gd name="connsiteX78" fmla="*/ 76200 w 254551"/>
                    <a:gd name="connsiteY78" fmla="*/ 110490 h 227192"/>
                    <a:gd name="connsiteX79" fmla="*/ 72390 w 254551"/>
                    <a:gd name="connsiteY79" fmla="*/ 104775 h 227192"/>
                    <a:gd name="connsiteX80" fmla="*/ 68580 w 254551"/>
                    <a:gd name="connsiteY80" fmla="*/ 89535 h 227192"/>
                    <a:gd name="connsiteX81" fmla="*/ 62865 w 254551"/>
                    <a:gd name="connsiteY81" fmla="*/ 85725 h 227192"/>
                    <a:gd name="connsiteX82" fmla="*/ 53340 w 254551"/>
                    <a:gd name="connsiteY82" fmla="*/ 83820 h 227192"/>
                    <a:gd name="connsiteX83" fmla="*/ 47625 w 254551"/>
                    <a:gd name="connsiteY83" fmla="*/ 80010 h 227192"/>
                    <a:gd name="connsiteX84" fmla="*/ 41910 w 254551"/>
                    <a:gd name="connsiteY84" fmla="*/ 78105 h 227192"/>
                    <a:gd name="connsiteX85" fmla="*/ 34290 w 254551"/>
                    <a:gd name="connsiteY85" fmla="*/ 64770 h 227192"/>
                    <a:gd name="connsiteX86" fmla="*/ 30480 w 254551"/>
                    <a:gd name="connsiteY86" fmla="*/ 53340 h 227192"/>
                    <a:gd name="connsiteX87" fmla="*/ 34290 w 254551"/>
                    <a:gd name="connsiteY87" fmla="*/ 47625 h 227192"/>
                    <a:gd name="connsiteX88" fmla="*/ 32385 w 254551"/>
                    <a:gd name="connsiteY88" fmla="*/ 28575 h 227192"/>
                    <a:gd name="connsiteX89" fmla="*/ 30480 w 254551"/>
                    <a:gd name="connsiteY89" fmla="*/ 22860 h 227192"/>
                    <a:gd name="connsiteX90" fmla="*/ 36195 w 254551"/>
                    <a:gd name="connsiteY90" fmla="*/ 30480 h 227192"/>
                    <a:gd name="connsiteX0" fmla="*/ 36195 w 254551"/>
                    <a:gd name="connsiteY0" fmla="*/ 30480 h 227192"/>
                    <a:gd name="connsiteX1" fmla="*/ 36195 w 254551"/>
                    <a:gd name="connsiteY1" fmla="*/ 30480 h 227192"/>
                    <a:gd name="connsiteX2" fmla="*/ 20955 w 254551"/>
                    <a:gd name="connsiteY2" fmla="*/ 20955 h 227192"/>
                    <a:gd name="connsiteX3" fmla="*/ 17145 w 254551"/>
                    <a:gd name="connsiteY3" fmla="*/ 9525 h 227192"/>
                    <a:gd name="connsiteX4" fmla="*/ 1905 w 254551"/>
                    <a:gd name="connsiteY4" fmla="*/ 20955 h 227192"/>
                    <a:gd name="connsiteX5" fmla="*/ 0 w 254551"/>
                    <a:gd name="connsiteY5" fmla="*/ 26670 h 227192"/>
                    <a:gd name="connsiteX6" fmla="*/ 1905 w 254551"/>
                    <a:gd name="connsiteY6" fmla="*/ 47625 h 227192"/>
                    <a:gd name="connsiteX7" fmla="*/ 9525 w 254551"/>
                    <a:gd name="connsiteY7" fmla="*/ 59055 h 227192"/>
                    <a:gd name="connsiteX8" fmla="*/ 13335 w 254551"/>
                    <a:gd name="connsiteY8" fmla="*/ 70485 h 227192"/>
                    <a:gd name="connsiteX9" fmla="*/ 15240 w 254551"/>
                    <a:gd name="connsiteY9" fmla="*/ 99060 h 227192"/>
                    <a:gd name="connsiteX10" fmla="*/ 17145 w 254551"/>
                    <a:gd name="connsiteY10" fmla="*/ 104775 h 227192"/>
                    <a:gd name="connsiteX11" fmla="*/ 22860 w 254551"/>
                    <a:gd name="connsiteY11" fmla="*/ 108585 h 227192"/>
                    <a:gd name="connsiteX12" fmla="*/ 26670 w 254551"/>
                    <a:gd name="connsiteY12" fmla="*/ 114300 h 227192"/>
                    <a:gd name="connsiteX13" fmla="*/ 32385 w 254551"/>
                    <a:gd name="connsiteY13" fmla="*/ 118110 h 227192"/>
                    <a:gd name="connsiteX14" fmla="*/ 41910 w 254551"/>
                    <a:gd name="connsiteY14" fmla="*/ 131445 h 227192"/>
                    <a:gd name="connsiteX15" fmla="*/ 59055 w 254551"/>
                    <a:gd name="connsiteY15" fmla="*/ 133350 h 227192"/>
                    <a:gd name="connsiteX16" fmla="*/ 64770 w 254551"/>
                    <a:gd name="connsiteY16" fmla="*/ 180975 h 227192"/>
                    <a:gd name="connsiteX17" fmla="*/ 74295 w 254551"/>
                    <a:gd name="connsiteY17" fmla="*/ 188595 h 227192"/>
                    <a:gd name="connsiteX18" fmla="*/ 80010 w 254551"/>
                    <a:gd name="connsiteY18" fmla="*/ 192405 h 227192"/>
                    <a:gd name="connsiteX19" fmla="*/ 87630 w 254551"/>
                    <a:gd name="connsiteY19" fmla="*/ 201930 h 227192"/>
                    <a:gd name="connsiteX20" fmla="*/ 95250 w 254551"/>
                    <a:gd name="connsiteY20" fmla="*/ 213360 h 227192"/>
                    <a:gd name="connsiteX21" fmla="*/ 99060 w 254551"/>
                    <a:gd name="connsiteY21" fmla="*/ 219075 h 227192"/>
                    <a:gd name="connsiteX22" fmla="*/ 104775 w 254551"/>
                    <a:gd name="connsiteY22" fmla="*/ 220980 h 227192"/>
                    <a:gd name="connsiteX23" fmla="*/ 108585 w 254551"/>
                    <a:gd name="connsiteY23" fmla="*/ 226695 h 227192"/>
                    <a:gd name="connsiteX24" fmla="*/ 133350 w 254551"/>
                    <a:gd name="connsiteY24" fmla="*/ 222885 h 227192"/>
                    <a:gd name="connsiteX25" fmla="*/ 144780 w 254551"/>
                    <a:gd name="connsiteY25" fmla="*/ 211455 h 227192"/>
                    <a:gd name="connsiteX26" fmla="*/ 148590 w 254551"/>
                    <a:gd name="connsiteY26" fmla="*/ 205740 h 227192"/>
                    <a:gd name="connsiteX27" fmla="*/ 160020 w 254551"/>
                    <a:gd name="connsiteY27" fmla="*/ 201930 h 227192"/>
                    <a:gd name="connsiteX28" fmla="*/ 161925 w 254551"/>
                    <a:gd name="connsiteY28" fmla="*/ 196215 h 227192"/>
                    <a:gd name="connsiteX29" fmla="*/ 163830 w 254551"/>
                    <a:gd name="connsiteY29" fmla="*/ 184785 h 227192"/>
                    <a:gd name="connsiteX30" fmla="*/ 175260 w 254551"/>
                    <a:gd name="connsiteY30" fmla="*/ 180975 h 227192"/>
                    <a:gd name="connsiteX31" fmla="*/ 198120 w 254551"/>
                    <a:gd name="connsiteY31" fmla="*/ 182880 h 227192"/>
                    <a:gd name="connsiteX32" fmla="*/ 203835 w 254551"/>
                    <a:gd name="connsiteY32" fmla="*/ 186690 h 227192"/>
                    <a:gd name="connsiteX33" fmla="*/ 209550 w 254551"/>
                    <a:gd name="connsiteY33" fmla="*/ 188595 h 227192"/>
                    <a:gd name="connsiteX34" fmla="*/ 220980 w 254551"/>
                    <a:gd name="connsiteY34" fmla="*/ 186690 h 227192"/>
                    <a:gd name="connsiteX35" fmla="*/ 226695 w 254551"/>
                    <a:gd name="connsiteY35" fmla="*/ 182880 h 227192"/>
                    <a:gd name="connsiteX36" fmla="*/ 234315 w 254551"/>
                    <a:gd name="connsiteY36" fmla="*/ 165735 h 227192"/>
                    <a:gd name="connsiteX37" fmla="*/ 238125 w 254551"/>
                    <a:gd name="connsiteY37" fmla="*/ 154305 h 227192"/>
                    <a:gd name="connsiteX38" fmla="*/ 240030 w 254551"/>
                    <a:gd name="connsiteY38" fmla="*/ 148590 h 227192"/>
                    <a:gd name="connsiteX39" fmla="*/ 245745 w 254551"/>
                    <a:gd name="connsiteY39" fmla="*/ 120015 h 227192"/>
                    <a:gd name="connsiteX40" fmla="*/ 247650 w 254551"/>
                    <a:gd name="connsiteY40" fmla="*/ 114300 h 227192"/>
                    <a:gd name="connsiteX41" fmla="*/ 249555 w 254551"/>
                    <a:gd name="connsiteY41" fmla="*/ 108585 h 227192"/>
                    <a:gd name="connsiteX42" fmla="*/ 241935 w 254551"/>
                    <a:gd name="connsiteY42" fmla="*/ 89535 h 227192"/>
                    <a:gd name="connsiteX43" fmla="*/ 236220 w 254551"/>
                    <a:gd name="connsiteY43" fmla="*/ 85725 h 227192"/>
                    <a:gd name="connsiteX44" fmla="*/ 238125 w 254551"/>
                    <a:gd name="connsiteY44" fmla="*/ 80010 h 227192"/>
                    <a:gd name="connsiteX45" fmla="*/ 243840 w 254551"/>
                    <a:gd name="connsiteY45" fmla="*/ 78105 h 227192"/>
                    <a:gd name="connsiteX46" fmla="*/ 249555 w 254551"/>
                    <a:gd name="connsiteY46" fmla="*/ 74295 h 227192"/>
                    <a:gd name="connsiteX47" fmla="*/ 251460 w 254551"/>
                    <a:gd name="connsiteY47" fmla="*/ 24765 h 227192"/>
                    <a:gd name="connsiteX48" fmla="*/ 249555 w 254551"/>
                    <a:gd name="connsiteY48" fmla="*/ 19050 h 227192"/>
                    <a:gd name="connsiteX49" fmla="*/ 243840 w 254551"/>
                    <a:gd name="connsiteY49" fmla="*/ 15240 h 227192"/>
                    <a:gd name="connsiteX50" fmla="*/ 234315 w 254551"/>
                    <a:gd name="connsiteY50" fmla="*/ 3810 h 227192"/>
                    <a:gd name="connsiteX51" fmla="*/ 228600 w 254551"/>
                    <a:gd name="connsiteY51" fmla="*/ 0 h 227192"/>
                    <a:gd name="connsiteX52" fmla="*/ 217170 w 254551"/>
                    <a:gd name="connsiteY52" fmla="*/ 1905 h 227192"/>
                    <a:gd name="connsiteX53" fmla="*/ 213360 w 254551"/>
                    <a:gd name="connsiteY53" fmla="*/ 7620 h 227192"/>
                    <a:gd name="connsiteX54" fmla="*/ 207645 w 254551"/>
                    <a:gd name="connsiteY54" fmla="*/ 9525 h 227192"/>
                    <a:gd name="connsiteX55" fmla="*/ 203835 w 254551"/>
                    <a:gd name="connsiteY55" fmla="*/ 20955 h 227192"/>
                    <a:gd name="connsiteX56" fmla="*/ 201930 w 254551"/>
                    <a:gd name="connsiteY56" fmla="*/ 26670 h 227192"/>
                    <a:gd name="connsiteX57" fmla="*/ 200025 w 254551"/>
                    <a:gd name="connsiteY57" fmla="*/ 38100 h 227192"/>
                    <a:gd name="connsiteX58" fmla="*/ 205740 w 254551"/>
                    <a:gd name="connsiteY58" fmla="*/ 72390 h 227192"/>
                    <a:gd name="connsiteX59" fmla="*/ 213360 w 254551"/>
                    <a:gd name="connsiteY59" fmla="*/ 83820 h 227192"/>
                    <a:gd name="connsiteX60" fmla="*/ 217170 w 254551"/>
                    <a:gd name="connsiteY60" fmla="*/ 89535 h 227192"/>
                    <a:gd name="connsiteX61" fmla="*/ 215265 w 254551"/>
                    <a:gd name="connsiteY61" fmla="*/ 97155 h 227192"/>
                    <a:gd name="connsiteX62" fmla="*/ 203835 w 254551"/>
                    <a:gd name="connsiteY62" fmla="*/ 104775 h 227192"/>
                    <a:gd name="connsiteX63" fmla="*/ 198120 w 254551"/>
                    <a:gd name="connsiteY63" fmla="*/ 116205 h 227192"/>
                    <a:gd name="connsiteX64" fmla="*/ 196215 w 254551"/>
                    <a:gd name="connsiteY64" fmla="*/ 121920 h 227192"/>
                    <a:gd name="connsiteX65" fmla="*/ 190500 w 254551"/>
                    <a:gd name="connsiteY65" fmla="*/ 133350 h 227192"/>
                    <a:gd name="connsiteX66" fmla="*/ 182880 w 254551"/>
                    <a:gd name="connsiteY66" fmla="*/ 154305 h 227192"/>
                    <a:gd name="connsiteX67" fmla="*/ 175260 w 254551"/>
                    <a:gd name="connsiteY67" fmla="*/ 156210 h 227192"/>
                    <a:gd name="connsiteX68" fmla="*/ 169545 w 254551"/>
                    <a:gd name="connsiteY68" fmla="*/ 150495 h 227192"/>
                    <a:gd name="connsiteX69" fmla="*/ 167640 w 254551"/>
                    <a:gd name="connsiteY69" fmla="*/ 144780 h 227192"/>
                    <a:gd name="connsiteX70" fmla="*/ 156210 w 254551"/>
                    <a:gd name="connsiteY70" fmla="*/ 140970 h 227192"/>
                    <a:gd name="connsiteX71" fmla="*/ 150495 w 254551"/>
                    <a:gd name="connsiteY71" fmla="*/ 139065 h 227192"/>
                    <a:gd name="connsiteX72" fmla="*/ 139065 w 254551"/>
                    <a:gd name="connsiteY72" fmla="*/ 135255 h 227192"/>
                    <a:gd name="connsiteX73" fmla="*/ 133350 w 254551"/>
                    <a:gd name="connsiteY73" fmla="*/ 133350 h 227192"/>
                    <a:gd name="connsiteX74" fmla="*/ 121920 w 254551"/>
                    <a:gd name="connsiteY74" fmla="*/ 127635 h 227192"/>
                    <a:gd name="connsiteX75" fmla="*/ 89535 w 254551"/>
                    <a:gd name="connsiteY75" fmla="*/ 125730 h 227192"/>
                    <a:gd name="connsiteX76" fmla="*/ 78105 w 254551"/>
                    <a:gd name="connsiteY76" fmla="*/ 116205 h 227192"/>
                    <a:gd name="connsiteX77" fmla="*/ 76200 w 254551"/>
                    <a:gd name="connsiteY77" fmla="*/ 110490 h 227192"/>
                    <a:gd name="connsiteX78" fmla="*/ 72390 w 254551"/>
                    <a:gd name="connsiteY78" fmla="*/ 104775 h 227192"/>
                    <a:gd name="connsiteX79" fmla="*/ 68580 w 254551"/>
                    <a:gd name="connsiteY79" fmla="*/ 89535 h 227192"/>
                    <a:gd name="connsiteX80" fmla="*/ 62865 w 254551"/>
                    <a:gd name="connsiteY80" fmla="*/ 85725 h 227192"/>
                    <a:gd name="connsiteX81" fmla="*/ 53340 w 254551"/>
                    <a:gd name="connsiteY81" fmla="*/ 83820 h 227192"/>
                    <a:gd name="connsiteX82" fmla="*/ 47625 w 254551"/>
                    <a:gd name="connsiteY82" fmla="*/ 80010 h 227192"/>
                    <a:gd name="connsiteX83" fmla="*/ 41910 w 254551"/>
                    <a:gd name="connsiteY83" fmla="*/ 78105 h 227192"/>
                    <a:gd name="connsiteX84" fmla="*/ 34290 w 254551"/>
                    <a:gd name="connsiteY84" fmla="*/ 64770 h 227192"/>
                    <a:gd name="connsiteX85" fmla="*/ 30480 w 254551"/>
                    <a:gd name="connsiteY85" fmla="*/ 53340 h 227192"/>
                    <a:gd name="connsiteX86" fmla="*/ 34290 w 254551"/>
                    <a:gd name="connsiteY86" fmla="*/ 47625 h 227192"/>
                    <a:gd name="connsiteX87" fmla="*/ 32385 w 254551"/>
                    <a:gd name="connsiteY87" fmla="*/ 28575 h 227192"/>
                    <a:gd name="connsiteX88" fmla="*/ 30480 w 254551"/>
                    <a:gd name="connsiteY88" fmla="*/ 22860 h 227192"/>
                    <a:gd name="connsiteX89" fmla="*/ 36195 w 254551"/>
                    <a:gd name="connsiteY89" fmla="*/ 30480 h 227192"/>
                    <a:gd name="connsiteX0" fmla="*/ 36195 w 254551"/>
                    <a:gd name="connsiteY0" fmla="*/ 30480 h 227192"/>
                    <a:gd name="connsiteX1" fmla="*/ 36195 w 254551"/>
                    <a:gd name="connsiteY1" fmla="*/ 30480 h 227192"/>
                    <a:gd name="connsiteX2" fmla="*/ 20955 w 254551"/>
                    <a:gd name="connsiteY2" fmla="*/ 20955 h 227192"/>
                    <a:gd name="connsiteX3" fmla="*/ 17145 w 254551"/>
                    <a:gd name="connsiteY3" fmla="*/ 9525 h 227192"/>
                    <a:gd name="connsiteX4" fmla="*/ 1905 w 254551"/>
                    <a:gd name="connsiteY4" fmla="*/ 20955 h 227192"/>
                    <a:gd name="connsiteX5" fmla="*/ 0 w 254551"/>
                    <a:gd name="connsiteY5" fmla="*/ 26670 h 227192"/>
                    <a:gd name="connsiteX6" fmla="*/ 1905 w 254551"/>
                    <a:gd name="connsiteY6" fmla="*/ 47625 h 227192"/>
                    <a:gd name="connsiteX7" fmla="*/ 9525 w 254551"/>
                    <a:gd name="connsiteY7" fmla="*/ 59055 h 227192"/>
                    <a:gd name="connsiteX8" fmla="*/ 13335 w 254551"/>
                    <a:gd name="connsiteY8" fmla="*/ 70485 h 227192"/>
                    <a:gd name="connsiteX9" fmla="*/ 15240 w 254551"/>
                    <a:gd name="connsiteY9" fmla="*/ 99060 h 227192"/>
                    <a:gd name="connsiteX10" fmla="*/ 17145 w 254551"/>
                    <a:gd name="connsiteY10" fmla="*/ 104775 h 227192"/>
                    <a:gd name="connsiteX11" fmla="*/ 22860 w 254551"/>
                    <a:gd name="connsiteY11" fmla="*/ 108585 h 227192"/>
                    <a:gd name="connsiteX12" fmla="*/ 26670 w 254551"/>
                    <a:gd name="connsiteY12" fmla="*/ 114300 h 227192"/>
                    <a:gd name="connsiteX13" fmla="*/ 32385 w 254551"/>
                    <a:gd name="connsiteY13" fmla="*/ 118110 h 227192"/>
                    <a:gd name="connsiteX14" fmla="*/ 41910 w 254551"/>
                    <a:gd name="connsiteY14" fmla="*/ 131445 h 227192"/>
                    <a:gd name="connsiteX15" fmla="*/ 59055 w 254551"/>
                    <a:gd name="connsiteY15" fmla="*/ 133350 h 227192"/>
                    <a:gd name="connsiteX16" fmla="*/ 64770 w 254551"/>
                    <a:gd name="connsiteY16" fmla="*/ 180975 h 227192"/>
                    <a:gd name="connsiteX17" fmla="*/ 74295 w 254551"/>
                    <a:gd name="connsiteY17" fmla="*/ 188595 h 227192"/>
                    <a:gd name="connsiteX18" fmla="*/ 80010 w 254551"/>
                    <a:gd name="connsiteY18" fmla="*/ 192405 h 227192"/>
                    <a:gd name="connsiteX19" fmla="*/ 87630 w 254551"/>
                    <a:gd name="connsiteY19" fmla="*/ 201930 h 227192"/>
                    <a:gd name="connsiteX20" fmla="*/ 95250 w 254551"/>
                    <a:gd name="connsiteY20" fmla="*/ 213360 h 227192"/>
                    <a:gd name="connsiteX21" fmla="*/ 99060 w 254551"/>
                    <a:gd name="connsiteY21" fmla="*/ 219075 h 227192"/>
                    <a:gd name="connsiteX22" fmla="*/ 104775 w 254551"/>
                    <a:gd name="connsiteY22" fmla="*/ 220980 h 227192"/>
                    <a:gd name="connsiteX23" fmla="*/ 108585 w 254551"/>
                    <a:gd name="connsiteY23" fmla="*/ 226695 h 227192"/>
                    <a:gd name="connsiteX24" fmla="*/ 133350 w 254551"/>
                    <a:gd name="connsiteY24" fmla="*/ 222885 h 227192"/>
                    <a:gd name="connsiteX25" fmla="*/ 144780 w 254551"/>
                    <a:gd name="connsiteY25" fmla="*/ 211455 h 227192"/>
                    <a:gd name="connsiteX26" fmla="*/ 148590 w 254551"/>
                    <a:gd name="connsiteY26" fmla="*/ 205740 h 227192"/>
                    <a:gd name="connsiteX27" fmla="*/ 160020 w 254551"/>
                    <a:gd name="connsiteY27" fmla="*/ 201930 h 227192"/>
                    <a:gd name="connsiteX28" fmla="*/ 161925 w 254551"/>
                    <a:gd name="connsiteY28" fmla="*/ 196215 h 227192"/>
                    <a:gd name="connsiteX29" fmla="*/ 163830 w 254551"/>
                    <a:gd name="connsiteY29" fmla="*/ 184785 h 227192"/>
                    <a:gd name="connsiteX30" fmla="*/ 175260 w 254551"/>
                    <a:gd name="connsiteY30" fmla="*/ 180975 h 227192"/>
                    <a:gd name="connsiteX31" fmla="*/ 198120 w 254551"/>
                    <a:gd name="connsiteY31" fmla="*/ 182880 h 227192"/>
                    <a:gd name="connsiteX32" fmla="*/ 203835 w 254551"/>
                    <a:gd name="connsiteY32" fmla="*/ 186690 h 227192"/>
                    <a:gd name="connsiteX33" fmla="*/ 209550 w 254551"/>
                    <a:gd name="connsiteY33" fmla="*/ 188595 h 227192"/>
                    <a:gd name="connsiteX34" fmla="*/ 220980 w 254551"/>
                    <a:gd name="connsiteY34" fmla="*/ 186690 h 227192"/>
                    <a:gd name="connsiteX35" fmla="*/ 226695 w 254551"/>
                    <a:gd name="connsiteY35" fmla="*/ 182880 h 227192"/>
                    <a:gd name="connsiteX36" fmla="*/ 234315 w 254551"/>
                    <a:gd name="connsiteY36" fmla="*/ 165735 h 227192"/>
                    <a:gd name="connsiteX37" fmla="*/ 238125 w 254551"/>
                    <a:gd name="connsiteY37" fmla="*/ 154305 h 227192"/>
                    <a:gd name="connsiteX38" fmla="*/ 240030 w 254551"/>
                    <a:gd name="connsiteY38" fmla="*/ 148590 h 227192"/>
                    <a:gd name="connsiteX39" fmla="*/ 245745 w 254551"/>
                    <a:gd name="connsiteY39" fmla="*/ 120015 h 227192"/>
                    <a:gd name="connsiteX40" fmla="*/ 247650 w 254551"/>
                    <a:gd name="connsiteY40" fmla="*/ 114300 h 227192"/>
                    <a:gd name="connsiteX41" fmla="*/ 249555 w 254551"/>
                    <a:gd name="connsiteY41" fmla="*/ 108585 h 227192"/>
                    <a:gd name="connsiteX42" fmla="*/ 241935 w 254551"/>
                    <a:gd name="connsiteY42" fmla="*/ 89535 h 227192"/>
                    <a:gd name="connsiteX43" fmla="*/ 236220 w 254551"/>
                    <a:gd name="connsiteY43" fmla="*/ 85725 h 227192"/>
                    <a:gd name="connsiteX44" fmla="*/ 238125 w 254551"/>
                    <a:gd name="connsiteY44" fmla="*/ 80010 h 227192"/>
                    <a:gd name="connsiteX45" fmla="*/ 243840 w 254551"/>
                    <a:gd name="connsiteY45" fmla="*/ 78105 h 227192"/>
                    <a:gd name="connsiteX46" fmla="*/ 249555 w 254551"/>
                    <a:gd name="connsiteY46" fmla="*/ 74295 h 227192"/>
                    <a:gd name="connsiteX47" fmla="*/ 251460 w 254551"/>
                    <a:gd name="connsiteY47" fmla="*/ 24765 h 227192"/>
                    <a:gd name="connsiteX48" fmla="*/ 249555 w 254551"/>
                    <a:gd name="connsiteY48" fmla="*/ 19050 h 227192"/>
                    <a:gd name="connsiteX49" fmla="*/ 243840 w 254551"/>
                    <a:gd name="connsiteY49" fmla="*/ 15240 h 227192"/>
                    <a:gd name="connsiteX50" fmla="*/ 234315 w 254551"/>
                    <a:gd name="connsiteY50" fmla="*/ 3810 h 227192"/>
                    <a:gd name="connsiteX51" fmla="*/ 228600 w 254551"/>
                    <a:gd name="connsiteY51" fmla="*/ 0 h 227192"/>
                    <a:gd name="connsiteX52" fmla="*/ 217170 w 254551"/>
                    <a:gd name="connsiteY52" fmla="*/ 1905 h 227192"/>
                    <a:gd name="connsiteX53" fmla="*/ 213360 w 254551"/>
                    <a:gd name="connsiteY53" fmla="*/ 7620 h 227192"/>
                    <a:gd name="connsiteX54" fmla="*/ 207645 w 254551"/>
                    <a:gd name="connsiteY54" fmla="*/ 9525 h 227192"/>
                    <a:gd name="connsiteX55" fmla="*/ 203835 w 254551"/>
                    <a:gd name="connsiteY55" fmla="*/ 20955 h 227192"/>
                    <a:gd name="connsiteX56" fmla="*/ 201930 w 254551"/>
                    <a:gd name="connsiteY56" fmla="*/ 26670 h 227192"/>
                    <a:gd name="connsiteX57" fmla="*/ 200025 w 254551"/>
                    <a:gd name="connsiteY57" fmla="*/ 38100 h 227192"/>
                    <a:gd name="connsiteX58" fmla="*/ 205740 w 254551"/>
                    <a:gd name="connsiteY58" fmla="*/ 72390 h 227192"/>
                    <a:gd name="connsiteX59" fmla="*/ 213360 w 254551"/>
                    <a:gd name="connsiteY59" fmla="*/ 83820 h 227192"/>
                    <a:gd name="connsiteX60" fmla="*/ 217170 w 254551"/>
                    <a:gd name="connsiteY60" fmla="*/ 89535 h 227192"/>
                    <a:gd name="connsiteX61" fmla="*/ 215265 w 254551"/>
                    <a:gd name="connsiteY61" fmla="*/ 97155 h 227192"/>
                    <a:gd name="connsiteX62" fmla="*/ 203835 w 254551"/>
                    <a:gd name="connsiteY62" fmla="*/ 104775 h 227192"/>
                    <a:gd name="connsiteX63" fmla="*/ 198120 w 254551"/>
                    <a:gd name="connsiteY63" fmla="*/ 116205 h 227192"/>
                    <a:gd name="connsiteX64" fmla="*/ 196215 w 254551"/>
                    <a:gd name="connsiteY64" fmla="*/ 121920 h 227192"/>
                    <a:gd name="connsiteX65" fmla="*/ 190500 w 254551"/>
                    <a:gd name="connsiteY65" fmla="*/ 133350 h 227192"/>
                    <a:gd name="connsiteX66" fmla="*/ 182880 w 254551"/>
                    <a:gd name="connsiteY66" fmla="*/ 154305 h 227192"/>
                    <a:gd name="connsiteX67" fmla="*/ 175260 w 254551"/>
                    <a:gd name="connsiteY67" fmla="*/ 156210 h 227192"/>
                    <a:gd name="connsiteX68" fmla="*/ 169545 w 254551"/>
                    <a:gd name="connsiteY68" fmla="*/ 150495 h 227192"/>
                    <a:gd name="connsiteX69" fmla="*/ 167640 w 254551"/>
                    <a:gd name="connsiteY69" fmla="*/ 144780 h 227192"/>
                    <a:gd name="connsiteX70" fmla="*/ 156210 w 254551"/>
                    <a:gd name="connsiteY70" fmla="*/ 140970 h 227192"/>
                    <a:gd name="connsiteX71" fmla="*/ 150495 w 254551"/>
                    <a:gd name="connsiteY71" fmla="*/ 139065 h 227192"/>
                    <a:gd name="connsiteX72" fmla="*/ 139065 w 254551"/>
                    <a:gd name="connsiteY72" fmla="*/ 135255 h 227192"/>
                    <a:gd name="connsiteX73" fmla="*/ 133350 w 254551"/>
                    <a:gd name="connsiteY73" fmla="*/ 133350 h 227192"/>
                    <a:gd name="connsiteX74" fmla="*/ 121920 w 254551"/>
                    <a:gd name="connsiteY74" fmla="*/ 127635 h 227192"/>
                    <a:gd name="connsiteX75" fmla="*/ 89535 w 254551"/>
                    <a:gd name="connsiteY75" fmla="*/ 125730 h 227192"/>
                    <a:gd name="connsiteX76" fmla="*/ 78105 w 254551"/>
                    <a:gd name="connsiteY76" fmla="*/ 116205 h 227192"/>
                    <a:gd name="connsiteX77" fmla="*/ 76200 w 254551"/>
                    <a:gd name="connsiteY77" fmla="*/ 110490 h 227192"/>
                    <a:gd name="connsiteX78" fmla="*/ 72390 w 254551"/>
                    <a:gd name="connsiteY78" fmla="*/ 104775 h 227192"/>
                    <a:gd name="connsiteX79" fmla="*/ 68580 w 254551"/>
                    <a:gd name="connsiteY79" fmla="*/ 89535 h 227192"/>
                    <a:gd name="connsiteX80" fmla="*/ 62865 w 254551"/>
                    <a:gd name="connsiteY80" fmla="*/ 85725 h 227192"/>
                    <a:gd name="connsiteX81" fmla="*/ 53340 w 254551"/>
                    <a:gd name="connsiteY81" fmla="*/ 83820 h 227192"/>
                    <a:gd name="connsiteX82" fmla="*/ 47625 w 254551"/>
                    <a:gd name="connsiteY82" fmla="*/ 80010 h 227192"/>
                    <a:gd name="connsiteX83" fmla="*/ 41910 w 254551"/>
                    <a:gd name="connsiteY83" fmla="*/ 78105 h 227192"/>
                    <a:gd name="connsiteX84" fmla="*/ 34290 w 254551"/>
                    <a:gd name="connsiteY84" fmla="*/ 64770 h 227192"/>
                    <a:gd name="connsiteX85" fmla="*/ 30480 w 254551"/>
                    <a:gd name="connsiteY85" fmla="*/ 53340 h 227192"/>
                    <a:gd name="connsiteX86" fmla="*/ 34290 w 254551"/>
                    <a:gd name="connsiteY86" fmla="*/ 47625 h 227192"/>
                    <a:gd name="connsiteX87" fmla="*/ 32385 w 254551"/>
                    <a:gd name="connsiteY87" fmla="*/ 28575 h 227192"/>
                    <a:gd name="connsiteX88" fmla="*/ 30480 w 254551"/>
                    <a:gd name="connsiteY88" fmla="*/ 22860 h 227192"/>
                    <a:gd name="connsiteX89" fmla="*/ 36195 w 254551"/>
                    <a:gd name="connsiteY89" fmla="*/ 30480 h 227192"/>
                    <a:gd name="connsiteX0" fmla="*/ 36317 w 254673"/>
                    <a:gd name="connsiteY0" fmla="*/ 30480 h 227192"/>
                    <a:gd name="connsiteX1" fmla="*/ 36317 w 254673"/>
                    <a:gd name="connsiteY1" fmla="*/ 30480 h 227192"/>
                    <a:gd name="connsiteX2" fmla="*/ 21077 w 254673"/>
                    <a:gd name="connsiteY2" fmla="*/ 20955 h 227192"/>
                    <a:gd name="connsiteX3" fmla="*/ 2027 w 254673"/>
                    <a:gd name="connsiteY3" fmla="*/ 20955 h 227192"/>
                    <a:gd name="connsiteX4" fmla="*/ 122 w 254673"/>
                    <a:gd name="connsiteY4" fmla="*/ 26670 h 227192"/>
                    <a:gd name="connsiteX5" fmla="*/ 2027 w 254673"/>
                    <a:gd name="connsiteY5" fmla="*/ 47625 h 227192"/>
                    <a:gd name="connsiteX6" fmla="*/ 9647 w 254673"/>
                    <a:gd name="connsiteY6" fmla="*/ 59055 h 227192"/>
                    <a:gd name="connsiteX7" fmla="*/ 13457 w 254673"/>
                    <a:gd name="connsiteY7" fmla="*/ 70485 h 227192"/>
                    <a:gd name="connsiteX8" fmla="*/ 15362 w 254673"/>
                    <a:gd name="connsiteY8" fmla="*/ 99060 h 227192"/>
                    <a:gd name="connsiteX9" fmla="*/ 17267 w 254673"/>
                    <a:gd name="connsiteY9" fmla="*/ 104775 h 227192"/>
                    <a:gd name="connsiteX10" fmla="*/ 22982 w 254673"/>
                    <a:gd name="connsiteY10" fmla="*/ 108585 h 227192"/>
                    <a:gd name="connsiteX11" fmla="*/ 26792 w 254673"/>
                    <a:gd name="connsiteY11" fmla="*/ 114300 h 227192"/>
                    <a:gd name="connsiteX12" fmla="*/ 32507 w 254673"/>
                    <a:gd name="connsiteY12" fmla="*/ 118110 h 227192"/>
                    <a:gd name="connsiteX13" fmla="*/ 42032 w 254673"/>
                    <a:gd name="connsiteY13" fmla="*/ 131445 h 227192"/>
                    <a:gd name="connsiteX14" fmla="*/ 59177 w 254673"/>
                    <a:gd name="connsiteY14" fmla="*/ 133350 h 227192"/>
                    <a:gd name="connsiteX15" fmla="*/ 64892 w 254673"/>
                    <a:gd name="connsiteY15" fmla="*/ 180975 h 227192"/>
                    <a:gd name="connsiteX16" fmla="*/ 74417 w 254673"/>
                    <a:gd name="connsiteY16" fmla="*/ 188595 h 227192"/>
                    <a:gd name="connsiteX17" fmla="*/ 80132 w 254673"/>
                    <a:gd name="connsiteY17" fmla="*/ 192405 h 227192"/>
                    <a:gd name="connsiteX18" fmla="*/ 87752 w 254673"/>
                    <a:gd name="connsiteY18" fmla="*/ 201930 h 227192"/>
                    <a:gd name="connsiteX19" fmla="*/ 95372 w 254673"/>
                    <a:gd name="connsiteY19" fmla="*/ 213360 h 227192"/>
                    <a:gd name="connsiteX20" fmla="*/ 99182 w 254673"/>
                    <a:gd name="connsiteY20" fmla="*/ 219075 h 227192"/>
                    <a:gd name="connsiteX21" fmla="*/ 104897 w 254673"/>
                    <a:gd name="connsiteY21" fmla="*/ 220980 h 227192"/>
                    <a:gd name="connsiteX22" fmla="*/ 108707 w 254673"/>
                    <a:gd name="connsiteY22" fmla="*/ 226695 h 227192"/>
                    <a:gd name="connsiteX23" fmla="*/ 133472 w 254673"/>
                    <a:gd name="connsiteY23" fmla="*/ 222885 h 227192"/>
                    <a:gd name="connsiteX24" fmla="*/ 144902 w 254673"/>
                    <a:gd name="connsiteY24" fmla="*/ 211455 h 227192"/>
                    <a:gd name="connsiteX25" fmla="*/ 148712 w 254673"/>
                    <a:gd name="connsiteY25" fmla="*/ 205740 h 227192"/>
                    <a:gd name="connsiteX26" fmla="*/ 160142 w 254673"/>
                    <a:gd name="connsiteY26" fmla="*/ 201930 h 227192"/>
                    <a:gd name="connsiteX27" fmla="*/ 162047 w 254673"/>
                    <a:gd name="connsiteY27" fmla="*/ 196215 h 227192"/>
                    <a:gd name="connsiteX28" fmla="*/ 163952 w 254673"/>
                    <a:gd name="connsiteY28" fmla="*/ 184785 h 227192"/>
                    <a:gd name="connsiteX29" fmla="*/ 175382 w 254673"/>
                    <a:gd name="connsiteY29" fmla="*/ 180975 h 227192"/>
                    <a:gd name="connsiteX30" fmla="*/ 198242 w 254673"/>
                    <a:gd name="connsiteY30" fmla="*/ 182880 h 227192"/>
                    <a:gd name="connsiteX31" fmla="*/ 203957 w 254673"/>
                    <a:gd name="connsiteY31" fmla="*/ 186690 h 227192"/>
                    <a:gd name="connsiteX32" fmla="*/ 209672 w 254673"/>
                    <a:gd name="connsiteY32" fmla="*/ 188595 h 227192"/>
                    <a:gd name="connsiteX33" fmla="*/ 221102 w 254673"/>
                    <a:gd name="connsiteY33" fmla="*/ 186690 h 227192"/>
                    <a:gd name="connsiteX34" fmla="*/ 226817 w 254673"/>
                    <a:gd name="connsiteY34" fmla="*/ 182880 h 227192"/>
                    <a:gd name="connsiteX35" fmla="*/ 234437 w 254673"/>
                    <a:gd name="connsiteY35" fmla="*/ 165735 h 227192"/>
                    <a:gd name="connsiteX36" fmla="*/ 238247 w 254673"/>
                    <a:gd name="connsiteY36" fmla="*/ 154305 h 227192"/>
                    <a:gd name="connsiteX37" fmla="*/ 240152 w 254673"/>
                    <a:gd name="connsiteY37" fmla="*/ 148590 h 227192"/>
                    <a:gd name="connsiteX38" fmla="*/ 245867 w 254673"/>
                    <a:gd name="connsiteY38" fmla="*/ 120015 h 227192"/>
                    <a:gd name="connsiteX39" fmla="*/ 247772 w 254673"/>
                    <a:gd name="connsiteY39" fmla="*/ 114300 h 227192"/>
                    <a:gd name="connsiteX40" fmla="*/ 249677 w 254673"/>
                    <a:gd name="connsiteY40" fmla="*/ 108585 h 227192"/>
                    <a:gd name="connsiteX41" fmla="*/ 242057 w 254673"/>
                    <a:gd name="connsiteY41" fmla="*/ 89535 h 227192"/>
                    <a:gd name="connsiteX42" fmla="*/ 236342 w 254673"/>
                    <a:gd name="connsiteY42" fmla="*/ 85725 h 227192"/>
                    <a:gd name="connsiteX43" fmla="*/ 238247 w 254673"/>
                    <a:gd name="connsiteY43" fmla="*/ 80010 h 227192"/>
                    <a:gd name="connsiteX44" fmla="*/ 243962 w 254673"/>
                    <a:gd name="connsiteY44" fmla="*/ 78105 h 227192"/>
                    <a:gd name="connsiteX45" fmla="*/ 249677 w 254673"/>
                    <a:gd name="connsiteY45" fmla="*/ 74295 h 227192"/>
                    <a:gd name="connsiteX46" fmla="*/ 251582 w 254673"/>
                    <a:gd name="connsiteY46" fmla="*/ 24765 h 227192"/>
                    <a:gd name="connsiteX47" fmla="*/ 249677 w 254673"/>
                    <a:gd name="connsiteY47" fmla="*/ 19050 h 227192"/>
                    <a:gd name="connsiteX48" fmla="*/ 243962 w 254673"/>
                    <a:gd name="connsiteY48" fmla="*/ 15240 h 227192"/>
                    <a:gd name="connsiteX49" fmla="*/ 234437 w 254673"/>
                    <a:gd name="connsiteY49" fmla="*/ 3810 h 227192"/>
                    <a:gd name="connsiteX50" fmla="*/ 228722 w 254673"/>
                    <a:gd name="connsiteY50" fmla="*/ 0 h 227192"/>
                    <a:gd name="connsiteX51" fmla="*/ 217292 w 254673"/>
                    <a:gd name="connsiteY51" fmla="*/ 1905 h 227192"/>
                    <a:gd name="connsiteX52" fmla="*/ 213482 w 254673"/>
                    <a:gd name="connsiteY52" fmla="*/ 7620 h 227192"/>
                    <a:gd name="connsiteX53" fmla="*/ 207767 w 254673"/>
                    <a:gd name="connsiteY53" fmla="*/ 9525 h 227192"/>
                    <a:gd name="connsiteX54" fmla="*/ 203957 w 254673"/>
                    <a:gd name="connsiteY54" fmla="*/ 20955 h 227192"/>
                    <a:gd name="connsiteX55" fmla="*/ 202052 w 254673"/>
                    <a:gd name="connsiteY55" fmla="*/ 26670 h 227192"/>
                    <a:gd name="connsiteX56" fmla="*/ 200147 w 254673"/>
                    <a:gd name="connsiteY56" fmla="*/ 38100 h 227192"/>
                    <a:gd name="connsiteX57" fmla="*/ 205862 w 254673"/>
                    <a:gd name="connsiteY57" fmla="*/ 72390 h 227192"/>
                    <a:gd name="connsiteX58" fmla="*/ 213482 w 254673"/>
                    <a:gd name="connsiteY58" fmla="*/ 83820 h 227192"/>
                    <a:gd name="connsiteX59" fmla="*/ 217292 w 254673"/>
                    <a:gd name="connsiteY59" fmla="*/ 89535 h 227192"/>
                    <a:gd name="connsiteX60" fmla="*/ 215387 w 254673"/>
                    <a:gd name="connsiteY60" fmla="*/ 97155 h 227192"/>
                    <a:gd name="connsiteX61" fmla="*/ 203957 w 254673"/>
                    <a:gd name="connsiteY61" fmla="*/ 104775 h 227192"/>
                    <a:gd name="connsiteX62" fmla="*/ 198242 w 254673"/>
                    <a:gd name="connsiteY62" fmla="*/ 116205 h 227192"/>
                    <a:gd name="connsiteX63" fmla="*/ 196337 w 254673"/>
                    <a:gd name="connsiteY63" fmla="*/ 121920 h 227192"/>
                    <a:gd name="connsiteX64" fmla="*/ 190622 w 254673"/>
                    <a:gd name="connsiteY64" fmla="*/ 133350 h 227192"/>
                    <a:gd name="connsiteX65" fmla="*/ 183002 w 254673"/>
                    <a:gd name="connsiteY65" fmla="*/ 154305 h 227192"/>
                    <a:gd name="connsiteX66" fmla="*/ 175382 w 254673"/>
                    <a:gd name="connsiteY66" fmla="*/ 156210 h 227192"/>
                    <a:gd name="connsiteX67" fmla="*/ 169667 w 254673"/>
                    <a:gd name="connsiteY67" fmla="*/ 150495 h 227192"/>
                    <a:gd name="connsiteX68" fmla="*/ 167762 w 254673"/>
                    <a:gd name="connsiteY68" fmla="*/ 144780 h 227192"/>
                    <a:gd name="connsiteX69" fmla="*/ 156332 w 254673"/>
                    <a:gd name="connsiteY69" fmla="*/ 140970 h 227192"/>
                    <a:gd name="connsiteX70" fmla="*/ 150617 w 254673"/>
                    <a:gd name="connsiteY70" fmla="*/ 139065 h 227192"/>
                    <a:gd name="connsiteX71" fmla="*/ 139187 w 254673"/>
                    <a:gd name="connsiteY71" fmla="*/ 135255 h 227192"/>
                    <a:gd name="connsiteX72" fmla="*/ 133472 w 254673"/>
                    <a:gd name="connsiteY72" fmla="*/ 133350 h 227192"/>
                    <a:gd name="connsiteX73" fmla="*/ 122042 w 254673"/>
                    <a:gd name="connsiteY73" fmla="*/ 127635 h 227192"/>
                    <a:gd name="connsiteX74" fmla="*/ 89657 w 254673"/>
                    <a:gd name="connsiteY74" fmla="*/ 125730 h 227192"/>
                    <a:gd name="connsiteX75" fmla="*/ 78227 w 254673"/>
                    <a:gd name="connsiteY75" fmla="*/ 116205 h 227192"/>
                    <a:gd name="connsiteX76" fmla="*/ 76322 w 254673"/>
                    <a:gd name="connsiteY76" fmla="*/ 110490 h 227192"/>
                    <a:gd name="connsiteX77" fmla="*/ 72512 w 254673"/>
                    <a:gd name="connsiteY77" fmla="*/ 104775 h 227192"/>
                    <a:gd name="connsiteX78" fmla="*/ 68702 w 254673"/>
                    <a:gd name="connsiteY78" fmla="*/ 89535 h 227192"/>
                    <a:gd name="connsiteX79" fmla="*/ 62987 w 254673"/>
                    <a:gd name="connsiteY79" fmla="*/ 85725 h 227192"/>
                    <a:gd name="connsiteX80" fmla="*/ 53462 w 254673"/>
                    <a:gd name="connsiteY80" fmla="*/ 83820 h 227192"/>
                    <a:gd name="connsiteX81" fmla="*/ 47747 w 254673"/>
                    <a:gd name="connsiteY81" fmla="*/ 80010 h 227192"/>
                    <a:gd name="connsiteX82" fmla="*/ 42032 w 254673"/>
                    <a:gd name="connsiteY82" fmla="*/ 78105 h 227192"/>
                    <a:gd name="connsiteX83" fmla="*/ 34412 w 254673"/>
                    <a:gd name="connsiteY83" fmla="*/ 64770 h 227192"/>
                    <a:gd name="connsiteX84" fmla="*/ 30602 w 254673"/>
                    <a:gd name="connsiteY84" fmla="*/ 53340 h 227192"/>
                    <a:gd name="connsiteX85" fmla="*/ 34412 w 254673"/>
                    <a:gd name="connsiteY85" fmla="*/ 47625 h 227192"/>
                    <a:gd name="connsiteX86" fmla="*/ 32507 w 254673"/>
                    <a:gd name="connsiteY86" fmla="*/ 28575 h 227192"/>
                    <a:gd name="connsiteX87" fmla="*/ 30602 w 254673"/>
                    <a:gd name="connsiteY87" fmla="*/ 22860 h 227192"/>
                    <a:gd name="connsiteX88" fmla="*/ 36317 w 254673"/>
                    <a:gd name="connsiteY88" fmla="*/ 30480 h 227192"/>
                    <a:gd name="connsiteX0" fmla="*/ 30602 w 254673"/>
                    <a:gd name="connsiteY0" fmla="*/ 22860 h 227192"/>
                    <a:gd name="connsiteX1" fmla="*/ 36317 w 254673"/>
                    <a:gd name="connsiteY1" fmla="*/ 30480 h 227192"/>
                    <a:gd name="connsiteX2" fmla="*/ 21077 w 254673"/>
                    <a:gd name="connsiteY2" fmla="*/ 20955 h 227192"/>
                    <a:gd name="connsiteX3" fmla="*/ 2027 w 254673"/>
                    <a:gd name="connsiteY3" fmla="*/ 20955 h 227192"/>
                    <a:gd name="connsiteX4" fmla="*/ 122 w 254673"/>
                    <a:gd name="connsiteY4" fmla="*/ 26670 h 227192"/>
                    <a:gd name="connsiteX5" fmla="*/ 2027 w 254673"/>
                    <a:gd name="connsiteY5" fmla="*/ 47625 h 227192"/>
                    <a:gd name="connsiteX6" fmla="*/ 9647 w 254673"/>
                    <a:gd name="connsiteY6" fmla="*/ 59055 h 227192"/>
                    <a:gd name="connsiteX7" fmla="*/ 13457 w 254673"/>
                    <a:gd name="connsiteY7" fmla="*/ 70485 h 227192"/>
                    <a:gd name="connsiteX8" fmla="*/ 15362 w 254673"/>
                    <a:gd name="connsiteY8" fmla="*/ 99060 h 227192"/>
                    <a:gd name="connsiteX9" fmla="*/ 17267 w 254673"/>
                    <a:gd name="connsiteY9" fmla="*/ 104775 h 227192"/>
                    <a:gd name="connsiteX10" fmla="*/ 22982 w 254673"/>
                    <a:gd name="connsiteY10" fmla="*/ 108585 h 227192"/>
                    <a:gd name="connsiteX11" fmla="*/ 26792 w 254673"/>
                    <a:gd name="connsiteY11" fmla="*/ 114300 h 227192"/>
                    <a:gd name="connsiteX12" fmla="*/ 32507 w 254673"/>
                    <a:gd name="connsiteY12" fmla="*/ 118110 h 227192"/>
                    <a:gd name="connsiteX13" fmla="*/ 42032 w 254673"/>
                    <a:gd name="connsiteY13" fmla="*/ 131445 h 227192"/>
                    <a:gd name="connsiteX14" fmla="*/ 59177 w 254673"/>
                    <a:gd name="connsiteY14" fmla="*/ 133350 h 227192"/>
                    <a:gd name="connsiteX15" fmla="*/ 64892 w 254673"/>
                    <a:gd name="connsiteY15" fmla="*/ 180975 h 227192"/>
                    <a:gd name="connsiteX16" fmla="*/ 74417 w 254673"/>
                    <a:gd name="connsiteY16" fmla="*/ 188595 h 227192"/>
                    <a:gd name="connsiteX17" fmla="*/ 80132 w 254673"/>
                    <a:gd name="connsiteY17" fmla="*/ 192405 h 227192"/>
                    <a:gd name="connsiteX18" fmla="*/ 87752 w 254673"/>
                    <a:gd name="connsiteY18" fmla="*/ 201930 h 227192"/>
                    <a:gd name="connsiteX19" fmla="*/ 95372 w 254673"/>
                    <a:gd name="connsiteY19" fmla="*/ 213360 h 227192"/>
                    <a:gd name="connsiteX20" fmla="*/ 99182 w 254673"/>
                    <a:gd name="connsiteY20" fmla="*/ 219075 h 227192"/>
                    <a:gd name="connsiteX21" fmla="*/ 104897 w 254673"/>
                    <a:gd name="connsiteY21" fmla="*/ 220980 h 227192"/>
                    <a:gd name="connsiteX22" fmla="*/ 108707 w 254673"/>
                    <a:gd name="connsiteY22" fmla="*/ 226695 h 227192"/>
                    <a:gd name="connsiteX23" fmla="*/ 133472 w 254673"/>
                    <a:gd name="connsiteY23" fmla="*/ 222885 h 227192"/>
                    <a:gd name="connsiteX24" fmla="*/ 144902 w 254673"/>
                    <a:gd name="connsiteY24" fmla="*/ 211455 h 227192"/>
                    <a:gd name="connsiteX25" fmla="*/ 148712 w 254673"/>
                    <a:gd name="connsiteY25" fmla="*/ 205740 h 227192"/>
                    <a:gd name="connsiteX26" fmla="*/ 160142 w 254673"/>
                    <a:gd name="connsiteY26" fmla="*/ 201930 h 227192"/>
                    <a:gd name="connsiteX27" fmla="*/ 162047 w 254673"/>
                    <a:gd name="connsiteY27" fmla="*/ 196215 h 227192"/>
                    <a:gd name="connsiteX28" fmla="*/ 163952 w 254673"/>
                    <a:gd name="connsiteY28" fmla="*/ 184785 h 227192"/>
                    <a:gd name="connsiteX29" fmla="*/ 175382 w 254673"/>
                    <a:gd name="connsiteY29" fmla="*/ 180975 h 227192"/>
                    <a:gd name="connsiteX30" fmla="*/ 198242 w 254673"/>
                    <a:gd name="connsiteY30" fmla="*/ 182880 h 227192"/>
                    <a:gd name="connsiteX31" fmla="*/ 203957 w 254673"/>
                    <a:gd name="connsiteY31" fmla="*/ 186690 h 227192"/>
                    <a:gd name="connsiteX32" fmla="*/ 209672 w 254673"/>
                    <a:gd name="connsiteY32" fmla="*/ 188595 h 227192"/>
                    <a:gd name="connsiteX33" fmla="*/ 221102 w 254673"/>
                    <a:gd name="connsiteY33" fmla="*/ 186690 h 227192"/>
                    <a:gd name="connsiteX34" fmla="*/ 226817 w 254673"/>
                    <a:gd name="connsiteY34" fmla="*/ 182880 h 227192"/>
                    <a:gd name="connsiteX35" fmla="*/ 234437 w 254673"/>
                    <a:gd name="connsiteY35" fmla="*/ 165735 h 227192"/>
                    <a:gd name="connsiteX36" fmla="*/ 238247 w 254673"/>
                    <a:gd name="connsiteY36" fmla="*/ 154305 h 227192"/>
                    <a:gd name="connsiteX37" fmla="*/ 240152 w 254673"/>
                    <a:gd name="connsiteY37" fmla="*/ 148590 h 227192"/>
                    <a:gd name="connsiteX38" fmla="*/ 245867 w 254673"/>
                    <a:gd name="connsiteY38" fmla="*/ 120015 h 227192"/>
                    <a:gd name="connsiteX39" fmla="*/ 247772 w 254673"/>
                    <a:gd name="connsiteY39" fmla="*/ 114300 h 227192"/>
                    <a:gd name="connsiteX40" fmla="*/ 249677 w 254673"/>
                    <a:gd name="connsiteY40" fmla="*/ 108585 h 227192"/>
                    <a:gd name="connsiteX41" fmla="*/ 242057 w 254673"/>
                    <a:gd name="connsiteY41" fmla="*/ 89535 h 227192"/>
                    <a:gd name="connsiteX42" fmla="*/ 236342 w 254673"/>
                    <a:gd name="connsiteY42" fmla="*/ 85725 h 227192"/>
                    <a:gd name="connsiteX43" fmla="*/ 238247 w 254673"/>
                    <a:gd name="connsiteY43" fmla="*/ 80010 h 227192"/>
                    <a:gd name="connsiteX44" fmla="*/ 243962 w 254673"/>
                    <a:gd name="connsiteY44" fmla="*/ 78105 h 227192"/>
                    <a:gd name="connsiteX45" fmla="*/ 249677 w 254673"/>
                    <a:gd name="connsiteY45" fmla="*/ 74295 h 227192"/>
                    <a:gd name="connsiteX46" fmla="*/ 251582 w 254673"/>
                    <a:gd name="connsiteY46" fmla="*/ 24765 h 227192"/>
                    <a:gd name="connsiteX47" fmla="*/ 249677 w 254673"/>
                    <a:gd name="connsiteY47" fmla="*/ 19050 h 227192"/>
                    <a:gd name="connsiteX48" fmla="*/ 243962 w 254673"/>
                    <a:gd name="connsiteY48" fmla="*/ 15240 h 227192"/>
                    <a:gd name="connsiteX49" fmla="*/ 234437 w 254673"/>
                    <a:gd name="connsiteY49" fmla="*/ 3810 h 227192"/>
                    <a:gd name="connsiteX50" fmla="*/ 228722 w 254673"/>
                    <a:gd name="connsiteY50" fmla="*/ 0 h 227192"/>
                    <a:gd name="connsiteX51" fmla="*/ 217292 w 254673"/>
                    <a:gd name="connsiteY51" fmla="*/ 1905 h 227192"/>
                    <a:gd name="connsiteX52" fmla="*/ 213482 w 254673"/>
                    <a:gd name="connsiteY52" fmla="*/ 7620 h 227192"/>
                    <a:gd name="connsiteX53" fmla="*/ 207767 w 254673"/>
                    <a:gd name="connsiteY53" fmla="*/ 9525 h 227192"/>
                    <a:gd name="connsiteX54" fmla="*/ 203957 w 254673"/>
                    <a:gd name="connsiteY54" fmla="*/ 20955 h 227192"/>
                    <a:gd name="connsiteX55" fmla="*/ 202052 w 254673"/>
                    <a:gd name="connsiteY55" fmla="*/ 26670 h 227192"/>
                    <a:gd name="connsiteX56" fmla="*/ 200147 w 254673"/>
                    <a:gd name="connsiteY56" fmla="*/ 38100 h 227192"/>
                    <a:gd name="connsiteX57" fmla="*/ 205862 w 254673"/>
                    <a:gd name="connsiteY57" fmla="*/ 72390 h 227192"/>
                    <a:gd name="connsiteX58" fmla="*/ 213482 w 254673"/>
                    <a:gd name="connsiteY58" fmla="*/ 83820 h 227192"/>
                    <a:gd name="connsiteX59" fmla="*/ 217292 w 254673"/>
                    <a:gd name="connsiteY59" fmla="*/ 89535 h 227192"/>
                    <a:gd name="connsiteX60" fmla="*/ 215387 w 254673"/>
                    <a:gd name="connsiteY60" fmla="*/ 97155 h 227192"/>
                    <a:gd name="connsiteX61" fmla="*/ 203957 w 254673"/>
                    <a:gd name="connsiteY61" fmla="*/ 104775 h 227192"/>
                    <a:gd name="connsiteX62" fmla="*/ 198242 w 254673"/>
                    <a:gd name="connsiteY62" fmla="*/ 116205 h 227192"/>
                    <a:gd name="connsiteX63" fmla="*/ 196337 w 254673"/>
                    <a:gd name="connsiteY63" fmla="*/ 121920 h 227192"/>
                    <a:gd name="connsiteX64" fmla="*/ 190622 w 254673"/>
                    <a:gd name="connsiteY64" fmla="*/ 133350 h 227192"/>
                    <a:gd name="connsiteX65" fmla="*/ 183002 w 254673"/>
                    <a:gd name="connsiteY65" fmla="*/ 154305 h 227192"/>
                    <a:gd name="connsiteX66" fmla="*/ 175382 w 254673"/>
                    <a:gd name="connsiteY66" fmla="*/ 156210 h 227192"/>
                    <a:gd name="connsiteX67" fmla="*/ 169667 w 254673"/>
                    <a:gd name="connsiteY67" fmla="*/ 150495 h 227192"/>
                    <a:gd name="connsiteX68" fmla="*/ 167762 w 254673"/>
                    <a:gd name="connsiteY68" fmla="*/ 144780 h 227192"/>
                    <a:gd name="connsiteX69" fmla="*/ 156332 w 254673"/>
                    <a:gd name="connsiteY69" fmla="*/ 140970 h 227192"/>
                    <a:gd name="connsiteX70" fmla="*/ 150617 w 254673"/>
                    <a:gd name="connsiteY70" fmla="*/ 139065 h 227192"/>
                    <a:gd name="connsiteX71" fmla="*/ 139187 w 254673"/>
                    <a:gd name="connsiteY71" fmla="*/ 135255 h 227192"/>
                    <a:gd name="connsiteX72" fmla="*/ 133472 w 254673"/>
                    <a:gd name="connsiteY72" fmla="*/ 133350 h 227192"/>
                    <a:gd name="connsiteX73" fmla="*/ 122042 w 254673"/>
                    <a:gd name="connsiteY73" fmla="*/ 127635 h 227192"/>
                    <a:gd name="connsiteX74" fmla="*/ 89657 w 254673"/>
                    <a:gd name="connsiteY74" fmla="*/ 125730 h 227192"/>
                    <a:gd name="connsiteX75" fmla="*/ 78227 w 254673"/>
                    <a:gd name="connsiteY75" fmla="*/ 116205 h 227192"/>
                    <a:gd name="connsiteX76" fmla="*/ 76322 w 254673"/>
                    <a:gd name="connsiteY76" fmla="*/ 110490 h 227192"/>
                    <a:gd name="connsiteX77" fmla="*/ 72512 w 254673"/>
                    <a:gd name="connsiteY77" fmla="*/ 104775 h 227192"/>
                    <a:gd name="connsiteX78" fmla="*/ 68702 w 254673"/>
                    <a:gd name="connsiteY78" fmla="*/ 89535 h 227192"/>
                    <a:gd name="connsiteX79" fmla="*/ 62987 w 254673"/>
                    <a:gd name="connsiteY79" fmla="*/ 85725 h 227192"/>
                    <a:gd name="connsiteX80" fmla="*/ 53462 w 254673"/>
                    <a:gd name="connsiteY80" fmla="*/ 83820 h 227192"/>
                    <a:gd name="connsiteX81" fmla="*/ 47747 w 254673"/>
                    <a:gd name="connsiteY81" fmla="*/ 80010 h 227192"/>
                    <a:gd name="connsiteX82" fmla="*/ 42032 w 254673"/>
                    <a:gd name="connsiteY82" fmla="*/ 78105 h 227192"/>
                    <a:gd name="connsiteX83" fmla="*/ 34412 w 254673"/>
                    <a:gd name="connsiteY83" fmla="*/ 64770 h 227192"/>
                    <a:gd name="connsiteX84" fmla="*/ 30602 w 254673"/>
                    <a:gd name="connsiteY84" fmla="*/ 53340 h 227192"/>
                    <a:gd name="connsiteX85" fmla="*/ 34412 w 254673"/>
                    <a:gd name="connsiteY85" fmla="*/ 47625 h 227192"/>
                    <a:gd name="connsiteX86" fmla="*/ 32507 w 254673"/>
                    <a:gd name="connsiteY86" fmla="*/ 28575 h 227192"/>
                    <a:gd name="connsiteX87" fmla="*/ 30602 w 254673"/>
                    <a:gd name="connsiteY87" fmla="*/ 22860 h 227192"/>
                    <a:gd name="connsiteX0" fmla="*/ 32507 w 254673"/>
                    <a:gd name="connsiteY0" fmla="*/ 28575 h 227192"/>
                    <a:gd name="connsiteX1" fmla="*/ 36317 w 254673"/>
                    <a:gd name="connsiteY1" fmla="*/ 30480 h 227192"/>
                    <a:gd name="connsiteX2" fmla="*/ 21077 w 254673"/>
                    <a:gd name="connsiteY2" fmla="*/ 20955 h 227192"/>
                    <a:gd name="connsiteX3" fmla="*/ 2027 w 254673"/>
                    <a:gd name="connsiteY3" fmla="*/ 20955 h 227192"/>
                    <a:gd name="connsiteX4" fmla="*/ 122 w 254673"/>
                    <a:gd name="connsiteY4" fmla="*/ 26670 h 227192"/>
                    <a:gd name="connsiteX5" fmla="*/ 2027 w 254673"/>
                    <a:gd name="connsiteY5" fmla="*/ 47625 h 227192"/>
                    <a:gd name="connsiteX6" fmla="*/ 9647 w 254673"/>
                    <a:gd name="connsiteY6" fmla="*/ 59055 h 227192"/>
                    <a:gd name="connsiteX7" fmla="*/ 13457 w 254673"/>
                    <a:gd name="connsiteY7" fmla="*/ 70485 h 227192"/>
                    <a:gd name="connsiteX8" fmla="*/ 15362 w 254673"/>
                    <a:gd name="connsiteY8" fmla="*/ 99060 h 227192"/>
                    <a:gd name="connsiteX9" fmla="*/ 17267 w 254673"/>
                    <a:gd name="connsiteY9" fmla="*/ 104775 h 227192"/>
                    <a:gd name="connsiteX10" fmla="*/ 22982 w 254673"/>
                    <a:gd name="connsiteY10" fmla="*/ 108585 h 227192"/>
                    <a:gd name="connsiteX11" fmla="*/ 26792 w 254673"/>
                    <a:gd name="connsiteY11" fmla="*/ 114300 h 227192"/>
                    <a:gd name="connsiteX12" fmla="*/ 32507 w 254673"/>
                    <a:gd name="connsiteY12" fmla="*/ 118110 h 227192"/>
                    <a:gd name="connsiteX13" fmla="*/ 42032 w 254673"/>
                    <a:gd name="connsiteY13" fmla="*/ 131445 h 227192"/>
                    <a:gd name="connsiteX14" fmla="*/ 59177 w 254673"/>
                    <a:gd name="connsiteY14" fmla="*/ 133350 h 227192"/>
                    <a:gd name="connsiteX15" fmla="*/ 64892 w 254673"/>
                    <a:gd name="connsiteY15" fmla="*/ 180975 h 227192"/>
                    <a:gd name="connsiteX16" fmla="*/ 74417 w 254673"/>
                    <a:gd name="connsiteY16" fmla="*/ 188595 h 227192"/>
                    <a:gd name="connsiteX17" fmla="*/ 80132 w 254673"/>
                    <a:gd name="connsiteY17" fmla="*/ 192405 h 227192"/>
                    <a:gd name="connsiteX18" fmla="*/ 87752 w 254673"/>
                    <a:gd name="connsiteY18" fmla="*/ 201930 h 227192"/>
                    <a:gd name="connsiteX19" fmla="*/ 95372 w 254673"/>
                    <a:gd name="connsiteY19" fmla="*/ 213360 h 227192"/>
                    <a:gd name="connsiteX20" fmla="*/ 99182 w 254673"/>
                    <a:gd name="connsiteY20" fmla="*/ 219075 h 227192"/>
                    <a:gd name="connsiteX21" fmla="*/ 104897 w 254673"/>
                    <a:gd name="connsiteY21" fmla="*/ 220980 h 227192"/>
                    <a:gd name="connsiteX22" fmla="*/ 108707 w 254673"/>
                    <a:gd name="connsiteY22" fmla="*/ 226695 h 227192"/>
                    <a:gd name="connsiteX23" fmla="*/ 133472 w 254673"/>
                    <a:gd name="connsiteY23" fmla="*/ 222885 h 227192"/>
                    <a:gd name="connsiteX24" fmla="*/ 144902 w 254673"/>
                    <a:gd name="connsiteY24" fmla="*/ 211455 h 227192"/>
                    <a:gd name="connsiteX25" fmla="*/ 148712 w 254673"/>
                    <a:gd name="connsiteY25" fmla="*/ 205740 h 227192"/>
                    <a:gd name="connsiteX26" fmla="*/ 160142 w 254673"/>
                    <a:gd name="connsiteY26" fmla="*/ 201930 h 227192"/>
                    <a:gd name="connsiteX27" fmla="*/ 162047 w 254673"/>
                    <a:gd name="connsiteY27" fmla="*/ 196215 h 227192"/>
                    <a:gd name="connsiteX28" fmla="*/ 163952 w 254673"/>
                    <a:gd name="connsiteY28" fmla="*/ 184785 h 227192"/>
                    <a:gd name="connsiteX29" fmla="*/ 175382 w 254673"/>
                    <a:gd name="connsiteY29" fmla="*/ 180975 h 227192"/>
                    <a:gd name="connsiteX30" fmla="*/ 198242 w 254673"/>
                    <a:gd name="connsiteY30" fmla="*/ 182880 h 227192"/>
                    <a:gd name="connsiteX31" fmla="*/ 203957 w 254673"/>
                    <a:gd name="connsiteY31" fmla="*/ 186690 h 227192"/>
                    <a:gd name="connsiteX32" fmla="*/ 209672 w 254673"/>
                    <a:gd name="connsiteY32" fmla="*/ 188595 h 227192"/>
                    <a:gd name="connsiteX33" fmla="*/ 221102 w 254673"/>
                    <a:gd name="connsiteY33" fmla="*/ 186690 h 227192"/>
                    <a:gd name="connsiteX34" fmla="*/ 226817 w 254673"/>
                    <a:gd name="connsiteY34" fmla="*/ 182880 h 227192"/>
                    <a:gd name="connsiteX35" fmla="*/ 234437 w 254673"/>
                    <a:gd name="connsiteY35" fmla="*/ 165735 h 227192"/>
                    <a:gd name="connsiteX36" fmla="*/ 238247 w 254673"/>
                    <a:gd name="connsiteY36" fmla="*/ 154305 h 227192"/>
                    <a:gd name="connsiteX37" fmla="*/ 240152 w 254673"/>
                    <a:gd name="connsiteY37" fmla="*/ 148590 h 227192"/>
                    <a:gd name="connsiteX38" fmla="*/ 245867 w 254673"/>
                    <a:gd name="connsiteY38" fmla="*/ 120015 h 227192"/>
                    <a:gd name="connsiteX39" fmla="*/ 247772 w 254673"/>
                    <a:gd name="connsiteY39" fmla="*/ 114300 h 227192"/>
                    <a:gd name="connsiteX40" fmla="*/ 249677 w 254673"/>
                    <a:gd name="connsiteY40" fmla="*/ 108585 h 227192"/>
                    <a:gd name="connsiteX41" fmla="*/ 242057 w 254673"/>
                    <a:gd name="connsiteY41" fmla="*/ 89535 h 227192"/>
                    <a:gd name="connsiteX42" fmla="*/ 236342 w 254673"/>
                    <a:gd name="connsiteY42" fmla="*/ 85725 h 227192"/>
                    <a:gd name="connsiteX43" fmla="*/ 238247 w 254673"/>
                    <a:gd name="connsiteY43" fmla="*/ 80010 h 227192"/>
                    <a:gd name="connsiteX44" fmla="*/ 243962 w 254673"/>
                    <a:gd name="connsiteY44" fmla="*/ 78105 h 227192"/>
                    <a:gd name="connsiteX45" fmla="*/ 249677 w 254673"/>
                    <a:gd name="connsiteY45" fmla="*/ 74295 h 227192"/>
                    <a:gd name="connsiteX46" fmla="*/ 251582 w 254673"/>
                    <a:gd name="connsiteY46" fmla="*/ 24765 h 227192"/>
                    <a:gd name="connsiteX47" fmla="*/ 249677 w 254673"/>
                    <a:gd name="connsiteY47" fmla="*/ 19050 h 227192"/>
                    <a:gd name="connsiteX48" fmla="*/ 243962 w 254673"/>
                    <a:gd name="connsiteY48" fmla="*/ 15240 h 227192"/>
                    <a:gd name="connsiteX49" fmla="*/ 234437 w 254673"/>
                    <a:gd name="connsiteY49" fmla="*/ 3810 h 227192"/>
                    <a:gd name="connsiteX50" fmla="*/ 228722 w 254673"/>
                    <a:gd name="connsiteY50" fmla="*/ 0 h 227192"/>
                    <a:gd name="connsiteX51" fmla="*/ 217292 w 254673"/>
                    <a:gd name="connsiteY51" fmla="*/ 1905 h 227192"/>
                    <a:gd name="connsiteX52" fmla="*/ 213482 w 254673"/>
                    <a:gd name="connsiteY52" fmla="*/ 7620 h 227192"/>
                    <a:gd name="connsiteX53" fmla="*/ 207767 w 254673"/>
                    <a:gd name="connsiteY53" fmla="*/ 9525 h 227192"/>
                    <a:gd name="connsiteX54" fmla="*/ 203957 w 254673"/>
                    <a:gd name="connsiteY54" fmla="*/ 20955 h 227192"/>
                    <a:gd name="connsiteX55" fmla="*/ 202052 w 254673"/>
                    <a:gd name="connsiteY55" fmla="*/ 26670 h 227192"/>
                    <a:gd name="connsiteX56" fmla="*/ 200147 w 254673"/>
                    <a:gd name="connsiteY56" fmla="*/ 38100 h 227192"/>
                    <a:gd name="connsiteX57" fmla="*/ 205862 w 254673"/>
                    <a:gd name="connsiteY57" fmla="*/ 72390 h 227192"/>
                    <a:gd name="connsiteX58" fmla="*/ 213482 w 254673"/>
                    <a:gd name="connsiteY58" fmla="*/ 83820 h 227192"/>
                    <a:gd name="connsiteX59" fmla="*/ 217292 w 254673"/>
                    <a:gd name="connsiteY59" fmla="*/ 89535 h 227192"/>
                    <a:gd name="connsiteX60" fmla="*/ 215387 w 254673"/>
                    <a:gd name="connsiteY60" fmla="*/ 97155 h 227192"/>
                    <a:gd name="connsiteX61" fmla="*/ 203957 w 254673"/>
                    <a:gd name="connsiteY61" fmla="*/ 104775 h 227192"/>
                    <a:gd name="connsiteX62" fmla="*/ 198242 w 254673"/>
                    <a:gd name="connsiteY62" fmla="*/ 116205 h 227192"/>
                    <a:gd name="connsiteX63" fmla="*/ 196337 w 254673"/>
                    <a:gd name="connsiteY63" fmla="*/ 121920 h 227192"/>
                    <a:gd name="connsiteX64" fmla="*/ 190622 w 254673"/>
                    <a:gd name="connsiteY64" fmla="*/ 133350 h 227192"/>
                    <a:gd name="connsiteX65" fmla="*/ 183002 w 254673"/>
                    <a:gd name="connsiteY65" fmla="*/ 154305 h 227192"/>
                    <a:gd name="connsiteX66" fmla="*/ 175382 w 254673"/>
                    <a:gd name="connsiteY66" fmla="*/ 156210 h 227192"/>
                    <a:gd name="connsiteX67" fmla="*/ 169667 w 254673"/>
                    <a:gd name="connsiteY67" fmla="*/ 150495 h 227192"/>
                    <a:gd name="connsiteX68" fmla="*/ 167762 w 254673"/>
                    <a:gd name="connsiteY68" fmla="*/ 144780 h 227192"/>
                    <a:gd name="connsiteX69" fmla="*/ 156332 w 254673"/>
                    <a:gd name="connsiteY69" fmla="*/ 140970 h 227192"/>
                    <a:gd name="connsiteX70" fmla="*/ 150617 w 254673"/>
                    <a:gd name="connsiteY70" fmla="*/ 139065 h 227192"/>
                    <a:gd name="connsiteX71" fmla="*/ 139187 w 254673"/>
                    <a:gd name="connsiteY71" fmla="*/ 135255 h 227192"/>
                    <a:gd name="connsiteX72" fmla="*/ 133472 w 254673"/>
                    <a:gd name="connsiteY72" fmla="*/ 133350 h 227192"/>
                    <a:gd name="connsiteX73" fmla="*/ 122042 w 254673"/>
                    <a:gd name="connsiteY73" fmla="*/ 127635 h 227192"/>
                    <a:gd name="connsiteX74" fmla="*/ 89657 w 254673"/>
                    <a:gd name="connsiteY74" fmla="*/ 125730 h 227192"/>
                    <a:gd name="connsiteX75" fmla="*/ 78227 w 254673"/>
                    <a:gd name="connsiteY75" fmla="*/ 116205 h 227192"/>
                    <a:gd name="connsiteX76" fmla="*/ 76322 w 254673"/>
                    <a:gd name="connsiteY76" fmla="*/ 110490 h 227192"/>
                    <a:gd name="connsiteX77" fmla="*/ 72512 w 254673"/>
                    <a:gd name="connsiteY77" fmla="*/ 104775 h 227192"/>
                    <a:gd name="connsiteX78" fmla="*/ 68702 w 254673"/>
                    <a:gd name="connsiteY78" fmla="*/ 89535 h 227192"/>
                    <a:gd name="connsiteX79" fmla="*/ 62987 w 254673"/>
                    <a:gd name="connsiteY79" fmla="*/ 85725 h 227192"/>
                    <a:gd name="connsiteX80" fmla="*/ 53462 w 254673"/>
                    <a:gd name="connsiteY80" fmla="*/ 83820 h 227192"/>
                    <a:gd name="connsiteX81" fmla="*/ 47747 w 254673"/>
                    <a:gd name="connsiteY81" fmla="*/ 80010 h 227192"/>
                    <a:gd name="connsiteX82" fmla="*/ 42032 w 254673"/>
                    <a:gd name="connsiteY82" fmla="*/ 78105 h 227192"/>
                    <a:gd name="connsiteX83" fmla="*/ 34412 w 254673"/>
                    <a:gd name="connsiteY83" fmla="*/ 64770 h 227192"/>
                    <a:gd name="connsiteX84" fmla="*/ 30602 w 254673"/>
                    <a:gd name="connsiteY84" fmla="*/ 53340 h 227192"/>
                    <a:gd name="connsiteX85" fmla="*/ 34412 w 254673"/>
                    <a:gd name="connsiteY85" fmla="*/ 47625 h 227192"/>
                    <a:gd name="connsiteX86" fmla="*/ 32507 w 254673"/>
                    <a:gd name="connsiteY86" fmla="*/ 28575 h 227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</a:cxnLst>
                  <a:rect l="l" t="t" r="r" b="b"/>
                  <a:pathLst>
                    <a:path w="254673" h="227192">
                      <a:moveTo>
                        <a:pt x="32507" y="28575"/>
                      </a:moveTo>
                      <a:cubicBezTo>
                        <a:pt x="32825" y="25718"/>
                        <a:pt x="38222" y="31750"/>
                        <a:pt x="36317" y="30480"/>
                      </a:cubicBezTo>
                      <a:cubicBezTo>
                        <a:pt x="34412" y="29210"/>
                        <a:pt x="26792" y="22543"/>
                        <a:pt x="21077" y="20955"/>
                      </a:cubicBezTo>
                      <a:cubicBezTo>
                        <a:pt x="15362" y="19368"/>
                        <a:pt x="5519" y="20003"/>
                        <a:pt x="2027" y="20955"/>
                      </a:cubicBezTo>
                      <a:cubicBezTo>
                        <a:pt x="-1465" y="21907"/>
                        <a:pt x="757" y="24765"/>
                        <a:pt x="122" y="26670"/>
                      </a:cubicBezTo>
                      <a:cubicBezTo>
                        <a:pt x="757" y="33655"/>
                        <a:pt x="48" y="40896"/>
                        <a:pt x="2027" y="47625"/>
                      </a:cubicBezTo>
                      <a:cubicBezTo>
                        <a:pt x="3319" y="52018"/>
                        <a:pt x="8199" y="54711"/>
                        <a:pt x="9647" y="59055"/>
                      </a:cubicBezTo>
                      <a:lnTo>
                        <a:pt x="13457" y="70485"/>
                      </a:lnTo>
                      <a:cubicBezTo>
                        <a:pt x="14092" y="80010"/>
                        <a:pt x="14308" y="89572"/>
                        <a:pt x="15362" y="99060"/>
                      </a:cubicBezTo>
                      <a:cubicBezTo>
                        <a:pt x="15584" y="101056"/>
                        <a:pt x="16013" y="103207"/>
                        <a:pt x="17267" y="104775"/>
                      </a:cubicBezTo>
                      <a:cubicBezTo>
                        <a:pt x="18697" y="106563"/>
                        <a:pt x="21077" y="107315"/>
                        <a:pt x="22982" y="108585"/>
                      </a:cubicBezTo>
                      <a:cubicBezTo>
                        <a:pt x="24252" y="110490"/>
                        <a:pt x="25173" y="112681"/>
                        <a:pt x="26792" y="114300"/>
                      </a:cubicBezTo>
                      <a:cubicBezTo>
                        <a:pt x="28411" y="115919"/>
                        <a:pt x="31294" y="116168"/>
                        <a:pt x="32507" y="118110"/>
                      </a:cubicBezTo>
                      <a:cubicBezTo>
                        <a:pt x="39079" y="128624"/>
                        <a:pt x="31444" y="129680"/>
                        <a:pt x="42032" y="131445"/>
                      </a:cubicBezTo>
                      <a:cubicBezTo>
                        <a:pt x="47704" y="132390"/>
                        <a:pt x="53462" y="132715"/>
                        <a:pt x="59177" y="133350"/>
                      </a:cubicBezTo>
                      <a:cubicBezTo>
                        <a:pt x="71402" y="151687"/>
                        <a:pt x="58865" y="130751"/>
                        <a:pt x="64892" y="180975"/>
                      </a:cubicBezTo>
                      <a:cubicBezTo>
                        <a:pt x="65712" y="187808"/>
                        <a:pt x="70129" y="186451"/>
                        <a:pt x="74417" y="188595"/>
                      </a:cubicBezTo>
                      <a:cubicBezTo>
                        <a:pt x="76465" y="189619"/>
                        <a:pt x="78227" y="191135"/>
                        <a:pt x="80132" y="192405"/>
                      </a:cubicBezTo>
                      <a:cubicBezTo>
                        <a:pt x="84422" y="205275"/>
                        <a:pt x="78472" y="191325"/>
                        <a:pt x="87752" y="201930"/>
                      </a:cubicBezTo>
                      <a:cubicBezTo>
                        <a:pt x="90767" y="205376"/>
                        <a:pt x="92832" y="209550"/>
                        <a:pt x="95372" y="213360"/>
                      </a:cubicBezTo>
                      <a:cubicBezTo>
                        <a:pt x="96642" y="215265"/>
                        <a:pt x="97010" y="218351"/>
                        <a:pt x="99182" y="219075"/>
                      </a:cubicBezTo>
                      <a:lnTo>
                        <a:pt x="104897" y="220980"/>
                      </a:lnTo>
                      <a:cubicBezTo>
                        <a:pt x="106167" y="222885"/>
                        <a:pt x="106449" y="226319"/>
                        <a:pt x="108707" y="226695"/>
                      </a:cubicBezTo>
                      <a:cubicBezTo>
                        <a:pt x="118529" y="228332"/>
                        <a:pt x="125235" y="225631"/>
                        <a:pt x="133472" y="222885"/>
                      </a:cubicBezTo>
                      <a:cubicBezTo>
                        <a:pt x="137282" y="219075"/>
                        <a:pt x="141913" y="215938"/>
                        <a:pt x="144902" y="211455"/>
                      </a:cubicBezTo>
                      <a:cubicBezTo>
                        <a:pt x="146172" y="209550"/>
                        <a:pt x="146770" y="206953"/>
                        <a:pt x="148712" y="205740"/>
                      </a:cubicBezTo>
                      <a:cubicBezTo>
                        <a:pt x="152118" y="203611"/>
                        <a:pt x="160142" y="201930"/>
                        <a:pt x="160142" y="201930"/>
                      </a:cubicBezTo>
                      <a:cubicBezTo>
                        <a:pt x="160777" y="200025"/>
                        <a:pt x="161611" y="198175"/>
                        <a:pt x="162047" y="196215"/>
                      </a:cubicBezTo>
                      <a:cubicBezTo>
                        <a:pt x="162885" y="192444"/>
                        <a:pt x="161408" y="187692"/>
                        <a:pt x="163952" y="184785"/>
                      </a:cubicBezTo>
                      <a:cubicBezTo>
                        <a:pt x="166597" y="181763"/>
                        <a:pt x="175382" y="180975"/>
                        <a:pt x="175382" y="180975"/>
                      </a:cubicBezTo>
                      <a:cubicBezTo>
                        <a:pt x="183002" y="181610"/>
                        <a:pt x="190744" y="181380"/>
                        <a:pt x="198242" y="182880"/>
                      </a:cubicBezTo>
                      <a:cubicBezTo>
                        <a:pt x="200487" y="183329"/>
                        <a:pt x="201909" y="185666"/>
                        <a:pt x="203957" y="186690"/>
                      </a:cubicBezTo>
                      <a:cubicBezTo>
                        <a:pt x="205753" y="187588"/>
                        <a:pt x="207767" y="187960"/>
                        <a:pt x="209672" y="188595"/>
                      </a:cubicBezTo>
                      <a:cubicBezTo>
                        <a:pt x="213482" y="187960"/>
                        <a:pt x="217438" y="187911"/>
                        <a:pt x="221102" y="186690"/>
                      </a:cubicBezTo>
                      <a:cubicBezTo>
                        <a:pt x="223274" y="185966"/>
                        <a:pt x="225198" y="184499"/>
                        <a:pt x="226817" y="182880"/>
                      </a:cubicBezTo>
                      <a:cubicBezTo>
                        <a:pt x="231345" y="178352"/>
                        <a:pt x="232551" y="171394"/>
                        <a:pt x="234437" y="165735"/>
                      </a:cubicBezTo>
                      <a:lnTo>
                        <a:pt x="238247" y="154305"/>
                      </a:lnTo>
                      <a:lnTo>
                        <a:pt x="240152" y="148590"/>
                      </a:lnTo>
                      <a:cubicBezTo>
                        <a:pt x="242501" y="127453"/>
                        <a:pt x="240239" y="136900"/>
                        <a:pt x="245867" y="120015"/>
                      </a:cubicBezTo>
                      <a:lnTo>
                        <a:pt x="247772" y="114300"/>
                      </a:lnTo>
                      <a:lnTo>
                        <a:pt x="249677" y="108585"/>
                      </a:lnTo>
                      <a:cubicBezTo>
                        <a:pt x="248493" y="105032"/>
                        <a:pt x="245171" y="93272"/>
                        <a:pt x="242057" y="89535"/>
                      </a:cubicBezTo>
                      <a:cubicBezTo>
                        <a:pt x="240591" y="87776"/>
                        <a:pt x="238247" y="86995"/>
                        <a:pt x="236342" y="85725"/>
                      </a:cubicBezTo>
                      <a:cubicBezTo>
                        <a:pt x="236977" y="83820"/>
                        <a:pt x="236827" y="81430"/>
                        <a:pt x="238247" y="80010"/>
                      </a:cubicBezTo>
                      <a:cubicBezTo>
                        <a:pt x="239667" y="78590"/>
                        <a:pt x="242166" y="79003"/>
                        <a:pt x="243962" y="78105"/>
                      </a:cubicBezTo>
                      <a:cubicBezTo>
                        <a:pt x="246010" y="77081"/>
                        <a:pt x="247772" y="75565"/>
                        <a:pt x="249677" y="74295"/>
                      </a:cubicBezTo>
                      <a:cubicBezTo>
                        <a:pt x="257118" y="51971"/>
                        <a:pt x="254922" y="63173"/>
                        <a:pt x="251582" y="24765"/>
                      </a:cubicBezTo>
                      <a:cubicBezTo>
                        <a:pt x="251408" y="22765"/>
                        <a:pt x="250931" y="20618"/>
                        <a:pt x="249677" y="19050"/>
                      </a:cubicBezTo>
                      <a:cubicBezTo>
                        <a:pt x="248247" y="17262"/>
                        <a:pt x="245867" y="16510"/>
                        <a:pt x="243962" y="15240"/>
                      </a:cubicBezTo>
                      <a:cubicBezTo>
                        <a:pt x="240216" y="9621"/>
                        <a:pt x="239937" y="8394"/>
                        <a:pt x="234437" y="3810"/>
                      </a:cubicBezTo>
                      <a:cubicBezTo>
                        <a:pt x="232678" y="2344"/>
                        <a:pt x="230627" y="1270"/>
                        <a:pt x="228722" y="0"/>
                      </a:cubicBezTo>
                      <a:cubicBezTo>
                        <a:pt x="224912" y="635"/>
                        <a:pt x="220747" y="178"/>
                        <a:pt x="217292" y="1905"/>
                      </a:cubicBezTo>
                      <a:cubicBezTo>
                        <a:pt x="215244" y="2929"/>
                        <a:pt x="215270" y="6190"/>
                        <a:pt x="213482" y="7620"/>
                      </a:cubicBezTo>
                      <a:cubicBezTo>
                        <a:pt x="211914" y="8874"/>
                        <a:pt x="209672" y="8890"/>
                        <a:pt x="207767" y="9525"/>
                      </a:cubicBezTo>
                      <a:lnTo>
                        <a:pt x="203957" y="20955"/>
                      </a:lnTo>
                      <a:cubicBezTo>
                        <a:pt x="203322" y="22860"/>
                        <a:pt x="202382" y="24689"/>
                        <a:pt x="202052" y="26670"/>
                      </a:cubicBezTo>
                      <a:lnTo>
                        <a:pt x="200147" y="38100"/>
                      </a:lnTo>
                      <a:cubicBezTo>
                        <a:pt x="200692" y="44635"/>
                        <a:pt x="200524" y="64383"/>
                        <a:pt x="205862" y="72390"/>
                      </a:cubicBezTo>
                      <a:lnTo>
                        <a:pt x="213482" y="83820"/>
                      </a:lnTo>
                      <a:lnTo>
                        <a:pt x="217292" y="89535"/>
                      </a:lnTo>
                      <a:cubicBezTo>
                        <a:pt x="216657" y="92075"/>
                        <a:pt x="217111" y="95185"/>
                        <a:pt x="215387" y="97155"/>
                      </a:cubicBezTo>
                      <a:cubicBezTo>
                        <a:pt x="212372" y="100601"/>
                        <a:pt x="203957" y="104775"/>
                        <a:pt x="203957" y="104775"/>
                      </a:cubicBezTo>
                      <a:cubicBezTo>
                        <a:pt x="199169" y="119140"/>
                        <a:pt x="205628" y="101433"/>
                        <a:pt x="198242" y="116205"/>
                      </a:cubicBezTo>
                      <a:cubicBezTo>
                        <a:pt x="197344" y="118001"/>
                        <a:pt x="197235" y="120124"/>
                        <a:pt x="196337" y="121920"/>
                      </a:cubicBezTo>
                      <a:cubicBezTo>
                        <a:pt x="188951" y="136692"/>
                        <a:pt x="195410" y="118985"/>
                        <a:pt x="190622" y="133350"/>
                      </a:cubicBezTo>
                      <a:cubicBezTo>
                        <a:pt x="189197" y="146178"/>
                        <a:pt x="193210" y="149930"/>
                        <a:pt x="183002" y="154305"/>
                      </a:cubicBezTo>
                      <a:cubicBezTo>
                        <a:pt x="180596" y="155336"/>
                        <a:pt x="177922" y="155575"/>
                        <a:pt x="175382" y="156210"/>
                      </a:cubicBezTo>
                      <a:cubicBezTo>
                        <a:pt x="173477" y="154305"/>
                        <a:pt x="171161" y="152737"/>
                        <a:pt x="169667" y="150495"/>
                      </a:cubicBezTo>
                      <a:cubicBezTo>
                        <a:pt x="168553" y="148824"/>
                        <a:pt x="169396" y="145947"/>
                        <a:pt x="167762" y="144780"/>
                      </a:cubicBezTo>
                      <a:cubicBezTo>
                        <a:pt x="164494" y="142446"/>
                        <a:pt x="160142" y="142240"/>
                        <a:pt x="156332" y="140970"/>
                      </a:cubicBezTo>
                      <a:lnTo>
                        <a:pt x="150617" y="139065"/>
                      </a:lnTo>
                      <a:lnTo>
                        <a:pt x="139187" y="135255"/>
                      </a:lnTo>
                      <a:cubicBezTo>
                        <a:pt x="137282" y="134620"/>
                        <a:pt x="135143" y="134464"/>
                        <a:pt x="133472" y="133350"/>
                      </a:cubicBezTo>
                      <a:cubicBezTo>
                        <a:pt x="129789" y="130895"/>
                        <a:pt x="126681" y="128099"/>
                        <a:pt x="122042" y="127635"/>
                      </a:cubicBezTo>
                      <a:cubicBezTo>
                        <a:pt x="111282" y="126559"/>
                        <a:pt x="100452" y="126365"/>
                        <a:pt x="89657" y="125730"/>
                      </a:cubicBezTo>
                      <a:cubicBezTo>
                        <a:pt x="85440" y="122919"/>
                        <a:pt x="81161" y="120605"/>
                        <a:pt x="78227" y="116205"/>
                      </a:cubicBezTo>
                      <a:cubicBezTo>
                        <a:pt x="77113" y="114534"/>
                        <a:pt x="77220" y="112286"/>
                        <a:pt x="76322" y="110490"/>
                      </a:cubicBezTo>
                      <a:cubicBezTo>
                        <a:pt x="75298" y="108442"/>
                        <a:pt x="73782" y="106680"/>
                        <a:pt x="72512" y="104775"/>
                      </a:cubicBezTo>
                      <a:cubicBezTo>
                        <a:pt x="72417" y="104301"/>
                        <a:pt x="70264" y="91488"/>
                        <a:pt x="68702" y="89535"/>
                      </a:cubicBezTo>
                      <a:cubicBezTo>
                        <a:pt x="67272" y="87747"/>
                        <a:pt x="65131" y="86529"/>
                        <a:pt x="62987" y="85725"/>
                      </a:cubicBezTo>
                      <a:cubicBezTo>
                        <a:pt x="59955" y="84588"/>
                        <a:pt x="56637" y="84455"/>
                        <a:pt x="53462" y="83820"/>
                      </a:cubicBezTo>
                      <a:cubicBezTo>
                        <a:pt x="51557" y="82550"/>
                        <a:pt x="49795" y="81034"/>
                        <a:pt x="47747" y="80010"/>
                      </a:cubicBezTo>
                      <a:cubicBezTo>
                        <a:pt x="45951" y="79112"/>
                        <a:pt x="43600" y="79359"/>
                        <a:pt x="42032" y="78105"/>
                      </a:cubicBezTo>
                      <a:cubicBezTo>
                        <a:pt x="40010" y="76488"/>
                        <a:pt x="35074" y="66424"/>
                        <a:pt x="34412" y="64770"/>
                      </a:cubicBezTo>
                      <a:cubicBezTo>
                        <a:pt x="32920" y="61041"/>
                        <a:pt x="30602" y="53340"/>
                        <a:pt x="30602" y="53340"/>
                      </a:cubicBezTo>
                      <a:cubicBezTo>
                        <a:pt x="31872" y="51435"/>
                        <a:pt x="34236" y="49908"/>
                        <a:pt x="34412" y="47625"/>
                      </a:cubicBezTo>
                      <a:cubicBezTo>
                        <a:pt x="34901" y="41262"/>
                        <a:pt x="33477" y="34882"/>
                        <a:pt x="32507" y="28575"/>
                      </a:cubicBezTo>
                      <a:close/>
                    </a:path>
                  </a:pathLst>
                </a:custGeom>
                <a:solidFill>
                  <a:srgbClr val="9E6AAF">
                    <a:alpha val="72941"/>
                  </a:srgbClr>
                </a:solidFill>
                <a:ln w="19050" cap="flat" cmpd="sng" algn="ctr">
                  <a:solidFill>
                    <a:srgbClr val="7F5292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5783">
                    <a:defRPr/>
                  </a:pPr>
                  <a:endParaRPr lang="en-US" sz="1000" kern="0">
                    <a:solidFill>
                      <a:srgbClr val="FFFFFF"/>
                    </a:solidFill>
                    <a:latin typeface="Arial" panose="020B0604020202020204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393" name="Group 1392">
                <a:extLst>
                  <a:ext uri="{FF2B5EF4-FFF2-40B4-BE49-F238E27FC236}">
                    <a16:creationId xmlns:a16="http://schemas.microsoft.com/office/drawing/2014/main" id="{16FC4CEE-302A-45F0-8045-66D098B72C19}"/>
                  </a:ext>
                </a:extLst>
              </p:cNvPr>
              <p:cNvGrpSpPr/>
              <p:nvPr/>
            </p:nvGrpSpPr>
            <p:grpSpPr>
              <a:xfrm rot="10800000">
                <a:off x="3259701" y="4539082"/>
                <a:ext cx="198527" cy="173415"/>
                <a:chOff x="3390226" y="902644"/>
                <a:chExt cx="294782" cy="292335"/>
              </a:xfrm>
            </p:grpSpPr>
            <p:grpSp>
              <p:nvGrpSpPr>
                <p:cNvPr id="1394" name="Group 1393">
                  <a:extLst>
                    <a:ext uri="{FF2B5EF4-FFF2-40B4-BE49-F238E27FC236}">
                      <a16:creationId xmlns:a16="http://schemas.microsoft.com/office/drawing/2014/main" id="{15F50419-4F7F-5CAA-9760-E33E9449205F}"/>
                    </a:ext>
                  </a:extLst>
                </p:cNvPr>
                <p:cNvGrpSpPr/>
                <p:nvPr/>
              </p:nvGrpSpPr>
              <p:grpSpPr>
                <a:xfrm>
                  <a:off x="3390226" y="902644"/>
                  <a:ext cx="294782" cy="292335"/>
                  <a:chOff x="3390226" y="902644"/>
                  <a:chExt cx="294782" cy="292335"/>
                </a:xfrm>
              </p:grpSpPr>
              <p:sp>
                <p:nvSpPr>
                  <p:cNvPr id="1396" name="Oval 1395">
                    <a:extLst>
                      <a:ext uri="{FF2B5EF4-FFF2-40B4-BE49-F238E27FC236}">
                        <a16:creationId xmlns:a16="http://schemas.microsoft.com/office/drawing/2014/main" id="{F9832C51-52A7-DF67-AD9D-2827D083F23F}"/>
                      </a:ext>
                    </a:extLst>
                  </p:cNvPr>
                  <p:cNvSpPr/>
                  <p:nvPr/>
                </p:nvSpPr>
                <p:spPr>
                  <a:xfrm rot="4711444">
                    <a:off x="3391449" y="901421"/>
                    <a:ext cx="292335" cy="294782"/>
                  </a:xfrm>
                  <a:prstGeom prst="ellipse">
                    <a:avLst/>
                  </a:prstGeom>
                  <a:solidFill>
                    <a:srgbClr val="FF2B28">
                      <a:lumMod val="20000"/>
                      <a:lumOff val="80000"/>
                    </a:srgbClr>
                  </a:solidFill>
                  <a:ln w="15875" cap="flat" cmpd="sng" algn="ctr">
                    <a:solidFill>
                      <a:srgbClr val="CC95BC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5783">
                      <a:defRPr/>
                    </a:pPr>
                    <a:endParaRPr lang="en-US" sz="1000" kern="0">
                      <a:solidFill>
                        <a:srgbClr val="FFFFFF"/>
                      </a:solidFill>
                      <a:latin typeface="Arial" panose="020B0604020202020204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1397" name="Group 1396">
                    <a:extLst>
                      <a:ext uri="{FF2B5EF4-FFF2-40B4-BE49-F238E27FC236}">
                        <a16:creationId xmlns:a16="http://schemas.microsoft.com/office/drawing/2014/main" id="{36277F00-4391-D85E-48B7-7E85032E8D66}"/>
                      </a:ext>
                    </a:extLst>
                  </p:cNvPr>
                  <p:cNvGrpSpPr/>
                  <p:nvPr/>
                </p:nvGrpSpPr>
                <p:grpSpPr>
                  <a:xfrm rot="4711444">
                    <a:off x="3413226" y="963115"/>
                    <a:ext cx="164790" cy="149511"/>
                    <a:chOff x="8770428" y="4145225"/>
                    <a:chExt cx="307647" cy="276804"/>
                  </a:xfrm>
                </p:grpSpPr>
                <p:sp>
                  <p:nvSpPr>
                    <p:cNvPr id="1448" name="Freeform: Shape 474">
                      <a:extLst>
                        <a:ext uri="{FF2B5EF4-FFF2-40B4-BE49-F238E27FC236}">
                          <a16:creationId xmlns:a16="http://schemas.microsoft.com/office/drawing/2014/main" id="{CACE9319-1CFB-2C2E-A1D9-0C882EB5CC9E}"/>
                        </a:ext>
                      </a:extLst>
                    </p:cNvPr>
                    <p:cNvSpPr/>
                    <p:nvPr/>
                  </p:nvSpPr>
                  <p:spPr>
                    <a:xfrm rot="5813516">
                      <a:off x="8823930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49" name="Freeform: Shape 475">
                      <a:extLst>
                        <a:ext uri="{FF2B5EF4-FFF2-40B4-BE49-F238E27FC236}">
                          <a16:creationId xmlns:a16="http://schemas.microsoft.com/office/drawing/2014/main" id="{6BC857F0-F910-AE37-148E-B3D7EF58DE36}"/>
                        </a:ext>
                      </a:extLst>
                    </p:cNvPr>
                    <p:cNvSpPr/>
                    <p:nvPr/>
                  </p:nvSpPr>
                  <p:spPr>
                    <a:xfrm rot="6799576">
                      <a:off x="8855933" y="4253069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50" name="Freeform: Shape 476">
                      <a:extLst>
                        <a:ext uri="{FF2B5EF4-FFF2-40B4-BE49-F238E27FC236}">
                          <a16:creationId xmlns:a16="http://schemas.microsoft.com/office/drawing/2014/main" id="{66BBBFAA-796D-D607-FD75-FE76381C3EC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50061" y="4188172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51" name="Freeform: Shape 477">
                      <a:extLst>
                        <a:ext uri="{FF2B5EF4-FFF2-40B4-BE49-F238E27FC236}">
                          <a16:creationId xmlns:a16="http://schemas.microsoft.com/office/drawing/2014/main" id="{806E5DF0-4831-0CCD-D562-46F5FA5102BB}"/>
                        </a:ext>
                      </a:extLst>
                    </p:cNvPr>
                    <p:cNvSpPr/>
                    <p:nvPr/>
                  </p:nvSpPr>
                  <p:spPr>
                    <a:xfrm rot="15284729">
                      <a:off x="8851362" y="4146483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52" name="Freeform: Shape 478">
                      <a:extLst>
                        <a:ext uri="{FF2B5EF4-FFF2-40B4-BE49-F238E27FC236}">
                          <a16:creationId xmlns:a16="http://schemas.microsoft.com/office/drawing/2014/main" id="{6D099291-2598-73BE-46EF-415213137939}"/>
                        </a:ext>
                      </a:extLst>
                    </p:cNvPr>
                    <p:cNvSpPr/>
                    <p:nvPr/>
                  </p:nvSpPr>
                  <p:spPr>
                    <a:xfrm rot="4030563">
                      <a:off x="8954046" y="4390351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53" name="Freeform: Shape 479">
                      <a:extLst>
                        <a:ext uri="{FF2B5EF4-FFF2-40B4-BE49-F238E27FC236}">
                          <a16:creationId xmlns:a16="http://schemas.microsoft.com/office/drawing/2014/main" id="{7480C9C5-E311-08BF-2736-4A0AE0DA763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78794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54" name="Freeform: Shape 480">
                      <a:extLst>
                        <a:ext uri="{FF2B5EF4-FFF2-40B4-BE49-F238E27FC236}">
                          <a16:creationId xmlns:a16="http://schemas.microsoft.com/office/drawing/2014/main" id="{DDE6B206-8DF1-3B52-51EF-07E39B84FB3B}"/>
                        </a:ext>
                      </a:extLst>
                    </p:cNvPr>
                    <p:cNvSpPr/>
                    <p:nvPr/>
                  </p:nvSpPr>
                  <p:spPr>
                    <a:xfrm rot="1648623">
                      <a:off x="8778238" y="4278378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55" name="Freeform: Shape 481">
                      <a:extLst>
                        <a:ext uri="{FF2B5EF4-FFF2-40B4-BE49-F238E27FC236}">
                          <a16:creationId xmlns:a16="http://schemas.microsoft.com/office/drawing/2014/main" id="{37A61A53-A1A6-BA6B-66A4-4B812E733E5F}"/>
                        </a:ext>
                      </a:extLst>
                    </p:cNvPr>
                    <p:cNvSpPr/>
                    <p:nvPr/>
                  </p:nvSpPr>
                  <p:spPr>
                    <a:xfrm rot="20582585">
                      <a:off x="8817085" y="4302941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56" name="Freeform: Shape 482">
                      <a:extLst>
                        <a:ext uri="{FF2B5EF4-FFF2-40B4-BE49-F238E27FC236}">
                          <a16:creationId xmlns:a16="http://schemas.microsoft.com/office/drawing/2014/main" id="{9290B0E3-447C-2116-22E7-E5B8BA05184D}"/>
                        </a:ext>
                      </a:extLst>
                    </p:cNvPr>
                    <p:cNvSpPr/>
                    <p:nvPr/>
                  </p:nvSpPr>
                  <p:spPr>
                    <a:xfrm rot="17414284">
                      <a:off x="8943702" y="414065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57" name="Freeform: Shape 483">
                      <a:extLst>
                        <a:ext uri="{FF2B5EF4-FFF2-40B4-BE49-F238E27FC236}">
                          <a16:creationId xmlns:a16="http://schemas.microsoft.com/office/drawing/2014/main" id="{9CD7B7AA-AAFF-371D-0E6B-2FF7E1C9B3CC}"/>
                        </a:ext>
                      </a:extLst>
                    </p:cNvPr>
                    <p:cNvSpPr/>
                    <p:nvPr/>
                  </p:nvSpPr>
                  <p:spPr>
                    <a:xfrm rot="9043087">
                      <a:off x="8883430" y="4342996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58" name="Freeform: Shape 484">
                      <a:extLst>
                        <a:ext uri="{FF2B5EF4-FFF2-40B4-BE49-F238E27FC236}">
                          <a16:creationId xmlns:a16="http://schemas.microsoft.com/office/drawing/2014/main" id="{549773A3-AAD0-C36B-64FD-CAD68608684A}"/>
                        </a:ext>
                      </a:extLst>
                    </p:cNvPr>
                    <p:cNvSpPr/>
                    <p:nvPr/>
                  </p:nvSpPr>
                  <p:spPr>
                    <a:xfrm rot="5209521">
                      <a:off x="8961351" y="4317762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59" name="Freeform: Shape 485">
                      <a:extLst>
                        <a:ext uri="{FF2B5EF4-FFF2-40B4-BE49-F238E27FC236}">
                          <a16:creationId xmlns:a16="http://schemas.microsoft.com/office/drawing/2014/main" id="{780D721D-D92E-D95F-707B-F0F5FAC9B27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18409" y="432953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60" name="Rectangle: Rounded Corners 486">
                      <a:extLst>
                        <a:ext uri="{FF2B5EF4-FFF2-40B4-BE49-F238E27FC236}">
                          <a16:creationId xmlns:a16="http://schemas.microsoft.com/office/drawing/2014/main" id="{9F49D01F-A613-EDE1-C4F4-C59091FE78F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86901" y="440374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61" name="Rectangle: Rounded Corners 487">
                      <a:extLst>
                        <a:ext uri="{FF2B5EF4-FFF2-40B4-BE49-F238E27FC236}">
                          <a16:creationId xmlns:a16="http://schemas.microsoft.com/office/drawing/2014/main" id="{FA47582A-9454-76EA-D97D-D894CBEC760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58174" y="429137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62" name="Rectangle: Rounded Corners 488">
                      <a:extLst>
                        <a:ext uri="{FF2B5EF4-FFF2-40B4-BE49-F238E27FC236}">
                          <a16:creationId xmlns:a16="http://schemas.microsoft.com/office/drawing/2014/main" id="{7450EF05-3E4E-780C-D6FB-BDAA63D4EFC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770428" y="419613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63" name="Rectangle: Rounded Corners 489">
                      <a:extLst>
                        <a:ext uri="{FF2B5EF4-FFF2-40B4-BE49-F238E27FC236}">
                          <a16:creationId xmlns:a16="http://schemas.microsoft.com/office/drawing/2014/main" id="{A14FCB87-8856-EDD1-9F12-469A38DCD52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24873" y="4240076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64" name="Rectangle: Rounded Corners 490">
                      <a:extLst>
                        <a:ext uri="{FF2B5EF4-FFF2-40B4-BE49-F238E27FC236}">
                          <a16:creationId xmlns:a16="http://schemas.microsoft.com/office/drawing/2014/main" id="{7C4DB863-28FA-3A2A-F8DF-21FB2091324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50643" y="429398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65" name="Rectangle: Rounded Corners 491">
                      <a:extLst>
                        <a:ext uri="{FF2B5EF4-FFF2-40B4-BE49-F238E27FC236}">
                          <a16:creationId xmlns:a16="http://schemas.microsoft.com/office/drawing/2014/main" id="{BBEA3065-A49E-6600-E5E1-7531A5FC7BA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17085" y="439459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</p:grpSp>
              <p:grpSp>
                <p:nvGrpSpPr>
                  <p:cNvPr id="1398" name="Group 1397">
                    <a:extLst>
                      <a:ext uri="{FF2B5EF4-FFF2-40B4-BE49-F238E27FC236}">
                        <a16:creationId xmlns:a16="http://schemas.microsoft.com/office/drawing/2014/main" id="{7E9B1CDA-F31F-553F-529B-267402F7B876}"/>
                      </a:ext>
                    </a:extLst>
                  </p:cNvPr>
                  <p:cNvGrpSpPr/>
                  <p:nvPr/>
                </p:nvGrpSpPr>
                <p:grpSpPr>
                  <a:xfrm rot="13031820">
                    <a:off x="3472433" y="927802"/>
                    <a:ext cx="164791" cy="149512"/>
                    <a:chOff x="8770428" y="4145225"/>
                    <a:chExt cx="307647" cy="276804"/>
                  </a:xfrm>
                </p:grpSpPr>
                <p:sp>
                  <p:nvSpPr>
                    <p:cNvPr id="1432" name="Freeform: Shape 458">
                      <a:extLst>
                        <a:ext uri="{FF2B5EF4-FFF2-40B4-BE49-F238E27FC236}">
                          <a16:creationId xmlns:a16="http://schemas.microsoft.com/office/drawing/2014/main" id="{5AE58D03-05E9-C9FC-61ED-A2655BD8CB86}"/>
                        </a:ext>
                      </a:extLst>
                    </p:cNvPr>
                    <p:cNvSpPr/>
                    <p:nvPr/>
                  </p:nvSpPr>
                  <p:spPr>
                    <a:xfrm rot="5813516">
                      <a:off x="8823930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33" name="Freeform: Shape 459">
                      <a:extLst>
                        <a:ext uri="{FF2B5EF4-FFF2-40B4-BE49-F238E27FC236}">
                          <a16:creationId xmlns:a16="http://schemas.microsoft.com/office/drawing/2014/main" id="{1C4BB35D-C4F6-E631-CF68-58E59F587BA2}"/>
                        </a:ext>
                      </a:extLst>
                    </p:cNvPr>
                    <p:cNvSpPr/>
                    <p:nvPr/>
                  </p:nvSpPr>
                  <p:spPr>
                    <a:xfrm rot="15284729">
                      <a:off x="8851362" y="4146483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34" name="Freeform: Shape 460">
                      <a:extLst>
                        <a:ext uri="{FF2B5EF4-FFF2-40B4-BE49-F238E27FC236}">
                          <a16:creationId xmlns:a16="http://schemas.microsoft.com/office/drawing/2014/main" id="{338DCD97-1BE1-9665-0A47-032C253C0775}"/>
                        </a:ext>
                      </a:extLst>
                    </p:cNvPr>
                    <p:cNvSpPr/>
                    <p:nvPr/>
                  </p:nvSpPr>
                  <p:spPr>
                    <a:xfrm rot="4030563">
                      <a:off x="8954046" y="4390351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35" name="Freeform: Shape 461">
                      <a:extLst>
                        <a:ext uri="{FF2B5EF4-FFF2-40B4-BE49-F238E27FC236}">
                          <a16:creationId xmlns:a16="http://schemas.microsoft.com/office/drawing/2014/main" id="{F14A54DF-0CB9-98AC-ED84-EF51442A5B3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29986" y="4287522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36" name="Freeform: Shape 462">
                      <a:extLst>
                        <a:ext uri="{FF2B5EF4-FFF2-40B4-BE49-F238E27FC236}">
                          <a16:creationId xmlns:a16="http://schemas.microsoft.com/office/drawing/2014/main" id="{C17D2D9D-9F43-337C-C2FE-839DDEFE74BF}"/>
                        </a:ext>
                      </a:extLst>
                    </p:cNvPr>
                    <p:cNvSpPr/>
                    <p:nvPr/>
                  </p:nvSpPr>
                  <p:spPr>
                    <a:xfrm rot="1648623">
                      <a:off x="8778238" y="4278378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37" name="Freeform: Shape 463">
                      <a:extLst>
                        <a:ext uri="{FF2B5EF4-FFF2-40B4-BE49-F238E27FC236}">
                          <a16:creationId xmlns:a16="http://schemas.microsoft.com/office/drawing/2014/main" id="{DAFFF9F9-12C5-8AA3-A39D-E608BE249C09}"/>
                        </a:ext>
                      </a:extLst>
                    </p:cNvPr>
                    <p:cNvSpPr/>
                    <p:nvPr/>
                  </p:nvSpPr>
                  <p:spPr>
                    <a:xfrm rot="20582585">
                      <a:off x="8817085" y="4302941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38" name="Freeform: Shape 464">
                      <a:extLst>
                        <a:ext uri="{FF2B5EF4-FFF2-40B4-BE49-F238E27FC236}">
                          <a16:creationId xmlns:a16="http://schemas.microsoft.com/office/drawing/2014/main" id="{6E8D2CC3-98E6-FCDC-784E-10C34DB9D8BE}"/>
                        </a:ext>
                      </a:extLst>
                    </p:cNvPr>
                    <p:cNvSpPr/>
                    <p:nvPr/>
                  </p:nvSpPr>
                  <p:spPr>
                    <a:xfrm rot="17414284">
                      <a:off x="8943702" y="414065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39" name="Freeform: Shape 465">
                      <a:extLst>
                        <a:ext uri="{FF2B5EF4-FFF2-40B4-BE49-F238E27FC236}">
                          <a16:creationId xmlns:a16="http://schemas.microsoft.com/office/drawing/2014/main" id="{2DCCB09E-BB92-B049-BC34-E80510748D48}"/>
                        </a:ext>
                      </a:extLst>
                    </p:cNvPr>
                    <p:cNvSpPr/>
                    <p:nvPr/>
                  </p:nvSpPr>
                  <p:spPr>
                    <a:xfrm rot="9043087">
                      <a:off x="8883430" y="4342996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40" name="Freeform: Shape 466">
                      <a:extLst>
                        <a:ext uri="{FF2B5EF4-FFF2-40B4-BE49-F238E27FC236}">
                          <a16:creationId xmlns:a16="http://schemas.microsoft.com/office/drawing/2014/main" id="{F27DFD32-264C-DABA-80BF-C4B7EFDE4A60}"/>
                        </a:ext>
                      </a:extLst>
                    </p:cNvPr>
                    <p:cNvSpPr/>
                    <p:nvPr/>
                  </p:nvSpPr>
                  <p:spPr>
                    <a:xfrm rot="5209521">
                      <a:off x="8961351" y="4317762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41" name="Freeform: Shape 467">
                      <a:extLst>
                        <a:ext uri="{FF2B5EF4-FFF2-40B4-BE49-F238E27FC236}">
                          <a16:creationId xmlns:a16="http://schemas.microsoft.com/office/drawing/2014/main" id="{CF52BC76-85E1-C6B2-8447-C62B5E95A65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18409" y="432953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42" name="Freeform: Shape 468">
                      <a:extLst>
                        <a:ext uri="{FF2B5EF4-FFF2-40B4-BE49-F238E27FC236}">
                          <a16:creationId xmlns:a16="http://schemas.microsoft.com/office/drawing/2014/main" id="{3F2E7032-2E40-792C-A4F7-F02BC961B19F}"/>
                        </a:ext>
                      </a:extLst>
                    </p:cNvPr>
                    <p:cNvSpPr/>
                    <p:nvPr/>
                  </p:nvSpPr>
                  <p:spPr>
                    <a:xfrm rot="18952815">
                      <a:off x="8990335" y="4236377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43" name="Rectangle: Rounded Corners 469">
                      <a:extLst>
                        <a:ext uri="{FF2B5EF4-FFF2-40B4-BE49-F238E27FC236}">
                          <a16:creationId xmlns:a16="http://schemas.microsoft.com/office/drawing/2014/main" id="{6A5AB1D1-85BF-9744-BB04-223B6995111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86901" y="440374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44" name="Rectangle: Rounded Corners 470">
                      <a:extLst>
                        <a:ext uri="{FF2B5EF4-FFF2-40B4-BE49-F238E27FC236}">
                          <a16:creationId xmlns:a16="http://schemas.microsoft.com/office/drawing/2014/main" id="{02D2455C-5E49-A069-FB24-7CFC58E1F9B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58174" y="429137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45" name="Rectangle: Rounded Corners 471">
                      <a:extLst>
                        <a:ext uri="{FF2B5EF4-FFF2-40B4-BE49-F238E27FC236}">
                          <a16:creationId xmlns:a16="http://schemas.microsoft.com/office/drawing/2014/main" id="{4D7D3A3D-9175-CF20-302D-3058C820FED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770428" y="419613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46" name="Rectangle: Rounded Corners 472">
                      <a:extLst>
                        <a:ext uri="{FF2B5EF4-FFF2-40B4-BE49-F238E27FC236}">
                          <a16:creationId xmlns:a16="http://schemas.microsoft.com/office/drawing/2014/main" id="{8D8660ED-A519-589C-B355-EECAB0AEE57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50643" y="429398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47" name="Rectangle: Rounded Corners 473">
                      <a:extLst>
                        <a:ext uri="{FF2B5EF4-FFF2-40B4-BE49-F238E27FC236}">
                          <a16:creationId xmlns:a16="http://schemas.microsoft.com/office/drawing/2014/main" id="{00DA83E0-494B-A69D-8BFC-2821E7CEB63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17085" y="439459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</p:grpSp>
              <p:grpSp>
                <p:nvGrpSpPr>
                  <p:cNvPr id="1399" name="Group 1398">
                    <a:extLst>
                      <a:ext uri="{FF2B5EF4-FFF2-40B4-BE49-F238E27FC236}">
                        <a16:creationId xmlns:a16="http://schemas.microsoft.com/office/drawing/2014/main" id="{7863AB1D-346D-483D-578D-5F315761A50C}"/>
                      </a:ext>
                    </a:extLst>
                  </p:cNvPr>
                  <p:cNvGrpSpPr/>
                  <p:nvPr/>
                </p:nvGrpSpPr>
                <p:grpSpPr>
                  <a:xfrm rot="20035314">
                    <a:off x="3439984" y="1013397"/>
                    <a:ext cx="166170" cy="147874"/>
                    <a:chOff x="8770428" y="4145965"/>
                    <a:chExt cx="307647" cy="276064"/>
                  </a:xfrm>
                </p:grpSpPr>
                <p:sp>
                  <p:nvSpPr>
                    <p:cNvPr id="1417" name="Freeform: Shape 443">
                      <a:extLst>
                        <a:ext uri="{FF2B5EF4-FFF2-40B4-BE49-F238E27FC236}">
                          <a16:creationId xmlns:a16="http://schemas.microsoft.com/office/drawing/2014/main" id="{15DAA345-0947-20C4-BC11-9058C38AA8C4}"/>
                        </a:ext>
                      </a:extLst>
                    </p:cNvPr>
                    <p:cNvSpPr/>
                    <p:nvPr/>
                  </p:nvSpPr>
                  <p:spPr>
                    <a:xfrm rot="5813516">
                      <a:off x="8823930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18" name="Freeform: Shape 444">
                      <a:extLst>
                        <a:ext uri="{FF2B5EF4-FFF2-40B4-BE49-F238E27FC236}">
                          <a16:creationId xmlns:a16="http://schemas.microsoft.com/office/drawing/2014/main" id="{DA954818-C229-453B-E4CB-EEFAC35E5FA3}"/>
                        </a:ext>
                      </a:extLst>
                    </p:cNvPr>
                    <p:cNvSpPr/>
                    <p:nvPr/>
                  </p:nvSpPr>
                  <p:spPr>
                    <a:xfrm rot="15284729">
                      <a:off x="8851362" y="4146483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19" name="Freeform: Shape 445">
                      <a:extLst>
                        <a:ext uri="{FF2B5EF4-FFF2-40B4-BE49-F238E27FC236}">
                          <a16:creationId xmlns:a16="http://schemas.microsoft.com/office/drawing/2014/main" id="{F20F98D9-11AA-8F10-2A36-B5F20058FA60}"/>
                        </a:ext>
                      </a:extLst>
                    </p:cNvPr>
                    <p:cNvSpPr/>
                    <p:nvPr/>
                  </p:nvSpPr>
                  <p:spPr>
                    <a:xfrm rot="4030563">
                      <a:off x="8954046" y="4390351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20" name="Freeform: Shape 446">
                      <a:extLst>
                        <a:ext uri="{FF2B5EF4-FFF2-40B4-BE49-F238E27FC236}">
                          <a16:creationId xmlns:a16="http://schemas.microsoft.com/office/drawing/2014/main" id="{C853EF29-9D25-4BBF-6233-38FA8AE078F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78794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21" name="Freeform: Shape 447">
                      <a:extLst>
                        <a:ext uri="{FF2B5EF4-FFF2-40B4-BE49-F238E27FC236}">
                          <a16:creationId xmlns:a16="http://schemas.microsoft.com/office/drawing/2014/main" id="{D844B942-CB56-B81E-4C51-CBF7C85F4984}"/>
                        </a:ext>
                      </a:extLst>
                    </p:cNvPr>
                    <p:cNvSpPr/>
                    <p:nvPr/>
                  </p:nvSpPr>
                  <p:spPr>
                    <a:xfrm rot="1648623">
                      <a:off x="8778238" y="4278378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22" name="Freeform: Shape 448">
                      <a:extLst>
                        <a:ext uri="{FF2B5EF4-FFF2-40B4-BE49-F238E27FC236}">
                          <a16:creationId xmlns:a16="http://schemas.microsoft.com/office/drawing/2014/main" id="{22FE9BE3-F7BE-51B2-9075-51132235C013}"/>
                        </a:ext>
                      </a:extLst>
                    </p:cNvPr>
                    <p:cNvSpPr/>
                    <p:nvPr/>
                  </p:nvSpPr>
                  <p:spPr>
                    <a:xfrm rot="20582585">
                      <a:off x="8817085" y="4302941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23" name="Freeform: Shape 449">
                      <a:extLst>
                        <a:ext uri="{FF2B5EF4-FFF2-40B4-BE49-F238E27FC236}">
                          <a16:creationId xmlns:a16="http://schemas.microsoft.com/office/drawing/2014/main" id="{DB36DEDA-11BE-3973-E694-9E6890CF9940}"/>
                        </a:ext>
                      </a:extLst>
                    </p:cNvPr>
                    <p:cNvSpPr/>
                    <p:nvPr/>
                  </p:nvSpPr>
                  <p:spPr>
                    <a:xfrm rot="9043087">
                      <a:off x="8883430" y="4342996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24" name="Freeform: Shape 450">
                      <a:extLst>
                        <a:ext uri="{FF2B5EF4-FFF2-40B4-BE49-F238E27FC236}">
                          <a16:creationId xmlns:a16="http://schemas.microsoft.com/office/drawing/2014/main" id="{280B138A-C74D-8619-45F0-FA665B9261BF}"/>
                        </a:ext>
                      </a:extLst>
                    </p:cNvPr>
                    <p:cNvSpPr/>
                    <p:nvPr/>
                  </p:nvSpPr>
                  <p:spPr>
                    <a:xfrm rot="5209521">
                      <a:off x="8961351" y="4317762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25" name="Freeform: Shape 451">
                      <a:extLst>
                        <a:ext uri="{FF2B5EF4-FFF2-40B4-BE49-F238E27FC236}">
                          <a16:creationId xmlns:a16="http://schemas.microsoft.com/office/drawing/2014/main" id="{AF4EDBC2-7C8E-E0E1-5BA9-85F855E0A05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18409" y="432953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26" name="Rectangle: Rounded Corners 452">
                      <a:extLst>
                        <a:ext uri="{FF2B5EF4-FFF2-40B4-BE49-F238E27FC236}">
                          <a16:creationId xmlns:a16="http://schemas.microsoft.com/office/drawing/2014/main" id="{ED9E775F-E351-E73C-95E2-FF10161F847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86901" y="440374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27" name="Rectangle: Rounded Corners 453">
                      <a:extLst>
                        <a:ext uri="{FF2B5EF4-FFF2-40B4-BE49-F238E27FC236}">
                          <a16:creationId xmlns:a16="http://schemas.microsoft.com/office/drawing/2014/main" id="{2E18E88C-56F2-BA5F-B786-CA62D7187F8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58174" y="429137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28" name="Rectangle: Rounded Corners 454">
                      <a:extLst>
                        <a:ext uri="{FF2B5EF4-FFF2-40B4-BE49-F238E27FC236}">
                          <a16:creationId xmlns:a16="http://schemas.microsoft.com/office/drawing/2014/main" id="{7B64801F-2EE3-ABCC-C08F-0F087EB4C7D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770428" y="419613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29" name="Rectangle: Rounded Corners 455">
                      <a:extLst>
                        <a:ext uri="{FF2B5EF4-FFF2-40B4-BE49-F238E27FC236}">
                          <a16:creationId xmlns:a16="http://schemas.microsoft.com/office/drawing/2014/main" id="{0A0BE4CB-927F-4F1E-4B1E-0C623FB3770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50643" y="429398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30" name="Rectangle: Rounded Corners 456">
                      <a:extLst>
                        <a:ext uri="{FF2B5EF4-FFF2-40B4-BE49-F238E27FC236}">
                          <a16:creationId xmlns:a16="http://schemas.microsoft.com/office/drawing/2014/main" id="{5EE77258-60EA-5165-067A-2362D446C7F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17085" y="439459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31" name="Rectangle: Rounded Corners 457">
                      <a:extLst>
                        <a:ext uri="{FF2B5EF4-FFF2-40B4-BE49-F238E27FC236}">
                          <a16:creationId xmlns:a16="http://schemas.microsoft.com/office/drawing/2014/main" id="{AE95A19F-5155-FFE3-E87F-431A3B0D45F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94095" y="4145965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</p:grpSp>
              <p:grpSp>
                <p:nvGrpSpPr>
                  <p:cNvPr id="1400" name="Group 1399">
                    <a:extLst>
                      <a:ext uri="{FF2B5EF4-FFF2-40B4-BE49-F238E27FC236}">
                        <a16:creationId xmlns:a16="http://schemas.microsoft.com/office/drawing/2014/main" id="{079DB30F-2A35-37A9-2AB5-7ADE6DAAC883}"/>
                      </a:ext>
                    </a:extLst>
                  </p:cNvPr>
                  <p:cNvGrpSpPr/>
                  <p:nvPr/>
                </p:nvGrpSpPr>
                <p:grpSpPr>
                  <a:xfrm rot="4711444">
                    <a:off x="3501494" y="998460"/>
                    <a:ext cx="164790" cy="149511"/>
                    <a:chOff x="8770428" y="4145225"/>
                    <a:chExt cx="307647" cy="276804"/>
                  </a:xfrm>
                </p:grpSpPr>
                <p:sp>
                  <p:nvSpPr>
                    <p:cNvPr id="1401" name="Freeform: Shape 427">
                      <a:extLst>
                        <a:ext uri="{FF2B5EF4-FFF2-40B4-BE49-F238E27FC236}">
                          <a16:creationId xmlns:a16="http://schemas.microsoft.com/office/drawing/2014/main" id="{CB155A6F-A206-C3F8-7E2C-48D449FE2C47}"/>
                        </a:ext>
                      </a:extLst>
                    </p:cNvPr>
                    <p:cNvSpPr/>
                    <p:nvPr/>
                  </p:nvSpPr>
                  <p:spPr>
                    <a:xfrm rot="5813516">
                      <a:off x="8823930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02" name="Freeform: Shape 428">
                      <a:extLst>
                        <a:ext uri="{FF2B5EF4-FFF2-40B4-BE49-F238E27FC236}">
                          <a16:creationId xmlns:a16="http://schemas.microsoft.com/office/drawing/2014/main" id="{8CC87AE1-DE0B-41C5-23DA-47162D61D35D}"/>
                        </a:ext>
                      </a:extLst>
                    </p:cNvPr>
                    <p:cNvSpPr/>
                    <p:nvPr/>
                  </p:nvSpPr>
                  <p:spPr>
                    <a:xfrm rot="6799576">
                      <a:off x="8855933" y="4253069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03" name="Freeform: Shape 429">
                      <a:extLst>
                        <a:ext uri="{FF2B5EF4-FFF2-40B4-BE49-F238E27FC236}">
                          <a16:creationId xmlns:a16="http://schemas.microsoft.com/office/drawing/2014/main" id="{BA42950F-A05A-9321-D63B-7B9BC8B0F38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50061" y="4188172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04" name="Freeform: Shape 430">
                      <a:extLst>
                        <a:ext uri="{FF2B5EF4-FFF2-40B4-BE49-F238E27FC236}">
                          <a16:creationId xmlns:a16="http://schemas.microsoft.com/office/drawing/2014/main" id="{080F2392-800B-A3AF-3D26-F0BA50EC246B}"/>
                        </a:ext>
                      </a:extLst>
                    </p:cNvPr>
                    <p:cNvSpPr/>
                    <p:nvPr/>
                  </p:nvSpPr>
                  <p:spPr>
                    <a:xfrm rot="15284729">
                      <a:off x="8851362" y="4146483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05" name="Freeform: Shape 431">
                      <a:extLst>
                        <a:ext uri="{FF2B5EF4-FFF2-40B4-BE49-F238E27FC236}">
                          <a16:creationId xmlns:a16="http://schemas.microsoft.com/office/drawing/2014/main" id="{7BCBD3A4-0B72-DE39-44A1-11CCCDF05CAB}"/>
                        </a:ext>
                      </a:extLst>
                    </p:cNvPr>
                    <p:cNvSpPr/>
                    <p:nvPr/>
                  </p:nvSpPr>
                  <p:spPr>
                    <a:xfrm rot="4030563">
                      <a:off x="8954046" y="4390351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06" name="Freeform: Shape 432">
                      <a:extLst>
                        <a:ext uri="{FF2B5EF4-FFF2-40B4-BE49-F238E27FC236}">
                          <a16:creationId xmlns:a16="http://schemas.microsoft.com/office/drawing/2014/main" id="{662BCBF3-C4D8-2DCE-E13C-20863747BBB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78794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07" name="Freeform: Shape 433">
                      <a:extLst>
                        <a:ext uri="{FF2B5EF4-FFF2-40B4-BE49-F238E27FC236}">
                          <a16:creationId xmlns:a16="http://schemas.microsoft.com/office/drawing/2014/main" id="{DC41F89E-C67C-7C79-E36B-032D2E0E4E91}"/>
                        </a:ext>
                      </a:extLst>
                    </p:cNvPr>
                    <p:cNvSpPr/>
                    <p:nvPr/>
                  </p:nvSpPr>
                  <p:spPr>
                    <a:xfrm rot="1648623">
                      <a:off x="8778238" y="4278378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08" name="Freeform: Shape 434">
                      <a:extLst>
                        <a:ext uri="{FF2B5EF4-FFF2-40B4-BE49-F238E27FC236}">
                          <a16:creationId xmlns:a16="http://schemas.microsoft.com/office/drawing/2014/main" id="{02A68285-8A91-948B-847A-A64CA2DFDEF2}"/>
                        </a:ext>
                      </a:extLst>
                    </p:cNvPr>
                    <p:cNvSpPr/>
                    <p:nvPr/>
                  </p:nvSpPr>
                  <p:spPr>
                    <a:xfrm rot="17414284">
                      <a:off x="8943702" y="414065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09" name="Freeform: Shape 435">
                      <a:extLst>
                        <a:ext uri="{FF2B5EF4-FFF2-40B4-BE49-F238E27FC236}">
                          <a16:creationId xmlns:a16="http://schemas.microsoft.com/office/drawing/2014/main" id="{FE69BA55-5642-0473-1333-9E1B8CE6CA50}"/>
                        </a:ext>
                      </a:extLst>
                    </p:cNvPr>
                    <p:cNvSpPr/>
                    <p:nvPr/>
                  </p:nvSpPr>
                  <p:spPr>
                    <a:xfrm rot="9043087">
                      <a:off x="8883430" y="4342996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10" name="Freeform: Shape 436">
                      <a:extLst>
                        <a:ext uri="{FF2B5EF4-FFF2-40B4-BE49-F238E27FC236}">
                          <a16:creationId xmlns:a16="http://schemas.microsoft.com/office/drawing/2014/main" id="{908766D4-7C5B-8353-B6C5-AF8947EFEFB0}"/>
                        </a:ext>
                      </a:extLst>
                    </p:cNvPr>
                    <p:cNvSpPr/>
                    <p:nvPr/>
                  </p:nvSpPr>
                  <p:spPr>
                    <a:xfrm rot="5209521">
                      <a:off x="8961351" y="4317762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11" name="Freeform: Shape 437">
                      <a:extLst>
                        <a:ext uri="{FF2B5EF4-FFF2-40B4-BE49-F238E27FC236}">
                          <a16:creationId xmlns:a16="http://schemas.microsoft.com/office/drawing/2014/main" id="{636E39C1-A0B4-99D4-D69D-AA25DB35296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18409" y="432953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12" name="Freeform: Shape 438">
                      <a:extLst>
                        <a:ext uri="{FF2B5EF4-FFF2-40B4-BE49-F238E27FC236}">
                          <a16:creationId xmlns:a16="http://schemas.microsoft.com/office/drawing/2014/main" id="{35F9BA7C-B358-6017-422F-5A17FE58F07E}"/>
                        </a:ext>
                      </a:extLst>
                    </p:cNvPr>
                    <p:cNvSpPr/>
                    <p:nvPr/>
                  </p:nvSpPr>
                  <p:spPr>
                    <a:xfrm rot="18952815">
                      <a:off x="8990335" y="4236377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13" name="Rectangle: Rounded Corners 439">
                      <a:extLst>
                        <a:ext uri="{FF2B5EF4-FFF2-40B4-BE49-F238E27FC236}">
                          <a16:creationId xmlns:a16="http://schemas.microsoft.com/office/drawing/2014/main" id="{FF44951F-2717-8F65-24FA-8E87D997275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86901" y="440374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14" name="Rectangle: Rounded Corners 440">
                      <a:extLst>
                        <a:ext uri="{FF2B5EF4-FFF2-40B4-BE49-F238E27FC236}">
                          <a16:creationId xmlns:a16="http://schemas.microsoft.com/office/drawing/2014/main" id="{75B0F5D2-374E-DB1B-DC53-86F9F3DCF0B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770428" y="419613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15" name="Rectangle: Rounded Corners 441">
                      <a:extLst>
                        <a:ext uri="{FF2B5EF4-FFF2-40B4-BE49-F238E27FC236}">
                          <a16:creationId xmlns:a16="http://schemas.microsoft.com/office/drawing/2014/main" id="{8245AC91-DC97-9963-D259-2B41573190A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24873" y="4240076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16" name="Rectangle: Rounded Corners 442">
                      <a:extLst>
                        <a:ext uri="{FF2B5EF4-FFF2-40B4-BE49-F238E27FC236}">
                          <a16:creationId xmlns:a16="http://schemas.microsoft.com/office/drawing/2014/main" id="{DE6D3B88-25F6-F46C-6147-C6C60B136CA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50643" y="429398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</p:grpSp>
            </p:grpSp>
            <p:sp>
              <p:nvSpPr>
                <p:cNvPr id="1395" name="Freeform: Shape 426">
                  <a:extLst>
                    <a:ext uri="{FF2B5EF4-FFF2-40B4-BE49-F238E27FC236}">
                      <a16:creationId xmlns:a16="http://schemas.microsoft.com/office/drawing/2014/main" id="{6A895EBF-F5E7-9A55-6D76-D703DD87D38C}"/>
                    </a:ext>
                  </a:extLst>
                </p:cNvPr>
                <p:cNvSpPr/>
                <p:nvPr/>
              </p:nvSpPr>
              <p:spPr>
                <a:xfrm rot="18595250">
                  <a:off x="3464962" y="993886"/>
                  <a:ext cx="195428" cy="172893"/>
                </a:xfrm>
                <a:custGeom>
                  <a:avLst/>
                  <a:gdLst>
                    <a:gd name="connsiteX0" fmla="*/ 36195 w 254551"/>
                    <a:gd name="connsiteY0" fmla="*/ 30480 h 227192"/>
                    <a:gd name="connsiteX1" fmla="*/ 36195 w 254551"/>
                    <a:gd name="connsiteY1" fmla="*/ 30480 h 227192"/>
                    <a:gd name="connsiteX2" fmla="*/ 20955 w 254551"/>
                    <a:gd name="connsiteY2" fmla="*/ 20955 h 227192"/>
                    <a:gd name="connsiteX3" fmla="*/ 17145 w 254551"/>
                    <a:gd name="connsiteY3" fmla="*/ 9525 h 227192"/>
                    <a:gd name="connsiteX4" fmla="*/ 5715 w 254551"/>
                    <a:gd name="connsiteY4" fmla="*/ 15240 h 227192"/>
                    <a:gd name="connsiteX5" fmla="*/ 1905 w 254551"/>
                    <a:gd name="connsiteY5" fmla="*/ 20955 h 227192"/>
                    <a:gd name="connsiteX6" fmla="*/ 0 w 254551"/>
                    <a:gd name="connsiteY6" fmla="*/ 26670 h 227192"/>
                    <a:gd name="connsiteX7" fmla="*/ 1905 w 254551"/>
                    <a:gd name="connsiteY7" fmla="*/ 47625 h 227192"/>
                    <a:gd name="connsiteX8" fmla="*/ 9525 w 254551"/>
                    <a:gd name="connsiteY8" fmla="*/ 59055 h 227192"/>
                    <a:gd name="connsiteX9" fmla="*/ 13335 w 254551"/>
                    <a:gd name="connsiteY9" fmla="*/ 70485 h 227192"/>
                    <a:gd name="connsiteX10" fmla="*/ 15240 w 254551"/>
                    <a:gd name="connsiteY10" fmla="*/ 99060 h 227192"/>
                    <a:gd name="connsiteX11" fmla="*/ 17145 w 254551"/>
                    <a:gd name="connsiteY11" fmla="*/ 104775 h 227192"/>
                    <a:gd name="connsiteX12" fmla="*/ 22860 w 254551"/>
                    <a:gd name="connsiteY12" fmla="*/ 108585 h 227192"/>
                    <a:gd name="connsiteX13" fmla="*/ 26670 w 254551"/>
                    <a:gd name="connsiteY13" fmla="*/ 114300 h 227192"/>
                    <a:gd name="connsiteX14" fmla="*/ 32385 w 254551"/>
                    <a:gd name="connsiteY14" fmla="*/ 118110 h 227192"/>
                    <a:gd name="connsiteX15" fmla="*/ 41910 w 254551"/>
                    <a:gd name="connsiteY15" fmla="*/ 131445 h 227192"/>
                    <a:gd name="connsiteX16" fmla="*/ 59055 w 254551"/>
                    <a:gd name="connsiteY16" fmla="*/ 133350 h 227192"/>
                    <a:gd name="connsiteX17" fmla="*/ 64770 w 254551"/>
                    <a:gd name="connsiteY17" fmla="*/ 180975 h 227192"/>
                    <a:gd name="connsiteX18" fmla="*/ 74295 w 254551"/>
                    <a:gd name="connsiteY18" fmla="*/ 188595 h 227192"/>
                    <a:gd name="connsiteX19" fmla="*/ 80010 w 254551"/>
                    <a:gd name="connsiteY19" fmla="*/ 192405 h 227192"/>
                    <a:gd name="connsiteX20" fmla="*/ 87630 w 254551"/>
                    <a:gd name="connsiteY20" fmla="*/ 201930 h 227192"/>
                    <a:gd name="connsiteX21" fmla="*/ 95250 w 254551"/>
                    <a:gd name="connsiteY21" fmla="*/ 213360 h 227192"/>
                    <a:gd name="connsiteX22" fmla="*/ 99060 w 254551"/>
                    <a:gd name="connsiteY22" fmla="*/ 219075 h 227192"/>
                    <a:gd name="connsiteX23" fmla="*/ 104775 w 254551"/>
                    <a:gd name="connsiteY23" fmla="*/ 220980 h 227192"/>
                    <a:gd name="connsiteX24" fmla="*/ 108585 w 254551"/>
                    <a:gd name="connsiteY24" fmla="*/ 226695 h 227192"/>
                    <a:gd name="connsiteX25" fmla="*/ 133350 w 254551"/>
                    <a:gd name="connsiteY25" fmla="*/ 222885 h 227192"/>
                    <a:gd name="connsiteX26" fmla="*/ 144780 w 254551"/>
                    <a:gd name="connsiteY26" fmla="*/ 211455 h 227192"/>
                    <a:gd name="connsiteX27" fmla="*/ 148590 w 254551"/>
                    <a:gd name="connsiteY27" fmla="*/ 205740 h 227192"/>
                    <a:gd name="connsiteX28" fmla="*/ 160020 w 254551"/>
                    <a:gd name="connsiteY28" fmla="*/ 201930 h 227192"/>
                    <a:gd name="connsiteX29" fmla="*/ 161925 w 254551"/>
                    <a:gd name="connsiteY29" fmla="*/ 196215 h 227192"/>
                    <a:gd name="connsiteX30" fmla="*/ 163830 w 254551"/>
                    <a:gd name="connsiteY30" fmla="*/ 184785 h 227192"/>
                    <a:gd name="connsiteX31" fmla="*/ 175260 w 254551"/>
                    <a:gd name="connsiteY31" fmla="*/ 180975 h 227192"/>
                    <a:gd name="connsiteX32" fmla="*/ 198120 w 254551"/>
                    <a:gd name="connsiteY32" fmla="*/ 182880 h 227192"/>
                    <a:gd name="connsiteX33" fmla="*/ 203835 w 254551"/>
                    <a:gd name="connsiteY33" fmla="*/ 186690 h 227192"/>
                    <a:gd name="connsiteX34" fmla="*/ 209550 w 254551"/>
                    <a:gd name="connsiteY34" fmla="*/ 188595 h 227192"/>
                    <a:gd name="connsiteX35" fmla="*/ 220980 w 254551"/>
                    <a:gd name="connsiteY35" fmla="*/ 186690 h 227192"/>
                    <a:gd name="connsiteX36" fmla="*/ 226695 w 254551"/>
                    <a:gd name="connsiteY36" fmla="*/ 182880 h 227192"/>
                    <a:gd name="connsiteX37" fmla="*/ 234315 w 254551"/>
                    <a:gd name="connsiteY37" fmla="*/ 165735 h 227192"/>
                    <a:gd name="connsiteX38" fmla="*/ 238125 w 254551"/>
                    <a:gd name="connsiteY38" fmla="*/ 154305 h 227192"/>
                    <a:gd name="connsiteX39" fmla="*/ 240030 w 254551"/>
                    <a:gd name="connsiteY39" fmla="*/ 148590 h 227192"/>
                    <a:gd name="connsiteX40" fmla="*/ 245745 w 254551"/>
                    <a:gd name="connsiteY40" fmla="*/ 120015 h 227192"/>
                    <a:gd name="connsiteX41" fmla="*/ 247650 w 254551"/>
                    <a:gd name="connsiteY41" fmla="*/ 114300 h 227192"/>
                    <a:gd name="connsiteX42" fmla="*/ 249555 w 254551"/>
                    <a:gd name="connsiteY42" fmla="*/ 108585 h 227192"/>
                    <a:gd name="connsiteX43" fmla="*/ 241935 w 254551"/>
                    <a:gd name="connsiteY43" fmla="*/ 89535 h 227192"/>
                    <a:gd name="connsiteX44" fmla="*/ 236220 w 254551"/>
                    <a:gd name="connsiteY44" fmla="*/ 85725 h 227192"/>
                    <a:gd name="connsiteX45" fmla="*/ 238125 w 254551"/>
                    <a:gd name="connsiteY45" fmla="*/ 80010 h 227192"/>
                    <a:gd name="connsiteX46" fmla="*/ 243840 w 254551"/>
                    <a:gd name="connsiteY46" fmla="*/ 78105 h 227192"/>
                    <a:gd name="connsiteX47" fmla="*/ 249555 w 254551"/>
                    <a:gd name="connsiteY47" fmla="*/ 74295 h 227192"/>
                    <a:gd name="connsiteX48" fmla="*/ 251460 w 254551"/>
                    <a:gd name="connsiteY48" fmla="*/ 24765 h 227192"/>
                    <a:gd name="connsiteX49" fmla="*/ 249555 w 254551"/>
                    <a:gd name="connsiteY49" fmla="*/ 19050 h 227192"/>
                    <a:gd name="connsiteX50" fmla="*/ 243840 w 254551"/>
                    <a:gd name="connsiteY50" fmla="*/ 15240 h 227192"/>
                    <a:gd name="connsiteX51" fmla="*/ 234315 w 254551"/>
                    <a:gd name="connsiteY51" fmla="*/ 3810 h 227192"/>
                    <a:gd name="connsiteX52" fmla="*/ 228600 w 254551"/>
                    <a:gd name="connsiteY52" fmla="*/ 0 h 227192"/>
                    <a:gd name="connsiteX53" fmla="*/ 217170 w 254551"/>
                    <a:gd name="connsiteY53" fmla="*/ 1905 h 227192"/>
                    <a:gd name="connsiteX54" fmla="*/ 213360 w 254551"/>
                    <a:gd name="connsiteY54" fmla="*/ 7620 h 227192"/>
                    <a:gd name="connsiteX55" fmla="*/ 207645 w 254551"/>
                    <a:gd name="connsiteY55" fmla="*/ 9525 h 227192"/>
                    <a:gd name="connsiteX56" fmla="*/ 203835 w 254551"/>
                    <a:gd name="connsiteY56" fmla="*/ 20955 h 227192"/>
                    <a:gd name="connsiteX57" fmla="*/ 201930 w 254551"/>
                    <a:gd name="connsiteY57" fmla="*/ 26670 h 227192"/>
                    <a:gd name="connsiteX58" fmla="*/ 200025 w 254551"/>
                    <a:gd name="connsiteY58" fmla="*/ 38100 h 227192"/>
                    <a:gd name="connsiteX59" fmla="*/ 205740 w 254551"/>
                    <a:gd name="connsiteY59" fmla="*/ 72390 h 227192"/>
                    <a:gd name="connsiteX60" fmla="*/ 213360 w 254551"/>
                    <a:gd name="connsiteY60" fmla="*/ 83820 h 227192"/>
                    <a:gd name="connsiteX61" fmla="*/ 217170 w 254551"/>
                    <a:gd name="connsiteY61" fmla="*/ 89535 h 227192"/>
                    <a:gd name="connsiteX62" fmla="*/ 215265 w 254551"/>
                    <a:gd name="connsiteY62" fmla="*/ 97155 h 227192"/>
                    <a:gd name="connsiteX63" fmla="*/ 203835 w 254551"/>
                    <a:gd name="connsiteY63" fmla="*/ 104775 h 227192"/>
                    <a:gd name="connsiteX64" fmla="*/ 198120 w 254551"/>
                    <a:gd name="connsiteY64" fmla="*/ 116205 h 227192"/>
                    <a:gd name="connsiteX65" fmla="*/ 196215 w 254551"/>
                    <a:gd name="connsiteY65" fmla="*/ 121920 h 227192"/>
                    <a:gd name="connsiteX66" fmla="*/ 190500 w 254551"/>
                    <a:gd name="connsiteY66" fmla="*/ 133350 h 227192"/>
                    <a:gd name="connsiteX67" fmla="*/ 182880 w 254551"/>
                    <a:gd name="connsiteY67" fmla="*/ 154305 h 227192"/>
                    <a:gd name="connsiteX68" fmla="*/ 175260 w 254551"/>
                    <a:gd name="connsiteY68" fmla="*/ 156210 h 227192"/>
                    <a:gd name="connsiteX69" fmla="*/ 169545 w 254551"/>
                    <a:gd name="connsiteY69" fmla="*/ 150495 h 227192"/>
                    <a:gd name="connsiteX70" fmla="*/ 167640 w 254551"/>
                    <a:gd name="connsiteY70" fmla="*/ 144780 h 227192"/>
                    <a:gd name="connsiteX71" fmla="*/ 156210 w 254551"/>
                    <a:gd name="connsiteY71" fmla="*/ 140970 h 227192"/>
                    <a:gd name="connsiteX72" fmla="*/ 150495 w 254551"/>
                    <a:gd name="connsiteY72" fmla="*/ 139065 h 227192"/>
                    <a:gd name="connsiteX73" fmla="*/ 139065 w 254551"/>
                    <a:gd name="connsiteY73" fmla="*/ 135255 h 227192"/>
                    <a:gd name="connsiteX74" fmla="*/ 133350 w 254551"/>
                    <a:gd name="connsiteY74" fmla="*/ 133350 h 227192"/>
                    <a:gd name="connsiteX75" fmla="*/ 121920 w 254551"/>
                    <a:gd name="connsiteY75" fmla="*/ 127635 h 227192"/>
                    <a:gd name="connsiteX76" fmla="*/ 89535 w 254551"/>
                    <a:gd name="connsiteY76" fmla="*/ 125730 h 227192"/>
                    <a:gd name="connsiteX77" fmla="*/ 78105 w 254551"/>
                    <a:gd name="connsiteY77" fmla="*/ 116205 h 227192"/>
                    <a:gd name="connsiteX78" fmla="*/ 76200 w 254551"/>
                    <a:gd name="connsiteY78" fmla="*/ 110490 h 227192"/>
                    <a:gd name="connsiteX79" fmla="*/ 72390 w 254551"/>
                    <a:gd name="connsiteY79" fmla="*/ 104775 h 227192"/>
                    <a:gd name="connsiteX80" fmla="*/ 68580 w 254551"/>
                    <a:gd name="connsiteY80" fmla="*/ 89535 h 227192"/>
                    <a:gd name="connsiteX81" fmla="*/ 62865 w 254551"/>
                    <a:gd name="connsiteY81" fmla="*/ 85725 h 227192"/>
                    <a:gd name="connsiteX82" fmla="*/ 53340 w 254551"/>
                    <a:gd name="connsiteY82" fmla="*/ 83820 h 227192"/>
                    <a:gd name="connsiteX83" fmla="*/ 47625 w 254551"/>
                    <a:gd name="connsiteY83" fmla="*/ 80010 h 227192"/>
                    <a:gd name="connsiteX84" fmla="*/ 41910 w 254551"/>
                    <a:gd name="connsiteY84" fmla="*/ 78105 h 227192"/>
                    <a:gd name="connsiteX85" fmla="*/ 34290 w 254551"/>
                    <a:gd name="connsiteY85" fmla="*/ 64770 h 227192"/>
                    <a:gd name="connsiteX86" fmla="*/ 30480 w 254551"/>
                    <a:gd name="connsiteY86" fmla="*/ 53340 h 227192"/>
                    <a:gd name="connsiteX87" fmla="*/ 34290 w 254551"/>
                    <a:gd name="connsiteY87" fmla="*/ 47625 h 227192"/>
                    <a:gd name="connsiteX88" fmla="*/ 32385 w 254551"/>
                    <a:gd name="connsiteY88" fmla="*/ 28575 h 227192"/>
                    <a:gd name="connsiteX89" fmla="*/ 30480 w 254551"/>
                    <a:gd name="connsiteY89" fmla="*/ 22860 h 227192"/>
                    <a:gd name="connsiteX90" fmla="*/ 36195 w 254551"/>
                    <a:gd name="connsiteY90" fmla="*/ 30480 h 227192"/>
                    <a:gd name="connsiteX0" fmla="*/ 36195 w 254551"/>
                    <a:gd name="connsiteY0" fmla="*/ 30480 h 227192"/>
                    <a:gd name="connsiteX1" fmla="*/ 36195 w 254551"/>
                    <a:gd name="connsiteY1" fmla="*/ 30480 h 227192"/>
                    <a:gd name="connsiteX2" fmla="*/ 20955 w 254551"/>
                    <a:gd name="connsiteY2" fmla="*/ 20955 h 227192"/>
                    <a:gd name="connsiteX3" fmla="*/ 17145 w 254551"/>
                    <a:gd name="connsiteY3" fmla="*/ 9525 h 227192"/>
                    <a:gd name="connsiteX4" fmla="*/ 1905 w 254551"/>
                    <a:gd name="connsiteY4" fmla="*/ 20955 h 227192"/>
                    <a:gd name="connsiteX5" fmla="*/ 0 w 254551"/>
                    <a:gd name="connsiteY5" fmla="*/ 26670 h 227192"/>
                    <a:gd name="connsiteX6" fmla="*/ 1905 w 254551"/>
                    <a:gd name="connsiteY6" fmla="*/ 47625 h 227192"/>
                    <a:gd name="connsiteX7" fmla="*/ 9525 w 254551"/>
                    <a:gd name="connsiteY7" fmla="*/ 59055 h 227192"/>
                    <a:gd name="connsiteX8" fmla="*/ 13335 w 254551"/>
                    <a:gd name="connsiteY8" fmla="*/ 70485 h 227192"/>
                    <a:gd name="connsiteX9" fmla="*/ 15240 w 254551"/>
                    <a:gd name="connsiteY9" fmla="*/ 99060 h 227192"/>
                    <a:gd name="connsiteX10" fmla="*/ 17145 w 254551"/>
                    <a:gd name="connsiteY10" fmla="*/ 104775 h 227192"/>
                    <a:gd name="connsiteX11" fmla="*/ 22860 w 254551"/>
                    <a:gd name="connsiteY11" fmla="*/ 108585 h 227192"/>
                    <a:gd name="connsiteX12" fmla="*/ 26670 w 254551"/>
                    <a:gd name="connsiteY12" fmla="*/ 114300 h 227192"/>
                    <a:gd name="connsiteX13" fmla="*/ 32385 w 254551"/>
                    <a:gd name="connsiteY13" fmla="*/ 118110 h 227192"/>
                    <a:gd name="connsiteX14" fmla="*/ 41910 w 254551"/>
                    <a:gd name="connsiteY14" fmla="*/ 131445 h 227192"/>
                    <a:gd name="connsiteX15" fmla="*/ 59055 w 254551"/>
                    <a:gd name="connsiteY15" fmla="*/ 133350 h 227192"/>
                    <a:gd name="connsiteX16" fmla="*/ 64770 w 254551"/>
                    <a:gd name="connsiteY16" fmla="*/ 180975 h 227192"/>
                    <a:gd name="connsiteX17" fmla="*/ 74295 w 254551"/>
                    <a:gd name="connsiteY17" fmla="*/ 188595 h 227192"/>
                    <a:gd name="connsiteX18" fmla="*/ 80010 w 254551"/>
                    <a:gd name="connsiteY18" fmla="*/ 192405 h 227192"/>
                    <a:gd name="connsiteX19" fmla="*/ 87630 w 254551"/>
                    <a:gd name="connsiteY19" fmla="*/ 201930 h 227192"/>
                    <a:gd name="connsiteX20" fmla="*/ 95250 w 254551"/>
                    <a:gd name="connsiteY20" fmla="*/ 213360 h 227192"/>
                    <a:gd name="connsiteX21" fmla="*/ 99060 w 254551"/>
                    <a:gd name="connsiteY21" fmla="*/ 219075 h 227192"/>
                    <a:gd name="connsiteX22" fmla="*/ 104775 w 254551"/>
                    <a:gd name="connsiteY22" fmla="*/ 220980 h 227192"/>
                    <a:gd name="connsiteX23" fmla="*/ 108585 w 254551"/>
                    <a:gd name="connsiteY23" fmla="*/ 226695 h 227192"/>
                    <a:gd name="connsiteX24" fmla="*/ 133350 w 254551"/>
                    <a:gd name="connsiteY24" fmla="*/ 222885 h 227192"/>
                    <a:gd name="connsiteX25" fmla="*/ 144780 w 254551"/>
                    <a:gd name="connsiteY25" fmla="*/ 211455 h 227192"/>
                    <a:gd name="connsiteX26" fmla="*/ 148590 w 254551"/>
                    <a:gd name="connsiteY26" fmla="*/ 205740 h 227192"/>
                    <a:gd name="connsiteX27" fmla="*/ 160020 w 254551"/>
                    <a:gd name="connsiteY27" fmla="*/ 201930 h 227192"/>
                    <a:gd name="connsiteX28" fmla="*/ 161925 w 254551"/>
                    <a:gd name="connsiteY28" fmla="*/ 196215 h 227192"/>
                    <a:gd name="connsiteX29" fmla="*/ 163830 w 254551"/>
                    <a:gd name="connsiteY29" fmla="*/ 184785 h 227192"/>
                    <a:gd name="connsiteX30" fmla="*/ 175260 w 254551"/>
                    <a:gd name="connsiteY30" fmla="*/ 180975 h 227192"/>
                    <a:gd name="connsiteX31" fmla="*/ 198120 w 254551"/>
                    <a:gd name="connsiteY31" fmla="*/ 182880 h 227192"/>
                    <a:gd name="connsiteX32" fmla="*/ 203835 w 254551"/>
                    <a:gd name="connsiteY32" fmla="*/ 186690 h 227192"/>
                    <a:gd name="connsiteX33" fmla="*/ 209550 w 254551"/>
                    <a:gd name="connsiteY33" fmla="*/ 188595 h 227192"/>
                    <a:gd name="connsiteX34" fmla="*/ 220980 w 254551"/>
                    <a:gd name="connsiteY34" fmla="*/ 186690 h 227192"/>
                    <a:gd name="connsiteX35" fmla="*/ 226695 w 254551"/>
                    <a:gd name="connsiteY35" fmla="*/ 182880 h 227192"/>
                    <a:gd name="connsiteX36" fmla="*/ 234315 w 254551"/>
                    <a:gd name="connsiteY36" fmla="*/ 165735 h 227192"/>
                    <a:gd name="connsiteX37" fmla="*/ 238125 w 254551"/>
                    <a:gd name="connsiteY37" fmla="*/ 154305 h 227192"/>
                    <a:gd name="connsiteX38" fmla="*/ 240030 w 254551"/>
                    <a:gd name="connsiteY38" fmla="*/ 148590 h 227192"/>
                    <a:gd name="connsiteX39" fmla="*/ 245745 w 254551"/>
                    <a:gd name="connsiteY39" fmla="*/ 120015 h 227192"/>
                    <a:gd name="connsiteX40" fmla="*/ 247650 w 254551"/>
                    <a:gd name="connsiteY40" fmla="*/ 114300 h 227192"/>
                    <a:gd name="connsiteX41" fmla="*/ 249555 w 254551"/>
                    <a:gd name="connsiteY41" fmla="*/ 108585 h 227192"/>
                    <a:gd name="connsiteX42" fmla="*/ 241935 w 254551"/>
                    <a:gd name="connsiteY42" fmla="*/ 89535 h 227192"/>
                    <a:gd name="connsiteX43" fmla="*/ 236220 w 254551"/>
                    <a:gd name="connsiteY43" fmla="*/ 85725 h 227192"/>
                    <a:gd name="connsiteX44" fmla="*/ 238125 w 254551"/>
                    <a:gd name="connsiteY44" fmla="*/ 80010 h 227192"/>
                    <a:gd name="connsiteX45" fmla="*/ 243840 w 254551"/>
                    <a:gd name="connsiteY45" fmla="*/ 78105 h 227192"/>
                    <a:gd name="connsiteX46" fmla="*/ 249555 w 254551"/>
                    <a:gd name="connsiteY46" fmla="*/ 74295 h 227192"/>
                    <a:gd name="connsiteX47" fmla="*/ 251460 w 254551"/>
                    <a:gd name="connsiteY47" fmla="*/ 24765 h 227192"/>
                    <a:gd name="connsiteX48" fmla="*/ 249555 w 254551"/>
                    <a:gd name="connsiteY48" fmla="*/ 19050 h 227192"/>
                    <a:gd name="connsiteX49" fmla="*/ 243840 w 254551"/>
                    <a:gd name="connsiteY49" fmla="*/ 15240 h 227192"/>
                    <a:gd name="connsiteX50" fmla="*/ 234315 w 254551"/>
                    <a:gd name="connsiteY50" fmla="*/ 3810 h 227192"/>
                    <a:gd name="connsiteX51" fmla="*/ 228600 w 254551"/>
                    <a:gd name="connsiteY51" fmla="*/ 0 h 227192"/>
                    <a:gd name="connsiteX52" fmla="*/ 217170 w 254551"/>
                    <a:gd name="connsiteY52" fmla="*/ 1905 h 227192"/>
                    <a:gd name="connsiteX53" fmla="*/ 213360 w 254551"/>
                    <a:gd name="connsiteY53" fmla="*/ 7620 h 227192"/>
                    <a:gd name="connsiteX54" fmla="*/ 207645 w 254551"/>
                    <a:gd name="connsiteY54" fmla="*/ 9525 h 227192"/>
                    <a:gd name="connsiteX55" fmla="*/ 203835 w 254551"/>
                    <a:gd name="connsiteY55" fmla="*/ 20955 h 227192"/>
                    <a:gd name="connsiteX56" fmla="*/ 201930 w 254551"/>
                    <a:gd name="connsiteY56" fmla="*/ 26670 h 227192"/>
                    <a:gd name="connsiteX57" fmla="*/ 200025 w 254551"/>
                    <a:gd name="connsiteY57" fmla="*/ 38100 h 227192"/>
                    <a:gd name="connsiteX58" fmla="*/ 205740 w 254551"/>
                    <a:gd name="connsiteY58" fmla="*/ 72390 h 227192"/>
                    <a:gd name="connsiteX59" fmla="*/ 213360 w 254551"/>
                    <a:gd name="connsiteY59" fmla="*/ 83820 h 227192"/>
                    <a:gd name="connsiteX60" fmla="*/ 217170 w 254551"/>
                    <a:gd name="connsiteY60" fmla="*/ 89535 h 227192"/>
                    <a:gd name="connsiteX61" fmla="*/ 215265 w 254551"/>
                    <a:gd name="connsiteY61" fmla="*/ 97155 h 227192"/>
                    <a:gd name="connsiteX62" fmla="*/ 203835 w 254551"/>
                    <a:gd name="connsiteY62" fmla="*/ 104775 h 227192"/>
                    <a:gd name="connsiteX63" fmla="*/ 198120 w 254551"/>
                    <a:gd name="connsiteY63" fmla="*/ 116205 h 227192"/>
                    <a:gd name="connsiteX64" fmla="*/ 196215 w 254551"/>
                    <a:gd name="connsiteY64" fmla="*/ 121920 h 227192"/>
                    <a:gd name="connsiteX65" fmla="*/ 190500 w 254551"/>
                    <a:gd name="connsiteY65" fmla="*/ 133350 h 227192"/>
                    <a:gd name="connsiteX66" fmla="*/ 182880 w 254551"/>
                    <a:gd name="connsiteY66" fmla="*/ 154305 h 227192"/>
                    <a:gd name="connsiteX67" fmla="*/ 175260 w 254551"/>
                    <a:gd name="connsiteY67" fmla="*/ 156210 h 227192"/>
                    <a:gd name="connsiteX68" fmla="*/ 169545 w 254551"/>
                    <a:gd name="connsiteY68" fmla="*/ 150495 h 227192"/>
                    <a:gd name="connsiteX69" fmla="*/ 167640 w 254551"/>
                    <a:gd name="connsiteY69" fmla="*/ 144780 h 227192"/>
                    <a:gd name="connsiteX70" fmla="*/ 156210 w 254551"/>
                    <a:gd name="connsiteY70" fmla="*/ 140970 h 227192"/>
                    <a:gd name="connsiteX71" fmla="*/ 150495 w 254551"/>
                    <a:gd name="connsiteY71" fmla="*/ 139065 h 227192"/>
                    <a:gd name="connsiteX72" fmla="*/ 139065 w 254551"/>
                    <a:gd name="connsiteY72" fmla="*/ 135255 h 227192"/>
                    <a:gd name="connsiteX73" fmla="*/ 133350 w 254551"/>
                    <a:gd name="connsiteY73" fmla="*/ 133350 h 227192"/>
                    <a:gd name="connsiteX74" fmla="*/ 121920 w 254551"/>
                    <a:gd name="connsiteY74" fmla="*/ 127635 h 227192"/>
                    <a:gd name="connsiteX75" fmla="*/ 89535 w 254551"/>
                    <a:gd name="connsiteY75" fmla="*/ 125730 h 227192"/>
                    <a:gd name="connsiteX76" fmla="*/ 78105 w 254551"/>
                    <a:gd name="connsiteY76" fmla="*/ 116205 h 227192"/>
                    <a:gd name="connsiteX77" fmla="*/ 76200 w 254551"/>
                    <a:gd name="connsiteY77" fmla="*/ 110490 h 227192"/>
                    <a:gd name="connsiteX78" fmla="*/ 72390 w 254551"/>
                    <a:gd name="connsiteY78" fmla="*/ 104775 h 227192"/>
                    <a:gd name="connsiteX79" fmla="*/ 68580 w 254551"/>
                    <a:gd name="connsiteY79" fmla="*/ 89535 h 227192"/>
                    <a:gd name="connsiteX80" fmla="*/ 62865 w 254551"/>
                    <a:gd name="connsiteY80" fmla="*/ 85725 h 227192"/>
                    <a:gd name="connsiteX81" fmla="*/ 53340 w 254551"/>
                    <a:gd name="connsiteY81" fmla="*/ 83820 h 227192"/>
                    <a:gd name="connsiteX82" fmla="*/ 47625 w 254551"/>
                    <a:gd name="connsiteY82" fmla="*/ 80010 h 227192"/>
                    <a:gd name="connsiteX83" fmla="*/ 41910 w 254551"/>
                    <a:gd name="connsiteY83" fmla="*/ 78105 h 227192"/>
                    <a:gd name="connsiteX84" fmla="*/ 34290 w 254551"/>
                    <a:gd name="connsiteY84" fmla="*/ 64770 h 227192"/>
                    <a:gd name="connsiteX85" fmla="*/ 30480 w 254551"/>
                    <a:gd name="connsiteY85" fmla="*/ 53340 h 227192"/>
                    <a:gd name="connsiteX86" fmla="*/ 34290 w 254551"/>
                    <a:gd name="connsiteY86" fmla="*/ 47625 h 227192"/>
                    <a:gd name="connsiteX87" fmla="*/ 32385 w 254551"/>
                    <a:gd name="connsiteY87" fmla="*/ 28575 h 227192"/>
                    <a:gd name="connsiteX88" fmla="*/ 30480 w 254551"/>
                    <a:gd name="connsiteY88" fmla="*/ 22860 h 227192"/>
                    <a:gd name="connsiteX89" fmla="*/ 36195 w 254551"/>
                    <a:gd name="connsiteY89" fmla="*/ 30480 h 227192"/>
                    <a:gd name="connsiteX0" fmla="*/ 36195 w 254551"/>
                    <a:gd name="connsiteY0" fmla="*/ 30480 h 227192"/>
                    <a:gd name="connsiteX1" fmla="*/ 36195 w 254551"/>
                    <a:gd name="connsiteY1" fmla="*/ 30480 h 227192"/>
                    <a:gd name="connsiteX2" fmla="*/ 20955 w 254551"/>
                    <a:gd name="connsiteY2" fmla="*/ 20955 h 227192"/>
                    <a:gd name="connsiteX3" fmla="*/ 17145 w 254551"/>
                    <a:gd name="connsiteY3" fmla="*/ 9525 h 227192"/>
                    <a:gd name="connsiteX4" fmla="*/ 1905 w 254551"/>
                    <a:gd name="connsiteY4" fmla="*/ 20955 h 227192"/>
                    <a:gd name="connsiteX5" fmla="*/ 0 w 254551"/>
                    <a:gd name="connsiteY5" fmla="*/ 26670 h 227192"/>
                    <a:gd name="connsiteX6" fmla="*/ 1905 w 254551"/>
                    <a:gd name="connsiteY6" fmla="*/ 47625 h 227192"/>
                    <a:gd name="connsiteX7" fmla="*/ 9525 w 254551"/>
                    <a:gd name="connsiteY7" fmla="*/ 59055 h 227192"/>
                    <a:gd name="connsiteX8" fmla="*/ 13335 w 254551"/>
                    <a:gd name="connsiteY8" fmla="*/ 70485 h 227192"/>
                    <a:gd name="connsiteX9" fmla="*/ 15240 w 254551"/>
                    <a:gd name="connsiteY9" fmla="*/ 99060 h 227192"/>
                    <a:gd name="connsiteX10" fmla="*/ 17145 w 254551"/>
                    <a:gd name="connsiteY10" fmla="*/ 104775 h 227192"/>
                    <a:gd name="connsiteX11" fmla="*/ 22860 w 254551"/>
                    <a:gd name="connsiteY11" fmla="*/ 108585 h 227192"/>
                    <a:gd name="connsiteX12" fmla="*/ 26670 w 254551"/>
                    <a:gd name="connsiteY12" fmla="*/ 114300 h 227192"/>
                    <a:gd name="connsiteX13" fmla="*/ 32385 w 254551"/>
                    <a:gd name="connsiteY13" fmla="*/ 118110 h 227192"/>
                    <a:gd name="connsiteX14" fmla="*/ 41910 w 254551"/>
                    <a:gd name="connsiteY14" fmla="*/ 131445 h 227192"/>
                    <a:gd name="connsiteX15" fmla="*/ 59055 w 254551"/>
                    <a:gd name="connsiteY15" fmla="*/ 133350 h 227192"/>
                    <a:gd name="connsiteX16" fmla="*/ 64770 w 254551"/>
                    <a:gd name="connsiteY16" fmla="*/ 180975 h 227192"/>
                    <a:gd name="connsiteX17" fmla="*/ 74295 w 254551"/>
                    <a:gd name="connsiteY17" fmla="*/ 188595 h 227192"/>
                    <a:gd name="connsiteX18" fmla="*/ 80010 w 254551"/>
                    <a:gd name="connsiteY18" fmla="*/ 192405 h 227192"/>
                    <a:gd name="connsiteX19" fmla="*/ 87630 w 254551"/>
                    <a:gd name="connsiteY19" fmla="*/ 201930 h 227192"/>
                    <a:gd name="connsiteX20" fmla="*/ 95250 w 254551"/>
                    <a:gd name="connsiteY20" fmla="*/ 213360 h 227192"/>
                    <a:gd name="connsiteX21" fmla="*/ 99060 w 254551"/>
                    <a:gd name="connsiteY21" fmla="*/ 219075 h 227192"/>
                    <a:gd name="connsiteX22" fmla="*/ 104775 w 254551"/>
                    <a:gd name="connsiteY22" fmla="*/ 220980 h 227192"/>
                    <a:gd name="connsiteX23" fmla="*/ 108585 w 254551"/>
                    <a:gd name="connsiteY23" fmla="*/ 226695 h 227192"/>
                    <a:gd name="connsiteX24" fmla="*/ 133350 w 254551"/>
                    <a:gd name="connsiteY24" fmla="*/ 222885 h 227192"/>
                    <a:gd name="connsiteX25" fmla="*/ 144780 w 254551"/>
                    <a:gd name="connsiteY25" fmla="*/ 211455 h 227192"/>
                    <a:gd name="connsiteX26" fmla="*/ 148590 w 254551"/>
                    <a:gd name="connsiteY26" fmla="*/ 205740 h 227192"/>
                    <a:gd name="connsiteX27" fmla="*/ 160020 w 254551"/>
                    <a:gd name="connsiteY27" fmla="*/ 201930 h 227192"/>
                    <a:gd name="connsiteX28" fmla="*/ 161925 w 254551"/>
                    <a:gd name="connsiteY28" fmla="*/ 196215 h 227192"/>
                    <a:gd name="connsiteX29" fmla="*/ 163830 w 254551"/>
                    <a:gd name="connsiteY29" fmla="*/ 184785 h 227192"/>
                    <a:gd name="connsiteX30" fmla="*/ 175260 w 254551"/>
                    <a:gd name="connsiteY30" fmla="*/ 180975 h 227192"/>
                    <a:gd name="connsiteX31" fmla="*/ 198120 w 254551"/>
                    <a:gd name="connsiteY31" fmla="*/ 182880 h 227192"/>
                    <a:gd name="connsiteX32" fmla="*/ 203835 w 254551"/>
                    <a:gd name="connsiteY32" fmla="*/ 186690 h 227192"/>
                    <a:gd name="connsiteX33" fmla="*/ 209550 w 254551"/>
                    <a:gd name="connsiteY33" fmla="*/ 188595 h 227192"/>
                    <a:gd name="connsiteX34" fmla="*/ 220980 w 254551"/>
                    <a:gd name="connsiteY34" fmla="*/ 186690 h 227192"/>
                    <a:gd name="connsiteX35" fmla="*/ 226695 w 254551"/>
                    <a:gd name="connsiteY35" fmla="*/ 182880 h 227192"/>
                    <a:gd name="connsiteX36" fmla="*/ 234315 w 254551"/>
                    <a:gd name="connsiteY36" fmla="*/ 165735 h 227192"/>
                    <a:gd name="connsiteX37" fmla="*/ 238125 w 254551"/>
                    <a:gd name="connsiteY37" fmla="*/ 154305 h 227192"/>
                    <a:gd name="connsiteX38" fmla="*/ 240030 w 254551"/>
                    <a:gd name="connsiteY38" fmla="*/ 148590 h 227192"/>
                    <a:gd name="connsiteX39" fmla="*/ 245745 w 254551"/>
                    <a:gd name="connsiteY39" fmla="*/ 120015 h 227192"/>
                    <a:gd name="connsiteX40" fmla="*/ 247650 w 254551"/>
                    <a:gd name="connsiteY40" fmla="*/ 114300 h 227192"/>
                    <a:gd name="connsiteX41" fmla="*/ 249555 w 254551"/>
                    <a:gd name="connsiteY41" fmla="*/ 108585 h 227192"/>
                    <a:gd name="connsiteX42" fmla="*/ 241935 w 254551"/>
                    <a:gd name="connsiteY42" fmla="*/ 89535 h 227192"/>
                    <a:gd name="connsiteX43" fmla="*/ 236220 w 254551"/>
                    <a:gd name="connsiteY43" fmla="*/ 85725 h 227192"/>
                    <a:gd name="connsiteX44" fmla="*/ 238125 w 254551"/>
                    <a:gd name="connsiteY44" fmla="*/ 80010 h 227192"/>
                    <a:gd name="connsiteX45" fmla="*/ 243840 w 254551"/>
                    <a:gd name="connsiteY45" fmla="*/ 78105 h 227192"/>
                    <a:gd name="connsiteX46" fmla="*/ 249555 w 254551"/>
                    <a:gd name="connsiteY46" fmla="*/ 74295 h 227192"/>
                    <a:gd name="connsiteX47" fmla="*/ 251460 w 254551"/>
                    <a:gd name="connsiteY47" fmla="*/ 24765 h 227192"/>
                    <a:gd name="connsiteX48" fmla="*/ 249555 w 254551"/>
                    <a:gd name="connsiteY48" fmla="*/ 19050 h 227192"/>
                    <a:gd name="connsiteX49" fmla="*/ 243840 w 254551"/>
                    <a:gd name="connsiteY49" fmla="*/ 15240 h 227192"/>
                    <a:gd name="connsiteX50" fmla="*/ 234315 w 254551"/>
                    <a:gd name="connsiteY50" fmla="*/ 3810 h 227192"/>
                    <a:gd name="connsiteX51" fmla="*/ 228600 w 254551"/>
                    <a:gd name="connsiteY51" fmla="*/ 0 h 227192"/>
                    <a:gd name="connsiteX52" fmla="*/ 217170 w 254551"/>
                    <a:gd name="connsiteY52" fmla="*/ 1905 h 227192"/>
                    <a:gd name="connsiteX53" fmla="*/ 213360 w 254551"/>
                    <a:gd name="connsiteY53" fmla="*/ 7620 h 227192"/>
                    <a:gd name="connsiteX54" fmla="*/ 207645 w 254551"/>
                    <a:gd name="connsiteY54" fmla="*/ 9525 h 227192"/>
                    <a:gd name="connsiteX55" fmla="*/ 203835 w 254551"/>
                    <a:gd name="connsiteY55" fmla="*/ 20955 h 227192"/>
                    <a:gd name="connsiteX56" fmla="*/ 201930 w 254551"/>
                    <a:gd name="connsiteY56" fmla="*/ 26670 h 227192"/>
                    <a:gd name="connsiteX57" fmla="*/ 200025 w 254551"/>
                    <a:gd name="connsiteY57" fmla="*/ 38100 h 227192"/>
                    <a:gd name="connsiteX58" fmla="*/ 205740 w 254551"/>
                    <a:gd name="connsiteY58" fmla="*/ 72390 h 227192"/>
                    <a:gd name="connsiteX59" fmla="*/ 213360 w 254551"/>
                    <a:gd name="connsiteY59" fmla="*/ 83820 h 227192"/>
                    <a:gd name="connsiteX60" fmla="*/ 217170 w 254551"/>
                    <a:gd name="connsiteY60" fmla="*/ 89535 h 227192"/>
                    <a:gd name="connsiteX61" fmla="*/ 215265 w 254551"/>
                    <a:gd name="connsiteY61" fmla="*/ 97155 h 227192"/>
                    <a:gd name="connsiteX62" fmla="*/ 203835 w 254551"/>
                    <a:gd name="connsiteY62" fmla="*/ 104775 h 227192"/>
                    <a:gd name="connsiteX63" fmla="*/ 198120 w 254551"/>
                    <a:gd name="connsiteY63" fmla="*/ 116205 h 227192"/>
                    <a:gd name="connsiteX64" fmla="*/ 196215 w 254551"/>
                    <a:gd name="connsiteY64" fmla="*/ 121920 h 227192"/>
                    <a:gd name="connsiteX65" fmla="*/ 190500 w 254551"/>
                    <a:gd name="connsiteY65" fmla="*/ 133350 h 227192"/>
                    <a:gd name="connsiteX66" fmla="*/ 182880 w 254551"/>
                    <a:gd name="connsiteY66" fmla="*/ 154305 h 227192"/>
                    <a:gd name="connsiteX67" fmla="*/ 175260 w 254551"/>
                    <a:gd name="connsiteY67" fmla="*/ 156210 h 227192"/>
                    <a:gd name="connsiteX68" fmla="*/ 169545 w 254551"/>
                    <a:gd name="connsiteY68" fmla="*/ 150495 h 227192"/>
                    <a:gd name="connsiteX69" fmla="*/ 167640 w 254551"/>
                    <a:gd name="connsiteY69" fmla="*/ 144780 h 227192"/>
                    <a:gd name="connsiteX70" fmla="*/ 156210 w 254551"/>
                    <a:gd name="connsiteY70" fmla="*/ 140970 h 227192"/>
                    <a:gd name="connsiteX71" fmla="*/ 150495 w 254551"/>
                    <a:gd name="connsiteY71" fmla="*/ 139065 h 227192"/>
                    <a:gd name="connsiteX72" fmla="*/ 139065 w 254551"/>
                    <a:gd name="connsiteY72" fmla="*/ 135255 h 227192"/>
                    <a:gd name="connsiteX73" fmla="*/ 133350 w 254551"/>
                    <a:gd name="connsiteY73" fmla="*/ 133350 h 227192"/>
                    <a:gd name="connsiteX74" fmla="*/ 121920 w 254551"/>
                    <a:gd name="connsiteY74" fmla="*/ 127635 h 227192"/>
                    <a:gd name="connsiteX75" fmla="*/ 89535 w 254551"/>
                    <a:gd name="connsiteY75" fmla="*/ 125730 h 227192"/>
                    <a:gd name="connsiteX76" fmla="*/ 78105 w 254551"/>
                    <a:gd name="connsiteY76" fmla="*/ 116205 h 227192"/>
                    <a:gd name="connsiteX77" fmla="*/ 76200 w 254551"/>
                    <a:gd name="connsiteY77" fmla="*/ 110490 h 227192"/>
                    <a:gd name="connsiteX78" fmla="*/ 72390 w 254551"/>
                    <a:gd name="connsiteY78" fmla="*/ 104775 h 227192"/>
                    <a:gd name="connsiteX79" fmla="*/ 68580 w 254551"/>
                    <a:gd name="connsiteY79" fmla="*/ 89535 h 227192"/>
                    <a:gd name="connsiteX80" fmla="*/ 62865 w 254551"/>
                    <a:gd name="connsiteY80" fmla="*/ 85725 h 227192"/>
                    <a:gd name="connsiteX81" fmla="*/ 53340 w 254551"/>
                    <a:gd name="connsiteY81" fmla="*/ 83820 h 227192"/>
                    <a:gd name="connsiteX82" fmla="*/ 47625 w 254551"/>
                    <a:gd name="connsiteY82" fmla="*/ 80010 h 227192"/>
                    <a:gd name="connsiteX83" fmla="*/ 41910 w 254551"/>
                    <a:gd name="connsiteY83" fmla="*/ 78105 h 227192"/>
                    <a:gd name="connsiteX84" fmla="*/ 34290 w 254551"/>
                    <a:gd name="connsiteY84" fmla="*/ 64770 h 227192"/>
                    <a:gd name="connsiteX85" fmla="*/ 30480 w 254551"/>
                    <a:gd name="connsiteY85" fmla="*/ 53340 h 227192"/>
                    <a:gd name="connsiteX86" fmla="*/ 34290 w 254551"/>
                    <a:gd name="connsiteY86" fmla="*/ 47625 h 227192"/>
                    <a:gd name="connsiteX87" fmla="*/ 32385 w 254551"/>
                    <a:gd name="connsiteY87" fmla="*/ 28575 h 227192"/>
                    <a:gd name="connsiteX88" fmla="*/ 30480 w 254551"/>
                    <a:gd name="connsiteY88" fmla="*/ 22860 h 227192"/>
                    <a:gd name="connsiteX89" fmla="*/ 36195 w 254551"/>
                    <a:gd name="connsiteY89" fmla="*/ 30480 h 227192"/>
                    <a:gd name="connsiteX0" fmla="*/ 36317 w 254673"/>
                    <a:gd name="connsiteY0" fmla="*/ 30480 h 227192"/>
                    <a:gd name="connsiteX1" fmla="*/ 36317 w 254673"/>
                    <a:gd name="connsiteY1" fmla="*/ 30480 h 227192"/>
                    <a:gd name="connsiteX2" fmla="*/ 21077 w 254673"/>
                    <a:gd name="connsiteY2" fmla="*/ 20955 h 227192"/>
                    <a:gd name="connsiteX3" fmla="*/ 2027 w 254673"/>
                    <a:gd name="connsiteY3" fmla="*/ 20955 h 227192"/>
                    <a:gd name="connsiteX4" fmla="*/ 122 w 254673"/>
                    <a:gd name="connsiteY4" fmla="*/ 26670 h 227192"/>
                    <a:gd name="connsiteX5" fmla="*/ 2027 w 254673"/>
                    <a:gd name="connsiteY5" fmla="*/ 47625 h 227192"/>
                    <a:gd name="connsiteX6" fmla="*/ 9647 w 254673"/>
                    <a:gd name="connsiteY6" fmla="*/ 59055 h 227192"/>
                    <a:gd name="connsiteX7" fmla="*/ 13457 w 254673"/>
                    <a:gd name="connsiteY7" fmla="*/ 70485 h 227192"/>
                    <a:gd name="connsiteX8" fmla="*/ 15362 w 254673"/>
                    <a:gd name="connsiteY8" fmla="*/ 99060 h 227192"/>
                    <a:gd name="connsiteX9" fmla="*/ 17267 w 254673"/>
                    <a:gd name="connsiteY9" fmla="*/ 104775 h 227192"/>
                    <a:gd name="connsiteX10" fmla="*/ 22982 w 254673"/>
                    <a:gd name="connsiteY10" fmla="*/ 108585 h 227192"/>
                    <a:gd name="connsiteX11" fmla="*/ 26792 w 254673"/>
                    <a:gd name="connsiteY11" fmla="*/ 114300 h 227192"/>
                    <a:gd name="connsiteX12" fmla="*/ 32507 w 254673"/>
                    <a:gd name="connsiteY12" fmla="*/ 118110 h 227192"/>
                    <a:gd name="connsiteX13" fmla="*/ 42032 w 254673"/>
                    <a:gd name="connsiteY13" fmla="*/ 131445 h 227192"/>
                    <a:gd name="connsiteX14" fmla="*/ 59177 w 254673"/>
                    <a:gd name="connsiteY14" fmla="*/ 133350 h 227192"/>
                    <a:gd name="connsiteX15" fmla="*/ 64892 w 254673"/>
                    <a:gd name="connsiteY15" fmla="*/ 180975 h 227192"/>
                    <a:gd name="connsiteX16" fmla="*/ 74417 w 254673"/>
                    <a:gd name="connsiteY16" fmla="*/ 188595 h 227192"/>
                    <a:gd name="connsiteX17" fmla="*/ 80132 w 254673"/>
                    <a:gd name="connsiteY17" fmla="*/ 192405 h 227192"/>
                    <a:gd name="connsiteX18" fmla="*/ 87752 w 254673"/>
                    <a:gd name="connsiteY18" fmla="*/ 201930 h 227192"/>
                    <a:gd name="connsiteX19" fmla="*/ 95372 w 254673"/>
                    <a:gd name="connsiteY19" fmla="*/ 213360 h 227192"/>
                    <a:gd name="connsiteX20" fmla="*/ 99182 w 254673"/>
                    <a:gd name="connsiteY20" fmla="*/ 219075 h 227192"/>
                    <a:gd name="connsiteX21" fmla="*/ 104897 w 254673"/>
                    <a:gd name="connsiteY21" fmla="*/ 220980 h 227192"/>
                    <a:gd name="connsiteX22" fmla="*/ 108707 w 254673"/>
                    <a:gd name="connsiteY22" fmla="*/ 226695 h 227192"/>
                    <a:gd name="connsiteX23" fmla="*/ 133472 w 254673"/>
                    <a:gd name="connsiteY23" fmla="*/ 222885 h 227192"/>
                    <a:gd name="connsiteX24" fmla="*/ 144902 w 254673"/>
                    <a:gd name="connsiteY24" fmla="*/ 211455 h 227192"/>
                    <a:gd name="connsiteX25" fmla="*/ 148712 w 254673"/>
                    <a:gd name="connsiteY25" fmla="*/ 205740 h 227192"/>
                    <a:gd name="connsiteX26" fmla="*/ 160142 w 254673"/>
                    <a:gd name="connsiteY26" fmla="*/ 201930 h 227192"/>
                    <a:gd name="connsiteX27" fmla="*/ 162047 w 254673"/>
                    <a:gd name="connsiteY27" fmla="*/ 196215 h 227192"/>
                    <a:gd name="connsiteX28" fmla="*/ 163952 w 254673"/>
                    <a:gd name="connsiteY28" fmla="*/ 184785 h 227192"/>
                    <a:gd name="connsiteX29" fmla="*/ 175382 w 254673"/>
                    <a:gd name="connsiteY29" fmla="*/ 180975 h 227192"/>
                    <a:gd name="connsiteX30" fmla="*/ 198242 w 254673"/>
                    <a:gd name="connsiteY30" fmla="*/ 182880 h 227192"/>
                    <a:gd name="connsiteX31" fmla="*/ 203957 w 254673"/>
                    <a:gd name="connsiteY31" fmla="*/ 186690 h 227192"/>
                    <a:gd name="connsiteX32" fmla="*/ 209672 w 254673"/>
                    <a:gd name="connsiteY32" fmla="*/ 188595 h 227192"/>
                    <a:gd name="connsiteX33" fmla="*/ 221102 w 254673"/>
                    <a:gd name="connsiteY33" fmla="*/ 186690 h 227192"/>
                    <a:gd name="connsiteX34" fmla="*/ 226817 w 254673"/>
                    <a:gd name="connsiteY34" fmla="*/ 182880 h 227192"/>
                    <a:gd name="connsiteX35" fmla="*/ 234437 w 254673"/>
                    <a:gd name="connsiteY35" fmla="*/ 165735 h 227192"/>
                    <a:gd name="connsiteX36" fmla="*/ 238247 w 254673"/>
                    <a:gd name="connsiteY36" fmla="*/ 154305 h 227192"/>
                    <a:gd name="connsiteX37" fmla="*/ 240152 w 254673"/>
                    <a:gd name="connsiteY37" fmla="*/ 148590 h 227192"/>
                    <a:gd name="connsiteX38" fmla="*/ 245867 w 254673"/>
                    <a:gd name="connsiteY38" fmla="*/ 120015 h 227192"/>
                    <a:gd name="connsiteX39" fmla="*/ 247772 w 254673"/>
                    <a:gd name="connsiteY39" fmla="*/ 114300 h 227192"/>
                    <a:gd name="connsiteX40" fmla="*/ 249677 w 254673"/>
                    <a:gd name="connsiteY40" fmla="*/ 108585 h 227192"/>
                    <a:gd name="connsiteX41" fmla="*/ 242057 w 254673"/>
                    <a:gd name="connsiteY41" fmla="*/ 89535 h 227192"/>
                    <a:gd name="connsiteX42" fmla="*/ 236342 w 254673"/>
                    <a:gd name="connsiteY42" fmla="*/ 85725 h 227192"/>
                    <a:gd name="connsiteX43" fmla="*/ 238247 w 254673"/>
                    <a:gd name="connsiteY43" fmla="*/ 80010 h 227192"/>
                    <a:gd name="connsiteX44" fmla="*/ 243962 w 254673"/>
                    <a:gd name="connsiteY44" fmla="*/ 78105 h 227192"/>
                    <a:gd name="connsiteX45" fmla="*/ 249677 w 254673"/>
                    <a:gd name="connsiteY45" fmla="*/ 74295 h 227192"/>
                    <a:gd name="connsiteX46" fmla="*/ 251582 w 254673"/>
                    <a:gd name="connsiteY46" fmla="*/ 24765 h 227192"/>
                    <a:gd name="connsiteX47" fmla="*/ 249677 w 254673"/>
                    <a:gd name="connsiteY47" fmla="*/ 19050 h 227192"/>
                    <a:gd name="connsiteX48" fmla="*/ 243962 w 254673"/>
                    <a:gd name="connsiteY48" fmla="*/ 15240 h 227192"/>
                    <a:gd name="connsiteX49" fmla="*/ 234437 w 254673"/>
                    <a:gd name="connsiteY49" fmla="*/ 3810 h 227192"/>
                    <a:gd name="connsiteX50" fmla="*/ 228722 w 254673"/>
                    <a:gd name="connsiteY50" fmla="*/ 0 h 227192"/>
                    <a:gd name="connsiteX51" fmla="*/ 217292 w 254673"/>
                    <a:gd name="connsiteY51" fmla="*/ 1905 h 227192"/>
                    <a:gd name="connsiteX52" fmla="*/ 213482 w 254673"/>
                    <a:gd name="connsiteY52" fmla="*/ 7620 h 227192"/>
                    <a:gd name="connsiteX53" fmla="*/ 207767 w 254673"/>
                    <a:gd name="connsiteY53" fmla="*/ 9525 h 227192"/>
                    <a:gd name="connsiteX54" fmla="*/ 203957 w 254673"/>
                    <a:gd name="connsiteY54" fmla="*/ 20955 h 227192"/>
                    <a:gd name="connsiteX55" fmla="*/ 202052 w 254673"/>
                    <a:gd name="connsiteY55" fmla="*/ 26670 h 227192"/>
                    <a:gd name="connsiteX56" fmla="*/ 200147 w 254673"/>
                    <a:gd name="connsiteY56" fmla="*/ 38100 h 227192"/>
                    <a:gd name="connsiteX57" fmla="*/ 205862 w 254673"/>
                    <a:gd name="connsiteY57" fmla="*/ 72390 h 227192"/>
                    <a:gd name="connsiteX58" fmla="*/ 213482 w 254673"/>
                    <a:gd name="connsiteY58" fmla="*/ 83820 h 227192"/>
                    <a:gd name="connsiteX59" fmla="*/ 217292 w 254673"/>
                    <a:gd name="connsiteY59" fmla="*/ 89535 h 227192"/>
                    <a:gd name="connsiteX60" fmla="*/ 215387 w 254673"/>
                    <a:gd name="connsiteY60" fmla="*/ 97155 h 227192"/>
                    <a:gd name="connsiteX61" fmla="*/ 203957 w 254673"/>
                    <a:gd name="connsiteY61" fmla="*/ 104775 h 227192"/>
                    <a:gd name="connsiteX62" fmla="*/ 198242 w 254673"/>
                    <a:gd name="connsiteY62" fmla="*/ 116205 h 227192"/>
                    <a:gd name="connsiteX63" fmla="*/ 196337 w 254673"/>
                    <a:gd name="connsiteY63" fmla="*/ 121920 h 227192"/>
                    <a:gd name="connsiteX64" fmla="*/ 190622 w 254673"/>
                    <a:gd name="connsiteY64" fmla="*/ 133350 h 227192"/>
                    <a:gd name="connsiteX65" fmla="*/ 183002 w 254673"/>
                    <a:gd name="connsiteY65" fmla="*/ 154305 h 227192"/>
                    <a:gd name="connsiteX66" fmla="*/ 175382 w 254673"/>
                    <a:gd name="connsiteY66" fmla="*/ 156210 h 227192"/>
                    <a:gd name="connsiteX67" fmla="*/ 169667 w 254673"/>
                    <a:gd name="connsiteY67" fmla="*/ 150495 h 227192"/>
                    <a:gd name="connsiteX68" fmla="*/ 167762 w 254673"/>
                    <a:gd name="connsiteY68" fmla="*/ 144780 h 227192"/>
                    <a:gd name="connsiteX69" fmla="*/ 156332 w 254673"/>
                    <a:gd name="connsiteY69" fmla="*/ 140970 h 227192"/>
                    <a:gd name="connsiteX70" fmla="*/ 150617 w 254673"/>
                    <a:gd name="connsiteY70" fmla="*/ 139065 h 227192"/>
                    <a:gd name="connsiteX71" fmla="*/ 139187 w 254673"/>
                    <a:gd name="connsiteY71" fmla="*/ 135255 h 227192"/>
                    <a:gd name="connsiteX72" fmla="*/ 133472 w 254673"/>
                    <a:gd name="connsiteY72" fmla="*/ 133350 h 227192"/>
                    <a:gd name="connsiteX73" fmla="*/ 122042 w 254673"/>
                    <a:gd name="connsiteY73" fmla="*/ 127635 h 227192"/>
                    <a:gd name="connsiteX74" fmla="*/ 89657 w 254673"/>
                    <a:gd name="connsiteY74" fmla="*/ 125730 h 227192"/>
                    <a:gd name="connsiteX75" fmla="*/ 78227 w 254673"/>
                    <a:gd name="connsiteY75" fmla="*/ 116205 h 227192"/>
                    <a:gd name="connsiteX76" fmla="*/ 76322 w 254673"/>
                    <a:gd name="connsiteY76" fmla="*/ 110490 h 227192"/>
                    <a:gd name="connsiteX77" fmla="*/ 72512 w 254673"/>
                    <a:gd name="connsiteY77" fmla="*/ 104775 h 227192"/>
                    <a:gd name="connsiteX78" fmla="*/ 68702 w 254673"/>
                    <a:gd name="connsiteY78" fmla="*/ 89535 h 227192"/>
                    <a:gd name="connsiteX79" fmla="*/ 62987 w 254673"/>
                    <a:gd name="connsiteY79" fmla="*/ 85725 h 227192"/>
                    <a:gd name="connsiteX80" fmla="*/ 53462 w 254673"/>
                    <a:gd name="connsiteY80" fmla="*/ 83820 h 227192"/>
                    <a:gd name="connsiteX81" fmla="*/ 47747 w 254673"/>
                    <a:gd name="connsiteY81" fmla="*/ 80010 h 227192"/>
                    <a:gd name="connsiteX82" fmla="*/ 42032 w 254673"/>
                    <a:gd name="connsiteY82" fmla="*/ 78105 h 227192"/>
                    <a:gd name="connsiteX83" fmla="*/ 34412 w 254673"/>
                    <a:gd name="connsiteY83" fmla="*/ 64770 h 227192"/>
                    <a:gd name="connsiteX84" fmla="*/ 30602 w 254673"/>
                    <a:gd name="connsiteY84" fmla="*/ 53340 h 227192"/>
                    <a:gd name="connsiteX85" fmla="*/ 34412 w 254673"/>
                    <a:gd name="connsiteY85" fmla="*/ 47625 h 227192"/>
                    <a:gd name="connsiteX86" fmla="*/ 32507 w 254673"/>
                    <a:gd name="connsiteY86" fmla="*/ 28575 h 227192"/>
                    <a:gd name="connsiteX87" fmla="*/ 30602 w 254673"/>
                    <a:gd name="connsiteY87" fmla="*/ 22860 h 227192"/>
                    <a:gd name="connsiteX88" fmla="*/ 36317 w 254673"/>
                    <a:gd name="connsiteY88" fmla="*/ 30480 h 227192"/>
                    <a:gd name="connsiteX0" fmla="*/ 30602 w 254673"/>
                    <a:gd name="connsiteY0" fmla="*/ 22860 h 227192"/>
                    <a:gd name="connsiteX1" fmla="*/ 36317 w 254673"/>
                    <a:gd name="connsiteY1" fmla="*/ 30480 h 227192"/>
                    <a:gd name="connsiteX2" fmla="*/ 21077 w 254673"/>
                    <a:gd name="connsiteY2" fmla="*/ 20955 h 227192"/>
                    <a:gd name="connsiteX3" fmla="*/ 2027 w 254673"/>
                    <a:gd name="connsiteY3" fmla="*/ 20955 h 227192"/>
                    <a:gd name="connsiteX4" fmla="*/ 122 w 254673"/>
                    <a:gd name="connsiteY4" fmla="*/ 26670 h 227192"/>
                    <a:gd name="connsiteX5" fmla="*/ 2027 w 254673"/>
                    <a:gd name="connsiteY5" fmla="*/ 47625 h 227192"/>
                    <a:gd name="connsiteX6" fmla="*/ 9647 w 254673"/>
                    <a:gd name="connsiteY6" fmla="*/ 59055 h 227192"/>
                    <a:gd name="connsiteX7" fmla="*/ 13457 w 254673"/>
                    <a:gd name="connsiteY7" fmla="*/ 70485 h 227192"/>
                    <a:gd name="connsiteX8" fmla="*/ 15362 w 254673"/>
                    <a:gd name="connsiteY8" fmla="*/ 99060 h 227192"/>
                    <a:gd name="connsiteX9" fmla="*/ 17267 w 254673"/>
                    <a:gd name="connsiteY9" fmla="*/ 104775 h 227192"/>
                    <a:gd name="connsiteX10" fmla="*/ 22982 w 254673"/>
                    <a:gd name="connsiteY10" fmla="*/ 108585 h 227192"/>
                    <a:gd name="connsiteX11" fmla="*/ 26792 w 254673"/>
                    <a:gd name="connsiteY11" fmla="*/ 114300 h 227192"/>
                    <a:gd name="connsiteX12" fmla="*/ 32507 w 254673"/>
                    <a:gd name="connsiteY12" fmla="*/ 118110 h 227192"/>
                    <a:gd name="connsiteX13" fmla="*/ 42032 w 254673"/>
                    <a:gd name="connsiteY13" fmla="*/ 131445 h 227192"/>
                    <a:gd name="connsiteX14" fmla="*/ 59177 w 254673"/>
                    <a:gd name="connsiteY14" fmla="*/ 133350 h 227192"/>
                    <a:gd name="connsiteX15" fmla="*/ 64892 w 254673"/>
                    <a:gd name="connsiteY15" fmla="*/ 180975 h 227192"/>
                    <a:gd name="connsiteX16" fmla="*/ 74417 w 254673"/>
                    <a:gd name="connsiteY16" fmla="*/ 188595 h 227192"/>
                    <a:gd name="connsiteX17" fmla="*/ 80132 w 254673"/>
                    <a:gd name="connsiteY17" fmla="*/ 192405 h 227192"/>
                    <a:gd name="connsiteX18" fmla="*/ 87752 w 254673"/>
                    <a:gd name="connsiteY18" fmla="*/ 201930 h 227192"/>
                    <a:gd name="connsiteX19" fmla="*/ 95372 w 254673"/>
                    <a:gd name="connsiteY19" fmla="*/ 213360 h 227192"/>
                    <a:gd name="connsiteX20" fmla="*/ 99182 w 254673"/>
                    <a:gd name="connsiteY20" fmla="*/ 219075 h 227192"/>
                    <a:gd name="connsiteX21" fmla="*/ 104897 w 254673"/>
                    <a:gd name="connsiteY21" fmla="*/ 220980 h 227192"/>
                    <a:gd name="connsiteX22" fmla="*/ 108707 w 254673"/>
                    <a:gd name="connsiteY22" fmla="*/ 226695 h 227192"/>
                    <a:gd name="connsiteX23" fmla="*/ 133472 w 254673"/>
                    <a:gd name="connsiteY23" fmla="*/ 222885 h 227192"/>
                    <a:gd name="connsiteX24" fmla="*/ 144902 w 254673"/>
                    <a:gd name="connsiteY24" fmla="*/ 211455 h 227192"/>
                    <a:gd name="connsiteX25" fmla="*/ 148712 w 254673"/>
                    <a:gd name="connsiteY25" fmla="*/ 205740 h 227192"/>
                    <a:gd name="connsiteX26" fmla="*/ 160142 w 254673"/>
                    <a:gd name="connsiteY26" fmla="*/ 201930 h 227192"/>
                    <a:gd name="connsiteX27" fmla="*/ 162047 w 254673"/>
                    <a:gd name="connsiteY27" fmla="*/ 196215 h 227192"/>
                    <a:gd name="connsiteX28" fmla="*/ 163952 w 254673"/>
                    <a:gd name="connsiteY28" fmla="*/ 184785 h 227192"/>
                    <a:gd name="connsiteX29" fmla="*/ 175382 w 254673"/>
                    <a:gd name="connsiteY29" fmla="*/ 180975 h 227192"/>
                    <a:gd name="connsiteX30" fmla="*/ 198242 w 254673"/>
                    <a:gd name="connsiteY30" fmla="*/ 182880 h 227192"/>
                    <a:gd name="connsiteX31" fmla="*/ 203957 w 254673"/>
                    <a:gd name="connsiteY31" fmla="*/ 186690 h 227192"/>
                    <a:gd name="connsiteX32" fmla="*/ 209672 w 254673"/>
                    <a:gd name="connsiteY32" fmla="*/ 188595 h 227192"/>
                    <a:gd name="connsiteX33" fmla="*/ 221102 w 254673"/>
                    <a:gd name="connsiteY33" fmla="*/ 186690 h 227192"/>
                    <a:gd name="connsiteX34" fmla="*/ 226817 w 254673"/>
                    <a:gd name="connsiteY34" fmla="*/ 182880 h 227192"/>
                    <a:gd name="connsiteX35" fmla="*/ 234437 w 254673"/>
                    <a:gd name="connsiteY35" fmla="*/ 165735 h 227192"/>
                    <a:gd name="connsiteX36" fmla="*/ 238247 w 254673"/>
                    <a:gd name="connsiteY36" fmla="*/ 154305 h 227192"/>
                    <a:gd name="connsiteX37" fmla="*/ 240152 w 254673"/>
                    <a:gd name="connsiteY37" fmla="*/ 148590 h 227192"/>
                    <a:gd name="connsiteX38" fmla="*/ 245867 w 254673"/>
                    <a:gd name="connsiteY38" fmla="*/ 120015 h 227192"/>
                    <a:gd name="connsiteX39" fmla="*/ 247772 w 254673"/>
                    <a:gd name="connsiteY39" fmla="*/ 114300 h 227192"/>
                    <a:gd name="connsiteX40" fmla="*/ 249677 w 254673"/>
                    <a:gd name="connsiteY40" fmla="*/ 108585 h 227192"/>
                    <a:gd name="connsiteX41" fmla="*/ 242057 w 254673"/>
                    <a:gd name="connsiteY41" fmla="*/ 89535 h 227192"/>
                    <a:gd name="connsiteX42" fmla="*/ 236342 w 254673"/>
                    <a:gd name="connsiteY42" fmla="*/ 85725 h 227192"/>
                    <a:gd name="connsiteX43" fmla="*/ 238247 w 254673"/>
                    <a:gd name="connsiteY43" fmla="*/ 80010 h 227192"/>
                    <a:gd name="connsiteX44" fmla="*/ 243962 w 254673"/>
                    <a:gd name="connsiteY44" fmla="*/ 78105 h 227192"/>
                    <a:gd name="connsiteX45" fmla="*/ 249677 w 254673"/>
                    <a:gd name="connsiteY45" fmla="*/ 74295 h 227192"/>
                    <a:gd name="connsiteX46" fmla="*/ 251582 w 254673"/>
                    <a:gd name="connsiteY46" fmla="*/ 24765 h 227192"/>
                    <a:gd name="connsiteX47" fmla="*/ 249677 w 254673"/>
                    <a:gd name="connsiteY47" fmla="*/ 19050 h 227192"/>
                    <a:gd name="connsiteX48" fmla="*/ 243962 w 254673"/>
                    <a:gd name="connsiteY48" fmla="*/ 15240 h 227192"/>
                    <a:gd name="connsiteX49" fmla="*/ 234437 w 254673"/>
                    <a:gd name="connsiteY49" fmla="*/ 3810 h 227192"/>
                    <a:gd name="connsiteX50" fmla="*/ 228722 w 254673"/>
                    <a:gd name="connsiteY50" fmla="*/ 0 h 227192"/>
                    <a:gd name="connsiteX51" fmla="*/ 217292 w 254673"/>
                    <a:gd name="connsiteY51" fmla="*/ 1905 h 227192"/>
                    <a:gd name="connsiteX52" fmla="*/ 213482 w 254673"/>
                    <a:gd name="connsiteY52" fmla="*/ 7620 h 227192"/>
                    <a:gd name="connsiteX53" fmla="*/ 207767 w 254673"/>
                    <a:gd name="connsiteY53" fmla="*/ 9525 h 227192"/>
                    <a:gd name="connsiteX54" fmla="*/ 203957 w 254673"/>
                    <a:gd name="connsiteY54" fmla="*/ 20955 h 227192"/>
                    <a:gd name="connsiteX55" fmla="*/ 202052 w 254673"/>
                    <a:gd name="connsiteY55" fmla="*/ 26670 h 227192"/>
                    <a:gd name="connsiteX56" fmla="*/ 200147 w 254673"/>
                    <a:gd name="connsiteY56" fmla="*/ 38100 h 227192"/>
                    <a:gd name="connsiteX57" fmla="*/ 205862 w 254673"/>
                    <a:gd name="connsiteY57" fmla="*/ 72390 h 227192"/>
                    <a:gd name="connsiteX58" fmla="*/ 213482 w 254673"/>
                    <a:gd name="connsiteY58" fmla="*/ 83820 h 227192"/>
                    <a:gd name="connsiteX59" fmla="*/ 217292 w 254673"/>
                    <a:gd name="connsiteY59" fmla="*/ 89535 h 227192"/>
                    <a:gd name="connsiteX60" fmla="*/ 215387 w 254673"/>
                    <a:gd name="connsiteY60" fmla="*/ 97155 h 227192"/>
                    <a:gd name="connsiteX61" fmla="*/ 203957 w 254673"/>
                    <a:gd name="connsiteY61" fmla="*/ 104775 h 227192"/>
                    <a:gd name="connsiteX62" fmla="*/ 198242 w 254673"/>
                    <a:gd name="connsiteY62" fmla="*/ 116205 h 227192"/>
                    <a:gd name="connsiteX63" fmla="*/ 196337 w 254673"/>
                    <a:gd name="connsiteY63" fmla="*/ 121920 h 227192"/>
                    <a:gd name="connsiteX64" fmla="*/ 190622 w 254673"/>
                    <a:gd name="connsiteY64" fmla="*/ 133350 h 227192"/>
                    <a:gd name="connsiteX65" fmla="*/ 183002 w 254673"/>
                    <a:gd name="connsiteY65" fmla="*/ 154305 h 227192"/>
                    <a:gd name="connsiteX66" fmla="*/ 175382 w 254673"/>
                    <a:gd name="connsiteY66" fmla="*/ 156210 h 227192"/>
                    <a:gd name="connsiteX67" fmla="*/ 169667 w 254673"/>
                    <a:gd name="connsiteY67" fmla="*/ 150495 h 227192"/>
                    <a:gd name="connsiteX68" fmla="*/ 167762 w 254673"/>
                    <a:gd name="connsiteY68" fmla="*/ 144780 h 227192"/>
                    <a:gd name="connsiteX69" fmla="*/ 156332 w 254673"/>
                    <a:gd name="connsiteY69" fmla="*/ 140970 h 227192"/>
                    <a:gd name="connsiteX70" fmla="*/ 150617 w 254673"/>
                    <a:gd name="connsiteY70" fmla="*/ 139065 h 227192"/>
                    <a:gd name="connsiteX71" fmla="*/ 139187 w 254673"/>
                    <a:gd name="connsiteY71" fmla="*/ 135255 h 227192"/>
                    <a:gd name="connsiteX72" fmla="*/ 133472 w 254673"/>
                    <a:gd name="connsiteY72" fmla="*/ 133350 h 227192"/>
                    <a:gd name="connsiteX73" fmla="*/ 122042 w 254673"/>
                    <a:gd name="connsiteY73" fmla="*/ 127635 h 227192"/>
                    <a:gd name="connsiteX74" fmla="*/ 89657 w 254673"/>
                    <a:gd name="connsiteY74" fmla="*/ 125730 h 227192"/>
                    <a:gd name="connsiteX75" fmla="*/ 78227 w 254673"/>
                    <a:gd name="connsiteY75" fmla="*/ 116205 h 227192"/>
                    <a:gd name="connsiteX76" fmla="*/ 76322 w 254673"/>
                    <a:gd name="connsiteY76" fmla="*/ 110490 h 227192"/>
                    <a:gd name="connsiteX77" fmla="*/ 72512 w 254673"/>
                    <a:gd name="connsiteY77" fmla="*/ 104775 h 227192"/>
                    <a:gd name="connsiteX78" fmla="*/ 68702 w 254673"/>
                    <a:gd name="connsiteY78" fmla="*/ 89535 h 227192"/>
                    <a:gd name="connsiteX79" fmla="*/ 62987 w 254673"/>
                    <a:gd name="connsiteY79" fmla="*/ 85725 h 227192"/>
                    <a:gd name="connsiteX80" fmla="*/ 53462 w 254673"/>
                    <a:gd name="connsiteY80" fmla="*/ 83820 h 227192"/>
                    <a:gd name="connsiteX81" fmla="*/ 47747 w 254673"/>
                    <a:gd name="connsiteY81" fmla="*/ 80010 h 227192"/>
                    <a:gd name="connsiteX82" fmla="*/ 42032 w 254673"/>
                    <a:gd name="connsiteY82" fmla="*/ 78105 h 227192"/>
                    <a:gd name="connsiteX83" fmla="*/ 34412 w 254673"/>
                    <a:gd name="connsiteY83" fmla="*/ 64770 h 227192"/>
                    <a:gd name="connsiteX84" fmla="*/ 30602 w 254673"/>
                    <a:gd name="connsiteY84" fmla="*/ 53340 h 227192"/>
                    <a:gd name="connsiteX85" fmla="*/ 34412 w 254673"/>
                    <a:gd name="connsiteY85" fmla="*/ 47625 h 227192"/>
                    <a:gd name="connsiteX86" fmla="*/ 32507 w 254673"/>
                    <a:gd name="connsiteY86" fmla="*/ 28575 h 227192"/>
                    <a:gd name="connsiteX87" fmla="*/ 30602 w 254673"/>
                    <a:gd name="connsiteY87" fmla="*/ 22860 h 227192"/>
                    <a:gd name="connsiteX0" fmla="*/ 32507 w 254673"/>
                    <a:gd name="connsiteY0" fmla="*/ 28575 h 227192"/>
                    <a:gd name="connsiteX1" fmla="*/ 36317 w 254673"/>
                    <a:gd name="connsiteY1" fmla="*/ 30480 h 227192"/>
                    <a:gd name="connsiteX2" fmla="*/ 21077 w 254673"/>
                    <a:gd name="connsiteY2" fmla="*/ 20955 h 227192"/>
                    <a:gd name="connsiteX3" fmla="*/ 2027 w 254673"/>
                    <a:gd name="connsiteY3" fmla="*/ 20955 h 227192"/>
                    <a:gd name="connsiteX4" fmla="*/ 122 w 254673"/>
                    <a:gd name="connsiteY4" fmla="*/ 26670 h 227192"/>
                    <a:gd name="connsiteX5" fmla="*/ 2027 w 254673"/>
                    <a:gd name="connsiteY5" fmla="*/ 47625 h 227192"/>
                    <a:gd name="connsiteX6" fmla="*/ 9647 w 254673"/>
                    <a:gd name="connsiteY6" fmla="*/ 59055 h 227192"/>
                    <a:gd name="connsiteX7" fmla="*/ 13457 w 254673"/>
                    <a:gd name="connsiteY7" fmla="*/ 70485 h 227192"/>
                    <a:gd name="connsiteX8" fmla="*/ 15362 w 254673"/>
                    <a:gd name="connsiteY8" fmla="*/ 99060 h 227192"/>
                    <a:gd name="connsiteX9" fmla="*/ 17267 w 254673"/>
                    <a:gd name="connsiteY9" fmla="*/ 104775 h 227192"/>
                    <a:gd name="connsiteX10" fmla="*/ 22982 w 254673"/>
                    <a:gd name="connsiteY10" fmla="*/ 108585 h 227192"/>
                    <a:gd name="connsiteX11" fmla="*/ 26792 w 254673"/>
                    <a:gd name="connsiteY11" fmla="*/ 114300 h 227192"/>
                    <a:gd name="connsiteX12" fmla="*/ 32507 w 254673"/>
                    <a:gd name="connsiteY12" fmla="*/ 118110 h 227192"/>
                    <a:gd name="connsiteX13" fmla="*/ 42032 w 254673"/>
                    <a:gd name="connsiteY13" fmla="*/ 131445 h 227192"/>
                    <a:gd name="connsiteX14" fmla="*/ 59177 w 254673"/>
                    <a:gd name="connsiteY14" fmla="*/ 133350 h 227192"/>
                    <a:gd name="connsiteX15" fmla="*/ 64892 w 254673"/>
                    <a:gd name="connsiteY15" fmla="*/ 180975 h 227192"/>
                    <a:gd name="connsiteX16" fmla="*/ 74417 w 254673"/>
                    <a:gd name="connsiteY16" fmla="*/ 188595 h 227192"/>
                    <a:gd name="connsiteX17" fmla="*/ 80132 w 254673"/>
                    <a:gd name="connsiteY17" fmla="*/ 192405 h 227192"/>
                    <a:gd name="connsiteX18" fmla="*/ 87752 w 254673"/>
                    <a:gd name="connsiteY18" fmla="*/ 201930 h 227192"/>
                    <a:gd name="connsiteX19" fmla="*/ 95372 w 254673"/>
                    <a:gd name="connsiteY19" fmla="*/ 213360 h 227192"/>
                    <a:gd name="connsiteX20" fmla="*/ 99182 w 254673"/>
                    <a:gd name="connsiteY20" fmla="*/ 219075 h 227192"/>
                    <a:gd name="connsiteX21" fmla="*/ 104897 w 254673"/>
                    <a:gd name="connsiteY21" fmla="*/ 220980 h 227192"/>
                    <a:gd name="connsiteX22" fmla="*/ 108707 w 254673"/>
                    <a:gd name="connsiteY22" fmla="*/ 226695 h 227192"/>
                    <a:gd name="connsiteX23" fmla="*/ 133472 w 254673"/>
                    <a:gd name="connsiteY23" fmla="*/ 222885 h 227192"/>
                    <a:gd name="connsiteX24" fmla="*/ 144902 w 254673"/>
                    <a:gd name="connsiteY24" fmla="*/ 211455 h 227192"/>
                    <a:gd name="connsiteX25" fmla="*/ 148712 w 254673"/>
                    <a:gd name="connsiteY25" fmla="*/ 205740 h 227192"/>
                    <a:gd name="connsiteX26" fmla="*/ 160142 w 254673"/>
                    <a:gd name="connsiteY26" fmla="*/ 201930 h 227192"/>
                    <a:gd name="connsiteX27" fmla="*/ 162047 w 254673"/>
                    <a:gd name="connsiteY27" fmla="*/ 196215 h 227192"/>
                    <a:gd name="connsiteX28" fmla="*/ 163952 w 254673"/>
                    <a:gd name="connsiteY28" fmla="*/ 184785 h 227192"/>
                    <a:gd name="connsiteX29" fmla="*/ 175382 w 254673"/>
                    <a:gd name="connsiteY29" fmla="*/ 180975 h 227192"/>
                    <a:gd name="connsiteX30" fmla="*/ 198242 w 254673"/>
                    <a:gd name="connsiteY30" fmla="*/ 182880 h 227192"/>
                    <a:gd name="connsiteX31" fmla="*/ 203957 w 254673"/>
                    <a:gd name="connsiteY31" fmla="*/ 186690 h 227192"/>
                    <a:gd name="connsiteX32" fmla="*/ 209672 w 254673"/>
                    <a:gd name="connsiteY32" fmla="*/ 188595 h 227192"/>
                    <a:gd name="connsiteX33" fmla="*/ 221102 w 254673"/>
                    <a:gd name="connsiteY33" fmla="*/ 186690 h 227192"/>
                    <a:gd name="connsiteX34" fmla="*/ 226817 w 254673"/>
                    <a:gd name="connsiteY34" fmla="*/ 182880 h 227192"/>
                    <a:gd name="connsiteX35" fmla="*/ 234437 w 254673"/>
                    <a:gd name="connsiteY35" fmla="*/ 165735 h 227192"/>
                    <a:gd name="connsiteX36" fmla="*/ 238247 w 254673"/>
                    <a:gd name="connsiteY36" fmla="*/ 154305 h 227192"/>
                    <a:gd name="connsiteX37" fmla="*/ 240152 w 254673"/>
                    <a:gd name="connsiteY37" fmla="*/ 148590 h 227192"/>
                    <a:gd name="connsiteX38" fmla="*/ 245867 w 254673"/>
                    <a:gd name="connsiteY38" fmla="*/ 120015 h 227192"/>
                    <a:gd name="connsiteX39" fmla="*/ 247772 w 254673"/>
                    <a:gd name="connsiteY39" fmla="*/ 114300 h 227192"/>
                    <a:gd name="connsiteX40" fmla="*/ 249677 w 254673"/>
                    <a:gd name="connsiteY40" fmla="*/ 108585 h 227192"/>
                    <a:gd name="connsiteX41" fmla="*/ 242057 w 254673"/>
                    <a:gd name="connsiteY41" fmla="*/ 89535 h 227192"/>
                    <a:gd name="connsiteX42" fmla="*/ 236342 w 254673"/>
                    <a:gd name="connsiteY42" fmla="*/ 85725 h 227192"/>
                    <a:gd name="connsiteX43" fmla="*/ 238247 w 254673"/>
                    <a:gd name="connsiteY43" fmla="*/ 80010 h 227192"/>
                    <a:gd name="connsiteX44" fmla="*/ 243962 w 254673"/>
                    <a:gd name="connsiteY44" fmla="*/ 78105 h 227192"/>
                    <a:gd name="connsiteX45" fmla="*/ 249677 w 254673"/>
                    <a:gd name="connsiteY45" fmla="*/ 74295 h 227192"/>
                    <a:gd name="connsiteX46" fmla="*/ 251582 w 254673"/>
                    <a:gd name="connsiteY46" fmla="*/ 24765 h 227192"/>
                    <a:gd name="connsiteX47" fmla="*/ 249677 w 254673"/>
                    <a:gd name="connsiteY47" fmla="*/ 19050 h 227192"/>
                    <a:gd name="connsiteX48" fmla="*/ 243962 w 254673"/>
                    <a:gd name="connsiteY48" fmla="*/ 15240 h 227192"/>
                    <a:gd name="connsiteX49" fmla="*/ 234437 w 254673"/>
                    <a:gd name="connsiteY49" fmla="*/ 3810 h 227192"/>
                    <a:gd name="connsiteX50" fmla="*/ 228722 w 254673"/>
                    <a:gd name="connsiteY50" fmla="*/ 0 h 227192"/>
                    <a:gd name="connsiteX51" fmla="*/ 217292 w 254673"/>
                    <a:gd name="connsiteY51" fmla="*/ 1905 h 227192"/>
                    <a:gd name="connsiteX52" fmla="*/ 213482 w 254673"/>
                    <a:gd name="connsiteY52" fmla="*/ 7620 h 227192"/>
                    <a:gd name="connsiteX53" fmla="*/ 207767 w 254673"/>
                    <a:gd name="connsiteY53" fmla="*/ 9525 h 227192"/>
                    <a:gd name="connsiteX54" fmla="*/ 203957 w 254673"/>
                    <a:gd name="connsiteY54" fmla="*/ 20955 h 227192"/>
                    <a:gd name="connsiteX55" fmla="*/ 202052 w 254673"/>
                    <a:gd name="connsiteY55" fmla="*/ 26670 h 227192"/>
                    <a:gd name="connsiteX56" fmla="*/ 200147 w 254673"/>
                    <a:gd name="connsiteY56" fmla="*/ 38100 h 227192"/>
                    <a:gd name="connsiteX57" fmla="*/ 205862 w 254673"/>
                    <a:gd name="connsiteY57" fmla="*/ 72390 h 227192"/>
                    <a:gd name="connsiteX58" fmla="*/ 213482 w 254673"/>
                    <a:gd name="connsiteY58" fmla="*/ 83820 h 227192"/>
                    <a:gd name="connsiteX59" fmla="*/ 217292 w 254673"/>
                    <a:gd name="connsiteY59" fmla="*/ 89535 h 227192"/>
                    <a:gd name="connsiteX60" fmla="*/ 215387 w 254673"/>
                    <a:gd name="connsiteY60" fmla="*/ 97155 h 227192"/>
                    <a:gd name="connsiteX61" fmla="*/ 203957 w 254673"/>
                    <a:gd name="connsiteY61" fmla="*/ 104775 h 227192"/>
                    <a:gd name="connsiteX62" fmla="*/ 198242 w 254673"/>
                    <a:gd name="connsiteY62" fmla="*/ 116205 h 227192"/>
                    <a:gd name="connsiteX63" fmla="*/ 196337 w 254673"/>
                    <a:gd name="connsiteY63" fmla="*/ 121920 h 227192"/>
                    <a:gd name="connsiteX64" fmla="*/ 190622 w 254673"/>
                    <a:gd name="connsiteY64" fmla="*/ 133350 h 227192"/>
                    <a:gd name="connsiteX65" fmla="*/ 183002 w 254673"/>
                    <a:gd name="connsiteY65" fmla="*/ 154305 h 227192"/>
                    <a:gd name="connsiteX66" fmla="*/ 175382 w 254673"/>
                    <a:gd name="connsiteY66" fmla="*/ 156210 h 227192"/>
                    <a:gd name="connsiteX67" fmla="*/ 169667 w 254673"/>
                    <a:gd name="connsiteY67" fmla="*/ 150495 h 227192"/>
                    <a:gd name="connsiteX68" fmla="*/ 167762 w 254673"/>
                    <a:gd name="connsiteY68" fmla="*/ 144780 h 227192"/>
                    <a:gd name="connsiteX69" fmla="*/ 156332 w 254673"/>
                    <a:gd name="connsiteY69" fmla="*/ 140970 h 227192"/>
                    <a:gd name="connsiteX70" fmla="*/ 150617 w 254673"/>
                    <a:gd name="connsiteY70" fmla="*/ 139065 h 227192"/>
                    <a:gd name="connsiteX71" fmla="*/ 139187 w 254673"/>
                    <a:gd name="connsiteY71" fmla="*/ 135255 h 227192"/>
                    <a:gd name="connsiteX72" fmla="*/ 133472 w 254673"/>
                    <a:gd name="connsiteY72" fmla="*/ 133350 h 227192"/>
                    <a:gd name="connsiteX73" fmla="*/ 122042 w 254673"/>
                    <a:gd name="connsiteY73" fmla="*/ 127635 h 227192"/>
                    <a:gd name="connsiteX74" fmla="*/ 89657 w 254673"/>
                    <a:gd name="connsiteY74" fmla="*/ 125730 h 227192"/>
                    <a:gd name="connsiteX75" fmla="*/ 78227 w 254673"/>
                    <a:gd name="connsiteY75" fmla="*/ 116205 h 227192"/>
                    <a:gd name="connsiteX76" fmla="*/ 76322 w 254673"/>
                    <a:gd name="connsiteY76" fmla="*/ 110490 h 227192"/>
                    <a:gd name="connsiteX77" fmla="*/ 72512 w 254673"/>
                    <a:gd name="connsiteY77" fmla="*/ 104775 h 227192"/>
                    <a:gd name="connsiteX78" fmla="*/ 68702 w 254673"/>
                    <a:gd name="connsiteY78" fmla="*/ 89535 h 227192"/>
                    <a:gd name="connsiteX79" fmla="*/ 62987 w 254673"/>
                    <a:gd name="connsiteY79" fmla="*/ 85725 h 227192"/>
                    <a:gd name="connsiteX80" fmla="*/ 53462 w 254673"/>
                    <a:gd name="connsiteY80" fmla="*/ 83820 h 227192"/>
                    <a:gd name="connsiteX81" fmla="*/ 47747 w 254673"/>
                    <a:gd name="connsiteY81" fmla="*/ 80010 h 227192"/>
                    <a:gd name="connsiteX82" fmla="*/ 42032 w 254673"/>
                    <a:gd name="connsiteY82" fmla="*/ 78105 h 227192"/>
                    <a:gd name="connsiteX83" fmla="*/ 34412 w 254673"/>
                    <a:gd name="connsiteY83" fmla="*/ 64770 h 227192"/>
                    <a:gd name="connsiteX84" fmla="*/ 30602 w 254673"/>
                    <a:gd name="connsiteY84" fmla="*/ 53340 h 227192"/>
                    <a:gd name="connsiteX85" fmla="*/ 34412 w 254673"/>
                    <a:gd name="connsiteY85" fmla="*/ 47625 h 227192"/>
                    <a:gd name="connsiteX86" fmla="*/ 32507 w 254673"/>
                    <a:gd name="connsiteY86" fmla="*/ 28575 h 227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</a:cxnLst>
                  <a:rect l="l" t="t" r="r" b="b"/>
                  <a:pathLst>
                    <a:path w="254673" h="227192">
                      <a:moveTo>
                        <a:pt x="32507" y="28575"/>
                      </a:moveTo>
                      <a:cubicBezTo>
                        <a:pt x="32825" y="25718"/>
                        <a:pt x="38222" y="31750"/>
                        <a:pt x="36317" y="30480"/>
                      </a:cubicBezTo>
                      <a:cubicBezTo>
                        <a:pt x="34412" y="29210"/>
                        <a:pt x="26792" y="22543"/>
                        <a:pt x="21077" y="20955"/>
                      </a:cubicBezTo>
                      <a:cubicBezTo>
                        <a:pt x="15362" y="19368"/>
                        <a:pt x="5519" y="20003"/>
                        <a:pt x="2027" y="20955"/>
                      </a:cubicBezTo>
                      <a:cubicBezTo>
                        <a:pt x="-1465" y="21907"/>
                        <a:pt x="757" y="24765"/>
                        <a:pt x="122" y="26670"/>
                      </a:cubicBezTo>
                      <a:cubicBezTo>
                        <a:pt x="757" y="33655"/>
                        <a:pt x="48" y="40896"/>
                        <a:pt x="2027" y="47625"/>
                      </a:cubicBezTo>
                      <a:cubicBezTo>
                        <a:pt x="3319" y="52018"/>
                        <a:pt x="8199" y="54711"/>
                        <a:pt x="9647" y="59055"/>
                      </a:cubicBezTo>
                      <a:lnTo>
                        <a:pt x="13457" y="70485"/>
                      </a:lnTo>
                      <a:cubicBezTo>
                        <a:pt x="14092" y="80010"/>
                        <a:pt x="14308" y="89572"/>
                        <a:pt x="15362" y="99060"/>
                      </a:cubicBezTo>
                      <a:cubicBezTo>
                        <a:pt x="15584" y="101056"/>
                        <a:pt x="16013" y="103207"/>
                        <a:pt x="17267" y="104775"/>
                      </a:cubicBezTo>
                      <a:cubicBezTo>
                        <a:pt x="18697" y="106563"/>
                        <a:pt x="21077" y="107315"/>
                        <a:pt x="22982" y="108585"/>
                      </a:cubicBezTo>
                      <a:cubicBezTo>
                        <a:pt x="24252" y="110490"/>
                        <a:pt x="25173" y="112681"/>
                        <a:pt x="26792" y="114300"/>
                      </a:cubicBezTo>
                      <a:cubicBezTo>
                        <a:pt x="28411" y="115919"/>
                        <a:pt x="31294" y="116168"/>
                        <a:pt x="32507" y="118110"/>
                      </a:cubicBezTo>
                      <a:cubicBezTo>
                        <a:pt x="39079" y="128624"/>
                        <a:pt x="31444" y="129680"/>
                        <a:pt x="42032" y="131445"/>
                      </a:cubicBezTo>
                      <a:cubicBezTo>
                        <a:pt x="47704" y="132390"/>
                        <a:pt x="53462" y="132715"/>
                        <a:pt x="59177" y="133350"/>
                      </a:cubicBezTo>
                      <a:cubicBezTo>
                        <a:pt x="71402" y="151687"/>
                        <a:pt x="58865" y="130751"/>
                        <a:pt x="64892" y="180975"/>
                      </a:cubicBezTo>
                      <a:cubicBezTo>
                        <a:pt x="65712" y="187808"/>
                        <a:pt x="70129" y="186451"/>
                        <a:pt x="74417" y="188595"/>
                      </a:cubicBezTo>
                      <a:cubicBezTo>
                        <a:pt x="76465" y="189619"/>
                        <a:pt x="78227" y="191135"/>
                        <a:pt x="80132" y="192405"/>
                      </a:cubicBezTo>
                      <a:cubicBezTo>
                        <a:pt x="84422" y="205275"/>
                        <a:pt x="78472" y="191325"/>
                        <a:pt x="87752" y="201930"/>
                      </a:cubicBezTo>
                      <a:cubicBezTo>
                        <a:pt x="90767" y="205376"/>
                        <a:pt x="92832" y="209550"/>
                        <a:pt x="95372" y="213360"/>
                      </a:cubicBezTo>
                      <a:cubicBezTo>
                        <a:pt x="96642" y="215265"/>
                        <a:pt x="97010" y="218351"/>
                        <a:pt x="99182" y="219075"/>
                      </a:cubicBezTo>
                      <a:lnTo>
                        <a:pt x="104897" y="220980"/>
                      </a:lnTo>
                      <a:cubicBezTo>
                        <a:pt x="106167" y="222885"/>
                        <a:pt x="106449" y="226319"/>
                        <a:pt x="108707" y="226695"/>
                      </a:cubicBezTo>
                      <a:cubicBezTo>
                        <a:pt x="118529" y="228332"/>
                        <a:pt x="125235" y="225631"/>
                        <a:pt x="133472" y="222885"/>
                      </a:cubicBezTo>
                      <a:cubicBezTo>
                        <a:pt x="137282" y="219075"/>
                        <a:pt x="141913" y="215938"/>
                        <a:pt x="144902" y="211455"/>
                      </a:cubicBezTo>
                      <a:cubicBezTo>
                        <a:pt x="146172" y="209550"/>
                        <a:pt x="146770" y="206953"/>
                        <a:pt x="148712" y="205740"/>
                      </a:cubicBezTo>
                      <a:cubicBezTo>
                        <a:pt x="152118" y="203611"/>
                        <a:pt x="160142" y="201930"/>
                        <a:pt x="160142" y="201930"/>
                      </a:cubicBezTo>
                      <a:cubicBezTo>
                        <a:pt x="160777" y="200025"/>
                        <a:pt x="161611" y="198175"/>
                        <a:pt x="162047" y="196215"/>
                      </a:cubicBezTo>
                      <a:cubicBezTo>
                        <a:pt x="162885" y="192444"/>
                        <a:pt x="161408" y="187692"/>
                        <a:pt x="163952" y="184785"/>
                      </a:cubicBezTo>
                      <a:cubicBezTo>
                        <a:pt x="166597" y="181763"/>
                        <a:pt x="175382" y="180975"/>
                        <a:pt x="175382" y="180975"/>
                      </a:cubicBezTo>
                      <a:cubicBezTo>
                        <a:pt x="183002" y="181610"/>
                        <a:pt x="190744" y="181380"/>
                        <a:pt x="198242" y="182880"/>
                      </a:cubicBezTo>
                      <a:cubicBezTo>
                        <a:pt x="200487" y="183329"/>
                        <a:pt x="201909" y="185666"/>
                        <a:pt x="203957" y="186690"/>
                      </a:cubicBezTo>
                      <a:cubicBezTo>
                        <a:pt x="205753" y="187588"/>
                        <a:pt x="207767" y="187960"/>
                        <a:pt x="209672" y="188595"/>
                      </a:cubicBezTo>
                      <a:cubicBezTo>
                        <a:pt x="213482" y="187960"/>
                        <a:pt x="217438" y="187911"/>
                        <a:pt x="221102" y="186690"/>
                      </a:cubicBezTo>
                      <a:cubicBezTo>
                        <a:pt x="223274" y="185966"/>
                        <a:pt x="225198" y="184499"/>
                        <a:pt x="226817" y="182880"/>
                      </a:cubicBezTo>
                      <a:cubicBezTo>
                        <a:pt x="231345" y="178352"/>
                        <a:pt x="232551" y="171394"/>
                        <a:pt x="234437" y="165735"/>
                      </a:cubicBezTo>
                      <a:lnTo>
                        <a:pt x="238247" y="154305"/>
                      </a:lnTo>
                      <a:lnTo>
                        <a:pt x="240152" y="148590"/>
                      </a:lnTo>
                      <a:cubicBezTo>
                        <a:pt x="242501" y="127453"/>
                        <a:pt x="240239" y="136900"/>
                        <a:pt x="245867" y="120015"/>
                      </a:cubicBezTo>
                      <a:lnTo>
                        <a:pt x="247772" y="114300"/>
                      </a:lnTo>
                      <a:lnTo>
                        <a:pt x="249677" y="108585"/>
                      </a:lnTo>
                      <a:cubicBezTo>
                        <a:pt x="248493" y="105032"/>
                        <a:pt x="245171" y="93272"/>
                        <a:pt x="242057" y="89535"/>
                      </a:cubicBezTo>
                      <a:cubicBezTo>
                        <a:pt x="240591" y="87776"/>
                        <a:pt x="238247" y="86995"/>
                        <a:pt x="236342" y="85725"/>
                      </a:cubicBezTo>
                      <a:cubicBezTo>
                        <a:pt x="236977" y="83820"/>
                        <a:pt x="236827" y="81430"/>
                        <a:pt x="238247" y="80010"/>
                      </a:cubicBezTo>
                      <a:cubicBezTo>
                        <a:pt x="239667" y="78590"/>
                        <a:pt x="242166" y="79003"/>
                        <a:pt x="243962" y="78105"/>
                      </a:cubicBezTo>
                      <a:cubicBezTo>
                        <a:pt x="246010" y="77081"/>
                        <a:pt x="247772" y="75565"/>
                        <a:pt x="249677" y="74295"/>
                      </a:cubicBezTo>
                      <a:cubicBezTo>
                        <a:pt x="257118" y="51971"/>
                        <a:pt x="254922" y="63173"/>
                        <a:pt x="251582" y="24765"/>
                      </a:cubicBezTo>
                      <a:cubicBezTo>
                        <a:pt x="251408" y="22765"/>
                        <a:pt x="250931" y="20618"/>
                        <a:pt x="249677" y="19050"/>
                      </a:cubicBezTo>
                      <a:cubicBezTo>
                        <a:pt x="248247" y="17262"/>
                        <a:pt x="245867" y="16510"/>
                        <a:pt x="243962" y="15240"/>
                      </a:cubicBezTo>
                      <a:cubicBezTo>
                        <a:pt x="240216" y="9621"/>
                        <a:pt x="239937" y="8394"/>
                        <a:pt x="234437" y="3810"/>
                      </a:cubicBezTo>
                      <a:cubicBezTo>
                        <a:pt x="232678" y="2344"/>
                        <a:pt x="230627" y="1270"/>
                        <a:pt x="228722" y="0"/>
                      </a:cubicBezTo>
                      <a:cubicBezTo>
                        <a:pt x="224912" y="635"/>
                        <a:pt x="220747" y="178"/>
                        <a:pt x="217292" y="1905"/>
                      </a:cubicBezTo>
                      <a:cubicBezTo>
                        <a:pt x="215244" y="2929"/>
                        <a:pt x="215270" y="6190"/>
                        <a:pt x="213482" y="7620"/>
                      </a:cubicBezTo>
                      <a:cubicBezTo>
                        <a:pt x="211914" y="8874"/>
                        <a:pt x="209672" y="8890"/>
                        <a:pt x="207767" y="9525"/>
                      </a:cubicBezTo>
                      <a:lnTo>
                        <a:pt x="203957" y="20955"/>
                      </a:lnTo>
                      <a:cubicBezTo>
                        <a:pt x="203322" y="22860"/>
                        <a:pt x="202382" y="24689"/>
                        <a:pt x="202052" y="26670"/>
                      </a:cubicBezTo>
                      <a:lnTo>
                        <a:pt x="200147" y="38100"/>
                      </a:lnTo>
                      <a:cubicBezTo>
                        <a:pt x="200692" y="44635"/>
                        <a:pt x="200524" y="64383"/>
                        <a:pt x="205862" y="72390"/>
                      </a:cubicBezTo>
                      <a:lnTo>
                        <a:pt x="213482" y="83820"/>
                      </a:lnTo>
                      <a:lnTo>
                        <a:pt x="217292" y="89535"/>
                      </a:lnTo>
                      <a:cubicBezTo>
                        <a:pt x="216657" y="92075"/>
                        <a:pt x="217111" y="95185"/>
                        <a:pt x="215387" y="97155"/>
                      </a:cubicBezTo>
                      <a:cubicBezTo>
                        <a:pt x="212372" y="100601"/>
                        <a:pt x="203957" y="104775"/>
                        <a:pt x="203957" y="104775"/>
                      </a:cubicBezTo>
                      <a:cubicBezTo>
                        <a:pt x="199169" y="119140"/>
                        <a:pt x="205628" y="101433"/>
                        <a:pt x="198242" y="116205"/>
                      </a:cubicBezTo>
                      <a:cubicBezTo>
                        <a:pt x="197344" y="118001"/>
                        <a:pt x="197235" y="120124"/>
                        <a:pt x="196337" y="121920"/>
                      </a:cubicBezTo>
                      <a:cubicBezTo>
                        <a:pt x="188951" y="136692"/>
                        <a:pt x="195410" y="118985"/>
                        <a:pt x="190622" y="133350"/>
                      </a:cubicBezTo>
                      <a:cubicBezTo>
                        <a:pt x="189197" y="146178"/>
                        <a:pt x="193210" y="149930"/>
                        <a:pt x="183002" y="154305"/>
                      </a:cubicBezTo>
                      <a:cubicBezTo>
                        <a:pt x="180596" y="155336"/>
                        <a:pt x="177922" y="155575"/>
                        <a:pt x="175382" y="156210"/>
                      </a:cubicBezTo>
                      <a:cubicBezTo>
                        <a:pt x="173477" y="154305"/>
                        <a:pt x="171161" y="152737"/>
                        <a:pt x="169667" y="150495"/>
                      </a:cubicBezTo>
                      <a:cubicBezTo>
                        <a:pt x="168553" y="148824"/>
                        <a:pt x="169396" y="145947"/>
                        <a:pt x="167762" y="144780"/>
                      </a:cubicBezTo>
                      <a:cubicBezTo>
                        <a:pt x="164494" y="142446"/>
                        <a:pt x="160142" y="142240"/>
                        <a:pt x="156332" y="140970"/>
                      </a:cubicBezTo>
                      <a:lnTo>
                        <a:pt x="150617" y="139065"/>
                      </a:lnTo>
                      <a:lnTo>
                        <a:pt x="139187" y="135255"/>
                      </a:lnTo>
                      <a:cubicBezTo>
                        <a:pt x="137282" y="134620"/>
                        <a:pt x="135143" y="134464"/>
                        <a:pt x="133472" y="133350"/>
                      </a:cubicBezTo>
                      <a:cubicBezTo>
                        <a:pt x="129789" y="130895"/>
                        <a:pt x="126681" y="128099"/>
                        <a:pt x="122042" y="127635"/>
                      </a:cubicBezTo>
                      <a:cubicBezTo>
                        <a:pt x="111282" y="126559"/>
                        <a:pt x="100452" y="126365"/>
                        <a:pt x="89657" y="125730"/>
                      </a:cubicBezTo>
                      <a:cubicBezTo>
                        <a:pt x="85440" y="122919"/>
                        <a:pt x="81161" y="120605"/>
                        <a:pt x="78227" y="116205"/>
                      </a:cubicBezTo>
                      <a:cubicBezTo>
                        <a:pt x="77113" y="114534"/>
                        <a:pt x="77220" y="112286"/>
                        <a:pt x="76322" y="110490"/>
                      </a:cubicBezTo>
                      <a:cubicBezTo>
                        <a:pt x="75298" y="108442"/>
                        <a:pt x="73782" y="106680"/>
                        <a:pt x="72512" y="104775"/>
                      </a:cubicBezTo>
                      <a:cubicBezTo>
                        <a:pt x="72417" y="104301"/>
                        <a:pt x="70264" y="91488"/>
                        <a:pt x="68702" y="89535"/>
                      </a:cubicBezTo>
                      <a:cubicBezTo>
                        <a:pt x="67272" y="87747"/>
                        <a:pt x="65131" y="86529"/>
                        <a:pt x="62987" y="85725"/>
                      </a:cubicBezTo>
                      <a:cubicBezTo>
                        <a:pt x="59955" y="84588"/>
                        <a:pt x="56637" y="84455"/>
                        <a:pt x="53462" y="83820"/>
                      </a:cubicBezTo>
                      <a:cubicBezTo>
                        <a:pt x="51557" y="82550"/>
                        <a:pt x="49795" y="81034"/>
                        <a:pt x="47747" y="80010"/>
                      </a:cubicBezTo>
                      <a:cubicBezTo>
                        <a:pt x="45951" y="79112"/>
                        <a:pt x="43600" y="79359"/>
                        <a:pt x="42032" y="78105"/>
                      </a:cubicBezTo>
                      <a:cubicBezTo>
                        <a:pt x="40010" y="76488"/>
                        <a:pt x="35074" y="66424"/>
                        <a:pt x="34412" y="64770"/>
                      </a:cubicBezTo>
                      <a:cubicBezTo>
                        <a:pt x="32920" y="61041"/>
                        <a:pt x="30602" y="53340"/>
                        <a:pt x="30602" y="53340"/>
                      </a:cubicBezTo>
                      <a:cubicBezTo>
                        <a:pt x="31872" y="51435"/>
                        <a:pt x="34236" y="49908"/>
                        <a:pt x="34412" y="47625"/>
                      </a:cubicBezTo>
                      <a:cubicBezTo>
                        <a:pt x="34901" y="41262"/>
                        <a:pt x="33477" y="34882"/>
                        <a:pt x="32507" y="28575"/>
                      </a:cubicBezTo>
                      <a:close/>
                    </a:path>
                  </a:pathLst>
                </a:custGeom>
                <a:solidFill>
                  <a:srgbClr val="9E6AAF">
                    <a:alpha val="72941"/>
                  </a:srgbClr>
                </a:solidFill>
                <a:ln w="19050" cap="flat" cmpd="sng" algn="ctr">
                  <a:solidFill>
                    <a:srgbClr val="7F5292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5783">
                    <a:defRPr/>
                  </a:pPr>
                  <a:endParaRPr lang="en-US" sz="1000" kern="0">
                    <a:solidFill>
                      <a:srgbClr val="FFFFFF"/>
                    </a:solidFill>
                    <a:latin typeface="Arial" panose="020B0604020202020204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466" name="Group 1465">
                <a:extLst>
                  <a:ext uri="{FF2B5EF4-FFF2-40B4-BE49-F238E27FC236}">
                    <a16:creationId xmlns:a16="http://schemas.microsoft.com/office/drawing/2014/main" id="{CF1D2438-E75A-69F6-7C4D-AA6E649F6BB9}"/>
                  </a:ext>
                </a:extLst>
              </p:cNvPr>
              <p:cNvGrpSpPr/>
              <p:nvPr/>
            </p:nvGrpSpPr>
            <p:grpSpPr>
              <a:xfrm rot="4790200">
                <a:off x="4123401" y="5217741"/>
                <a:ext cx="86099" cy="96938"/>
                <a:chOff x="3390226" y="902644"/>
                <a:chExt cx="294782" cy="292335"/>
              </a:xfrm>
            </p:grpSpPr>
            <p:grpSp>
              <p:nvGrpSpPr>
                <p:cNvPr id="1467" name="Group 1466">
                  <a:extLst>
                    <a:ext uri="{FF2B5EF4-FFF2-40B4-BE49-F238E27FC236}">
                      <a16:creationId xmlns:a16="http://schemas.microsoft.com/office/drawing/2014/main" id="{1D7369C8-EC8E-83EE-71FA-19FDD7C72548}"/>
                    </a:ext>
                  </a:extLst>
                </p:cNvPr>
                <p:cNvGrpSpPr/>
                <p:nvPr/>
              </p:nvGrpSpPr>
              <p:grpSpPr>
                <a:xfrm>
                  <a:off x="3390226" y="902644"/>
                  <a:ext cx="294782" cy="292335"/>
                  <a:chOff x="3390226" y="902644"/>
                  <a:chExt cx="294782" cy="292335"/>
                </a:xfrm>
              </p:grpSpPr>
              <p:sp>
                <p:nvSpPr>
                  <p:cNvPr id="1469" name="Oval 1468">
                    <a:extLst>
                      <a:ext uri="{FF2B5EF4-FFF2-40B4-BE49-F238E27FC236}">
                        <a16:creationId xmlns:a16="http://schemas.microsoft.com/office/drawing/2014/main" id="{3A7E052F-5600-A7D7-9F1F-9F3488BC8CD6}"/>
                      </a:ext>
                    </a:extLst>
                  </p:cNvPr>
                  <p:cNvSpPr/>
                  <p:nvPr/>
                </p:nvSpPr>
                <p:spPr>
                  <a:xfrm rot="4711444">
                    <a:off x="3391449" y="901421"/>
                    <a:ext cx="292335" cy="294782"/>
                  </a:xfrm>
                  <a:prstGeom prst="ellipse">
                    <a:avLst/>
                  </a:prstGeom>
                  <a:solidFill>
                    <a:srgbClr val="FF2B28">
                      <a:lumMod val="20000"/>
                      <a:lumOff val="80000"/>
                    </a:srgbClr>
                  </a:solidFill>
                  <a:ln w="15875" cap="flat" cmpd="sng" algn="ctr">
                    <a:solidFill>
                      <a:srgbClr val="CC95BC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5783">
                      <a:defRPr/>
                    </a:pPr>
                    <a:endParaRPr lang="en-US" sz="1000" kern="0">
                      <a:solidFill>
                        <a:srgbClr val="FFFFFF"/>
                      </a:solidFill>
                      <a:latin typeface="Arial" panose="020B0604020202020204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1470" name="Group 1469">
                    <a:extLst>
                      <a:ext uri="{FF2B5EF4-FFF2-40B4-BE49-F238E27FC236}">
                        <a16:creationId xmlns:a16="http://schemas.microsoft.com/office/drawing/2014/main" id="{159D6719-1B8F-7FC9-60C7-D338F442021E}"/>
                      </a:ext>
                    </a:extLst>
                  </p:cNvPr>
                  <p:cNvGrpSpPr/>
                  <p:nvPr/>
                </p:nvGrpSpPr>
                <p:grpSpPr>
                  <a:xfrm rot="4711444">
                    <a:off x="3413226" y="963115"/>
                    <a:ext cx="164790" cy="149511"/>
                    <a:chOff x="8770428" y="4145225"/>
                    <a:chExt cx="307647" cy="276804"/>
                  </a:xfrm>
                </p:grpSpPr>
                <p:sp>
                  <p:nvSpPr>
                    <p:cNvPr id="1521" name="Freeform: Shape 474">
                      <a:extLst>
                        <a:ext uri="{FF2B5EF4-FFF2-40B4-BE49-F238E27FC236}">
                          <a16:creationId xmlns:a16="http://schemas.microsoft.com/office/drawing/2014/main" id="{564A37CD-674C-1564-40D5-A665619BC31E}"/>
                        </a:ext>
                      </a:extLst>
                    </p:cNvPr>
                    <p:cNvSpPr/>
                    <p:nvPr/>
                  </p:nvSpPr>
                  <p:spPr>
                    <a:xfrm rot="5813516">
                      <a:off x="8823930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22" name="Freeform: Shape 475">
                      <a:extLst>
                        <a:ext uri="{FF2B5EF4-FFF2-40B4-BE49-F238E27FC236}">
                          <a16:creationId xmlns:a16="http://schemas.microsoft.com/office/drawing/2014/main" id="{5686E0AE-682E-2BCC-7C79-8FD3E3E3601A}"/>
                        </a:ext>
                      </a:extLst>
                    </p:cNvPr>
                    <p:cNvSpPr/>
                    <p:nvPr/>
                  </p:nvSpPr>
                  <p:spPr>
                    <a:xfrm rot="6799576">
                      <a:off x="8855933" y="4253069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23" name="Freeform: Shape 476">
                      <a:extLst>
                        <a:ext uri="{FF2B5EF4-FFF2-40B4-BE49-F238E27FC236}">
                          <a16:creationId xmlns:a16="http://schemas.microsoft.com/office/drawing/2014/main" id="{F6B6F5A4-D37E-8E94-B9C2-7835D608B36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50061" y="4188172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24" name="Freeform: Shape 477">
                      <a:extLst>
                        <a:ext uri="{FF2B5EF4-FFF2-40B4-BE49-F238E27FC236}">
                          <a16:creationId xmlns:a16="http://schemas.microsoft.com/office/drawing/2014/main" id="{C962D3D5-95D6-5C6F-2AD8-24F94BCB22FE}"/>
                        </a:ext>
                      </a:extLst>
                    </p:cNvPr>
                    <p:cNvSpPr/>
                    <p:nvPr/>
                  </p:nvSpPr>
                  <p:spPr>
                    <a:xfrm rot="15284729">
                      <a:off x="8851362" y="4146483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25" name="Freeform: Shape 478">
                      <a:extLst>
                        <a:ext uri="{FF2B5EF4-FFF2-40B4-BE49-F238E27FC236}">
                          <a16:creationId xmlns:a16="http://schemas.microsoft.com/office/drawing/2014/main" id="{8B0B24D8-6967-18A8-5112-6BEDA46E3ED9}"/>
                        </a:ext>
                      </a:extLst>
                    </p:cNvPr>
                    <p:cNvSpPr/>
                    <p:nvPr/>
                  </p:nvSpPr>
                  <p:spPr>
                    <a:xfrm rot="4030563">
                      <a:off x="8954046" y="4390351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26" name="Freeform: Shape 479">
                      <a:extLst>
                        <a:ext uri="{FF2B5EF4-FFF2-40B4-BE49-F238E27FC236}">
                          <a16:creationId xmlns:a16="http://schemas.microsoft.com/office/drawing/2014/main" id="{D0046A05-822A-C82A-8C78-E23BF5D442E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78794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27" name="Freeform: Shape 480">
                      <a:extLst>
                        <a:ext uri="{FF2B5EF4-FFF2-40B4-BE49-F238E27FC236}">
                          <a16:creationId xmlns:a16="http://schemas.microsoft.com/office/drawing/2014/main" id="{16D9FA0F-DFA2-9CF1-8A43-3AC5A3058B39}"/>
                        </a:ext>
                      </a:extLst>
                    </p:cNvPr>
                    <p:cNvSpPr/>
                    <p:nvPr/>
                  </p:nvSpPr>
                  <p:spPr>
                    <a:xfrm rot="1648623">
                      <a:off x="8778238" y="4278378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28" name="Freeform: Shape 481">
                      <a:extLst>
                        <a:ext uri="{FF2B5EF4-FFF2-40B4-BE49-F238E27FC236}">
                          <a16:creationId xmlns:a16="http://schemas.microsoft.com/office/drawing/2014/main" id="{24B78A4D-899A-7044-F218-C007793577B6}"/>
                        </a:ext>
                      </a:extLst>
                    </p:cNvPr>
                    <p:cNvSpPr/>
                    <p:nvPr/>
                  </p:nvSpPr>
                  <p:spPr>
                    <a:xfrm rot="20582585">
                      <a:off x="8817085" y="4302941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29" name="Freeform: Shape 482">
                      <a:extLst>
                        <a:ext uri="{FF2B5EF4-FFF2-40B4-BE49-F238E27FC236}">
                          <a16:creationId xmlns:a16="http://schemas.microsoft.com/office/drawing/2014/main" id="{334253CD-0059-081C-A859-4A4D9C947298}"/>
                        </a:ext>
                      </a:extLst>
                    </p:cNvPr>
                    <p:cNvSpPr/>
                    <p:nvPr/>
                  </p:nvSpPr>
                  <p:spPr>
                    <a:xfrm rot="17414284">
                      <a:off x="8943702" y="414065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30" name="Freeform: Shape 483">
                      <a:extLst>
                        <a:ext uri="{FF2B5EF4-FFF2-40B4-BE49-F238E27FC236}">
                          <a16:creationId xmlns:a16="http://schemas.microsoft.com/office/drawing/2014/main" id="{24786FDA-EB6C-916C-FBDA-6704C1936F7B}"/>
                        </a:ext>
                      </a:extLst>
                    </p:cNvPr>
                    <p:cNvSpPr/>
                    <p:nvPr/>
                  </p:nvSpPr>
                  <p:spPr>
                    <a:xfrm rot="9043087">
                      <a:off x="8883430" y="4342996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31" name="Freeform: Shape 484">
                      <a:extLst>
                        <a:ext uri="{FF2B5EF4-FFF2-40B4-BE49-F238E27FC236}">
                          <a16:creationId xmlns:a16="http://schemas.microsoft.com/office/drawing/2014/main" id="{B7029993-1337-C72E-1348-8F1F21E4E132}"/>
                        </a:ext>
                      </a:extLst>
                    </p:cNvPr>
                    <p:cNvSpPr/>
                    <p:nvPr/>
                  </p:nvSpPr>
                  <p:spPr>
                    <a:xfrm rot="5209521">
                      <a:off x="8961351" y="4317762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32" name="Freeform: Shape 485">
                      <a:extLst>
                        <a:ext uri="{FF2B5EF4-FFF2-40B4-BE49-F238E27FC236}">
                          <a16:creationId xmlns:a16="http://schemas.microsoft.com/office/drawing/2014/main" id="{BF2FC3B5-C662-B91F-4521-9E348FB62F0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18409" y="432953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33" name="Rectangle: Rounded Corners 486">
                      <a:extLst>
                        <a:ext uri="{FF2B5EF4-FFF2-40B4-BE49-F238E27FC236}">
                          <a16:creationId xmlns:a16="http://schemas.microsoft.com/office/drawing/2014/main" id="{2934AA23-04F8-1444-4E9E-9772929AC39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86901" y="440374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34" name="Rectangle: Rounded Corners 487">
                      <a:extLst>
                        <a:ext uri="{FF2B5EF4-FFF2-40B4-BE49-F238E27FC236}">
                          <a16:creationId xmlns:a16="http://schemas.microsoft.com/office/drawing/2014/main" id="{41C00A5E-61BB-2103-FEB0-835120D514F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58174" y="429137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35" name="Rectangle: Rounded Corners 488">
                      <a:extLst>
                        <a:ext uri="{FF2B5EF4-FFF2-40B4-BE49-F238E27FC236}">
                          <a16:creationId xmlns:a16="http://schemas.microsoft.com/office/drawing/2014/main" id="{F95A9FB2-4721-D216-4AE6-3C974CC0A74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770428" y="419613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36" name="Rectangle: Rounded Corners 489">
                      <a:extLst>
                        <a:ext uri="{FF2B5EF4-FFF2-40B4-BE49-F238E27FC236}">
                          <a16:creationId xmlns:a16="http://schemas.microsoft.com/office/drawing/2014/main" id="{45F3428A-D108-FCFC-13A5-2D3A2E0E1BA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24873" y="4240076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37" name="Rectangle: Rounded Corners 490">
                      <a:extLst>
                        <a:ext uri="{FF2B5EF4-FFF2-40B4-BE49-F238E27FC236}">
                          <a16:creationId xmlns:a16="http://schemas.microsoft.com/office/drawing/2014/main" id="{DDC5BCA4-4576-DDE5-E773-57F5F259773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50643" y="429398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38" name="Rectangle: Rounded Corners 491">
                      <a:extLst>
                        <a:ext uri="{FF2B5EF4-FFF2-40B4-BE49-F238E27FC236}">
                          <a16:creationId xmlns:a16="http://schemas.microsoft.com/office/drawing/2014/main" id="{D02E16C5-6841-EE39-55F3-7C65DB05C17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17085" y="439459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</p:grpSp>
              <p:grpSp>
                <p:nvGrpSpPr>
                  <p:cNvPr id="1471" name="Group 1470">
                    <a:extLst>
                      <a:ext uri="{FF2B5EF4-FFF2-40B4-BE49-F238E27FC236}">
                        <a16:creationId xmlns:a16="http://schemas.microsoft.com/office/drawing/2014/main" id="{0CED8873-944A-7949-6D92-6BEAEA3637BB}"/>
                      </a:ext>
                    </a:extLst>
                  </p:cNvPr>
                  <p:cNvGrpSpPr/>
                  <p:nvPr/>
                </p:nvGrpSpPr>
                <p:grpSpPr>
                  <a:xfrm rot="13031820">
                    <a:off x="3472433" y="927802"/>
                    <a:ext cx="164791" cy="149512"/>
                    <a:chOff x="8770428" y="4145225"/>
                    <a:chExt cx="307647" cy="276804"/>
                  </a:xfrm>
                </p:grpSpPr>
                <p:sp>
                  <p:nvSpPr>
                    <p:cNvPr id="1505" name="Freeform: Shape 458">
                      <a:extLst>
                        <a:ext uri="{FF2B5EF4-FFF2-40B4-BE49-F238E27FC236}">
                          <a16:creationId xmlns:a16="http://schemas.microsoft.com/office/drawing/2014/main" id="{81977ADC-6695-DA7B-C469-0D589C8DD564}"/>
                        </a:ext>
                      </a:extLst>
                    </p:cNvPr>
                    <p:cNvSpPr/>
                    <p:nvPr/>
                  </p:nvSpPr>
                  <p:spPr>
                    <a:xfrm rot="5813516">
                      <a:off x="8823930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06" name="Freeform: Shape 459">
                      <a:extLst>
                        <a:ext uri="{FF2B5EF4-FFF2-40B4-BE49-F238E27FC236}">
                          <a16:creationId xmlns:a16="http://schemas.microsoft.com/office/drawing/2014/main" id="{ABB729DE-F9C6-E7A4-FB94-68CDF70723BC}"/>
                        </a:ext>
                      </a:extLst>
                    </p:cNvPr>
                    <p:cNvSpPr/>
                    <p:nvPr/>
                  </p:nvSpPr>
                  <p:spPr>
                    <a:xfrm rot="15284729">
                      <a:off x="8851362" y="4146483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07" name="Freeform: Shape 460">
                      <a:extLst>
                        <a:ext uri="{FF2B5EF4-FFF2-40B4-BE49-F238E27FC236}">
                          <a16:creationId xmlns:a16="http://schemas.microsoft.com/office/drawing/2014/main" id="{E2BF1CAD-1F93-7832-07DB-A94810C979C5}"/>
                        </a:ext>
                      </a:extLst>
                    </p:cNvPr>
                    <p:cNvSpPr/>
                    <p:nvPr/>
                  </p:nvSpPr>
                  <p:spPr>
                    <a:xfrm rot="4030563">
                      <a:off x="8954046" y="4390351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08" name="Freeform: Shape 461">
                      <a:extLst>
                        <a:ext uri="{FF2B5EF4-FFF2-40B4-BE49-F238E27FC236}">
                          <a16:creationId xmlns:a16="http://schemas.microsoft.com/office/drawing/2014/main" id="{BBE1496E-8EE2-87EC-0C9F-E208290F573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29986" y="4287522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09" name="Freeform: Shape 462">
                      <a:extLst>
                        <a:ext uri="{FF2B5EF4-FFF2-40B4-BE49-F238E27FC236}">
                          <a16:creationId xmlns:a16="http://schemas.microsoft.com/office/drawing/2014/main" id="{80E02081-C683-BD81-9989-49DDF892C15A}"/>
                        </a:ext>
                      </a:extLst>
                    </p:cNvPr>
                    <p:cNvSpPr/>
                    <p:nvPr/>
                  </p:nvSpPr>
                  <p:spPr>
                    <a:xfrm rot="1648623">
                      <a:off x="8778238" y="4278378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10" name="Freeform: Shape 463">
                      <a:extLst>
                        <a:ext uri="{FF2B5EF4-FFF2-40B4-BE49-F238E27FC236}">
                          <a16:creationId xmlns:a16="http://schemas.microsoft.com/office/drawing/2014/main" id="{ECE3E0B8-11DB-EDB3-F1F4-E5D48FB938AC}"/>
                        </a:ext>
                      </a:extLst>
                    </p:cNvPr>
                    <p:cNvSpPr/>
                    <p:nvPr/>
                  </p:nvSpPr>
                  <p:spPr>
                    <a:xfrm rot="20582585">
                      <a:off x="8817085" y="4302941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11" name="Freeform: Shape 464">
                      <a:extLst>
                        <a:ext uri="{FF2B5EF4-FFF2-40B4-BE49-F238E27FC236}">
                          <a16:creationId xmlns:a16="http://schemas.microsoft.com/office/drawing/2014/main" id="{A486A4EA-AACE-118D-90FA-3E278CE12768}"/>
                        </a:ext>
                      </a:extLst>
                    </p:cNvPr>
                    <p:cNvSpPr/>
                    <p:nvPr/>
                  </p:nvSpPr>
                  <p:spPr>
                    <a:xfrm rot="17414284">
                      <a:off x="8943702" y="414065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12" name="Freeform: Shape 465">
                      <a:extLst>
                        <a:ext uri="{FF2B5EF4-FFF2-40B4-BE49-F238E27FC236}">
                          <a16:creationId xmlns:a16="http://schemas.microsoft.com/office/drawing/2014/main" id="{AD4E5521-D670-280C-D9DA-9490B1DFF1C7}"/>
                        </a:ext>
                      </a:extLst>
                    </p:cNvPr>
                    <p:cNvSpPr/>
                    <p:nvPr/>
                  </p:nvSpPr>
                  <p:spPr>
                    <a:xfrm rot="9043087">
                      <a:off x="8883430" y="4342996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13" name="Freeform: Shape 466">
                      <a:extLst>
                        <a:ext uri="{FF2B5EF4-FFF2-40B4-BE49-F238E27FC236}">
                          <a16:creationId xmlns:a16="http://schemas.microsoft.com/office/drawing/2014/main" id="{87941350-ADE8-F00F-C555-5A8E753EF1D3}"/>
                        </a:ext>
                      </a:extLst>
                    </p:cNvPr>
                    <p:cNvSpPr/>
                    <p:nvPr/>
                  </p:nvSpPr>
                  <p:spPr>
                    <a:xfrm rot="5209521">
                      <a:off x="8961351" y="4317762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14" name="Freeform: Shape 467">
                      <a:extLst>
                        <a:ext uri="{FF2B5EF4-FFF2-40B4-BE49-F238E27FC236}">
                          <a16:creationId xmlns:a16="http://schemas.microsoft.com/office/drawing/2014/main" id="{5E09152A-01CE-A4F5-7047-3CF367DFEB4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18409" y="432953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15" name="Freeform: Shape 468">
                      <a:extLst>
                        <a:ext uri="{FF2B5EF4-FFF2-40B4-BE49-F238E27FC236}">
                          <a16:creationId xmlns:a16="http://schemas.microsoft.com/office/drawing/2014/main" id="{4AC890BD-2B0F-BD20-2047-A9FEB5BB1CDC}"/>
                        </a:ext>
                      </a:extLst>
                    </p:cNvPr>
                    <p:cNvSpPr/>
                    <p:nvPr/>
                  </p:nvSpPr>
                  <p:spPr>
                    <a:xfrm rot="18952815">
                      <a:off x="8990335" y="4236377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16" name="Rectangle: Rounded Corners 469">
                      <a:extLst>
                        <a:ext uri="{FF2B5EF4-FFF2-40B4-BE49-F238E27FC236}">
                          <a16:creationId xmlns:a16="http://schemas.microsoft.com/office/drawing/2014/main" id="{E6F29A87-CB43-762A-5F8E-0A3FEC75710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86901" y="440374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17" name="Rectangle: Rounded Corners 470">
                      <a:extLst>
                        <a:ext uri="{FF2B5EF4-FFF2-40B4-BE49-F238E27FC236}">
                          <a16:creationId xmlns:a16="http://schemas.microsoft.com/office/drawing/2014/main" id="{953D4EA7-6713-FC99-4DED-51770DE1C51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58174" y="429137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18" name="Rectangle: Rounded Corners 471">
                      <a:extLst>
                        <a:ext uri="{FF2B5EF4-FFF2-40B4-BE49-F238E27FC236}">
                          <a16:creationId xmlns:a16="http://schemas.microsoft.com/office/drawing/2014/main" id="{1A18FD22-FAB6-92C8-195E-0F14FEE4EA7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770428" y="419613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19" name="Rectangle: Rounded Corners 472">
                      <a:extLst>
                        <a:ext uri="{FF2B5EF4-FFF2-40B4-BE49-F238E27FC236}">
                          <a16:creationId xmlns:a16="http://schemas.microsoft.com/office/drawing/2014/main" id="{2063B36E-6E11-0C44-84EE-93F93065BB3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50643" y="429398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20" name="Rectangle: Rounded Corners 473">
                      <a:extLst>
                        <a:ext uri="{FF2B5EF4-FFF2-40B4-BE49-F238E27FC236}">
                          <a16:creationId xmlns:a16="http://schemas.microsoft.com/office/drawing/2014/main" id="{3BE484EA-5F6B-BEEB-2845-E270FC04B8E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17085" y="439459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</p:grpSp>
              <p:grpSp>
                <p:nvGrpSpPr>
                  <p:cNvPr id="1472" name="Group 1471">
                    <a:extLst>
                      <a:ext uri="{FF2B5EF4-FFF2-40B4-BE49-F238E27FC236}">
                        <a16:creationId xmlns:a16="http://schemas.microsoft.com/office/drawing/2014/main" id="{64AD87A8-3473-A57A-262A-2179533E0B63}"/>
                      </a:ext>
                    </a:extLst>
                  </p:cNvPr>
                  <p:cNvGrpSpPr/>
                  <p:nvPr/>
                </p:nvGrpSpPr>
                <p:grpSpPr>
                  <a:xfrm rot="20035314">
                    <a:off x="3439984" y="1013397"/>
                    <a:ext cx="166170" cy="147874"/>
                    <a:chOff x="8770428" y="4145965"/>
                    <a:chExt cx="307647" cy="276064"/>
                  </a:xfrm>
                </p:grpSpPr>
                <p:sp>
                  <p:nvSpPr>
                    <p:cNvPr id="1490" name="Freeform: Shape 443">
                      <a:extLst>
                        <a:ext uri="{FF2B5EF4-FFF2-40B4-BE49-F238E27FC236}">
                          <a16:creationId xmlns:a16="http://schemas.microsoft.com/office/drawing/2014/main" id="{A69BD253-BC34-01BB-FD2C-45506F8C6776}"/>
                        </a:ext>
                      </a:extLst>
                    </p:cNvPr>
                    <p:cNvSpPr/>
                    <p:nvPr/>
                  </p:nvSpPr>
                  <p:spPr>
                    <a:xfrm rot="5813516">
                      <a:off x="8823930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91" name="Freeform: Shape 444">
                      <a:extLst>
                        <a:ext uri="{FF2B5EF4-FFF2-40B4-BE49-F238E27FC236}">
                          <a16:creationId xmlns:a16="http://schemas.microsoft.com/office/drawing/2014/main" id="{C297E4B8-B849-F415-0100-B4EC18AB8C62}"/>
                        </a:ext>
                      </a:extLst>
                    </p:cNvPr>
                    <p:cNvSpPr/>
                    <p:nvPr/>
                  </p:nvSpPr>
                  <p:spPr>
                    <a:xfrm rot="15284729">
                      <a:off x="8851362" y="4146483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92" name="Freeform: Shape 445">
                      <a:extLst>
                        <a:ext uri="{FF2B5EF4-FFF2-40B4-BE49-F238E27FC236}">
                          <a16:creationId xmlns:a16="http://schemas.microsoft.com/office/drawing/2014/main" id="{6806C608-F86F-85B7-3D1F-632012B6C5D7}"/>
                        </a:ext>
                      </a:extLst>
                    </p:cNvPr>
                    <p:cNvSpPr/>
                    <p:nvPr/>
                  </p:nvSpPr>
                  <p:spPr>
                    <a:xfrm rot="4030563">
                      <a:off x="8954046" y="4390351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93" name="Freeform: Shape 446">
                      <a:extLst>
                        <a:ext uri="{FF2B5EF4-FFF2-40B4-BE49-F238E27FC236}">
                          <a16:creationId xmlns:a16="http://schemas.microsoft.com/office/drawing/2014/main" id="{FD835D3C-2787-8807-1E0E-4A9F487E3AD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78794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94" name="Freeform: Shape 447">
                      <a:extLst>
                        <a:ext uri="{FF2B5EF4-FFF2-40B4-BE49-F238E27FC236}">
                          <a16:creationId xmlns:a16="http://schemas.microsoft.com/office/drawing/2014/main" id="{C2432529-F258-846C-2B73-C66FDE5F2385}"/>
                        </a:ext>
                      </a:extLst>
                    </p:cNvPr>
                    <p:cNvSpPr/>
                    <p:nvPr/>
                  </p:nvSpPr>
                  <p:spPr>
                    <a:xfrm rot="1648623">
                      <a:off x="8778238" y="4278378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95" name="Freeform: Shape 448">
                      <a:extLst>
                        <a:ext uri="{FF2B5EF4-FFF2-40B4-BE49-F238E27FC236}">
                          <a16:creationId xmlns:a16="http://schemas.microsoft.com/office/drawing/2014/main" id="{7F4F6296-0E09-0614-69E8-7362518495C7}"/>
                        </a:ext>
                      </a:extLst>
                    </p:cNvPr>
                    <p:cNvSpPr/>
                    <p:nvPr/>
                  </p:nvSpPr>
                  <p:spPr>
                    <a:xfrm rot="20582585">
                      <a:off x="8817085" y="4302941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96" name="Freeform: Shape 449">
                      <a:extLst>
                        <a:ext uri="{FF2B5EF4-FFF2-40B4-BE49-F238E27FC236}">
                          <a16:creationId xmlns:a16="http://schemas.microsoft.com/office/drawing/2014/main" id="{D31A04CC-EB72-5D94-E758-6342BDE8E341}"/>
                        </a:ext>
                      </a:extLst>
                    </p:cNvPr>
                    <p:cNvSpPr/>
                    <p:nvPr/>
                  </p:nvSpPr>
                  <p:spPr>
                    <a:xfrm rot="9043087">
                      <a:off x="8883430" y="4342996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97" name="Freeform: Shape 450">
                      <a:extLst>
                        <a:ext uri="{FF2B5EF4-FFF2-40B4-BE49-F238E27FC236}">
                          <a16:creationId xmlns:a16="http://schemas.microsoft.com/office/drawing/2014/main" id="{7017D6FC-437A-D84C-EB43-1F4D7BB70991}"/>
                        </a:ext>
                      </a:extLst>
                    </p:cNvPr>
                    <p:cNvSpPr/>
                    <p:nvPr/>
                  </p:nvSpPr>
                  <p:spPr>
                    <a:xfrm rot="5209521">
                      <a:off x="8961351" y="4317762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98" name="Freeform: Shape 451">
                      <a:extLst>
                        <a:ext uri="{FF2B5EF4-FFF2-40B4-BE49-F238E27FC236}">
                          <a16:creationId xmlns:a16="http://schemas.microsoft.com/office/drawing/2014/main" id="{24D3F9BD-49AC-717A-4168-D32F320D4CB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18409" y="432953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99" name="Rectangle: Rounded Corners 452">
                      <a:extLst>
                        <a:ext uri="{FF2B5EF4-FFF2-40B4-BE49-F238E27FC236}">
                          <a16:creationId xmlns:a16="http://schemas.microsoft.com/office/drawing/2014/main" id="{FC4AB356-AE95-5B5E-980D-DA4B0B91A56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86901" y="440374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00" name="Rectangle: Rounded Corners 453">
                      <a:extLst>
                        <a:ext uri="{FF2B5EF4-FFF2-40B4-BE49-F238E27FC236}">
                          <a16:creationId xmlns:a16="http://schemas.microsoft.com/office/drawing/2014/main" id="{44375E40-34D4-439C-C178-B373D852A20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58174" y="429137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01" name="Rectangle: Rounded Corners 454">
                      <a:extLst>
                        <a:ext uri="{FF2B5EF4-FFF2-40B4-BE49-F238E27FC236}">
                          <a16:creationId xmlns:a16="http://schemas.microsoft.com/office/drawing/2014/main" id="{1C8C913E-1D21-DB1F-87E8-6BB5C1C6B43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770428" y="419613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02" name="Rectangle: Rounded Corners 455">
                      <a:extLst>
                        <a:ext uri="{FF2B5EF4-FFF2-40B4-BE49-F238E27FC236}">
                          <a16:creationId xmlns:a16="http://schemas.microsoft.com/office/drawing/2014/main" id="{B18CED83-23CC-1942-9C45-CDE7A2200C6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50643" y="429398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03" name="Rectangle: Rounded Corners 456">
                      <a:extLst>
                        <a:ext uri="{FF2B5EF4-FFF2-40B4-BE49-F238E27FC236}">
                          <a16:creationId xmlns:a16="http://schemas.microsoft.com/office/drawing/2014/main" id="{96536E6C-7EF5-FADA-EF4B-DD671B6FBE2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17085" y="439459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04" name="Rectangle: Rounded Corners 457">
                      <a:extLst>
                        <a:ext uri="{FF2B5EF4-FFF2-40B4-BE49-F238E27FC236}">
                          <a16:creationId xmlns:a16="http://schemas.microsoft.com/office/drawing/2014/main" id="{80BE8F70-1BA0-A90A-11C3-EE9FC0A429F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94095" y="4145965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</p:grpSp>
              <p:grpSp>
                <p:nvGrpSpPr>
                  <p:cNvPr id="1473" name="Group 1472">
                    <a:extLst>
                      <a:ext uri="{FF2B5EF4-FFF2-40B4-BE49-F238E27FC236}">
                        <a16:creationId xmlns:a16="http://schemas.microsoft.com/office/drawing/2014/main" id="{292957EA-6447-D3B7-B08E-F994B9F98B63}"/>
                      </a:ext>
                    </a:extLst>
                  </p:cNvPr>
                  <p:cNvGrpSpPr/>
                  <p:nvPr/>
                </p:nvGrpSpPr>
                <p:grpSpPr>
                  <a:xfrm rot="4711444">
                    <a:off x="3501494" y="998460"/>
                    <a:ext cx="164790" cy="149511"/>
                    <a:chOff x="8770428" y="4145225"/>
                    <a:chExt cx="307647" cy="276804"/>
                  </a:xfrm>
                </p:grpSpPr>
                <p:sp>
                  <p:nvSpPr>
                    <p:cNvPr id="1474" name="Freeform: Shape 427">
                      <a:extLst>
                        <a:ext uri="{FF2B5EF4-FFF2-40B4-BE49-F238E27FC236}">
                          <a16:creationId xmlns:a16="http://schemas.microsoft.com/office/drawing/2014/main" id="{52516A58-B19F-7102-FE5D-4078A4BF39D5}"/>
                        </a:ext>
                      </a:extLst>
                    </p:cNvPr>
                    <p:cNvSpPr/>
                    <p:nvPr/>
                  </p:nvSpPr>
                  <p:spPr>
                    <a:xfrm rot="5813516">
                      <a:off x="8823930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75" name="Freeform: Shape 428">
                      <a:extLst>
                        <a:ext uri="{FF2B5EF4-FFF2-40B4-BE49-F238E27FC236}">
                          <a16:creationId xmlns:a16="http://schemas.microsoft.com/office/drawing/2014/main" id="{6F571287-C39F-8836-CEC9-62DA3B128CB0}"/>
                        </a:ext>
                      </a:extLst>
                    </p:cNvPr>
                    <p:cNvSpPr/>
                    <p:nvPr/>
                  </p:nvSpPr>
                  <p:spPr>
                    <a:xfrm rot="6799576">
                      <a:off x="8855933" y="4253069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76" name="Freeform: Shape 429">
                      <a:extLst>
                        <a:ext uri="{FF2B5EF4-FFF2-40B4-BE49-F238E27FC236}">
                          <a16:creationId xmlns:a16="http://schemas.microsoft.com/office/drawing/2014/main" id="{15FCC676-63AC-F3FD-6638-88AC61F1B9A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50061" y="4188172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77" name="Freeform: Shape 430">
                      <a:extLst>
                        <a:ext uri="{FF2B5EF4-FFF2-40B4-BE49-F238E27FC236}">
                          <a16:creationId xmlns:a16="http://schemas.microsoft.com/office/drawing/2014/main" id="{D2C37396-C22F-8313-3AAD-072546B68644}"/>
                        </a:ext>
                      </a:extLst>
                    </p:cNvPr>
                    <p:cNvSpPr/>
                    <p:nvPr/>
                  </p:nvSpPr>
                  <p:spPr>
                    <a:xfrm rot="15284729">
                      <a:off x="8851362" y="4146483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78" name="Freeform: Shape 431">
                      <a:extLst>
                        <a:ext uri="{FF2B5EF4-FFF2-40B4-BE49-F238E27FC236}">
                          <a16:creationId xmlns:a16="http://schemas.microsoft.com/office/drawing/2014/main" id="{312925EF-FF79-D857-EC2D-1ED98F7C7C0D}"/>
                        </a:ext>
                      </a:extLst>
                    </p:cNvPr>
                    <p:cNvSpPr/>
                    <p:nvPr/>
                  </p:nvSpPr>
                  <p:spPr>
                    <a:xfrm rot="4030563">
                      <a:off x="8954046" y="4390351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79" name="Freeform: Shape 432">
                      <a:extLst>
                        <a:ext uri="{FF2B5EF4-FFF2-40B4-BE49-F238E27FC236}">
                          <a16:creationId xmlns:a16="http://schemas.microsoft.com/office/drawing/2014/main" id="{5D14FC0F-23BD-2E6B-5047-0E3696723F4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78794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80" name="Freeform: Shape 433">
                      <a:extLst>
                        <a:ext uri="{FF2B5EF4-FFF2-40B4-BE49-F238E27FC236}">
                          <a16:creationId xmlns:a16="http://schemas.microsoft.com/office/drawing/2014/main" id="{AA82607E-03DF-94D7-9CD0-B32A5929DEA6}"/>
                        </a:ext>
                      </a:extLst>
                    </p:cNvPr>
                    <p:cNvSpPr/>
                    <p:nvPr/>
                  </p:nvSpPr>
                  <p:spPr>
                    <a:xfrm rot="1648623">
                      <a:off x="8778238" y="4278378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81" name="Freeform: Shape 434">
                      <a:extLst>
                        <a:ext uri="{FF2B5EF4-FFF2-40B4-BE49-F238E27FC236}">
                          <a16:creationId xmlns:a16="http://schemas.microsoft.com/office/drawing/2014/main" id="{916041D5-BC0D-0533-5F66-976E214559B1}"/>
                        </a:ext>
                      </a:extLst>
                    </p:cNvPr>
                    <p:cNvSpPr/>
                    <p:nvPr/>
                  </p:nvSpPr>
                  <p:spPr>
                    <a:xfrm rot="17414284">
                      <a:off x="8943702" y="414065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82" name="Freeform: Shape 435">
                      <a:extLst>
                        <a:ext uri="{FF2B5EF4-FFF2-40B4-BE49-F238E27FC236}">
                          <a16:creationId xmlns:a16="http://schemas.microsoft.com/office/drawing/2014/main" id="{9F54EC55-DB0E-4228-B3F9-7273AC45F48C}"/>
                        </a:ext>
                      </a:extLst>
                    </p:cNvPr>
                    <p:cNvSpPr/>
                    <p:nvPr/>
                  </p:nvSpPr>
                  <p:spPr>
                    <a:xfrm rot="9043087">
                      <a:off x="8883430" y="4342996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83" name="Freeform: Shape 436">
                      <a:extLst>
                        <a:ext uri="{FF2B5EF4-FFF2-40B4-BE49-F238E27FC236}">
                          <a16:creationId xmlns:a16="http://schemas.microsoft.com/office/drawing/2014/main" id="{A238285F-6A70-66CA-E93E-FB9C723CED8D}"/>
                        </a:ext>
                      </a:extLst>
                    </p:cNvPr>
                    <p:cNvSpPr/>
                    <p:nvPr/>
                  </p:nvSpPr>
                  <p:spPr>
                    <a:xfrm rot="5209521">
                      <a:off x="8961351" y="4317762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84" name="Freeform: Shape 437">
                      <a:extLst>
                        <a:ext uri="{FF2B5EF4-FFF2-40B4-BE49-F238E27FC236}">
                          <a16:creationId xmlns:a16="http://schemas.microsoft.com/office/drawing/2014/main" id="{F5CDA2B1-EFFB-06DB-978A-F3F28EFCDC2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18409" y="432953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85" name="Freeform: Shape 438">
                      <a:extLst>
                        <a:ext uri="{FF2B5EF4-FFF2-40B4-BE49-F238E27FC236}">
                          <a16:creationId xmlns:a16="http://schemas.microsoft.com/office/drawing/2014/main" id="{BC68F858-35F5-CBAD-4D8E-FDBA0D6BE3BB}"/>
                        </a:ext>
                      </a:extLst>
                    </p:cNvPr>
                    <p:cNvSpPr/>
                    <p:nvPr/>
                  </p:nvSpPr>
                  <p:spPr>
                    <a:xfrm rot="18952815">
                      <a:off x="8990335" y="4236377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86" name="Rectangle: Rounded Corners 439">
                      <a:extLst>
                        <a:ext uri="{FF2B5EF4-FFF2-40B4-BE49-F238E27FC236}">
                          <a16:creationId xmlns:a16="http://schemas.microsoft.com/office/drawing/2014/main" id="{D76032E2-A4CD-927A-C051-984F652486C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86901" y="440374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87" name="Rectangle: Rounded Corners 440">
                      <a:extLst>
                        <a:ext uri="{FF2B5EF4-FFF2-40B4-BE49-F238E27FC236}">
                          <a16:creationId xmlns:a16="http://schemas.microsoft.com/office/drawing/2014/main" id="{C54BF650-8A67-415B-C8A4-38B74CA2430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770428" y="419613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88" name="Rectangle: Rounded Corners 441">
                      <a:extLst>
                        <a:ext uri="{FF2B5EF4-FFF2-40B4-BE49-F238E27FC236}">
                          <a16:creationId xmlns:a16="http://schemas.microsoft.com/office/drawing/2014/main" id="{A6865C99-D928-B49E-666C-E1F65BB75B4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24873" y="4240076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489" name="Rectangle: Rounded Corners 442">
                      <a:extLst>
                        <a:ext uri="{FF2B5EF4-FFF2-40B4-BE49-F238E27FC236}">
                          <a16:creationId xmlns:a16="http://schemas.microsoft.com/office/drawing/2014/main" id="{EB25F9A4-B321-F809-5673-9F293BBC483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50643" y="429398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</p:grpSp>
            </p:grpSp>
            <p:sp>
              <p:nvSpPr>
                <p:cNvPr id="1468" name="Freeform: Shape 426">
                  <a:extLst>
                    <a:ext uri="{FF2B5EF4-FFF2-40B4-BE49-F238E27FC236}">
                      <a16:creationId xmlns:a16="http://schemas.microsoft.com/office/drawing/2014/main" id="{D75AA7A4-34BF-5005-B18F-703CBA3ACA4E}"/>
                    </a:ext>
                  </a:extLst>
                </p:cNvPr>
                <p:cNvSpPr/>
                <p:nvPr/>
              </p:nvSpPr>
              <p:spPr>
                <a:xfrm rot="18595250">
                  <a:off x="3464962" y="993886"/>
                  <a:ext cx="195428" cy="172893"/>
                </a:xfrm>
                <a:custGeom>
                  <a:avLst/>
                  <a:gdLst>
                    <a:gd name="connsiteX0" fmla="*/ 36195 w 254551"/>
                    <a:gd name="connsiteY0" fmla="*/ 30480 h 227192"/>
                    <a:gd name="connsiteX1" fmla="*/ 36195 w 254551"/>
                    <a:gd name="connsiteY1" fmla="*/ 30480 h 227192"/>
                    <a:gd name="connsiteX2" fmla="*/ 20955 w 254551"/>
                    <a:gd name="connsiteY2" fmla="*/ 20955 h 227192"/>
                    <a:gd name="connsiteX3" fmla="*/ 17145 w 254551"/>
                    <a:gd name="connsiteY3" fmla="*/ 9525 h 227192"/>
                    <a:gd name="connsiteX4" fmla="*/ 5715 w 254551"/>
                    <a:gd name="connsiteY4" fmla="*/ 15240 h 227192"/>
                    <a:gd name="connsiteX5" fmla="*/ 1905 w 254551"/>
                    <a:gd name="connsiteY5" fmla="*/ 20955 h 227192"/>
                    <a:gd name="connsiteX6" fmla="*/ 0 w 254551"/>
                    <a:gd name="connsiteY6" fmla="*/ 26670 h 227192"/>
                    <a:gd name="connsiteX7" fmla="*/ 1905 w 254551"/>
                    <a:gd name="connsiteY7" fmla="*/ 47625 h 227192"/>
                    <a:gd name="connsiteX8" fmla="*/ 9525 w 254551"/>
                    <a:gd name="connsiteY8" fmla="*/ 59055 h 227192"/>
                    <a:gd name="connsiteX9" fmla="*/ 13335 w 254551"/>
                    <a:gd name="connsiteY9" fmla="*/ 70485 h 227192"/>
                    <a:gd name="connsiteX10" fmla="*/ 15240 w 254551"/>
                    <a:gd name="connsiteY10" fmla="*/ 99060 h 227192"/>
                    <a:gd name="connsiteX11" fmla="*/ 17145 w 254551"/>
                    <a:gd name="connsiteY11" fmla="*/ 104775 h 227192"/>
                    <a:gd name="connsiteX12" fmla="*/ 22860 w 254551"/>
                    <a:gd name="connsiteY12" fmla="*/ 108585 h 227192"/>
                    <a:gd name="connsiteX13" fmla="*/ 26670 w 254551"/>
                    <a:gd name="connsiteY13" fmla="*/ 114300 h 227192"/>
                    <a:gd name="connsiteX14" fmla="*/ 32385 w 254551"/>
                    <a:gd name="connsiteY14" fmla="*/ 118110 h 227192"/>
                    <a:gd name="connsiteX15" fmla="*/ 41910 w 254551"/>
                    <a:gd name="connsiteY15" fmla="*/ 131445 h 227192"/>
                    <a:gd name="connsiteX16" fmla="*/ 59055 w 254551"/>
                    <a:gd name="connsiteY16" fmla="*/ 133350 h 227192"/>
                    <a:gd name="connsiteX17" fmla="*/ 64770 w 254551"/>
                    <a:gd name="connsiteY17" fmla="*/ 180975 h 227192"/>
                    <a:gd name="connsiteX18" fmla="*/ 74295 w 254551"/>
                    <a:gd name="connsiteY18" fmla="*/ 188595 h 227192"/>
                    <a:gd name="connsiteX19" fmla="*/ 80010 w 254551"/>
                    <a:gd name="connsiteY19" fmla="*/ 192405 h 227192"/>
                    <a:gd name="connsiteX20" fmla="*/ 87630 w 254551"/>
                    <a:gd name="connsiteY20" fmla="*/ 201930 h 227192"/>
                    <a:gd name="connsiteX21" fmla="*/ 95250 w 254551"/>
                    <a:gd name="connsiteY21" fmla="*/ 213360 h 227192"/>
                    <a:gd name="connsiteX22" fmla="*/ 99060 w 254551"/>
                    <a:gd name="connsiteY22" fmla="*/ 219075 h 227192"/>
                    <a:gd name="connsiteX23" fmla="*/ 104775 w 254551"/>
                    <a:gd name="connsiteY23" fmla="*/ 220980 h 227192"/>
                    <a:gd name="connsiteX24" fmla="*/ 108585 w 254551"/>
                    <a:gd name="connsiteY24" fmla="*/ 226695 h 227192"/>
                    <a:gd name="connsiteX25" fmla="*/ 133350 w 254551"/>
                    <a:gd name="connsiteY25" fmla="*/ 222885 h 227192"/>
                    <a:gd name="connsiteX26" fmla="*/ 144780 w 254551"/>
                    <a:gd name="connsiteY26" fmla="*/ 211455 h 227192"/>
                    <a:gd name="connsiteX27" fmla="*/ 148590 w 254551"/>
                    <a:gd name="connsiteY27" fmla="*/ 205740 h 227192"/>
                    <a:gd name="connsiteX28" fmla="*/ 160020 w 254551"/>
                    <a:gd name="connsiteY28" fmla="*/ 201930 h 227192"/>
                    <a:gd name="connsiteX29" fmla="*/ 161925 w 254551"/>
                    <a:gd name="connsiteY29" fmla="*/ 196215 h 227192"/>
                    <a:gd name="connsiteX30" fmla="*/ 163830 w 254551"/>
                    <a:gd name="connsiteY30" fmla="*/ 184785 h 227192"/>
                    <a:gd name="connsiteX31" fmla="*/ 175260 w 254551"/>
                    <a:gd name="connsiteY31" fmla="*/ 180975 h 227192"/>
                    <a:gd name="connsiteX32" fmla="*/ 198120 w 254551"/>
                    <a:gd name="connsiteY32" fmla="*/ 182880 h 227192"/>
                    <a:gd name="connsiteX33" fmla="*/ 203835 w 254551"/>
                    <a:gd name="connsiteY33" fmla="*/ 186690 h 227192"/>
                    <a:gd name="connsiteX34" fmla="*/ 209550 w 254551"/>
                    <a:gd name="connsiteY34" fmla="*/ 188595 h 227192"/>
                    <a:gd name="connsiteX35" fmla="*/ 220980 w 254551"/>
                    <a:gd name="connsiteY35" fmla="*/ 186690 h 227192"/>
                    <a:gd name="connsiteX36" fmla="*/ 226695 w 254551"/>
                    <a:gd name="connsiteY36" fmla="*/ 182880 h 227192"/>
                    <a:gd name="connsiteX37" fmla="*/ 234315 w 254551"/>
                    <a:gd name="connsiteY37" fmla="*/ 165735 h 227192"/>
                    <a:gd name="connsiteX38" fmla="*/ 238125 w 254551"/>
                    <a:gd name="connsiteY38" fmla="*/ 154305 h 227192"/>
                    <a:gd name="connsiteX39" fmla="*/ 240030 w 254551"/>
                    <a:gd name="connsiteY39" fmla="*/ 148590 h 227192"/>
                    <a:gd name="connsiteX40" fmla="*/ 245745 w 254551"/>
                    <a:gd name="connsiteY40" fmla="*/ 120015 h 227192"/>
                    <a:gd name="connsiteX41" fmla="*/ 247650 w 254551"/>
                    <a:gd name="connsiteY41" fmla="*/ 114300 h 227192"/>
                    <a:gd name="connsiteX42" fmla="*/ 249555 w 254551"/>
                    <a:gd name="connsiteY42" fmla="*/ 108585 h 227192"/>
                    <a:gd name="connsiteX43" fmla="*/ 241935 w 254551"/>
                    <a:gd name="connsiteY43" fmla="*/ 89535 h 227192"/>
                    <a:gd name="connsiteX44" fmla="*/ 236220 w 254551"/>
                    <a:gd name="connsiteY44" fmla="*/ 85725 h 227192"/>
                    <a:gd name="connsiteX45" fmla="*/ 238125 w 254551"/>
                    <a:gd name="connsiteY45" fmla="*/ 80010 h 227192"/>
                    <a:gd name="connsiteX46" fmla="*/ 243840 w 254551"/>
                    <a:gd name="connsiteY46" fmla="*/ 78105 h 227192"/>
                    <a:gd name="connsiteX47" fmla="*/ 249555 w 254551"/>
                    <a:gd name="connsiteY47" fmla="*/ 74295 h 227192"/>
                    <a:gd name="connsiteX48" fmla="*/ 251460 w 254551"/>
                    <a:gd name="connsiteY48" fmla="*/ 24765 h 227192"/>
                    <a:gd name="connsiteX49" fmla="*/ 249555 w 254551"/>
                    <a:gd name="connsiteY49" fmla="*/ 19050 h 227192"/>
                    <a:gd name="connsiteX50" fmla="*/ 243840 w 254551"/>
                    <a:gd name="connsiteY50" fmla="*/ 15240 h 227192"/>
                    <a:gd name="connsiteX51" fmla="*/ 234315 w 254551"/>
                    <a:gd name="connsiteY51" fmla="*/ 3810 h 227192"/>
                    <a:gd name="connsiteX52" fmla="*/ 228600 w 254551"/>
                    <a:gd name="connsiteY52" fmla="*/ 0 h 227192"/>
                    <a:gd name="connsiteX53" fmla="*/ 217170 w 254551"/>
                    <a:gd name="connsiteY53" fmla="*/ 1905 h 227192"/>
                    <a:gd name="connsiteX54" fmla="*/ 213360 w 254551"/>
                    <a:gd name="connsiteY54" fmla="*/ 7620 h 227192"/>
                    <a:gd name="connsiteX55" fmla="*/ 207645 w 254551"/>
                    <a:gd name="connsiteY55" fmla="*/ 9525 h 227192"/>
                    <a:gd name="connsiteX56" fmla="*/ 203835 w 254551"/>
                    <a:gd name="connsiteY56" fmla="*/ 20955 h 227192"/>
                    <a:gd name="connsiteX57" fmla="*/ 201930 w 254551"/>
                    <a:gd name="connsiteY57" fmla="*/ 26670 h 227192"/>
                    <a:gd name="connsiteX58" fmla="*/ 200025 w 254551"/>
                    <a:gd name="connsiteY58" fmla="*/ 38100 h 227192"/>
                    <a:gd name="connsiteX59" fmla="*/ 205740 w 254551"/>
                    <a:gd name="connsiteY59" fmla="*/ 72390 h 227192"/>
                    <a:gd name="connsiteX60" fmla="*/ 213360 w 254551"/>
                    <a:gd name="connsiteY60" fmla="*/ 83820 h 227192"/>
                    <a:gd name="connsiteX61" fmla="*/ 217170 w 254551"/>
                    <a:gd name="connsiteY61" fmla="*/ 89535 h 227192"/>
                    <a:gd name="connsiteX62" fmla="*/ 215265 w 254551"/>
                    <a:gd name="connsiteY62" fmla="*/ 97155 h 227192"/>
                    <a:gd name="connsiteX63" fmla="*/ 203835 w 254551"/>
                    <a:gd name="connsiteY63" fmla="*/ 104775 h 227192"/>
                    <a:gd name="connsiteX64" fmla="*/ 198120 w 254551"/>
                    <a:gd name="connsiteY64" fmla="*/ 116205 h 227192"/>
                    <a:gd name="connsiteX65" fmla="*/ 196215 w 254551"/>
                    <a:gd name="connsiteY65" fmla="*/ 121920 h 227192"/>
                    <a:gd name="connsiteX66" fmla="*/ 190500 w 254551"/>
                    <a:gd name="connsiteY66" fmla="*/ 133350 h 227192"/>
                    <a:gd name="connsiteX67" fmla="*/ 182880 w 254551"/>
                    <a:gd name="connsiteY67" fmla="*/ 154305 h 227192"/>
                    <a:gd name="connsiteX68" fmla="*/ 175260 w 254551"/>
                    <a:gd name="connsiteY68" fmla="*/ 156210 h 227192"/>
                    <a:gd name="connsiteX69" fmla="*/ 169545 w 254551"/>
                    <a:gd name="connsiteY69" fmla="*/ 150495 h 227192"/>
                    <a:gd name="connsiteX70" fmla="*/ 167640 w 254551"/>
                    <a:gd name="connsiteY70" fmla="*/ 144780 h 227192"/>
                    <a:gd name="connsiteX71" fmla="*/ 156210 w 254551"/>
                    <a:gd name="connsiteY71" fmla="*/ 140970 h 227192"/>
                    <a:gd name="connsiteX72" fmla="*/ 150495 w 254551"/>
                    <a:gd name="connsiteY72" fmla="*/ 139065 h 227192"/>
                    <a:gd name="connsiteX73" fmla="*/ 139065 w 254551"/>
                    <a:gd name="connsiteY73" fmla="*/ 135255 h 227192"/>
                    <a:gd name="connsiteX74" fmla="*/ 133350 w 254551"/>
                    <a:gd name="connsiteY74" fmla="*/ 133350 h 227192"/>
                    <a:gd name="connsiteX75" fmla="*/ 121920 w 254551"/>
                    <a:gd name="connsiteY75" fmla="*/ 127635 h 227192"/>
                    <a:gd name="connsiteX76" fmla="*/ 89535 w 254551"/>
                    <a:gd name="connsiteY76" fmla="*/ 125730 h 227192"/>
                    <a:gd name="connsiteX77" fmla="*/ 78105 w 254551"/>
                    <a:gd name="connsiteY77" fmla="*/ 116205 h 227192"/>
                    <a:gd name="connsiteX78" fmla="*/ 76200 w 254551"/>
                    <a:gd name="connsiteY78" fmla="*/ 110490 h 227192"/>
                    <a:gd name="connsiteX79" fmla="*/ 72390 w 254551"/>
                    <a:gd name="connsiteY79" fmla="*/ 104775 h 227192"/>
                    <a:gd name="connsiteX80" fmla="*/ 68580 w 254551"/>
                    <a:gd name="connsiteY80" fmla="*/ 89535 h 227192"/>
                    <a:gd name="connsiteX81" fmla="*/ 62865 w 254551"/>
                    <a:gd name="connsiteY81" fmla="*/ 85725 h 227192"/>
                    <a:gd name="connsiteX82" fmla="*/ 53340 w 254551"/>
                    <a:gd name="connsiteY82" fmla="*/ 83820 h 227192"/>
                    <a:gd name="connsiteX83" fmla="*/ 47625 w 254551"/>
                    <a:gd name="connsiteY83" fmla="*/ 80010 h 227192"/>
                    <a:gd name="connsiteX84" fmla="*/ 41910 w 254551"/>
                    <a:gd name="connsiteY84" fmla="*/ 78105 h 227192"/>
                    <a:gd name="connsiteX85" fmla="*/ 34290 w 254551"/>
                    <a:gd name="connsiteY85" fmla="*/ 64770 h 227192"/>
                    <a:gd name="connsiteX86" fmla="*/ 30480 w 254551"/>
                    <a:gd name="connsiteY86" fmla="*/ 53340 h 227192"/>
                    <a:gd name="connsiteX87" fmla="*/ 34290 w 254551"/>
                    <a:gd name="connsiteY87" fmla="*/ 47625 h 227192"/>
                    <a:gd name="connsiteX88" fmla="*/ 32385 w 254551"/>
                    <a:gd name="connsiteY88" fmla="*/ 28575 h 227192"/>
                    <a:gd name="connsiteX89" fmla="*/ 30480 w 254551"/>
                    <a:gd name="connsiteY89" fmla="*/ 22860 h 227192"/>
                    <a:gd name="connsiteX90" fmla="*/ 36195 w 254551"/>
                    <a:gd name="connsiteY90" fmla="*/ 30480 h 227192"/>
                    <a:gd name="connsiteX0" fmla="*/ 36195 w 254551"/>
                    <a:gd name="connsiteY0" fmla="*/ 30480 h 227192"/>
                    <a:gd name="connsiteX1" fmla="*/ 36195 w 254551"/>
                    <a:gd name="connsiteY1" fmla="*/ 30480 h 227192"/>
                    <a:gd name="connsiteX2" fmla="*/ 20955 w 254551"/>
                    <a:gd name="connsiteY2" fmla="*/ 20955 h 227192"/>
                    <a:gd name="connsiteX3" fmla="*/ 17145 w 254551"/>
                    <a:gd name="connsiteY3" fmla="*/ 9525 h 227192"/>
                    <a:gd name="connsiteX4" fmla="*/ 1905 w 254551"/>
                    <a:gd name="connsiteY4" fmla="*/ 20955 h 227192"/>
                    <a:gd name="connsiteX5" fmla="*/ 0 w 254551"/>
                    <a:gd name="connsiteY5" fmla="*/ 26670 h 227192"/>
                    <a:gd name="connsiteX6" fmla="*/ 1905 w 254551"/>
                    <a:gd name="connsiteY6" fmla="*/ 47625 h 227192"/>
                    <a:gd name="connsiteX7" fmla="*/ 9525 w 254551"/>
                    <a:gd name="connsiteY7" fmla="*/ 59055 h 227192"/>
                    <a:gd name="connsiteX8" fmla="*/ 13335 w 254551"/>
                    <a:gd name="connsiteY8" fmla="*/ 70485 h 227192"/>
                    <a:gd name="connsiteX9" fmla="*/ 15240 w 254551"/>
                    <a:gd name="connsiteY9" fmla="*/ 99060 h 227192"/>
                    <a:gd name="connsiteX10" fmla="*/ 17145 w 254551"/>
                    <a:gd name="connsiteY10" fmla="*/ 104775 h 227192"/>
                    <a:gd name="connsiteX11" fmla="*/ 22860 w 254551"/>
                    <a:gd name="connsiteY11" fmla="*/ 108585 h 227192"/>
                    <a:gd name="connsiteX12" fmla="*/ 26670 w 254551"/>
                    <a:gd name="connsiteY12" fmla="*/ 114300 h 227192"/>
                    <a:gd name="connsiteX13" fmla="*/ 32385 w 254551"/>
                    <a:gd name="connsiteY13" fmla="*/ 118110 h 227192"/>
                    <a:gd name="connsiteX14" fmla="*/ 41910 w 254551"/>
                    <a:gd name="connsiteY14" fmla="*/ 131445 h 227192"/>
                    <a:gd name="connsiteX15" fmla="*/ 59055 w 254551"/>
                    <a:gd name="connsiteY15" fmla="*/ 133350 h 227192"/>
                    <a:gd name="connsiteX16" fmla="*/ 64770 w 254551"/>
                    <a:gd name="connsiteY16" fmla="*/ 180975 h 227192"/>
                    <a:gd name="connsiteX17" fmla="*/ 74295 w 254551"/>
                    <a:gd name="connsiteY17" fmla="*/ 188595 h 227192"/>
                    <a:gd name="connsiteX18" fmla="*/ 80010 w 254551"/>
                    <a:gd name="connsiteY18" fmla="*/ 192405 h 227192"/>
                    <a:gd name="connsiteX19" fmla="*/ 87630 w 254551"/>
                    <a:gd name="connsiteY19" fmla="*/ 201930 h 227192"/>
                    <a:gd name="connsiteX20" fmla="*/ 95250 w 254551"/>
                    <a:gd name="connsiteY20" fmla="*/ 213360 h 227192"/>
                    <a:gd name="connsiteX21" fmla="*/ 99060 w 254551"/>
                    <a:gd name="connsiteY21" fmla="*/ 219075 h 227192"/>
                    <a:gd name="connsiteX22" fmla="*/ 104775 w 254551"/>
                    <a:gd name="connsiteY22" fmla="*/ 220980 h 227192"/>
                    <a:gd name="connsiteX23" fmla="*/ 108585 w 254551"/>
                    <a:gd name="connsiteY23" fmla="*/ 226695 h 227192"/>
                    <a:gd name="connsiteX24" fmla="*/ 133350 w 254551"/>
                    <a:gd name="connsiteY24" fmla="*/ 222885 h 227192"/>
                    <a:gd name="connsiteX25" fmla="*/ 144780 w 254551"/>
                    <a:gd name="connsiteY25" fmla="*/ 211455 h 227192"/>
                    <a:gd name="connsiteX26" fmla="*/ 148590 w 254551"/>
                    <a:gd name="connsiteY26" fmla="*/ 205740 h 227192"/>
                    <a:gd name="connsiteX27" fmla="*/ 160020 w 254551"/>
                    <a:gd name="connsiteY27" fmla="*/ 201930 h 227192"/>
                    <a:gd name="connsiteX28" fmla="*/ 161925 w 254551"/>
                    <a:gd name="connsiteY28" fmla="*/ 196215 h 227192"/>
                    <a:gd name="connsiteX29" fmla="*/ 163830 w 254551"/>
                    <a:gd name="connsiteY29" fmla="*/ 184785 h 227192"/>
                    <a:gd name="connsiteX30" fmla="*/ 175260 w 254551"/>
                    <a:gd name="connsiteY30" fmla="*/ 180975 h 227192"/>
                    <a:gd name="connsiteX31" fmla="*/ 198120 w 254551"/>
                    <a:gd name="connsiteY31" fmla="*/ 182880 h 227192"/>
                    <a:gd name="connsiteX32" fmla="*/ 203835 w 254551"/>
                    <a:gd name="connsiteY32" fmla="*/ 186690 h 227192"/>
                    <a:gd name="connsiteX33" fmla="*/ 209550 w 254551"/>
                    <a:gd name="connsiteY33" fmla="*/ 188595 h 227192"/>
                    <a:gd name="connsiteX34" fmla="*/ 220980 w 254551"/>
                    <a:gd name="connsiteY34" fmla="*/ 186690 h 227192"/>
                    <a:gd name="connsiteX35" fmla="*/ 226695 w 254551"/>
                    <a:gd name="connsiteY35" fmla="*/ 182880 h 227192"/>
                    <a:gd name="connsiteX36" fmla="*/ 234315 w 254551"/>
                    <a:gd name="connsiteY36" fmla="*/ 165735 h 227192"/>
                    <a:gd name="connsiteX37" fmla="*/ 238125 w 254551"/>
                    <a:gd name="connsiteY37" fmla="*/ 154305 h 227192"/>
                    <a:gd name="connsiteX38" fmla="*/ 240030 w 254551"/>
                    <a:gd name="connsiteY38" fmla="*/ 148590 h 227192"/>
                    <a:gd name="connsiteX39" fmla="*/ 245745 w 254551"/>
                    <a:gd name="connsiteY39" fmla="*/ 120015 h 227192"/>
                    <a:gd name="connsiteX40" fmla="*/ 247650 w 254551"/>
                    <a:gd name="connsiteY40" fmla="*/ 114300 h 227192"/>
                    <a:gd name="connsiteX41" fmla="*/ 249555 w 254551"/>
                    <a:gd name="connsiteY41" fmla="*/ 108585 h 227192"/>
                    <a:gd name="connsiteX42" fmla="*/ 241935 w 254551"/>
                    <a:gd name="connsiteY42" fmla="*/ 89535 h 227192"/>
                    <a:gd name="connsiteX43" fmla="*/ 236220 w 254551"/>
                    <a:gd name="connsiteY43" fmla="*/ 85725 h 227192"/>
                    <a:gd name="connsiteX44" fmla="*/ 238125 w 254551"/>
                    <a:gd name="connsiteY44" fmla="*/ 80010 h 227192"/>
                    <a:gd name="connsiteX45" fmla="*/ 243840 w 254551"/>
                    <a:gd name="connsiteY45" fmla="*/ 78105 h 227192"/>
                    <a:gd name="connsiteX46" fmla="*/ 249555 w 254551"/>
                    <a:gd name="connsiteY46" fmla="*/ 74295 h 227192"/>
                    <a:gd name="connsiteX47" fmla="*/ 251460 w 254551"/>
                    <a:gd name="connsiteY47" fmla="*/ 24765 h 227192"/>
                    <a:gd name="connsiteX48" fmla="*/ 249555 w 254551"/>
                    <a:gd name="connsiteY48" fmla="*/ 19050 h 227192"/>
                    <a:gd name="connsiteX49" fmla="*/ 243840 w 254551"/>
                    <a:gd name="connsiteY49" fmla="*/ 15240 h 227192"/>
                    <a:gd name="connsiteX50" fmla="*/ 234315 w 254551"/>
                    <a:gd name="connsiteY50" fmla="*/ 3810 h 227192"/>
                    <a:gd name="connsiteX51" fmla="*/ 228600 w 254551"/>
                    <a:gd name="connsiteY51" fmla="*/ 0 h 227192"/>
                    <a:gd name="connsiteX52" fmla="*/ 217170 w 254551"/>
                    <a:gd name="connsiteY52" fmla="*/ 1905 h 227192"/>
                    <a:gd name="connsiteX53" fmla="*/ 213360 w 254551"/>
                    <a:gd name="connsiteY53" fmla="*/ 7620 h 227192"/>
                    <a:gd name="connsiteX54" fmla="*/ 207645 w 254551"/>
                    <a:gd name="connsiteY54" fmla="*/ 9525 h 227192"/>
                    <a:gd name="connsiteX55" fmla="*/ 203835 w 254551"/>
                    <a:gd name="connsiteY55" fmla="*/ 20955 h 227192"/>
                    <a:gd name="connsiteX56" fmla="*/ 201930 w 254551"/>
                    <a:gd name="connsiteY56" fmla="*/ 26670 h 227192"/>
                    <a:gd name="connsiteX57" fmla="*/ 200025 w 254551"/>
                    <a:gd name="connsiteY57" fmla="*/ 38100 h 227192"/>
                    <a:gd name="connsiteX58" fmla="*/ 205740 w 254551"/>
                    <a:gd name="connsiteY58" fmla="*/ 72390 h 227192"/>
                    <a:gd name="connsiteX59" fmla="*/ 213360 w 254551"/>
                    <a:gd name="connsiteY59" fmla="*/ 83820 h 227192"/>
                    <a:gd name="connsiteX60" fmla="*/ 217170 w 254551"/>
                    <a:gd name="connsiteY60" fmla="*/ 89535 h 227192"/>
                    <a:gd name="connsiteX61" fmla="*/ 215265 w 254551"/>
                    <a:gd name="connsiteY61" fmla="*/ 97155 h 227192"/>
                    <a:gd name="connsiteX62" fmla="*/ 203835 w 254551"/>
                    <a:gd name="connsiteY62" fmla="*/ 104775 h 227192"/>
                    <a:gd name="connsiteX63" fmla="*/ 198120 w 254551"/>
                    <a:gd name="connsiteY63" fmla="*/ 116205 h 227192"/>
                    <a:gd name="connsiteX64" fmla="*/ 196215 w 254551"/>
                    <a:gd name="connsiteY64" fmla="*/ 121920 h 227192"/>
                    <a:gd name="connsiteX65" fmla="*/ 190500 w 254551"/>
                    <a:gd name="connsiteY65" fmla="*/ 133350 h 227192"/>
                    <a:gd name="connsiteX66" fmla="*/ 182880 w 254551"/>
                    <a:gd name="connsiteY66" fmla="*/ 154305 h 227192"/>
                    <a:gd name="connsiteX67" fmla="*/ 175260 w 254551"/>
                    <a:gd name="connsiteY67" fmla="*/ 156210 h 227192"/>
                    <a:gd name="connsiteX68" fmla="*/ 169545 w 254551"/>
                    <a:gd name="connsiteY68" fmla="*/ 150495 h 227192"/>
                    <a:gd name="connsiteX69" fmla="*/ 167640 w 254551"/>
                    <a:gd name="connsiteY69" fmla="*/ 144780 h 227192"/>
                    <a:gd name="connsiteX70" fmla="*/ 156210 w 254551"/>
                    <a:gd name="connsiteY70" fmla="*/ 140970 h 227192"/>
                    <a:gd name="connsiteX71" fmla="*/ 150495 w 254551"/>
                    <a:gd name="connsiteY71" fmla="*/ 139065 h 227192"/>
                    <a:gd name="connsiteX72" fmla="*/ 139065 w 254551"/>
                    <a:gd name="connsiteY72" fmla="*/ 135255 h 227192"/>
                    <a:gd name="connsiteX73" fmla="*/ 133350 w 254551"/>
                    <a:gd name="connsiteY73" fmla="*/ 133350 h 227192"/>
                    <a:gd name="connsiteX74" fmla="*/ 121920 w 254551"/>
                    <a:gd name="connsiteY74" fmla="*/ 127635 h 227192"/>
                    <a:gd name="connsiteX75" fmla="*/ 89535 w 254551"/>
                    <a:gd name="connsiteY75" fmla="*/ 125730 h 227192"/>
                    <a:gd name="connsiteX76" fmla="*/ 78105 w 254551"/>
                    <a:gd name="connsiteY76" fmla="*/ 116205 h 227192"/>
                    <a:gd name="connsiteX77" fmla="*/ 76200 w 254551"/>
                    <a:gd name="connsiteY77" fmla="*/ 110490 h 227192"/>
                    <a:gd name="connsiteX78" fmla="*/ 72390 w 254551"/>
                    <a:gd name="connsiteY78" fmla="*/ 104775 h 227192"/>
                    <a:gd name="connsiteX79" fmla="*/ 68580 w 254551"/>
                    <a:gd name="connsiteY79" fmla="*/ 89535 h 227192"/>
                    <a:gd name="connsiteX80" fmla="*/ 62865 w 254551"/>
                    <a:gd name="connsiteY80" fmla="*/ 85725 h 227192"/>
                    <a:gd name="connsiteX81" fmla="*/ 53340 w 254551"/>
                    <a:gd name="connsiteY81" fmla="*/ 83820 h 227192"/>
                    <a:gd name="connsiteX82" fmla="*/ 47625 w 254551"/>
                    <a:gd name="connsiteY82" fmla="*/ 80010 h 227192"/>
                    <a:gd name="connsiteX83" fmla="*/ 41910 w 254551"/>
                    <a:gd name="connsiteY83" fmla="*/ 78105 h 227192"/>
                    <a:gd name="connsiteX84" fmla="*/ 34290 w 254551"/>
                    <a:gd name="connsiteY84" fmla="*/ 64770 h 227192"/>
                    <a:gd name="connsiteX85" fmla="*/ 30480 w 254551"/>
                    <a:gd name="connsiteY85" fmla="*/ 53340 h 227192"/>
                    <a:gd name="connsiteX86" fmla="*/ 34290 w 254551"/>
                    <a:gd name="connsiteY86" fmla="*/ 47625 h 227192"/>
                    <a:gd name="connsiteX87" fmla="*/ 32385 w 254551"/>
                    <a:gd name="connsiteY87" fmla="*/ 28575 h 227192"/>
                    <a:gd name="connsiteX88" fmla="*/ 30480 w 254551"/>
                    <a:gd name="connsiteY88" fmla="*/ 22860 h 227192"/>
                    <a:gd name="connsiteX89" fmla="*/ 36195 w 254551"/>
                    <a:gd name="connsiteY89" fmla="*/ 30480 h 227192"/>
                    <a:gd name="connsiteX0" fmla="*/ 36195 w 254551"/>
                    <a:gd name="connsiteY0" fmla="*/ 30480 h 227192"/>
                    <a:gd name="connsiteX1" fmla="*/ 36195 w 254551"/>
                    <a:gd name="connsiteY1" fmla="*/ 30480 h 227192"/>
                    <a:gd name="connsiteX2" fmla="*/ 20955 w 254551"/>
                    <a:gd name="connsiteY2" fmla="*/ 20955 h 227192"/>
                    <a:gd name="connsiteX3" fmla="*/ 17145 w 254551"/>
                    <a:gd name="connsiteY3" fmla="*/ 9525 h 227192"/>
                    <a:gd name="connsiteX4" fmla="*/ 1905 w 254551"/>
                    <a:gd name="connsiteY4" fmla="*/ 20955 h 227192"/>
                    <a:gd name="connsiteX5" fmla="*/ 0 w 254551"/>
                    <a:gd name="connsiteY5" fmla="*/ 26670 h 227192"/>
                    <a:gd name="connsiteX6" fmla="*/ 1905 w 254551"/>
                    <a:gd name="connsiteY6" fmla="*/ 47625 h 227192"/>
                    <a:gd name="connsiteX7" fmla="*/ 9525 w 254551"/>
                    <a:gd name="connsiteY7" fmla="*/ 59055 h 227192"/>
                    <a:gd name="connsiteX8" fmla="*/ 13335 w 254551"/>
                    <a:gd name="connsiteY8" fmla="*/ 70485 h 227192"/>
                    <a:gd name="connsiteX9" fmla="*/ 15240 w 254551"/>
                    <a:gd name="connsiteY9" fmla="*/ 99060 h 227192"/>
                    <a:gd name="connsiteX10" fmla="*/ 17145 w 254551"/>
                    <a:gd name="connsiteY10" fmla="*/ 104775 h 227192"/>
                    <a:gd name="connsiteX11" fmla="*/ 22860 w 254551"/>
                    <a:gd name="connsiteY11" fmla="*/ 108585 h 227192"/>
                    <a:gd name="connsiteX12" fmla="*/ 26670 w 254551"/>
                    <a:gd name="connsiteY12" fmla="*/ 114300 h 227192"/>
                    <a:gd name="connsiteX13" fmla="*/ 32385 w 254551"/>
                    <a:gd name="connsiteY13" fmla="*/ 118110 h 227192"/>
                    <a:gd name="connsiteX14" fmla="*/ 41910 w 254551"/>
                    <a:gd name="connsiteY14" fmla="*/ 131445 h 227192"/>
                    <a:gd name="connsiteX15" fmla="*/ 59055 w 254551"/>
                    <a:gd name="connsiteY15" fmla="*/ 133350 h 227192"/>
                    <a:gd name="connsiteX16" fmla="*/ 64770 w 254551"/>
                    <a:gd name="connsiteY16" fmla="*/ 180975 h 227192"/>
                    <a:gd name="connsiteX17" fmla="*/ 74295 w 254551"/>
                    <a:gd name="connsiteY17" fmla="*/ 188595 h 227192"/>
                    <a:gd name="connsiteX18" fmla="*/ 80010 w 254551"/>
                    <a:gd name="connsiteY18" fmla="*/ 192405 h 227192"/>
                    <a:gd name="connsiteX19" fmla="*/ 87630 w 254551"/>
                    <a:gd name="connsiteY19" fmla="*/ 201930 h 227192"/>
                    <a:gd name="connsiteX20" fmla="*/ 95250 w 254551"/>
                    <a:gd name="connsiteY20" fmla="*/ 213360 h 227192"/>
                    <a:gd name="connsiteX21" fmla="*/ 99060 w 254551"/>
                    <a:gd name="connsiteY21" fmla="*/ 219075 h 227192"/>
                    <a:gd name="connsiteX22" fmla="*/ 104775 w 254551"/>
                    <a:gd name="connsiteY22" fmla="*/ 220980 h 227192"/>
                    <a:gd name="connsiteX23" fmla="*/ 108585 w 254551"/>
                    <a:gd name="connsiteY23" fmla="*/ 226695 h 227192"/>
                    <a:gd name="connsiteX24" fmla="*/ 133350 w 254551"/>
                    <a:gd name="connsiteY24" fmla="*/ 222885 h 227192"/>
                    <a:gd name="connsiteX25" fmla="*/ 144780 w 254551"/>
                    <a:gd name="connsiteY25" fmla="*/ 211455 h 227192"/>
                    <a:gd name="connsiteX26" fmla="*/ 148590 w 254551"/>
                    <a:gd name="connsiteY26" fmla="*/ 205740 h 227192"/>
                    <a:gd name="connsiteX27" fmla="*/ 160020 w 254551"/>
                    <a:gd name="connsiteY27" fmla="*/ 201930 h 227192"/>
                    <a:gd name="connsiteX28" fmla="*/ 161925 w 254551"/>
                    <a:gd name="connsiteY28" fmla="*/ 196215 h 227192"/>
                    <a:gd name="connsiteX29" fmla="*/ 163830 w 254551"/>
                    <a:gd name="connsiteY29" fmla="*/ 184785 h 227192"/>
                    <a:gd name="connsiteX30" fmla="*/ 175260 w 254551"/>
                    <a:gd name="connsiteY30" fmla="*/ 180975 h 227192"/>
                    <a:gd name="connsiteX31" fmla="*/ 198120 w 254551"/>
                    <a:gd name="connsiteY31" fmla="*/ 182880 h 227192"/>
                    <a:gd name="connsiteX32" fmla="*/ 203835 w 254551"/>
                    <a:gd name="connsiteY32" fmla="*/ 186690 h 227192"/>
                    <a:gd name="connsiteX33" fmla="*/ 209550 w 254551"/>
                    <a:gd name="connsiteY33" fmla="*/ 188595 h 227192"/>
                    <a:gd name="connsiteX34" fmla="*/ 220980 w 254551"/>
                    <a:gd name="connsiteY34" fmla="*/ 186690 h 227192"/>
                    <a:gd name="connsiteX35" fmla="*/ 226695 w 254551"/>
                    <a:gd name="connsiteY35" fmla="*/ 182880 h 227192"/>
                    <a:gd name="connsiteX36" fmla="*/ 234315 w 254551"/>
                    <a:gd name="connsiteY36" fmla="*/ 165735 h 227192"/>
                    <a:gd name="connsiteX37" fmla="*/ 238125 w 254551"/>
                    <a:gd name="connsiteY37" fmla="*/ 154305 h 227192"/>
                    <a:gd name="connsiteX38" fmla="*/ 240030 w 254551"/>
                    <a:gd name="connsiteY38" fmla="*/ 148590 h 227192"/>
                    <a:gd name="connsiteX39" fmla="*/ 245745 w 254551"/>
                    <a:gd name="connsiteY39" fmla="*/ 120015 h 227192"/>
                    <a:gd name="connsiteX40" fmla="*/ 247650 w 254551"/>
                    <a:gd name="connsiteY40" fmla="*/ 114300 h 227192"/>
                    <a:gd name="connsiteX41" fmla="*/ 249555 w 254551"/>
                    <a:gd name="connsiteY41" fmla="*/ 108585 h 227192"/>
                    <a:gd name="connsiteX42" fmla="*/ 241935 w 254551"/>
                    <a:gd name="connsiteY42" fmla="*/ 89535 h 227192"/>
                    <a:gd name="connsiteX43" fmla="*/ 236220 w 254551"/>
                    <a:gd name="connsiteY43" fmla="*/ 85725 h 227192"/>
                    <a:gd name="connsiteX44" fmla="*/ 238125 w 254551"/>
                    <a:gd name="connsiteY44" fmla="*/ 80010 h 227192"/>
                    <a:gd name="connsiteX45" fmla="*/ 243840 w 254551"/>
                    <a:gd name="connsiteY45" fmla="*/ 78105 h 227192"/>
                    <a:gd name="connsiteX46" fmla="*/ 249555 w 254551"/>
                    <a:gd name="connsiteY46" fmla="*/ 74295 h 227192"/>
                    <a:gd name="connsiteX47" fmla="*/ 251460 w 254551"/>
                    <a:gd name="connsiteY47" fmla="*/ 24765 h 227192"/>
                    <a:gd name="connsiteX48" fmla="*/ 249555 w 254551"/>
                    <a:gd name="connsiteY48" fmla="*/ 19050 h 227192"/>
                    <a:gd name="connsiteX49" fmla="*/ 243840 w 254551"/>
                    <a:gd name="connsiteY49" fmla="*/ 15240 h 227192"/>
                    <a:gd name="connsiteX50" fmla="*/ 234315 w 254551"/>
                    <a:gd name="connsiteY50" fmla="*/ 3810 h 227192"/>
                    <a:gd name="connsiteX51" fmla="*/ 228600 w 254551"/>
                    <a:gd name="connsiteY51" fmla="*/ 0 h 227192"/>
                    <a:gd name="connsiteX52" fmla="*/ 217170 w 254551"/>
                    <a:gd name="connsiteY52" fmla="*/ 1905 h 227192"/>
                    <a:gd name="connsiteX53" fmla="*/ 213360 w 254551"/>
                    <a:gd name="connsiteY53" fmla="*/ 7620 h 227192"/>
                    <a:gd name="connsiteX54" fmla="*/ 207645 w 254551"/>
                    <a:gd name="connsiteY54" fmla="*/ 9525 h 227192"/>
                    <a:gd name="connsiteX55" fmla="*/ 203835 w 254551"/>
                    <a:gd name="connsiteY55" fmla="*/ 20955 h 227192"/>
                    <a:gd name="connsiteX56" fmla="*/ 201930 w 254551"/>
                    <a:gd name="connsiteY56" fmla="*/ 26670 h 227192"/>
                    <a:gd name="connsiteX57" fmla="*/ 200025 w 254551"/>
                    <a:gd name="connsiteY57" fmla="*/ 38100 h 227192"/>
                    <a:gd name="connsiteX58" fmla="*/ 205740 w 254551"/>
                    <a:gd name="connsiteY58" fmla="*/ 72390 h 227192"/>
                    <a:gd name="connsiteX59" fmla="*/ 213360 w 254551"/>
                    <a:gd name="connsiteY59" fmla="*/ 83820 h 227192"/>
                    <a:gd name="connsiteX60" fmla="*/ 217170 w 254551"/>
                    <a:gd name="connsiteY60" fmla="*/ 89535 h 227192"/>
                    <a:gd name="connsiteX61" fmla="*/ 215265 w 254551"/>
                    <a:gd name="connsiteY61" fmla="*/ 97155 h 227192"/>
                    <a:gd name="connsiteX62" fmla="*/ 203835 w 254551"/>
                    <a:gd name="connsiteY62" fmla="*/ 104775 h 227192"/>
                    <a:gd name="connsiteX63" fmla="*/ 198120 w 254551"/>
                    <a:gd name="connsiteY63" fmla="*/ 116205 h 227192"/>
                    <a:gd name="connsiteX64" fmla="*/ 196215 w 254551"/>
                    <a:gd name="connsiteY64" fmla="*/ 121920 h 227192"/>
                    <a:gd name="connsiteX65" fmla="*/ 190500 w 254551"/>
                    <a:gd name="connsiteY65" fmla="*/ 133350 h 227192"/>
                    <a:gd name="connsiteX66" fmla="*/ 182880 w 254551"/>
                    <a:gd name="connsiteY66" fmla="*/ 154305 h 227192"/>
                    <a:gd name="connsiteX67" fmla="*/ 175260 w 254551"/>
                    <a:gd name="connsiteY67" fmla="*/ 156210 h 227192"/>
                    <a:gd name="connsiteX68" fmla="*/ 169545 w 254551"/>
                    <a:gd name="connsiteY68" fmla="*/ 150495 h 227192"/>
                    <a:gd name="connsiteX69" fmla="*/ 167640 w 254551"/>
                    <a:gd name="connsiteY69" fmla="*/ 144780 h 227192"/>
                    <a:gd name="connsiteX70" fmla="*/ 156210 w 254551"/>
                    <a:gd name="connsiteY70" fmla="*/ 140970 h 227192"/>
                    <a:gd name="connsiteX71" fmla="*/ 150495 w 254551"/>
                    <a:gd name="connsiteY71" fmla="*/ 139065 h 227192"/>
                    <a:gd name="connsiteX72" fmla="*/ 139065 w 254551"/>
                    <a:gd name="connsiteY72" fmla="*/ 135255 h 227192"/>
                    <a:gd name="connsiteX73" fmla="*/ 133350 w 254551"/>
                    <a:gd name="connsiteY73" fmla="*/ 133350 h 227192"/>
                    <a:gd name="connsiteX74" fmla="*/ 121920 w 254551"/>
                    <a:gd name="connsiteY74" fmla="*/ 127635 h 227192"/>
                    <a:gd name="connsiteX75" fmla="*/ 89535 w 254551"/>
                    <a:gd name="connsiteY75" fmla="*/ 125730 h 227192"/>
                    <a:gd name="connsiteX76" fmla="*/ 78105 w 254551"/>
                    <a:gd name="connsiteY76" fmla="*/ 116205 h 227192"/>
                    <a:gd name="connsiteX77" fmla="*/ 76200 w 254551"/>
                    <a:gd name="connsiteY77" fmla="*/ 110490 h 227192"/>
                    <a:gd name="connsiteX78" fmla="*/ 72390 w 254551"/>
                    <a:gd name="connsiteY78" fmla="*/ 104775 h 227192"/>
                    <a:gd name="connsiteX79" fmla="*/ 68580 w 254551"/>
                    <a:gd name="connsiteY79" fmla="*/ 89535 h 227192"/>
                    <a:gd name="connsiteX80" fmla="*/ 62865 w 254551"/>
                    <a:gd name="connsiteY80" fmla="*/ 85725 h 227192"/>
                    <a:gd name="connsiteX81" fmla="*/ 53340 w 254551"/>
                    <a:gd name="connsiteY81" fmla="*/ 83820 h 227192"/>
                    <a:gd name="connsiteX82" fmla="*/ 47625 w 254551"/>
                    <a:gd name="connsiteY82" fmla="*/ 80010 h 227192"/>
                    <a:gd name="connsiteX83" fmla="*/ 41910 w 254551"/>
                    <a:gd name="connsiteY83" fmla="*/ 78105 h 227192"/>
                    <a:gd name="connsiteX84" fmla="*/ 34290 w 254551"/>
                    <a:gd name="connsiteY84" fmla="*/ 64770 h 227192"/>
                    <a:gd name="connsiteX85" fmla="*/ 30480 w 254551"/>
                    <a:gd name="connsiteY85" fmla="*/ 53340 h 227192"/>
                    <a:gd name="connsiteX86" fmla="*/ 34290 w 254551"/>
                    <a:gd name="connsiteY86" fmla="*/ 47625 h 227192"/>
                    <a:gd name="connsiteX87" fmla="*/ 32385 w 254551"/>
                    <a:gd name="connsiteY87" fmla="*/ 28575 h 227192"/>
                    <a:gd name="connsiteX88" fmla="*/ 30480 w 254551"/>
                    <a:gd name="connsiteY88" fmla="*/ 22860 h 227192"/>
                    <a:gd name="connsiteX89" fmla="*/ 36195 w 254551"/>
                    <a:gd name="connsiteY89" fmla="*/ 30480 h 227192"/>
                    <a:gd name="connsiteX0" fmla="*/ 36317 w 254673"/>
                    <a:gd name="connsiteY0" fmla="*/ 30480 h 227192"/>
                    <a:gd name="connsiteX1" fmla="*/ 36317 w 254673"/>
                    <a:gd name="connsiteY1" fmla="*/ 30480 h 227192"/>
                    <a:gd name="connsiteX2" fmla="*/ 21077 w 254673"/>
                    <a:gd name="connsiteY2" fmla="*/ 20955 h 227192"/>
                    <a:gd name="connsiteX3" fmla="*/ 2027 w 254673"/>
                    <a:gd name="connsiteY3" fmla="*/ 20955 h 227192"/>
                    <a:gd name="connsiteX4" fmla="*/ 122 w 254673"/>
                    <a:gd name="connsiteY4" fmla="*/ 26670 h 227192"/>
                    <a:gd name="connsiteX5" fmla="*/ 2027 w 254673"/>
                    <a:gd name="connsiteY5" fmla="*/ 47625 h 227192"/>
                    <a:gd name="connsiteX6" fmla="*/ 9647 w 254673"/>
                    <a:gd name="connsiteY6" fmla="*/ 59055 h 227192"/>
                    <a:gd name="connsiteX7" fmla="*/ 13457 w 254673"/>
                    <a:gd name="connsiteY7" fmla="*/ 70485 h 227192"/>
                    <a:gd name="connsiteX8" fmla="*/ 15362 w 254673"/>
                    <a:gd name="connsiteY8" fmla="*/ 99060 h 227192"/>
                    <a:gd name="connsiteX9" fmla="*/ 17267 w 254673"/>
                    <a:gd name="connsiteY9" fmla="*/ 104775 h 227192"/>
                    <a:gd name="connsiteX10" fmla="*/ 22982 w 254673"/>
                    <a:gd name="connsiteY10" fmla="*/ 108585 h 227192"/>
                    <a:gd name="connsiteX11" fmla="*/ 26792 w 254673"/>
                    <a:gd name="connsiteY11" fmla="*/ 114300 h 227192"/>
                    <a:gd name="connsiteX12" fmla="*/ 32507 w 254673"/>
                    <a:gd name="connsiteY12" fmla="*/ 118110 h 227192"/>
                    <a:gd name="connsiteX13" fmla="*/ 42032 w 254673"/>
                    <a:gd name="connsiteY13" fmla="*/ 131445 h 227192"/>
                    <a:gd name="connsiteX14" fmla="*/ 59177 w 254673"/>
                    <a:gd name="connsiteY14" fmla="*/ 133350 h 227192"/>
                    <a:gd name="connsiteX15" fmla="*/ 64892 w 254673"/>
                    <a:gd name="connsiteY15" fmla="*/ 180975 h 227192"/>
                    <a:gd name="connsiteX16" fmla="*/ 74417 w 254673"/>
                    <a:gd name="connsiteY16" fmla="*/ 188595 h 227192"/>
                    <a:gd name="connsiteX17" fmla="*/ 80132 w 254673"/>
                    <a:gd name="connsiteY17" fmla="*/ 192405 h 227192"/>
                    <a:gd name="connsiteX18" fmla="*/ 87752 w 254673"/>
                    <a:gd name="connsiteY18" fmla="*/ 201930 h 227192"/>
                    <a:gd name="connsiteX19" fmla="*/ 95372 w 254673"/>
                    <a:gd name="connsiteY19" fmla="*/ 213360 h 227192"/>
                    <a:gd name="connsiteX20" fmla="*/ 99182 w 254673"/>
                    <a:gd name="connsiteY20" fmla="*/ 219075 h 227192"/>
                    <a:gd name="connsiteX21" fmla="*/ 104897 w 254673"/>
                    <a:gd name="connsiteY21" fmla="*/ 220980 h 227192"/>
                    <a:gd name="connsiteX22" fmla="*/ 108707 w 254673"/>
                    <a:gd name="connsiteY22" fmla="*/ 226695 h 227192"/>
                    <a:gd name="connsiteX23" fmla="*/ 133472 w 254673"/>
                    <a:gd name="connsiteY23" fmla="*/ 222885 h 227192"/>
                    <a:gd name="connsiteX24" fmla="*/ 144902 w 254673"/>
                    <a:gd name="connsiteY24" fmla="*/ 211455 h 227192"/>
                    <a:gd name="connsiteX25" fmla="*/ 148712 w 254673"/>
                    <a:gd name="connsiteY25" fmla="*/ 205740 h 227192"/>
                    <a:gd name="connsiteX26" fmla="*/ 160142 w 254673"/>
                    <a:gd name="connsiteY26" fmla="*/ 201930 h 227192"/>
                    <a:gd name="connsiteX27" fmla="*/ 162047 w 254673"/>
                    <a:gd name="connsiteY27" fmla="*/ 196215 h 227192"/>
                    <a:gd name="connsiteX28" fmla="*/ 163952 w 254673"/>
                    <a:gd name="connsiteY28" fmla="*/ 184785 h 227192"/>
                    <a:gd name="connsiteX29" fmla="*/ 175382 w 254673"/>
                    <a:gd name="connsiteY29" fmla="*/ 180975 h 227192"/>
                    <a:gd name="connsiteX30" fmla="*/ 198242 w 254673"/>
                    <a:gd name="connsiteY30" fmla="*/ 182880 h 227192"/>
                    <a:gd name="connsiteX31" fmla="*/ 203957 w 254673"/>
                    <a:gd name="connsiteY31" fmla="*/ 186690 h 227192"/>
                    <a:gd name="connsiteX32" fmla="*/ 209672 w 254673"/>
                    <a:gd name="connsiteY32" fmla="*/ 188595 h 227192"/>
                    <a:gd name="connsiteX33" fmla="*/ 221102 w 254673"/>
                    <a:gd name="connsiteY33" fmla="*/ 186690 h 227192"/>
                    <a:gd name="connsiteX34" fmla="*/ 226817 w 254673"/>
                    <a:gd name="connsiteY34" fmla="*/ 182880 h 227192"/>
                    <a:gd name="connsiteX35" fmla="*/ 234437 w 254673"/>
                    <a:gd name="connsiteY35" fmla="*/ 165735 h 227192"/>
                    <a:gd name="connsiteX36" fmla="*/ 238247 w 254673"/>
                    <a:gd name="connsiteY36" fmla="*/ 154305 h 227192"/>
                    <a:gd name="connsiteX37" fmla="*/ 240152 w 254673"/>
                    <a:gd name="connsiteY37" fmla="*/ 148590 h 227192"/>
                    <a:gd name="connsiteX38" fmla="*/ 245867 w 254673"/>
                    <a:gd name="connsiteY38" fmla="*/ 120015 h 227192"/>
                    <a:gd name="connsiteX39" fmla="*/ 247772 w 254673"/>
                    <a:gd name="connsiteY39" fmla="*/ 114300 h 227192"/>
                    <a:gd name="connsiteX40" fmla="*/ 249677 w 254673"/>
                    <a:gd name="connsiteY40" fmla="*/ 108585 h 227192"/>
                    <a:gd name="connsiteX41" fmla="*/ 242057 w 254673"/>
                    <a:gd name="connsiteY41" fmla="*/ 89535 h 227192"/>
                    <a:gd name="connsiteX42" fmla="*/ 236342 w 254673"/>
                    <a:gd name="connsiteY42" fmla="*/ 85725 h 227192"/>
                    <a:gd name="connsiteX43" fmla="*/ 238247 w 254673"/>
                    <a:gd name="connsiteY43" fmla="*/ 80010 h 227192"/>
                    <a:gd name="connsiteX44" fmla="*/ 243962 w 254673"/>
                    <a:gd name="connsiteY44" fmla="*/ 78105 h 227192"/>
                    <a:gd name="connsiteX45" fmla="*/ 249677 w 254673"/>
                    <a:gd name="connsiteY45" fmla="*/ 74295 h 227192"/>
                    <a:gd name="connsiteX46" fmla="*/ 251582 w 254673"/>
                    <a:gd name="connsiteY46" fmla="*/ 24765 h 227192"/>
                    <a:gd name="connsiteX47" fmla="*/ 249677 w 254673"/>
                    <a:gd name="connsiteY47" fmla="*/ 19050 h 227192"/>
                    <a:gd name="connsiteX48" fmla="*/ 243962 w 254673"/>
                    <a:gd name="connsiteY48" fmla="*/ 15240 h 227192"/>
                    <a:gd name="connsiteX49" fmla="*/ 234437 w 254673"/>
                    <a:gd name="connsiteY49" fmla="*/ 3810 h 227192"/>
                    <a:gd name="connsiteX50" fmla="*/ 228722 w 254673"/>
                    <a:gd name="connsiteY50" fmla="*/ 0 h 227192"/>
                    <a:gd name="connsiteX51" fmla="*/ 217292 w 254673"/>
                    <a:gd name="connsiteY51" fmla="*/ 1905 h 227192"/>
                    <a:gd name="connsiteX52" fmla="*/ 213482 w 254673"/>
                    <a:gd name="connsiteY52" fmla="*/ 7620 h 227192"/>
                    <a:gd name="connsiteX53" fmla="*/ 207767 w 254673"/>
                    <a:gd name="connsiteY53" fmla="*/ 9525 h 227192"/>
                    <a:gd name="connsiteX54" fmla="*/ 203957 w 254673"/>
                    <a:gd name="connsiteY54" fmla="*/ 20955 h 227192"/>
                    <a:gd name="connsiteX55" fmla="*/ 202052 w 254673"/>
                    <a:gd name="connsiteY55" fmla="*/ 26670 h 227192"/>
                    <a:gd name="connsiteX56" fmla="*/ 200147 w 254673"/>
                    <a:gd name="connsiteY56" fmla="*/ 38100 h 227192"/>
                    <a:gd name="connsiteX57" fmla="*/ 205862 w 254673"/>
                    <a:gd name="connsiteY57" fmla="*/ 72390 h 227192"/>
                    <a:gd name="connsiteX58" fmla="*/ 213482 w 254673"/>
                    <a:gd name="connsiteY58" fmla="*/ 83820 h 227192"/>
                    <a:gd name="connsiteX59" fmla="*/ 217292 w 254673"/>
                    <a:gd name="connsiteY59" fmla="*/ 89535 h 227192"/>
                    <a:gd name="connsiteX60" fmla="*/ 215387 w 254673"/>
                    <a:gd name="connsiteY60" fmla="*/ 97155 h 227192"/>
                    <a:gd name="connsiteX61" fmla="*/ 203957 w 254673"/>
                    <a:gd name="connsiteY61" fmla="*/ 104775 h 227192"/>
                    <a:gd name="connsiteX62" fmla="*/ 198242 w 254673"/>
                    <a:gd name="connsiteY62" fmla="*/ 116205 h 227192"/>
                    <a:gd name="connsiteX63" fmla="*/ 196337 w 254673"/>
                    <a:gd name="connsiteY63" fmla="*/ 121920 h 227192"/>
                    <a:gd name="connsiteX64" fmla="*/ 190622 w 254673"/>
                    <a:gd name="connsiteY64" fmla="*/ 133350 h 227192"/>
                    <a:gd name="connsiteX65" fmla="*/ 183002 w 254673"/>
                    <a:gd name="connsiteY65" fmla="*/ 154305 h 227192"/>
                    <a:gd name="connsiteX66" fmla="*/ 175382 w 254673"/>
                    <a:gd name="connsiteY66" fmla="*/ 156210 h 227192"/>
                    <a:gd name="connsiteX67" fmla="*/ 169667 w 254673"/>
                    <a:gd name="connsiteY67" fmla="*/ 150495 h 227192"/>
                    <a:gd name="connsiteX68" fmla="*/ 167762 w 254673"/>
                    <a:gd name="connsiteY68" fmla="*/ 144780 h 227192"/>
                    <a:gd name="connsiteX69" fmla="*/ 156332 w 254673"/>
                    <a:gd name="connsiteY69" fmla="*/ 140970 h 227192"/>
                    <a:gd name="connsiteX70" fmla="*/ 150617 w 254673"/>
                    <a:gd name="connsiteY70" fmla="*/ 139065 h 227192"/>
                    <a:gd name="connsiteX71" fmla="*/ 139187 w 254673"/>
                    <a:gd name="connsiteY71" fmla="*/ 135255 h 227192"/>
                    <a:gd name="connsiteX72" fmla="*/ 133472 w 254673"/>
                    <a:gd name="connsiteY72" fmla="*/ 133350 h 227192"/>
                    <a:gd name="connsiteX73" fmla="*/ 122042 w 254673"/>
                    <a:gd name="connsiteY73" fmla="*/ 127635 h 227192"/>
                    <a:gd name="connsiteX74" fmla="*/ 89657 w 254673"/>
                    <a:gd name="connsiteY74" fmla="*/ 125730 h 227192"/>
                    <a:gd name="connsiteX75" fmla="*/ 78227 w 254673"/>
                    <a:gd name="connsiteY75" fmla="*/ 116205 h 227192"/>
                    <a:gd name="connsiteX76" fmla="*/ 76322 w 254673"/>
                    <a:gd name="connsiteY76" fmla="*/ 110490 h 227192"/>
                    <a:gd name="connsiteX77" fmla="*/ 72512 w 254673"/>
                    <a:gd name="connsiteY77" fmla="*/ 104775 h 227192"/>
                    <a:gd name="connsiteX78" fmla="*/ 68702 w 254673"/>
                    <a:gd name="connsiteY78" fmla="*/ 89535 h 227192"/>
                    <a:gd name="connsiteX79" fmla="*/ 62987 w 254673"/>
                    <a:gd name="connsiteY79" fmla="*/ 85725 h 227192"/>
                    <a:gd name="connsiteX80" fmla="*/ 53462 w 254673"/>
                    <a:gd name="connsiteY80" fmla="*/ 83820 h 227192"/>
                    <a:gd name="connsiteX81" fmla="*/ 47747 w 254673"/>
                    <a:gd name="connsiteY81" fmla="*/ 80010 h 227192"/>
                    <a:gd name="connsiteX82" fmla="*/ 42032 w 254673"/>
                    <a:gd name="connsiteY82" fmla="*/ 78105 h 227192"/>
                    <a:gd name="connsiteX83" fmla="*/ 34412 w 254673"/>
                    <a:gd name="connsiteY83" fmla="*/ 64770 h 227192"/>
                    <a:gd name="connsiteX84" fmla="*/ 30602 w 254673"/>
                    <a:gd name="connsiteY84" fmla="*/ 53340 h 227192"/>
                    <a:gd name="connsiteX85" fmla="*/ 34412 w 254673"/>
                    <a:gd name="connsiteY85" fmla="*/ 47625 h 227192"/>
                    <a:gd name="connsiteX86" fmla="*/ 32507 w 254673"/>
                    <a:gd name="connsiteY86" fmla="*/ 28575 h 227192"/>
                    <a:gd name="connsiteX87" fmla="*/ 30602 w 254673"/>
                    <a:gd name="connsiteY87" fmla="*/ 22860 h 227192"/>
                    <a:gd name="connsiteX88" fmla="*/ 36317 w 254673"/>
                    <a:gd name="connsiteY88" fmla="*/ 30480 h 227192"/>
                    <a:gd name="connsiteX0" fmla="*/ 30602 w 254673"/>
                    <a:gd name="connsiteY0" fmla="*/ 22860 h 227192"/>
                    <a:gd name="connsiteX1" fmla="*/ 36317 w 254673"/>
                    <a:gd name="connsiteY1" fmla="*/ 30480 h 227192"/>
                    <a:gd name="connsiteX2" fmla="*/ 21077 w 254673"/>
                    <a:gd name="connsiteY2" fmla="*/ 20955 h 227192"/>
                    <a:gd name="connsiteX3" fmla="*/ 2027 w 254673"/>
                    <a:gd name="connsiteY3" fmla="*/ 20955 h 227192"/>
                    <a:gd name="connsiteX4" fmla="*/ 122 w 254673"/>
                    <a:gd name="connsiteY4" fmla="*/ 26670 h 227192"/>
                    <a:gd name="connsiteX5" fmla="*/ 2027 w 254673"/>
                    <a:gd name="connsiteY5" fmla="*/ 47625 h 227192"/>
                    <a:gd name="connsiteX6" fmla="*/ 9647 w 254673"/>
                    <a:gd name="connsiteY6" fmla="*/ 59055 h 227192"/>
                    <a:gd name="connsiteX7" fmla="*/ 13457 w 254673"/>
                    <a:gd name="connsiteY7" fmla="*/ 70485 h 227192"/>
                    <a:gd name="connsiteX8" fmla="*/ 15362 w 254673"/>
                    <a:gd name="connsiteY8" fmla="*/ 99060 h 227192"/>
                    <a:gd name="connsiteX9" fmla="*/ 17267 w 254673"/>
                    <a:gd name="connsiteY9" fmla="*/ 104775 h 227192"/>
                    <a:gd name="connsiteX10" fmla="*/ 22982 w 254673"/>
                    <a:gd name="connsiteY10" fmla="*/ 108585 h 227192"/>
                    <a:gd name="connsiteX11" fmla="*/ 26792 w 254673"/>
                    <a:gd name="connsiteY11" fmla="*/ 114300 h 227192"/>
                    <a:gd name="connsiteX12" fmla="*/ 32507 w 254673"/>
                    <a:gd name="connsiteY12" fmla="*/ 118110 h 227192"/>
                    <a:gd name="connsiteX13" fmla="*/ 42032 w 254673"/>
                    <a:gd name="connsiteY13" fmla="*/ 131445 h 227192"/>
                    <a:gd name="connsiteX14" fmla="*/ 59177 w 254673"/>
                    <a:gd name="connsiteY14" fmla="*/ 133350 h 227192"/>
                    <a:gd name="connsiteX15" fmla="*/ 64892 w 254673"/>
                    <a:gd name="connsiteY15" fmla="*/ 180975 h 227192"/>
                    <a:gd name="connsiteX16" fmla="*/ 74417 w 254673"/>
                    <a:gd name="connsiteY16" fmla="*/ 188595 h 227192"/>
                    <a:gd name="connsiteX17" fmla="*/ 80132 w 254673"/>
                    <a:gd name="connsiteY17" fmla="*/ 192405 h 227192"/>
                    <a:gd name="connsiteX18" fmla="*/ 87752 w 254673"/>
                    <a:gd name="connsiteY18" fmla="*/ 201930 h 227192"/>
                    <a:gd name="connsiteX19" fmla="*/ 95372 w 254673"/>
                    <a:gd name="connsiteY19" fmla="*/ 213360 h 227192"/>
                    <a:gd name="connsiteX20" fmla="*/ 99182 w 254673"/>
                    <a:gd name="connsiteY20" fmla="*/ 219075 h 227192"/>
                    <a:gd name="connsiteX21" fmla="*/ 104897 w 254673"/>
                    <a:gd name="connsiteY21" fmla="*/ 220980 h 227192"/>
                    <a:gd name="connsiteX22" fmla="*/ 108707 w 254673"/>
                    <a:gd name="connsiteY22" fmla="*/ 226695 h 227192"/>
                    <a:gd name="connsiteX23" fmla="*/ 133472 w 254673"/>
                    <a:gd name="connsiteY23" fmla="*/ 222885 h 227192"/>
                    <a:gd name="connsiteX24" fmla="*/ 144902 w 254673"/>
                    <a:gd name="connsiteY24" fmla="*/ 211455 h 227192"/>
                    <a:gd name="connsiteX25" fmla="*/ 148712 w 254673"/>
                    <a:gd name="connsiteY25" fmla="*/ 205740 h 227192"/>
                    <a:gd name="connsiteX26" fmla="*/ 160142 w 254673"/>
                    <a:gd name="connsiteY26" fmla="*/ 201930 h 227192"/>
                    <a:gd name="connsiteX27" fmla="*/ 162047 w 254673"/>
                    <a:gd name="connsiteY27" fmla="*/ 196215 h 227192"/>
                    <a:gd name="connsiteX28" fmla="*/ 163952 w 254673"/>
                    <a:gd name="connsiteY28" fmla="*/ 184785 h 227192"/>
                    <a:gd name="connsiteX29" fmla="*/ 175382 w 254673"/>
                    <a:gd name="connsiteY29" fmla="*/ 180975 h 227192"/>
                    <a:gd name="connsiteX30" fmla="*/ 198242 w 254673"/>
                    <a:gd name="connsiteY30" fmla="*/ 182880 h 227192"/>
                    <a:gd name="connsiteX31" fmla="*/ 203957 w 254673"/>
                    <a:gd name="connsiteY31" fmla="*/ 186690 h 227192"/>
                    <a:gd name="connsiteX32" fmla="*/ 209672 w 254673"/>
                    <a:gd name="connsiteY32" fmla="*/ 188595 h 227192"/>
                    <a:gd name="connsiteX33" fmla="*/ 221102 w 254673"/>
                    <a:gd name="connsiteY33" fmla="*/ 186690 h 227192"/>
                    <a:gd name="connsiteX34" fmla="*/ 226817 w 254673"/>
                    <a:gd name="connsiteY34" fmla="*/ 182880 h 227192"/>
                    <a:gd name="connsiteX35" fmla="*/ 234437 w 254673"/>
                    <a:gd name="connsiteY35" fmla="*/ 165735 h 227192"/>
                    <a:gd name="connsiteX36" fmla="*/ 238247 w 254673"/>
                    <a:gd name="connsiteY36" fmla="*/ 154305 h 227192"/>
                    <a:gd name="connsiteX37" fmla="*/ 240152 w 254673"/>
                    <a:gd name="connsiteY37" fmla="*/ 148590 h 227192"/>
                    <a:gd name="connsiteX38" fmla="*/ 245867 w 254673"/>
                    <a:gd name="connsiteY38" fmla="*/ 120015 h 227192"/>
                    <a:gd name="connsiteX39" fmla="*/ 247772 w 254673"/>
                    <a:gd name="connsiteY39" fmla="*/ 114300 h 227192"/>
                    <a:gd name="connsiteX40" fmla="*/ 249677 w 254673"/>
                    <a:gd name="connsiteY40" fmla="*/ 108585 h 227192"/>
                    <a:gd name="connsiteX41" fmla="*/ 242057 w 254673"/>
                    <a:gd name="connsiteY41" fmla="*/ 89535 h 227192"/>
                    <a:gd name="connsiteX42" fmla="*/ 236342 w 254673"/>
                    <a:gd name="connsiteY42" fmla="*/ 85725 h 227192"/>
                    <a:gd name="connsiteX43" fmla="*/ 238247 w 254673"/>
                    <a:gd name="connsiteY43" fmla="*/ 80010 h 227192"/>
                    <a:gd name="connsiteX44" fmla="*/ 243962 w 254673"/>
                    <a:gd name="connsiteY44" fmla="*/ 78105 h 227192"/>
                    <a:gd name="connsiteX45" fmla="*/ 249677 w 254673"/>
                    <a:gd name="connsiteY45" fmla="*/ 74295 h 227192"/>
                    <a:gd name="connsiteX46" fmla="*/ 251582 w 254673"/>
                    <a:gd name="connsiteY46" fmla="*/ 24765 h 227192"/>
                    <a:gd name="connsiteX47" fmla="*/ 249677 w 254673"/>
                    <a:gd name="connsiteY47" fmla="*/ 19050 h 227192"/>
                    <a:gd name="connsiteX48" fmla="*/ 243962 w 254673"/>
                    <a:gd name="connsiteY48" fmla="*/ 15240 h 227192"/>
                    <a:gd name="connsiteX49" fmla="*/ 234437 w 254673"/>
                    <a:gd name="connsiteY49" fmla="*/ 3810 h 227192"/>
                    <a:gd name="connsiteX50" fmla="*/ 228722 w 254673"/>
                    <a:gd name="connsiteY50" fmla="*/ 0 h 227192"/>
                    <a:gd name="connsiteX51" fmla="*/ 217292 w 254673"/>
                    <a:gd name="connsiteY51" fmla="*/ 1905 h 227192"/>
                    <a:gd name="connsiteX52" fmla="*/ 213482 w 254673"/>
                    <a:gd name="connsiteY52" fmla="*/ 7620 h 227192"/>
                    <a:gd name="connsiteX53" fmla="*/ 207767 w 254673"/>
                    <a:gd name="connsiteY53" fmla="*/ 9525 h 227192"/>
                    <a:gd name="connsiteX54" fmla="*/ 203957 w 254673"/>
                    <a:gd name="connsiteY54" fmla="*/ 20955 h 227192"/>
                    <a:gd name="connsiteX55" fmla="*/ 202052 w 254673"/>
                    <a:gd name="connsiteY55" fmla="*/ 26670 h 227192"/>
                    <a:gd name="connsiteX56" fmla="*/ 200147 w 254673"/>
                    <a:gd name="connsiteY56" fmla="*/ 38100 h 227192"/>
                    <a:gd name="connsiteX57" fmla="*/ 205862 w 254673"/>
                    <a:gd name="connsiteY57" fmla="*/ 72390 h 227192"/>
                    <a:gd name="connsiteX58" fmla="*/ 213482 w 254673"/>
                    <a:gd name="connsiteY58" fmla="*/ 83820 h 227192"/>
                    <a:gd name="connsiteX59" fmla="*/ 217292 w 254673"/>
                    <a:gd name="connsiteY59" fmla="*/ 89535 h 227192"/>
                    <a:gd name="connsiteX60" fmla="*/ 215387 w 254673"/>
                    <a:gd name="connsiteY60" fmla="*/ 97155 h 227192"/>
                    <a:gd name="connsiteX61" fmla="*/ 203957 w 254673"/>
                    <a:gd name="connsiteY61" fmla="*/ 104775 h 227192"/>
                    <a:gd name="connsiteX62" fmla="*/ 198242 w 254673"/>
                    <a:gd name="connsiteY62" fmla="*/ 116205 h 227192"/>
                    <a:gd name="connsiteX63" fmla="*/ 196337 w 254673"/>
                    <a:gd name="connsiteY63" fmla="*/ 121920 h 227192"/>
                    <a:gd name="connsiteX64" fmla="*/ 190622 w 254673"/>
                    <a:gd name="connsiteY64" fmla="*/ 133350 h 227192"/>
                    <a:gd name="connsiteX65" fmla="*/ 183002 w 254673"/>
                    <a:gd name="connsiteY65" fmla="*/ 154305 h 227192"/>
                    <a:gd name="connsiteX66" fmla="*/ 175382 w 254673"/>
                    <a:gd name="connsiteY66" fmla="*/ 156210 h 227192"/>
                    <a:gd name="connsiteX67" fmla="*/ 169667 w 254673"/>
                    <a:gd name="connsiteY67" fmla="*/ 150495 h 227192"/>
                    <a:gd name="connsiteX68" fmla="*/ 167762 w 254673"/>
                    <a:gd name="connsiteY68" fmla="*/ 144780 h 227192"/>
                    <a:gd name="connsiteX69" fmla="*/ 156332 w 254673"/>
                    <a:gd name="connsiteY69" fmla="*/ 140970 h 227192"/>
                    <a:gd name="connsiteX70" fmla="*/ 150617 w 254673"/>
                    <a:gd name="connsiteY70" fmla="*/ 139065 h 227192"/>
                    <a:gd name="connsiteX71" fmla="*/ 139187 w 254673"/>
                    <a:gd name="connsiteY71" fmla="*/ 135255 h 227192"/>
                    <a:gd name="connsiteX72" fmla="*/ 133472 w 254673"/>
                    <a:gd name="connsiteY72" fmla="*/ 133350 h 227192"/>
                    <a:gd name="connsiteX73" fmla="*/ 122042 w 254673"/>
                    <a:gd name="connsiteY73" fmla="*/ 127635 h 227192"/>
                    <a:gd name="connsiteX74" fmla="*/ 89657 w 254673"/>
                    <a:gd name="connsiteY74" fmla="*/ 125730 h 227192"/>
                    <a:gd name="connsiteX75" fmla="*/ 78227 w 254673"/>
                    <a:gd name="connsiteY75" fmla="*/ 116205 h 227192"/>
                    <a:gd name="connsiteX76" fmla="*/ 76322 w 254673"/>
                    <a:gd name="connsiteY76" fmla="*/ 110490 h 227192"/>
                    <a:gd name="connsiteX77" fmla="*/ 72512 w 254673"/>
                    <a:gd name="connsiteY77" fmla="*/ 104775 h 227192"/>
                    <a:gd name="connsiteX78" fmla="*/ 68702 w 254673"/>
                    <a:gd name="connsiteY78" fmla="*/ 89535 h 227192"/>
                    <a:gd name="connsiteX79" fmla="*/ 62987 w 254673"/>
                    <a:gd name="connsiteY79" fmla="*/ 85725 h 227192"/>
                    <a:gd name="connsiteX80" fmla="*/ 53462 w 254673"/>
                    <a:gd name="connsiteY80" fmla="*/ 83820 h 227192"/>
                    <a:gd name="connsiteX81" fmla="*/ 47747 w 254673"/>
                    <a:gd name="connsiteY81" fmla="*/ 80010 h 227192"/>
                    <a:gd name="connsiteX82" fmla="*/ 42032 w 254673"/>
                    <a:gd name="connsiteY82" fmla="*/ 78105 h 227192"/>
                    <a:gd name="connsiteX83" fmla="*/ 34412 w 254673"/>
                    <a:gd name="connsiteY83" fmla="*/ 64770 h 227192"/>
                    <a:gd name="connsiteX84" fmla="*/ 30602 w 254673"/>
                    <a:gd name="connsiteY84" fmla="*/ 53340 h 227192"/>
                    <a:gd name="connsiteX85" fmla="*/ 34412 w 254673"/>
                    <a:gd name="connsiteY85" fmla="*/ 47625 h 227192"/>
                    <a:gd name="connsiteX86" fmla="*/ 32507 w 254673"/>
                    <a:gd name="connsiteY86" fmla="*/ 28575 h 227192"/>
                    <a:gd name="connsiteX87" fmla="*/ 30602 w 254673"/>
                    <a:gd name="connsiteY87" fmla="*/ 22860 h 227192"/>
                    <a:gd name="connsiteX0" fmla="*/ 32507 w 254673"/>
                    <a:gd name="connsiteY0" fmla="*/ 28575 h 227192"/>
                    <a:gd name="connsiteX1" fmla="*/ 36317 w 254673"/>
                    <a:gd name="connsiteY1" fmla="*/ 30480 h 227192"/>
                    <a:gd name="connsiteX2" fmla="*/ 21077 w 254673"/>
                    <a:gd name="connsiteY2" fmla="*/ 20955 h 227192"/>
                    <a:gd name="connsiteX3" fmla="*/ 2027 w 254673"/>
                    <a:gd name="connsiteY3" fmla="*/ 20955 h 227192"/>
                    <a:gd name="connsiteX4" fmla="*/ 122 w 254673"/>
                    <a:gd name="connsiteY4" fmla="*/ 26670 h 227192"/>
                    <a:gd name="connsiteX5" fmla="*/ 2027 w 254673"/>
                    <a:gd name="connsiteY5" fmla="*/ 47625 h 227192"/>
                    <a:gd name="connsiteX6" fmla="*/ 9647 w 254673"/>
                    <a:gd name="connsiteY6" fmla="*/ 59055 h 227192"/>
                    <a:gd name="connsiteX7" fmla="*/ 13457 w 254673"/>
                    <a:gd name="connsiteY7" fmla="*/ 70485 h 227192"/>
                    <a:gd name="connsiteX8" fmla="*/ 15362 w 254673"/>
                    <a:gd name="connsiteY8" fmla="*/ 99060 h 227192"/>
                    <a:gd name="connsiteX9" fmla="*/ 17267 w 254673"/>
                    <a:gd name="connsiteY9" fmla="*/ 104775 h 227192"/>
                    <a:gd name="connsiteX10" fmla="*/ 22982 w 254673"/>
                    <a:gd name="connsiteY10" fmla="*/ 108585 h 227192"/>
                    <a:gd name="connsiteX11" fmla="*/ 26792 w 254673"/>
                    <a:gd name="connsiteY11" fmla="*/ 114300 h 227192"/>
                    <a:gd name="connsiteX12" fmla="*/ 32507 w 254673"/>
                    <a:gd name="connsiteY12" fmla="*/ 118110 h 227192"/>
                    <a:gd name="connsiteX13" fmla="*/ 42032 w 254673"/>
                    <a:gd name="connsiteY13" fmla="*/ 131445 h 227192"/>
                    <a:gd name="connsiteX14" fmla="*/ 59177 w 254673"/>
                    <a:gd name="connsiteY14" fmla="*/ 133350 h 227192"/>
                    <a:gd name="connsiteX15" fmla="*/ 64892 w 254673"/>
                    <a:gd name="connsiteY15" fmla="*/ 180975 h 227192"/>
                    <a:gd name="connsiteX16" fmla="*/ 74417 w 254673"/>
                    <a:gd name="connsiteY16" fmla="*/ 188595 h 227192"/>
                    <a:gd name="connsiteX17" fmla="*/ 80132 w 254673"/>
                    <a:gd name="connsiteY17" fmla="*/ 192405 h 227192"/>
                    <a:gd name="connsiteX18" fmla="*/ 87752 w 254673"/>
                    <a:gd name="connsiteY18" fmla="*/ 201930 h 227192"/>
                    <a:gd name="connsiteX19" fmla="*/ 95372 w 254673"/>
                    <a:gd name="connsiteY19" fmla="*/ 213360 h 227192"/>
                    <a:gd name="connsiteX20" fmla="*/ 99182 w 254673"/>
                    <a:gd name="connsiteY20" fmla="*/ 219075 h 227192"/>
                    <a:gd name="connsiteX21" fmla="*/ 104897 w 254673"/>
                    <a:gd name="connsiteY21" fmla="*/ 220980 h 227192"/>
                    <a:gd name="connsiteX22" fmla="*/ 108707 w 254673"/>
                    <a:gd name="connsiteY22" fmla="*/ 226695 h 227192"/>
                    <a:gd name="connsiteX23" fmla="*/ 133472 w 254673"/>
                    <a:gd name="connsiteY23" fmla="*/ 222885 h 227192"/>
                    <a:gd name="connsiteX24" fmla="*/ 144902 w 254673"/>
                    <a:gd name="connsiteY24" fmla="*/ 211455 h 227192"/>
                    <a:gd name="connsiteX25" fmla="*/ 148712 w 254673"/>
                    <a:gd name="connsiteY25" fmla="*/ 205740 h 227192"/>
                    <a:gd name="connsiteX26" fmla="*/ 160142 w 254673"/>
                    <a:gd name="connsiteY26" fmla="*/ 201930 h 227192"/>
                    <a:gd name="connsiteX27" fmla="*/ 162047 w 254673"/>
                    <a:gd name="connsiteY27" fmla="*/ 196215 h 227192"/>
                    <a:gd name="connsiteX28" fmla="*/ 163952 w 254673"/>
                    <a:gd name="connsiteY28" fmla="*/ 184785 h 227192"/>
                    <a:gd name="connsiteX29" fmla="*/ 175382 w 254673"/>
                    <a:gd name="connsiteY29" fmla="*/ 180975 h 227192"/>
                    <a:gd name="connsiteX30" fmla="*/ 198242 w 254673"/>
                    <a:gd name="connsiteY30" fmla="*/ 182880 h 227192"/>
                    <a:gd name="connsiteX31" fmla="*/ 203957 w 254673"/>
                    <a:gd name="connsiteY31" fmla="*/ 186690 h 227192"/>
                    <a:gd name="connsiteX32" fmla="*/ 209672 w 254673"/>
                    <a:gd name="connsiteY32" fmla="*/ 188595 h 227192"/>
                    <a:gd name="connsiteX33" fmla="*/ 221102 w 254673"/>
                    <a:gd name="connsiteY33" fmla="*/ 186690 h 227192"/>
                    <a:gd name="connsiteX34" fmla="*/ 226817 w 254673"/>
                    <a:gd name="connsiteY34" fmla="*/ 182880 h 227192"/>
                    <a:gd name="connsiteX35" fmla="*/ 234437 w 254673"/>
                    <a:gd name="connsiteY35" fmla="*/ 165735 h 227192"/>
                    <a:gd name="connsiteX36" fmla="*/ 238247 w 254673"/>
                    <a:gd name="connsiteY36" fmla="*/ 154305 h 227192"/>
                    <a:gd name="connsiteX37" fmla="*/ 240152 w 254673"/>
                    <a:gd name="connsiteY37" fmla="*/ 148590 h 227192"/>
                    <a:gd name="connsiteX38" fmla="*/ 245867 w 254673"/>
                    <a:gd name="connsiteY38" fmla="*/ 120015 h 227192"/>
                    <a:gd name="connsiteX39" fmla="*/ 247772 w 254673"/>
                    <a:gd name="connsiteY39" fmla="*/ 114300 h 227192"/>
                    <a:gd name="connsiteX40" fmla="*/ 249677 w 254673"/>
                    <a:gd name="connsiteY40" fmla="*/ 108585 h 227192"/>
                    <a:gd name="connsiteX41" fmla="*/ 242057 w 254673"/>
                    <a:gd name="connsiteY41" fmla="*/ 89535 h 227192"/>
                    <a:gd name="connsiteX42" fmla="*/ 236342 w 254673"/>
                    <a:gd name="connsiteY42" fmla="*/ 85725 h 227192"/>
                    <a:gd name="connsiteX43" fmla="*/ 238247 w 254673"/>
                    <a:gd name="connsiteY43" fmla="*/ 80010 h 227192"/>
                    <a:gd name="connsiteX44" fmla="*/ 243962 w 254673"/>
                    <a:gd name="connsiteY44" fmla="*/ 78105 h 227192"/>
                    <a:gd name="connsiteX45" fmla="*/ 249677 w 254673"/>
                    <a:gd name="connsiteY45" fmla="*/ 74295 h 227192"/>
                    <a:gd name="connsiteX46" fmla="*/ 251582 w 254673"/>
                    <a:gd name="connsiteY46" fmla="*/ 24765 h 227192"/>
                    <a:gd name="connsiteX47" fmla="*/ 249677 w 254673"/>
                    <a:gd name="connsiteY47" fmla="*/ 19050 h 227192"/>
                    <a:gd name="connsiteX48" fmla="*/ 243962 w 254673"/>
                    <a:gd name="connsiteY48" fmla="*/ 15240 h 227192"/>
                    <a:gd name="connsiteX49" fmla="*/ 234437 w 254673"/>
                    <a:gd name="connsiteY49" fmla="*/ 3810 h 227192"/>
                    <a:gd name="connsiteX50" fmla="*/ 228722 w 254673"/>
                    <a:gd name="connsiteY50" fmla="*/ 0 h 227192"/>
                    <a:gd name="connsiteX51" fmla="*/ 217292 w 254673"/>
                    <a:gd name="connsiteY51" fmla="*/ 1905 h 227192"/>
                    <a:gd name="connsiteX52" fmla="*/ 213482 w 254673"/>
                    <a:gd name="connsiteY52" fmla="*/ 7620 h 227192"/>
                    <a:gd name="connsiteX53" fmla="*/ 207767 w 254673"/>
                    <a:gd name="connsiteY53" fmla="*/ 9525 h 227192"/>
                    <a:gd name="connsiteX54" fmla="*/ 203957 w 254673"/>
                    <a:gd name="connsiteY54" fmla="*/ 20955 h 227192"/>
                    <a:gd name="connsiteX55" fmla="*/ 202052 w 254673"/>
                    <a:gd name="connsiteY55" fmla="*/ 26670 h 227192"/>
                    <a:gd name="connsiteX56" fmla="*/ 200147 w 254673"/>
                    <a:gd name="connsiteY56" fmla="*/ 38100 h 227192"/>
                    <a:gd name="connsiteX57" fmla="*/ 205862 w 254673"/>
                    <a:gd name="connsiteY57" fmla="*/ 72390 h 227192"/>
                    <a:gd name="connsiteX58" fmla="*/ 213482 w 254673"/>
                    <a:gd name="connsiteY58" fmla="*/ 83820 h 227192"/>
                    <a:gd name="connsiteX59" fmla="*/ 217292 w 254673"/>
                    <a:gd name="connsiteY59" fmla="*/ 89535 h 227192"/>
                    <a:gd name="connsiteX60" fmla="*/ 215387 w 254673"/>
                    <a:gd name="connsiteY60" fmla="*/ 97155 h 227192"/>
                    <a:gd name="connsiteX61" fmla="*/ 203957 w 254673"/>
                    <a:gd name="connsiteY61" fmla="*/ 104775 h 227192"/>
                    <a:gd name="connsiteX62" fmla="*/ 198242 w 254673"/>
                    <a:gd name="connsiteY62" fmla="*/ 116205 h 227192"/>
                    <a:gd name="connsiteX63" fmla="*/ 196337 w 254673"/>
                    <a:gd name="connsiteY63" fmla="*/ 121920 h 227192"/>
                    <a:gd name="connsiteX64" fmla="*/ 190622 w 254673"/>
                    <a:gd name="connsiteY64" fmla="*/ 133350 h 227192"/>
                    <a:gd name="connsiteX65" fmla="*/ 183002 w 254673"/>
                    <a:gd name="connsiteY65" fmla="*/ 154305 h 227192"/>
                    <a:gd name="connsiteX66" fmla="*/ 175382 w 254673"/>
                    <a:gd name="connsiteY66" fmla="*/ 156210 h 227192"/>
                    <a:gd name="connsiteX67" fmla="*/ 169667 w 254673"/>
                    <a:gd name="connsiteY67" fmla="*/ 150495 h 227192"/>
                    <a:gd name="connsiteX68" fmla="*/ 167762 w 254673"/>
                    <a:gd name="connsiteY68" fmla="*/ 144780 h 227192"/>
                    <a:gd name="connsiteX69" fmla="*/ 156332 w 254673"/>
                    <a:gd name="connsiteY69" fmla="*/ 140970 h 227192"/>
                    <a:gd name="connsiteX70" fmla="*/ 150617 w 254673"/>
                    <a:gd name="connsiteY70" fmla="*/ 139065 h 227192"/>
                    <a:gd name="connsiteX71" fmla="*/ 139187 w 254673"/>
                    <a:gd name="connsiteY71" fmla="*/ 135255 h 227192"/>
                    <a:gd name="connsiteX72" fmla="*/ 133472 w 254673"/>
                    <a:gd name="connsiteY72" fmla="*/ 133350 h 227192"/>
                    <a:gd name="connsiteX73" fmla="*/ 122042 w 254673"/>
                    <a:gd name="connsiteY73" fmla="*/ 127635 h 227192"/>
                    <a:gd name="connsiteX74" fmla="*/ 89657 w 254673"/>
                    <a:gd name="connsiteY74" fmla="*/ 125730 h 227192"/>
                    <a:gd name="connsiteX75" fmla="*/ 78227 w 254673"/>
                    <a:gd name="connsiteY75" fmla="*/ 116205 h 227192"/>
                    <a:gd name="connsiteX76" fmla="*/ 76322 w 254673"/>
                    <a:gd name="connsiteY76" fmla="*/ 110490 h 227192"/>
                    <a:gd name="connsiteX77" fmla="*/ 72512 w 254673"/>
                    <a:gd name="connsiteY77" fmla="*/ 104775 h 227192"/>
                    <a:gd name="connsiteX78" fmla="*/ 68702 w 254673"/>
                    <a:gd name="connsiteY78" fmla="*/ 89535 h 227192"/>
                    <a:gd name="connsiteX79" fmla="*/ 62987 w 254673"/>
                    <a:gd name="connsiteY79" fmla="*/ 85725 h 227192"/>
                    <a:gd name="connsiteX80" fmla="*/ 53462 w 254673"/>
                    <a:gd name="connsiteY80" fmla="*/ 83820 h 227192"/>
                    <a:gd name="connsiteX81" fmla="*/ 47747 w 254673"/>
                    <a:gd name="connsiteY81" fmla="*/ 80010 h 227192"/>
                    <a:gd name="connsiteX82" fmla="*/ 42032 w 254673"/>
                    <a:gd name="connsiteY82" fmla="*/ 78105 h 227192"/>
                    <a:gd name="connsiteX83" fmla="*/ 34412 w 254673"/>
                    <a:gd name="connsiteY83" fmla="*/ 64770 h 227192"/>
                    <a:gd name="connsiteX84" fmla="*/ 30602 w 254673"/>
                    <a:gd name="connsiteY84" fmla="*/ 53340 h 227192"/>
                    <a:gd name="connsiteX85" fmla="*/ 34412 w 254673"/>
                    <a:gd name="connsiteY85" fmla="*/ 47625 h 227192"/>
                    <a:gd name="connsiteX86" fmla="*/ 32507 w 254673"/>
                    <a:gd name="connsiteY86" fmla="*/ 28575 h 227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</a:cxnLst>
                  <a:rect l="l" t="t" r="r" b="b"/>
                  <a:pathLst>
                    <a:path w="254673" h="227192">
                      <a:moveTo>
                        <a:pt x="32507" y="28575"/>
                      </a:moveTo>
                      <a:cubicBezTo>
                        <a:pt x="32825" y="25718"/>
                        <a:pt x="38222" y="31750"/>
                        <a:pt x="36317" y="30480"/>
                      </a:cubicBezTo>
                      <a:cubicBezTo>
                        <a:pt x="34412" y="29210"/>
                        <a:pt x="26792" y="22543"/>
                        <a:pt x="21077" y="20955"/>
                      </a:cubicBezTo>
                      <a:cubicBezTo>
                        <a:pt x="15362" y="19368"/>
                        <a:pt x="5519" y="20003"/>
                        <a:pt x="2027" y="20955"/>
                      </a:cubicBezTo>
                      <a:cubicBezTo>
                        <a:pt x="-1465" y="21907"/>
                        <a:pt x="757" y="24765"/>
                        <a:pt x="122" y="26670"/>
                      </a:cubicBezTo>
                      <a:cubicBezTo>
                        <a:pt x="757" y="33655"/>
                        <a:pt x="48" y="40896"/>
                        <a:pt x="2027" y="47625"/>
                      </a:cubicBezTo>
                      <a:cubicBezTo>
                        <a:pt x="3319" y="52018"/>
                        <a:pt x="8199" y="54711"/>
                        <a:pt x="9647" y="59055"/>
                      </a:cubicBezTo>
                      <a:lnTo>
                        <a:pt x="13457" y="70485"/>
                      </a:lnTo>
                      <a:cubicBezTo>
                        <a:pt x="14092" y="80010"/>
                        <a:pt x="14308" y="89572"/>
                        <a:pt x="15362" y="99060"/>
                      </a:cubicBezTo>
                      <a:cubicBezTo>
                        <a:pt x="15584" y="101056"/>
                        <a:pt x="16013" y="103207"/>
                        <a:pt x="17267" y="104775"/>
                      </a:cubicBezTo>
                      <a:cubicBezTo>
                        <a:pt x="18697" y="106563"/>
                        <a:pt x="21077" y="107315"/>
                        <a:pt x="22982" y="108585"/>
                      </a:cubicBezTo>
                      <a:cubicBezTo>
                        <a:pt x="24252" y="110490"/>
                        <a:pt x="25173" y="112681"/>
                        <a:pt x="26792" y="114300"/>
                      </a:cubicBezTo>
                      <a:cubicBezTo>
                        <a:pt x="28411" y="115919"/>
                        <a:pt x="31294" y="116168"/>
                        <a:pt x="32507" y="118110"/>
                      </a:cubicBezTo>
                      <a:cubicBezTo>
                        <a:pt x="39079" y="128624"/>
                        <a:pt x="31444" y="129680"/>
                        <a:pt x="42032" y="131445"/>
                      </a:cubicBezTo>
                      <a:cubicBezTo>
                        <a:pt x="47704" y="132390"/>
                        <a:pt x="53462" y="132715"/>
                        <a:pt x="59177" y="133350"/>
                      </a:cubicBezTo>
                      <a:cubicBezTo>
                        <a:pt x="71402" y="151687"/>
                        <a:pt x="58865" y="130751"/>
                        <a:pt x="64892" y="180975"/>
                      </a:cubicBezTo>
                      <a:cubicBezTo>
                        <a:pt x="65712" y="187808"/>
                        <a:pt x="70129" y="186451"/>
                        <a:pt x="74417" y="188595"/>
                      </a:cubicBezTo>
                      <a:cubicBezTo>
                        <a:pt x="76465" y="189619"/>
                        <a:pt x="78227" y="191135"/>
                        <a:pt x="80132" y="192405"/>
                      </a:cubicBezTo>
                      <a:cubicBezTo>
                        <a:pt x="84422" y="205275"/>
                        <a:pt x="78472" y="191325"/>
                        <a:pt x="87752" y="201930"/>
                      </a:cubicBezTo>
                      <a:cubicBezTo>
                        <a:pt x="90767" y="205376"/>
                        <a:pt x="92832" y="209550"/>
                        <a:pt x="95372" y="213360"/>
                      </a:cubicBezTo>
                      <a:cubicBezTo>
                        <a:pt x="96642" y="215265"/>
                        <a:pt x="97010" y="218351"/>
                        <a:pt x="99182" y="219075"/>
                      </a:cubicBezTo>
                      <a:lnTo>
                        <a:pt x="104897" y="220980"/>
                      </a:lnTo>
                      <a:cubicBezTo>
                        <a:pt x="106167" y="222885"/>
                        <a:pt x="106449" y="226319"/>
                        <a:pt x="108707" y="226695"/>
                      </a:cubicBezTo>
                      <a:cubicBezTo>
                        <a:pt x="118529" y="228332"/>
                        <a:pt x="125235" y="225631"/>
                        <a:pt x="133472" y="222885"/>
                      </a:cubicBezTo>
                      <a:cubicBezTo>
                        <a:pt x="137282" y="219075"/>
                        <a:pt x="141913" y="215938"/>
                        <a:pt x="144902" y="211455"/>
                      </a:cubicBezTo>
                      <a:cubicBezTo>
                        <a:pt x="146172" y="209550"/>
                        <a:pt x="146770" y="206953"/>
                        <a:pt x="148712" y="205740"/>
                      </a:cubicBezTo>
                      <a:cubicBezTo>
                        <a:pt x="152118" y="203611"/>
                        <a:pt x="160142" y="201930"/>
                        <a:pt x="160142" y="201930"/>
                      </a:cubicBezTo>
                      <a:cubicBezTo>
                        <a:pt x="160777" y="200025"/>
                        <a:pt x="161611" y="198175"/>
                        <a:pt x="162047" y="196215"/>
                      </a:cubicBezTo>
                      <a:cubicBezTo>
                        <a:pt x="162885" y="192444"/>
                        <a:pt x="161408" y="187692"/>
                        <a:pt x="163952" y="184785"/>
                      </a:cubicBezTo>
                      <a:cubicBezTo>
                        <a:pt x="166597" y="181763"/>
                        <a:pt x="175382" y="180975"/>
                        <a:pt x="175382" y="180975"/>
                      </a:cubicBezTo>
                      <a:cubicBezTo>
                        <a:pt x="183002" y="181610"/>
                        <a:pt x="190744" y="181380"/>
                        <a:pt x="198242" y="182880"/>
                      </a:cubicBezTo>
                      <a:cubicBezTo>
                        <a:pt x="200487" y="183329"/>
                        <a:pt x="201909" y="185666"/>
                        <a:pt x="203957" y="186690"/>
                      </a:cubicBezTo>
                      <a:cubicBezTo>
                        <a:pt x="205753" y="187588"/>
                        <a:pt x="207767" y="187960"/>
                        <a:pt x="209672" y="188595"/>
                      </a:cubicBezTo>
                      <a:cubicBezTo>
                        <a:pt x="213482" y="187960"/>
                        <a:pt x="217438" y="187911"/>
                        <a:pt x="221102" y="186690"/>
                      </a:cubicBezTo>
                      <a:cubicBezTo>
                        <a:pt x="223274" y="185966"/>
                        <a:pt x="225198" y="184499"/>
                        <a:pt x="226817" y="182880"/>
                      </a:cubicBezTo>
                      <a:cubicBezTo>
                        <a:pt x="231345" y="178352"/>
                        <a:pt x="232551" y="171394"/>
                        <a:pt x="234437" y="165735"/>
                      </a:cubicBezTo>
                      <a:lnTo>
                        <a:pt x="238247" y="154305"/>
                      </a:lnTo>
                      <a:lnTo>
                        <a:pt x="240152" y="148590"/>
                      </a:lnTo>
                      <a:cubicBezTo>
                        <a:pt x="242501" y="127453"/>
                        <a:pt x="240239" y="136900"/>
                        <a:pt x="245867" y="120015"/>
                      </a:cubicBezTo>
                      <a:lnTo>
                        <a:pt x="247772" y="114300"/>
                      </a:lnTo>
                      <a:lnTo>
                        <a:pt x="249677" y="108585"/>
                      </a:lnTo>
                      <a:cubicBezTo>
                        <a:pt x="248493" y="105032"/>
                        <a:pt x="245171" y="93272"/>
                        <a:pt x="242057" y="89535"/>
                      </a:cubicBezTo>
                      <a:cubicBezTo>
                        <a:pt x="240591" y="87776"/>
                        <a:pt x="238247" y="86995"/>
                        <a:pt x="236342" y="85725"/>
                      </a:cubicBezTo>
                      <a:cubicBezTo>
                        <a:pt x="236977" y="83820"/>
                        <a:pt x="236827" y="81430"/>
                        <a:pt x="238247" y="80010"/>
                      </a:cubicBezTo>
                      <a:cubicBezTo>
                        <a:pt x="239667" y="78590"/>
                        <a:pt x="242166" y="79003"/>
                        <a:pt x="243962" y="78105"/>
                      </a:cubicBezTo>
                      <a:cubicBezTo>
                        <a:pt x="246010" y="77081"/>
                        <a:pt x="247772" y="75565"/>
                        <a:pt x="249677" y="74295"/>
                      </a:cubicBezTo>
                      <a:cubicBezTo>
                        <a:pt x="257118" y="51971"/>
                        <a:pt x="254922" y="63173"/>
                        <a:pt x="251582" y="24765"/>
                      </a:cubicBezTo>
                      <a:cubicBezTo>
                        <a:pt x="251408" y="22765"/>
                        <a:pt x="250931" y="20618"/>
                        <a:pt x="249677" y="19050"/>
                      </a:cubicBezTo>
                      <a:cubicBezTo>
                        <a:pt x="248247" y="17262"/>
                        <a:pt x="245867" y="16510"/>
                        <a:pt x="243962" y="15240"/>
                      </a:cubicBezTo>
                      <a:cubicBezTo>
                        <a:pt x="240216" y="9621"/>
                        <a:pt x="239937" y="8394"/>
                        <a:pt x="234437" y="3810"/>
                      </a:cubicBezTo>
                      <a:cubicBezTo>
                        <a:pt x="232678" y="2344"/>
                        <a:pt x="230627" y="1270"/>
                        <a:pt x="228722" y="0"/>
                      </a:cubicBezTo>
                      <a:cubicBezTo>
                        <a:pt x="224912" y="635"/>
                        <a:pt x="220747" y="178"/>
                        <a:pt x="217292" y="1905"/>
                      </a:cubicBezTo>
                      <a:cubicBezTo>
                        <a:pt x="215244" y="2929"/>
                        <a:pt x="215270" y="6190"/>
                        <a:pt x="213482" y="7620"/>
                      </a:cubicBezTo>
                      <a:cubicBezTo>
                        <a:pt x="211914" y="8874"/>
                        <a:pt x="209672" y="8890"/>
                        <a:pt x="207767" y="9525"/>
                      </a:cubicBezTo>
                      <a:lnTo>
                        <a:pt x="203957" y="20955"/>
                      </a:lnTo>
                      <a:cubicBezTo>
                        <a:pt x="203322" y="22860"/>
                        <a:pt x="202382" y="24689"/>
                        <a:pt x="202052" y="26670"/>
                      </a:cubicBezTo>
                      <a:lnTo>
                        <a:pt x="200147" y="38100"/>
                      </a:lnTo>
                      <a:cubicBezTo>
                        <a:pt x="200692" y="44635"/>
                        <a:pt x="200524" y="64383"/>
                        <a:pt x="205862" y="72390"/>
                      </a:cubicBezTo>
                      <a:lnTo>
                        <a:pt x="213482" y="83820"/>
                      </a:lnTo>
                      <a:lnTo>
                        <a:pt x="217292" y="89535"/>
                      </a:lnTo>
                      <a:cubicBezTo>
                        <a:pt x="216657" y="92075"/>
                        <a:pt x="217111" y="95185"/>
                        <a:pt x="215387" y="97155"/>
                      </a:cubicBezTo>
                      <a:cubicBezTo>
                        <a:pt x="212372" y="100601"/>
                        <a:pt x="203957" y="104775"/>
                        <a:pt x="203957" y="104775"/>
                      </a:cubicBezTo>
                      <a:cubicBezTo>
                        <a:pt x="199169" y="119140"/>
                        <a:pt x="205628" y="101433"/>
                        <a:pt x="198242" y="116205"/>
                      </a:cubicBezTo>
                      <a:cubicBezTo>
                        <a:pt x="197344" y="118001"/>
                        <a:pt x="197235" y="120124"/>
                        <a:pt x="196337" y="121920"/>
                      </a:cubicBezTo>
                      <a:cubicBezTo>
                        <a:pt x="188951" y="136692"/>
                        <a:pt x="195410" y="118985"/>
                        <a:pt x="190622" y="133350"/>
                      </a:cubicBezTo>
                      <a:cubicBezTo>
                        <a:pt x="189197" y="146178"/>
                        <a:pt x="193210" y="149930"/>
                        <a:pt x="183002" y="154305"/>
                      </a:cubicBezTo>
                      <a:cubicBezTo>
                        <a:pt x="180596" y="155336"/>
                        <a:pt x="177922" y="155575"/>
                        <a:pt x="175382" y="156210"/>
                      </a:cubicBezTo>
                      <a:cubicBezTo>
                        <a:pt x="173477" y="154305"/>
                        <a:pt x="171161" y="152737"/>
                        <a:pt x="169667" y="150495"/>
                      </a:cubicBezTo>
                      <a:cubicBezTo>
                        <a:pt x="168553" y="148824"/>
                        <a:pt x="169396" y="145947"/>
                        <a:pt x="167762" y="144780"/>
                      </a:cubicBezTo>
                      <a:cubicBezTo>
                        <a:pt x="164494" y="142446"/>
                        <a:pt x="160142" y="142240"/>
                        <a:pt x="156332" y="140970"/>
                      </a:cubicBezTo>
                      <a:lnTo>
                        <a:pt x="150617" y="139065"/>
                      </a:lnTo>
                      <a:lnTo>
                        <a:pt x="139187" y="135255"/>
                      </a:lnTo>
                      <a:cubicBezTo>
                        <a:pt x="137282" y="134620"/>
                        <a:pt x="135143" y="134464"/>
                        <a:pt x="133472" y="133350"/>
                      </a:cubicBezTo>
                      <a:cubicBezTo>
                        <a:pt x="129789" y="130895"/>
                        <a:pt x="126681" y="128099"/>
                        <a:pt x="122042" y="127635"/>
                      </a:cubicBezTo>
                      <a:cubicBezTo>
                        <a:pt x="111282" y="126559"/>
                        <a:pt x="100452" y="126365"/>
                        <a:pt x="89657" y="125730"/>
                      </a:cubicBezTo>
                      <a:cubicBezTo>
                        <a:pt x="85440" y="122919"/>
                        <a:pt x="81161" y="120605"/>
                        <a:pt x="78227" y="116205"/>
                      </a:cubicBezTo>
                      <a:cubicBezTo>
                        <a:pt x="77113" y="114534"/>
                        <a:pt x="77220" y="112286"/>
                        <a:pt x="76322" y="110490"/>
                      </a:cubicBezTo>
                      <a:cubicBezTo>
                        <a:pt x="75298" y="108442"/>
                        <a:pt x="73782" y="106680"/>
                        <a:pt x="72512" y="104775"/>
                      </a:cubicBezTo>
                      <a:cubicBezTo>
                        <a:pt x="72417" y="104301"/>
                        <a:pt x="70264" y="91488"/>
                        <a:pt x="68702" y="89535"/>
                      </a:cubicBezTo>
                      <a:cubicBezTo>
                        <a:pt x="67272" y="87747"/>
                        <a:pt x="65131" y="86529"/>
                        <a:pt x="62987" y="85725"/>
                      </a:cubicBezTo>
                      <a:cubicBezTo>
                        <a:pt x="59955" y="84588"/>
                        <a:pt x="56637" y="84455"/>
                        <a:pt x="53462" y="83820"/>
                      </a:cubicBezTo>
                      <a:cubicBezTo>
                        <a:pt x="51557" y="82550"/>
                        <a:pt x="49795" y="81034"/>
                        <a:pt x="47747" y="80010"/>
                      </a:cubicBezTo>
                      <a:cubicBezTo>
                        <a:pt x="45951" y="79112"/>
                        <a:pt x="43600" y="79359"/>
                        <a:pt x="42032" y="78105"/>
                      </a:cubicBezTo>
                      <a:cubicBezTo>
                        <a:pt x="40010" y="76488"/>
                        <a:pt x="35074" y="66424"/>
                        <a:pt x="34412" y="64770"/>
                      </a:cubicBezTo>
                      <a:cubicBezTo>
                        <a:pt x="32920" y="61041"/>
                        <a:pt x="30602" y="53340"/>
                        <a:pt x="30602" y="53340"/>
                      </a:cubicBezTo>
                      <a:cubicBezTo>
                        <a:pt x="31872" y="51435"/>
                        <a:pt x="34236" y="49908"/>
                        <a:pt x="34412" y="47625"/>
                      </a:cubicBezTo>
                      <a:cubicBezTo>
                        <a:pt x="34901" y="41262"/>
                        <a:pt x="33477" y="34882"/>
                        <a:pt x="32507" y="28575"/>
                      </a:cubicBezTo>
                      <a:close/>
                    </a:path>
                  </a:pathLst>
                </a:custGeom>
                <a:solidFill>
                  <a:srgbClr val="9E6AAF">
                    <a:alpha val="72941"/>
                  </a:srgbClr>
                </a:solidFill>
                <a:ln w="19050" cap="flat" cmpd="sng" algn="ctr">
                  <a:solidFill>
                    <a:srgbClr val="7F5292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5783">
                    <a:defRPr/>
                  </a:pPr>
                  <a:endParaRPr lang="en-US" sz="1000" kern="0">
                    <a:solidFill>
                      <a:srgbClr val="FFFFFF"/>
                    </a:solidFill>
                    <a:latin typeface="Arial" panose="020B0604020202020204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539" name="Group 1538">
                <a:extLst>
                  <a:ext uri="{FF2B5EF4-FFF2-40B4-BE49-F238E27FC236}">
                    <a16:creationId xmlns:a16="http://schemas.microsoft.com/office/drawing/2014/main" id="{45160B48-6686-E9E3-39EC-2D02E5E64FA6}"/>
                  </a:ext>
                </a:extLst>
              </p:cNvPr>
              <p:cNvGrpSpPr/>
              <p:nvPr/>
            </p:nvGrpSpPr>
            <p:grpSpPr>
              <a:xfrm rot="4790200">
                <a:off x="2651377" y="5213087"/>
                <a:ext cx="86099" cy="96938"/>
                <a:chOff x="3390226" y="902644"/>
                <a:chExt cx="294782" cy="292335"/>
              </a:xfrm>
            </p:grpSpPr>
            <p:grpSp>
              <p:nvGrpSpPr>
                <p:cNvPr id="1540" name="Group 1539">
                  <a:extLst>
                    <a:ext uri="{FF2B5EF4-FFF2-40B4-BE49-F238E27FC236}">
                      <a16:creationId xmlns:a16="http://schemas.microsoft.com/office/drawing/2014/main" id="{91D8157A-BABC-9083-2190-0B2C97F35A19}"/>
                    </a:ext>
                  </a:extLst>
                </p:cNvPr>
                <p:cNvGrpSpPr/>
                <p:nvPr/>
              </p:nvGrpSpPr>
              <p:grpSpPr>
                <a:xfrm>
                  <a:off x="3390226" y="902644"/>
                  <a:ext cx="294782" cy="292335"/>
                  <a:chOff x="3390226" y="902644"/>
                  <a:chExt cx="294782" cy="292335"/>
                </a:xfrm>
              </p:grpSpPr>
              <p:sp>
                <p:nvSpPr>
                  <p:cNvPr id="1542" name="Oval 1541">
                    <a:extLst>
                      <a:ext uri="{FF2B5EF4-FFF2-40B4-BE49-F238E27FC236}">
                        <a16:creationId xmlns:a16="http://schemas.microsoft.com/office/drawing/2014/main" id="{6CEF7098-BF6D-E556-A658-26EDAC60BF8B}"/>
                      </a:ext>
                    </a:extLst>
                  </p:cNvPr>
                  <p:cNvSpPr/>
                  <p:nvPr/>
                </p:nvSpPr>
                <p:spPr>
                  <a:xfrm rot="4711444">
                    <a:off x="3391449" y="901421"/>
                    <a:ext cx="292335" cy="294782"/>
                  </a:xfrm>
                  <a:prstGeom prst="ellipse">
                    <a:avLst/>
                  </a:prstGeom>
                  <a:solidFill>
                    <a:srgbClr val="FF2B28">
                      <a:lumMod val="20000"/>
                      <a:lumOff val="80000"/>
                    </a:srgbClr>
                  </a:solidFill>
                  <a:ln w="15875" cap="flat" cmpd="sng" algn="ctr">
                    <a:solidFill>
                      <a:srgbClr val="CC95BC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5783">
                      <a:defRPr/>
                    </a:pPr>
                    <a:endParaRPr lang="en-US" sz="1000" kern="0">
                      <a:solidFill>
                        <a:srgbClr val="FFFFFF"/>
                      </a:solidFill>
                      <a:latin typeface="Arial" panose="020B0604020202020204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1543" name="Group 1542">
                    <a:extLst>
                      <a:ext uri="{FF2B5EF4-FFF2-40B4-BE49-F238E27FC236}">
                        <a16:creationId xmlns:a16="http://schemas.microsoft.com/office/drawing/2014/main" id="{993AF4A4-0391-CCAF-2337-299D46928EC6}"/>
                      </a:ext>
                    </a:extLst>
                  </p:cNvPr>
                  <p:cNvGrpSpPr/>
                  <p:nvPr/>
                </p:nvGrpSpPr>
                <p:grpSpPr>
                  <a:xfrm rot="4711444">
                    <a:off x="3413226" y="963115"/>
                    <a:ext cx="164790" cy="149511"/>
                    <a:chOff x="8770428" y="4145225"/>
                    <a:chExt cx="307647" cy="276804"/>
                  </a:xfrm>
                </p:grpSpPr>
                <p:sp>
                  <p:nvSpPr>
                    <p:cNvPr id="1594" name="Freeform: Shape 474">
                      <a:extLst>
                        <a:ext uri="{FF2B5EF4-FFF2-40B4-BE49-F238E27FC236}">
                          <a16:creationId xmlns:a16="http://schemas.microsoft.com/office/drawing/2014/main" id="{58EF9AC4-616D-B60F-6569-95E164028F89}"/>
                        </a:ext>
                      </a:extLst>
                    </p:cNvPr>
                    <p:cNvSpPr/>
                    <p:nvPr/>
                  </p:nvSpPr>
                  <p:spPr>
                    <a:xfrm rot="5813516">
                      <a:off x="8823930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95" name="Freeform: Shape 475">
                      <a:extLst>
                        <a:ext uri="{FF2B5EF4-FFF2-40B4-BE49-F238E27FC236}">
                          <a16:creationId xmlns:a16="http://schemas.microsoft.com/office/drawing/2014/main" id="{A14B6D83-8DF6-5E73-B639-EB0B8615C288}"/>
                        </a:ext>
                      </a:extLst>
                    </p:cNvPr>
                    <p:cNvSpPr/>
                    <p:nvPr/>
                  </p:nvSpPr>
                  <p:spPr>
                    <a:xfrm rot="6799576">
                      <a:off x="8855933" y="4253069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96" name="Freeform: Shape 476">
                      <a:extLst>
                        <a:ext uri="{FF2B5EF4-FFF2-40B4-BE49-F238E27FC236}">
                          <a16:creationId xmlns:a16="http://schemas.microsoft.com/office/drawing/2014/main" id="{78AD1B1C-3BA0-6180-46A0-0B49921D1D4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50061" y="4188172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97" name="Freeform: Shape 477">
                      <a:extLst>
                        <a:ext uri="{FF2B5EF4-FFF2-40B4-BE49-F238E27FC236}">
                          <a16:creationId xmlns:a16="http://schemas.microsoft.com/office/drawing/2014/main" id="{31F2B091-C462-86C5-8892-F2A1AC7F521E}"/>
                        </a:ext>
                      </a:extLst>
                    </p:cNvPr>
                    <p:cNvSpPr/>
                    <p:nvPr/>
                  </p:nvSpPr>
                  <p:spPr>
                    <a:xfrm rot="15284729">
                      <a:off x="8851362" y="4146483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98" name="Freeform: Shape 478">
                      <a:extLst>
                        <a:ext uri="{FF2B5EF4-FFF2-40B4-BE49-F238E27FC236}">
                          <a16:creationId xmlns:a16="http://schemas.microsoft.com/office/drawing/2014/main" id="{8A212337-C001-127A-FFAE-AC3B6F4F1EF2}"/>
                        </a:ext>
                      </a:extLst>
                    </p:cNvPr>
                    <p:cNvSpPr/>
                    <p:nvPr/>
                  </p:nvSpPr>
                  <p:spPr>
                    <a:xfrm rot="4030563">
                      <a:off x="8954046" y="4390351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99" name="Freeform: Shape 479">
                      <a:extLst>
                        <a:ext uri="{FF2B5EF4-FFF2-40B4-BE49-F238E27FC236}">
                          <a16:creationId xmlns:a16="http://schemas.microsoft.com/office/drawing/2014/main" id="{C652C8A1-1275-411C-B874-13307E45BD3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78794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00" name="Freeform: Shape 480">
                      <a:extLst>
                        <a:ext uri="{FF2B5EF4-FFF2-40B4-BE49-F238E27FC236}">
                          <a16:creationId xmlns:a16="http://schemas.microsoft.com/office/drawing/2014/main" id="{C1754EA5-05D4-D30E-FBC0-452232E71C5D}"/>
                        </a:ext>
                      </a:extLst>
                    </p:cNvPr>
                    <p:cNvSpPr/>
                    <p:nvPr/>
                  </p:nvSpPr>
                  <p:spPr>
                    <a:xfrm rot="1648623">
                      <a:off x="8778238" y="4278378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01" name="Freeform: Shape 481">
                      <a:extLst>
                        <a:ext uri="{FF2B5EF4-FFF2-40B4-BE49-F238E27FC236}">
                          <a16:creationId xmlns:a16="http://schemas.microsoft.com/office/drawing/2014/main" id="{4DFD6073-9469-452B-4C9F-E0CA2BF65A06}"/>
                        </a:ext>
                      </a:extLst>
                    </p:cNvPr>
                    <p:cNvSpPr/>
                    <p:nvPr/>
                  </p:nvSpPr>
                  <p:spPr>
                    <a:xfrm rot="20582585">
                      <a:off x="8817085" y="4302941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02" name="Freeform: Shape 482">
                      <a:extLst>
                        <a:ext uri="{FF2B5EF4-FFF2-40B4-BE49-F238E27FC236}">
                          <a16:creationId xmlns:a16="http://schemas.microsoft.com/office/drawing/2014/main" id="{BC2FD720-E28B-A545-AC60-04F927576C4A}"/>
                        </a:ext>
                      </a:extLst>
                    </p:cNvPr>
                    <p:cNvSpPr/>
                    <p:nvPr/>
                  </p:nvSpPr>
                  <p:spPr>
                    <a:xfrm rot="17414284">
                      <a:off x="8943702" y="414065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03" name="Freeform: Shape 483">
                      <a:extLst>
                        <a:ext uri="{FF2B5EF4-FFF2-40B4-BE49-F238E27FC236}">
                          <a16:creationId xmlns:a16="http://schemas.microsoft.com/office/drawing/2014/main" id="{815940E8-765E-EE2A-C5B5-0B837D8F129B}"/>
                        </a:ext>
                      </a:extLst>
                    </p:cNvPr>
                    <p:cNvSpPr/>
                    <p:nvPr/>
                  </p:nvSpPr>
                  <p:spPr>
                    <a:xfrm rot="9043087">
                      <a:off x="8883430" y="4342996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04" name="Freeform: Shape 484">
                      <a:extLst>
                        <a:ext uri="{FF2B5EF4-FFF2-40B4-BE49-F238E27FC236}">
                          <a16:creationId xmlns:a16="http://schemas.microsoft.com/office/drawing/2014/main" id="{C50E71C6-7121-0FFD-0EBA-55936DB599B8}"/>
                        </a:ext>
                      </a:extLst>
                    </p:cNvPr>
                    <p:cNvSpPr/>
                    <p:nvPr/>
                  </p:nvSpPr>
                  <p:spPr>
                    <a:xfrm rot="5209521">
                      <a:off x="8961351" y="4317762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05" name="Freeform: Shape 485">
                      <a:extLst>
                        <a:ext uri="{FF2B5EF4-FFF2-40B4-BE49-F238E27FC236}">
                          <a16:creationId xmlns:a16="http://schemas.microsoft.com/office/drawing/2014/main" id="{C158EB69-0C92-96E1-62DA-9C87569B225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18409" y="432953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06" name="Rectangle: Rounded Corners 486">
                      <a:extLst>
                        <a:ext uri="{FF2B5EF4-FFF2-40B4-BE49-F238E27FC236}">
                          <a16:creationId xmlns:a16="http://schemas.microsoft.com/office/drawing/2014/main" id="{8FE4E213-0D04-074C-55A5-54094D659EE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86901" y="440374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07" name="Rectangle: Rounded Corners 487">
                      <a:extLst>
                        <a:ext uri="{FF2B5EF4-FFF2-40B4-BE49-F238E27FC236}">
                          <a16:creationId xmlns:a16="http://schemas.microsoft.com/office/drawing/2014/main" id="{E23AD41F-D80E-51F9-56BF-A934D33728C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58174" y="429137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08" name="Rectangle: Rounded Corners 488">
                      <a:extLst>
                        <a:ext uri="{FF2B5EF4-FFF2-40B4-BE49-F238E27FC236}">
                          <a16:creationId xmlns:a16="http://schemas.microsoft.com/office/drawing/2014/main" id="{5FB413A7-69EB-2816-B9B2-AEF7594B355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770428" y="419613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09" name="Rectangle: Rounded Corners 489">
                      <a:extLst>
                        <a:ext uri="{FF2B5EF4-FFF2-40B4-BE49-F238E27FC236}">
                          <a16:creationId xmlns:a16="http://schemas.microsoft.com/office/drawing/2014/main" id="{C7B22DE0-8C98-35E2-DDC7-EEF6B0F439D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24873" y="4240076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10" name="Rectangle: Rounded Corners 490">
                      <a:extLst>
                        <a:ext uri="{FF2B5EF4-FFF2-40B4-BE49-F238E27FC236}">
                          <a16:creationId xmlns:a16="http://schemas.microsoft.com/office/drawing/2014/main" id="{C8F31BAA-828B-B3C9-3B1C-6CB183C4F46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50643" y="429398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11" name="Rectangle: Rounded Corners 491">
                      <a:extLst>
                        <a:ext uri="{FF2B5EF4-FFF2-40B4-BE49-F238E27FC236}">
                          <a16:creationId xmlns:a16="http://schemas.microsoft.com/office/drawing/2014/main" id="{CC42875D-58DC-2990-8A8A-A7D68ACBDD1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17085" y="439459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</p:grpSp>
              <p:grpSp>
                <p:nvGrpSpPr>
                  <p:cNvPr id="1544" name="Group 1543">
                    <a:extLst>
                      <a:ext uri="{FF2B5EF4-FFF2-40B4-BE49-F238E27FC236}">
                        <a16:creationId xmlns:a16="http://schemas.microsoft.com/office/drawing/2014/main" id="{4D1B3793-E2E0-B2BD-B841-F83816A07E81}"/>
                      </a:ext>
                    </a:extLst>
                  </p:cNvPr>
                  <p:cNvGrpSpPr/>
                  <p:nvPr/>
                </p:nvGrpSpPr>
                <p:grpSpPr>
                  <a:xfrm rot="13031820">
                    <a:off x="3472433" y="927802"/>
                    <a:ext cx="164791" cy="149512"/>
                    <a:chOff x="8770428" y="4145225"/>
                    <a:chExt cx="307647" cy="276804"/>
                  </a:xfrm>
                </p:grpSpPr>
                <p:sp>
                  <p:nvSpPr>
                    <p:cNvPr id="1578" name="Freeform: Shape 458">
                      <a:extLst>
                        <a:ext uri="{FF2B5EF4-FFF2-40B4-BE49-F238E27FC236}">
                          <a16:creationId xmlns:a16="http://schemas.microsoft.com/office/drawing/2014/main" id="{761D3B68-08AF-C96A-F0BF-DBAFCAC48605}"/>
                        </a:ext>
                      </a:extLst>
                    </p:cNvPr>
                    <p:cNvSpPr/>
                    <p:nvPr/>
                  </p:nvSpPr>
                  <p:spPr>
                    <a:xfrm rot="5813516">
                      <a:off x="8823930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79" name="Freeform: Shape 459">
                      <a:extLst>
                        <a:ext uri="{FF2B5EF4-FFF2-40B4-BE49-F238E27FC236}">
                          <a16:creationId xmlns:a16="http://schemas.microsoft.com/office/drawing/2014/main" id="{7D1A0EE0-E62A-F276-3262-070E6FB8FF5B}"/>
                        </a:ext>
                      </a:extLst>
                    </p:cNvPr>
                    <p:cNvSpPr/>
                    <p:nvPr/>
                  </p:nvSpPr>
                  <p:spPr>
                    <a:xfrm rot="15284729">
                      <a:off x="8851362" y="4146483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80" name="Freeform: Shape 460">
                      <a:extLst>
                        <a:ext uri="{FF2B5EF4-FFF2-40B4-BE49-F238E27FC236}">
                          <a16:creationId xmlns:a16="http://schemas.microsoft.com/office/drawing/2014/main" id="{C8268F7B-62F4-1959-1A6C-D6FA8EEC2136}"/>
                        </a:ext>
                      </a:extLst>
                    </p:cNvPr>
                    <p:cNvSpPr/>
                    <p:nvPr/>
                  </p:nvSpPr>
                  <p:spPr>
                    <a:xfrm rot="4030563">
                      <a:off x="8954046" y="4390351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81" name="Freeform: Shape 461">
                      <a:extLst>
                        <a:ext uri="{FF2B5EF4-FFF2-40B4-BE49-F238E27FC236}">
                          <a16:creationId xmlns:a16="http://schemas.microsoft.com/office/drawing/2014/main" id="{DDA95464-C9DF-5D20-B489-F25D6E65EFA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29986" y="4287522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82" name="Freeform: Shape 462">
                      <a:extLst>
                        <a:ext uri="{FF2B5EF4-FFF2-40B4-BE49-F238E27FC236}">
                          <a16:creationId xmlns:a16="http://schemas.microsoft.com/office/drawing/2014/main" id="{64E8AA50-DA00-1CEC-9230-2BCBD5E8D363}"/>
                        </a:ext>
                      </a:extLst>
                    </p:cNvPr>
                    <p:cNvSpPr/>
                    <p:nvPr/>
                  </p:nvSpPr>
                  <p:spPr>
                    <a:xfrm rot="1648623">
                      <a:off x="8778238" y="4278378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83" name="Freeform: Shape 463">
                      <a:extLst>
                        <a:ext uri="{FF2B5EF4-FFF2-40B4-BE49-F238E27FC236}">
                          <a16:creationId xmlns:a16="http://schemas.microsoft.com/office/drawing/2014/main" id="{C699AA79-B38B-F7A4-07E5-744F4D006C8A}"/>
                        </a:ext>
                      </a:extLst>
                    </p:cNvPr>
                    <p:cNvSpPr/>
                    <p:nvPr/>
                  </p:nvSpPr>
                  <p:spPr>
                    <a:xfrm rot="20582585">
                      <a:off x="8817085" y="4302941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84" name="Freeform: Shape 464">
                      <a:extLst>
                        <a:ext uri="{FF2B5EF4-FFF2-40B4-BE49-F238E27FC236}">
                          <a16:creationId xmlns:a16="http://schemas.microsoft.com/office/drawing/2014/main" id="{2AC350D6-9191-D6EF-6179-5AECDEA5CF42}"/>
                        </a:ext>
                      </a:extLst>
                    </p:cNvPr>
                    <p:cNvSpPr/>
                    <p:nvPr/>
                  </p:nvSpPr>
                  <p:spPr>
                    <a:xfrm rot="17414284">
                      <a:off x="8943702" y="414065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85" name="Freeform: Shape 465">
                      <a:extLst>
                        <a:ext uri="{FF2B5EF4-FFF2-40B4-BE49-F238E27FC236}">
                          <a16:creationId xmlns:a16="http://schemas.microsoft.com/office/drawing/2014/main" id="{FAD8801F-7199-36D8-F855-3B25231C8BEA}"/>
                        </a:ext>
                      </a:extLst>
                    </p:cNvPr>
                    <p:cNvSpPr/>
                    <p:nvPr/>
                  </p:nvSpPr>
                  <p:spPr>
                    <a:xfrm rot="9043087">
                      <a:off x="8883430" y="4342996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86" name="Freeform: Shape 466">
                      <a:extLst>
                        <a:ext uri="{FF2B5EF4-FFF2-40B4-BE49-F238E27FC236}">
                          <a16:creationId xmlns:a16="http://schemas.microsoft.com/office/drawing/2014/main" id="{17EC1560-B4C0-DD85-6F93-4BF932F5B5E6}"/>
                        </a:ext>
                      </a:extLst>
                    </p:cNvPr>
                    <p:cNvSpPr/>
                    <p:nvPr/>
                  </p:nvSpPr>
                  <p:spPr>
                    <a:xfrm rot="5209521">
                      <a:off x="8961351" y="4317762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87" name="Freeform: Shape 467">
                      <a:extLst>
                        <a:ext uri="{FF2B5EF4-FFF2-40B4-BE49-F238E27FC236}">
                          <a16:creationId xmlns:a16="http://schemas.microsoft.com/office/drawing/2014/main" id="{64F2DBE9-1AC0-0608-B145-50A5FC82D98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18409" y="432953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88" name="Freeform: Shape 468">
                      <a:extLst>
                        <a:ext uri="{FF2B5EF4-FFF2-40B4-BE49-F238E27FC236}">
                          <a16:creationId xmlns:a16="http://schemas.microsoft.com/office/drawing/2014/main" id="{1AC2F21C-C366-E9CB-D474-422B9AD4784C}"/>
                        </a:ext>
                      </a:extLst>
                    </p:cNvPr>
                    <p:cNvSpPr/>
                    <p:nvPr/>
                  </p:nvSpPr>
                  <p:spPr>
                    <a:xfrm rot="18952815">
                      <a:off x="8990335" y="4236377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89" name="Rectangle: Rounded Corners 469">
                      <a:extLst>
                        <a:ext uri="{FF2B5EF4-FFF2-40B4-BE49-F238E27FC236}">
                          <a16:creationId xmlns:a16="http://schemas.microsoft.com/office/drawing/2014/main" id="{8D0BB953-3EA9-66A1-C604-14B63FD295C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86901" y="440374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90" name="Rectangle: Rounded Corners 470">
                      <a:extLst>
                        <a:ext uri="{FF2B5EF4-FFF2-40B4-BE49-F238E27FC236}">
                          <a16:creationId xmlns:a16="http://schemas.microsoft.com/office/drawing/2014/main" id="{D8230405-C313-9A31-8696-4F99068D762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58174" y="429137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91" name="Rectangle: Rounded Corners 471">
                      <a:extLst>
                        <a:ext uri="{FF2B5EF4-FFF2-40B4-BE49-F238E27FC236}">
                          <a16:creationId xmlns:a16="http://schemas.microsoft.com/office/drawing/2014/main" id="{C3B719AF-F755-68BC-817C-F3D21B7F525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770428" y="419613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92" name="Rectangle: Rounded Corners 472">
                      <a:extLst>
                        <a:ext uri="{FF2B5EF4-FFF2-40B4-BE49-F238E27FC236}">
                          <a16:creationId xmlns:a16="http://schemas.microsoft.com/office/drawing/2014/main" id="{E723B058-B0EA-F01A-6995-9F0B7D59BEE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50643" y="429398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93" name="Rectangle: Rounded Corners 473">
                      <a:extLst>
                        <a:ext uri="{FF2B5EF4-FFF2-40B4-BE49-F238E27FC236}">
                          <a16:creationId xmlns:a16="http://schemas.microsoft.com/office/drawing/2014/main" id="{D8B8614F-225D-28D8-B43B-93D584FCAA4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17085" y="439459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</p:grpSp>
              <p:grpSp>
                <p:nvGrpSpPr>
                  <p:cNvPr id="1545" name="Group 1544">
                    <a:extLst>
                      <a:ext uri="{FF2B5EF4-FFF2-40B4-BE49-F238E27FC236}">
                        <a16:creationId xmlns:a16="http://schemas.microsoft.com/office/drawing/2014/main" id="{3A022412-F41B-5FEC-4E0B-845A11F93107}"/>
                      </a:ext>
                    </a:extLst>
                  </p:cNvPr>
                  <p:cNvGrpSpPr/>
                  <p:nvPr/>
                </p:nvGrpSpPr>
                <p:grpSpPr>
                  <a:xfrm rot="20035314">
                    <a:off x="3439984" y="1013397"/>
                    <a:ext cx="166170" cy="147874"/>
                    <a:chOff x="8770428" y="4145965"/>
                    <a:chExt cx="307647" cy="276064"/>
                  </a:xfrm>
                </p:grpSpPr>
                <p:sp>
                  <p:nvSpPr>
                    <p:cNvPr id="1563" name="Freeform: Shape 443">
                      <a:extLst>
                        <a:ext uri="{FF2B5EF4-FFF2-40B4-BE49-F238E27FC236}">
                          <a16:creationId xmlns:a16="http://schemas.microsoft.com/office/drawing/2014/main" id="{24AF78F1-6271-E231-22C2-C36741B077F0}"/>
                        </a:ext>
                      </a:extLst>
                    </p:cNvPr>
                    <p:cNvSpPr/>
                    <p:nvPr/>
                  </p:nvSpPr>
                  <p:spPr>
                    <a:xfrm rot="5813516">
                      <a:off x="8823930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64" name="Freeform: Shape 444">
                      <a:extLst>
                        <a:ext uri="{FF2B5EF4-FFF2-40B4-BE49-F238E27FC236}">
                          <a16:creationId xmlns:a16="http://schemas.microsoft.com/office/drawing/2014/main" id="{D01742EC-6591-F9B2-24A0-626AD7CFC046}"/>
                        </a:ext>
                      </a:extLst>
                    </p:cNvPr>
                    <p:cNvSpPr/>
                    <p:nvPr/>
                  </p:nvSpPr>
                  <p:spPr>
                    <a:xfrm rot="15284729">
                      <a:off x="8851362" y="4146483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65" name="Freeform: Shape 445">
                      <a:extLst>
                        <a:ext uri="{FF2B5EF4-FFF2-40B4-BE49-F238E27FC236}">
                          <a16:creationId xmlns:a16="http://schemas.microsoft.com/office/drawing/2014/main" id="{B6257763-DE58-5104-5013-C276C71E3CA9}"/>
                        </a:ext>
                      </a:extLst>
                    </p:cNvPr>
                    <p:cNvSpPr/>
                    <p:nvPr/>
                  </p:nvSpPr>
                  <p:spPr>
                    <a:xfrm rot="4030563">
                      <a:off x="8954046" y="4390351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66" name="Freeform: Shape 446">
                      <a:extLst>
                        <a:ext uri="{FF2B5EF4-FFF2-40B4-BE49-F238E27FC236}">
                          <a16:creationId xmlns:a16="http://schemas.microsoft.com/office/drawing/2014/main" id="{C65C598C-4854-6E66-C332-65E2425B6D3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78794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67" name="Freeform: Shape 447">
                      <a:extLst>
                        <a:ext uri="{FF2B5EF4-FFF2-40B4-BE49-F238E27FC236}">
                          <a16:creationId xmlns:a16="http://schemas.microsoft.com/office/drawing/2014/main" id="{90340C47-0464-46D8-8F2B-8DB72A75539A}"/>
                        </a:ext>
                      </a:extLst>
                    </p:cNvPr>
                    <p:cNvSpPr/>
                    <p:nvPr/>
                  </p:nvSpPr>
                  <p:spPr>
                    <a:xfrm rot="1648623">
                      <a:off x="8778238" y="4278378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68" name="Freeform: Shape 448">
                      <a:extLst>
                        <a:ext uri="{FF2B5EF4-FFF2-40B4-BE49-F238E27FC236}">
                          <a16:creationId xmlns:a16="http://schemas.microsoft.com/office/drawing/2014/main" id="{3398BF03-DBEC-9E30-A94C-5ECB3E84EDBF}"/>
                        </a:ext>
                      </a:extLst>
                    </p:cNvPr>
                    <p:cNvSpPr/>
                    <p:nvPr/>
                  </p:nvSpPr>
                  <p:spPr>
                    <a:xfrm rot="20582585">
                      <a:off x="8817085" y="4302941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69" name="Freeform: Shape 449">
                      <a:extLst>
                        <a:ext uri="{FF2B5EF4-FFF2-40B4-BE49-F238E27FC236}">
                          <a16:creationId xmlns:a16="http://schemas.microsoft.com/office/drawing/2014/main" id="{1A3AB7AF-A44F-DFA6-D4A5-ED889AA7F089}"/>
                        </a:ext>
                      </a:extLst>
                    </p:cNvPr>
                    <p:cNvSpPr/>
                    <p:nvPr/>
                  </p:nvSpPr>
                  <p:spPr>
                    <a:xfrm rot="9043087">
                      <a:off x="8883430" y="4342996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70" name="Freeform: Shape 450">
                      <a:extLst>
                        <a:ext uri="{FF2B5EF4-FFF2-40B4-BE49-F238E27FC236}">
                          <a16:creationId xmlns:a16="http://schemas.microsoft.com/office/drawing/2014/main" id="{633F1871-FF25-A7DB-874D-850621ACB45A}"/>
                        </a:ext>
                      </a:extLst>
                    </p:cNvPr>
                    <p:cNvSpPr/>
                    <p:nvPr/>
                  </p:nvSpPr>
                  <p:spPr>
                    <a:xfrm rot="5209521">
                      <a:off x="8961351" y="4317762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71" name="Freeform: Shape 451">
                      <a:extLst>
                        <a:ext uri="{FF2B5EF4-FFF2-40B4-BE49-F238E27FC236}">
                          <a16:creationId xmlns:a16="http://schemas.microsoft.com/office/drawing/2014/main" id="{91C38839-4A5A-F73E-3CB2-C4229387DA3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18409" y="432953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72" name="Rectangle: Rounded Corners 452">
                      <a:extLst>
                        <a:ext uri="{FF2B5EF4-FFF2-40B4-BE49-F238E27FC236}">
                          <a16:creationId xmlns:a16="http://schemas.microsoft.com/office/drawing/2014/main" id="{A0DDACDE-FA94-E6EC-D778-EF638EF053F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86901" y="440374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73" name="Rectangle: Rounded Corners 453">
                      <a:extLst>
                        <a:ext uri="{FF2B5EF4-FFF2-40B4-BE49-F238E27FC236}">
                          <a16:creationId xmlns:a16="http://schemas.microsoft.com/office/drawing/2014/main" id="{AEA8FB65-DD6C-FF49-3379-7457E1EB027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58174" y="429137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74" name="Rectangle: Rounded Corners 454">
                      <a:extLst>
                        <a:ext uri="{FF2B5EF4-FFF2-40B4-BE49-F238E27FC236}">
                          <a16:creationId xmlns:a16="http://schemas.microsoft.com/office/drawing/2014/main" id="{DA98A554-8802-9F97-F358-E6179AA1E7A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770428" y="419613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75" name="Rectangle: Rounded Corners 455">
                      <a:extLst>
                        <a:ext uri="{FF2B5EF4-FFF2-40B4-BE49-F238E27FC236}">
                          <a16:creationId xmlns:a16="http://schemas.microsoft.com/office/drawing/2014/main" id="{2572E00D-EAEB-2CC1-C6BA-B448E0D86D7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50643" y="429398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76" name="Rectangle: Rounded Corners 456">
                      <a:extLst>
                        <a:ext uri="{FF2B5EF4-FFF2-40B4-BE49-F238E27FC236}">
                          <a16:creationId xmlns:a16="http://schemas.microsoft.com/office/drawing/2014/main" id="{E4D0A52B-DC8F-7E3F-2EAB-872FAC6CD09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17085" y="439459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77" name="Rectangle: Rounded Corners 457">
                      <a:extLst>
                        <a:ext uri="{FF2B5EF4-FFF2-40B4-BE49-F238E27FC236}">
                          <a16:creationId xmlns:a16="http://schemas.microsoft.com/office/drawing/2014/main" id="{1416021D-4F9D-74AA-EA9C-B0F11E337F8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94095" y="4145965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</p:grpSp>
              <p:grpSp>
                <p:nvGrpSpPr>
                  <p:cNvPr id="1546" name="Group 1545">
                    <a:extLst>
                      <a:ext uri="{FF2B5EF4-FFF2-40B4-BE49-F238E27FC236}">
                        <a16:creationId xmlns:a16="http://schemas.microsoft.com/office/drawing/2014/main" id="{A3382386-E714-85F7-E985-6CC94E5C8852}"/>
                      </a:ext>
                    </a:extLst>
                  </p:cNvPr>
                  <p:cNvGrpSpPr/>
                  <p:nvPr/>
                </p:nvGrpSpPr>
                <p:grpSpPr>
                  <a:xfrm rot="4711444">
                    <a:off x="3501494" y="998460"/>
                    <a:ext cx="164790" cy="149511"/>
                    <a:chOff x="8770428" y="4145225"/>
                    <a:chExt cx="307647" cy="276804"/>
                  </a:xfrm>
                </p:grpSpPr>
                <p:sp>
                  <p:nvSpPr>
                    <p:cNvPr id="1547" name="Freeform: Shape 427">
                      <a:extLst>
                        <a:ext uri="{FF2B5EF4-FFF2-40B4-BE49-F238E27FC236}">
                          <a16:creationId xmlns:a16="http://schemas.microsoft.com/office/drawing/2014/main" id="{754D461F-8642-A438-D680-74E196590089}"/>
                        </a:ext>
                      </a:extLst>
                    </p:cNvPr>
                    <p:cNvSpPr/>
                    <p:nvPr/>
                  </p:nvSpPr>
                  <p:spPr>
                    <a:xfrm rot="5813516">
                      <a:off x="8823930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48" name="Freeform: Shape 428">
                      <a:extLst>
                        <a:ext uri="{FF2B5EF4-FFF2-40B4-BE49-F238E27FC236}">
                          <a16:creationId xmlns:a16="http://schemas.microsoft.com/office/drawing/2014/main" id="{79D57A98-4986-D275-A628-9F5E6CCB8CAC}"/>
                        </a:ext>
                      </a:extLst>
                    </p:cNvPr>
                    <p:cNvSpPr/>
                    <p:nvPr/>
                  </p:nvSpPr>
                  <p:spPr>
                    <a:xfrm rot="6799576">
                      <a:off x="8855933" y="4253069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49" name="Freeform: Shape 429">
                      <a:extLst>
                        <a:ext uri="{FF2B5EF4-FFF2-40B4-BE49-F238E27FC236}">
                          <a16:creationId xmlns:a16="http://schemas.microsoft.com/office/drawing/2014/main" id="{E81AAF4C-6E91-3EF1-66F8-06328506A7A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50061" y="4188172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50" name="Freeform: Shape 430">
                      <a:extLst>
                        <a:ext uri="{FF2B5EF4-FFF2-40B4-BE49-F238E27FC236}">
                          <a16:creationId xmlns:a16="http://schemas.microsoft.com/office/drawing/2014/main" id="{75674675-C456-E67B-C77B-58B055807845}"/>
                        </a:ext>
                      </a:extLst>
                    </p:cNvPr>
                    <p:cNvSpPr/>
                    <p:nvPr/>
                  </p:nvSpPr>
                  <p:spPr>
                    <a:xfrm rot="15284729">
                      <a:off x="8851362" y="4146483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51" name="Freeform: Shape 431">
                      <a:extLst>
                        <a:ext uri="{FF2B5EF4-FFF2-40B4-BE49-F238E27FC236}">
                          <a16:creationId xmlns:a16="http://schemas.microsoft.com/office/drawing/2014/main" id="{F7B57822-017E-C069-FBB5-B00FAE25033E}"/>
                        </a:ext>
                      </a:extLst>
                    </p:cNvPr>
                    <p:cNvSpPr/>
                    <p:nvPr/>
                  </p:nvSpPr>
                  <p:spPr>
                    <a:xfrm rot="4030563">
                      <a:off x="8954046" y="4390351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52" name="Freeform: Shape 432">
                      <a:extLst>
                        <a:ext uri="{FF2B5EF4-FFF2-40B4-BE49-F238E27FC236}">
                          <a16:creationId xmlns:a16="http://schemas.microsoft.com/office/drawing/2014/main" id="{0082D5A9-6A49-0327-8B9B-DF3B250C9E9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78794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53" name="Freeform: Shape 433">
                      <a:extLst>
                        <a:ext uri="{FF2B5EF4-FFF2-40B4-BE49-F238E27FC236}">
                          <a16:creationId xmlns:a16="http://schemas.microsoft.com/office/drawing/2014/main" id="{00B9A0A6-A83F-8A38-6042-6590333B6C91}"/>
                        </a:ext>
                      </a:extLst>
                    </p:cNvPr>
                    <p:cNvSpPr/>
                    <p:nvPr/>
                  </p:nvSpPr>
                  <p:spPr>
                    <a:xfrm rot="1648623">
                      <a:off x="8778238" y="4278378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54" name="Freeform: Shape 434">
                      <a:extLst>
                        <a:ext uri="{FF2B5EF4-FFF2-40B4-BE49-F238E27FC236}">
                          <a16:creationId xmlns:a16="http://schemas.microsoft.com/office/drawing/2014/main" id="{480E18C4-88E0-D4C0-0BD6-09A57E38DD99}"/>
                        </a:ext>
                      </a:extLst>
                    </p:cNvPr>
                    <p:cNvSpPr/>
                    <p:nvPr/>
                  </p:nvSpPr>
                  <p:spPr>
                    <a:xfrm rot="17414284">
                      <a:off x="8943702" y="414065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55" name="Freeform: Shape 435">
                      <a:extLst>
                        <a:ext uri="{FF2B5EF4-FFF2-40B4-BE49-F238E27FC236}">
                          <a16:creationId xmlns:a16="http://schemas.microsoft.com/office/drawing/2014/main" id="{107A095F-8409-2124-B721-464D8FBD785C}"/>
                        </a:ext>
                      </a:extLst>
                    </p:cNvPr>
                    <p:cNvSpPr/>
                    <p:nvPr/>
                  </p:nvSpPr>
                  <p:spPr>
                    <a:xfrm rot="9043087">
                      <a:off x="8883430" y="4342996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56" name="Freeform: Shape 436">
                      <a:extLst>
                        <a:ext uri="{FF2B5EF4-FFF2-40B4-BE49-F238E27FC236}">
                          <a16:creationId xmlns:a16="http://schemas.microsoft.com/office/drawing/2014/main" id="{6BD929DD-C7DE-0F06-B62C-9051340E635D}"/>
                        </a:ext>
                      </a:extLst>
                    </p:cNvPr>
                    <p:cNvSpPr/>
                    <p:nvPr/>
                  </p:nvSpPr>
                  <p:spPr>
                    <a:xfrm rot="5209521">
                      <a:off x="8961351" y="4317762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57" name="Freeform: Shape 437">
                      <a:extLst>
                        <a:ext uri="{FF2B5EF4-FFF2-40B4-BE49-F238E27FC236}">
                          <a16:creationId xmlns:a16="http://schemas.microsoft.com/office/drawing/2014/main" id="{9B99FB0C-3942-96FD-C514-D0520AE500B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18409" y="432953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58" name="Freeform: Shape 438">
                      <a:extLst>
                        <a:ext uri="{FF2B5EF4-FFF2-40B4-BE49-F238E27FC236}">
                          <a16:creationId xmlns:a16="http://schemas.microsoft.com/office/drawing/2014/main" id="{717E7477-1503-3A78-5685-05341BC3F75A}"/>
                        </a:ext>
                      </a:extLst>
                    </p:cNvPr>
                    <p:cNvSpPr/>
                    <p:nvPr/>
                  </p:nvSpPr>
                  <p:spPr>
                    <a:xfrm rot="18952815">
                      <a:off x="8990335" y="4236377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59" name="Rectangle: Rounded Corners 439">
                      <a:extLst>
                        <a:ext uri="{FF2B5EF4-FFF2-40B4-BE49-F238E27FC236}">
                          <a16:creationId xmlns:a16="http://schemas.microsoft.com/office/drawing/2014/main" id="{CE2AFC91-E614-2CB5-A45D-C93600BAA5B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86901" y="440374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60" name="Rectangle: Rounded Corners 440">
                      <a:extLst>
                        <a:ext uri="{FF2B5EF4-FFF2-40B4-BE49-F238E27FC236}">
                          <a16:creationId xmlns:a16="http://schemas.microsoft.com/office/drawing/2014/main" id="{2C29C51B-49AB-9B1B-61CE-BD3540E6121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770428" y="419613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61" name="Rectangle: Rounded Corners 441">
                      <a:extLst>
                        <a:ext uri="{FF2B5EF4-FFF2-40B4-BE49-F238E27FC236}">
                          <a16:creationId xmlns:a16="http://schemas.microsoft.com/office/drawing/2014/main" id="{B090E435-027F-9822-C0CE-5103D8EE383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24873" y="4240076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562" name="Rectangle: Rounded Corners 442">
                      <a:extLst>
                        <a:ext uri="{FF2B5EF4-FFF2-40B4-BE49-F238E27FC236}">
                          <a16:creationId xmlns:a16="http://schemas.microsoft.com/office/drawing/2014/main" id="{F020340D-E8B9-8AC2-3C6A-F161A53C21C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50643" y="429398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</p:grpSp>
            </p:grpSp>
            <p:sp>
              <p:nvSpPr>
                <p:cNvPr id="1541" name="Freeform: Shape 426">
                  <a:extLst>
                    <a:ext uri="{FF2B5EF4-FFF2-40B4-BE49-F238E27FC236}">
                      <a16:creationId xmlns:a16="http://schemas.microsoft.com/office/drawing/2014/main" id="{91007104-5157-BDF2-EFCD-C088BFF4C346}"/>
                    </a:ext>
                  </a:extLst>
                </p:cNvPr>
                <p:cNvSpPr/>
                <p:nvPr/>
              </p:nvSpPr>
              <p:spPr>
                <a:xfrm rot="18595250">
                  <a:off x="3464962" y="993886"/>
                  <a:ext cx="195428" cy="172893"/>
                </a:xfrm>
                <a:custGeom>
                  <a:avLst/>
                  <a:gdLst>
                    <a:gd name="connsiteX0" fmla="*/ 36195 w 254551"/>
                    <a:gd name="connsiteY0" fmla="*/ 30480 h 227192"/>
                    <a:gd name="connsiteX1" fmla="*/ 36195 w 254551"/>
                    <a:gd name="connsiteY1" fmla="*/ 30480 h 227192"/>
                    <a:gd name="connsiteX2" fmla="*/ 20955 w 254551"/>
                    <a:gd name="connsiteY2" fmla="*/ 20955 h 227192"/>
                    <a:gd name="connsiteX3" fmla="*/ 17145 w 254551"/>
                    <a:gd name="connsiteY3" fmla="*/ 9525 h 227192"/>
                    <a:gd name="connsiteX4" fmla="*/ 5715 w 254551"/>
                    <a:gd name="connsiteY4" fmla="*/ 15240 h 227192"/>
                    <a:gd name="connsiteX5" fmla="*/ 1905 w 254551"/>
                    <a:gd name="connsiteY5" fmla="*/ 20955 h 227192"/>
                    <a:gd name="connsiteX6" fmla="*/ 0 w 254551"/>
                    <a:gd name="connsiteY6" fmla="*/ 26670 h 227192"/>
                    <a:gd name="connsiteX7" fmla="*/ 1905 w 254551"/>
                    <a:gd name="connsiteY7" fmla="*/ 47625 h 227192"/>
                    <a:gd name="connsiteX8" fmla="*/ 9525 w 254551"/>
                    <a:gd name="connsiteY8" fmla="*/ 59055 h 227192"/>
                    <a:gd name="connsiteX9" fmla="*/ 13335 w 254551"/>
                    <a:gd name="connsiteY9" fmla="*/ 70485 h 227192"/>
                    <a:gd name="connsiteX10" fmla="*/ 15240 w 254551"/>
                    <a:gd name="connsiteY10" fmla="*/ 99060 h 227192"/>
                    <a:gd name="connsiteX11" fmla="*/ 17145 w 254551"/>
                    <a:gd name="connsiteY11" fmla="*/ 104775 h 227192"/>
                    <a:gd name="connsiteX12" fmla="*/ 22860 w 254551"/>
                    <a:gd name="connsiteY12" fmla="*/ 108585 h 227192"/>
                    <a:gd name="connsiteX13" fmla="*/ 26670 w 254551"/>
                    <a:gd name="connsiteY13" fmla="*/ 114300 h 227192"/>
                    <a:gd name="connsiteX14" fmla="*/ 32385 w 254551"/>
                    <a:gd name="connsiteY14" fmla="*/ 118110 h 227192"/>
                    <a:gd name="connsiteX15" fmla="*/ 41910 w 254551"/>
                    <a:gd name="connsiteY15" fmla="*/ 131445 h 227192"/>
                    <a:gd name="connsiteX16" fmla="*/ 59055 w 254551"/>
                    <a:gd name="connsiteY16" fmla="*/ 133350 h 227192"/>
                    <a:gd name="connsiteX17" fmla="*/ 64770 w 254551"/>
                    <a:gd name="connsiteY17" fmla="*/ 180975 h 227192"/>
                    <a:gd name="connsiteX18" fmla="*/ 74295 w 254551"/>
                    <a:gd name="connsiteY18" fmla="*/ 188595 h 227192"/>
                    <a:gd name="connsiteX19" fmla="*/ 80010 w 254551"/>
                    <a:gd name="connsiteY19" fmla="*/ 192405 h 227192"/>
                    <a:gd name="connsiteX20" fmla="*/ 87630 w 254551"/>
                    <a:gd name="connsiteY20" fmla="*/ 201930 h 227192"/>
                    <a:gd name="connsiteX21" fmla="*/ 95250 w 254551"/>
                    <a:gd name="connsiteY21" fmla="*/ 213360 h 227192"/>
                    <a:gd name="connsiteX22" fmla="*/ 99060 w 254551"/>
                    <a:gd name="connsiteY22" fmla="*/ 219075 h 227192"/>
                    <a:gd name="connsiteX23" fmla="*/ 104775 w 254551"/>
                    <a:gd name="connsiteY23" fmla="*/ 220980 h 227192"/>
                    <a:gd name="connsiteX24" fmla="*/ 108585 w 254551"/>
                    <a:gd name="connsiteY24" fmla="*/ 226695 h 227192"/>
                    <a:gd name="connsiteX25" fmla="*/ 133350 w 254551"/>
                    <a:gd name="connsiteY25" fmla="*/ 222885 h 227192"/>
                    <a:gd name="connsiteX26" fmla="*/ 144780 w 254551"/>
                    <a:gd name="connsiteY26" fmla="*/ 211455 h 227192"/>
                    <a:gd name="connsiteX27" fmla="*/ 148590 w 254551"/>
                    <a:gd name="connsiteY27" fmla="*/ 205740 h 227192"/>
                    <a:gd name="connsiteX28" fmla="*/ 160020 w 254551"/>
                    <a:gd name="connsiteY28" fmla="*/ 201930 h 227192"/>
                    <a:gd name="connsiteX29" fmla="*/ 161925 w 254551"/>
                    <a:gd name="connsiteY29" fmla="*/ 196215 h 227192"/>
                    <a:gd name="connsiteX30" fmla="*/ 163830 w 254551"/>
                    <a:gd name="connsiteY30" fmla="*/ 184785 h 227192"/>
                    <a:gd name="connsiteX31" fmla="*/ 175260 w 254551"/>
                    <a:gd name="connsiteY31" fmla="*/ 180975 h 227192"/>
                    <a:gd name="connsiteX32" fmla="*/ 198120 w 254551"/>
                    <a:gd name="connsiteY32" fmla="*/ 182880 h 227192"/>
                    <a:gd name="connsiteX33" fmla="*/ 203835 w 254551"/>
                    <a:gd name="connsiteY33" fmla="*/ 186690 h 227192"/>
                    <a:gd name="connsiteX34" fmla="*/ 209550 w 254551"/>
                    <a:gd name="connsiteY34" fmla="*/ 188595 h 227192"/>
                    <a:gd name="connsiteX35" fmla="*/ 220980 w 254551"/>
                    <a:gd name="connsiteY35" fmla="*/ 186690 h 227192"/>
                    <a:gd name="connsiteX36" fmla="*/ 226695 w 254551"/>
                    <a:gd name="connsiteY36" fmla="*/ 182880 h 227192"/>
                    <a:gd name="connsiteX37" fmla="*/ 234315 w 254551"/>
                    <a:gd name="connsiteY37" fmla="*/ 165735 h 227192"/>
                    <a:gd name="connsiteX38" fmla="*/ 238125 w 254551"/>
                    <a:gd name="connsiteY38" fmla="*/ 154305 h 227192"/>
                    <a:gd name="connsiteX39" fmla="*/ 240030 w 254551"/>
                    <a:gd name="connsiteY39" fmla="*/ 148590 h 227192"/>
                    <a:gd name="connsiteX40" fmla="*/ 245745 w 254551"/>
                    <a:gd name="connsiteY40" fmla="*/ 120015 h 227192"/>
                    <a:gd name="connsiteX41" fmla="*/ 247650 w 254551"/>
                    <a:gd name="connsiteY41" fmla="*/ 114300 h 227192"/>
                    <a:gd name="connsiteX42" fmla="*/ 249555 w 254551"/>
                    <a:gd name="connsiteY42" fmla="*/ 108585 h 227192"/>
                    <a:gd name="connsiteX43" fmla="*/ 241935 w 254551"/>
                    <a:gd name="connsiteY43" fmla="*/ 89535 h 227192"/>
                    <a:gd name="connsiteX44" fmla="*/ 236220 w 254551"/>
                    <a:gd name="connsiteY44" fmla="*/ 85725 h 227192"/>
                    <a:gd name="connsiteX45" fmla="*/ 238125 w 254551"/>
                    <a:gd name="connsiteY45" fmla="*/ 80010 h 227192"/>
                    <a:gd name="connsiteX46" fmla="*/ 243840 w 254551"/>
                    <a:gd name="connsiteY46" fmla="*/ 78105 h 227192"/>
                    <a:gd name="connsiteX47" fmla="*/ 249555 w 254551"/>
                    <a:gd name="connsiteY47" fmla="*/ 74295 h 227192"/>
                    <a:gd name="connsiteX48" fmla="*/ 251460 w 254551"/>
                    <a:gd name="connsiteY48" fmla="*/ 24765 h 227192"/>
                    <a:gd name="connsiteX49" fmla="*/ 249555 w 254551"/>
                    <a:gd name="connsiteY49" fmla="*/ 19050 h 227192"/>
                    <a:gd name="connsiteX50" fmla="*/ 243840 w 254551"/>
                    <a:gd name="connsiteY50" fmla="*/ 15240 h 227192"/>
                    <a:gd name="connsiteX51" fmla="*/ 234315 w 254551"/>
                    <a:gd name="connsiteY51" fmla="*/ 3810 h 227192"/>
                    <a:gd name="connsiteX52" fmla="*/ 228600 w 254551"/>
                    <a:gd name="connsiteY52" fmla="*/ 0 h 227192"/>
                    <a:gd name="connsiteX53" fmla="*/ 217170 w 254551"/>
                    <a:gd name="connsiteY53" fmla="*/ 1905 h 227192"/>
                    <a:gd name="connsiteX54" fmla="*/ 213360 w 254551"/>
                    <a:gd name="connsiteY54" fmla="*/ 7620 h 227192"/>
                    <a:gd name="connsiteX55" fmla="*/ 207645 w 254551"/>
                    <a:gd name="connsiteY55" fmla="*/ 9525 h 227192"/>
                    <a:gd name="connsiteX56" fmla="*/ 203835 w 254551"/>
                    <a:gd name="connsiteY56" fmla="*/ 20955 h 227192"/>
                    <a:gd name="connsiteX57" fmla="*/ 201930 w 254551"/>
                    <a:gd name="connsiteY57" fmla="*/ 26670 h 227192"/>
                    <a:gd name="connsiteX58" fmla="*/ 200025 w 254551"/>
                    <a:gd name="connsiteY58" fmla="*/ 38100 h 227192"/>
                    <a:gd name="connsiteX59" fmla="*/ 205740 w 254551"/>
                    <a:gd name="connsiteY59" fmla="*/ 72390 h 227192"/>
                    <a:gd name="connsiteX60" fmla="*/ 213360 w 254551"/>
                    <a:gd name="connsiteY60" fmla="*/ 83820 h 227192"/>
                    <a:gd name="connsiteX61" fmla="*/ 217170 w 254551"/>
                    <a:gd name="connsiteY61" fmla="*/ 89535 h 227192"/>
                    <a:gd name="connsiteX62" fmla="*/ 215265 w 254551"/>
                    <a:gd name="connsiteY62" fmla="*/ 97155 h 227192"/>
                    <a:gd name="connsiteX63" fmla="*/ 203835 w 254551"/>
                    <a:gd name="connsiteY63" fmla="*/ 104775 h 227192"/>
                    <a:gd name="connsiteX64" fmla="*/ 198120 w 254551"/>
                    <a:gd name="connsiteY64" fmla="*/ 116205 h 227192"/>
                    <a:gd name="connsiteX65" fmla="*/ 196215 w 254551"/>
                    <a:gd name="connsiteY65" fmla="*/ 121920 h 227192"/>
                    <a:gd name="connsiteX66" fmla="*/ 190500 w 254551"/>
                    <a:gd name="connsiteY66" fmla="*/ 133350 h 227192"/>
                    <a:gd name="connsiteX67" fmla="*/ 182880 w 254551"/>
                    <a:gd name="connsiteY67" fmla="*/ 154305 h 227192"/>
                    <a:gd name="connsiteX68" fmla="*/ 175260 w 254551"/>
                    <a:gd name="connsiteY68" fmla="*/ 156210 h 227192"/>
                    <a:gd name="connsiteX69" fmla="*/ 169545 w 254551"/>
                    <a:gd name="connsiteY69" fmla="*/ 150495 h 227192"/>
                    <a:gd name="connsiteX70" fmla="*/ 167640 w 254551"/>
                    <a:gd name="connsiteY70" fmla="*/ 144780 h 227192"/>
                    <a:gd name="connsiteX71" fmla="*/ 156210 w 254551"/>
                    <a:gd name="connsiteY71" fmla="*/ 140970 h 227192"/>
                    <a:gd name="connsiteX72" fmla="*/ 150495 w 254551"/>
                    <a:gd name="connsiteY72" fmla="*/ 139065 h 227192"/>
                    <a:gd name="connsiteX73" fmla="*/ 139065 w 254551"/>
                    <a:gd name="connsiteY73" fmla="*/ 135255 h 227192"/>
                    <a:gd name="connsiteX74" fmla="*/ 133350 w 254551"/>
                    <a:gd name="connsiteY74" fmla="*/ 133350 h 227192"/>
                    <a:gd name="connsiteX75" fmla="*/ 121920 w 254551"/>
                    <a:gd name="connsiteY75" fmla="*/ 127635 h 227192"/>
                    <a:gd name="connsiteX76" fmla="*/ 89535 w 254551"/>
                    <a:gd name="connsiteY76" fmla="*/ 125730 h 227192"/>
                    <a:gd name="connsiteX77" fmla="*/ 78105 w 254551"/>
                    <a:gd name="connsiteY77" fmla="*/ 116205 h 227192"/>
                    <a:gd name="connsiteX78" fmla="*/ 76200 w 254551"/>
                    <a:gd name="connsiteY78" fmla="*/ 110490 h 227192"/>
                    <a:gd name="connsiteX79" fmla="*/ 72390 w 254551"/>
                    <a:gd name="connsiteY79" fmla="*/ 104775 h 227192"/>
                    <a:gd name="connsiteX80" fmla="*/ 68580 w 254551"/>
                    <a:gd name="connsiteY80" fmla="*/ 89535 h 227192"/>
                    <a:gd name="connsiteX81" fmla="*/ 62865 w 254551"/>
                    <a:gd name="connsiteY81" fmla="*/ 85725 h 227192"/>
                    <a:gd name="connsiteX82" fmla="*/ 53340 w 254551"/>
                    <a:gd name="connsiteY82" fmla="*/ 83820 h 227192"/>
                    <a:gd name="connsiteX83" fmla="*/ 47625 w 254551"/>
                    <a:gd name="connsiteY83" fmla="*/ 80010 h 227192"/>
                    <a:gd name="connsiteX84" fmla="*/ 41910 w 254551"/>
                    <a:gd name="connsiteY84" fmla="*/ 78105 h 227192"/>
                    <a:gd name="connsiteX85" fmla="*/ 34290 w 254551"/>
                    <a:gd name="connsiteY85" fmla="*/ 64770 h 227192"/>
                    <a:gd name="connsiteX86" fmla="*/ 30480 w 254551"/>
                    <a:gd name="connsiteY86" fmla="*/ 53340 h 227192"/>
                    <a:gd name="connsiteX87" fmla="*/ 34290 w 254551"/>
                    <a:gd name="connsiteY87" fmla="*/ 47625 h 227192"/>
                    <a:gd name="connsiteX88" fmla="*/ 32385 w 254551"/>
                    <a:gd name="connsiteY88" fmla="*/ 28575 h 227192"/>
                    <a:gd name="connsiteX89" fmla="*/ 30480 w 254551"/>
                    <a:gd name="connsiteY89" fmla="*/ 22860 h 227192"/>
                    <a:gd name="connsiteX90" fmla="*/ 36195 w 254551"/>
                    <a:gd name="connsiteY90" fmla="*/ 30480 h 227192"/>
                    <a:gd name="connsiteX0" fmla="*/ 36195 w 254551"/>
                    <a:gd name="connsiteY0" fmla="*/ 30480 h 227192"/>
                    <a:gd name="connsiteX1" fmla="*/ 36195 w 254551"/>
                    <a:gd name="connsiteY1" fmla="*/ 30480 h 227192"/>
                    <a:gd name="connsiteX2" fmla="*/ 20955 w 254551"/>
                    <a:gd name="connsiteY2" fmla="*/ 20955 h 227192"/>
                    <a:gd name="connsiteX3" fmla="*/ 17145 w 254551"/>
                    <a:gd name="connsiteY3" fmla="*/ 9525 h 227192"/>
                    <a:gd name="connsiteX4" fmla="*/ 1905 w 254551"/>
                    <a:gd name="connsiteY4" fmla="*/ 20955 h 227192"/>
                    <a:gd name="connsiteX5" fmla="*/ 0 w 254551"/>
                    <a:gd name="connsiteY5" fmla="*/ 26670 h 227192"/>
                    <a:gd name="connsiteX6" fmla="*/ 1905 w 254551"/>
                    <a:gd name="connsiteY6" fmla="*/ 47625 h 227192"/>
                    <a:gd name="connsiteX7" fmla="*/ 9525 w 254551"/>
                    <a:gd name="connsiteY7" fmla="*/ 59055 h 227192"/>
                    <a:gd name="connsiteX8" fmla="*/ 13335 w 254551"/>
                    <a:gd name="connsiteY8" fmla="*/ 70485 h 227192"/>
                    <a:gd name="connsiteX9" fmla="*/ 15240 w 254551"/>
                    <a:gd name="connsiteY9" fmla="*/ 99060 h 227192"/>
                    <a:gd name="connsiteX10" fmla="*/ 17145 w 254551"/>
                    <a:gd name="connsiteY10" fmla="*/ 104775 h 227192"/>
                    <a:gd name="connsiteX11" fmla="*/ 22860 w 254551"/>
                    <a:gd name="connsiteY11" fmla="*/ 108585 h 227192"/>
                    <a:gd name="connsiteX12" fmla="*/ 26670 w 254551"/>
                    <a:gd name="connsiteY12" fmla="*/ 114300 h 227192"/>
                    <a:gd name="connsiteX13" fmla="*/ 32385 w 254551"/>
                    <a:gd name="connsiteY13" fmla="*/ 118110 h 227192"/>
                    <a:gd name="connsiteX14" fmla="*/ 41910 w 254551"/>
                    <a:gd name="connsiteY14" fmla="*/ 131445 h 227192"/>
                    <a:gd name="connsiteX15" fmla="*/ 59055 w 254551"/>
                    <a:gd name="connsiteY15" fmla="*/ 133350 h 227192"/>
                    <a:gd name="connsiteX16" fmla="*/ 64770 w 254551"/>
                    <a:gd name="connsiteY16" fmla="*/ 180975 h 227192"/>
                    <a:gd name="connsiteX17" fmla="*/ 74295 w 254551"/>
                    <a:gd name="connsiteY17" fmla="*/ 188595 h 227192"/>
                    <a:gd name="connsiteX18" fmla="*/ 80010 w 254551"/>
                    <a:gd name="connsiteY18" fmla="*/ 192405 h 227192"/>
                    <a:gd name="connsiteX19" fmla="*/ 87630 w 254551"/>
                    <a:gd name="connsiteY19" fmla="*/ 201930 h 227192"/>
                    <a:gd name="connsiteX20" fmla="*/ 95250 w 254551"/>
                    <a:gd name="connsiteY20" fmla="*/ 213360 h 227192"/>
                    <a:gd name="connsiteX21" fmla="*/ 99060 w 254551"/>
                    <a:gd name="connsiteY21" fmla="*/ 219075 h 227192"/>
                    <a:gd name="connsiteX22" fmla="*/ 104775 w 254551"/>
                    <a:gd name="connsiteY22" fmla="*/ 220980 h 227192"/>
                    <a:gd name="connsiteX23" fmla="*/ 108585 w 254551"/>
                    <a:gd name="connsiteY23" fmla="*/ 226695 h 227192"/>
                    <a:gd name="connsiteX24" fmla="*/ 133350 w 254551"/>
                    <a:gd name="connsiteY24" fmla="*/ 222885 h 227192"/>
                    <a:gd name="connsiteX25" fmla="*/ 144780 w 254551"/>
                    <a:gd name="connsiteY25" fmla="*/ 211455 h 227192"/>
                    <a:gd name="connsiteX26" fmla="*/ 148590 w 254551"/>
                    <a:gd name="connsiteY26" fmla="*/ 205740 h 227192"/>
                    <a:gd name="connsiteX27" fmla="*/ 160020 w 254551"/>
                    <a:gd name="connsiteY27" fmla="*/ 201930 h 227192"/>
                    <a:gd name="connsiteX28" fmla="*/ 161925 w 254551"/>
                    <a:gd name="connsiteY28" fmla="*/ 196215 h 227192"/>
                    <a:gd name="connsiteX29" fmla="*/ 163830 w 254551"/>
                    <a:gd name="connsiteY29" fmla="*/ 184785 h 227192"/>
                    <a:gd name="connsiteX30" fmla="*/ 175260 w 254551"/>
                    <a:gd name="connsiteY30" fmla="*/ 180975 h 227192"/>
                    <a:gd name="connsiteX31" fmla="*/ 198120 w 254551"/>
                    <a:gd name="connsiteY31" fmla="*/ 182880 h 227192"/>
                    <a:gd name="connsiteX32" fmla="*/ 203835 w 254551"/>
                    <a:gd name="connsiteY32" fmla="*/ 186690 h 227192"/>
                    <a:gd name="connsiteX33" fmla="*/ 209550 w 254551"/>
                    <a:gd name="connsiteY33" fmla="*/ 188595 h 227192"/>
                    <a:gd name="connsiteX34" fmla="*/ 220980 w 254551"/>
                    <a:gd name="connsiteY34" fmla="*/ 186690 h 227192"/>
                    <a:gd name="connsiteX35" fmla="*/ 226695 w 254551"/>
                    <a:gd name="connsiteY35" fmla="*/ 182880 h 227192"/>
                    <a:gd name="connsiteX36" fmla="*/ 234315 w 254551"/>
                    <a:gd name="connsiteY36" fmla="*/ 165735 h 227192"/>
                    <a:gd name="connsiteX37" fmla="*/ 238125 w 254551"/>
                    <a:gd name="connsiteY37" fmla="*/ 154305 h 227192"/>
                    <a:gd name="connsiteX38" fmla="*/ 240030 w 254551"/>
                    <a:gd name="connsiteY38" fmla="*/ 148590 h 227192"/>
                    <a:gd name="connsiteX39" fmla="*/ 245745 w 254551"/>
                    <a:gd name="connsiteY39" fmla="*/ 120015 h 227192"/>
                    <a:gd name="connsiteX40" fmla="*/ 247650 w 254551"/>
                    <a:gd name="connsiteY40" fmla="*/ 114300 h 227192"/>
                    <a:gd name="connsiteX41" fmla="*/ 249555 w 254551"/>
                    <a:gd name="connsiteY41" fmla="*/ 108585 h 227192"/>
                    <a:gd name="connsiteX42" fmla="*/ 241935 w 254551"/>
                    <a:gd name="connsiteY42" fmla="*/ 89535 h 227192"/>
                    <a:gd name="connsiteX43" fmla="*/ 236220 w 254551"/>
                    <a:gd name="connsiteY43" fmla="*/ 85725 h 227192"/>
                    <a:gd name="connsiteX44" fmla="*/ 238125 w 254551"/>
                    <a:gd name="connsiteY44" fmla="*/ 80010 h 227192"/>
                    <a:gd name="connsiteX45" fmla="*/ 243840 w 254551"/>
                    <a:gd name="connsiteY45" fmla="*/ 78105 h 227192"/>
                    <a:gd name="connsiteX46" fmla="*/ 249555 w 254551"/>
                    <a:gd name="connsiteY46" fmla="*/ 74295 h 227192"/>
                    <a:gd name="connsiteX47" fmla="*/ 251460 w 254551"/>
                    <a:gd name="connsiteY47" fmla="*/ 24765 h 227192"/>
                    <a:gd name="connsiteX48" fmla="*/ 249555 w 254551"/>
                    <a:gd name="connsiteY48" fmla="*/ 19050 h 227192"/>
                    <a:gd name="connsiteX49" fmla="*/ 243840 w 254551"/>
                    <a:gd name="connsiteY49" fmla="*/ 15240 h 227192"/>
                    <a:gd name="connsiteX50" fmla="*/ 234315 w 254551"/>
                    <a:gd name="connsiteY50" fmla="*/ 3810 h 227192"/>
                    <a:gd name="connsiteX51" fmla="*/ 228600 w 254551"/>
                    <a:gd name="connsiteY51" fmla="*/ 0 h 227192"/>
                    <a:gd name="connsiteX52" fmla="*/ 217170 w 254551"/>
                    <a:gd name="connsiteY52" fmla="*/ 1905 h 227192"/>
                    <a:gd name="connsiteX53" fmla="*/ 213360 w 254551"/>
                    <a:gd name="connsiteY53" fmla="*/ 7620 h 227192"/>
                    <a:gd name="connsiteX54" fmla="*/ 207645 w 254551"/>
                    <a:gd name="connsiteY54" fmla="*/ 9525 h 227192"/>
                    <a:gd name="connsiteX55" fmla="*/ 203835 w 254551"/>
                    <a:gd name="connsiteY55" fmla="*/ 20955 h 227192"/>
                    <a:gd name="connsiteX56" fmla="*/ 201930 w 254551"/>
                    <a:gd name="connsiteY56" fmla="*/ 26670 h 227192"/>
                    <a:gd name="connsiteX57" fmla="*/ 200025 w 254551"/>
                    <a:gd name="connsiteY57" fmla="*/ 38100 h 227192"/>
                    <a:gd name="connsiteX58" fmla="*/ 205740 w 254551"/>
                    <a:gd name="connsiteY58" fmla="*/ 72390 h 227192"/>
                    <a:gd name="connsiteX59" fmla="*/ 213360 w 254551"/>
                    <a:gd name="connsiteY59" fmla="*/ 83820 h 227192"/>
                    <a:gd name="connsiteX60" fmla="*/ 217170 w 254551"/>
                    <a:gd name="connsiteY60" fmla="*/ 89535 h 227192"/>
                    <a:gd name="connsiteX61" fmla="*/ 215265 w 254551"/>
                    <a:gd name="connsiteY61" fmla="*/ 97155 h 227192"/>
                    <a:gd name="connsiteX62" fmla="*/ 203835 w 254551"/>
                    <a:gd name="connsiteY62" fmla="*/ 104775 h 227192"/>
                    <a:gd name="connsiteX63" fmla="*/ 198120 w 254551"/>
                    <a:gd name="connsiteY63" fmla="*/ 116205 h 227192"/>
                    <a:gd name="connsiteX64" fmla="*/ 196215 w 254551"/>
                    <a:gd name="connsiteY64" fmla="*/ 121920 h 227192"/>
                    <a:gd name="connsiteX65" fmla="*/ 190500 w 254551"/>
                    <a:gd name="connsiteY65" fmla="*/ 133350 h 227192"/>
                    <a:gd name="connsiteX66" fmla="*/ 182880 w 254551"/>
                    <a:gd name="connsiteY66" fmla="*/ 154305 h 227192"/>
                    <a:gd name="connsiteX67" fmla="*/ 175260 w 254551"/>
                    <a:gd name="connsiteY67" fmla="*/ 156210 h 227192"/>
                    <a:gd name="connsiteX68" fmla="*/ 169545 w 254551"/>
                    <a:gd name="connsiteY68" fmla="*/ 150495 h 227192"/>
                    <a:gd name="connsiteX69" fmla="*/ 167640 w 254551"/>
                    <a:gd name="connsiteY69" fmla="*/ 144780 h 227192"/>
                    <a:gd name="connsiteX70" fmla="*/ 156210 w 254551"/>
                    <a:gd name="connsiteY70" fmla="*/ 140970 h 227192"/>
                    <a:gd name="connsiteX71" fmla="*/ 150495 w 254551"/>
                    <a:gd name="connsiteY71" fmla="*/ 139065 h 227192"/>
                    <a:gd name="connsiteX72" fmla="*/ 139065 w 254551"/>
                    <a:gd name="connsiteY72" fmla="*/ 135255 h 227192"/>
                    <a:gd name="connsiteX73" fmla="*/ 133350 w 254551"/>
                    <a:gd name="connsiteY73" fmla="*/ 133350 h 227192"/>
                    <a:gd name="connsiteX74" fmla="*/ 121920 w 254551"/>
                    <a:gd name="connsiteY74" fmla="*/ 127635 h 227192"/>
                    <a:gd name="connsiteX75" fmla="*/ 89535 w 254551"/>
                    <a:gd name="connsiteY75" fmla="*/ 125730 h 227192"/>
                    <a:gd name="connsiteX76" fmla="*/ 78105 w 254551"/>
                    <a:gd name="connsiteY76" fmla="*/ 116205 h 227192"/>
                    <a:gd name="connsiteX77" fmla="*/ 76200 w 254551"/>
                    <a:gd name="connsiteY77" fmla="*/ 110490 h 227192"/>
                    <a:gd name="connsiteX78" fmla="*/ 72390 w 254551"/>
                    <a:gd name="connsiteY78" fmla="*/ 104775 h 227192"/>
                    <a:gd name="connsiteX79" fmla="*/ 68580 w 254551"/>
                    <a:gd name="connsiteY79" fmla="*/ 89535 h 227192"/>
                    <a:gd name="connsiteX80" fmla="*/ 62865 w 254551"/>
                    <a:gd name="connsiteY80" fmla="*/ 85725 h 227192"/>
                    <a:gd name="connsiteX81" fmla="*/ 53340 w 254551"/>
                    <a:gd name="connsiteY81" fmla="*/ 83820 h 227192"/>
                    <a:gd name="connsiteX82" fmla="*/ 47625 w 254551"/>
                    <a:gd name="connsiteY82" fmla="*/ 80010 h 227192"/>
                    <a:gd name="connsiteX83" fmla="*/ 41910 w 254551"/>
                    <a:gd name="connsiteY83" fmla="*/ 78105 h 227192"/>
                    <a:gd name="connsiteX84" fmla="*/ 34290 w 254551"/>
                    <a:gd name="connsiteY84" fmla="*/ 64770 h 227192"/>
                    <a:gd name="connsiteX85" fmla="*/ 30480 w 254551"/>
                    <a:gd name="connsiteY85" fmla="*/ 53340 h 227192"/>
                    <a:gd name="connsiteX86" fmla="*/ 34290 w 254551"/>
                    <a:gd name="connsiteY86" fmla="*/ 47625 h 227192"/>
                    <a:gd name="connsiteX87" fmla="*/ 32385 w 254551"/>
                    <a:gd name="connsiteY87" fmla="*/ 28575 h 227192"/>
                    <a:gd name="connsiteX88" fmla="*/ 30480 w 254551"/>
                    <a:gd name="connsiteY88" fmla="*/ 22860 h 227192"/>
                    <a:gd name="connsiteX89" fmla="*/ 36195 w 254551"/>
                    <a:gd name="connsiteY89" fmla="*/ 30480 h 227192"/>
                    <a:gd name="connsiteX0" fmla="*/ 36195 w 254551"/>
                    <a:gd name="connsiteY0" fmla="*/ 30480 h 227192"/>
                    <a:gd name="connsiteX1" fmla="*/ 36195 w 254551"/>
                    <a:gd name="connsiteY1" fmla="*/ 30480 h 227192"/>
                    <a:gd name="connsiteX2" fmla="*/ 20955 w 254551"/>
                    <a:gd name="connsiteY2" fmla="*/ 20955 h 227192"/>
                    <a:gd name="connsiteX3" fmla="*/ 17145 w 254551"/>
                    <a:gd name="connsiteY3" fmla="*/ 9525 h 227192"/>
                    <a:gd name="connsiteX4" fmla="*/ 1905 w 254551"/>
                    <a:gd name="connsiteY4" fmla="*/ 20955 h 227192"/>
                    <a:gd name="connsiteX5" fmla="*/ 0 w 254551"/>
                    <a:gd name="connsiteY5" fmla="*/ 26670 h 227192"/>
                    <a:gd name="connsiteX6" fmla="*/ 1905 w 254551"/>
                    <a:gd name="connsiteY6" fmla="*/ 47625 h 227192"/>
                    <a:gd name="connsiteX7" fmla="*/ 9525 w 254551"/>
                    <a:gd name="connsiteY7" fmla="*/ 59055 h 227192"/>
                    <a:gd name="connsiteX8" fmla="*/ 13335 w 254551"/>
                    <a:gd name="connsiteY8" fmla="*/ 70485 h 227192"/>
                    <a:gd name="connsiteX9" fmla="*/ 15240 w 254551"/>
                    <a:gd name="connsiteY9" fmla="*/ 99060 h 227192"/>
                    <a:gd name="connsiteX10" fmla="*/ 17145 w 254551"/>
                    <a:gd name="connsiteY10" fmla="*/ 104775 h 227192"/>
                    <a:gd name="connsiteX11" fmla="*/ 22860 w 254551"/>
                    <a:gd name="connsiteY11" fmla="*/ 108585 h 227192"/>
                    <a:gd name="connsiteX12" fmla="*/ 26670 w 254551"/>
                    <a:gd name="connsiteY12" fmla="*/ 114300 h 227192"/>
                    <a:gd name="connsiteX13" fmla="*/ 32385 w 254551"/>
                    <a:gd name="connsiteY13" fmla="*/ 118110 h 227192"/>
                    <a:gd name="connsiteX14" fmla="*/ 41910 w 254551"/>
                    <a:gd name="connsiteY14" fmla="*/ 131445 h 227192"/>
                    <a:gd name="connsiteX15" fmla="*/ 59055 w 254551"/>
                    <a:gd name="connsiteY15" fmla="*/ 133350 h 227192"/>
                    <a:gd name="connsiteX16" fmla="*/ 64770 w 254551"/>
                    <a:gd name="connsiteY16" fmla="*/ 180975 h 227192"/>
                    <a:gd name="connsiteX17" fmla="*/ 74295 w 254551"/>
                    <a:gd name="connsiteY17" fmla="*/ 188595 h 227192"/>
                    <a:gd name="connsiteX18" fmla="*/ 80010 w 254551"/>
                    <a:gd name="connsiteY18" fmla="*/ 192405 h 227192"/>
                    <a:gd name="connsiteX19" fmla="*/ 87630 w 254551"/>
                    <a:gd name="connsiteY19" fmla="*/ 201930 h 227192"/>
                    <a:gd name="connsiteX20" fmla="*/ 95250 w 254551"/>
                    <a:gd name="connsiteY20" fmla="*/ 213360 h 227192"/>
                    <a:gd name="connsiteX21" fmla="*/ 99060 w 254551"/>
                    <a:gd name="connsiteY21" fmla="*/ 219075 h 227192"/>
                    <a:gd name="connsiteX22" fmla="*/ 104775 w 254551"/>
                    <a:gd name="connsiteY22" fmla="*/ 220980 h 227192"/>
                    <a:gd name="connsiteX23" fmla="*/ 108585 w 254551"/>
                    <a:gd name="connsiteY23" fmla="*/ 226695 h 227192"/>
                    <a:gd name="connsiteX24" fmla="*/ 133350 w 254551"/>
                    <a:gd name="connsiteY24" fmla="*/ 222885 h 227192"/>
                    <a:gd name="connsiteX25" fmla="*/ 144780 w 254551"/>
                    <a:gd name="connsiteY25" fmla="*/ 211455 h 227192"/>
                    <a:gd name="connsiteX26" fmla="*/ 148590 w 254551"/>
                    <a:gd name="connsiteY26" fmla="*/ 205740 h 227192"/>
                    <a:gd name="connsiteX27" fmla="*/ 160020 w 254551"/>
                    <a:gd name="connsiteY27" fmla="*/ 201930 h 227192"/>
                    <a:gd name="connsiteX28" fmla="*/ 161925 w 254551"/>
                    <a:gd name="connsiteY28" fmla="*/ 196215 h 227192"/>
                    <a:gd name="connsiteX29" fmla="*/ 163830 w 254551"/>
                    <a:gd name="connsiteY29" fmla="*/ 184785 h 227192"/>
                    <a:gd name="connsiteX30" fmla="*/ 175260 w 254551"/>
                    <a:gd name="connsiteY30" fmla="*/ 180975 h 227192"/>
                    <a:gd name="connsiteX31" fmla="*/ 198120 w 254551"/>
                    <a:gd name="connsiteY31" fmla="*/ 182880 h 227192"/>
                    <a:gd name="connsiteX32" fmla="*/ 203835 w 254551"/>
                    <a:gd name="connsiteY32" fmla="*/ 186690 h 227192"/>
                    <a:gd name="connsiteX33" fmla="*/ 209550 w 254551"/>
                    <a:gd name="connsiteY33" fmla="*/ 188595 h 227192"/>
                    <a:gd name="connsiteX34" fmla="*/ 220980 w 254551"/>
                    <a:gd name="connsiteY34" fmla="*/ 186690 h 227192"/>
                    <a:gd name="connsiteX35" fmla="*/ 226695 w 254551"/>
                    <a:gd name="connsiteY35" fmla="*/ 182880 h 227192"/>
                    <a:gd name="connsiteX36" fmla="*/ 234315 w 254551"/>
                    <a:gd name="connsiteY36" fmla="*/ 165735 h 227192"/>
                    <a:gd name="connsiteX37" fmla="*/ 238125 w 254551"/>
                    <a:gd name="connsiteY37" fmla="*/ 154305 h 227192"/>
                    <a:gd name="connsiteX38" fmla="*/ 240030 w 254551"/>
                    <a:gd name="connsiteY38" fmla="*/ 148590 h 227192"/>
                    <a:gd name="connsiteX39" fmla="*/ 245745 w 254551"/>
                    <a:gd name="connsiteY39" fmla="*/ 120015 h 227192"/>
                    <a:gd name="connsiteX40" fmla="*/ 247650 w 254551"/>
                    <a:gd name="connsiteY40" fmla="*/ 114300 h 227192"/>
                    <a:gd name="connsiteX41" fmla="*/ 249555 w 254551"/>
                    <a:gd name="connsiteY41" fmla="*/ 108585 h 227192"/>
                    <a:gd name="connsiteX42" fmla="*/ 241935 w 254551"/>
                    <a:gd name="connsiteY42" fmla="*/ 89535 h 227192"/>
                    <a:gd name="connsiteX43" fmla="*/ 236220 w 254551"/>
                    <a:gd name="connsiteY43" fmla="*/ 85725 h 227192"/>
                    <a:gd name="connsiteX44" fmla="*/ 238125 w 254551"/>
                    <a:gd name="connsiteY44" fmla="*/ 80010 h 227192"/>
                    <a:gd name="connsiteX45" fmla="*/ 243840 w 254551"/>
                    <a:gd name="connsiteY45" fmla="*/ 78105 h 227192"/>
                    <a:gd name="connsiteX46" fmla="*/ 249555 w 254551"/>
                    <a:gd name="connsiteY46" fmla="*/ 74295 h 227192"/>
                    <a:gd name="connsiteX47" fmla="*/ 251460 w 254551"/>
                    <a:gd name="connsiteY47" fmla="*/ 24765 h 227192"/>
                    <a:gd name="connsiteX48" fmla="*/ 249555 w 254551"/>
                    <a:gd name="connsiteY48" fmla="*/ 19050 h 227192"/>
                    <a:gd name="connsiteX49" fmla="*/ 243840 w 254551"/>
                    <a:gd name="connsiteY49" fmla="*/ 15240 h 227192"/>
                    <a:gd name="connsiteX50" fmla="*/ 234315 w 254551"/>
                    <a:gd name="connsiteY50" fmla="*/ 3810 h 227192"/>
                    <a:gd name="connsiteX51" fmla="*/ 228600 w 254551"/>
                    <a:gd name="connsiteY51" fmla="*/ 0 h 227192"/>
                    <a:gd name="connsiteX52" fmla="*/ 217170 w 254551"/>
                    <a:gd name="connsiteY52" fmla="*/ 1905 h 227192"/>
                    <a:gd name="connsiteX53" fmla="*/ 213360 w 254551"/>
                    <a:gd name="connsiteY53" fmla="*/ 7620 h 227192"/>
                    <a:gd name="connsiteX54" fmla="*/ 207645 w 254551"/>
                    <a:gd name="connsiteY54" fmla="*/ 9525 h 227192"/>
                    <a:gd name="connsiteX55" fmla="*/ 203835 w 254551"/>
                    <a:gd name="connsiteY55" fmla="*/ 20955 h 227192"/>
                    <a:gd name="connsiteX56" fmla="*/ 201930 w 254551"/>
                    <a:gd name="connsiteY56" fmla="*/ 26670 h 227192"/>
                    <a:gd name="connsiteX57" fmla="*/ 200025 w 254551"/>
                    <a:gd name="connsiteY57" fmla="*/ 38100 h 227192"/>
                    <a:gd name="connsiteX58" fmla="*/ 205740 w 254551"/>
                    <a:gd name="connsiteY58" fmla="*/ 72390 h 227192"/>
                    <a:gd name="connsiteX59" fmla="*/ 213360 w 254551"/>
                    <a:gd name="connsiteY59" fmla="*/ 83820 h 227192"/>
                    <a:gd name="connsiteX60" fmla="*/ 217170 w 254551"/>
                    <a:gd name="connsiteY60" fmla="*/ 89535 h 227192"/>
                    <a:gd name="connsiteX61" fmla="*/ 215265 w 254551"/>
                    <a:gd name="connsiteY61" fmla="*/ 97155 h 227192"/>
                    <a:gd name="connsiteX62" fmla="*/ 203835 w 254551"/>
                    <a:gd name="connsiteY62" fmla="*/ 104775 h 227192"/>
                    <a:gd name="connsiteX63" fmla="*/ 198120 w 254551"/>
                    <a:gd name="connsiteY63" fmla="*/ 116205 h 227192"/>
                    <a:gd name="connsiteX64" fmla="*/ 196215 w 254551"/>
                    <a:gd name="connsiteY64" fmla="*/ 121920 h 227192"/>
                    <a:gd name="connsiteX65" fmla="*/ 190500 w 254551"/>
                    <a:gd name="connsiteY65" fmla="*/ 133350 h 227192"/>
                    <a:gd name="connsiteX66" fmla="*/ 182880 w 254551"/>
                    <a:gd name="connsiteY66" fmla="*/ 154305 h 227192"/>
                    <a:gd name="connsiteX67" fmla="*/ 175260 w 254551"/>
                    <a:gd name="connsiteY67" fmla="*/ 156210 h 227192"/>
                    <a:gd name="connsiteX68" fmla="*/ 169545 w 254551"/>
                    <a:gd name="connsiteY68" fmla="*/ 150495 h 227192"/>
                    <a:gd name="connsiteX69" fmla="*/ 167640 w 254551"/>
                    <a:gd name="connsiteY69" fmla="*/ 144780 h 227192"/>
                    <a:gd name="connsiteX70" fmla="*/ 156210 w 254551"/>
                    <a:gd name="connsiteY70" fmla="*/ 140970 h 227192"/>
                    <a:gd name="connsiteX71" fmla="*/ 150495 w 254551"/>
                    <a:gd name="connsiteY71" fmla="*/ 139065 h 227192"/>
                    <a:gd name="connsiteX72" fmla="*/ 139065 w 254551"/>
                    <a:gd name="connsiteY72" fmla="*/ 135255 h 227192"/>
                    <a:gd name="connsiteX73" fmla="*/ 133350 w 254551"/>
                    <a:gd name="connsiteY73" fmla="*/ 133350 h 227192"/>
                    <a:gd name="connsiteX74" fmla="*/ 121920 w 254551"/>
                    <a:gd name="connsiteY74" fmla="*/ 127635 h 227192"/>
                    <a:gd name="connsiteX75" fmla="*/ 89535 w 254551"/>
                    <a:gd name="connsiteY75" fmla="*/ 125730 h 227192"/>
                    <a:gd name="connsiteX76" fmla="*/ 78105 w 254551"/>
                    <a:gd name="connsiteY76" fmla="*/ 116205 h 227192"/>
                    <a:gd name="connsiteX77" fmla="*/ 76200 w 254551"/>
                    <a:gd name="connsiteY77" fmla="*/ 110490 h 227192"/>
                    <a:gd name="connsiteX78" fmla="*/ 72390 w 254551"/>
                    <a:gd name="connsiteY78" fmla="*/ 104775 h 227192"/>
                    <a:gd name="connsiteX79" fmla="*/ 68580 w 254551"/>
                    <a:gd name="connsiteY79" fmla="*/ 89535 h 227192"/>
                    <a:gd name="connsiteX80" fmla="*/ 62865 w 254551"/>
                    <a:gd name="connsiteY80" fmla="*/ 85725 h 227192"/>
                    <a:gd name="connsiteX81" fmla="*/ 53340 w 254551"/>
                    <a:gd name="connsiteY81" fmla="*/ 83820 h 227192"/>
                    <a:gd name="connsiteX82" fmla="*/ 47625 w 254551"/>
                    <a:gd name="connsiteY82" fmla="*/ 80010 h 227192"/>
                    <a:gd name="connsiteX83" fmla="*/ 41910 w 254551"/>
                    <a:gd name="connsiteY83" fmla="*/ 78105 h 227192"/>
                    <a:gd name="connsiteX84" fmla="*/ 34290 w 254551"/>
                    <a:gd name="connsiteY84" fmla="*/ 64770 h 227192"/>
                    <a:gd name="connsiteX85" fmla="*/ 30480 w 254551"/>
                    <a:gd name="connsiteY85" fmla="*/ 53340 h 227192"/>
                    <a:gd name="connsiteX86" fmla="*/ 34290 w 254551"/>
                    <a:gd name="connsiteY86" fmla="*/ 47625 h 227192"/>
                    <a:gd name="connsiteX87" fmla="*/ 32385 w 254551"/>
                    <a:gd name="connsiteY87" fmla="*/ 28575 h 227192"/>
                    <a:gd name="connsiteX88" fmla="*/ 30480 w 254551"/>
                    <a:gd name="connsiteY88" fmla="*/ 22860 h 227192"/>
                    <a:gd name="connsiteX89" fmla="*/ 36195 w 254551"/>
                    <a:gd name="connsiteY89" fmla="*/ 30480 h 227192"/>
                    <a:gd name="connsiteX0" fmla="*/ 36317 w 254673"/>
                    <a:gd name="connsiteY0" fmla="*/ 30480 h 227192"/>
                    <a:gd name="connsiteX1" fmla="*/ 36317 w 254673"/>
                    <a:gd name="connsiteY1" fmla="*/ 30480 h 227192"/>
                    <a:gd name="connsiteX2" fmla="*/ 21077 w 254673"/>
                    <a:gd name="connsiteY2" fmla="*/ 20955 h 227192"/>
                    <a:gd name="connsiteX3" fmla="*/ 2027 w 254673"/>
                    <a:gd name="connsiteY3" fmla="*/ 20955 h 227192"/>
                    <a:gd name="connsiteX4" fmla="*/ 122 w 254673"/>
                    <a:gd name="connsiteY4" fmla="*/ 26670 h 227192"/>
                    <a:gd name="connsiteX5" fmla="*/ 2027 w 254673"/>
                    <a:gd name="connsiteY5" fmla="*/ 47625 h 227192"/>
                    <a:gd name="connsiteX6" fmla="*/ 9647 w 254673"/>
                    <a:gd name="connsiteY6" fmla="*/ 59055 h 227192"/>
                    <a:gd name="connsiteX7" fmla="*/ 13457 w 254673"/>
                    <a:gd name="connsiteY7" fmla="*/ 70485 h 227192"/>
                    <a:gd name="connsiteX8" fmla="*/ 15362 w 254673"/>
                    <a:gd name="connsiteY8" fmla="*/ 99060 h 227192"/>
                    <a:gd name="connsiteX9" fmla="*/ 17267 w 254673"/>
                    <a:gd name="connsiteY9" fmla="*/ 104775 h 227192"/>
                    <a:gd name="connsiteX10" fmla="*/ 22982 w 254673"/>
                    <a:gd name="connsiteY10" fmla="*/ 108585 h 227192"/>
                    <a:gd name="connsiteX11" fmla="*/ 26792 w 254673"/>
                    <a:gd name="connsiteY11" fmla="*/ 114300 h 227192"/>
                    <a:gd name="connsiteX12" fmla="*/ 32507 w 254673"/>
                    <a:gd name="connsiteY12" fmla="*/ 118110 h 227192"/>
                    <a:gd name="connsiteX13" fmla="*/ 42032 w 254673"/>
                    <a:gd name="connsiteY13" fmla="*/ 131445 h 227192"/>
                    <a:gd name="connsiteX14" fmla="*/ 59177 w 254673"/>
                    <a:gd name="connsiteY14" fmla="*/ 133350 h 227192"/>
                    <a:gd name="connsiteX15" fmla="*/ 64892 w 254673"/>
                    <a:gd name="connsiteY15" fmla="*/ 180975 h 227192"/>
                    <a:gd name="connsiteX16" fmla="*/ 74417 w 254673"/>
                    <a:gd name="connsiteY16" fmla="*/ 188595 h 227192"/>
                    <a:gd name="connsiteX17" fmla="*/ 80132 w 254673"/>
                    <a:gd name="connsiteY17" fmla="*/ 192405 h 227192"/>
                    <a:gd name="connsiteX18" fmla="*/ 87752 w 254673"/>
                    <a:gd name="connsiteY18" fmla="*/ 201930 h 227192"/>
                    <a:gd name="connsiteX19" fmla="*/ 95372 w 254673"/>
                    <a:gd name="connsiteY19" fmla="*/ 213360 h 227192"/>
                    <a:gd name="connsiteX20" fmla="*/ 99182 w 254673"/>
                    <a:gd name="connsiteY20" fmla="*/ 219075 h 227192"/>
                    <a:gd name="connsiteX21" fmla="*/ 104897 w 254673"/>
                    <a:gd name="connsiteY21" fmla="*/ 220980 h 227192"/>
                    <a:gd name="connsiteX22" fmla="*/ 108707 w 254673"/>
                    <a:gd name="connsiteY22" fmla="*/ 226695 h 227192"/>
                    <a:gd name="connsiteX23" fmla="*/ 133472 w 254673"/>
                    <a:gd name="connsiteY23" fmla="*/ 222885 h 227192"/>
                    <a:gd name="connsiteX24" fmla="*/ 144902 w 254673"/>
                    <a:gd name="connsiteY24" fmla="*/ 211455 h 227192"/>
                    <a:gd name="connsiteX25" fmla="*/ 148712 w 254673"/>
                    <a:gd name="connsiteY25" fmla="*/ 205740 h 227192"/>
                    <a:gd name="connsiteX26" fmla="*/ 160142 w 254673"/>
                    <a:gd name="connsiteY26" fmla="*/ 201930 h 227192"/>
                    <a:gd name="connsiteX27" fmla="*/ 162047 w 254673"/>
                    <a:gd name="connsiteY27" fmla="*/ 196215 h 227192"/>
                    <a:gd name="connsiteX28" fmla="*/ 163952 w 254673"/>
                    <a:gd name="connsiteY28" fmla="*/ 184785 h 227192"/>
                    <a:gd name="connsiteX29" fmla="*/ 175382 w 254673"/>
                    <a:gd name="connsiteY29" fmla="*/ 180975 h 227192"/>
                    <a:gd name="connsiteX30" fmla="*/ 198242 w 254673"/>
                    <a:gd name="connsiteY30" fmla="*/ 182880 h 227192"/>
                    <a:gd name="connsiteX31" fmla="*/ 203957 w 254673"/>
                    <a:gd name="connsiteY31" fmla="*/ 186690 h 227192"/>
                    <a:gd name="connsiteX32" fmla="*/ 209672 w 254673"/>
                    <a:gd name="connsiteY32" fmla="*/ 188595 h 227192"/>
                    <a:gd name="connsiteX33" fmla="*/ 221102 w 254673"/>
                    <a:gd name="connsiteY33" fmla="*/ 186690 h 227192"/>
                    <a:gd name="connsiteX34" fmla="*/ 226817 w 254673"/>
                    <a:gd name="connsiteY34" fmla="*/ 182880 h 227192"/>
                    <a:gd name="connsiteX35" fmla="*/ 234437 w 254673"/>
                    <a:gd name="connsiteY35" fmla="*/ 165735 h 227192"/>
                    <a:gd name="connsiteX36" fmla="*/ 238247 w 254673"/>
                    <a:gd name="connsiteY36" fmla="*/ 154305 h 227192"/>
                    <a:gd name="connsiteX37" fmla="*/ 240152 w 254673"/>
                    <a:gd name="connsiteY37" fmla="*/ 148590 h 227192"/>
                    <a:gd name="connsiteX38" fmla="*/ 245867 w 254673"/>
                    <a:gd name="connsiteY38" fmla="*/ 120015 h 227192"/>
                    <a:gd name="connsiteX39" fmla="*/ 247772 w 254673"/>
                    <a:gd name="connsiteY39" fmla="*/ 114300 h 227192"/>
                    <a:gd name="connsiteX40" fmla="*/ 249677 w 254673"/>
                    <a:gd name="connsiteY40" fmla="*/ 108585 h 227192"/>
                    <a:gd name="connsiteX41" fmla="*/ 242057 w 254673"/>
                    <a:gd name="connsiteY41" fmla="*/ 89535 h 227192"/>
                    <a:gd name="connsiteX42" fmla="*/ 236342 w 254673"/>
                    <a:gd name="connsiteY42" fmla="*/ 85725 h 227192"/>
                    <a:gd name="connsiteX43" fmla="*/ 238247 w 254673"/>
                    <a:gd name="connsiteY43" fmla="*/ 80010 h 227192"/>
                    <a:gd name="connsiteX44" fmla="*/ 243962 w 254673"/>
                    <a:gd name="connsiteY44" fmla="*/ 78105 h 227192"/>
                    <a:gd name="connsiteX45" fmla="*/ 249677 w 254673"/>
                    <a:gd name="connsiteY45" fmla="*/ 74295 h 227192"/>
                    <a:gd name="connsiteX46" fmla="*/ 251582 w 254673"/>
                    <a:gd name="connsiteY46" fmla="*/ 24765 h 227192"/>
                    <a:gd name="connsiteX47" fmla="*/ 249677 w 254673"/>
                    <a:gd name="connsiteY47" fmla="*/ 19050 h 227192"/>
                    <a:gd name="connsiteX48" fmla="*/ 243962 w 254673"/>
                    <a:gd name="connsiteY48" fmla="*/ 15240 h 227192"/>
                    <a:gd name="connsiteX49" fmla="*/ 234437 w 254673"/>
                    <a:gd name="connsiteY49" fmla="*/ 3810 h 227192"/>
                    <a:gd name="connsiteX50" fmla="*/ 228722 w 254673"/>
                    <a:gd name="connsiteY50" fmla="*/ 0 h 227192"/>
                    <a:gd name="connsiteX51" fmla="*/ 217292 w 254673"/>
                    <a:gd name="connsiteY51" fmla="*/ 1905 h 227192"/>
                    <a:gd name="connsiteX52" fmla="*/ 213482 w 254673"/>
                    <a:gd name="connsiteY52" fmla="*/ 7620 h 227192"/>
                    <a:gd name="connsiteX53" fmla="*/ 207767 w 254673"/>
                    <a:gd name="connsiteY53" fmla="*/ 9525 h 227192"/>
                    <a:gd name="connsiteX54" fmla="*/ 203957 w 254673"/>
                    <a:gd name="connsiteY54" fmla="*/ 20955 h 227192"/>
                    <a:gd name="connsiteX55" fmla="*/ 202052 w 254673"/>
                    <a:gd name="connsiteY55" fmla="*/ 26670 h 227192"/>
                    <a:gd name="connsiteX56" fmla="*/ 200147 w 254673"/>
                    <a:gd name="connsiteY56" fmla="*/ 38100 h 227192"/>
                    <a:gd name="connsiteX57" fmla="*/ 205862 w 254673"/>
                    <a:gd name="connsiteY57" fmla="*/ 72390 h 227192"/>
                    <a:gd name="connsiteX58" fmla="*/ 213482 w 254673"/>
                    <a:gd name="connsiteY58" fmla="*/ 83820 h 227192"/>
                    <a:gd name="connsiteX59" fmla="*/ 217292 w 254673"/>
                    <a:gd name="connsiteY59" fmla="*/ 89535 h 227192"/>
                    <a:gd name="connsiteX60" fmla="*/ 215387 w 254673"/>
                    <a:gd name="connsiteY60" fmla="*/ 97155 h 227192"/>
                    <a:gd name="connsiteX61" fmla="*/ 203957 w 254673"/>
                    <a:gd name="connsiteY61" fmla="*/ 104775 h 227192"/>
                    <a:gd name="connsiteX62" fmla="*/ 198242 w 254673"/>
                    <a:gd name="connsiteY62" fmla="*/ 116205 h 227192"/>
                    <a:gd name="connsiteX63" fmla="*/ 196337 w 254673"/>
                    <a:gd name="connsiteY63" fmla="*/ 121920 h 227192"/>
                    <a:gd name="connsiteX64" fmla="*/ 190622 w 254673"/>
                    <a:gd name="connsiteY64" fmla="*/ 133350 h 227192"/>
                    <a:gd name="connsiteX65" fmla="*/ 183002 w 254673"/>
                    <a:gd name="connsiteY65" fmla="*/ 154305 h 227192"/>
                    <a:gd name="connsiteX66" fmla="*/ 175382 w 254673"/>
                    <a:gd name="connsiteY66" fmla="*/ 156210 h 227192"/>
                    <a:gd name="connsiteX67" fmla="*/ 169667 w 254673"/>
                    <a:gd name="connsiteY67" fmla="*/ 150495 h 227192"/>
                    <a:gd name="connsiteX68" fmla="*/ 167762 w 254673"/>
                    <a:gd name="connsiteY68" fmla="*/ 144780 h 227192"/>
                    <a:gd name="connsiteX69" fmla="*/ 156332 w 254673"/>
                    <a:gd name="connsiteY69" fmla="*/ 140970 h 227192"/>
                    <a:gd name="connsiteX70" fmla="*/ 150617 w 254673"/>
                    <a:gd name="connsiteY70" fmla="*/ 139065 h 227192"/>
                    <a:gd name="connsiteX71" fmla="*/ 139187 w 254673"/>
                    <a:gd name="connsiteY71" fmla="*/ 135255 h 227192"/>
                    <a:gd name="connsiteX72" fmla="*/ 133472 w 254673"/>
                    <a:gd name="connsiteY72" fmla="*/ 133350 h 227192"/>
                    <a:gd name="connsiteX73" fmla="*/ 122042 w 254673"/>
                    <a:gd name="connsiteY73" fmla="*/ 127635 h 227192"/>
                    <a:gd name="connsiteX74" fmla="*/ 89657 w 254673"/>
                    <a:gd name="connsiteY74" fmla="*/ 125730 h 227192"/>
                    <a:gd name="connsiteX75" fmla="*/ 78227 w 254673"/>
                    <a:gd name="connsiteY75" fmla="*/ 116205 h 227192"/>
                    <a:gd name="connsiteX76" fmla="*/ 76322 w 254673"/>
                    <a:gd name="connsiteY76" fmla="*/ 110490 h 227192"/>
                    <a:gd name="connsiteX77" fmla="*/ 72512 w 254673"/>
                    <a:gd name="connsiteY77" fmla="*/ 104775 h 227192"/>
                    <a:gd name="connsiteX78" fmla="*/ 68702 w 254673"/>
                    <a:gd name="connsiteY78" fmla="*/ 89535 h 227192"/>
                    <a:gd name="connsiteX79" fmla="*/ 62987 w 254673"/>
                    <a:gd name="connsiteY79" fmla="*/ 85725 h 227192"/>
                    <a:gd name="connsiteX80" fmla="*/ 53462 w 254673"/>
                    <a:gd name="connsiteY80" fmla="*/ 83820 h 227192"/>
                    <a:gd name="connsiteX81" fmla="*/ 47747 w 254673"/>
                    <a:gd name="connsiteY81" fmla="*/ 80010 h 227192"/>
                    <a:gd name="connsiteX82" fmla="*/ 42032 w 254673"/>
                    <a:gd name="connsiteY82" fmla="*/ 78105 h 227192"/>
                    <a:gd name="connsiteX83" fmla="*/ 34412 w 254673"/>
                    <a:gd name="connsiteY83" fmla="*/ 64770 h 227192"/>
                    <a:gd name="connsiteX84" fmla="*/ 30602 w 254673"/>
                    <a:gd name="connsiteY84" fmla="*/ 53340 h 227192"/>
                    <a:gd name="connsiteX85" fmla="*/ 34412 w 254673"/>
                    <a:gd name="connsiteY85" fmla="*/ 47625 h 227192"/>
                    <a:gd name="connsiteX86" fmla="*/ 32507 w 254673"/>
                    <a:gd name="connsiteY86" fmla="*/ 28575 h 227192"/>
                    <a:gd name="connsiteX87" fmla="*/ 30602 w 254673"/>
                    <a:gd name="connsiteY87" fmla="*/ 22860 h 227192"/>
                    <a:gd name="connsiteX88" fmla="*/ 36317 w 254673"/>
                    <a:gd name="connsiteY88" fmla="*/ 30480 h 227192"/>
                    <a:gd name="connsiteX0" fmla="*/ 30602 w 254673"/>
                    <a:gd name="connsiteY0" fmla="*/ 22860 h 227192"/>
                    <a:gd name="connsiteX1" fmla="*/ 36317 w 254673"/>
                    <a:gd name="connsiteY1" fmla="*/ 30480 h 227192"/>
                    <a:gd name="connsiteX2" fmla="*/ 21077 w 254673"/>
                    <a:gd name="connsiteY2" fmla="*/ 20955 h 227192"/>
                    <a:gd name="connsiteX3" fmla="*/ 2027 w 254673"/>
                    <a:gd name="connsiteY3" fmla="*/ 20955 h 227192"/>
                    <a:gd name="connsiteX4" fmla="*/ 122 w 254673"/>
                    <a:gd name="connsiteY4" fmla="*/ 26670 h 227192"/>
                    <a:gd name="connsiteX5" fmla="*/ 2027 w 254673"/>
                    <a:gd name="connsiteY5" fmla="*/ 47625 h 227192"/>
                    <a:gd name="connsiteX6" fmla="*/ 9647 w 254673"/>
                    <a:gd name="connsiteY6" fmla="*/ 59055 h 227192"/>
                    <a:gd name="connsiteX7" fmla="*/ 13457 w 254673"/>
                    <a:gd name="connsiteY7" fmla="*/ 70485 h 227192"/>
                    <a:gd name="connsiteX8" fmla="*/ 15362 w 254673"/>
                    <a:gd name="connsiteY8" fmla="*/ 99060 h 227192"/>
                    <a:gd name="connsiteX9" fmla="*/ 17267 w 254673"/>
                    <a:gd name="connsiteY9" fmla="*/ 104775 h 227192"/>
                    <a:gd name="connsiteX10" fmla="*/ 22982 w 254673"/>
                    <a:gd name="connsiteY10" fmla="*/ 108585 h 227192"/>
                    <a:gd name="connsiteX11" fmla="*/ 26792 w 254673"/>
                    <a:gd name="connsiteY11" fmla="*/ 114300 h 227192"/>
                    <a:gd name="connsiteX12" fmla="*/ 32507 w 254673"/>
                    <a:gd name="connsiteY12" fmla="*/ 118110 h 227192"/>
                    <a:gd name="connsiteX13" fmla="*/ 42032 w 254673"/>
                    <a:gd name="connsiteY13" fmla="*/ 131445 h 227192"/>
                    <a:gd name="connsiteX14" fmla="*/ 59177 w 254673"/>
                    <a:gd name="connsiteY14" fmla="*/ 133350 h 227192"/>
                    <a:gd name="connsiteX15" fmla="*/ 64892 w 254673"/>
                    <a:gd name="connsiteY15" fmla="*/ 180975 h 227192"/>
                    <a:gd name="connsiteX16" fmla="*/ 74417 w 254673"/>
                    <a:gd name="connsiteY16" fmla="*/ 188595 h 227192"/>
                    <a:gd name="connsiteX17" fmla="*/ 80132 w 254673"/>
                    <a:gd name="connsiteY17" fmla="*/ 192405 h 227192"/>
                    <a:gd name="connsiteX18" fmla="*/ 87752 w 254673"/>
                    <a:gd name="connsiteY18" fmla="*/ 201930 h 227192"/>
                    <a:gd name="connsiteX19" fmla="*/ 95372 w 254673"/>
                    <a:gd name="connsiteY19" fmla="*/ 213360 h 227192"/>
                    <a:gd name="connsiteX20" fmla="*/ 99182 w 254673"/>
                    <a:gd name="connsiteY20" fmla="*/ 219075 h 227192"/>
                    <a:gd name="connsiteX21" fmla="*/ 104897 w 254673"/>
                    <a:gd name="connsiteY21" fmla="*/ 220980 h 227192"/>
                    <a:gd name="connsiteX22" fmla="*/ 108707 w 254673"/>
                    <a:gd name="connsiteY22" fmla="*/ 226695 h 227192"/>
                    <a:gd name="connsiteX23" fmla="*/ 133472 w 254673"/>
                    <a:gd name="connsiteY23" fmla="*/ 222885 h 227192"/>
                    <a:gd name="connsiteX24" fmla="*/ 144902 w 254673"/>
                    <a:gd name="connsiteY24" fmla="*/ 211455 h 227192"/>
                    <a:gd name="connsiteX25" fmla="*/ 148712 w 254673"/>
                    <a:gd name="connsiteY25" fmla="*/ 205740 h 227192"/>
                    <a:gd name="connsiteX26" fmla="*/ 160142 w 254673"/>
                    <a:gd name="connsiteY26" fmla="*/ 201930 h 227192"/>
                    <a:gd name="connsiteX27" fmla="*/ 162047 w 254673"/>
                    <a:gd name="connsiteY27" fmla="*/ 196215 h 227192"/>
                    <a:gd name="connsiteX28" fmla="*/ 163952 w 254673"/>
                    <a:gd name="connsiteY28" fmla="*/ 184785 h 227192"/>
                    <a:gd name="connsiteX29" fmla="*/ 175382 w 254673"/>
                    <a:gd name="connsiteY29" fmla="*/ 180975 h 227192"/>
                    <a:gd name="connsiteX30" fmla="*/ 198242 w 254673"/>
                    <a:gd name="connsiteY30" fmla="*/ 182880 h 227192"/>
                    <a:gd name="connsiteX31" fmla="*/ 203957 w 254673"/>
                    <a:gd name="connsiteY31" fmla="*/ 186690 h 227192"/>
                    <a:gd name="connsiteX32" fmla="*/ 209672 w 254673"/>
                    <a:gd name="connsiteY32" fmla="*/ 188595 h 227192"/>
                    <a:gd name="connsiteX33" fmla="*/ 221102 w 254673"/>
                    <a:gd name="connsiteY33" fmla="*/ 186690 h 227192"/>
                    <a:gd name="connsiteX34" fmla="*/ 226817 w 254673"/>
                    <a:gd name="connsiteY34" fmla="*/ 182880 h 227192"/>
                    <a:gd name="connsiteX35" fmla="*/ 234437 w 254673"/>
                    <a:gd name="connsiteY35" fmla="*/ 165735 h 227192"/>
                    <a:gd name="connsiteX36" fmla="*/ 238247 w 254673"/>
                    <a:gd name="connsiteY36" fmla="*/ 154305 h 227192"/>
                    <a:gd name="connsiteX37" fmla="*/ 240152 w 254673"/>
                    <a:gd name="connsiteY37" fmla="*/ 148590 h 227192"/>
                    <a:gd name="connsiteX38" fmla="*/ 245867 w 254673"/>
                    <a:gd name="connsiteY38" fmla="*/ 120015 h 227192"/>
                    <a:gd name="connsiteX39" fmla="*/ 247772 w 254673"/>
                    <a:gd name="connsiteY39" fmla="*/ 114300 h 227192"/>
                    <a:gd name="connsiteX40" fmla="*/ 249677 w 254673"/>
                    <a:gd name="connsiteY40" fmla="*/ 108585 h 227192"/>
                    <a:gd name="connsiteX41" fmla="*/ 242057 w 254673"/>
                    <a:gd name="connsiteY41" fmla="*/ 89535 h 227192"/>
                    <a:gd name="connsiteX42" fmla="*/ 236342 w 254673"/>
                    <a:gd name="connsiteY42" fmla="*/ 85725 h 227192"/>
                    <a:gd name="connsiteX43" fmla="*/ 238247 w 254673"/>
                    <a:gd name="connsiteY43" fmla="*/ 80010 h 227192"/>
                    <a:gd name="connsiteX44" fmla="*/ 243962 w 254673"/>
                    <a:gd name="connsiteY44" fmla="*/ 78105 h 227192"/>
                    <a:gd name="connsiteX45" fmla="*/ 249677 w 254673"/>
                    <a:gd name="connsiteY45" fmla="*/ 74295 h 227192"/>
                    <a:gd name="connsiteX46" fmla="*/ 251582 w 254673"/>
                    <a:gd name="connsiteY46" fmla="*/ 24765 h 227192"/>
                    <a:gd name="connsiteX47" fmla="*/ 249677 w 254673"/>
                    <a:gd name="connsiteY47" fmla="*/ 19050 h 227192"/>
                    <a:gd name="connsiteX48" fmla="*/ 243962 w 254673"/>
                    <a:gd name="connsiteY48" fmla="*/ 15240 h 227192"/>
                    <a:gd name="connsiteX49" fmla="*/ 234437 w 254673"/>
                    <a:gd name="connsiteY49" fmla="*/ 3810 h 227192"/>
                    <a:gd name="connsiteX50" fmla="*/ 228722 w 254673"/>
                    <a:gd name="connsiteY50" fmla="*/ 0 h 227192"/>
                    <a:gd name="connsiteX51" fmla="*/ 217292 w 254673"/>
                    <a:gd name="connsiteY51" fmla="*/ 1905 h 227192"/>
                    <a:gd name="connsiteX52" fmla="*/ 213482 w 254673"/>
                    <a:gd name="connsiteY52" fmla="*/ 7620 h 227192"/>
                    <a:gd name="connsiteX53" fmla="*/ 207767 w 254673"/>
                    <a:gd name="connsiteY53" fmla="*/ 9525 h 227192"/>
                    <a:gd name="connsiteX54" fmla="*/ 203957 w 254673"/>
                    <a:gd name="connsiteY54" fmla="*/ 20955 h 227192"/>
                    <a:gd name="connsiteX55" fmla="*/ 202052 w 254673"/>
                    <a:gd name="connsiteY55" fmla="*/ 26670 h 227192"/>
                    <a:gd name="connsiteX56" fmla="*/ 200147 w 254673"/>
                    <a:gd name="connsiteY56" fmla="*/ 38100 h 227192"/>
                    <a:gd name="connsiteX57" fmla="*/ 205862 w 254673"/>
                    <a:gd name="connsiteY57" fmla="*/ 72390 h 227192"/>
                    <a:gd name="connsiteX58" fmla="*/ 213482 w 254673"/>
                    <a:gd name="connsiteY58" fmla="*/ 83820 h 227192"/>
                    <a:gd name="connsiteX59" fmla="*/ 217292 w 254673"/>
                    <a:gd name="connsiteY59" fmla="*/ 89535 h 227192"/>
                    <a:gd name="connsiteX60" fmla="*/ 215387 w 254673"/>
                    <a:gd name="connsiteY60" fmla="*/ 97155 h 227192"/>
                    <a:gd name="connsiteX61" fmla="*/ 203957 w 254673"/>
                    <a:gd name="connsiteY61" fmla="*/ 104775 h 227192"/>
                    <a:gd name="connsiteX62" fmla="*/ 198242 w 254673"/>
                    <a:gd name="connsiteY62" fmla="*/ 116205 h 227192"/>
                    <a:gd name="connsiteX63" fmla="*/ 196337 w 254673"/>
                    <a:gd name="connsiteY63" fmla="*/ 121920 h 227192"/>
                    <a:gd name="connsiteX64" fmla="*/ 190622 w 254673"/>
                    <a:gd name="connsiteY64" fmla="*/ 133350 h 227192"/>
                    <a:gd name="connsiteX65" fmla="*/ 183002 w 254673"/>
                    <a:gd name="connsiteY65" fmla="*/ 154305 h 227192"/>
                    <a:gd name="connsiteX66" fmla="*/ 175382 w 254673"/>
                    <a:gd name="connsiteY66" fmla="*/ 156210 h 227192"/>
                    <a:gd name="connsiteX67" fmla="*/ 169667 w 254673"/>
                    <a:gd name="connsiteY67" fmla="*/ 150495 h 227192"/>
                    <a:gd name="connsiteX68" fmla="*/ 167762 w 254673"/>
                    <a:gd name="connsiteY68" fmla="*/ 144780 h 227192"/>
                    <a:gd name="connsiteX69" fmla="*/ 156332 w 254673"/>
                    <a:gd name="connsiteY69" fmla="*/ 140970 h 227192"/>
                    <a:gd name="connsiteX70" fmla="*/ 150617 w 254673"/>
                    <a:gd name="connsiteY70" fmla="*/ 139065 h 227192"/>
                    <a:gd name="connsiteX71" fmla="*/ 139187 w 254673"/>
                    <a:gd name="connsiteY71" fmla="*/ 135255 h 227192"/>
                    <a:gd name="connsiteX72" fmla="*/ 133472 w 254673"/>
                    <a:gd name="connsiteY72" fmla="*/ 133350 h 227192"/>
                    <a:gd name="connsiteX73" fmla="*/ 122042 w 254673"/>
                    <a:gd name="connsiteY73" fmla="*/ 127635 h 227192"/>
                    <a:gd name="connsiteX74" fmla="*/ 89657 w 254673"/>
                    <a:gd name="connsiteY74" fmla="*/ 125730 h 227192"/>
                    <a:gd name="connsiteX75" fmla="*/ 78227 w 254673"/>
                    <a:gd name="connsiteY75" fmla="*/ 116205 h 227192"/>
                    <a:gd name="connsiteX76" fmla="*/ 76322 w 254673"/>
                    <a:gd name="connsiteY76" fmla="*/ 110490 h 227192"/>
                    <a:gd name="connsiteX77" fmla="*/ 72512 w 254673"/>
                    <a:gd name="connsiteY77" fmla="*/ 104775 h 227192"/>
                    <a:gd name="connsiteX78" fmla="*/ 68702 w 254673"/>
                    <a:gd name="connsiteY78" fmla="*/ 89535 h 227192"/>
                    <a:gd name="connsiteX79" fmla="*/ 62987 w 254673"/>
                    <a:gd name="connsiteY79" fmla="*/ 85725 h 227192"/>
                    <a:gd name="connsiteX80" fmla="*/ 53462 w 254673"/>
                    <a:gd name="connsiteY80" fmla="*/ 83820 h 227192"/>
                    <a:gd name="connsiteX81" fmla="*/ 47747 w 254673"/>
                    <a:gd name="connsiteY81" fmla="*/ 80010 h 227192"/>
                    <a:gd name="connsiteX82" fmla="*/ 42032 w 254673"/>
                    <a:gd name="connsiteY82" fmla="*/ 78105 h 227192"/>
                    <a:gd name="connsiteX83" fmla="*/ 34412 w 254673"/>
                    <a:gd name="connsiteY83" fmla="*/ 64770 h 227192"/>
                    <a:gd name="connsiteX84" fmla="*/ 30602 w 254673"/>
                    <a:gd name="connsiteY84" fmla="*/ 53340 h 227192"/>
                    <a:gd name="connsiteX85" fmla="*/ 34412 w 254673"/>
                    <a:gd name="connsiteY85" fmla="*/ 47625 h 227192"/>
                    <a:gd name="connsiteX86" fmla="*/ 32507 w 254673"/>
                    <a:gd name="connsiteY86" fmla="*/ 28575 h 227192"/>
                    <a:gd name="connsiteX87" fmla="*/ 30602 w 254673"/>
                    <a:gd name="connsiteY87" fmla="*/ 22860 h 227192"/>
                    <a:gd name="connsiteX0" fmla="*/ 32507 w 254673"/>
                    <a:gd name="connsiteY0" fmla="*/ 28575 h 227192"/>
                    <a:gd name="connsiteX1" fmla="*/ 36317 w 254673"/>
                    <a:gd name="connsiteY1" fmla="*/ 30480 h 227192"/>
                    <a:gd name="connsiteX2" fmla="*/ 21077 w 254673"/>
                    <a:gd name="connsiteY2" fmla="*/ 20955 h 227192"/>
                    <a:gd name="connsiteX3" fmla="*/ 2027 w 254673"/>
                    <a:gd name="connsiteY3" fmla="*/ 20955 h 227192"/>
                    <a:gd name="connsiteX4" fmla="*/ 122 w 254673"/>
                    <a:gd name="connsiteY4" fmla="*/ 26670 h 227192"/>
                    <a:gd name="connsiteX5" fmla="*/ 2027 w 254673"/>
                    <a:gd name="connsiteY5" fmla="*/ 47625 h 227192"/>
                    <a:gd name="connsiteX6" fmla="*/ 9647 w 254673"/>
                    <a:gd name="connsiteY6" fmla="*/ 59055 h 227192"/>
                    <a:gd name="connsiteX7" fmla="*/ 13457 w 254673"/>
                    <a:gd name="connsiteY7" fmla="*/ 70485 h 227192"/>
                    <a:gd name="connsiteX8" fmla="*/ 15362 w 254673"/>
                    <a:gd name="connsiteY8" fmla="*/ 99060 h 227192"/>
                    <a:gd name="connsiteX9" fmla="*/ 17267 w 254673"/>
                    <a:gd name="connsiteY9" fmla="*/ 104775 h 227192"/>
                    <a:gd name="connsiteX10" fmla="*/ 22982 w 254673"/>
                    <a:gd name="connsiteY10" fmla="*/ 108585 h 227192"/>
                    <a:gd name="connsiteX11" fmla="*/ 26792 w 254673"/>
                    <a:gd name="connsiteY11" fmla="*/ 114300 h 227192"/>
                    <a:gd name="connsiteX12" fmla="*/ 32507 w 254673"/>
                    <a:gd name="connsiteY12" fmla="*/ 118110 h 227192"/>
                    <a:gd name="connsiteX13" fmla="*/ 42032 w 254673"/>
                    <a:gd name="connsiteY13" fmla="*/ 131445 h 227192"/>
                    <a:gd name="connsiteX14" fmla="*/ 59177 w 254673"/>
                    <a:gd name="connsiteY14" fmla="*/ 133350 h 227192"/>
                    <a:gd name="connsiteX15" fmla="*/ 64892 w 254673"/>
                    <a:gd name="connsiteY15" fmla="*/ 180975 h 227192"/>
                    <a:gd name="connsiteX16" fmla="*/ 74417 w 254673"/>
                    <a:gd name="connsiteY16" fmla="*/ 188595 h 227192"/>
                    <a:gd name="connsiteX17" fmla="*/ 80132 w 254673"/>
                    <a:gd name="connsiteY17" fmla="*/ 192405 h 227192"/>
                    <a:gd name="connsiteX18" fmla="*/ 87752 w 254673"/>
                    <a:gd name="connsiteY18" fmla="*/ 201930 h 227192"/>
                    <a:gd name="connsiteX19" fmla="*/ 95372 w 254673"/>
                    <a:gd name="connsiteY19" fmla="*/ 213360 h 227192"/>
                    <a:gd name="connsiteX20" fmla="*/ 99182 w 254673"/>
                    <a:gd name="connsiteY20" fmla="*/ 219075 h 227192"/>
                    <a:gd name="connsiteX21" fmla="*/ 104897 w 254673"/>
                    <a:gd name="connsiteY21" fmla="*/ 220980 h 227192"/>
                    <a:gd name="connsiteX22" fmla="*/ 108707 w 254673"/>
                    <a:gd name="connsiteY22" fmla="*/ 226695 h 227192"/>
                    <a:gd name="connsiteX23" fmla="*/ 133472 w 254673"/>
                    <a:gd name="connsiteY23" fmla="*/ 222885 h 227192"/>
                    <a:gd name="connsiteX24" fmla="*/ 144902 w 254673"/>
                    <a:gd name="connsiteY24" fmla="*/ 211455 h 227192"/>
                    <a:gd name="connsiteX25" fmla="*/ 148712 w 254673"/>
                    <a:gd name="connsiteY25" fmla="*/ 205740 h 227192"/>
                    <a:gd name="connsiteX26" fmla="*/ 160142 w 254673"/>
                    <a:gd name="connsiteY26" fmla="*/ 201930 h 227192"/>
                    <a:gd name="connsiteX27" fmla="*/ 162047 w 254673"/>
                    <a:gd name="connsiteY27" fmla="*/ 196215 h 227192"/>
                    <a:gd name="connsiteX28" fmla="*/ 163952 w 254673"/>
                    <a:gd name="connsiteY28" fmla="*/ 184785 h 227192"/>
                    <a:gd name="connsiteX29" fmla="*/ 175382 w 254673"/>
                    <a:gd name="connsiteY29" fmla="*/ 180975 h 227192"/>
                    <a:gd name="connsiteX30" fmla="*/ 198242 w 254673"/>
                    <a:gd name="connsiteY30" fmla="*/ 182880 h 227192"/>
                    <a:gd name="connsiteX31" fmla="*/ 203957 w 254673"/>
                    <a:gd name="connsiteY31" fmla="*/ 186690 h 227192"/>
                    <a:gd name="connsiteX32" fmla="*/ 209672 w 254673"/>
                    <a:gd name="connsiteY32" fmla="*/ 188595 h 227192"/>
                    <a:gd name="connsiteX33" fmla="*/ 221102 w 254673"/>
                    <a:gd name="connsiteY33" fmla="*/ 186690 h 227192"/>
                    <a:gd name="connsiteX34" fmla="*/ 226817 w 254673"/>
                    <a:gd name="connsiteY34" fmla="*/ 182880 h 227192"/>
                    <a:gd name="connsiteX35" fmla="*/ 234437 w 254673"/>
                    <a:gd name="connsiteY35" fmla="*/ 165735 h 227192"/>
                    <a:gd name="connsiteX36" fmla="*/ 238247 w 254673"/>
                    <a:gd name="connsiteY36" fmla="*/ 154305 h 227192"/>
                    <a:gd name="connsiteX37" fmla="*/ 240152 w 254673"/>
                    <a:gd name="connsiteY37" fmla="*/ 148590 h 227192"/>
                    <a:gd name="connsiteX38" fmla="*/ 245867 w 254673"/>
                    <a:gd name="connsiteY38" fmla="*/ 120015 h 227192"/>
                    <a:gd name="connsiteX39" fmla="*/ 247772 w 254673"/>
                    <a:gd name="connsiteY39" fmla="*/ 114300 h 227192"/>
                    <a:gd name="connsiteX40" fmla="*/ 249677 w 254673"/>
                    <a:gd name="connsiteY40" fmla="*/ 108585 h 227192"/>
                    <a:gd name="connsiteX41" fmla="*/ 242057 w 254673"/>
                    <a:gd name="connsiteY41" fmla="*/ 89535 h 227192"/>
                    <a:gd name="connsiteX42" fmla="*/ 236342 w 254673"/>
                    <a:gd name="connsiteY42" fmla="*/ 85725 h 227192"/>
                    <a:gd name="connsiteX43" fmla="*/ 238247 w 254673"/>
                    <a:gd name="connsiteY43" fmla="*/ 80010 h 227192"/>
                    <a:gd name="connsiteX44" fmla="*/ 243962 w 254673"/>
                    <a:gd name="connsiteY44" fmla="*/ 78105 h 227192"/>
                    <a:gd name="connsiteX45" fmla="*/ 249677 w 254673"/>
                    <a:gd name="connsiteY45" fmla="*/ 74295 h 227192"/>
                    <a:gd name="connsiteX46" fmla="*/ 251582 w 254673"/>
                    <a:gd name="connsiteY46" fmla="*/ 24765 h 227192"/>
                    <a:gd name="connsiteX47" fmla="*/ 249677 w 254673"/>
                    <a:gd name="connsiteY47" fmla="*/ 19050 h 227192"/>
                    <a:gd name="connsiteX48" fmla="*/ 243962 w 254673"/>
                    <a:gd name="connsiteY48" fmla="*/ 15240 h 227192"/>
                    <a:gd name="connsiteX49" fmla="*/ 234437 w 254673"/>
                    <a:gd name="connsiteY49" fmla="*/ 3810 h 227192"/>
                    <a:gd name="connsiteX50" fmla="*/ 228722 w 254673"/>
                    <a:gd name="connsiteY50" fmla="*/ 0 h 227192"/>
                    <a:gd name="connsiteX51" fmla="*/ 217292 w 254673"/>
                    <a:gd name="connsiteY51" fmla="*/ 1905 h 227192"/>
                    <a:gd name="connsiteX52" fmla="*/ 213482 w 254673"/>
                    <a:gd name="connsiteY52" fmla="*/ 7620 h 227192"/>
                    <a:gd name="connsiteX53" fmla="*/ 207767 w 254673"/>
                    <a:gd name="connsiteY53" fmla="*/ 9525 h 227192"/>
                    <a:gd name="connsiteX54" fmla="*/ 203957 w 254673"/>
                    <a:gd name="connsiteY54" fmla="*/ 20955 h 227192"/>
                    <a:gd name="connsiteX55" fmla="*/ 202052 w 254673"/>
                    <a:gd name="connsiteY55" fmla="*/ 26670 h 227192"/>
                    <a:gd name="connsiteX56" fmla="*/ 200147 w 254673"/>
                    <a:gd name="connsiteY56" fmla="*/ 38100 h 227192"/>
                    <a:gd name="connsiteX57" fmla="*/ 205862 w 254673"/>
                    <a:gd name="connsiteY57" fmla="*/ 72390 h 227192"/>
                    <a:gd name="connsiteX58" fmla="*/ 213482 w 254673"/>
                    <a:gd name="connsiteY58" fmla="*/ 83820 h 227192"/>
                    <a:gd name="connsiteX59" fmla="*/ 217292 w 254673"/>
                    <a:gd name="connsiteY59" fmla="*/ 89535 h 227192"/>
                    <a:gd name="connsiteX60" fmla="*/ 215387 w 254673"/>
                    <a:gd name="connsiteY60" fmla="*/ 97155 h 227192"/>
                    <a:gd name="connsiteX61" fmla="*/ 203957 w 254673"/>
                    <a:gd name="connsiteY61" fmla="*/ 104775 h 227192"/>
                    <a:gd name="connsiteX62" fmla="*/ 198242 w 254673"/>
                    <a:gd name="connsiteY62" fmla="*/ 116205 h 227192"/>
                    <a:gd name="connsiteX63" fmla="*/ 196337 w 254673"/>
                    <a:gd name="connsiteY63" fmla="*/ 121920 h 227192"/>
                    <a:gd name="connsiteX64" fmla="*/ 190622 w 254673"/>
                    <a:gd name="connsiteY64" fmla="*/ 133350 h 227192"/>
                    <a:gd name="connsiteX65" fmla="*/ 183002 w 254673"/>
                    <a:gd name="connsiteY65" fmla="*/ 154305 h 227192"/>
                    <a:gd name="connsiteX66" fmla="*/ 175382 w 254673"/>
                    <a:gd name="connsiteY66" fmla="*/ 156210 h 227192"/>
                    <a:gd name="connsiteX67" fmla="*/ 169667 w 254673"/>
                    <a:gd name="connsiteY67" fmla="*/ 150495 h 227192"/>
                    <a:gd name="connsiteX68" fmla="*/ 167762 w 254673"/>
                    <a:gd name="connsiteY68" fmla="*/ 144780 h 227192"/>
                    <a:gd name="connsiteX69" fmla="*/ 156332 w 254673"/>
                    <a:gd name="connsiteY69" fmla="*/ 140970 h 227192"/>
                    <a:gd name="connsiteX70" fmla="*/ 150617 w 254673"/>
                    <a:gd name="connsiteY70" fmla="*/ 139065 h 227192"/>
                    <a:gd name="connsiteX71" fmla="*/ 139187 w 254673"/>
                    <a:gd name="connsiteY71" fmla="*/ 135255 h 227192"/>
                    <a:gd name="connsiteX72" fmla="*/ 133472 w 254673"/>
                    <a:gd name="connsiteY72" fmla="*/ 133350 h 227192"/>
                    <a:gd name="connsiteX73" fmla="*/ 122042 w 254673"/>
                    <a:gd name="connsiteY73" fmla="*/ 127635 h 227192"/>
                    <a:gd name="connsiteX74" fmla="*/ 89657 w 254673"/>
                    <a:gd name="connsiteY74" fmla="*/ 125730 h 227192"/>
                    <a:gd name="connsiteX75" fmla="*/ 78227 w 254673"/>
                    <a:gd name="connsiteY75" fmla="*/ 116205 h 227192"/>
                    <a:gd name="connsiteX76" fmla="*/ 76322 w 254673"/>
                    <a:gd name="connsiteY76" fmla="*/ 110490 h 227192"/>
                    <a:gd name="connsiteX77" fmla="*/ 72512 w 254673"/>
                    <a:gd name="connsiteY77" fmla="*/ 104775 h 227192"/>
                    <a:gd name="connsiteX78" fmla="*/ 68702 w 254673"/>
                    <a:gd name="connsiteY78" fmla="*/ 89535 h 227192"/>
                    <a:gd name="connsiteX79" fmla="*/ 62987 w 254673"/>
                    <a:gd name="connsiteY79" fmla="*/ 85725 h 227192"/>
                    <a:gd name="connsiteX80" fmla="*/ 53462 w 254673"/>
                    <a:gd name="connsiteY80" fmla="*/ 83820 h 227192"/>
                    <a:gd name="connsiteX81" fmla="*/ 47747 w 254673"/>
                    <a:gd name="connsiteY81" fmla="*/ 80010 h 227192"/>
                    <a:gd name="connsiteX82" fmla="*/ 42032 w 254673"/>
                    <a:gd name="connsiteY82" fmla="*/ 78105 h 227192"/>
                    <a:gd name="connsiteX83" fmla="*/ 34412 w 254673"/>
                    <a:gd name="connsiteY83" fmla="*/ 64770 h 227192"/>
                    <a:gd name="connsiteX84" fmla="*/ 30602 w 254673"/>
                    <a:gd name="connsiteY84" fmla="*/ 53340 h 227192"/>
                    <a:gd name="connsiteX85" fmla="*/ 34412 w 254673"/>
                    <a:gd name="connsiteY85" fmla="*/ 47625 h 227192"/>
                    <a:gd name="connsiteX86" fmla="*/ 32507 w 254673"/>
                    <a:gd name="connsiteY86" fmla="*/ 28575 h 227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</a:cxnLst>
                  <a:rect l="l" t="t" r="r" b="b"/>
                  <a:pathLst>
                    <a:path w="254673" h="227192">
                      <a:moveTo>
                        <a:pt x="32507" y="28575"/>
                      </a:moveTo>
                      <a:cubicBezTo>
                        <a:pt x="32825" y="25718"/>
                        <a:pt x="38222" y="31750"/>
                        <a:pt x="36317" y="30480"/>
                      </a:cubicBezTo>
                      <a:cubicBezTo>
                        <a:pt x="34412" y="29210"/>
                        <a:pt x="26792" y="22543"/>
                        <a:pt x="21077" y="20955"/>
                      </a:cubicBezTo>
                      <a:cubicBezTo>
                        <a:pt x="15362" y="19368"/>
                        <a:pt x="5519" y="20003"/>
                        <a:pt x="2027" y="20955"/>
                      </a:cubicBezTo>
                      <a:cubicBezTo>
                        <a:pt x="-1465" y="21907"/>
                        <a:pt x="757" y="24765"/>
                        <a:pt x="122" y="26670"/>
                      </a:cubicBezTo>
                      <a:cubicBezTo>
                        <a:pt x="757" y="33655"/>
                        <a:pt x="48" y="40896"/>
                        <a:pt x="2027" y="47625"/>
                      </a:cubicBezTo>
                      <a:cubicBezTo>
                        <a:pt x="3319" y="52018"/>
                        <a:pt x="8199" y="54711"/>
                        <a:pt x="9647" y="59055"/>
                      </a:cubicBezTo>
                      <a:lnTo>
                        <a:pt x="13457" y="70485"/>
                      </a:lnTo>
                      <a:cubicBezTo>
                        <a:pt x="14092" y="80010"/>
                        <a:pt x="14308" y="89572"/>
                        <a:pt x="15362" y="99060"/>
                      </a:cubicBezTo>
                      <a:cubicBezTo>
                        <a:pt x="15584" y="101056"/>
                        <a:pt x="16013" y="103207"/>
                        <a:pt x="17267" y="104775"/>
                      </a:cubicBezTo>
                      <a:cubicBezTo>
                        <a:pt x="18697" y="106563"/>
                        <a:pt x="21077" y="107315"/>
                        <a:pt x="22982" y="108585"/>
                      </a:cubicBezTo>
                      <a:cubicBezTo>
                        <a:pt x="24252" y="110490"/>
                        <a:pt x="25173" y="112681"/>
                        <a:pt x="26792" y="114300"/>
                      </a:cubicBezTo>
                      <a:cubicBezTo>
                        <a:pt x="28411" y="115919"/>
                        <a:pt x="31294" y="116168"/>
                        <a:pt x="32507" y="118110"/>
                      </a:cubicBezTo>
                      <a:cubicBezTo>
                        <a:pt x="39079" y="128624"/>
                        <a:pt x="31444" y="129680"/>
                        <a:pt x="42032" y="131445"/>
                      </a:cubicBezTo>
                      <a:cubicBezTo>
                        <a:pt x="47704" y="132390"/>
                        <a:pt x="53462" y="132715"/>
                        <a:pt x="59177" y="133350"/>
                      </a:cubicBezTo>
                      <a:cubicBezTo>
                        <a:pt x="71402" y="151687"/>
                        <a:pt x="58865" y="130751"/>
                        <a:pt x="64892" y="180975"/>
                      </a:cubicBezTo>
                      <a:cubicBezTo>
                        <a:pt x="65712" y="187808"/>
                        <a:pt x="70129" y="186451"/>
                        <a:pt x="74417" y="188595"/>
                      </a:cubicBezTo>
                      <a:cubicBezTo>
                        <a:pt x="76465" y="189619"/>
                        <a:pt x="78227" y="191135"/>
                        <a:pt x="80132" y="192405"/>
                      </a:cubicBezTo>
                      <a:cubicBezTo>
                        <a:pt x="84422" y="205275"/>
                        <a:pt x="78472" y="191325"/>
                        <a:pt x="87752" y="201930"/>
                      </a:cubicBezTo>
                      <a:cubicBezTo>
                        <a:pt x="90767" y="205376"/>
                        <a:pt x="92832" y="209550"/>
                        <a:pt x="95372" y="213360"/>
                      </a:cubicBezTo>
                      <a:cubicBezTo>
                        <a:pt x="96642" y="215265"/>
                        <a:pt x="97010" y="218351"/>
                        <a:pt x="99182" y="219075"/>
                      </a:cubicBezTo>
                      <a:lnTo>
                        <a:pt x="104897" y="220980"/>
                      </a:lnTo>
                      <a:cubicBezTo>
                        <a:pt x="106167" y="222885"/>
                        <a:pt x="106449" y="226319"/>
                        <a:pt x="108707" y="226695"/>
                      </a:cubicBezTo>
                      <a:cubicBezTo>
                        <a:pt x="118529" y="228332"/>
                        <a:pt x="125235" y="225631"/>
                        <a:pt x="133472" y="222885"/>
                      </a:cubicBezTo>
                      <a:cubicBezTo>
                        <a:pt x="137282" y="219075"/>
                        <a:pt x="141913" y="215938"/>
                        <a:pt x="144902" y="211455"/>
                      </a:cubicBezTo>
                      <a:cubicBezTo>
                        <a:pt x="146172" y="209550"/>
                        <a:pt x="146770" y="206953"/>
                        <a:pt x="148712" y="205740"/>
                      </a:cubicBezTo>
                      <a:cubicBezTo>
                        <a:pt x="152118" y="203611"/>
                        <a:pt x="160142" y="201930"/>
                        <a:pt x="160142" y="201930"/>
                      </a:cubicBezTo>
                      <a:cubicBezTo>
                        <a:pt x="160777" y="200025"/>
                        <a:pt x="161611" y="198175"/>
                        <a:pt x="162047" y="196215"/>
                      </a:cubicBezTo>
                      <a:cubicBezTo>
                        <a:pt x="162885" y="192444"/>
                        <a:pt x="161408" y="187692"/>
                        <a:pt x="163952" y="184785"/>
                      </a:cubicBezTo>
                      <a:cubicBezTo>
                        <a:pt x="166597" y="181763"/>
                        <a:pt x="175382" y="180975"/>
                        <a:pt x="175382" y="180975"/>
                      </a:cubicBezTo>
                      <a:cubicBezTo>
                        <a:pt x="183002" y="181610"/>
                        <a:pt x="190744" y="181380"/>
                        <a:pt x="198242" y="182880"/>
                      </a:cubicBezTo>
                      <a:cubicBezTo>
                        <a:pt x="200487" y="183329"/>
                        <a:pt x="201909" y="185666"/>
                        <a:pt x="203957" y="186690"/>
                      </a:cubicBezTo>
                      <a:cubicBezTo>
                        <a:pt x="205753" y="187588"/>
                        <a:pt x="207767" y="187960"/>
                        <a:pt x="209672" y="188595"/>
                      </a:cubicBezTo>
                      <a:cubicBezTo>
                        <a:pt x="213482" y="187960"/>
                        <a:pt x="217438" y="187911"/>
                        <a:pt x="221102" y="186690"/>
                      </a:cubicBezTo>
                      <a:cubicBezTo>
                        <a:pt x="223274" y="185966"/>
                        <a:pt x="225198" y="184499"/>
                        <a:pt x="226817" y="182880"/>
                      </a:cubicBezTo>
                      <a:cubicBezTo>
                        <a:pt x="231345" y="178352"/>
                        <a:pt x="232551" y="171394"/>
                        <a:pt x="234437" y="165735"/>
                      </a:cubicBezTo>
                      <a:lnTo>
                        <a:pt x="238247" y="154305"/>
                      </a:lnTo>
                      <a:lnTo>
                        <a:pt x="240152" y="148590"/>
                      </a:lnTo>
                      <a:cubicBezTo>
                        <a:pt x="242501" y="127453"/>
                        <a:pt x="240239" y="136900"/>
                        <a:pt x="245867" y="120015"/>
                      </a:cubicBezTo>
                      <a:lnTo>
                        <a:pt x="247772" y="114300"/>
                      </a:lnTo>
                      <a:lnTo>
                        <a:pt x="249677" y="108585"/>
                      </a:lnTo>
                      <a:cubicBezTo>
                        <a:pt x="248493" y="105032"/>
                        <a:pt x="245171" y="93272"/>
                        <a:pt x="242057" y="89535"/>
                      </a:cubicBezTo>
                      <a:cubicBezTo>
                        <a:pt x="240591" y="87776"/>
                        <a:pt x="238247" y="86995"/>
                        <a:pt x="236342" y="85725"/>
                      </a:cubicBezTo>
                      <a:cubicBezTo>
                        <a:pt x="236977" y="83820"/>
                        <a:pt x="236827" y="81430"/>
                        <a:pt x="238247" y="80010"/>
                      </a:cubicBezTo>
                      <a:cubicBezTo>
                        <a:pt x="239667" y="78590"/>
                        <a:pt x="242166" y="79003"/>
                        <a:pt x="243962" y="78105"/>
                      </a:cubicBezTo>
                      <a:cubicBezTo>
                        <a:pt x="246010" y="77081"/>
                        <a:pt x="247772" y="75565"/>
                        <a:pt x="249677" y="74295"/>
                      </a:cubicBezTo>
                      <a:cubicBezTo>
                        <a:pt x="257118" y="51971"/>
                        <a:pt x="254922" y="63173"/>
                        <a:pt x="251582" y="24765"/>
                      </a:cubicBezTo>
                      <a:cubicBezTo>
                        <a:pt x="251408" y="22765"/>
                        <a:pt x="250931" y="20618"/>
                        <a:pt x="249677" y="19050"/>
                      </a:cubicBezTo>
                      <a:cubicBezTo>
                        <a:pt x="248247" y="17262"/>
                        <a:pt x="245867" y="16510"/>
                        <a:pt x="243962" y="15240"/>
                      </a:cubicBezTo>
                      <a:cubicBezTo>
                        <a:pt x="240216" y="9621"/>
                        <a:pt x="239937" y="8394"/>
                        <a:pt x="234437" y="3810"/>
                      </a:cubicBezTo>
                      <a:cubicBezTo>
                        <a:pt x="232678" y="2344"/>
                        <a:pt x="230627" y="1270"/>
                        <a:pt x="228722" y="0"/>
                      </a:cubicBezTo>
                      <a:cubicBezTo>
                        <a:pt x="224912" y="635"/>
                        <a:pt x="220747" y="178"/>
                        <a:pt x="217292" y="1905"/>
                      </a:cubicBezTo>
                      <a:cubicBezTo>
                        <a:pt x="215244" y="2929"/>
                        <a:pt x="215270" y="6190"/>
                        <a:pt x="213482" y="7620"/>
                      </a:cubicBezTo>
                      <a:cubicBezTo>
                        <a:pt x="211914" y="8874"/>
                        <a:pt x="209672" y="8890"/>
                        <a:pt x="207767" y="9525"/>
                      </a:cubicBezTo>
                      <a:lnTo>
                        <a:pt x="203957" y="20955"/>
                      </a:lnTo>
                      <a:cubicBezTo>
                        <a:pt x="203322" y="22860"/>
                        <a:pt x="202382" y="24689"/>
                        <a:pt x="202052" y="26670"/>
                      </a:cubicBezTo>
                      <a:lnTo>
                        <a:pt x="200147" y="38100"/>
                      </a:lnTo>
                      <a:cubicBezTo>
                        <a:pt x="200692" y="44635"/>
                        <a:pt x="200524" y="64383"/>
                        <a:pt x="205862" y="72390"/>
                      </a:cubicBezTo>
                      <a:lnTo>
                        <a:pt x="213482" y="83820"/>
                      </a:lnTo>
                      <a:lnTo>
                        <a:pt x="217292" y="89535"/>
                      </a:lnTo>
                      <a:cubicBezTo>
                        <a:pt x="216657" y="92075"/>
                        <a:pt x="217111" y="95185"/>
                        <a:pt x="215387" y="97155"/>
                      </a:cubicBezTo>
                      <a:cubicBezTo>
                        <a:pt x="212372" y="100601"/>
                        <a:pt x="203957" y="104775"/>
                        <a:pt x="203957" y="104775"/>
                      </a:cubicBezTo>
                      <a:cubicBezTo>
                        <a:pt x="199169" y="119140"/>
                        <a:pt x="205628" y="101433"/>
                        <a:pt x="198242" y="116205"/>
                      </a:cubicBezTo>
                      <a:cubicBezTo>
                        <a:pt x="197344" y="118001"/>
                        <a:pt x="197235" y="120124"/>
                        <a:pt x="196337" y="121920"/>
                      </a:cubicBezTo>
                      <a:cubicBezTo>
                        <a:pt x="188951" y="136692"/>
                        <a:pt x="195410" y="118985"/>
                        <a:pt x="190622" y="133350"/>
                      </a:cubicBezTo>
                      <a:cubicBezTo>
                        <a:pt x="189197" y="146178"/>
                        <a:pt x="193210" y="149930"/>
                        <a:pt x="183002" y="154305"/>
                      </a:cubicBezTo>
                      <a:cubicBezTo>
                        <a:pt x="180596" y="155336"/>
                        <a:pt x="177922" y="155575"/>
                        <a:pt x="175382" y="156210"/>
                      </a:cubicBezTo>
                      <a:cubicBezTo>
                        <a:pt x="173477" y="154305"/>
                        <a:pt x="171161" y="152737"/>
                        <a:pt x="169667" y="150495"/>
                      </a:cubicBezTo>
                      <a:cubicBezTo>
                        <a:pt x="168553" y="148824"/>
                        <a:pt x="169396" y="145947"/>
                        <a:pt x="167762" y="144780"/>
                      </a:cubicBezTo>
                      <a:cubicBezTo>
                        <a:pt x="164494" y="142446"/>
                        <a:pt x="160142" y="142240"/>
                        <a:pt x="156332" y="140970"/>
                      </a:cubicBezTo>
                      <a:lnTo>
                        <a:pt x="150617" y="139065"/>
                      </a:lnTo>
                      <a:lnTo>
                        <a:pt x="139187" y="135255"/>
                      </a:lnTo>
                      <a:cubicBezTo>
                        <a:pt x="137282" y="134620"/>
                        <a:pt x="135143" y="134464"/>
                        <a:pt x="133472" y="133350"/>
                      </a:cubicBezTo>
                      <a:cubicBezTo>
                        <a:pt x="129789" y="130895"/>
                        <a:pt x="126681" y="128099"/>
                        <a:pt x="122042" y="127635"/>
                      </a:cubicBezTo>
                      <a:cubicBezTo>
                        <a:pt x="111282" y="126559"/>
                        <a:pt x="100452" y="126365"/>
                        <a:pt x="89657" y="125730"/>
                      </a:cubicBezTo>
                      <a:cubicBezTo>
                        <a:pt x="85440" y="122919"/>
                        <a:pt x="81161" y="120605"/>
                        <a:pt x="78227" y="116205"/>
                      </a:cubicBezTo>
                      <a:cubicBezTo>
                        <a:pt x="77113" y="114534"/>
                        <a:pt x="77220" y="112286"/>
                        <a:pt x="76322" y="110490"/>
                      </a:cubicBezTo>
                      <a:cubicBezTo>
                        <a:pt x="75298" y="108442"/>
                        <a:pt x="73782" y="106680"/>
                        <a:pt x="72512" y="104775"/>
                      </a:cubicBezTo>
                      <a:cubicBezTo>
                        <a:pt x="72417" y="104301"/>
                        <a:pt x="70264" y="91488"/>
                        <a:pt x="68702" y="89535"/>
                      </a:cubicBezTo>
                      <a:cubicBezTo>
                        <a:pt x="67272" y="87747"/>
                        <a:pt x="65131" y="86529"/>
                        <a:pt x="62987" y="85725"/>
                      </a:cubicBezTo>
                      <a:cubicBezTo>
                        <a:pt x="59955" y="84588"/>
                        <a:pt x="56637" y="84455"/>
                        <a:pt x="53462" y="83820"/>
                      </a:cubicBezTo>
                      <a:cubicBezTo>
                        <a:pt x="51557" y="82550"/>
                        <a:pt x="49795" y="81034"/>
                        <a:pt x="47747" y="80010"/>
                      </a:cubicBezTo>
                      <a:cubicBezTo>
                        <a:pt x="45951" y="79112"/>
                        <a:pt x="43600" y="79359"/>
                        <a:pt x="42032" y="78105"/>
                      </a:cubicBezTo>
                      <a:cubicBezTo>
                        <a:pt x="40010" y="76488"/>
                        <a:pt x="35074" y="66424"/>
                        <a:pt x="34412" y="64770"/>
                      </a:cubicBezTo>
                      <a:cubicBezTo>
                        <a:pt x="32920" y="61041"/>
                        <a:pt x="30602" y="53340"/>
                        <a:pt x="30602" y="53340"/>
                      </a:cubicBezTo>
                      <a:cubicBezTo>
                        <a:pt x="31872" y="51435"/>
                        <a:pt x="34236" y="49908"/>
                        <a:pt x="34412" y="47625"/>
                      </a:cubicBezTo>
                      <a:cubicBezTo>
                        <a:pt x="34901" y="41262"/>
                        <a:pt x="33477" y="34882"/>
                        <a:pt x="32507" y="28575"/>
                      </a:cubicBezTo>
                      <a:close/>
                    </a:path>
                  </a:pathLst>
                </a:custGeom>
                <a:solidFill>
                  <a:srgbClr val="9E6AAF">
                    <a:alpha val="72941"/>
                  </a:srgbClr>
                </a:solidFill>
                <a:ln w="19050" cap="flat" cmpd="sng" algn="ctr">
                  <a:solidFill>
                    <a:srgbClr val="7F5292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5783">
                    <a:defRPr/>
                  </a:pPr>
                  <a:endParaRPr lang="en-US" sz="1000" kern="0">
                    <a:solidFill>
                      <a:srgbClr val="FFFFFF"/>
                    </a:solidFill>
                    <a:latin typeface="Arial" panose="020B0604020202020204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612" name="Group 1611">
                <a:extLst>
                  <a:ext uri="{FF2B5EF4-FFF2-40B4-BE49-F238E27FC236}">
                    <a16:creationId xmlns:a16="http://schemas.microsoft.com/office/drawing/2014/main" id="{B84A0B96-B186-E5BA-728C-FDF19F9452F1}"/>
                  </a:ext>
                </a:extLst>
              </p:cNvPr>
              <p:cNvGrpSpPr/>
              <p:nvPr/>
            </p:nvGrpSpPr>
            <p:grpSpPr>
              <a:xfrm rot="4790200">
                <a:off x="1734397" y="5193148"/>
                <a:ext cx="86099" cy="96938"/>
                <a:chOff x="3390226" y="902644"/>
                <a:chExt cx="294782" cy="292335"/>
              </a:xfrm>
            </p:grpSpPr>
            <p:grpSp>
              <p:nvGrpSpPr>
                <p:cNvPr id="1613" name="Group 1612">
                  <a:extLst>
                    <a:ext uri="{FF2B5EF4-FFF2-40B4-BE49-F238E27FC236}">
                      <a16:creationId xmlns:a16="http://schemas.microsoft.com/office/drawing/2014/main" id="{1D409ADE-F410-026E-8AFC-3238DE80D23C}"/>
                    </a:ext>
                  </a:extLst>
                </p:cNvPr>
                <p:cNvGrpSpPr/>
                <p:nvPr/>
              </p:nvGrpSpPr>
              <p:grpSpPr>
                <a:xfrm>
                  <a:off x="3390226" y="902644"/>
                  <a:ext cx="294782" cy="292335"/>
                  <a:chOff x="3390226" y="902644"/>
                  <a:chExt cx="294782" cy="292335"/>
                </a:xfrm>
              </p:grpSpPr>
              <p:sp>
                <p:nvSpPr>
                  <p:cNvPr id="1615" name="Oval 1614">
                    <a:extLst>
                      <a:ext uri="{FF2B5EF4-FFF2-40B4-BE49-F238E27FC236}">
                        <a16:creationId xmlns:a16="http://schemas.microsoft.com/office/drawing/2014/main" id="{E2E8690E-7AD0-534A-F1AE-C66B58773390}"/>
                      </a:ext>
                    </a:extLst>
                  </p:cNvPr>
                  <p:cNvSpPr/>
                  <p:nvPr/>
                </p:nvSpPr>
                <p:spPr>
                  <a:xfrm rot="4711444">
                    <a:off x="3391449" y="901421"/>
                    <a:ext cx="292335" cy="294782"/>
                  </a:xfrm>
                  <a:prstGeom prst="ellipse">
                    <a:avLst/>
                  </a:prstGeom>
                  <a:solidFill>
                    <a:srgbClr val="FF2B28">
                      <a:lumMod val="20000"/>
                      <a:lumOff val="80000"/>
                    </a:srgbClr>
                  </a:solidFill>
                  <a:ln w="15875" cap="flat" cmpd="sng" algn="ctr">
                    <a:solidFill>
                      <a:srgbClr val="CC95BC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5783">
                      <a:defRPr/>
                    </a:pPr>
                    <a:endParaRPr lang="en-US" sz="1000" kern="0">
                      <a:solidFill>
                        <a:srgbClr val="FFFFFF"/>
                      </a:solidFill>
                      <a:latin typeface="Arial" panose="020B0604020202020204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1616" name="Group 1615">
                    <a:extLst>
                      <a:ext uri="{FF2B5EF4-FFF2-40B4-BE49-F238E27FC236}">
                        <a16:creationId xmlns:a16="http://schemas.microsoft.com/office/drawing/2014/main" id="{6E259BE2-05D8-EC6D-F125-3F7EC8165CC8}"/>
                      </a:ext>
                    </a:extLst>
                  </p:cNvPr>
                  <p:cNvGrpSpPr/>
                  <p:nvPr/>
                </p:nvGrpSpPr>
                <p:grpSpPr>
                  <a:xfrm rot="4711444">
                    <a:off x="3413226" y="963115"/>
                    <a:ext cx="164790" cy="149511"/>
                    <a:chOff x="8770428" y="4145225"/>
                    <a:chExt cx="307647" cy="276804"/>
                  </a:xfrm>
                </p:grpSpPr>
                <p:sp>
                  <p:nvSpPr>
                    <p:cNvPr id="1667" name="Freeform: Shape 474">
                      <a:extLst>
                        <a:ext uri="{FF2B5EF4-FFF2-40B4-BE49-F238E27FC236}">
                          <a16:creationId xmlns:a16="http://schemas.microsoft.com/office/drawing/2014/main" id="{75DEAC50-234A-5131-D49B-29E579684398}"/>
                        </a:ext>
                      </a:extLst>
                    </p:cNvPr>
                    <p:cNvSpPr/>
                    <p:nvPr/>
                  </p:nvSpPr>
                  <p:spPr>
                    <a:xfrm rot="5813516">
                      <a:off x="8823930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68" name="Freeform: Shape 475">
                      <a:extLst>
                        <a:ext uri="{FF2B5EF4-FFF2-40B4-BE49-F238E27FC236}">
                          <a16:creationId xmlns:a16="http://schemas.microsoft.com/office/drawing/2014/main" id="{ED7E0239-E041-0C7E-5754-41C76C687824}"/>
                        </a:ext>
                      </a:extLst>
                    </p:cNvPr>
                    <p:cNvSpPr/>
                    <p:nvPr/>
                  </p:nvSpPr>
                  <p:spPr>
                    <a:xfrm rot="6799576">
                      <a:off x="8855933" y="4253069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69" name="Freeform: Shape 476">
                      <a:extLst>
                        <a:ext uri="{FF2B5EF4-FFF2-40B4-BE49-F238E27FC236}">
                          <a16:creationId xmlns:a16="http://schemas.microsoft.com/office/drawing/2014/main" id="{6FEDFDF5-AE56-C20A-7F6F-43F5A224410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50061" y="4188172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70" name="Freeform: Shape 477">
                      <a:extLst>
                        <a:ext uri="{FF2B5EF4-FFF2-40B4-BE49-F238E27FC236}">
                          <a16:creationId xmlns:a16="http://schemas.microsoft.com/office/drawing/2014/main" id="{24DA35A8-7DA9-B364-FF62-8D7C7B50CDDE}"/>
                        </a:ext>
                      </a:extLst>
                    </p:cNvPr>
                    <p:cNvSpPr/>
                    <p:nvPr/>
                  </p:nvSpPr>
                  <p:spPr>
                    <a:xfrm rot="15284729">
                      <a:off x="8851362" y="4146483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71" name="Freeform: Shape 478">
                      <a:extLst>
                        <a:ext uri="{FF2B5EF4-FFF2-40B4-BE49-F238E27FC236}">
                          <a16:creationId xmlns:a16="http://schemas.microsoft.com/office/drawing/2014/main" id="{40E84132-48D3-E89A-A6EF-D5C95DAA116E}"/>
                        </a:ext>
                      </a:extLst>
                    </p:cNvPr>
                    <p:cNvSpPr/>
                    <p:nvPr/>
                  </p:nvSpPr>
                  <p:spPr>
                    <a:xfrm rot="4030563">
                      <a:off x="8954046" y="4390351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72" name="Freeform: Shape 479">
                      <a:extLst>
                        <a:ext uri="{FF2B5EF4-FFF2-40B4-BE49-F238E27FC236}">
                          <a16:creationId xmlns:a16="http://schemas.microsoft.com/office/drawing/2014/main" id="{5260EA88-B408-17DE-3C0F-412E17B3E47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78794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73" name="Freeform: Shape 480">
                      <a:extLst>
                        <a:ext uri="{FF2B5EF4-FFF2-40B4-BE49-F238E27FC236}">
                          <a16:creationId xmlns:a16="http://schemas.microsoft.com/office/drawing/2014/main" id="{EAEC7236-8837-77EE-D037-3C25083BA662}"/>
                        </a:ext>
                      </a:extLst>
                    </p:cNvPr>
                    <p:cNvSpPr/>
                    <p:nvPr/>
                  </p:nvSpPr>
                  <p:spPr>
                    <a:xfrm rot="1648623">
                      <a:off x="8778238" y="4278378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74" name="Freeform: Shape 481">
                      <a:extLst>
                        <a:ext uri="{FF2B5EF4-FFF2-40B4-BE49-F238E27FC236}">
                          <a16:creationId xmlns:a16="http://schemas.microsoft.com/office/drawing/2014/main" id="{AA241FC5-039B-338E-5200-7D3A02EBA0F0}"/>
                        </a:ext>
                      </a:extLst>
                    </p:cNvPr>
                    <p:cNvSpPr/>
                    <p:nvPr/>
                  </p:nvSpPr>
                  <p:spPr>
                    <a:xfrm rot="20582585">
                      <a:off x="8817085" y="4302941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75" name="Freeform: Shape 482">
                      <a:extLst>
                        <a:ext uri="{FF2B5EF4-FFF2-40B4-BE49-F238E27FC236}">
                          <a16:creationId xmlns:a16="http://schemas.microsoft.com/office/drawing/2014/main" id="{E589252F-9E3F-2D80-424B-8B197047142C}"/>
                        </a:ext>
                      </a:extLst>
                    </p:cNvPr>
                    <p:cNvSpPr/>
                    <p:nvPr/>
                  </p:nvSpPr>
                  <p:spPr>
                    <a:xfrm rot="17414284">
                      <a:off x="8943702" y="414065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76" name="Freeform: Shape 483">
                      <a:extLst>
                        <a:ext uri="{FF2B5EF4-FFF2-40B4-BE49-F238E27FC236}">
                          <a16:creationId xmlns:a16="http://schemas.microsoft.com/office/drawing/2014/main" id="{79E7D1AE-ED41-DABC-A713-F184EE73A023}"/>
                        </a:ext>
                      </a:extLst>
                    </p:cNvPr>
                    <p:cNvSpPr/>
                    <p:nvPr/>
                  </p:nvSpPr>
                  <p:spPr>
                    <a:xfrm rot="9043087">
                      <a:off x="8883430" y="4342996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77" name="Freeform: Shape 484">
                      <a:extLst>
                        <a:ext uri="{FF2B5EF4-FFF2-40B4-BE49-F238E27FC236}">
                          <a16:creationId xmlns:a16="http://schemas.microsoft.com/office/drawing/2014/main" id="{2F3F8CC9-CF57-6C8C-B005-C3F139CD6BCE}"/>
                        </a:ext>
                      </a:extLst>
                    </p:cNvPr>
                    <p:cNvSpPr/>
                    <p:nvPr/>
                  </p:nvSpPr>
                  <p:spPr>
                    <a:xfrm rot="5209521">
                      <a:off x="8961351" y="4317762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78" name="Freeform: Shape 485">
                      <a:extLst>
                        <a:ext uri="{FF2B5EF4-FFF2-40B4-BE49-F238E27FC236}">
                          <a16:creationId xmlns:a16="http://schemas.microsoft.com/office/drawing/2014/main" id="{8B16D2C4-C6BA-AF49-6190-19FF0E9D179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18409" y="432953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79" name="Rectangle: Rounded Corners 486">
                      <a:extLst>
                        <a:ext uri="{FF2B5EF4-FFF2-40B4-BE49-F238E27FC236}">
                          <a16:creationId xmlns:a16="http://schemas.microsoft.com/office/drawing/2014/main" id="{A475E825-8A7A-9D72-9202-B5641C7964D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86901" y="440374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80" name="Rectangle: Rounded Corners 487">
                      <a:extLst>
                        <a:ext uri="{FF2B5EF4-FFF2-40B4-BE49-F238E27FC236}">
                          <a16:creationId xmlns:a16="http://schemas.microsoft.com/office/drawing/2014/main" id="{9374D68E-DDF0-B13B-4624-007CFB54D3F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58174" y="429137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81" name="Rectangle: Rounded Corners 488">
                      <a:extLst>
                        <a:ext uri="{FF2B5EF4-FFF2-40B4-BE49-F238E27FC236}">
                          <a16:creationId xmlns:a16="http://schemas.microsoft.com/office/drawing/2014/main" id="{D04D7E50-28AB-9697-3EDA-DF875028411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770428" y="419613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82" name="Rectangle: Rounded Corners 489">
                      <a:extLst>
                        <a:ext uri="{FF2B5EF4-FFF2-40B4-BE49-F238E27FC236}">
                          <a16:creationId xmlns:a16="http://schemas.microsoft.com/office/drawing/2014/main" id="{D58FA3C0-8C0E-892A-89E4-8F808F794DA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24873" y="4240076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83" name="Rectangle: Rounded Corners 490">
                      <a:extLst>
                        <a:ext uri="{FF2B5EF4-FFF2-40B4-BE49-F238E27FC236}">
                          <a16:creationId xmlns:a16="http://schemas.microsoft.com/office/drawing/2014/main" id="{7DFADF09-C582-B185-DF8B-62EE4F60647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50643" y="429398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84" name="Rectangle: Rounded Corners 491">
                      <a:extLst>
                        <a:ext uri="{FF2B5EF4-FFF2-40B4-BE49-F238E27FC236}">
                          <a16:creationId xmlns:a16="http://schemas.microsoft.com/office/drawing/2014/main" id="{906AD697-D66F-AE16-47E7-214CBD4822D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17085" y="439459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</p:grpSp>
              <p:grpSp>
                <p:nvGrpSpPr>
                  <p:cNvPr id="1617" name="Group 1616">
                    <a:extLst>
                      <a:ext uri="{FF2B5EF4-FFF2-40B4-BE49-F238E27FC236}">
                        <a16:creationId xmlns:a16="http://schemas.microsoft.com/office/drawing/2014/main" id="{FD767F9E-F131-4023-DCF8-451B503E8638}"/>
                      </a:ext>
                    </a:extLst>
                  </p:cNvPr>
                  <p:cNvGrpSpPr/>
                  <p:nvPr/>
                </p:nvGrpSpPr>
                <p:grpSpPr>
                  <a:xfrm rot="13031820">
                    <a:off x="3472433" y="927802"/>
                    <a:ext cx="164791" cy="149512"/>
                    <a:chOff x="8770428" y="4145225"/>
                    <a:chExt cx="307647" cy="276804"/>
                  </a:xfrm>
                </p:grpSpPr>
                <p:sp>
                  <p:nvSpPr>
                    <p:cNvPr id="1651" name="Freeform: Shape 458">
                      <a:extLst>
                        <a:ext uri="{FF2B5EF4-FFF2-40B4-BE49-F238E27FC236}">
                          <a16:creationId xmlns:a16="http://schemas.microsoft.com/office/drawing/2014/main" id="{C83B0560-968E-167E-1630-0943BB6C158A}"/>
                        </a:ext>
                      </a:extLst>
                    </p:cNvPr>
                    <p:cNvSpPr/>
                    <p:nvPr/>
                  </p:nvSpPr>
                  <p:spPr>
                    <a:xfrm rot="5813516">
                      <a:off x="8823930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52" name="Freeform: Shape 459">
                      <a:extLst>
                        <a:ext uri="{FF2B5EF4-FFF2-40B4-BE49-F238E27FC236}">
                          <a16:creationId xmlns:a16="http://schemas.microsoft.com/office/drawing/2014/main" id="{36BCCB39-33F2-8A59-B4FC-A6B48962D150}"/>
                        </a:ext>
                      </a:extLst>
                    </p:cNvPr>
                    <p:cNvSpPr/>
                    <p:nvPr/>
                  </p:nvSpPr>
                  <p:spPr>
                    <a:xfrm rot="15284729">
                      <a:off x="8851362" y="4146483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53" name="Freeform: Shape 460">
                      <a:extLst>
                        <a:ext uri="{FF2B5EF4-FFF2-40B4-BE49-F238E27FC236}">
                          <a16:creationId xmlns:a16="http://schemas.microsoft.com/office/drawing/2014/main" id="{1E18C5F0-B5A5-1E8A-C6B4-E951EB59F59E}"/>
                        </a:ext>
                      </a:extLst>
                    </p:cNvPr>
                    <p:cNvSpPr/>
                    <p:nvPr/>
                  </p:nvSpPr>
                  <p:spPr>
                    <a:xfrm rot="4030563">
                      <a:off x="8954046" y="4390351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54" name="Freeform: Shape 461">
                      <a:extLst>
                        <a:ext uri="{FF2B5EF4-FFF2-40B4-BE49-F238E27FC236}">
                          <a16:creationId xmlns:a16="http://schemas.microsoft.com/office/drawing/2014/main" id="{F7D0E7B3-CF7A-5060-DB88-F1C90FDD4B5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29986" y="4287522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55" name="Freeform: Shape 462">
                      <a:extLst>
                        <a:ext uri="{FF2B5EF4-FFF2-40B4-BE49-F238E27FC236}">
                          <a16:creationId xmlns:a16="http://schemas.microsoft.com/office/drawing/2014/main" id="{4EE2FA2C-D638-2281-534D-C6A981A5E8B2}"/>
                        </a:ext>
                      </a:extLst>
                    </p:cNvPr>
                    <p:cNvSpPr/>
                    <p:nvPr/>
                  </p:nvSpPr>
                  <p:spPr>
                    <a:xfrm rot="1648623">
                      <a:off x="8778238" y="4278378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56" name="Freeform: Shape 463">
                      <a:extLst>
                        <a:ext uri="{FF2B5EF4-FFF2-40B4-BE49-F238E27FC236}">
                          <a16:creationId xmlns:a16="http://schemas.microsoft.com/office/drawing/2014/main" id="{13F33A59-FDD2-6129-1FD6-D4567181BD4B}"/>
                        </a:ext>
                      </a:extLst>
                    </p:cNvPr>
                    <p:cNvSpPr/>
                    <p:nvPr/>
                  </p:nvSpPr>
                  <p:spPr>
                    <a:xfrm rot="20582585">
                      <a:off x="8817085" y="4302941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57" name="Freeform: Shape 464">
                      <a:extLst>
                        <a:ext uri="{FF2B5EF4-FFF2-40B4-BE49-F238E27FC236}">
                          <a16:creationId xmlns:a16="http://schemas.microsoft.com/office/drawing/2014/main" id="{AC6BA8D9-3B8A-389E-4539-3C4B65A8C0C9}"/>
                        </a:ext>
                      </a:extLst>
                    </p:cNvPr>
                    <p:cNvSpPr/>
                    <p:nvPr/>
                  </p:nvSpPr>
                  <p:spPr>
                    <a:xfrm rot="17414284">
                      <a:off x="8943702" y="414065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58" name="Freeform: Shape 465">
                      <a:extLst>
                        <a:ext uri="{FF2B5EF4-FFF2-40B4-BE49-F238E27FC236}">
                          <a16:creationId xmlns:a16="http://schemas.microsoft.com/office/drawing/2014/main" id="{C10EB283-67BE-0A2A-78BF-494B79B86B5C}"/>
                        </a:ext>
                      </a:extLst>
                    </p:cNvPr>
                    <p:cNvSpPr/>
                    <p:nvPr/>
                  </p:nvSpPr>
                  <p:spPr>
                    <a:xfrm rot="9043087">
                      <a:off x="8883430" y="4342996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59" name="Freeform: Shape 466">
                      <a:extLst>
                        <a:ext uri="{FF2B5EF4-FFF2-40B4-BE49-F238E27FC236}">
                          <a16:creationId xmlns:a16="http://schemas.microsoft.com/office/drawing/2014/main" id="{D613F12A-2514-1938-AE35-6472BFEA5406}"/>
                        </a:ext>
                      </a:extLst>
                    </p:cNvPr>
                    <p:cNvSpPr/>
                    <p:nvPr/>
                  </p:nvSpPr>
                  <p:spPr>
                    <a:xfrm rot="5209521">
                      <a:off x="8961351" y="4317762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60" name="Freeform: Shape 467">
                      <a:extLst>
                        <a:ext uri="{FF2B5EF4-FFF2-40B4-BE49-F238E27FC236}">
                          <a16:creationId xmlns:a16="http://schemas.microsoft.com/office/drawing/2014/main" id="{88488412-B558-E5C8-1F78-C9211552AE4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18409" y="432953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61" name="Freeform: Shape 468">
                      <a:extLst>
                        <a:ext uri="{FF2B5EF4-FFF2-40B4-BE49-F238E27FC236}">
                          <a16:creationId xmlns:a16="http://schemas.microsoft.com/office/drawing/2014/main" id="{33D82492-F6C2-C7D8-3F0A-9E60DD3F3D95}"/>
                        </a:ext>
                      </a:extLst>
                    </p:cNvPr>
                    <p:cNvSpPr/>
                    <p:nvPr/>
                  </p:nvSpPr>
                  <p:spPr>
                    <a:xfrm rot="18952815">
                      <a:off x="8990335" y="4236377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62" name="Rectangle: Rounded Corners 469">
                      <a:extLst>
                        <a:ext uri="{FF2B5EF4-FFF2-40B4-BE49-F238E27FC236}">
                          <a16:creationId xmlns:a16="http://schemas.microsoft.com/office/drawing/2014/main" id="{406C6EA3-220A-7D44-7926-78455B4E605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86901" y="440374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63" name="Rectangle: Rounded Corners 470">
                      <a:extLst>
                        <a:ext uri="{FF2B5EF4-FFF2-40B4-BE49-F238E27FC236}">
                          <a16:creationId xmlns:a16="http://schemas.microsoft.com/office/drawing/2014/main" id="{A71C2B13-8E28-087D-31BB-9BB0C255F16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58174" y="429137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64" name="Rectangle: Rounded Corners 471">
                      <a:extLst>
                        <a:ext uri="{FF2B5EF4-FFF2-40B4-BE49-F238E27FC236}">
                          <a16:creationId xmlns:a16="http://schemas.microsoft.com/office/drawing/2014/main" id="{CCAEFEBF-FFAC-9A78-86BD-578FC4D56B4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770428" y="419613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65" name="Rectangle: Rounded Corners 472">
                      <a:extLst>
                        <a:ext uri="{FF2B5EF4-FFF2-40B4-BE49-F238E27FC236}">
                          <a16:creationId xmlns:a16="http://schemas.microsoft.com/office/drawing/2014/main" id="{ABD42186-373A-DAE7-66B2-FA9AC0F083F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50643" y="429398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66" name="Rectangle: Rounded Corners 473">
                      <a:extLst>
                        <a:ext uri="{FF2B5EF4-FFF2-40B4-BE49-F238E27FC236}">
                          <a16:creationId xmlns:a16="http://schemas.microsoft.com/office/drawing/2014/main" id="{CC1DF7C2-ABD2-2124-155F-570076553A8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17085" y="439459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</p:grpSp>
              <p:grpSp>
                <p:nvGrpSpPr>
                  <p:cNvPr id="1618" name="Group 1617">
                    <a:extLst>
                      <a:ext uri="{FF2B5EF4-FFF2-40B4-BE49-F238E27FC236}">
                        <a16:creationId xmlns:a16="http://schemas.microsoft.com/office/drawing/2014/main" id="{7F237DD7-3FA2-C03B-0867-93F966A5EB6B}"/>
                      </a:ext>
                    </a:extLst>
                  </p:cNvPr>
                  <p:cNvGrpSpPr/>
                  <p:nvPr/>
                </p:nvGrpSpPr>
                <p:grpSpPr>
                  <a:xfrm rot="20035314">
                    <a:off x="3439984" y="1013397"/>
                    <a:ext cx="166170" cy="147874"/>
                    <a:chOff x="8770428" y="4145965"/>
                    <a:chExt cx="307647" cy="276064"/>
                  </a:xfrm>
                </p:grpSpPr>
                <p:sp>
                  <p:nvSpPr>
                    <p:cNvPr id="1636" name="Freeform: Shape 443">
                      <a:extLst>
                        <a:ext uri="{FF2B5EF4-FFF2-40B4-BE49-F238E27FC236}">
                          <a16:creationId xmlns:a16="http://schemas.microsoft.com/office/drawing/2014/main" id="{09C8B22C-D988-6DC8-4C0D-8B51D45B584A}"/>
                        </a:ext>
                      </a:extLst>
                    </p:cNvPr>
                    <p:cNvSpPr/>
                    <p:nvPr/>
                  </p:nvSpPr>
                  <p:spPr>
                    <a:xfrm rot="5813516">
                      <a:off x="8823930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37" name="Freeform: Shape 444">
                      <a:extLst>
                        <a:ext uri="{FF2B5EF4-FFF2-40B4-BE49-F238E27FC236}">
                          <a16:creationId xmlns:a16="http://schemas.microsoft.com/office/drawing/2014/main" id="{D60D5546-1D8F-B42A-D883-F4128ECB928C}"/>
                        </a:ext>
                      </a:extLst>
                    </p:cNvPr>
                    <p:cNvSpPr/>
                    <p:nvPr/>
                  </p:nvSpPr>
                  <p:spPr>
                    <a:xfrm rot="15284729">
                      <a:off x="8851362" y="4146483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38" name="Freeform: Shape 445">
                      <a:extLst>
                        <a:ext uri="{FF2B5EF4-FFF2-40B4-BE49-F238E27FC236}">
                          <a16:creationId xmlns:a16="http://schemas.microsoft.com/office/drawing/2014/main" id="{596BB486-FEFE-BA9E-C9D1-2BC7D01349C1}"/>
                        </a:ext>
                      </a:extLst>
                    </p:cNvPr>
                    <p:cNvSpPr/>
                    <p:nvPr/>
                  </p:nvSpPr>
                  <p:spPr>
                    <a:xfrm rot="4030563">
                      <a:off x="8954046" y="4390351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39" name="Freeform: Shape 446">
                      <a:extLst>
                        <a:ext uri="{FF2B5EF4-FFF2-40B4-BE49-F238E27FC236}">
                          <a16:creationId xmlns:a16="http://schemas.microsoft.com/office/drawing/2014/main" id="{F9863242-E244-7D30-00BC-B793DAD0E38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78794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40" name="Freeform: Shape 447">
                      <a:extLst>
                        <a:ext uri="{FF2B5EF4-FFF2-40B4-BE49-F238E27FC236}">
                          <a16:creationId xmlns:a16="http://schemas.microsoft.com/office/drawing/2014/main" id="{8C4384B6-F6C2-1437-D6B9-E2EC77CDB46C}"/>
                        </a:ext>
                      </a:extLst>
                    </p:cNvPr>
                    <p:cNvSpPr/>
                    <p:nvPr/>
                  </p:nvSpPr>
                  <p:spPr>
                    <a:xfrm rot="1648623">
                      <a:off x="8778238" y="4278378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41" name="Freeform: Shape 448">
                      <a:extLst>
                        <a:ext uri="{FF2B5EF4-FFF2-40B4-BE49-F238E27FC236}">
                          <a16:creationId xmlns:a16="http://schemas.microsoft.com/office/drawing/2014/main" id="{A2EE8ADB-4ED5-B1D9-0286-0CA347FE5F19}"/>
                        </a:ext>
                      </a:extLst>
                    </p:cNvPr>
                    <p:cNvSpPr/>
                    <p:nvPr/>
                  </p:nvSpPr>
                  <p:spPr>
                    <a:xfrm rot="20582585">
                      <a:off x="8817085" y="4302941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42" name="Freeform: Shape 449">
                      <a:extLst>
                        <a:ext uri="{FF2B5EF4-FFF2-40B4-BE49-F238E27FC236}">
                          <a16:creationId xmlns:a16="http://schemas.microsoft.com/office/drawing/2014/main" id="{21364540-EE6E-267B-CE36-9B7AEA5CD14C}"/>
                        </a:ext>
                      </a:extLst>
                    </p:cNvPr>
                    <p:cNvSpPr/>
                    <p:nvPr/>
                  </p:nvSpPr>
                  <p:spPr>
                    <a:xfrm rot="9043087">
                      <a:off x="8883430" y="4342996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43" name="Freeform: Shape 450">
                      <a:extLst>
                        <a:ext uri="{FF2B5EF4-FFF2-40B4-BE49-F238E27FC236}">
                          <a16:creationId xmlns:a16="http://schemas.microsoft.com/office/drawing/2014/main" id="{0445857E-F4C4-ED31-6850-4DB5F4CA68B2}"/>
                        </a:ext>
                      </a:extLst>
                    </p:cNvPr>
                    <p:cNvSpPr/>
                    <p:nvPr/>
                  </p:nvSpPr>
                  <p:spPr>
                    <a:xfrm rot="5209521">
                      <a:off x="8961351" y="4317762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44" name="Freeform: Shape 451">
                      <a:extLst>
                        <a:ext uri="{FF2B5EF4-FFF2-40B4-BE49-F238E27FC236}">
                          <a16:creationId xmlns:a16="http://schemas.microsoft.com/office/drawing/2014/main" id="{3A46F637-B4A2-0B2E-3170-FD723021DF8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18409" y="432953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45" name="Rectangle: Rounded Corners 452">
                      <a:extLst>
                        <a:ext uri="{FF2B5EF4-FFF2-40B4-BE49-F238E27FC236}">
                          <a16:creationId xmlns:a16="http://schemas.microsoft.com/office/drawing/2014/main" id="{253E1166-1EBB-AD79-6EDF-F08A9B8CB0C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86901" y="440374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46" name="Rectangle: Rounded Corners 453">
                      <a:extLst>
                        <a:ext uri="{FF2B5EF4-FFF2-40B4-BE49-F238E27FC236}">
                          <a16:creationId xmlns:a16="http://schemas.microsoft.com/office/drawing/2014/main" id="{197A3DBE-0083-4342-2FE8-753F6484C05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58174" y="429137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47" name="Rectangle: Rounded Corners 454">
                      <a:extLst>
                        <a:ext uri="{FF2B5EF4-FFF2-40B4-BE49-F238E27FC236}">
                          <a16:creationId xmlns:a16="http://schemas.microsoft.com/office/drawing/2014/main" id="{CF518945-5E08-97C2-1FEF-77481210838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770428" y="419613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48" name="Rectangle: Rounded Corners 455">
                      <a:extLst>
                        <a:ext uri="{FF2B5EF4-FFF2-40B4-BE49-F238E27FC236}">
                          <a16:creationId xmlns:a16="http://schemas.microsoft.com/office/drawing/2014/main" id="{22921A84-5347-B5E2-19DA-782B5BDE784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50643" y="429398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49" name="Rectangle: Rounded Corners 456">
                      <a:extLst>
                        <a:ext uri="{FF2B5EF4-FFF2-40B4-BE49-F238E27FC236}">
                          <a16:creationId xmlns:a16="http://schemas.microsoft.com/office/drawing/2014/main" id="{B6CB61A5-763E-BDF5-DD4A-D7818B737DD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17085" y="439459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50" name="Rectangle: Rounded Corners 457">
                      <a:extLst>
                        <a:ext uri="{FF2B5EF4-FFF2-40B4-BE49-F238E27FC236}">
                          <a16:creationId xmlns:a16="http://schemas.microsoft.com/office/drawing/2014/main" id="{CBB68F8D-01C3-01DF-2C36-7EE307D6117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94095" y="4145965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</p:grpSp>
              <p:grpSp>
                <p:nvGrpSpPr>
                  <p:cNvPr id="1619" name="Group 1618">
                    <a:extLst>
                      <a:ext uri="{FF2B5EF4-FFF2-40B4-BE49-F238E27FC236}">
                        <a16:creationId xmlns:a16="http://schemas.microsoft.com/office/drawing/2014/main" id="{6555BA42-2737-3877-1945-A864121B9E9E}"/>
                      </a:ext>
                    </a:extLst>
                  </p:cNvPr>
                  <p:cNvGrpSpPr/>
                  <p:nvPr/>
                </p:nvGrpSpPr>
                <p:grpSpPr>
                  <a:xfrm rot="4711444">
                    <a:off x="3501494" y="998460"/>
                    <a:ext cx="164790" cy="149511"/>
                    <a:chOff x="8770428" y="4145225"/>
                    <a:chExt cx="307647" cy="276804"/>
                  </a:xfrm>
                </p:grpSpPr>
                <p:sp>
                  <p:nvSpPr>
                    <p:cNvPr id="1620" name="Freeform: Shape 427">
                      <a:extLst>
                        <a:ext uri="{FF2B5EF4-FFF2-40B4-BE49-F238E27FC236}">
                          <a16:creationId xmlns:a16="http://schemas.microsoft.com/office/drawing/2014/main" id="{80F5FB9A-150F-F167-A012-0C0EADA23E27}"/>
                        </a:ext>
                      </a:extLst>
                    </p:cNvPr>
                    <p:cNvSpPr/>
                    <p:nvPr/>
                  </p:nvSpPr>
                  <p:spPr>
                    <a:xfrm rot="5813516">
                      <a:off x="8823930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21" name="Freeform: Shape 428">
                      <a:extLst>
                        <a:ext uri="{FF2B5EF4-FFF2-40B4-BE49-F238E27FC236}">
                          <a16:creationId xmlns:a16="http://schemas.microsoft.com/office/drawing/2014/main" id="{2C086DC4-B00A-1AFE-2E0D-93A461A1D5D3}"/>
                        </a:ext>
                      </a:extLst>
                    </p:cNvPr>
                    <p:cNvSpPr/>
                    <p:nvPr/>
                  </p:nvSpPr>
                  <p:spPr>
                    <a:xfrm rot="6799576">
                      <a:off x="8855933" y="4253069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22" name="Freeform: Shape 429">
                      <a:extLst>
                        <a:ext uri="{FF2B5EF4-FFF2-40B4-BE49-F238E27FC236}">
                          <a16:creationId xmlns:a16="http://schemas.microsoft.com/office/drawing/2014/main" id="{7000334D-195E-150F-613B-8B630221C1B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50061" y="4188172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23" name="Freeform: Shape 430">
                      <a:extLst>
                        <a:ext uri="{FF2B5EF4-FFF2-40B4-BE49-F238E27FC236}">
                          <a16:creationId xmlns:a16="http://schemas.microsoft.com/office/drawing/2014/main" id="{36DCED4A-EFFB-DB34-D680-C97C0096B624}"/>
                        </a:ext>
                      </a:extLst>
                    </p:cNvPr>
                    <p:cNvSpPr/>
                    <p:nvPr/>
                  </p:nvSpPr>
                  <p:spPr>
                    <a:xfrm rot="15284729">
                      <a:off x="8851362" y="4146483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24" name="Freeform: Shape 431">
                      <a:extLst>
                        <a:ext uri="{FF2B5EF4-FFF2-40B4-BE49-F238E27FC236}">
                          <a16:creationId xmlns:a16="http://schemas.microsoft.com/office/drawing/2014/main" id="{30416405-256E-19C9-4239-7FFDA3025C19}"/>
                        </a:ext>
                      </a:extLst>
                    </p:cNvPr>
                    <p:cNvSpPr/>
                    <p:nvPr/>
                  </p:nvSpPr>
                  <p:spPr>
                    <a:xfrm rot="4030563">
                      <a:off x="8954046" y="4390351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25" name="Freeform: Shape 432">
                      <a:extLst>
                        <a:ext uri="{FF2B5EF4-FFF2-40B4-BE49-F238E27FC236}">
                          <a16:creationId xmlns:a16="http://schemas.microsoft.com/office/drawing/2014/main" id="{7D7DF904-1DE1-134A-17D4-B2C3A5042E5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78794" y="4215604"/>
                      <a:ext cx="27432" cy="27432"/>
                    </a:xfrm>
                    <a:custGeom>
                      <a:avLst/>
                      <a:gdLst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8118 h 64150"/>
                        <a:gd name="connsiteX1" fmla="*/ 32385 w 80010"/>
                        <a:gd name="connsiteY1" fmla="*/ 8118 h 64150"/>
                        <a:gd name="connsiteX2" fmla="*/ 3810 w 80010"/>
                        <a:gd name="connsiteY2" fmla="*/ 10023 h 64150"/>
                        <a:gd name="connsiteX3" fmla="*/ 0 w 80010"/>
                        <a:gd name="connsiteY3" fmla="*/ 21453 h 64150"/>
                        <a:gd name="connsiteX4" fmla="*/ 7620 w 80010"/>
                        <a:gd name="connsiteY4" fmla="*/ 42408 h 64150"/>
                        <a:gd name="connsiteX5" fmla="*/ 13335 w 80010"/>
                        <a:gd name="connsiteY5" fmla="*/ 46218 h 64150"/>
                        <a:gd name="connsiteX6" fmla="*/ 19050 w 80010"/>
                        <a:gd name="connsiteY6" fmla="*/ 51933 h 64150"/>
                        <a:gd name="connsiteX7" fmla="*/ 68580 w 80010"/>
                        <a:gd name="connsiteY7" fmla="*/ 55743 h 64150"/>
                        <a:gd name="connsiteX8" fmla="*/ 72390 w 80010"/>
                        <a:gd name="connsiteY8" fmla="*/ 50028 h 64150"/>
                        <a:gd name="connsiteX9" fmla="*/ 78105 w 80010"/>
                        <a:gd name="connsiteY9" fmla="*/ 44313 h 64150"/>
                        <a:gd name="connsiteX10" fmla="*/ 80010 w 80010"/>
                        <a:gd name="connsiteY10" fmla="*/ 38598 h 64150"/>
                        <a:gd name="connsiteX11" fmla="*/ 78105 w 80010"/>
                        <a:gd name="connsiteY11" fmla="*/ 27168 h 64150"/>
                        <a:gd name="connsiteX12" fmla="*/ 60960 w 80010"/>
                        <a:gd name="connsiteY12" fmla="*/ 21453 h 64150"/>
                        <a:gd name="connsiteX13" fmla="*/ 53340 w 80010"/>
                        <a:gd name="connsiteY13" fmla="*/ 23358 h 64150"/>
                        <a:gd name="connsiteX14" fmla="*/ 57150 w 80010"/>
                        <a:gd name="connsiteY14" fmla="*/ 11928 h 64150"/>
                        <a:gd name="connsiteX15" fmla="*/ 59055 w 80010"/>
                        <a:gd name="connsiteY15" fmla="*/ 6213 h 64150"/>
                        <a:gd name="connsiteX16" fmla="*/ 34290 w 80010"/>
                        <a:gd name="connsiteY16" fmla="*/ 498 h 64150"/>
                        <a:gd name="connsiteX17" fmla="*/ 32385 w 80010"/>
                        <a:gd name="connsiteY17" fmla="*/ 8118 h 64150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2019 h 58051"/>
                        <a:gd name="connsiteX1" fmla="*/ 32385 w 80010"/>
                        <a:gd name="connsiteY1" fmla="*/ 2019 h 58051"/>
                        <a:gd name="connsiteX2" fmla="*/ 3810 w 80010"/>
                        <a:gd name="connsiteY2" fmla="*/ 3924 h 58051"/>
                        <a:gd name="connsiteX3" fmla="*/ 0 w 80010"/>
                        <a:gd name="connsiteY3" fmla="*/ 15354 h 58051"/>
                        <a:gd name="connsiteX4" fmla="*/ 7620 w 80010"/>
                        <a:gd name="connsiteY4" fmla="*/ 36309 h 58051"/>
                        <a:gd name="connsiteX5" fmla="*/ 13335 w 80010"/>
                        <a:gd name="connsiteY5" fmla="*/ 40119 h 58051"/>
                        <a:gd name="connsiteX6" fmla="*/ 19050 w 80010"/>
                        <a:gd name="connsiteY6" fmla="*/ 45834 h 58051"/>
                        <a:gd name="connsiteX7" fmla="*/ 68580 w 80010"/>
                        <a:gd name="connsiteY7" fmla="*/ 49644 h 58051"/>
                        <a:gd name="connsiteX8" fmla="*/ 72390 w 80010"/>
                        <a:gd name="connsiteY8" fmla="*/ 43929 h 58051"/>
                        <a:gd name="connsiteX9" fmla="*/ 78105 w 80010"/>
                        <a:gd name="connsiteY9" fmla="*/ 38214 h 58051"/>
                        <a:gd name="connsiteX10" fmla="*/ 80010 w 80010"/>
                        <a:gd name="connsiteY10" fmla="*/ 32499 h 58051"/>
                        <a:gd name="connsiteX11" fmla="*/ 78105 w 80010"/>
                        <a:gd name="connsiteY11" fmla="*/ 21069 h 58051"/>
                        <a:gd name="connsiteX12" fmla="*/ 60960 w 80010"/>
                        <a:gd name="connsiteY12" fmla="*/ 15354 h 58051"/>
                        <a:gd name="connsiteX13" fmla="*/ 53340 w 80010"/>
                        <a:gd name="connsiteY13" fmla="*/ 17259 h 58051"/>
                        <a:gd name="connsiteX14" fmla="*/ 57150 w 80010"/>
                        <a:gd name="connsiteY14" fmla="*/ 5829 h 58051"/>
                        <a:gd name="connsiteX15" fmla="*/ 59055 w 80010"/>
                        <a:gd name="connsiteY15" fmla="*/ 114 h 58051"/>
                        <a:gd name="connsiteX16" fmla="*/ 32385 w 80010"/>
                        <a:gd name="connsiteY16" fmla="*/ 2019 h 5805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57150 w 80010"/>
                        <a:gd name="connsiteY14" fmla="*/ 398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6211"/>
                        <a:gd name="connsiteX1" fmla="*/ 32385 w 80010"/>
                        <a:gd name="connsiteY1" fmla="*/ 179 h 56211"/>
                        <a:gd name="connsiteX2" fmla="*/ 3810 w 80010"/>
                        <a:gd name="connsiteY2" fmla="*/ 2084 h 56211"/>
                        <a:gd name="connsiteX3" fmla="*/ 0 w 80010"/>
                        <a:gd name="connsiteY3" fmla="*/ 13514 h 56211"/>
                        <a:gd name="connsiteX4" fmla="*/ 7620 w 80010"/>
                        <a:gd name="connsiteY4" fmla="*/ 34469 h 56211"/>
                        <a:gd name="connsiteX5" fmla="*/ 13335 w 80010"/>
                        <a:gd name="connsiteY5" fmla="*/ 38279 h 56211"/>
                        <a:gd name="connsiteX6" fmla="*/ 19050 w 80010"/>
                        <a:gd name="connsiteY6" fmla="*/ 43994 h 56211"/>
                        <a:gd name="connsiteX7" fmla="*/ 68580 w 80010"/>
                        <a:gd name="connsiteY7" fmla="*/ 47804 h 56211"/>
                        <a:gd name="connsiteX8" fmla="*/ 72390 w 80010"/>
                        <a:gd name="connsiteY8" fmla="*/ 42089 h 56211"/>
                        <a:gd name="connsiteX9" fmla="*/ 78105 w 80010"/>
                        <a:gd name="connsiteY9" fmla="*/ 36374 h 56211"/>
                        <a:gd name="connsiteX10" fmla="*/ 80010 w 80010"/>
                        <a:gd name="connsiteY10" fmla="*/ 30659 h 56211"/>
                        <a:gd name="connsiteX11" fmla="*/ 78105 w 80010"/>
                        <a:gd name="connsiteY11" fmla="*/ 19229 h 56211"/>
                        <a:gd name="connsiteX12" fmla="*/ 60960 w 80010"/>
                        <a:gd name="connsiteY12" fmla="*/ 13514 h 56211"/>
                        <a:gd name="connsiteX13" fmla="*/ 53340 w 80010"/>
                        <a:gd name="connsiteY13" fmla="*/ 15419 h 56211"/>
                        <a:gd name="connsiteX14" fmla="*/ 40048 w 80010"/>
                        <a:gd name="connsiteY14" fmla="*/ 8639 h 56211"/>
                        <a:gd name="connsiteX15" fmla="*/ 32385 w 80010"/>
                        <a:gd name="connsiteY15" fmla="*/ 179 h 56211"/>
                        <a:gd name="connsiteX0" fmla="*/ 32385 w 80010"/>
                        <a:gd name="connsiteY0" fmla="*/ 179 h 52171"/>
                        <a:gd name="connsiteX1" fmla="*/ 32385 w 80010"/>
                        <a:gd name="connsiteY1" fmla="*/ 179 h 52171"/>
                        <a:gd name="connsiteX2" fmla="*/ 3810 w 80010"/>
                        <a:gd name="connsiteY2" fmla="*/ 2084 h 52171"/>
                        <a:gd name="connsiteX3" fmla="*/ 0 w 80010"/>
                        <a:gd name="connsiteY3" fmla="*/ 13514 h 52171"/>
                        <a:gd name="connsiteX4" fmla="*/ 7620 w 80010"/>
                        <a:gd name="connsiteY4" fmla="*/ 34469 h 52171"/>
                        <a:gd name="connsiteX5" fmla="*/ 13335 w 80010"/>
                        <a:gd name="connsiteY5" fmla="*/ 38279 h 52171"/>
                        <a:gd name="connsiteX6" fmla="*/ 19050 w 80010"/>
                        <a:gd name="connsiteY6" fmla="*/ 43994 h 52171"/>
                        <a:gd name="connsiteX7" fmla="*/ 68580 w 80010"/>
                        <a:gd name="connsiteY7" fmla="*/ 47804 h 52171"/>
                        <a:gd name="connsiteX8" fmla="*/ 72390 w 80010"/>
                        <a:gd name="connsiteY8" fmla="*/ 42089 h 52171"/>
                        <a:gd name="connsiteX9" fmla="*/ 78105 w 80010"/>
                        <a:gd name="connsiteY9" fmla="*/ 36374 h 52171"/>
                        <a:gd name="connsiteX10" fmla="*/ 80010 w 80010"/>
                        <a:gd name="connsiteY10" fmla="*/ 30659 h 52171"/>
                        <a:gd name="connsiteX11" fmla="*/ 78105 w 80010"/>
                        <a:gd name="connsiteY11" fmla="*/ 19229 h 52171"/>
                        <a:gd name="connsiteX12" fmla="*/ 60960 w 80010"/>
                        <a:gd name="connsiteY12" fmla="*/ 13514 h 52171"/>
                        <a:gd name="connsiteX13" fmla="*/ 53340 w 80010"/>
                        <a:gd name="connsiteY13" fmla="*/ 15419 h 52171"/>
                        <a:gd name="connsiteX14" fmla="*/ 40048 w 80010"/>
                        <a:gd name="connsiteY14" fmla="*/ 8639 h 52171"/>
                        <a:gd name="connsiteX15" fmla="*/ 32385 w 80010"/>
                        <a:gd name="connsiteY15" fmla="*/ 179 h 52171"/>
                        <a:gd name="connsiteX0" fmla="*/ 32385 w 80010"/>
                        <a:gd name="connsiteY0" fmla="*/ 179 h 52432"/>
                        <a:gd name="connsiteX1" fmla="*/ 32385 w 80010"/>
                        <a:gd name="connsiteY1" fmla="*/ 179 h 52432"/>
                        <a:gd name="connsiteX2" fmla="*/ 3810 w 80010"/>
                        <a:gd name="connsiteY2" fmla="*/ 2084 h 52432"/>
                        <a:gd name="connsiteX3" fmla="*/ 0 w 80010"/>
                        <a:gd name="connsiteY3" fmla="*/ 13514 h 52432"/>
                        <a:gd name="connsiteX4" fmla="*/ 7620 w 80010"/>
                        <a:gd name="connsiteY4" fmla="*/ 34469 h 52432"/>
                        <a:gd name="connsiteX5" fmla="*/ 13335 w 80010"/>
                        <a:gd name="connsiteY5" fmla="*/ 38279 h 52432"/>
                        <a:gd name="connsiteX6" fmla="*/ 19050 w 80010"/>
                        <a:gd name="connsiteY6" fmla="*/ 43994 h 52432"/>
                        <a:gd name="connsiteX7" fmla="*/ 68580 w 80010"/>
                        <a:gd name="connsiteY7" fmla="*/ 47804 h 52432"/>
                        <a:gd name="connsiteX8" fmla="*/ 72390 w 80010"/>
                        <a:gd name="connsiteY8" fmla="*/ 42089 h 52432"/>
                        <a:gd name="connsiteX9" fmla="*/ 78105 w 80010"/>
                        <a:gd name="connsiteY9" fmla="*/ 36374 h 52432"/>
                        <a:gd name="connsiteX10" fmla="*/ 80010 w 80010"/>
                        <a:gd name="connsiteY10" fmla="*/ 30659 h 52432"/>
                        <a:gd name="connsiteX11" fmla="*/ 78105 w 80010"/>
                        <a:gd name="connsiteY11" fmla="*/ 19229 h 52432"/>
                        <a:gd name="connsiteX12" fmla="*/ 60960 w 80010"/>
                        <a:gd name="connsiteY12" fmla="*/ 13514 h 52432"/>
                        <a:gd name="connsiteX13" fmla="*/ 53340 w 80010"/>
                        <a:gd name="connsiteY13" fmla="*/ 15419 h 52432"/>
                        <a:gd name="connsiteX14" fmla="*/ 40048 w 80010"/>
                        <a:gd name="connsiteY14" fmla="*/ 8639 h 52432"/>
                        <a:gd name="connsiteX15" fmla="*/ 32385 w 80010"/>
                        <a:gd name="connsiteY15" fmla="*/ 179 h 52432"/>
                        <a:gd name="connsiteX0" fmla="*/ 32385 w 80010"/>
                        <a:gd name="connsiteY0" fmla="*/ 179 h 55651"/>
                        <a:gd name="connsiteX1" fmla="*/ 32385 w 80010"/>
                        <a:gd name="connsiteY1" fmla="*/ 179 h 55651"/>
                        <a:gd name="connsiteX2" fmla="*/ 3810 w 80010"/>
                        <a:gd name="connsiteY2" fmla="*/ 2084 h 55651"/>
                        <a:gd name="connsiteX3" fmla="*/ 0 w 80010"/>
                        <a:gd name="connsiteY3" fmla="*/ 13514 h 55651"/>
                        <a:gd name="connsiteX4" fmla="*/ 7620 w 80010"/>
                        <a:gd name="connsiteY4" fmla="*/ 34469 h 55651"/>
                        <a:gd name="connsiteX5" fmla="*/ 13335 w 80010"/>
                        <a:gd name="connsiteY5" fmla="*/ 38279 h 55651"/>
                        <a:gd name="connsiteX6" fmla="*/ 19050 w 80010"/>
                        <a:gd name="connsiteY6" fmla="*/ 43994 h 55651"/>
                        <a:gd name="connsiteX7" fmla="*/ 48058 w 80010"/>
                        <a:gd name="connsiteY7" fmla="*/ 52454 h 55651"/>
                        <a:gd name="connsiteX8" fmla="*/ 72390 w 80010"/>
                        <a:gd name="connsiteY8" fmla="*/ 42089 h 55651"/>
                        <a:gd name="connsiteX9" fmla="*/ 78105 w 80010"/>
                        <a:gd name="connsiteY9" fmla="*/ 36374 h 55651"/>
                        <a:gd name="connsiteX10" fmla="*/ 80010 w 80010"/>
                        <a:gd name="connsiteY10" fmla="*/ 30659 h 55651"/>
                        <a:gd name="connsiteX11" fmla="*/ 78105 w 80010"/>
                        <a:gd name="connsiteY11" fmla="*/ 19229 h 55651"/>
                        <a:gd name="connsiteX12" fmla="*/ 60960 w 80010"/>
                        <a:gd name="connsiteY12" fmla="*/ 13514 h 55651"/>
                        <a:gd name="connsiteX13" fmla="*/ 53340 w 80010"/>
                        <a:gd name="connsiteY13" fmla="*/ 15419 h 55651"/>
                        <a:gd name="connsiteX14" fmla="*/ 40048 w 80010"/>
                        <a:gd name="connsiteY14" fmla="*/ 8639 h 55651"/>
                        <a:gd name="connsiteX15" fmla="*/ 32385 w 80010"/>
                        <a:gd name="connsiteY15" fmla="*/ 179 h 55651"/>
                        <a:gd name="connsiteX0" fmla="*/ 32385 w 80010"/>
                        <a:gd name="connsiteY0" fmla="*/ 179 h 53227"/>
                        <a:gd name="connsiteX1" fmla="*/ 32385 w 80010"/>
                        <a:gd name="connsiteY1" fmla="*/ 179 h 53227"/>
                        <a:gd name="connsiteX2" fmla="*/ 3810 w 80010"/>
                        <a:gd name="connsiteY2" fmla="*/ 2084 h 53227"/>
                        <a:gd name="connsiteX3" fmla="*/ 0 w 80010"/>
                        <a:gd name="connsiteY3" fmla="*/ 13514 h 53227"/>
                        <a:gd name="connsiteX4" fmla="*/ 7620 w 80010"/>
                        <a:gd name="connsiteY4" fmla="*/ 34469 h 53227"/>
                        <a:gd name="connsiteX5" fmla="*/ 13335 w 80010"/>
                        <a:gd name="connsiteY5" fmla="*/ 38279 h 53227"/>
                        <a:gd name="connsiteX6" fmla="*/ 19050 w 80010"/>
                        <a:gd name="connsiteY6" fmla="*/ 43994 h 53227"/>
                        <a:gd name="connsiteX7" fmla="*/ 48058 w 80010"/>
                        <a:gd name="connsiteY7" fmla="*/ 52454 h 53227"/>
                        <a:gd name="connsiteX8" fmla="*/ 72390 w 80010"/>
                        <a:gd name="connsiteY8" fmla="*/ 42089 h 53227"/>
                        <a:gd name="connsiteX9" fmla="*/ 78105 w 80010"/>
                        <a:gd name="connsiteY9" fmla="*/ 36374 h 53227"/>
                        <a:gd name="connsiteX10" fmla="*/ 80010 w 80010"/>
                        <a:gd name="connsiteY10" fmla="*/ 30659 h 53227"/>
                        <a:gd name="connsiteX11" fmla="*/ 78105 w 80010"/>
                        <a:gd name="connsiteY11" fmla="*/ 19229 h 53227"/>
                        <a:gd name="connsiteX12" fmla="*/ 60960 w 80010"/>
                        <a:gd name="connsiteY12" fmla="*/ 13514 h 53227"/>
                        <a:gd name="connsiteX13" fmla="*/ 53340 w 80010"/>
                        <a:gd name="connsiteY13" fmla="*/ 15419 h 53227"/>
                        <a:gd name="connsiteX14" fmla="*/ 40048 w 80010"/>
                        <a:gd name="connsiteY14" fmla="*/ 8639 h 53227"/>
                        <a:gd name="connsiteX15" fmla="*/ 32385 w 80010"/>
                        <a:gd name="connsiteY15" fmla="*/ 179 h 532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80010" h="53227">
                          <a:moveTo>
                            <a:pt x="32385" y="179"/>
                          </a:moveTo>
                          <a:lnTo>
                            <a:pt x="32385" y="179"/>
                          </a:lnTo>
                          <a:cubicBezTo>
                            <a:pt x="22860" y="814"/>
                            <a:pt x="12637" y="-1551"/>
                            <a:pt x="3810" y="2084"/>
                          </a:cubicBezTo>
                          <a:cubicBezTo>
                            <a:pt x="96" y="3613"/>
                            <a:pt x="0" y="13514"/>
                            <a:pt x="0" y="13514"/>
                          </a:cubicBezTo>
                          <a:cubicBezTo>
                            <a:pt x="1410" y="20563"/>
                            <a:pt x="2165" y="29014"/>
                            <a:pt x="7620" y="34469"/>
                          </a:cubicBezTo>
                          <a:cubicBezTo>
                            <a:pt x="9239" y="36088"/>
                            <a:pt x="11576" y="36813"/>
                            <a:pt x="13335" y="38279"/>
                          </a:cubicBezTo>
                          <a:cubicBezTo>
                            <a:pt x="15405" y="40004"/>
                            <a:pt x="17145" y="42089"/>
                            <a:pt x="19050" y="43994"/>
                          </a:cubicBezTo>
                          <a:cubicBezTo>
                            <a:pt x="36453" y="53990"/>
                            <a:pt x="29632" y="54059"/>
                            <a:pt x="48058" y="52454"/>
                          </a:cubicBezTo>
                          <a:cubicBezTo>
                            <a:pt x="50339" y="52255"/>
                            <a:pt x="67382" y="44769"/>
                            <a:pt x="72390" y="42089"/>
                          </a:cubicBezTo>
                          <a:cubicBezTo>
                            <a:pt x="77398" y="39409"/>
                            <a:pt x="76200" y="38279"/>
                            <a:pt x="78105" y="36374"/>
                          </a:cubicBezTo>
                          <a:cubicBezTo>
                            <a:pt x="78740" y="34469"/>
                            <a:pt x="80010" y="32667"/>
                            <a:pt x="80010" y="30659"/>
                          </a:cubicBezTo>
                          <a:cubicBezTo>
                            <a:pt x="80010" y="26796"/>
                            <a:pt x="79832" y="22684"/>
                            <a:pt x="78105" y="19229"/>
                          </a:cubicBezTo>
                          <a:cubicBezTo>
                            <a:pt x="75670" y="14359"/>
                            <a:pt x="63693" y="13970"/>
                            <a:pt x="60960" y="13514"/>
                          </a:cubicBezTo>
                          <a:cubicBezTo>
                            <a:pt x="58420" y="14149"/>
                            <a:pt x="56825" y="16231"/>
                            <a:pt x="53340" y="15419"/>
                          </a:cubicBezTo>
                          <a:cubicBezTo>
                            <a:pt x="49855" y="14607"/>
                            <a:pt x="39095" y="11497"/>
                            <a:pt x="40048" y="8639"/>
                          </a:cubicBezTo>
                          <a:lnTo>
                            <a:pt x="32385" y="17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26" name="Freeform: Shape 433">
                      <a:extLst>
                        <a:ext uri="{FF2B5EF4-FFF2-40B4-BE49-F238E27FC236}">
                          <a16:creationId xmlns:a16="http://schemas.microsoft.com/office/drawing/2014/main" id="{5E70637C-AB4F-D17C-769E-845C4D340FAC}"/>
                        </a:ext>
                      </a:extLst>
                    </p:cNvPr>
                    <p:cNvSpPr/>
                    <p:nvPr/>
                  </p:nvSpPr>
                  <p:spPr>
                    <a:xfrm rot="1648623">
                      <a:off x="8778238" y="4278378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27" name="Freeform: Shape 434">
                      <a:extLst>
                        <a:ext uri="{FF2B5EF4-FFF2-40B4-BE49-F238E27FC236}">
                          <a16:creationId xmlns:a16="http://schemas.microsoft.com/office/drawing/2014/main" id="{2AE36E50-8A9D-92E3-BF8B-4C1068F2D5C5}"/>
                        </a:ext>
                      </a:extLst>
                    </p:cNvPr>
                    <p:cNvSpPr/>
                    <p:nvPr/>
                  </p:nvSpPr>
                  <p:spPr>
                    <a:xfrm rot="17414284">
                      <a:off x="8943702" y="414065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28" name="Freeform: Shape 435">
                      <a:extLst>
                        <a:ext uri="{FF2B5EF4-FFF2-40B4-BE49-F238E27FC236}">
                          <a16:creationId xmlns:a16="http://schemas.microsoft.com/office/drawing/2014/main" id="{7AA2213A-D5D3-40F2-1852-CEC4A38E450D}"/>
                        </a:ext>
                      </a:extLst>
                    </p:cNvPr>
                    <p:cNvSpPr/>
                    <p:nvPr/>
                  </p:nvSpPr>
                  <p:spPr>
                    <a:xfrm rot="9043087">
                      <a:off x="8883430" y="4342996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29" name="Freeform: Shape 436">
                      <a:extLst>
                        <a:ext uri="{FF2B5EF4-FFF2-40B4-BE49-F238E27FC236}">
                          <a16:creationId xmlns:a16="http://schemas.microsoft.com/office/drawing/2014/main" id="{1297A788-2229-62D4-C10B-F9CB0C27F1F1}"/>
                        </a:ext>
                      </a:extLst>
                    </p:cNvPr>
                    <p:cNvSpPr/>
                    <p:nvPr/>
                  </p:nvSpPr>
                  <p:spPr>
                    <a:xfrm rot="5209521">
                      <a:off x="8961351" y="4317762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30" name="Freeform: Shape 437">
                      <a:extLst>
                        <a:ext uri="{FF2B5EF4-FFF2-40B4-BE49-F238E27FC236}">
                          <a16:creationId xmlns:a16="http://schemas.microsoft.com/office/drawing/2014/main" id="{C7BECDA6-7B0F-11B0-7318-44D4B6AAE48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18409" y="4329533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31" name="Freeform: Shape 438">
                      <a:extLst>
                        <a:ext uri="{FF2B5EF4-FFF2-40B4-BE49-F238E27FC236}">
                          <a16:creationId xmlns:a16="http://schemas.microsoft.com/office/drawing/2014/main" id="{91CDB261-A4AA-8701-68BA-82EEBA487D32}"/>
                        </a:ext>
                      </a:extLst>
                    </p:cNvPr>
                    <p:cNvSpPr/>
                    <p:nvPr/>
                  </p:nvSpPr>
                  <p:spPr>
                    <a:xfrm rot="18952815">
                      <a:off x="8990335" y="4236377"/>
                      <a:ext cx="27432" cy="36576"/>
                    </a:xfrm>
                    <a:custGeom>
                      <a:avLst/>
                      <a:gdLst>
                        <a:gd name="connsiteX0" fmla="*/ 57150 w 104775"/>
                        <a:gd name="connsiteY0" fmla="*/ 76200 h 127635"/>
                        <a:gd name="connsiteX1" fmla="*/ 57150 w 104775"/>
                        <a:gd name="connsiteY1" fmla="*/ 76200 h 127635"/>
                        <a:gd name="connsiteX2" fmla="*/ 24765 w 104775"/>
                        <a:gd name="connsiteY2" fmla="*/ 80010 h 127635"/>
                        <a:gd name="connsiteX3" fmla="*/ 19050 w 104775"/>
                        <a:gd name="connsiteY3" fmla="*/ 83820 h 127635"/>
                        <a:gd name="connsiteX4" fmla="*/ 19050 w 104775"/>
                        <a:gd name="connsiteY4" fmla="*/ 106680 h 127635"/>
                        <a:gd name="connsiteX5" fmla="*/ 24765 w 104775"/>
                        <a:gd name="connsiteY5" fmla="*/ 110490 h 127635"/>
                        <a:gd name="connsiteX6" fmla="*/ 28575 w 104775"/>
                        <a:gd name="connsiteY6" fmla="*/ 116205 h 127635"/>
                        <a:gd name="connsiteX7" fmla="*/ 32385 w 104775"/>
                        <a:gd name="connsiteY7" fmla="*/ 127635 h 127635"/>
                        <a:gd name="connsiteX8" fmla="*/ 81915 w 104775"/>
                        <a:gd name="connsiteY8" fmla="*/ 125730 h 127635"/>
                        <a:gd name="connsiteX9" fmla="*/ 87630 w 104775"/>
                        <a:gd name="connsiteY9" fmla="*/ 123825 h 127635"/>
                        <a:gd name="connsiteX10" fmla="*/ 89535 w 104775"/>
                        <a:gd name="connsiteY10" fmla="*/ 118110 h 127635"/>
                        <a:gd name="connsiteX11" fmla="*/ 93345 w 104775"/>
                        <a:gd name="connsiteY11" fmla="*/ 112395 h 127635"/>
                        <a:gd name="connsiteX12" fmla="*/ 95250 w 104775"/>
                        <a:gd name="connsiteY12" fmla="*/ 99060 h 127635"/>
                        <a:gd name="connsiteX13" fmla="*/ 100965 w 104775"/>
                        <a:gd name="connsiteY13" fmla="*/ 95250 h 127635"/>
                        <a:gd name="connsiteX14" fmla="*/ 104775 w 104775"/>
                        <a:gd name="connsiteY14" fmla="*/ 83820 h 127635"/>
                        <a:gd name="connsiteX15" fmla="*/ 100965 w 104775"/>
                        <a:gd name="connsiteY15" fmla="*/ 57150 h 127635"/>
                        <a:gd name="connsiteX16" fmla="*/ 99060 w 104775"/>
                        <a:gd name="connsiteY16" fmla="*/ 49530 h 127635"/>
                        <a:gd name="connsiteX17" fmla="*/ 95250 w 104775"/>
                        <a:gd name="connsiteY17" fmla="*/ 43815 h 127635"/>
                        <a:gd name="connsiteX18" fmla="*/ 91440 w 104775"/>
                        <a:gd name="connsiteY18" fmla="*/ 32385 h 127635"/>
                        <a:gd name="connsiteX19" fmla="*/ 81915 w 104775"/>
                        <a:gd name="connsiteY19" fmla="*/ 15240 h 127635"/>
                        <a:gd name="connsiteX20" fmla="*/ 70485 w 104775"/>
                        <a:gd name="connsiteY20" fmla="*/ 3810 h 127635"/>
                        <a:gd name="connsiteX21" fmla="*/ 59055 w 104775"/>
                        <a:gd name="connsiteY21" fmla="*/ 0 h 127635"/>
                        <a:gd name="connsiteX22" fmla="*/ 45720 w 104775"/>
                        <a:gd name="connsiteY22" fmla="*/ 1905 h 127635"/>
                        <a:gd name="connsiteX23" fmla="*/ 43815 w 104775"/>
                        <a:gd name="connsiteY23" fmla="*/ 19050 h 127635"/>
                        <a:gd name="connsiteX24" fmla="*/ 41910 w 104775"/>
                        <a:gd name="connsiteY24" fmla="*/ 30480 h 127635"/>
                        <a:gd name="connsiteX25" fmla="*/ 40005 w 104775"/>
                        <a:gd name="connsiteY25" fmla="*/ 43815 h 127635"/>
                        <a:gd name="connsiteX26" fmla="*/ 28575 w 104775"/>
                        <a:gd name="connsiteY26" fmla="*/ 49530 h 127635"/>
                        <a:gd name="connsiteX27" fmla="*/ 3810 w 104775"/>
                        <a:gd name="connsiteY27" fmla="*/ 51435 h 127635"/>
                        <a:gd name="connsiteX28" fmla="*/ 1905 w 104775"/>
                        <a:gd name="connsiteY28" fmla="*/ 59055 h 127635"/>
                        <a:gd name="connsiteX29" fmla="*/ 0 w 104775"/>
                        <a:gd name="connsiteY29" fmla="*/ 64770 h 127635"/>
                        <a:gd name="connsiteX30" fmla="*/ 5715 w 104775"/>
                        <a:gd name="connsiteY30" fmla="*/ 78105 h 127635"/>
                        <a:gd name="connsiteX31" fmla="*/ 5715 w 104775"/>
                        <a:gd name="connsiteY31" fmla="*/ 81915 h 127635"/>
                        <a:gd name="connsiteX32" fmla="*/ 5715 w 104775"/>
                        <a:gd name="connsiteY32" fmla="*/ 87630 h 127635"/>
                        <a:gd name="connsiteX0" fmla="*/ 57150 w 104775"/>
                        <a:gd name="connsiteY0" fmla="*/ 76200 h 127635"/>
                        <a:gd name="connsiteX1" fmla="*/ 24765 w 104775"/>
                        <a:gd name="connsiteY1" fmla="*/ 80010 h 127635"/>
                        <a:gd name="connsiteX2" fmla="*/ 19050 w 104775"/>
                        <a:gd name="connsiteY2" fmla="*/ 83820 h 127635"/>
                        <a:gd name="connsiteX3" fmla="*/ 19050 w 104775"/>
                        <a:gd name="connsiteY3" fmla="*/ 106680 h 127635"/>
                        <a:gd name="connsiteX4" fmla="*/ 24765 w 104775"/>
                        <a:gd name="connsiteY4" fmla="*/ 110490 h 127635"/>
                        <a:gd name="connsiteX5" fmla="*/ 28575 w 104775"/>
                        <a:gd name="connsiteY5" fmla="*/ 116205 h 127635"/>
                        <a:gd name="connsiteX6" fmla="*/ 32385 w 104775"/>
                        <a:gd name="connsiteY6" fmla="*/ 127635 h 127635"/>
                        <a:gd name="connsiteX7" fmla="*/ 81915 w 104775"/>
                        <a:gd name="connsiteY7" fmla="*/ 125730 h 127635"/>
                        <a:gd name="connsiteX8" fmla="*/ 87630 w 104775"/>
                        <a:gd name="connsiteY8" fmla="*/ 123825 h 127635"/>
                        <a:gd name="connsiteX9" fmla="*/ 89535 w 104775"/>
                        <a:gd name="connsiteY9" fmla="*/ 118110 h 127635"/>
                        <a:gd name="connsiteX10" fmla="*/ 93345 w 104775"/>
                        <a:gd name="connsiteY10" fmla="*/ 112395 h 127635"/>
                        <a:gd name="connsiteX11" fmla="*/ 95250 w 104775"/>
                        <a:gd name="connsiteY11" fmla="*/ 99060 h 127635"/>
                        <a:gd name="connsiteX12" fmla="*/ 100965 w 104775"/>
                        <a:gd name="connsiteY12" fmla="*/ 95250 h 127635"/>
                        <a:gd name="connsiteX13" fmla="*/ 104775 w 104775"/>
                        <a:gd name="connsiteY13" fmla="*/ 83820 h 127635"/>
                        <a:gd name="connsiteX14" fmla="*/ 100965 w 104775"/>
                        <a:gd name="connsiteY14" fmla="*/ 57150 h 127635"/>
                        <a:gd name="connsiteX15" fmla="*/ 99060 w 104775"/>
                        <a:gd name="connsiteY15" fmla="*/ 49530 h 127635"/>
                        <a:gd name="connsiteX16" fmla="*/ 95250 w 104775"/>
                        <a:gd name="connsiteY16" fmla="*/ 43815 h 127635"/>
                        <a:gd name="connsiteX17" fmla="*/ 91440 w 104775"/>
                        <a:gd name="connsiteY17" fmla="*/ 32385 h 127635"/>
                        <a:gd name="connsiteX18" fmla="*/ 81915 w 104775"/>
                        <a:gd name="connsiteY18" fmla="*/ 15240 h 127635"/>
                        <a:gd name="connsiteX19" fmla="*/ 70485 w 104775"/>
                        <a:gd name="connsiteY19" fmla="*/ 3810 h 127635"/>
                        <a:gd name="connsiteX20" fmla="*/ 59055 w 104775"/>
                        <a:gd name="connsiteY20" fmla="*/ 0 h 127635"/>
                        <a:gd name="connsiteX21" fmla="*/ 45720 w 104775"/>
                        <a:gd name="connsiteY21" fmla="*/ 1905 h 127635"/>
                        <a:gd name="connsiteX22" fmla="*/ 43815 w 104775"/>
                        <a:gd name="connsiteY22" fmla="*/ 19050 h 127635"/>
                        <a:gd name="connsiteX23" fmla="*/ 41910 w 104775"/>
                        <a:gd name="connsiteY23" fmla="*/ 30480 h 127635"/>
                        <a:gd name="connsiteX24" fmla="*/ 40005 w 104775"/>
                        <a:gd name="connsiteY24" fmla="*/ 43815 h 127635"/>
                        <a:gd name="connsiteX25" fmla="*/ 28575 w 104775"/>
                        <a:gd name="connsiteY25" fmla="*/ 49530 h 127635"/>
                        <a:gd name="connsiteX26" fmla="*/ 3810 w 104775"/>
                        <a:gd name="connsiteY26" fmla="*/ 51435 h 127635"/>
                        <a:gd name="connsiteX27" fmla="*/ 1905 w 104775"/>
                        <a:gd name="connsiteY27" fmla="*/ 59055 h 127635"/>
                        <a:gd name="connsiteX28" fmla="*/ 0 w 104775"/>
                        <a:gd name="connsiteY28" fmla="*/ 64770 h 127635"/>
                        <a:gd name="connsiteX29" fmla="*/ 5715 w 104775"/>
                        <a:gd name="connsiteY29" fmla="*/ 78105 h 127635"/>
                        <a:gd name="connsiteX30" fmla="*/ 5715 w 104775"/>
                        <a:gd name="connsiteY30" fmla="*/ 81915 h 127635"/>
                        <a:gd name="connsiteX31" fmla="*/ 5715 w 104775"/>
                        <a:gd name="connsiteY31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83820 h 127635"/>
                        <a:gd name="connsiteX2" fmla="*/ 19050 w 104775"/>
                        <a:gd name="connsiteY2" fmla="*/ 106680 h 127635"/>
                        <a:gd name="connsiteX3" fmla="*/ 24765 w 104775"/>
                        <a:gd name="connsiteY3" fmla="*/ 110490 h 127635"/>
                        <a:gd name="connsiteX4" fmla="*/ 28575 w 104775"/>
                        <a:gd name="connsiteY4" fmla="*/ 116205 h 127635"/>
                        <a:gd name="connsiteX5" fmla="*/ 32385 w 104775"/>
                        <a:gd name="connsiteY5" fmla="*/ 127635 h 127635"/>
                        <a:gd name="connsiteX6" fmla="*/ 81915 w 104775"/>
                        <a:gd name="connsiteY6" fmla="*/ 125730 h 127635"/>
                        <a:gd name="connsiteX7" fmla="*/ 87630 w 104775"/>
                        <a:gd name="connsiteY7" fmla="*/ 123825 h 127635"/>
                        <a:gd name="connsiteX8" fmla="*/ 89535 w 104775"/>
                        <a:gd name="connsiteY8" fmla="*/ 118110 h 127635"/>
                        <a:gd name="connsiteX9" fmla="*/ 93345 w 104775"/>
                        <a:gd name="connsiteY9" fmla="*/ 112395 h 127635"/>
                        <a:gd name="connsiteX10" fmla="*/ 95250 w 104775"/>
                        <a:gd name="connsiteY10" fmla="*/ 99060 h 127635"/>
                        <a:gd name="connsiteX11" fmla="*/ 100965 w 104775"/>
                        <a:gd name="connsiteY11" fmla="*/ 95250 h 127635"/>
                        <a:gd name="connsiteX12" fmla="*/ 104775 w 104775"/>
                        <a:gd name="connsiteY12" fmla="*/ 83820 h 127635"/>
                        <a:gd name="connsiteX13" fmla="*/ 100965 w 104775"/>
                        <a:gd name="connsiteY13" fmla="*/ 57150 h 127635"/>
                        <a:gd name="connsiteX14" fmla="*/ 99060 w 104775"/>
                        <a:gd name="connsiteY14" fmla="*/ 49530 h 127635"/>
                        <a:gd name="connsiteX15" fmla="*/ 95250 w 104775"/>
                        <a:gd name="connsiteY15" fmla="*/ 43815 h 127635"/>
                        <a:gd name="connsiteX16" fmla="*/ 91440 w 104775"/>
                        <a:gd name="connsiteY16" fmla="*/ 32385 h 127635"/>
                        <a:gd name="connsiteX17" fmla="*/ 81915 w 104775"/>
                        <a:gd name="connsiteY17" fmla="*/ 15240 h 127635"/>
                        <a:gd name="connsiteX18" fmla="*/ 70485 w 104775"/>
                        <a:gd name="connsiteY18" fmla="*/ 3810 h 127635"/>
                        <a:gd name="connsiteX19" fmla="*/ 59055 w 104775"/>
                        <a:gd name="connsiteY19" fmla="*/ 0 h 127635"/>
                        <a:gd name="connsiteX20" fmla="*/ 45720 w 104775"/>
                        <a:gd name="connsiteY20" fmla="*/ 1905 h 127635"/>
                        <a:gd name="connsiteX21" fmla="*/ 43815 w 104775"/>
                        <a:gd name="connsiteY21" fmla="*/ 19050 h 127635"/>
                        <a:gd name="connsiteX22" fmla="*/ 41910 w 104775"/>
                        <a:gd name="connsiteY22" fmla="*/ 30480 h 127635"/>
                        <a:gd name="connsiteX23" fmla="*/ 40005 w 104775"/>
                        <a:gd name="connsiteY23" fmla="*/ 43815 h 127635"/>
                        <a:gd name="connsiteX24" fmla="*/ 28575 w 104775"/>
                        <a:gd name="connsiteY24" fmla="*/ 49530 h 127635"/>
                        <a:gd name="connsiteX25" fmla="*/ 3810 w 104775"/>
                        <a:gd name="connsiteY25" fmla="*/ 51435 h 127635"/>
                        <a:gd name="connsiteX26" fmla="*/ 1905 w 104775"/>
                        <a:gd name="connsiteY26" fmla="*/ 59055 h 127635"/>
                        <a:gd name="connsiteX27" fmla="*/ 0 w 104775"/>
                        <a:gd name="connsiteY27" fmla="*/ 64770 h 127635"/>
                        <a:gd name="connsiteX28" fmla="*/ 5715 w 104775"/>
                        <a:gd name="connsiteY28" fmla="*/ 78105 h 127635"/>
                        <a:gd name="connsiteX29" fmla="*/ 5715 w 104775"/>
                        <a:gd name="connsiteY29" fmla="*/ 81915 h 127635"/>
                        <a:gd name="connsiteX30" fmla="*/ 5715 w 104775"/>
                        <a:gd name="connsiteY30" fmla="*/ 87630 h 127635"/>
                        <a:gd name="connsiteX0" fmla="*/ 24765 w 104775"/>
                        <a:gd name="connsiteY0" fmla="*/ 80010 h 127635"/>
                        <a:gd name="connsiteX1" fmla="*/ 19050 w 104775"/>
                        <a:gd name="connsiteY1" fmla="*/ 106680 h 127635"/>
                        <a:gd name="connsiteX2" fmla="*/ 24765 w 104775"/>
                        <a:gd name="connsiteY2" fmla="*/ 110490 h 127635"/>
                        <a:gd name="connsiteX3" fmla="*/ 28575 w 104775"/>
                        <a:gd name="connsiteY3" fmla="*/ 116205 h 127635"/>
                        <a:gd name="connsiteX4" fmla="*/ 32385 w 104775"/>
                        <a:gd name="connsiteY4" fmla="*/ 127635 h 127635"/>
                        <a:gd name="connsiteX5" fmla="*/ 81915 w 104775"/>
                        <a:gd name="connsiteY5" fmla="*/ 125730 h 127635"/>
                        <a:gd name="connsiteX6" fmla="*/ 87630 w 104775"/>
                        <a:gd name="connsiteY6" fmla="*/ 123825 h 127635"/>
                        <a:gd name="connsiteX7" fmla="*/ 89535 w 104775"/>
                        <a:gd name="connsiteY7" fmla="*/ 118110 h 127635"/>
                        <a:gd name="connsiteX8" fmla="*/ 93345 w 104775"/>
                        <a:gd name="connsiteY8" fmla="*/ 112395 h 127635"/>
                        <a:gd name="connsiteX9" fmla="*/ 95250 w 104775"/>
                        <a:gd name="connsiteY9" fmla="*/ 99060 h 127635"/>
                        <a:gd name="connsiteX10" fmla="*/ 100965 w 104775"/>
                        <a:gd name="connsiteY10" fmla="*/ 95250 h 127635"/>
                        <a:gd name="connsiteX11" fmla="*/ 104775 w 104775"/>
                        <a:gd name="connsiteY11" fmla="*/ 83820 h 127635"/>
                        <a:gd name="connsiteX12" fmla="*/ 100965 w 104775"/>
                        <a:gd name="connsiteY12" fmla="*/ 57150 h 127635"/>
                        <a:gd name="connsiteX13" fmla="*/ 99060 w 104775"/>
                        <a:gd name="connsiteY13" fmla="*/ 49530 h 127635"/>
                        <a:gd name="connsiteX14" fmla="*/ 95250 w 104775"/>
                        <a:gd name="connsiteY14" fmla="*/ 43815 h 127635"/>
                        <a:gd name="connsiteX15" fmla="*/ 91440 w 104775"/>
                        <a:gd name="connsiteY15" fmla="*/ 32385 h 127635"/>
                        <a:gd name="connsiteX16" fmla="*/ 81915 w 104775"/>
                        <a:gd name="connsiteY16" fmla="*/ 15240 h 127635"/>
                        <a:gd name="connsiteX17" fmla="*/ 70485 w 104775"/>
                        <a:gd name="connsiteY17" fmla="*/ 3810 h 127635"/>
                        <a:gd name="connsiteX18" fmla="*/ 59055 w 104775"/>
                        <a:gd name="connsiteY18" fmla="*/ 0 h 127635"/>
                        <a:gd name="connsiteX19" fmla="*/ 45720 w 104775"/>
                        <a:gd name="connsiteY19" fmla="*/ 1905 h 127635"/>
                        <a:gd name="connsiteX20" fmla="*/ 43815 w 104775"/>
                        <a:gd name="connsiteY20" fmla="*/ 19050 h 127635"/>
                        <a:gd name="connsiteX21" fmla="*/ 41910 w 104775"/>
                        <a:gd name="connsiteY21" fmla="*/ 30480 h 127635"/>
                        <a:gd name="connsiteX22" fmla="*/ 40005 w 104775"/>
                        <a:gd name="connsiteY22" fmla="*/ 43815 h 127635"/>
                        <a:gd name="connsiteX23" fmla="*/ 28575 w 104775"/>
                        <a:gd name="connsiteY23" fmla="*/ 49530 h 127635"/>
                        <a:gd name="connsiteX24" fmla="*/ 3810 w 104775"/>
                        <a:gd name="connsiteY24" fmla="*/ 51435 h 127635"/>
                        <a:gd name="connsiteX25" fmla="*/ 1905 w 104775"/>
                        <a:gd name="connsiteY25" fmla="*/ 59055 h 127635"/>
                        <a:gd name="connsiteX26" fmla="*/ 0 w 104775"/>
                        <a:gd name="connsiteY26" fmla="*/ 64770 h 127635"/>
                        <a:gd name="connsiteX27" fmla="*/ 5715 w 104775"/>
                        <a:gd name="connsiteY27" fmla="*/ 78105 h 127635"/>
                        <a:gd name="connsiteX28" fmla="*/ 5715 w 104775"/>
                        <a:gd name="connsiteY28" fmla="*/ 81915 h 127635"/>
                        <a:gd name="connsiteX29" fmla="*/ 5715 w 104775"/>
                        <a:gd name="connsiteY29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5715 w 104775"/>
                        <a:gd name="connsiteY28" fmla="*/ 8763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6680 h 127635"/>
                        <a:gd name="connsiteX1" fmla="*/ 24765 w 104775"/>
                        <a:gd name="connsiteY1" fmla="*/ 110490 h 127635"/>
                        <a:gd name="connsiteX2" fmla="*/ 28575 w 104775"/>
                        <a:gd name="connsiteY2" fmla="*/ 116205 h 127635"/>
                        <a:gd name="connsiteX3" fmla="*/ 32385 w 104775"/>
                        <a:gd name="connsiteY3" fmla="*/ 127635 h 127635"/>
                        <a:gd name="connsiteX4" fmla="*/ 81915 w 104775"/>
                        <a:gd name="connsiteY4" fmla="*/ 125730 h 127635"/>
                        <a:gd name="connsiteX5" fmla="*/ 87630 w 104775"/>
                        <a:gd name="connsiteY5" fmla="*/ 123825 h 127635"/>
                        <a:gd name="connsiteX6" fmla="*/ 89535 w 104775"/>
                        <a:gd name="connsiteY6" fmla="*/ 118110 h 127635"/>
                        <a:gd name="connsiteX7" fmla="*/ 93345 w 104775"/>
                        <a:gd name="connsiteY7" fmla="*/ 112395 h 127635"/>
                        <a:gd name="connsiteX8" fmla="*/ 95250 w 104775"/>
                        <a:gd name="connsiteY8" fmla="*/ 99060 h 127635"/>
                        <a:gd name="connsiteX9" fmla="*/ 100965 w 104775"/>
                        <a:gd name="connsiteY9" fmla="*/ 95250 h 127635"/>
                        <a:gd name="connsiteX10" fmla="*/ 104775 w 104775"/>
                        <a:gd name="connsiteY10" fmla="*/ 83820 h 127635"/>
                        <a:gd name="connsiteX11" fmla="*/ 100965 w 104775"/>
                        <a:gd name="connsiteY11" fmla="*/ 57150 h 127635"/>
                        <a:gd name="connsiteX12" fmla="*/ 99060 w 104775"/>
                        <a:gd name="connsiteY12" fmla="*/ 49530 h 127635"/>
                        <a:gd name="connsiteX13" fmla="*/ 95250 w 104775"/>
                        <a:gd name="connsiteY13" fmla="*/ 43815 h 127635"/>
                        <a:gd name="connsiteX14" fmla="*/ 91440 w 104775"/>
                        <a:gd name="connsiteY14" fmla="*/ 32385 h 127635"/>
                        <a:gd name="connsiteX15" fmla="*/ 81915 w 104775"/>
                        <a:gd name="connsiteY15" fmla="*/ 15240 h 127635"/>
                        <a:gd name="connsiteX16" fmla="*/ 70485 w 104775"/>
                        <a:gd name="connsiteY16" fmla="*/ 3810 h 127635"/>
                        <a:gd name="connsiteX17" fmla="*/ 59055 w 104775"/>
                        <a:gd name="connsiteY17" fmla="*/ 0 h 127635"/>
                        <a:gd name="connsiteX18" fmla="*/ 45720 w 104775"/>
                        <a:gd name="connsiteY18" fmla="*/ 1905 h 127635"/>
                        <a:gd name="connsiteX19" fmla="*/ 43815 w 104775"/>
                        <a:gd name="connsiteY19" fmla="*/ 19050 h 127635"/>
                        <a:gd name="connsiteX20" fmla="*/ 41910 w 104775"/>
                        <a:gd name="connsiteY20" fmla="*/ 30480 h 127635"/>
                        <a:gd name="connsiteX21" fmla="*/ 40005 w 104775"/>
                        <a:gd name="connsiteY21" fmla="*/ 43815 h 127635"/>
                        <a:gd name="connsiteX22" fmla="*/ 28575 w 104775"/>
                        <a:gd name="connsiteY22" fmla="*/ 49530 h 127635"/>
                        <a:gd name="connsiteX23" fmla="*/ 3810 w 104775"/>
                        <a:gd name="connsiteY23" fmla="*/ 51435 h 127635"/>
                        <a:gd name="connsiteX24" fmla="*/ 1905 w 104775"/>
                        <a:gd name="connsiteY24" fmla="*/ 59055 h 127635"/>
                        <a:gd name="connsiteX25" fmla="*/ 0 w 104775"/>
                        <a:gd name="connsiteY25" fmla="*/ 64770 h 127635"/>
                        <a:gd name="connsiteX26" fmla="*/ 5715 w 104775"/>
                        <a:gd name="connsiteY26" fmla="*/ 78105 h 127635"/>
                        <a:gd name="connsiteX27" fmla="*/ 5715 w 104775"/>
                        <a:gd name="connsiteY27" fmla="*/ 81915 h 127635"/>
                        <a:gd name="connsiteX28" fmla="*/ 17145 w 104775"/>
                        <a:gd name="connsiteY28" fmla="*/ 110490 h 127635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81915 w 104775"/>
                        <a:gd name="connsiteY15" fmla="*/ 16019 h 128414"/>
                        <a:gd name="connsiteX16" fmla="*/ 70485 w 104775"/>
                        <a:gd name="connsiteY16" fmla="*/ 4589 h 128414"/>
                        <a:gd name="connsiteX17" fmla="*/ 59055 w 104775"/>
                        <a:gd name="connsiteY17" fmla="*/ 779 h 128414"/>
                        <a:gd name="connsiteX18" fmla="*/ 45720 w 104775"/>
                        <a:gd name="connsiteY18" fmla="*/ 2684 h 128414"/>
                        <a:gd name="connsiteX19" fmla="*/ 41910 w 104775"/>
                        <a:gd name="connsiteY19" fmla="*/ 31259 h 128414"/>
                        <a:gd name="connsiteX20" fmla="*/ 40005 w 104775"/>
                        <a:gd name="connsiteY20" fmla="*/ 44594 h 128414"/>
                        <a:gd name="connsiteX21" fmla="*/ 28575 w 104775"/>
                        <a:gd name="connsiteY21" fmla="*/ 50309 h 128414"/>
                        <a:gd name="connsiteX22" fmla="*/ 3810 w 104775"/>
                        <a:gd name="connsiteY22" fmla="*/ 52214 h 128414"/>
                        <a:gd name="connsiteX23" fmla="*/ 1905 w 104775"/>
                        <a:gd name="connsiteY23" fmla="*/ 59834 h 128414"/>
                        <a:gd name="connsiteX24" fmla="*/ 0 w 104775"/>
                        <a:gd name="connsiteY24" fmla="*/ 65549 h 128414"/>
                        <a:gd name="connsiteX25" fmla="*/ 5715 w 104775"/>
                        <a:gd name="connsiteY25" fmla="*/ 78884 h 128414"/>
                        <a:gd name="connsiteX26" fmla="*/ 5715 w 104775"/>
                        <a:gd name="connsiteY26" fmla="*/ 82694 h 128414"/>
                        <a:gd name="connsiteX27" fmla="*/ 17145 w 104775"/>
                        <a:gd name="connsiteY27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28575 w 104775"/>
                        <a:gd name="connsiteY20" fmla="*/ 50309 h 128414"/>
                        <a:gd name="connsiteX21" fmla="*/ 3810 w 104775"/>
                        <a:gd name="connsiteY21" fmla="*/ 52214 h 128414"/>
                        <a:gd name="connsiteX22" fmla="*/ 1905 w 104775"/>
                        <a:gd name="connsiteY22" fmla="*/ 59834 h 128414"/>
                        <a:gd name="connsiteX23" fmla="*/ 0 w 104775"/>
                        <a:gd name="connsiteY23" fmla="*/ 65549 h 128414"/>
                        <a:gd name="connsiteX24" fmla="*/ 5715 w 104775"/>
                        <a:gd name="connsiteY24" fmla="*/ 78884 h 128414"/>
                        <a:gd name="connsiteX25" fmla="*/ 5715 w 104775"/>
                        <a:gd name="connsiteY25" fmla="*/ 82694 h 128414"/>
                        <a:gd name="connsiteX26" fmla="*/ 17145 w 104775"/>
                        <a:gd name="connsiteY26" fmla="*/ 111269 h 128414"/>
                        <a:gd name="connsiteX0" fmla="*/ 19050 w 104775"/>
                        <a:gd name="connsiteY0" fmla="*/ 107459 h 128414"/>
                        <a:gd name="connsiteX1" fmla="*/ 24765 w 104775"/>
                        <a:gd name="connsiteY1" fmla="*/ 111269 h 128414"/>
                        <a:gd name="connsiteX2" fmla="*/ 28575 w 104775"/>
                        <a:gd name="connsiteY2" fmla="*/ 116984 h 128414"/>
                        <a:gd name="connsiteX3" fmla="*/ 32385 w 104775"/>
                        <a:gd name="connsiteY3" fmla="*/ 128414 h 128414"/>
                        <a:gd name="connsiteX4" fmla="*/ 81915 w 104775"/>
                        <a:gd name="connsiteY4" fmla="*/ 126509 h 128414"/>
                        <a:gd name="connsiteX5" fmla="*/ 87630 w 104775"/>
                        <a:gd name="connsiteY5" fmla="*/ 124604 h 128414"/>
                        <a:gd name="connsiteX6" fmla="*/ 89535 w 104775"/>
                        <a:gd name="connsiteY6" fmla="*/ 118889 h 128414"/>
                        <a:gd name="connsiteX7" fmla="*/ 93345 w 104775"/>
                        <a:gd name="connsiteY7" fmla="*/ 113174 h 128414"/>
                        <a:gd name="connsiteX8" fmla="*/ 95250 w 104775"/>
                        <a:gd name="connsiteY8" fmla="*/ 99839 h 128414"/>
                        <a:gd name="connsiteX9" fmla="*/ 100965 w 104775"/>
                        <a:gd name="connsiteY9" fmla="*/ 96029 h 128414"/>
                        <a:gd name="connsiteX10" fmla="*/ 104775 w 104775"/>
                        <a:gd name="connsiteY10" fmla="*/ 84599 h 128414"/>
                        <a:gd name="connsiteX11" fmla="*/ 100965 w 104775"/>
                        <a:gd name="connsiteY11" fmla="*/ 57929 h 128414"/>
                        <a:gd name="connsiteX12" fmla="*/ 99060 w 104775"/>
                        <a:gd name="connsiteY12" fmla="*/ 50309 h 128414"/>
                        <a:gd name="connsiteX13" fmla="*/ 95250 w 104775"/>
                        <a:gd name="connsiteY13" fmla="*/ 44594 h 128414"/>
                        <a:gd name="connsiteX14" fmla="*/ 91440 w 104775"/>
                        <a:gd name="connsiteY14" fmla="*/ 33164 h 128414"/>
                        <a:gd name="connsiteX15" fmla="*/ 70485 w 104775"/>
                        <a:gd name="connsiteY15" fmla="*/ 4589 h 128414"/>
                        <a:gd name="connsiteX16" fmla="*/ 59055 w 104775"/>
                        <a:gd name="connsiteY16" fmla="*/ 779 h 128414"/>
                        <a:gd name="connsiteX17" fmla="*/ 45720 w 104775"/>
                        <a:gd name="connsiteY17" fmla="*/ 2684 h 128414"/>
                        <a:gd name="connsiteX18" fmla="*/ 41910 w 104775"/>
                        <a:gd name="connsiteY18" fmla="*/ 31259 h 128414"/>
                        <a:gd name="connsiteX19" fmla="*/ 40005 w 104775"/>
                        <a:gd name="connsiteY19" fmla="*/ 44594 h 128414"/>
                        <a:gd name="connsiteX20" fmla="*/ 3810 w 104775"/>
                        <a:gd name="connsiteY20" fmla="*/ 52214 h 128414"/>
                        <a:gd name="connsiteX21" fmla="*/ 1905 w 104775"/>
                        <a:gd name="connsiteY21" fmla="*/ 59834 h 128414"/>
                        <a:gd name="connsiteX22" fmla="*/ 0 w 104775"/>
                        <a:gd name="connsiteY22" fmla="*/ 65549 h 128414"/>
                        <a:gd name="connsiteX23" fmla="*/ 5715 w 104775"/>
                        <a:gd name="connsiteY23" fmla="*/ 78884 h 128414"/>
                        <a:gd name="connsiteX24" fmla="*/ 5715 w 104775"/>
                        <a:gd name="connsiteY24" fmla="*/ 82694 h 128414"/>
                        <a:gd name="connsiteX25" fmla="*/ 17145 w 104775"/>
                        <a:gd name="connsiteY25" fmla="*/ 111269 h 128414"/>
                        <a:gd name="connsiteX0" fmla="*/ 19050 w 104775"/>
                        <a:gd name="connsiteY0" fmla="*/ 107492 h 128447"/>
                        <a:gd name="connsiteX1" fmla="*/ 24765 w 104775"/>
                        <a:gd name="connsiteY1" fmla="*/ 111302 h 128447"/>
                        <a:gd name="connsiteX2" fmla="*/ 28575 w 104775"/>
                        <a:gd name="connsiteY2" fmla="*/ 117017 h 128447"/>
                        <a:gd name="connsiteX3" fmla="*/ 32385 w 104775"/>
                        <a:gd name="connsiteY3" fmla="*/ 128447 h 128447"/>
                        <a:gd name="connsiteX4" fmla="*/ 81915 w 104775"/>
                        <a:gd name="connsiteY4" fmla="*/ 126542 h 128447"/>
                        <a:gd name="connsiteX5" fmla="*/ 87630 w 104775"/>
                        <a:gd name="connsiteY5" fmla="*/ 124637 h 128447"/>
                        <a:gd name="connsiteX6" fmla="*/ 89535 w 104775"/>
                        <a:gd name="connsiteY6" fmla="*/ 118922 h 128447"/>
                        <a:gd name="connsiteX7" fmla="*/ 93345 w 104775"/>
                        <a:gd name="connsiteY7" fmla="*/ 113207 h 128447"/>
                        <a:gd name="connsiteX8" fmla="*/ 95250 w 104775"/>
                        <a:gd name="connsiteY8" fmla="*/ 99872 h 128447"/>
                        <a:gd name="connsiteX9" fmla="*/ 100965 w 104775"/>
                        <a:gd name="connsiteY9" fmla="*/ 96062 h 128447"/>
                        <a:gd name="connsiteX10" fmla="*/ 104775 w 104775"/>
                        <a:gd name="connsiteY10" fmla="*/ 84632 h 128447"/>
                        <a:gd name="connsiteX11" fmla="*/ 100965 w 104775"/>
                        <a:gd name="connsiteY11" fmla="*/ 57962 h 128447"/>
                        <a:gd name="connsiteX12" fmla="*/ 99060 w 104775"/>
                        <a:gd name="connsiteY12" fmla="*/ 50342 h 128447"/>
                        <a:gd name="connsiteX13" fmla="*/ 95250 w 104775"/>
                        <a:gd name="connsiteY13" fmla="*/ 44627 h 128447"/>
                        <a:gd name="connsiteX14" fmla="*/ 91440 w 104775"/>
                        <a:gd name="connsiteY14" fmla="*/ 33197 h 128447"/>
                        <a:gd name="connsiteX15" fmla="*/ 70485 w 104775"/>
                        <a:gd name="connsiteY15" fmla="*/ 4622 h 128447"/>
                        <a:gd name="connsiteX16" fmla="*/ 45720 w 104775"/>
                        <a:gd name="connsiteY16" fmla="*/ 2717 h 128447"/>
                        <a:gd name="connsiteX17" fmla="*/ 41910 w 104775"/>
                        <a:gd name="connsiteY17" fmla="*/ 31292 h 128447"/>
                        <a:gd name="connsiteX18" fmla="*/ 40005 w 104775"/>
                        <a:gd name="connsiteY18" fmla="*/ 44627 h 128447"/>
                        <a:gd name="connsiteX19" fmla="*/ 3810 w 104775"/>
                        <a:gd name="connsiteY19" fmla="*/ 52247 h 128447"/>
                        <a:gd name="connsiteX20" fmla="*/ 1905 w 104775"/>
                        <a:gd name="connsiteY20" fmla="*/ 59867 h 128447"/>
                        <a:gd name="connsiteX21" fmla="*/ 0 w 104775"/>
                        <a:gd name="connsiteY21" fmla="*/ 65582 h 128447"/>
                        <a:gd name="connsiteX22" fmla="*/ 5715 w 104775"/>
                        <a:gd name="connsiteY22" fmla="*/ 78917 h 128447"/>
                        <a:gd name="connsiteX23" fmla="*/ 5715 w 104775"/>
                        <a:gd name="connsiteY23" fmla="*/ 82727 h 128447"/>
                        <a:gd name="connsiteX24" fmla="*/ 17145 w 104775"/>
                        <a:gd name="connsiteY24" fmla="*/ 111302 h 128447"/>
                        <a:gd name="connsiteX0" fmla="*/ 19050 w 104775"/>
                        <a:gd name="connsiteY0" fmla="*/ 102874 h 123829"/>
                        <a:gd name="connsiteX1" fmla="*/ 24765 w 104775"/>
                        <a:gd name="connsiteY1" fmla="*/ 106684 h 123829"/>
                        <a:gd name="connsiteX2" fmla="*/ 28575 w 104775"/>
                        <a:gd name="connsiteY2" fmla="*/ 112399 h 123829"/>
                        <a:gd name="connsiteX3" fmla="*/ 32385 w 104775"/>
                        <a:gd name="connsiteY3" fmla="*/ 123829 h 123829"/>
                        <a:gd name="connsiteX4" fmla="*/ 81915 w 104775"/>
                        <a:gd name="connsiteY4" fmla="*/ 121924 h 123829"/>
                        <a:gd name="connsiteX5" fmla="*/ 87630 w 104775"/>
                        <a:gd name="connsiteY5" fmla="*/ 120019 h 123829"/>
                        <a:gd name="connsiteX6" fmla="*/ 89535 w 104775"/>
                        <a:gd name="connsiteY6" fmla="*/ 114304 h 123829"/>
                        <a:gd name="connsiteX7" fmla="*/ 93345 w 104775"/>
                        <a:gd name="connsiteY7" fmla="*/ 108589 h 123829"/>
                        <a:gd name="connsiteX8" fmla="*/ 95250 w 104775"/>
                        <a:gd name="connsiteY8" fmla="*/ 95254 h 123829"/>
                        <a:gd name="connsiteX9" fmla="*/ 100965 w 104775"/>
                        <a:gd name="connsiteY9" fmla="*/ 91444 h 123829"/>
                        <a:gd name="connsiteX10" fmla="*/ 104775 w 104775"/>
                        <a:gd name="connsiteY10" fmla="*/ 80014 h 123829"/>
                        <a:gd name="connsiteX11" fmla="*/ 100965 w 104775"/>
                        <a:gd name="connsiteY11" fmla="*/ 53344 h 123829"/>
                        <a:gd name="connsiteX12" fmla="*/ 99060 w 104775"/>
                        <a:gd name="connsiteY12" fmla="*/ 45724 h 123829"/>
                        <a:gd name="connsiteX13" fmla="*/ 95250 w 104775"/>
                        <a:gd name="connsiteY13" fmla="*/ 40009 h 123829"/>
                        <a:gd name="connsiteX14" fmla="*/ 91440 w 104775"/>
                        <a:gd name="connsiteY14" fmla="*/ 28579 h 123829"/>
                        <a:gd name="connsiteX15" fmla="*/ 70485 w 104775"/>
                        <a:gd name="connsiteY15" fmla="*/ 4 h 123829"/>
                        <a:gd name="connsiteX16" fmla="*/ 41910 w 104775"/>
                        <a:gd name="connsiteY16" fmla="*/ 26674 h 123829"/>
                        <a:gd name="connsiteX17" fmla="*/ 40005 w 104775"/>
                        <a:gd name="connsiteY17" fmla="*/ 40009 h 123829"/>
                        <a:gd name="connsiteX18" fmla="*/ 3810 w 104775"/>
                        <a:gd name="connsiteY18" fmla="*/ 47629 h 123829"/>
                        <a:gd name="connsiteX19" fmla="*/ 1905 w 104775"/>
                        <a:gd name="connsiteY19" fmla="*/ 55249 h 123829"/>
                        <a:gd name="connsiteX20" fmla="*/ 0 w 104775"/>
                        <a:gd name="connsiteY20" fmla="*/ 60964 h 123829"/>
                        <a:gd name="connsiteX21" fmla="*/ 5715 w 104775"/>
                        <a:gd name="connsiteY21" fmla="*/ 74299 h 123829"/>
                        <a:gd name="connsiteX22" fmla="*/ 5715 w 104775"/>
                        <a:gd name="connsiteY22" fmla="*/ 78109 h 123829"/>
                        <a:gd name="connsiteX23" fmla="*/ 17145 w 104775"/>
                        <a:gd name="connsiteY23" fmla="*/ 106684 h 123829"/>
                        <a:gd name="connsiteX0" fmla="*/ 19050 w 104775"/>
                        <a:gd name="connsiteY0" fmla="*/ 77050 h 98005"/>
                        <a:gd name="connsiteX1" fmla="*/ 24765 w 104775"/>
                        <a:gd name="connsiteY1" fmla="*/ 80860 h 98005"/>
                        <a:gd name="connsiteX2" fmla="*/ 28575 w 104775"/>
                        <a:gd name="connsiteY2" fmla="*/ 86575 h 98005"/>
                        <a:gd name="connsiteX3" fmla="*/ 32385 w 104775"/>
                        <a:gd name="connsiteY3" fmla="*/ 98005 h 98005"/>
                        <a:gd name="connsiteX4" fmla="*/ 81915 w 104775"/>
                        <a:gd name="connsiteY4" fmla="*/ 96100 h 98005"/>
                        <a:gd name="connsiteX5" fmla="*/ 87630 w 104775"/>
                        <a:gd name="connsiteY5" fmla="*/ 94195 h 98005"/>
                        <a:gd name="connsiteX6" fmla="*/ 89535 w 104775"/>
                        <a:gd name="connsiteY6" fmla="*/ 88480 h 98005"/>
                        <a:gd name="connsiteX7" fmla="*/ 93345 w 104775"/>
                        <a:gd name="connsiteY7" fmla="*/ 82765 h 98005"/>
                        <a:gd name="connsiteX8" fmla="*/ 95250 w 104775"/>
                        <a:gd name="connsiteY8" fmla="*/ 69430 h 98005"/>
                        <a:gd name="connsiteX9" fmla="*/ 100965 w 104775"/>
                        <a:gd name="connsiteY9" fmla="*/ 65620 h 98005"/>
                        <a:gd name="connsiteX10" fmla="*/ 104775 w 104775"/>
                        <a:gd name="connsiteY10" fmla="*/ 54190 h 98005"/>
                        <a:gd name="connsiteX11" fmla="*/ 100965 w 104775"/>
                        <a:gd name="connsiteY11" fmla="*/ 27520 h 98005"/>
                        <a:gd name="connsiteX12" fmla="*/ 99060 w 104775"/>
                        <a:gd name="connsiteY12" fmla="*/ 19900 h 98005"/>
                        <a:gd name="connsiteX13" fmla="*/ 95250 w 104775"/>
                        <a:gd name="connsiteY13" fmla="*/ 14185 h 98005"/>
                        <a:gd name="connsiteX14" fmla="*/ 91440 w 104775"/>
                        <a:gd name="connsiteY14" fmla="*/ 2755 h 98005"/>
                        <a:gd name="connsiteX15" fmla="*/ 41910 w 104775"/>
                        <a:gd name="connsiteY15" fmla="*/ 850 h 98005"/>
                        <a:gd name="connsiteX16" fmla="*/ 40005 w 104775"/>
                        <a:gd name="connsiteY16" fmla="*/ 14185 h 98005"/>
                        <a:gd name="connsiteX17" fmla="*/ 3810 w 104775"/>
                        <a:gd name="connsiteY17" fmla="*/ 21805 h 98005"/>
                        <a:gd name="connsiteX18" fmla="*/ 1905 w 104775"/>
                        <a:gd name="connsiteY18" fmla="*/ 29425 h 98005"/>
                        <a:gd name="connsiteX19" fmla="*/ 0 w 104775"/>
                        <a:gd name="connsiteY19" fmla="*/ 35140 h 98005"/>
                        <a:gd name="connsiteX20" fmla="*/ 5715 w 104775"/>
                        <a:gd name="connsiteY20" fmla="*/ 48475 h 98005"/>
                        <a:gd name="connsiteX21" fmla="*/ 5715 w 104775"/>
                        <a:gd name="connsiteY21" fmla="*/ 52285 h 98005"/>
                        <a:gd name="connsiteX22" fmla="*/ 17145 w 104775"/>
                        <a:gd name="connsiteY22" fmla="*/ 80860 h 98005"/>
                        <a:gd name="connsiteX0" fmla="*/ 19050 w 104775"/>
                        <a:gd name="connsiteY0" fmla="*/ 76200 h 97155"/>
                        <a:gd name="connsiteX1" fmla="*/ 24765 w 104775"/>
                        <a:gd name="connsiteY1" fmla="*/ 80010 h 97155"/>
                        <a:gd name="connsiteX2" fmla="*/ 28575 w 104775"/>
                        <a:gd name="connsiteY2" fmla="*/ 85725 h 97155"/>
                        <a:gd name="connsiteX3" fmla="*/ 32385 w 104775"/>
                        <a:gd name="connsiteY3" fmla="*/ 97155 h 97155"/>
                        <a:gd name="connsiteX4" fmla="*/ 81915 w 104775"/>
                        <a:gd name="connsiteY4" fmla="*/ 95250 h 97155"/>
                        <a:gd name="connsiteX5" fmla="*/ 87630 w 104775"/>
                        <a:gd name="connsiteY5" fmla="*/ 93345 h 97155"/>
                        <a:gd name="connsiteX6" fmla="*/ 89535 w 104775"/>
                        <a:gd name="connsiteY6" fmla="*/ 87630 h 97155"/>
                        <a:gd name="connsiteX7" fmla="*/ 93345 w 104775"/>
                        <a:gd name="connsiteY7" fmla="*/ 81915 h 97155"/>
                        <a:gd name="connsiteX8" fmla="*/ 95250 w 104775"/>
                        <a:gd name="connsiteY8" fmla="*/ 68580 h 97155"/>
                        <a:gd name="connsiteX9" fmla="*/ 100965 w 104775"/>
                        <a:gd name="connsiteY9" fmla="*/ 64770 h 97155"/>
                        <a:gd name="connsiteX10" fmla="*/ 104775 w 104775"/>
                        <a:gd name="connsiteY10" fmla="*/ 53340 h 97155"/>
                        <a:gd name="connsiteX11" fmla="*/ 100965 w 104775"/>
                        <a:gd name="connsiteY11" fmla="*/ 26670 h 97155"/>
                        <a:gd name="connsiteX12" fmla="*/ 99060 w 104775"/>
                        <a:gd name="connsiteY12" fmla="*/ 19050 h 97155"/>
                        <a:gd name="connsiteX13" fmla="*/ 95250 w 104775"/>
                        <a:gd name="connsiteY13" fmla="*/ 13335 h 97155"/>
                        <a:gd name="connsiteX14" fmla="*/ 41910 w 104775"/>
                        <a:gd name="connsiteY14" fmla="*/ 0 h 97155"/>
                        <a:gd name="connsiteX15" fmla="*/ 40005 w 104775"/>
                        <a:gd name="connsiteY15" fmla="*/ 13335 h 97155"/>
                        <a:gd name="connsiteX16" fmla="*/ 3810 w 104775"/>
                        <a:gd name="connsiteY16" fmla="*/ 20955 h 97155"/>
                        <a:gd name="connsiteX17" fmla="*/ 1905 w 104775"/>
                        <a:gd name="connsiteY17" fmla="*/ 28575 h 97155"/>
                        <a:gd name="connsiteX18" fmla="*/ 0 w 104775"/>
                        <a:gd name="connsiteY18" fmla="*/ 34290 h 97155"/>
                        <a:gd name="connsiteX19" fmla="*/ 5715 w 104775"/>
                        <a:gd name="connsiteY19" fmla="*/ 47625 h 97155"/>
                        <a:gd name="connsiteX20" fmla="*/ 5715 w 104775"/>
                        <a:gd name="connsiteY20" fmla="*/ 51435 h 97155"/>
                        <a:gd name="connsiteX21" fmla="*/ 17145 w 104775"/>
                        <a:gd name="connsiteY21" fmla="*/ 80010 h 97155"/>
                        <a:gd name="connsiteX0" fmla="*/ 19050 w 104775"/>
                        <a:gd name="connsiteY0" fmla="*/ 76298 h 97253"/>
                        <a:gd name="connsiteX1" fmla="*/ 24765 w 104775"/>
                        <a:gd name="connsiteY1" fmla="*/ 80108 h 97253"/>
                        <a:gd name="connsiteX2" fmla="*/ 28575 w 104775"/>
                        <a:gd name="connsiteY2" fmla="*/ 85823 h 97253"/>
                        <a:gd name="connsiteX3" fmla="*/ 32385 w 104775"/>
                        <a:gd name="connsiteY3" fmla="*/ 97253 h 97253"/>
                        <a:gd name="connsiteX4" fmla="*/ 81915 w 104775"/>
                        <a:gd name="connsiteY4" fmla="*/ 95348 h 97253"/>
                        <a:gd name="connsiteX5" fmla="*/ 87630 w 104775"/>
                        <a:gd name="connsiteY5" fmla="*/ 93443 h 97253"/>
                        <a:gd name="connsiteX6" fmla="*/ 89535 w 104775"/>
                        <a:gd name="connsiteY6" fmla="*/ 87728 h 97253"/>
                        <a:gd name="connsiteX7" fmla="*/ 93345 w 104775"/>
                        <a:gd name="connsiteY7" fmla="*/ 82013 h 97253"/>
                        <a:gd name="connsiteX8" fmla="*/ 95250 w 104775"/>
                        <a:gd name="connsiteY8" fmla="*/ 68678 h 97253"/>
                        <a:gd name="connsiteX9" fmla="*/ 100965 w 104775"/>
                        <a:gd name="connsiteY9" fmla="*/ 64868 h 97253"/>
                        <a:gd name="connsiteX10" fmla="*/ 104775 w 104775"/>
                        <a:gd name="connsiteY10" fmla="*/ 53438 h 97253"/>
                        <a:gd name="connsiteX11" fmla="*/ 100965 w 104775"/>
                        <a:gd name="connsiteY11" fmla="*/ 26768 h 97253"/>
                        <a:gd name="connsiteX12" fmla="*/ 99060 w 104775"/>
                        <a:gd name="connsiteY12" fmla="*/ 19148 h 97253"/>
                        <a:gd name="connsiteX13" fmla="*/ 95250 w 104775"/>
                        <a:gd name="connsiteY13" fmla="*/ 13433 h 97253"/>
                        <a:gd name="connsiteX14" fmla="*/ 41910 w 104775"/>
                        <a:gd name="connsiteY14" fmla="*/ 98 h 97253"/>
                        <a:gd name="connsiteX15" fmla="*/ 3810 w 104775"/>
                        <a:gd name="connsiteY15" fmla="*/ 21053 h 97253"/>
                        <a:gd name="connsiteX16" fmla="*/ 1905 w 104775"/>
                        <a:gd name="connsiteY16" fmla="*/ 28673 h 97253"/>
                        <a:gd name="connsiteX17" fmla="*/ 0 w 104775"/>
                        <a:gd name="connsiteY17" fmla="*/ 34388 h 97253"/>
                        <a:gd name="connsiteX18" fmla="*/ 5715 w 104775"/>
                        <a:gd name="connsiteY18" fmla="*/ 47723 h 97253"/>
                        <a:gd name="connsiteX19" fmla="*/ 5715 w 104775"/>
                        <a:gd name="connsiteY19" fmla="*/ 51533 h 97253"/>
                        <a:gd name="connsiteX20" fmla="*/ 17145 w 104775"/>
                        <a:gd name="connsiteY20" fmla="*/ 80108 h 97253"/>
                        <a:gd name="connsiteX0" fmla="*/ 19050 w 104775"/>
                        <a:gd name="connsiteY0" fmla="*/ 76205 h 97160"/>
                        <a:gd name="connsiteX1" fmla="*/ 24765 w 104775"/>
                        <a:gd name="connsiteY1" fmla="*/ 80015 h 97160"/>
                        <a:gd name="connsiteX2" fmla="*/ 28575 w 104775"/>
                        <a:gd name="connsiteY2" fmla="*/ 85730 h 97160"/>
                        <a:gd name="connsiteX3" fmla="*/ 32385 w 104775"/>
                        <a:gd name="connsiteY3" fmla="*/ 97160 h 97160"/>
                        <a:gd name="connsiteX4" fmla="*/ 81915 w 104775"/>
                        <a:gd name="connsiteY4" fmla="*/ 95255 h 97160"/>
                        <a:gd name="connsiteX5" fmla="*/ 87630 w 104775"/>
                        <a:gd name="connsiteY5" fmla="*/ 93350 h 97160"/>
                        <a:gd name="connsiteX6" fmla="*/ 89535 w 104775"/>
                        <a:gd name="connsiteY6" fmla="*/ 87635 h 97160"/>
                        <a:gd name="connsiteX7" fmla="*/ 93345 w 104775"/>
                        <a:gd name="connsiteY7" fmla="*/ 81920 h 97160"/>
                        <a:gd name="connsiteX8" fmla="*/ 95250 w 104775"/>
                        <a:gd name="connsiteY8" fmla="*/ 68585 h 97160"/>
                        <a:gd name="connsiteX9" fmla="*/ 100965 w 104775"/>
                        <a:gd name="connsiteY9" fmla="*/ 64775 h 97160"/>
                        <a:gd name="connsiteX10" fmla="*/ 104775 w 104775"/>
                        <a:gd name="connsiteY10" fmla="*/ 53345 h 97160"/>
                        <a:gd name="connsiteX11" fmla="*/ 100965 w 104775"/>
                        <a:gd name="connsiteY11" fmla="*/ 26675 h 97160"/>
                        <a:gd name="connsiteX12" fmla="*/ 99060 w 104775"/>
                        <a:gd name="connsiteY12" fmla="*/ 19055 h 97160"/>
                        <a:gd name="connsiteX13" fmla="*/ 41910 w 104775"/>
                        <a:gd name="connsiteY13" fmla="*/ 5 h 97160"/>
                        <a:gd name="connsiteX14" fmla="*/ 3810 w 104775"/>
                        <a:gd name="connsiteY14" fmla="*/ 20960 h 97160"/>
                        <a:gd name="connsiteX15" fmla="*/ 1905 w 104775"/>
                        <a:gd name="connsiteY15" fmla="*/ 28580 h 97160"/>
                        <a:gd name="connsiteX16" fmla="*/ 0 w 104775"/>
                        <a:gd name="connsiteY16" fmla="*/ 34295 h 97160"/>
                        <a:gd name="connsiteX17" fmla="*/ 5715 w 104775"/>
                        <a:gd name="connsiteY17" fmla="*/ 47630 h 97160"/>
                        <a:gd name="connsiteX18" fmla="*/ 5715 w 104775"/>
                        <a:gd name="connsiteY18" fmla="*/ 51440 h 97160"/>
                        <a:gd name="connsiteX19" fmla="*/ 17145 w 104775"/>
                        <a:gd name="connsiteY19" fmla="*/ 80015 h 97160"/>
                        <a:gd name="connsiteX0" fmla="*/ 19050 w 105971"/>
                        <a:gd name="connsiteY0" fmla="*/ 76238 h 97193"/>
                        <a:gd name="connsiteX1" fmla="*/ 24765 w 105971"/>
                        <a:gd name="connsiteY1" fmla="*/ 80048 h 97193"/>
                        <a:gd name="connsiteX2" fmla="*/ 28575 w 105971"/>
                        <a:gd name="connsiteY2" fmla="*/ 85763 h 97193"/>
                        <a:gd name="connsiteX3" fmla="*/ 32385 w 105971"/>
                        <a:gd name="connsiteY3" fmla="*/ 97193 h 97193"/>
                        <a:gd name="connsiteX4" fmla="*/ 81915 w 105971"/>
                        <a:gd name="connsiteY4" fmla="*/ 95288 h 97193"/>
                        <a:gd name="connsiteX5" fmla="*/ 87630 w 105971"/>
                        <a:gd name="connsiteY5" fmla="*/ 93383 h 97193"/>
                        <a:gd name="connsiteX6" fmla="*/ 89535 w 105971"/>
                        <a:gd name="connsiteY6" fmla="*/ 87668 h 97193"/>
                        <a:gd name="connsiteX7" fmla="*/ 93345 w 105971"/>
                        <a:gd name="connsiteY7" fmla="*/ 81953 h 97193"/>
                        <a:gd name="connsiteX8" fmla="*/ 95250 w 105971"/>
                        <a:gd name="connsiteY8" fmla="*/ 68618 h 97193"/>
                        <a:gd name="connsiteX9" fmla="*/ 100965 w 105971"/>
                        <a:gd name="connsiteY9" fmla="*/ 64808 h 97193"/>
                        <a:gd name="connsiteX10" fmla="*/ 104775 w 105971"/>
                        <a:gd name="connsiteY10" fmla="*/ 53378 h 97193"/>
                        <a:gd name="connsiteX11" fmla="*/ 100965 w 105971"/>
                        <a:gd name="connsiteY11" fmla="*/ 26708 h 97193"/>
                        <a:gd name="connsiteX12" fmla="*/ 41910 w 105971"/>
                        <a:gd name="connsiteY12" fmla="*/ 38 h 97193"/>
                        <a:gd name="connsiteX13" fmla="*/ 3810 w 105971"/>
                        <a:gd name="connsiteY13" fmla="*/ 20993 h 97193"/>
                        <a:gd name="connsiteX14" fmla="*/ 1905 w 105971"/>
                        <a:gd name="connsiteY14" fmla="*/ 28613 h 97193"/>
                        <a:gd name="connsiteX15" fmla="*/ 0 w 105971"/>
                        <a:gd name="connsiteY15" fmla="*/ 34328 h 97193"/>
                        <a:gd name="connsiteX16" fmla="*/ 5715 w 105971"/>
                        <a:gd name="connsiteY16" fmla="*/ 47663 h 97193"/>
                        <a:gd name="connsiteX17" fmla="*/ 5715 w 105971"/>
                        <a:gd name="connsiteY17" fmla="*/ 51473 h 97193"/>
                        <a:gd name="connsiteX18" fmla="*/ 17145 w 105971"/>
                        <a:gd name="connsiteY18" fmla="*/ 80048 h 97193"/>
                        <a:gd name="connsiteX0" fmla="*/ 19050 w 106250"/>
                        <a:gd name="connsiteY0" fmla="*/ 64875 h 85830"/>
                        <a:gd name="connsiteX1" fmla="*/ 24765 w 106250"/>
                        <a:gd name="connsiteY1" fmla="*/ 68685 h 85830"/>
                        <a:gd name="connsiteX2" fmla="*/ 28575 w 106250"/>
                        <a:gd name="connsiteY2" fmla="*/ 74400 h 85830"/>
                        <a:gd name="connsiteX3" fmla="*/ 32385 w 106250"/>
                        <a:gd name="connsiteY3" fmla="*/ 85830 h 85830"/>
                        <a:gd name="connsiteX4" fmla="*/ 81915 w 106250"/>
                        <a:gd name="connsiteY4" fmla="*/ 83925 h 85830"/>
                        <a:gd name="connsiteX5" fmla="*/ 87630 w 106250"/>
                        <a:gd name="connsiteY5" fmla="*/ 82020 h 85830"/>
                        <a:gd name="connsiteX6" fmla="*/ 89535 w 106250"/>
                        <a:gd name="connsiteY6" fmla="*/ 76305 h 85830"/>
                        <a:gd name="connsiteX7" fmla="*/ 93345 w 106250"/>
                        <a:gd name="connsiteY7" fmla="*/ 70590 h 85830"/>
                        <a:gd name="connsiteX8" fmla="*/ 95250 w 106250"/>
                        <a:gd name="connsiteY8" fmla="*/ 57255 h 85830"/>
                        <a:gd name="connsiteX9" fmla="*/ 100965 w 106250"/>
                        <a:gd name="connsiteY9" fmla="*/ 53445 h 85830"/>
                        <a:gd name="connsiteX10" fmla="*/ 104775 w 106250"/>
                        <a:gd name="connsiteY10" fmla="*/ 42015 h 85830"/>
                        <a:gd name="connsiteX11" fmla="*/ 100965 w 106250"/>
                        <a:gd name="connsiteY11" fmla="*/ 15345 h 85830"/>
                        <a:gd name="connsiteX12" fmla="*/ 38100 w 106250"/>
                        <a:gd name="connsiteY12" fmla="*/ 105 h 85830"/>
                        <a:gd name="connsiteX13" fmla="*/ 3810 w 106250"/>
                        <a:gd name="connsiteY13" fmla="*/ 9630 h 85830"/>
                        <a:gd name="connsiteX14" fmla="*/ 1905 w 106250"/>
                        <a:gd name="connsiteY14" fmla="*/ 17250 h 85830"/>
                        <a:gd name="connsiteX15" fmla="*/ 0 w 106250"/>
                        <a:gd name="connsiteY15" fmla="*/ 22965 h 85830"/>
                        <a:gd name="connsiteX16" fmla="*/ 5715 w 106250"/>
                        <a:gd name="connsiteY16" fmla="*/ 36300 h 85830"/>
                        <a:gd name="connsiteX17" fmla="*/ 5715 w 106250"/>
                        <a:gd name="connsiteY17" fmla="*/ 40110 h 85830"/>
                        <a:gd name="connsiteX18" fmla="*/ 17145 w 106250"/>
                        <a:gd name="connsiteY18" fmla="*/ 68685 h 858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06250" h="85830">
                          <a:moveTo>
                            <a:pt x="19050" y="64875"/>
                          </a:moveTo>
                          <a:cubicBezTo>
                            <a:pt x="19050" y="69955"/>
                            <a:pt x="22860" y="67415"/>
                            <a:pt x="24765" y="68685"/>
                          </a:cubicBezTo>
                          <a:cubicBezTo>
                            <a:pt x="26035" y="70590"/>
                            <a:pt x="27645" y="72308"/>
                            <a:pt x="28575" y="74400"/>
                          </a:cubicBezTo>
                          <a:cubicBezTo>
                            <a:pt x="30206" y="78070"/>
                            <a:pt x="32385" y="85830"/>
                            <a:pt x="32385" y="85830"/>
                          </a:cubicBezTo>
                          <a:cubicBezTo>
                            <a:pt x="48895" y="85195"/>
                            <a:pt x="65432" y="85062"/>
                            <a:pt x="81915" y="83925"/>
                          </a:cubicBezTo>
                          <a:cubicBezTo>
                            <a:pt x="83918" y="83787"/>
                            <a:pt x="86210" y="83440"/>
                            <a:pt x="87630" y="82020"/>
                          </a:cubicBezTo>
                          <a:cubicBezTo>
                            <a:pt x="89050" y="80600"/>
                            <a:pt x="88637" y="78101"/>
                            <a:pt x="89535" y="76305"/>
                          </a:cubicBezTo>
                          <a:cubicBezTo>
                            <a:pt x="90559" y="74257"/>
                            <a:pt x="92075" y="72495"/>
                            <a:pt x="93345" y="70590"/>
                          </a:cubicBezTo>
                          <a:cubicBezTo>
                            <a:pt x="93980" y="66145"/>
                            <a:pt x="93426" y="61358"/>
                            <a:pt x="95250" y="57255"/>
                          </a:cubicBezTo>
                          <a:cubicBezTo>
                            <a:pt x="96180" y="55163"/>
                            <a:pt x="99752" y="55387"/>
                            <a:pt x="100965" y="53445"/>
                          </a:cubicBezTo>
                          <a:cubicBezTo>
                            <a:pt x="103094" y="50039"/>
                            <a:pt x="104775" y="42015"/>
                            <a:pt x="104775" y="42015"/>
                          </a:cubicBezTo>
                          <a:cubicBezTo>
                            <a:pt x="101728" y="8500"/>
                            <a:pt x="112077" y="22330"/>
                            <a:pt x="100965" y="15345"/>
                          </a:cubicBezTo>
                          <a:cubicBezTo>
                            <a:pt x="89853" y="8360"/>
                            <a:pt x="54292" y="1057"/>
                            <a:pt x="38100" y="105"/>
                          </a:cubicBezTo>
                          <a:cubicBezTo>
                            <a:pt x="21908" y="-847"/>
                            <a:pt x="10477" y="4868"/>
                            <a:pt x="3810" y="9630"/>
                          </a:cubicBezTo>
                          <a:cubicBezTo>
                            <a:pt x="3175" y="12170"/>
                            <a:pt x="2624" y="14733"/>
                            <a:pt x="1905" y="17250"/>
                          </a:cubicBezTo>
                          <a:cubicBezTo>
                            <a:pt x="1353" y="19181"/>
                            <a:pt x="0" y="20957"/>
                            <a:pt x="0" y="22965"/>
                          </a:cubicBezTo>
                          <a:cubicBezTo>
                            <a:pt x="0" y="32673"/>
                            <a:pt x="2604" y="28523"/>
                            <a:pt x="5715" y="36300"/>
                          </a:cubicBezTo>
                          <a:cubicBezTo>
                            <a:pt x="6187" y="37479"/>
                            <a:pt x="3810" y="34713"/>
                            <a:pt x="5715" y="40110"/>
                          </a:cubicBezTo>
                          <a:cubicBezTo>
                            <a:pt x="7620" y="45507"/>
                            <a:pt x="13335" y="59160"/>
                            <a:pt x="17145" y="68685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32" name="Rectangle: Rounded Corners 439">
                      <a:extLst>
                        <a:ext uri="{FF2B5EF4-FFF2-40B4-BE49-F238E27FC236}">
                          <a16:creationId xmlns:a16="http://schemas.microsoft.com/office/drawing/2014/main" id="{6EC99212-3B23-1670-050D-57148991DB1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86901" y="440374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33" name="Rectangle: Rounded Corners 440">
                      <a:extLst>
                        <a:ext uri="{FF2B5EF4-FFF2-40B4-BE49-F238E27FC236}">
                          <a16:creationId xmlns:a16="http://schemas.microsoft.com/office/drawing/2014/main" id="{A54DC53E-0F27-B8CE-9B60-B48A83B4C6E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770428" y="4196137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34" name="Rectangle: Rounded Corners 441">
                      <a:extLst>
                        <a:ext uri="{FF2B5EF4-FFF2-40B4-BE49-F238E27FC236}">
                          <a16:creationId xmlns:a16="http://schemas.microsoft.com/office/drawing/2014/main" id="{E787FC61-0ECD-066B-C818-FCE77EED98A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24873" y="4240076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635" name="Rectangle: Rounded Corners 442">
                      <a:extLst>
                        <a:ext uri="{FF2B5EF4-FFF2-40B4-BE49-F238E27FC236}">
                          <a16:creationId xmlns:a16="http://schemas.microsoft.com/office/drawing/2014/main" id="{BA005AA2-B602-D6FB-8473-665611EC372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50643" y="4293981"/>
                      <a:ext cx="27432" cy="18288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6350" cap="flat" cmpd="sng" algn="ctr">
                      <a:solidFill>
                        <a:srgbClr val="FFFFFF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5783">
                        <a:defRPr/>
                      </a:pPr>
                      <a:endParaRPr lang="en-US" sz="1000" kern="0">
                        <a:solidFill>
                          <a:srgbClr val="FFFFFF"/>
                        </a:solidFill>
                        <a:latin typeface="Arial" panose="020B0604020202020204"/>
                        <a:cs typeface="Arial" panose="020B0604020202020204" pitchFamily="34" charset="0"/>
                      </a:endParaRPr>
                    </a:p>
                  </p:txBody>
                </p:sp>
              </p:grpSp>
            </p:grpSp>
            <p:sp>
              <p:nvSpPr>
                <p:cNvPr id="1614" name="Freeform: Shape 426">
                  <a:extLst>
                    <a:ext uri="{FF2B5EF4-FFF2-40B4-BE49-F238E27FC236}">
                      <a16:creationId xmlns:a16="http://schemas.microsoft.com/office/drawing/2014/main" id="{0961F6D1-3AC1-293B-40F9-E1C25737CDEF}"/>
                    </a:ext>
                  </a:extLst>
                </p:cNvPr>
                <p:cNvSpPr/>
                <p:nvPr/>
              </p:nvSpPr>
              <p:spPr>
                <a:xfrm rot="18595250">
                  <a:off x="3464962" y="993886"/>
                  <a:ext cx="195428" cy="172893"/>
                </a:xfrm>
                <a:custGeom>
                  <a:avLst/>
                  <a:gdLst>
                    <a:gd name="connsiteX0" fmla="*/ 36195 w 254551"/>
                    <a:gd name="connsiteY0" fmla="*/ 30480 h 227192"/>
                    <a:gd name="connsiteX1" fmla="*/ 36195 w 254551"/>
                    <a:gd name="connsiteY1" fmla="*/ 30480 h 227192"/>
                    <a:gd name="connsiteX2" fmla="*/ 20955 w 254551"/>
                    <a:gd name="connsiteY2" fmla="*/ 20955 h 227192"/>
                    <a:gd name="connsiteX3" fmla="*/ 17145 w 254551"/>
                    <a:gd name="connsiteY3" fmla="*/ 9525 h 227192"/>
                    <a:gd name="connsiteX4" fmla="*/ 5715 w 254551"/>
                    <a:gd name="connsiteY4" fmla="*/ 15240 h 227192"/>
                    <a:gd name="connsiteX5" fmla="*/ 1905 w 254551"/>
                    <a:gd name="connsiteY5" fmla="*/ 20955 h 227192"/>
                    <a:gd name="connsiteX6" fmla="*/ 0 w 254551"/>
                    <a:gd name="connsiteY6" fmla="*/ 26670 h 227192"/>
                    <a:gd name="connsiteX7" fmla="*/ 1905 w 254551"/>
                    <a:gd name="connsiteY7" fmla="*/ 47625 h 227192"/>
                    <a:gd name="connsiteX8" fmla="*/ 9525 w 254551"/>
                    <a:gd name="connsiteY8" fmla="*/ 59055 h 227192"/>
                    <a:gd name="connsiteX9" fmla="*/ 13335 w 254551"/>
                    <a:gd name="connsiteY9" fmla="*/ 70485 h 227192"/>
                    <a:gd name="connsiteX10" fmla="*/ 15240 w 254551"/>
                    <a:gd name="connsiteY10" fmla="*/ 99060 h 227192"/>
                    <a:gd name="connsiteX11" fmla="*/ 17145 w 254551"/>
                    <a:gd name="connsiteY11" fmla="*/ 104775 h 227192"/>
                    <a:gd name="connsiteX12" fmla="*/ 22860 w 254551"/>
                    <a:gd name="connsiteY12" fmla="*/ 108585 h 227192"/>
                    <a:gd name="connsiteX13" fmla="*/ 26670 w 254551"/>
                    <a:gd name="connsiteY13" fmla="*/ 114300 h 227192"/>
                    <a:gd name="connsiteX14" fmla="*/ 32385 w 254551"/>
                    <a:gd name="connsiteY14" fmla="*/ 118110 h 227192"/>
                    <a:gd name="connsiteX15" fmla="*/ 41910 w 254551"/>
                    <a:gd name="connsiteY15" fmla="*/ 131445 h 227192"/>
                    <a:gd name="connsiteX16" fmla="*/ 59055 w 254551"/>
                    <a:gd name="connsiteY16" fmla="*/ 133350 h 227192"/>
                    <a:gd name="connsiteX17" fmla="*/ 64770 w 254551"/>
                    <a:gd name="connsiteY17" fmla="*/ 180975 h 227192"/>
                    <a:gd name="connsiteX18" fmla="*/ 74295 w 254551"/>
                    <a:gd name="connsiteY18" fmla="*/ 188595 h 227192"/>
                    <a:gd name="connsiteX19" fmla="*/ 80010 w 254551"/>
                    <a:gd name="connsiteY19" fmla="*/ 192405 h 227192"/>
                    <a:gd name="connsiteX20" fmla="*/ 87630 w 254551"/>
                    <a:gd name="connsiteY20" fmla="*/ 201930 h 227192"/>
                    <a:gd name="connsiteX21" fmla="*/ 95250 w 254551"/>
                    <a:gd name="connsiteY21" fmla="*/ 213360 h 227192"/>
                    <a:gd name="connsiteX22" fmla="*/ 99060 w 254551"/>
                    <a:gd name="connsiteY22" fmla="*/ 219075 h 227192"/>
                    <a:gd name="connsiteX23" fmla="*/ 104775 w 254551"/>
                    <a:gd name="connsiteY23" fmla="*/ 220980 h 227192"/>
                    <a:gd name="connsiteX24" fmla="*/ 108585 w 254551"/>
                    <a:gd name="connsiteY24" fmla="*/ 226695 h 227192"/>
                    <a:gd name="connsiteX25" fmla="*/ 133350 w 254551"/>
                    <a:gd name="connsiteY25" fmla="*/ 222885 h 227192"/>
                    <a:gd name="connsiteX26" fmla="*/ 144780 w 254551"/>
                    <a:gd name="connsiteY26" fmla="*/ 211455 h 227192"/>
                    <a:gd name="connsiteX27" fmla="*/ 148590 w 254551"/>
                    <a:gd name="connsiteY27" fmla="*/ 205740 h 227192"/>
                    <a:gd name="connsiteX28" fmla="*/ 160020 w 254551"/>
                    <a:gd name="connsiteY28" fmla="*/ 201930 h 227192"/>
                    <a:gd name="connsiteX29" fmla="*/ 161925 w 254551"/>
                    <a:gd name="connsiteY29" fmla="*/ 196215 h 227192"/>
                    <a:gd name="connsiteX30" fmla="*/ 163830 w 254551"/>
                    <a:gd name="connsiteY30" fmla="*/ 184785 h 227192"/>
                    <a:gd name="connsiteX31" fmla="*/ 175260 w 254551"/>
                    <a:gd name="connsiteY31" fmla="*/ 180975 h 227192"/>
                    <a:gd name="connsiteX32" fmla="*/ 198120 w 254551"/>
                    <a:gd name="connsiteY32" fmla="*/ 182880 h 227192"/>
                    <a:gd name="connsiteX33" fmla="*/ 203835 w 254551"/>
                    <a:gd name="connsiteY33" fmla="*/ 186690 h 227192"/>
                    <a:gd name="connsiteX34" fmla="*/ 209550 w 254551"/>
                    <a:gd name="connsiteY34" fmla="*/ 188595 h 227192"/>
                    <a:gd name="connsiteX35" fmla="*/ 220980 w 254551"/>
                    <a:gd name="connsiteY35" fmla="*/ 186690 h 227192"/>
                    <a:gd name="connsiteX36" fmla="*/ 226695 w 254551"/>
                    <a:gd name="connsiteY36" fmla="*/ 182880 h 227192"/>
                    <a:gd name="connsiteX37" fmla="*/ 234315 w 254551"/>
                    <a:gd name="connsiteY37" fmla="*/ 165735 h 227192"/>
                    <a:gd name="connsiteX38" fmla="*/ 238125 w 254551"/>
                    <a:gd name="connsiteY38" fmla="*/ 154305 h 227192"/>
                    <a:gd name="connsiteX39" fmla="*/ 240030 w 254551"/>
                    <a:gd name="connsiteY39" fmla="*/ 148590 h 227192"/>
                    <a:gd name="connsiteX40" fmla="*/ 245745 w 254551"/>
                    <a:gd name="connsiteY40" fmla="*/ 120015 h 227192"/>
                    <a:gd name="connsiteX41" fmla="*/ 247650 w 254551"/>
                    <a:gd name="connsiteY41" fmla="*/ 114300 h 227192"/>
                    <a:gd name="connsiteX42" fmla="*/ 249555 w 254551"/>
                    <a:gd name="connsiteY42" fmla="*/ 108585 h 227192"/>
                    <a:gd name="connsiteX43" fmla="*/ 241935 w 254551"/>
                    <a:gd name="connsiteY43" fmla="*/ 89535 h 227192"/>
                    <a:gd name="connsiteX44" fmla="*/ 236220 w 254551"/>
                    <a:gd name="connsiteY44" fmla="*/ 85725 h 227192"/>
                    <a:gd name="connsiteX45" fmla="*/ 238125 w 254551"/>
                    <a:gd name="connsiteY45" fmla="*/ 80010 h 227192"/>
                    <a:gd name="connsiteX46" fmla="*/ 243840 w 254551"/>
                    <a:gd name="connsiteY46" fmla="*/ 78105 h 227192"/>
                    <a:gd name="connsiteX47" fmla="*/ 249555 w 254551"/>
                    <a:gd name="connsiteY47" fmla="*/ 74295 h 227192"/>
                    <a:gd name="connsiteX48" fmla="*/ 251460 w 254551"/>
                    <a:gd name="connsiteY48" fmla="*/ 24765 h 227192"/>
                    <a:gd name="connsiteX49" fmla="*/ 249555 w 254551"/>
                    <a:gd name="connsiteY49" fmla="*/ 19050 h 227192"/>
                    <a:gd name="connsiteX50" fmla="*/ 243840 w 254551"/>
                    <a:gd name="connsiteY50" fmla="*/ 15240 h 227192"/>
                    <a:gd name="connsiteX51" fmla="*/ 234315 w 254551"/>
                    <a:gd name="connsiteY51" fmla="*/ 3810 h 227192"/>
                    <a:gd name="connsiteX52" fmla="*/ 228600 w 254551"/>
                    <a:gd name="connsiteY52" fmla="*/ 0 h 227192"/>
                    <a:gd name="connsiteX53" fmla="*/ 217170 w 254551"/>
                    <a:gd name="connsiteY53" fmla="*/ 1905 h 227192"/>
                    <a:gd name="connsiteX54" fmla="*/ 213360 w 254551"/>
                    <a:gd name="connsiteY54" fmla="*/ 7620 h 227192"/>
                    <a:gd name="connsiteX55" fmla="*/ 207645 w 254551"/>
                    <a:gd name="connsiteY55" fmla="*/ 9525 h 227192"/>
                    <a:gd name="connsiteX56" fmla="*/ 203835 w 254551"/>
                    <a:gd name="connsiteY56" fmla="*/ 20955 h 227192"/>
                    <a:gd name="connsiteX57" fmla="*/ 201930 w 254551"/>
                    <a:gd name="connsiteY57" fmla="*/ 26670 h 227192"/>
                    <a:gd name="connsiteX58" fmla="*/ 200025 w 254551"/>
                    <a:gd name="connsiteY58" fmla="*/ 38100 h 227192"/>
                    <a:gd name="connsiteX59" fmla="*/ 205740 w 254551"/>
                    <a:gd name="connsiteY59" fmla="*/ 72390 h 227192"/>
                    <a:gd name="connsiteX60" fmla="*/ 213360 w 254551"/>
                    <a:gd name="connsiteY60" fmla="*/ 83820 h 227192"/>
                    <a:gd name="connsiteX61" fmla="*/ 217170 w 254551"/>
                    <a:gd name="connsiteY61" fmla="*/ 89535 h 227192"/>
                    <a:gd name="connsiteX62" fmla="*/ 215265 w 254551"/>
                    <a:gd name="connsiteY62" fmla="*/ 97155 h 227192"/>
                    <a:gd name="connsiteX63" fmla="*/ 203835 w 254551"/>
                    <a:gd name="connsiteY63" fmla="*/ 104775 h 227192"/>
                    <a:gd name="connsiteX64" fmla="*/ 198120 w 254551"/>
                    <a:gd name="connsiteY64" fmla="*/ 116205 h 227192"/>
                    <a:gd name="connsiteX65" fmla="*/ 196215 w 254551"/>
                    <a:gd name="connsiteY65" fmla="*/ 121920 h 227192"/>
                    <a:gd name="connsiteX66" fmla="*/ 190500 w 254551"/>
                    <a:gd name="connsiteY66" fmla="*/ 133350 h 227192"/>
                    <a:gd name="connsiteX67" fmla="*/ 182880 w 254551"/>
                    <a:gd name="connsiteY67" fmla="*/ 154305 h 227192"/>
                    <a:gd name="connsiteX68" fmla="*/ 175260 w 254551"/>
                    <a:gd name="connsiteY68" fmla="*/ 156210 h 227192"/>
                    <a:gd name="connsiteX69" fmla="*/ 169545 w 254551"/>
                    <a:gd name="connsiteY69" fmla="*/ 150495 h 227192"/>
                    <a:gd name="connsiteX70" fmla="*/ 167640 w 254551"/>
                    <a:gd name="connsiteY70" fmla="*/ 144780 h 227192"/>
                    <a:gd name="connsiteX71" fmla="*/ 156210 w 254551"/>
                    <a:gd name="connsiteY71" fmla="*/ 140970 h 227192"/>
                    <a:gd name="connsiteX72" fmla="*/ 150495 w 254551"/>
                    <a:gd name="connsiteY72" fmla="*/ 139065 h 227192"/>
                    <a:gd name="connsiteX73" fmla="*/ 139065 w 254551"/>
                    <a:gd name="connsiteY73" fmla="*/ 135255 h 227192"/>
                    <a:gd name="connsiteX74" fmla="*/ 133350 w 254551"/>
                    <a:gd name="connsiteY74" fmla="*/ 133350 h 227192"/>
                    <a:gd name="connsiteX75" fmla="*/ 121920 w 254551"/>
                    <a:gd name="connsiteY75" fmla="*/ 127635 h 227192"/>
                    <a:gd name="connsiteX76" fmla="*/ 89535 w 254551"/>
                    <a:gd name="connsiteY76" fmla="*/ 125730 h 227192"/>
                    <a:gd name="connsiteX77" fmla="*/ 78105 w 254551"/>
                    <a:gd name="connsiteY77" fmla="*/ 116205 h 227192"/>
                    <a:gd name="connsiteX78" fmla="*/ 76200 w 254551"/>
                    <a:gd name="connsiteY78" fmla="*/ 110490 h 227192"/>
                    <a:gd name="connsiteX79" fmla="*/ 72390 w 254551"/>
                    <a:gd name="connsiteY79" fmla="*/ 104775 h 227192"/>
                    <a:gd name="connsiteX80" fmla="*/ 68580 w 254551"/>
                    <a:gd name="connsiteY80" fmla="*/ 89535 h 227192"/>
                    <a:gd name="connsiteX81" fmla="*/ 62865 w 254551"/>
                    <a:gd name="connsiteY81" fmla="*/ 85725 h 227192"/>
                    <a:gd name="connsiteX82" fmla="*/ 53340 w 254551"/>
                    <a:gd name="connsiteY82" fmla="*/ 83820 h 227192"/>
                    <a:gd name="connsiteX83" fmla="*/ 47625 w 254551"/>
                    <a:gd name="connsiteY83" fmla="*/ 80010 h 227192"/>
                    <a:gd name="connsiteX84" fmla="*/ 41910 w 254551"/>
                    <a:gd name="connsiteY84" fmla="*/ 78105 h 227192"/>
                    <a:gd name="connsiteX85" fmla="*/ 34290 w 254551"/>
                    <a:gd name="connsiteY85" fmla="*/ 64770 h 227192"/>
                    <a:gd name="connsiteX86" fmla="*/ 30480 w 254551"/>
                    <a:gd name="connsiteY86" fmla="*/ 53340 h 227192"/>
                    <a:gd name="connsiteX87" fmla="*/ 34290 w 254551"/>
                    <a:gd name="connsiteY87" fmla="*/ 47625 h 227192"/>
                    <a:gd name="connsiteX88" fmla="*/ 32385 w 254551"/>
                    <a:gd name="connsiteY88" fmla="*/ 28575 h 227192"/>
                    <a:gd name="connsiteX89" fmla="*/ 30480 w 254551"/>
                    <a:gd name="connsiteY89" fmla="*/ 22860 h 227192"/>
                    <a:gd name="connsiteX90" fmla="*/ 36195 w 254551"/>
                    <a:gd name="connsiteY90" fmla="*/ 30480 h 227192"/>
                    <a:gd name="connsiteX0" fmla="*/ 36195 w 254551"/>
                    <a:gd name="connsiteY0" fmla="*/ 30480 h 227192"/>
                    <a:gd name="connsiteX1" fmla="*/ 36195 w 254551"/>
                    <a:gd name="connsiteY1" fmla="*/ 30480 h 227192"/>
                    <a:gd name="connsiteX2" fmla="*/ 20955 w 254551"/>
                    <a:gd name="connsiteY2" fmla="*/ 20955 h 227192"/>
                    <a:gd name="connsiteX3" fmla="*/ 17145 w 254551"/>
                    <a:gd name="connsiteY3" fmla="*/ 9525 h 227192"/>
                    <a:gd name="connsiteX4" fmla="*/ 1905 w 254551"/>
                    <a:gd name="connsiteY4" fmla="*/ 20955 h 227192"/>
                    <a:gd name="connsiteX5" fmla="*/ 0 w 254551"/>
                    <a:gd name="connsiteY5" fmla="*/ 26670 h 227192"/>
                    <a:gd name="connsiteX6" fmla="*/ 1905 w 254551"/>
                    <a:gd name="connsiteY6" fmla="*/ 47625 h 227192"/>
                    <a:gd name="connsiteX7" fmla="*/ 9525 w 254551"/>
                    <a:gd name="connsiteY7" fmla="*/ 59055 h 227192"/>
                    <a:gd name="connsiteX8" fmla="*/ 13335 w 254551"/>
                    <a:gd name="connsiteY8" fmla="*/ 70485 h 227192"/>
                    <a:gd name="connsiteX9" fmla="*/ 15240 w 254551"/>
                    <a:gd name="connsiteY9" fmla="*/ 99060 h 227192"/>
                    <a:gd name="connsiteX10" fmla="*/ 17145 w 254551"/>
                    <a:gd name="connsiteY10" fmla="*/ 104775 h 227192"/>
                    <a:gd name="connsiteX11" fmla="*/ 22860 w 254551"/>
                    <a:gd name="connsiteY11" fmla="*/ 108585 h 227192"/>
                    <a:gd name="connsiteX12" fmla="*/ 26670 w 254551"/>
                    <a:gd name="connsiteY12" fmla="*/ 114300 h 227192"/>
                    <a:gd name="connsiteX13" fmla="*/ 32385 w 254551"/>
                    <a:gd name="connsiteY13" fmla="*/ 118110 h 227192"/>
                    <a:gd name="connsiteX14" fmla="*/ 41910 w 254551"/>
                    <a:gd name="connsiteY14" fmla="*/ 131445 h 227192"/>
                    <a:gd name="connsiteX15" fmla="*/ 59055 w 254551"/>
                    <a:gd name="connsiteY15" fmla="*/ 133350 h 227192"/>
                    <a:gd name="connsiteX16" fmla="*/ 64770 w 254551"/>
                    <a:gd name="connsiteY16" fmla="*/ 180975 h 227192"/>
                    <a:gd name="connsiteX17" fmla="*/ 74295 w 254551"/>
                    <a:gd name="connsiteY17" fmla="*/ 188595 h 227192"/>
                    <a:gd name="connsiteX18" fmla="*/ 80010 w 254551"/>
                    <a:gd name="connsiteY18" fmla="*/ 192405 h 227192"/>
                    <a:gd name="connsiteX19" fmla="*/ 87630 w 254551"/>
                    <a:gd name="connsiteY19" fmla="*/ 201930 h 227192"/>
                    <a:gd name="connsiteX20" fmla="*/ 95250 w 254551"/>
                    <a:gd name="connsiteY20" fmla="*/ 213360 h 227192"/>
                    <a:gd name="connsiteX21" fmla="*/ 99060 w 254551"/>
                    <a:gd name="connsiteY21" fmla="*/ 219075 h 227192"/>
                    <a:gd name="connsiteX22" fmla="*/ 104775 w 254551"/>
                    <a:gd name="connsiteY22" fmla="*/ 220980 h 227192"/>
                    <a:gd name="connsiteX23" fmla="*/ 108585 w 254551"/>
                    <a:gd name="connsiteY23" fmla="*/ 226695 h 227192"/>
                    <a:gd name="connsiteX24" fmla="*/ 133350 w 254551"/>
                    <a:gd name="connsiteY24" fmla="*/ 222885 h 227192"/>
                    <a:gd name="connsiteX25" fmla="*/ 144780 w 254551"/>
                    <a:gd name="connsiteY25" fmla="*/ 211455 h 227192"/>
                    <a:gd name="connsiteX26" fmla="*/ 148590 w 254551"/>
                    <a:gd name="connsiteY26" fmla="*/ 205740 h 227192"/>
                    <a:gd name="connsiteX27" fmla="*/ 160020 w 254551"/>
                    <a:gd name="connsiteY27" fmla="*/ 201930 h 227192"/>
                    <a:gd name="connsiteX28" fmla="*/ 161925 w 254551"/>
                    <a:gd name="connsiteY28" fmla="*/ 196215 h 227192"/>
                    <a:gd name="connsiteX29" fmla="*/ 163830 w 254551"/>
                    <a:gd name="connsiteY29" fmla="*/ 184785 h 227192"/>
                    <a:gd name="connsiteX30" fmla="*/ 175260 w 254551"/>
                    <a:gd name="connsiteY30" fmla="*/ 180975 h 227192"/>
                    <a:gd name="connsiteX31" fmla="*/ 198120 w 254551"/>
                    <a:gd name="connsiteY31" fmla="*/ 182880 h 227192"/>
                    <a:gd name="connsiteX32" fmla="*/ 203835 w 254551"/>
                    <a:gd name="connsiteY32" fmla="*/ 186690 h 227192"/>
                    <a:gd name="connsiteX33" fmla="*/ 209550 w 254551"/>
                    <a:gd name="connsiteY33" fmla="*/ 188595 h 227192"/>
                    <a:gd name="connsiteX34" fmla="*/ 220980 w 254551"/>
                    <a:gd name="connsiteY34" fmla="*/ 186690 h 227192"/>
                    <a:gd name="connsiteX35" fmla="*/ 226695 w 254551"/>
                    <a:gd name="connsiteY35" fmla="*/ 182880 h 227192"/>
                    <a:gd name="connsiteX36" fmla="*/ 234315 w 254551"/>
                    <a:gd name="connsiteY36" fmla="*/ 165735 h 227192"/>
                    <a:gd name="connsiteX37" fmla="*/ 238125 w 254551"/>
                    <a:gd name="connsiteY37" fmla="*/ 154305 h 227192"/>
                    <a:gd name="connsiteX38" fmla="*/ 240030 w 254551"/>
                    <a:gd name="connsiteY38" fmla="*/ 148590 h 227192"/>
                    <a:gd name="connsiteX39" fmla="*/ 245745 w 254551"/>
                    <a:gd name="connsiteY39" fmla="*/ 120015 h 227192"/>
                    <a:gd name="connsiteX40" fmla="*/ 247650 w 254551"/>
                    <a:gd name="connsiteY40" fmla="*/ 114300 h 227192"/>
                    <a:gd name="connsiteX41" fmla="*/ 249555 w 254551"/>
                    <a:gd name="connsiteY41" fmla="*/ 108585 h 227192"/>
                    <a:gd name="connsiteX42" fmla="*/ 241935 w 254551"/>
                    <a:gd name="connsiteY42" fmla="*/ 89535 h 227192"/>
                    <a:gd name="connsiteX43" fmla="*/ 236220 w 254551"/>
                    <a:gd name="connsiteY43" fmla="*/ 85725 h 227192"/>
                    <a:gd name="connsiteX44" fmla="*/ 238125 w 254551"/>
                    <a:gd name="connsiteY44" fmla="*/ 80010 h 227192"/>
                    <a:gd name="connsiteX45" fmla="*/ 243840 w 254551"/>
                    <a:gd name="connsiteY45" fmla="*/ 78105 h 227192"/>
                    <a:gd name="connsiteX46" fmla="*/ 249555 w 254551"/>
                    <a:gd name="connsiteY46" fmla="*/ 74295 h 227192"/>
                    <a:gd name="connsiteX47" fmla="*/ 251460 w 254551"/>
                    <a:gd name="connsiteY47" fmla="*/ 24765 h 227192"/>
                    <a:gd name="connsiteX48" fmla="*/ 249555 w 254551"/>
                    <a:gd name="connsiteY48" fmla="*/ 19050 h 227192"/>
                    <a:gd name="connsiteX49" fmla="*/ 243840 w 254551"/>
                    <a:gd name="connsiteY49" fmla="*/ 15240 h 227192"/>
                    <a:gd name="connsiteX50" fmla="*/ 234315 w 254551"/>
                    <a:gd name="connsiteY50" fmla="*/ 3810 h 227192"/>
                    <a:gd name="connsiteX51" fmla="*/ 228600 w 254551"/>
                    <a:gd name="connsiteY51" fmla="*/ 0 h 227192"/>
                    <a:gd name="connsiteX52" fmla="*/ 217170 w 254551"/>
                    <a:gd name="connsiteY52" fmla="*/ 1905 h 227192"/>
                    <a:gd name="connsiteX53" fmla="*/ 213360 w 254551"/>
                    <a:gd name="connsiteY53" fmla="*/ 7620 h 227192"/>
                    <a:gd name="connsiteX54" fmla="*/ 207645 w 254551"/>
                    <a:gd name="connsiteY54" fmla="*/ 9525 h 227192"/>
                    <a:gd name="connsiteX55" fmla="*/ 203835 w 254551"/>
                    <a:gd name="connsiteY55" fmla="*/ 20955 h 227192"/>
                    <a:gd name="connsiteX56" fmla="*/ 201930 w 254551"/>
                    <a:gd name="connsiteY56" fmla="*/ 26670 h 227192"/>
                    <a:gd name="connsiteX57" fmla="*/ 200025 w 254551"/>
                    <a:gd name="connsiteY57" fmla="*/ 38100 h 227192"/>
                    <a:gd name="connsiteX58" fmla="*/ 205740 w 254551"/>
                    <a:gd name="connsiteY58" fmla="*/ 72390 h 227192"/>
                    <a:gd name="connsiteX59" fmla="*/ 213360 w 254551"/>
                    <a:gd name="connsiteY59" fmla="*/ 83820 h 227192"/>
                    <a:gd name="connsiteX60" fmla="*/ 217170 w 254551"/>
                    <a:gd name="connsiteY60" fmla="*/ 89535 h 227192"/>
                    <a:gd name="connsiteX61" fmla="*/ 215265 w 254551"/>
                    <a:gd name="connsiteY61" fmla="*/ 97155 h 227192"/>
                    <a:gd name="connsiteX62" fmla="*/ 203835 w 254551"/>
                    <a:gd name="connsiteY62" fmla="*/ 104775 h 227192"/>
                    <a:gd name="connsiteX63" fmla="*/ 198120 w 254551"/>
                    <a:gd name="connsiteY63" fmla="*/ 116205 h 227192"/>
                    <a:gd name="connsiteX64" fmla="*/ 196215 w 254551"/>
                    <a:gd name="connsiteY64" fmla="*/ 121920 h 227192"/>
                    <a:gd name="connsiteX65" fmla="*/ 190500 w 254551"/>
                    <a:gd name="connsiteY65" fmla="*/ 133350 h 227192"/>
                    <a:gd name="connsiteX66" fmla="*/ 182880 w 254551"/>
                    <a:gd name="connsiteY66" fmla="*/ 154305 h 227192"/>
                    <a:gd name="connsiteX67" fmla="*/ 175260 w 254551"/>
                    <a:gd name="connsiteY67" fmla="*/ 156210 h 227192"/>
                    <a:gd name="connsiteX68" fmla="*/ 169545 w 254551"/>
                    <a:gd name="connsiteY68" fmla="*/ 150495 h 227192"/>
                    <a:gd name="connsiteX69" fmla="*/ 167640 w 254551"/>
                    <a:gd name="connsiteY69" fmla="*/ 144780 h 227192"/>
                    <a:gd name="connsiteX70" fmla="*/ 156210 w 254551"/>
                    <a:gd name="connsiteY70" fmla="*/ 140970 h 227192"/>
                    <a:gd name="connsiteX71" fmla="*/ 150495 w 254551"/>
                    <a:gd name="connsiteY71" fmla="*/ 139065 h 227192"/>
                    <a:gd name="connsiteX72" fmla="*/ 139065 w 254551"/>
                    <a:gd name="connsiteY72" fmla="*/ 135255 h 227192"/>
                    <a:gd name="connsiteX73" fmla="*/ 133350 w 254551"/>
                    <a:gd name="connsiteY73" fmla="*/ 133350 h 227192"/>
                    <a:gd name="connsiteX74" fmla="*/ 121920 w 254551"/>
                    <a:gd name="connsiteY74" fmla="*/ 127635 h 227192"/>
                    <a:gd name="connsiteX75" fmla="*/ 89535 w 254551"/>
                    <a:gd name="connsiteY75" fmla="*/ 125730 h 227192"/>
                    <a:gd name="connsiteX76" fmla="*/ 78105 w 254551"/>
                    <a:gd name="connsiteY76" fmla="*/ 116205 h 227192"/>
                    <a:gd name="connsiteX77" fmla="*/ 76200 w 254551"/>
                    <a:gd name="connsiteY77" fmla="*/ 110490 h 227192"/>
                    <a:gd name="connsiteX78" fmla="*/ 72390 w 254551"/>
                    <a:gd name="connsiteY78" fmla="*/ 104775 h 227192"/>
                    <a:gd name="connsiteX79" fmla="*/ 68580 w 254551"/>
                    <a:gd name="connsiteY79" fmla="*/ 89535 h 227192"/>
                    <a:gd name="connsiteX80" fmla="*/ 62865 w 254551"/>
                    <a:gd name="connsiteY80" fmla="*/ 85725 h 227192"/>
                    <a:gd name="connsiteX81" fmla="*/ 53340 w 254551"/>
                    <a:gd name="connsiteY81" fmla="*/ 83820 h 227192"/>
                    <a:gd name="connsiteX82" fmla="*/ 47625 w 254551"/>
                    <a:gd name="connsiteY82" fmla="*/ 80010 h 227192"/>
                    <a:gd name="connsiteX83" fmla="*/ 41910 w 254551"/>
                    <a:gd name="connsiteY83" fmla="*/ 78105 h 227192"/>
                    <a:gd name="connsiteX84" fmla="*/ 34290 w 254551"/>
                    <a:gd name="connsiteY84" fmla="*/ 64770 h 227192"/>
                    <a:gd name="connsiteX85" fmla="*/ 30480 w 254551"/>
                    <a:gd name="connsiteY85" fmla="*/ 53340 h 227192"/>
                    <a:gd name="connsiteX86" fmla="*/ 34290 w 254551"/>
                    <a:gd name="connsiteY86" fmla="*/ 47625 h 227192"/>
                    <a:gd name="connsiteX87" fmla="*/ 32385 w 254551"/>
                    <a:gd name="connsiteY87" fmla="*/ 28575 h 227192"/>
                    <a:gd name="connsiteX88" fmla="*/ 30480 w 254551"/>
                    <a:gd name="connsiteY88" fmla="*/ 22860 h 227192"/>
                    <a:gd name="connsiteX89" fmla="*/ 36195 w 254551"/>
                    <a:gd name="connsiteY89" fmla="*/ 30480 h 227192"/>
                    <a:gd name="connsiteX0" fmla="*/ 36195 w 254551"/>
                    <a:gd name="connsiteY0" fmla="*/ 30480 h 227192"/>
                    <a:gd name="connsiteX1" fmla="*/ 36195 w 254551"/>
                    <a:gd name="connsiteY1" fmla="*/ 30480 h 227192"/>
                    <a:gd name="connsiteX2" fmla="*/ 20955 w 254551"/>
                    <a:gd name="connsiteY2" fmla="*/ 20955 h 227192"/>
                    <a:gd name="connsiteX3" fmla="*/ 17145 w 254551"/>
                    <a:gd name="connsiteY3" fmla="*/ 9525 h 227192"/>
                    <a:gd name="connsiteX4" fmla="*/ 1905 w 254551"/>
                    <a:gd name="connsiteY4" fmla="*/ 20955 h 227192"/>
                    <a:gd name="connsiteX5" fmla="*/ 0 w 254551"/>
                    <a:gd name="connsiteY5" fmla="*/ 26670 h 227192"/>
                    <a:gd name="connsiteX6" fmla="*/ 1905 w 254551"/>
                    <a:gd name="connsiteY6" fmla="*/ 47625 h 227192"/>
                    <a:gd name="connsiteX7" fmla="*/ 9525 w 254551"/>
                    <a:gd name="connsiteY7" fmla="*/ 59055 h 227192"/>
                    <a:gd name="connsiteX8" fmla="*/ 13335 w 254551"/>
                    <a:gd name="connsiteY8" fmla="*/ 70485 h 227192"/>
                    <a:gd name="connsiteX9" fmla="*/ 15240 w 254551"/>
                    <a:gd name="connsiteY9" fmla="*/ 99060 h 227192"/>
                    <a:gd name="connsiteX10" fmla="*/ 17145 w 254551"/>
                    <a:gd name="connsiteY10" fmla="*/ 104775 h 227192"/>
                    <a:gd name="connsiteX11" fmla="*/ 22860 w 254551"/>
                    <a:gd name="connsiteY11" fmla="*/ 108585 h 227192"/>
                    <a:gd name="connsiteX12" fmla="*/ 26670 w 254551"/>
                    <a:gd name="connsiteY12" fmla="*/ 114300 h 227192"/>
                    <a:gd name="connsiteX13" fmla="*/ 32385 w 254551"/>
                    <a:gd name="connsiteY13" fmla="*/ 118110 h 227192"/>
                    <a:gd name="connsiteX14" fmla="*/ 41910 w 254551"/>
                    <a:gd name="connsiteY14" fmla="*/ 131445 h 227192"/>
                    <a:gd name="connsiteX15" fmla="*/ 59055 w 254551"/>
                    <a:gd name="connsiteY15" fmla="*/ 133350 h 227192"/>
                    <a:gd name="connsiteX16" fmla="*/ 64770 w 254551"/>
                    <a:gd name="connsiteY16" fmla="*/ 180975 h 227192"/>
                    <a:gd name="connsiteX17" fmla="*/ 74295 w 254551"/>
                    <a:gd name="connsiteY17" fmla="*/ 188595 h 227192"/>
                    <a:gd name="connsiteX18" fmla="*/ 80010 w 254551"/>
                    <a:gd name="connsiteY18" fmla="*/ 192405 h 227192"/>
                    <a:gd name="connsiteX19" fmla="*/ 87630 w 254551"/>
                    <a:gd name="connsiteY19" fmla="*/ 201930 h 227192"/>
                    <a:gd name="connsiteX20" fmla="*/ 95250 w 254551"/>
                    <a:gd name="connsiteY20" fmla="*/ 213360 h 227192"/>
                    <a:gd name="connsiteX21" fmla="*/ 99060 w 254551"/>
                    <a:gd name="connsiteY21" fmla="*/ 219075 h 227192"/>
                    <a:gd name="connsiteX22" fmla="*/ 104775 w 254551"/>
                    <a:gd name="connsiteY22" fmla="*/ 220980 h 227192"/>
                    <a:gd name="connsiteX23" fmla="*/ 108585 w 254551"/>
                    <a:gd name="connsiteY23" fmla="*/ 226695 h 227192"/>
                    <a:gd name="connsiteX24" fmla="*/ 133350 w 254551"/>
                    <a:gd name="connsiteY24" fmla="*/ 222885 h 227192"/>
                    <a:gd name="connsiteX25" fmla="*/ 144780 w 254551"/>
                    <a:gd name="connsiteY25" fmla="*/ 211455 h 227192"/>
                    <a:gd name="connsiteX26" fmla="*/ 148590 w 254551"/>
                    <a:gd name="connsiteY26" fmla="*/ 205740 h 227192"/>
                    <a:gd name="connsiteX27" fmla="*/ 160020 w 254551"/>
                    <a:gd name="connsiteY27" fmla="*/ 201930 h 227192"/>
                    <a:gd name="connsiteX28" fmla="*/ 161925 w 254551"/>
                    <a:gd name="connsiteY28" fmla="*/ 196215 h 227192"/>
                    <a:gd name="connsiteX29" fmla="*/ 163830 w 254551"/>
                    <a:gd name="connsiteY29" fmla="*/ 184785 h 227192"/>
                    <a:gd name="connsiteX30" fmla="*/ 175260 w 254551"/>
                    <a:gd name="connsiteY30" fmla="*/ 180975 h 227192"/>
                    <a:gd name="connsiteX31" fmla="*/ 198120 w 254551"/>
                    <a:gd name="connsiteY31" fmla="*/ 182880 h 227192"/>
                    <a:gd name="connsiteX32" fmla="*/ 203835 w 254551"/>
                    <a:gd name="connsiteY32" fmla="*/ 186690 h 227192"/>
                    <a:gd name="connsiteX33" fmla="*/ 209550 w 254551"/>
                    <a:gd name="connsiteY33" fmla="*/ 188595 h 227192"/>
                    <a:gd name="connsiteX34" fmla="*/ 220980 w 254551"/>
                    <a:gd name="connsiteY34" fmla="*/ 186690 h 227192"/>
                    <a:gd name="connsiteX35" fmla="*/ 226695 w 254551"/>
                    <a:gd name="connsiteY35" fmla="*/ 182880 h 227192"/>
                    <a:gd name="connsiteX36" fmla="*/ 234315 w 254551"/>
                    <a:gd name="connsiteY36" fmla="*/ 165735 h 227192"/>
                    <a:gd name="connsiteX37" fmla="*/ 238125 w 254551"/>
                    <a:gd name="connsiteY37" fmla="*/ 154305 h 227192"/>
                    <a:gd name="connsiteX38" fmla="*/ 240030 w 254551"/>
                    <a:gd name="connsiteY38" fmla="*/ 148590 h 227192"/>
                    <a:gd name="connsiteX39" fmla="*/ 245745 w 254551"/>
                    <a:gd name="connsiteY39" fmla="*/ 120015 h 227192"/>
                    <a:gd name="connsiteX40" fmla="*/ 247650 w 254551"/>
                    <a:gd name="connsiteY40" fmla="*/ 114300 h 227192"/>
                    <a:gd name="connsiteX41" fmla="*/ 249555 w 254551"/>
                    <a:gd name="connsiteY41" fmla="*/ 108585 h 227192"/>
                    <a:gd name="connsiteX42" fmla="*/ 241935 w 254551"/>
                    <a:gd name="connsiteY42" fmla="*/ 89535 h 227192"/>
                    <a:gd name="connsiteX43" fmla="*/ 236220 w 254551"/>
                    <a:gd name="connsiteY43" fmla="*/ 85725 h 227192"/>
                    <a:gd name="connsiteX44" fmla="*/ 238125 w 254551"/>
                    <a:gd name="connsiteY44" fmla="*/ 80010 h 227192"/>
                    <a:gd name="connsiteX45" fmla="*/ 243840 w 254551"/>
                    <a:gd name="connsiteY45" fmla="*/ 78105 h 227192"/>
                    <a:gd name="connsiteX46" fmla="*/ 249555 w 254551"/>
                    <a:gd name="connsiteY46" fmla="*/ 74295 h 227192"/>
                    <a:gd name="connsiteX47" fmla="*/ 251460 w 254551"/>
                    <a:gd name="connsiteY47" fmla="*/ 24765 h 227192"/>
                    <a:gd name="connsiteX48" fmla="*/ 249555 w 254551"/>
                    <a:gd name="connsiteY48" fmla="*/ 19050 h 227192"/>
                    <a:gd name="connsiteX49" fmla="*/ 243840 w 254551"/>
                    <a:gd name="connsiteY49" fmla="*/ 15240 h 227192"/>
                    <a:gd name="connsiteX50" fmla="*/ 234315 w 254551"/>
                    <a:gd name="connsiteY50" fmla="*/ 3810 h 227192"/>
                    <a:gd name="connsiteX51" fmla="*/ 228600 w 254551"/>
                    <a:gd name="connsiteY51" fmla="*/ 0 h 227192"/>
                    <a:gd name="connsiteX52" fmla="*/ 217170 w 254551"/>
                    <a:gd name="connsiteY52" fmla="*/ 1905 h 227192"/>
                    <a:gd name="connsiteX53" fmla="*/ 213360 w 254551"/>
                    <a:gd name="connsiteY53" fmla="*/ 7620 h 227192"/>
                    <a:gd name="connsiteX54" fmla="*/ 207645 w 254551"/>
                    <a:gd name="connsiteY54" fmla="*/ 9525 h 227192"/>
                    <a:gd name="connsiteX55" fmla="*/ 203835 w 254551"/>
                    <a:gd name="connsiteY55" fmla="*/ 20955 h 227192"/>
                    <a:gd name="connsiteX56" fmla="*/ 201930 w 254551"/>
                    <a:gd name="connsiteY56" fmla="*/ 26670 h 227192"/>
                    <a:gd name="connsiteX57" fmla="*/ 200025 w 254551"/>
                    <a:gd name="connsiteY57" fmla="*/ 38100 h 227192"/>
                    <a:gd name="connsiteX58" fmla="*/ 205740 w 254551"/>
                    <a:gd name="connsiteY58" fmla="*/ 72390 h 227192"/>
                    <a:gd name="connsiteX59" fmla="*/ 213360 w 254551"/>
                    <a:gd name="connsiteY59" fmla="*/ 83820 h 227192"/>
                    <a:gd name="connsiteX60" fmla="*/ 217170 w 254551"/>
                    <a:gd name="connsiteY60" fmla="*/ 89535 h 227192"/>
                    <a:gd name="connsiteX61" fmla="*/ 215265 w 254551"/>
                    <a:gd name="connsiteY61" fmla="*/ 97155 h 227192"/>
                    <a:gd name="connsiteX62" fmla="*/ 203835 w 254551"/>
                    <a:gd name="connsiteY62" fmla="*/ 104775 h 227192"/>
                    <a:gd name="connsiteX63" fmla="*/ 198120 w 254551"/>
                    <a:gd name="connsiteY63" fmla="*/ 116205 h 227192"/>
                    <a:gd name="connsiteX64" fmla="*/ 196215 w 254551"/>
                    <a:gd name="connsiteY64" fmla="*/ 121920 h 227192"/>
                    <a:gd name="connsiteX65" fmla="*/ 190500 w 254551"/>
                    <a:gd name="connsiteY65" fmla="*/ 133350 h 227192"/>
                    <a:gd name="connsiteX66" fmla="*/ 182880 w 254551"/>
                    <a:gd name="connsiteY66" fmla="*/ 154305 h 227192"/>
                    <a:gd name="connsiteX67" fmla="*/ 175260 w 254551"/>
                    <a:gd name="connsiteY67" fmla="*/ 156210 h 227192"/>
                    <a:gd name="connsiteX68" fmla="*/ 169545 w 254551"/>
                    <a:gd name="connsiteY68" fmla="*/ 150495 h 227192"/>
                    <a:gd name="connsiteX69" fmla="*/ 167640 w 254551"/>
                    <a:gd name="connsiteY69" fmla="*/ 144780 h 227192"/>
                    <a:gd name="connsiteX70" fmla="*/ 156210 w 254551"/>
                    <a:gd name="connsiteY70" fmla="*/ 140970 h 227192"/>
                    <a:gd name="connsiteX71" fmla="*/ 150495 w 254551"/>
                    <a:gd name="connsiteY71" fmla="*/ 139065 h 227192"/>
                    <a:gd name="connsiteX72" fmla="*/ 139065 w 254551"/>
                    <a:gd name="connsiteY72" fmla="*/ 135255 h 227192"/>
                    <a:gd name="connsiteX73" fmla="*/ 133350 w 254551"/>
                    <a:gd name="connsiteY73" fmla="*/ 133350 h 227192"/>
                    <a:gd name="connsiteX74" fmla="*/ 121920 w 254551"/>
                    <a:gd name="connsiteY74" fmla="*/ 127635 h 227192"/>
                    <a:gd name="connsiteX75" fmla="*/ 89535 w 254551"/>
                    <a:gd name="connsiteY75" fmla="*/ 125730 h 227192"/>
                    <a:gd name="connsiteX76" fmla="*/ 78105 w 254551"/>
                    <a:gd name="connsiteY76" fmla="*/ 116205 h 227192"/>
                    <a:gd name="connsiteX77" fmla="*/ 76200 w 254551"/>
                    <a:gd name="connsiteY77" fmla="*/ 110490 h 227192"/>
                    <a:gd name="connsiteX78" fmla="*/ 72390 w 254551"/>
                    <a:gd name="connsiteY78" fmla="*/ 104775 h 227192"/>
                    <a:gd name="connsiteX79" fmla="*/ 68580 w 254551"/>
                    <a:gd name="connsiteY79" fmla="*/ 89535 h 227192"/>
                    <a:gd name="connsiteX80" fmla="*/ 62865 w 254551"/>
                    <a:gd name="connsiteY80" fmla="*/ 85725 h 227192"/>
                    <a:gd name="connsiteX81" fmla="*/ 53340 w 254551"/>
                    <a:gd name="connsiteY81" fmla="*/ 83820 h 227192"/>
                    <a:gd name="connsiteX82" fmla="*/ 47625 w 254551"/>
                    <a:gd name="connsiteY82" fmla="*/ 80010 h 227192"/>
                    <a:gd name="connsiteX83" fmla="*/ 41910 w 254551"/>
                    <a:gd name="connsiteY83" fmla="*/ 78105 h 227192"/>
                    <a:gd name="connsiteX84" fmla="*/ 34290 w 254551"/>
                    <a:gd name="connsiteY84" fmla="*/ 64770 h 227192"/>
                    <a:gd name="connsiteX85" fmla="*/ 30480 w 254551"/>
                    <a:gd name="connsiteY85" fmla="*/ 53340 h 227192"/>
                    <a:gd name="connsiteX86" fmla="*/ 34290 w 254551"/>
                    <a:gd name="connsiteY86" fmla="*/ 47625 h 227192"/>
                    <a:gd name="connsiteX87" fmla="*/ 32385 w 254551"/>
                    <a:gd name="connsiteY87" fmla="*/ 28575 h 227192"/>
                    <a:gd name="connsiteX88" fmla="*/ 30480 w 254551"/>
                    <a:gd name="connsiteY88" fmla="*/ 22860 h 227192"/>
                    <a:gd name="connsiteX89" fmla="*/ 36195 w 254551"/>
                    <a:gd name="connsiteY89" fmla="*/ 30480 h 227192"/>
                    <a:gd name="connsiteX0" fmla="*/ 36317 w 254673"/>
                    <a:gd name="connsiteY0" fmla="*/ 30480 h 227192"/>
                    <a:gd name="connsiteX1" fmla="*/ 36317 w 254673"/>
                    <a:gd name="connsiteY1" fmla="*/ 30480 h 227192"/>
                    <a:gd name="connsiteX2" fmla="*/ 21077 w 254673"/>
                    <a:gd name="connsiteY2" fmla="*/ 20955 h 227192"/>
                    <a:gd name="connsiteX3" fmla="*/ 2027 w 254673"/>
                    <a:gd name="connsiteY3" fmla="*/ 20955 h 227192"/>
                    <a:gd name="connsiteX4" fmla="*/ 122 w 254673"/>
                    <a:gd name="connsiteY4" fmla="*/ 26670 h 227192"/>
                    <a:gd name="connsiteX5" fmla="*/ 2027 w 254673"/>
                    <a:gd name="connsiteY5" fmla="*/ 47625 h 227192"/>
                    <a:gd name="connsiteX6" fmla="*/ 9647 w 254673"/>
                    <a:gd name="connsiteY6" fmla="*/ 59055 h 227192"/>
                    <a:gd name="connsiteX7" fmla="*/ 13457 w 254673"/>
                    <a:gd name="connsiteY7" fmla="*/ 70485 h 227192"/>
                    <a:gd name="connsiteX8" fmla="*/ 15362 w 254673"/>
                    <a:gd name="connsiteY8" fmla="*/ 99060 h 227192"/>
                    <a:gd name="connsiteX9" fmla="*/ 17267 w 254673"/>
                    <a:gd name="connsiteY9" fmla="*/ 104775 h 227192"/>
                    <a:gd name="connsiteX10" fmla="*/ 22982 w 254673"/>
                    <a:gd name="connsiteY10" fmla="*/ 108585 h 227192"/>
                    <a:gd name="connsiteX11" fmla="*/ 26792 w 254673"/>
                    <a:gd name="connsiteY11" fmla="*/ 114300 h 227192"/>
                    <a:gd name="connsiteX12" fmla="*/ 32507 w 254673"/>
                    <a:gd name="connsiteY12" fmla="*/ 118110 h 227192"/>
                    <a:gd name="connsiteX13" fmla="*/ 42032 w 254673"/>
                    <a:gd name="connsiteY13" fmla="*/ 131445 h 227192"/>
                    <a:gd name="connsiteX14" fmla="*/ 59177 w 254673"/>
                    <a:gd name="connsiteY14" fmla="*/ 133350 h 227192"/>
                    <a:gd name="connsiteX15" fmla="*/ 64892 w 254673"/>
                    <a:gd name="connsiteY15" fmla="*/ 180975 h 227192"/>
                    <a:gd name="connsiteX16" fmla="*/ 74417 w 254673"/>
                    <a:gd name="connsiteY16" fmla="*/ 188595 h 227192"/>
                    <a:gd name="connsiteX17" fmla="*/ 80132 w 254673"/>
                    <a:gd name="connsiteY17" fmla="*/ 192405 h 227192"/>
                    <a:gd name="connsiteX18" fmla="*/ 87752 w 254673"/>
                    <a:gd name="connsiteY18" fmla="*/ 201930 h 227192"/>
                    <a:gd name="connsiteX19" fmla="*/ 95372 w 254673"/>
                    <a:gd name="connsiteY19" fmla="*/ 213360 h 227192"/>
                    <a:gd name="connsiteX20" fmla="*/ 99182 w 254673"/>
                    <a:gd name="connsiteY20" fmla="*/ 219075 h 227192"/>
                    <a:gd name="connsiteX21" fmla="*/ 104897 w 254673"/>
                    <a:gd name="connsiteY21" fmla="*/ 220980 h 227192"/>
                    <a:gd name="connsiteX22" fmla="*/ 108707 w 254673"/>
                    <a:gd name="connsiteY22" fmla="*/ 226695 h 227192"/>
                    <a:gd name="connsiteX23" fmla="*/ 133472 w 254673"/>
                    <a:gd name="connsiteY23" fmla="*/ 222885 h 227192"/>
                    <a:gd name="connsiteX24" fmla="*/ 144902 w 254673"/>
                    <a:gd name="connsiteY24" fmla="*/ 211455 h 227192"/>
                    <a:gd name="connsiteX25" fmla="*/ 148712 w 254673"/>
                    <a:gd name="connsiteY25" fmla="*/ 205740 h 227192"/>
                    <a:gd name="connsiteX26" fmla="*/ 160142 w 254673"/>
                    <a:gd name="connsiteY26" fmla="*/ 201930 h 227192"/>
                    <a:gd name="connsiteX27" fmla="*/ 162047 w 254673"/>
                    <a:gd name="connsiteY27" fmla="*/ 196215 h 227192"/>
                    <a:gd name="connsiteX28" fmla="*/ 163952 w 254673"/>
                    <a:gd name="connsiteY28" fmla="*/ 184785 h 227192"/>
                    <a:gd name="connsiteX29" fmla="*/ 175382 w 254673"/>
                    <a:gd name="connsiteY29" fmla="*/ 180975 h 227192"/>
                    <a:gd name="connsiteX30" fmla="*/ 198242 w 254673"/>
                    <a:gd name="connsiteY30" fmla="*/ 182880 h 227192"/>
                    <a:gd name="connsiteX31" fmla="*/ 203957 w 254673"/>
                    <a:gd name="connsiteY31" fmla="*/ 186690 h 227192"/>
                    <a:gd name="connsiteX32" fmla="*/ 209672 w 254673"/>
                    <a:gd name="connsiteY32" fmla="*/ 188595 h 227192"/>
                    <a:gd name="connsiteX33" fmla="*/ 221102 w 254673"/>
                    <a:gd name="connsiteY33" fmla="*/ 186690 h 227192"/>
                    <a:gd name="connsiteX34" fmla="*/ 226817 w 254673"/>
                    <a:gd name="connsiteY34" fmla="*/ 182880 h 227192"/>
                    <a:gd name="connsiteX35" fmla="*/ 234437 w 254673"/>
                    <a:gd name="connsiteY35" fmla="*/ 165735 h 227192"/>
                    <a:gd name="connsiteX36" fmla="*/ 238247 w 254673"/>
                    <a:gd name="connsiteY36" fmla="*/ 154305 h 227192"/>
                    <a:gd name="connsiteX37" fmla="*/ 240152 w 254673"/>
                    <a:gd name="connsiteY37" fmla="*/ 148590 h 227192"/>
                    <a:gd name="connsiteX38" fmla="*/ 245867 w 254673"/>
                    <a:gd name="connsiteY38" fmla="*/ 120015 h 227192"/>
                    <a:gd name="connsiteX39" fmla="*/ 247772 w 254673"/>
                    <a:gd name="connsiteY39" fmla="*/ 114300 h 227192"/>
                    <a:gd name="connsiteX40" fmla="*/ 249677 w 254673"/>
                    <a:gd name="connsiteY40" fmla="*/ 108585 h 227192"/>
                    <a:gd name="connsiteX41" fmla="*/ 242057 w 254673"/>
                    <a:gd name="connsiteY41" fmla="*/ 89535 h 227192"/>
                    <a:gd name="connsiteX42" fmla="*/ 236342 w 254673"/>
                    <a:gd name="connsiteY42" fmla="*/ 85725 h 227192"/>
                    <a:gd name="connsiteX43" fmla="*/ 238247 w 254673"/>
                    <a:gd name="connsiteY43" fmla="*/ 80010 h 227192"/>
                    <a:gd name="connsiteX44" fmla="*/ 243962 w 254673"/>
                    <a:gd name="connsiteY44" fmla="*/ 78105 h 227192"/>
                    <a:gd name="connsiteX45" fmla="*/ 249677 w 254673"/>
                    <a:gd name="connsiteY45" fmla="*/ 74295 h 227192"/>
                    <a:gd name="connsiteX46" fmla="*/ 251582 w 254673"/>
                    <a:gd name="connsiteY46" fmla="*/ 24765 h 227192"/>
                    <a:gd name="connsiteX47" fmla="*/ 249677 w 254673"/>
                    <a:gd name="connsiteY47" fmla="*/ 19050 h 227192"/>
                    <a:gd name="connsiteX48" fmla="*/ 243962 w 254673"/>
                    <a:gd name="connsiteY48" fmla="*/ 15240 h 227192"/>
                    <a:gd name="connsiteX49" fmla="*/ 234437 w 254673"/>
                    <a:gd name="connsiteY49" fmla="*/ 3810 h 227192"/>
                    <a:gd name="connsiteX50" fmla="*/ 228722 w 254673"/>
                    <a:gd name="connsiteY50" fmla="*/ 0 h 227192"/>
                    <a:gd name="connsiteX51" fmla="*/ 217292 w 254673"/>
                    <a:gd name="connsiteY51" fmla="*/ 1905 h 227192"/>
                    <a:gd name="connsiteX52" fmla="*/ 213482 w 254673"/>
                    <a:gd name="connsiteY52" fmla="*/ 7620 h 227192"/>
                    <a:gd name="connsiteX53" fmla="*/ 207767 w 254673"/>
                    <a:gd name="connsiteY53" fmla="*/ 9525 h 227192"/>
                    <a:gd name="connsiteX54" fmla="*/ 203957 w 254673"/>
                    <a:gd name="connsiteY54" fmla="*/ 20955 h 227192"/>
                    <a:gd name="connsiteX55" fmla="*/ 202052 w 254673"/>
                    <a:gd name="connsiteY55" fmla="*/ 26670 h 227192"/>
                    <a:gd name="connsiteX56" fmla="*/ 200147 w 254673"/>
                    <a:gd name="connsiteY56" fmla="*/ 38100 h 227192"/>
                    <a:gd name="connsiteX57" fmla="*/ 205862 w 254673"/>
                    <a:gd name="connsiteY57" fmla="*/ 72390 h 227192"/>
                    <a:gd name="connsiteX58" fmla="*/ 213482 w 254673"/>
                    <a:gd name="connsiteY58" fmla="*/ 83820 h 227192"/>
                    <a:gd name="connsiteX59" fmla="*/ 217292 w 254673"/>
                    <a:gd name="connsiteY59" fmla="*/ 89535 h 227192"/>
                    <a:gd name="connsiteX60" fmla="*/ 215387 w 254673"/>
                    <a:gd name="connsiteY60" fmla="*/ 97155 h 227192"/>
                    <a:gd name="connsiteX61" fmla="*/ 203957 w 254673"/>
                    <a:gd name="connsiteY61" fmla="*/ 104775 h 227192"/>
                    <a:gd name="connsiteX62" fmla="*/ 198242 w 254673"/>
                    <a:gd name="connsiteY62" fmla="*/ 116205 h 227192"/>
                    <a:gd name="connsiteX63" fmla="*/ 196337 w 254673"/>
                    <a:gd name="connsiteY63" fmla="*/ 121920 h 227192"/>
                    <a:gd name="connsiteX64" fmla="*/ 190622 w 254673"/>
                    <a:gd name="connsiteY64" fmla="*/ 133350 h 227192"/>
                    <a:gd name="connsiteX65" fmla="*/ 183002 w 254673"/>
                    <a:gd name="connsiteY65" fmla="*/ 154305 h 227192"/>
                    <a:gd name="connsiteX66" fmla="*/ 175382 w 254673"/>
                    <a:gd name="connsiteY66" fmla="*/ 156210 h 227192"/>
                    <a:gd name="connsiteX67" fmla="*/ 169667 w 254673"/>
                    <a:gd name="connsiteY67" fmla="*/ 150495 h 227192"/>
                    <a:gd name="connsiteX68" fmla="*/ 167762 w 254673"/>
                    <a:gd name="connsiteY68" fmla="*/ 144780 h 227192"/>
                    <a:gd name="connsiteX69" fmla="*/ 156332 w 254673"/>
                    <a:gd name="connsiteY69" fmla="*/ 140970 h 227192"/>
                    <a:gd name="connsiteX70" fmla="*/ 150617 w 254673"/>
                    <a:gd name="connsiteY70" fmla="*/ 139065 h 227192"/>
                    <a:gd name="connsiteX71" fmla="*/ 139187 w 254673"/>
                    <a:gd name="connsiteY71" fmla="*/ 135255 h 227192"/>
                    <a:gd name="connsiteX72" fmla="*/ 133472 w 254673"/>
                    <a:gd name="connsiteY72" fmla="*/ 133350 h 227192"/>
                    <a:gd name="connsiteX73" fmla="*/ 122042 w 254673"/>
                    <a:gd name="connsiteY73" fmla="*/ 127635 h 227192"/>
                    <a:gd name="connsiteX74" fmla="*/ 89657 w 254673"/>
                    <a:gd name="connsiteY74" fmla="*/ 125730 h 227192"/>
                    <a:gd name="connsiteX75" fmla="*/ 78227 w 254673"/>
                    <a:gd name="connsiteY75" fmla="*/ 116205 h 227192"/>
                    <a:gd name="connsiteX76" fmla="*/ 76322 w 254673"/>
                    <a:gd name="connsiteY76" fmla="*/ 110490 h 227192"/>
                    <a:gd name="connsiteX77" fmla="*/ 72512 w 254673"/>
                    <a:gd name="connsiteY77" fmla="*/ 104775 h 227192"/>
                    <a:gd name="connsiteX78" fmla="*/ 68702 w 254673"/>
                    <a:gd name="connsiteY78" fmla="*/ 89535 h 227192"/>
                    <a:gd name="connsiteX79" fmla="*/ 62987 w 254673"/>
                    <a:gd name="connsiteY79" fmla="*/ 85725 h 227192"/>
                    <a:gd name="connsiteX80" fmla="*/ 53462 w 254673"/>
                    <a:gd name="connsiteY80" fmla="*/ 83820 h 227192"/>
                    <a:gd name="connsiteX81" fmla="*/ 47747 w 254673"/>
                    <a:gd name="connsiteY81" fmla="*/ 80010 h 227192"/>
                    <a:gd name="connsiteX82" fmla="*/ 42032 w 254673"/>
                    <a:gd name="connsiteY82" fmla="*/ 78105 h 227192"/>
                    <a:gd name="connsiteX83" fmla="*/ 34412 w 254673"/>
                    <a:gd name="connsiteY83" fmla="*/ 64770 h 227192"/>
                    <a:gd name="connsiteX84" fmla="*/ 30602 w 254673"/>
                    <a:gd name="connsiteY84" fmla="*/ 53340 h 227192"/>
                    <a:gd name="connsiteX85" fmla="*/ 34412 w 254673"/>
                    <a:gd name="connsiteY85" fmla="*/ 47625 h 227192"/>
                    <a:gd name="connsiteX86" fmla="*/ 32507 w 254673"/>
                    <a:gd name="connsiteY86" fmla="*/ 28575 h 227192"/>
                    <a:gd name="connsiteX87" fmla="*/ 30602 w 254673"/>
                    <a:gd name="connsiteY87" fmla="*/ 22860 h 227192"/>
                    <a:gd name="connsiteX88" fmla="*/ 36317 w 254673"/>
                    <a:gd name="connsiteY88" fmla="*/ 30480 h 227192"/>
                    <a:gd name="connsiteX0" fmla="*/ 30602 w 254673"/>
                    <a:gd name="connsiteY0" fmla="*/ 22860 h 227192"/>
                    <a:gd name="connsiteX1" fmla="*/ 36317 w 254673"/>
                    <a:gd name="connsiteY1" fmla="*/ 30480 h 227192"/>
                    <a:gd name="connsiteX2" fmla="*/ 21077 w 254673"/>
                    <a:gd name="connsiteY2" fmla="*/ 20955 h 227192"/>
                    <a:gd name="connsiteX3" fmla="*/ 2027 w 254673"/>
                    <a:gd name="connsiteY3" fmla="*/ 20955 h 227192"/>
                    <a:gd name="connsiteX4" fmla="*/ 122 w 254673"/>
                    <a:gd name="connsiteY4" fmla="*/ 26670 h 227192"/>
                    <a:gd name="connsiteX5" fmla="*/ 2027 w 254673"/>
                    <a:gd name="connsiteY5" fmla="*/ 47625 h 227192"/>
                    <a:gd name="connsiteX6" fmla="*/ 9647 w 254673"/>
                    <a:gd name="connsiteY6" fmla="*/ 59055 h 227192"/>
                    <a:gd name="connsiteX7" fmla="*/ 13457 w 254673"/>
                    <a:gd name="connsiteY7" fmla="*/ 70485 h 227192"/>
                    <a:gd name="connsiteX8" fmla="*/ 15362 w 254673"/>
                    <a:gd name="connsiteY8" fmla="*/ 99060 h 227192"/>
                    <a:gd name="connsiteX9" fmla="*/ 17267 w 254673"/>
                    <a:gd name="connsiteY9" fmla="*/ 104775 h 227192"/>
                    <a:gd name="connsiteX10" fmla="*/ 22982 w 254673"/>
                    <a:gd name="connsiteY10" fmla="*/ 108585 h 227192"/>
                    <a:gd name="connsiteX11" fmla="*/ 26792 w 254673"/>
                    <a:gd name="connsiteY11" fmla="*/ 114300 h 227192"/>
                    <a:gd name="connsiteX12" fmla="*/ 32507 w 254673"/>
                    <a:gd name="connsiteY12" fmla="*/ 118110 h 227192"/>
                    <a:gd name="connsiteX13" fmla="*/ 42032 w 254673"/>
                    <a:gd name="connsiteY13" fmla="*/ 131445 h 227192"/>
                    <a:gd name="connsiteX14" fmla="*/ 59177 w 254673"/>
                    <a:gd name="connsiteY14" fmla="*/ 133350 h 227192"/>
                    <a:gd name="connsiteX15" fmla="*/ 64892 w 254673"/>
                    <a:gd name="connsiteY15" fmla="*/ 180975 h 227192"/>
                    <a:gd name="connsiteX16" fmla="*/ 74417 w 254673"/>
                    <a:gd name="connsiteY16" fmla="*/ 188595 h 227192"/>
                    <a:gd name="connsiteX17" fmla="*/ 80132 w 254673"/>
                    <a:gd name="connsiteY17" fmla="*/ 192405 h 227192"/>
                    <a:gd name="connsiteX18" fmla="*/ 87752 w 254673"/>
                    <a:gd name="connsiteY18" fmla="*/ 201930 h 227192"/>
                    <a:gd name="connsiteX19" fmla="*/ 95372 w 254673"/>
                    <a:gd name="connsiteY19" fmla="*/ 213360 h 227192"/>
                    <a:gd name="connsiteX20" fmla="*/ 99182 w 254673"/>
                    <a:gd name="connsiteY20" fmla="*/ 219075 h 227192"/>
                    <a:gd name="connsiteX21" fmla="*/ 104897 w 254673"/>
                    <a:gd name="connsiteY21" fmla="*/ 220980 h 227192"/>
                    <a:gd name="connsiteX22" fmla="*/ 108707 w 254673"/>
                    <a:gd name="connsiteY22" fmla="*/ 226695 h 227192"/>
                    <a:gd name="connsiteX23" fmla="*/ 133472 w 254673"/>
                    <a:gd name="connsiteY23" fmla="*/ 222885 h 227192"/>
                    <a:gd name="connsiteX24" fmla="*/ 144902 w 254673"/>
                    <a:gd name="connsiteY24" fmla="*/ 211455 h 227192"/>
                    <a:gd name="connsiteX25" fmla="*/ 148712 w 254673"/>
                    <a:gd name="connsiteY25" fmla="*/ 205740 h 227192"/>
                    <a:gd name="connsiteX26" fmla="*/ 160142 w 254673"/>
                    <a:gd name="connsiteY26" fmla="*/ 201930 h 227192"/>
                    <a:gd name="connsiteX27" fmla="*/ 162047 w 254673"/>
                    <a:gd name="connsiteY27" fmla="*/ 196215 h 227192"/>
                    <a:gd name="connsiteX28" fmla="*/ 163952 w 254673"/>
                    <a:gd name="connsiteY28" fmla="*/ 184785 h 227192"/>
                    <a:gd name="connsiteX29" fmla="*/ 175382 w 254673"/>
                    <a:gd name="connsiteY29" fmla="*/ 180975 h 227192"/>
                    <a:gd name="connsiteX30" fmla="*/ 198242 w 254673"/>
                    <a:gd name="connsiteY30" fmla="*/ 182880 h 227192"/>
                    <a:gd name="connsiteX31" fmla="*/ 203957 w 254673"/>
                    <a:gd name="connsiteY31" fmla="*/ 186690 h 227192"/>
                    <a:gd name="connsiteX32" fmla="*/ 209672 w 254673"/>
                    <a:gd name="connsiteY32" fmla="*/ 188595 h 227192"/>
                    <a:gd name="connsiteX33" fmla="*/ 221102 w 254673"/>
                    <a:gd name="connsiteY33" fmla="*/ 186690 h 227192"/>
                    <a:gd name="connsiteX34" fmla="*/ 226817 w 254673"/>
                    <a:gd name="connsiteY34" fmla="*/ 182880 h 227192"/>
                    <a:gd name="connsiteX35" fmla="*/ 234437 w 254673"/>
                    <a:gd name="connsiteY35" fmla="*/ 165735 h 227192"/>
                    <a:gd name="connsiteX36" fmla="*/ 238247 w 254673"/>
                    <a:gd name="connsiteY36" fmla="*/ 154305 h 227192"/>
                    <a:gd name="connsiteX37" fmla="*/ 240152 w 254673"/>
                    <a:gd name="connsiteY37" fmla="*/ 148590 h 227192"/>
                    <a:gd name="connsiteX38" fmla="*/ 245867 w 254673"/>
                    <a:gd name="connsiteY38" fmla="*/ 120015 h 227192"/>
                    <a:gd name="connsiteX39" fmla="*/ 247772 w 254673"/>
                    <a:gd name="connsiteY39" fmla="*/ 114300 h 227192"/>
                    <a:gd name="connsiteX40" fmla="*/ 249677 w 254673"/>
                    <a:gd name="connsiteY40" fmla="*/ 108585 h 227192"/>
                    <a:gd name="connsiteX41" fmla="*/ 242057 w 254673"/>
                    <a:gd name="connsiteY41" fmla="*/ 89535 h 227192"/>
                    <a:gd name="connsiteX42" fmla="*/ 236342 w 254673"/>
                    <a:gd name="connsiteY42" fmla="*/ 85725 h 227192"/>
                    <a:gd name="connsiteX43" fmla="*/ 238247 w 254673"/>
                    <a:gd name="connsiteY43" fmla="*/ 80010 h 227192"/>
                    <a:gd name="connsiteX44" fmla="*/ 243962 w 254673"/>
                    <a:gd name="connsiteY44" fmla="*/ 78105 h 227192"/>
                    <a:gd name="connsiteX45" fmla="*/ 249677 w 254673"/>
                    <a:gd name="connsiteY45" fmla="*/ 74295 h 227192"/>
                    <a:gd name="connsiteX46" fmla="*/ 251582 w 254673"/>
                    <a:gd name="connsiteY46" fmla="*/ 24765 h 227192"/>
                    <a:gd name="connsiteX47" fmla="*/ 249677 w 254673"/>
                    <a:gd name="connsiteY47" fmla="*/ 19050 h 227192"/>
                    <a:gd name="connsiteX48" fmla="*/ 243962 w 254673"/>
                    <a:gd name="connsiteY48" fmla="*/ 15240 h 227192"/>
                    <a:gd name="connsiteX49" fmla="*/ 234437 w 254673"/>
                    <a:gd name="connsiteY49" fmla="*/ 3810 h 227192"/>
                    <a:gd name="connsiteX50" fmla="*/ 228722 w 254673"/>
                    <a:gd name="connsiteY50" fmla="*/ 0 h 227192"/>
                    <a:gd name="connsiteX51" fmla="*/ 217292 w 254673"/>
                    <a:gd name="connsiteY51" fmla="*/ 1905 h 227192"/>
                    <a:gd name="connsiteX52" fmla="*/ 213482 w 254673"/>
                    <a:gd name="connsiteY52" fmla="*/ 7620 h 227192"/>
                    <a:gd name="connsiteX53" fmla="*/ 207767 w 254673"/>
                    <a:gd name="connsiteY53" fmla="*/ 9525 h 227192"/>
                    <a:gd name="connsiteX54" fmla="*/ 203957 w 254673"/>
                    <a:gd name="connsiteY54" fmla="*/ 20955 h 227192"/>
                    <a:gd name="connsiteX55" fmla="*/ 202052 w 254673"/>
                    <a:gd name="connsiteY55" fmla="*/ 26670 h 227192"/>
                    <a:gd name="connsiteX56" fmla="*/ 200147 w 254673"/>
                    <a:gd name="connsiteY56" fmla="*/ 38100 h 227192"/>
                    <a:gd name="connsiteX57" fmla="*/ 205862 w 254673"/>
                    <a:gd name="connsiteY57" fmla="*/ 72390 h 227192"/>
                    <a:gd name="connsiteX58" fmla="*/ 213482 w 254673"/>
                    <a:gd name="connsiteY58" fmla="*/ 83820 h 227192"/>
                    <a:gd name="connsiteX59" fmla="*/ 217292 w 254673"/>
                    <a:gd name="connsiteY59" fmla="*/ 89535 h 227192"/>
                    <a:gd name="connsiteX60" fmla="*/ 215387 w 254673"/>
                    <a:gd name="connsiteY60" fmla="*/ 97155 h 227192"/>
                    <a:gd name="connsiteX61" fmla="*/ 203957 w 254673"/>
                    <a:gd name="connsiteY61" fmla="*/ 104775 h 227192"/>
                    <a:gd name="connsiteX62" fmla="*/ 198242 w 254673"/>
                    <a:gd name="connsiteY62" fmla="*/ 116205 h 227192"/>
                    <a:gd name="connsiteX63" fmla="*/ 196337 w 254673"/>
                    <a:gd name="connsiteY63" fmla="*/ 121920 h 227192"/>
                    <a:gd name="connsiteX64" fmla="*/ 190622 w 254673"/>
                    <a:gd name="connsiteY64" fmla="*/ 133350 h 227192"/>
                    <a:gd name="connsiteX65" fmla="*/ 183002 w 254673"/>
                    <a:gd name="connsiteY65" fmla="*/ 154305 h 227192"/>
                    <a:gd name="connsiteX66" fmla="*/ 175382 w 254673"/>
                    <a:gd name="connsiteY66" fmla="*/ 156210 h 227192"/>
                    <a:gd name="connsiteX67" fmla="*/ 169667 w 254673"/>
                    <a:gd name="connsiteY67" fmla="*/ 150495 h 227192"/>
                    <a:gd name="connsiteX68" fmla="*/ 167762 w 254673"/>
                    <a:gd name="connsiteY68" fmla="*/ 144780 h 227192"/>
                    <a:gd name="connsiteX69" fmla="*/ 156332 w 254673"/>
                    <a:gd name="connsiteY69" fmla="*/ 140970 h 227192"/>
                    <a:gd name="connsiteX70" fmla="*/ 150617 w 254673"/>
                    <a:gd name="connsiteY70" fmla="*/ 139065 h 227192"/>
                    <a:gd name="connsiteX71" fmla="*/ 139187 w 254673"/>
                    <a:gd name="connsiteY71" fmla="*/ 135255 h 227192"/>
                    <a:gd name="connsiteX72" fmla="*/ 133472 w 254673"/>
                    <a:gd name="connsiteY72" fmla="*/ 133350 h 227192"/>
                    <a:gd name="connsiteX73" fmla="*/ 122042 w 254673"/>
                    <a:gd name="connsiteY73" fmla="*/ 127635 h 227192"/>
                    <a:gd name="connsiteX74" fmla="*/ 89657 w 254673"/>
                    <a:gd name="connsiteY74" fmla="*/ 125730 h 227192"/>
                    <a:gd name="connsiteX75" fmla="*/ 78227 w 254673"/>
                    <a:gd name="connsiteY75" fmla="*/ 116205 h 227192"/>
                    <a:gd name="connsiteX76" fmla="*/ 76322 w 254673"/>
                    <a:gd name="connsiteY76" fmla="*/ 110490 h 227192"/>
                    <a:gd name="connsiteX77" fmla="*/ 72512 w 254673"/>
                    <a:gd name="connsiteY77" fmla="*/ 104775 h 227192"/>
                    <a:gd name="connsiteX78" fmla="*/ 68702 w 254673"/>
                    <a:gd name="connsiteY78" fmla="*/ 89535 h 227192"/>
                    <a:gd name="connsiteX79" fmla="*/ 62987 w 254673"/>
                    <a:gd name="connsiteY79" fmla="*/ 85725 h 227192"/>
                    <a:gd name="connsiteX80" fmla="*/ 53462 w 254673"/>
                    <a:gd name="connsiteY80" fmla="*/ 83820 h 227192"/>
                    <a:gd name="connsiteX81" fmla="*/ 47747 w 254673"/>
                    <a:gd name="connsiteY81" fmla="*/ 80010 h 227192"/>
                    <a:gd name="connsiteX82" fmla="*/ 42032 w 254673"/>
                    <a:gd name="connsiteY82" fmla="*/ 78105 h 227192"/>
                    <a:gd name="connsiteX83" fmla="*/ 34412 w 254673"/>
                    <a:gd name="connsiteY83" fmla="*/ 64770 h 227192"/>
                    <a:gd name="connsiteX84" fmla="*/ 30602 w 254673"/>
                    <a:gd name="connsiteY84" fmla="*/ 53340 h 227192"/>
                    <a:gd name="connsiteX85" fmla="*/ 34412 w 254673"/>
                    <a:gd name="connsiteY85" fmla="*/ 47625 h 227192"/>
                    <a:gd name="connsiteX86" fmla="*/ 32507 w 254673"/>
                    <a:gd name="connsiteY86" fmla="*/ 28575 h 227192"/>
                    <a:gd name="connsiteX87" fmla="*/ 30602 w 254673"/>
                    <a:gd name="connsiteY87" fmla="*/ 22860 h 227192"/>
                    <a:gd name="connsiteX0" fmla="*/ 32507 w 254673"/>
                    <a:gd name="connsiteY0" fmla="*/ 28575 h 227192"/>
                    <a:gd name="connsiteX1" fmla="*/ 36317 w 254673"/>
                    <a:gd name="connsiteY1" fmla="*/ 30480 h 227192"/>
                    <a:gd name="connsiteX2" fmla="*/ 21077 w 254673"/>
                    <a:gd name="connsiteY2" fmla="*/ 20955 h 227192"/>
                    <a:gd name="connsiteX3" fmla="*/ 2027 w 254673"/>
                    <a:gd name="connsiteY3" fmla="*/ 20955 h 227192"/>
                    <a:gd name="connsiteX4" fmla="*/ 122 w 254673"/>
                    <a:gd name="connsiteY4" fmla="*/ 26670 h 227192"/>
                    <a:gd name="connsiteX5" fmla="*/ 2027 w 254673"/>
                    <a:gd name="connsiteY5" fmla="*/ 47625 h 227192"/>
                    <a:gd name="connsiteX6" fmla="*/ 9647 w 254673"/>
                    <a:gd name="connsiteY6" fmla="*/ 59055 h 227192"/>
                    <a:gd name="connsiteX7" fmla="*/ 13457 w 254673"/>
                    <a:gd name="connsiteY7" fmla="*/ 70485 h 227192"/>
                    <a:gd name="connsiteX8" fmla="*/ 15362 w 254673"/>
                    <a:gd name="connsiteY8" fmla="*/ 99060 h 227192"/>
                    <a:gd name="connsiteX9" fmla="*/ 17267 w 254673"/>
                    <a:gd name="connsiteY9" fmla="*/ 104775 h 227192"/>
                    <a:gd name="connsiteX10" fmla="*/ 22982 w 254673"/>
                    <a:gd name="connsiteY10" fmla="*/ 108585 h 227192"/>
                    <a:gd name="connsiteX11" fmla="*/ 26792 w 254673"/>
                    <a:gd name="connsiteY11" fmla="*/ 114300 h 227192"/>
                    <a:gd name="connsiteX12" fmla="*/ 32507 w 254673"/>
                    <a:gd name="connsiteY12" fmla="*/ 118110 h 227192"/>
                    <a:gd name="connsiteX13" fmla="*/ 42032 w 254673"/>
                    <a:gd name="connsiteY13" fmla="*/ 131445 h 227192"/>
                    <a:gd name="connsiteX14" fmla="*/ 59177 w 254673"/>
                    <a:gd name="connsiteY14" fmla="*/ 133350 h 227192"/>
                    <a:gd name="connsiteX15" fmla="*/ 64892 w 254673"/>
                    <a:gd name="connsiteY15" fmla="*/ 180975 h 227192"/>
                    <a:gd name="connsiteX16" fmla="*/ 74417 w 254673"/>
                    <a:gd name="connsiteY16" fmla="*/ 188595 h 227192"/>
                    <a:gd name="connsiteX17" fmla="*/ 80132 w 254673"/>
                    <a:gd name="connsiteY17" fmla="*/ 192405 h 227192"/>
                    <a:gd name="connsiteX18" fmla="*/ 87752 w 254673"/>
                    <a:gd name="connsiteY18" fmla="*/ 201930 h 227192"/>
                    <a:gd name="connsiteX19" fmla="*/ 95372 w 254673"/>
                    <a:gd name="connsiteY19" fmla="*/ 213360 h 227192"/>
                    <a:gd name="connsiteX20" fmla="*/ 99182 w 254673"/>
                    <a:gd name="connsiteY20" fmla="*/ 219075 h 227192"/>
                    <a:gd name="connsiteX21" fmla="*/ 104897 w 254673"/>
                    <a:gd name="connsiteY21" fmla="*/ 220980 h 227192"/>
                    <a:gd name="connsiteX22" fmla="*/ 108707 w 254673"/>
                    <a:gd name="connsiteY22" fmla="*/ 226695 h 227192"/>
                    <a:gd name="connsiteX23" fmla="*/ 133472 w 254673"/>
                    <a:gd name="connsiteY23" fmla="*/ 222885 h 227192"/>
                    <a:gd name="connsiteX24" fmla="*/ 144902 w 254673"/>
                    <a:gd name="connsiteY24" fmla="*/ 211455 h 227192"/>
                    <a:gd name="connsiteX25" fmla="*/ 148712 w 254673"/>
                    <a:gd name="connsiteY25" fmla="*/ 205740 h 227192"/>
                    <a:gd name="connsiteX26" fmla="*/ 160142 w 254673"/>
                    <a:gd name="connsiteY26" fmla="*/ 201930 h 227192"/>
                    <a:gd name="connsiteX27" fmla="*/ 162047 w 254673"/>
                    <a:gd name="connsiteY27" fmla="*/ 196215 h 227192"/>
                    <a:gd name="connsiteX28" fmla="*/ 163952 w 254673"/>
                    <a:gd name="connsiteY28" fmla="*/ 184785 h 227192"/>
                    <a:gd name="connsiteX29" fmla="*/ 175382 w 254673"/>
                    <a:gd name="connsiteY29" fmla="*/ 180975 h 227192"/>
                    <a:gd name="connsiteX30" fmla="*/ 198242 w 254673"/>
                    <a:gd name="connsiteY30" fmla="*/ 182880 h 227192"/>
                    <a:gd name="connsiteX31" fmla="*/ 203957 w 254673"/>
                    <a:gd name="connsiteY31" fmla="*/ 186690 h 227192"/>
                    <a:gd name="connsiteX32" fmla="*/ 209672 w 254673"/>
                    <a:gd name="connsiteY32" fmla="*/ 188595 h 227192"/>
                    <a:gd name="connsiteX33" fmla="*/ 221102 w 254673"/>
                    <a:gd name="connsiteY33" fmla="*/ 186690 h 227192"/>
                    <a:gd name="connsiteX34" fmla="*/ 226817 w 254673"/>
                    <a:gd name="connsiteY34" fmla="*/ 182880 h 227192"/>
                    <a:gd name="connsiteX35" fmla="*/ 234437 w 254673"/>
                    <a:gd name="connsiteY35" fmla="*/ 165735 h 227192"/>
                    <a:gd name="connsiteX36" fmla="*/ 238247 w 254673"/>
                    <a:gd name="connsiteY36" fmla="*/ 154305 h 227192"/>
                    <a:gd name="connsiteX37" fmla="*/ 240152 w 254673"/>
                    <a:gd name="connsiteY37" fmla="*/ 148590 h 227192"/>
                    <a:gd name="connsiteX38" fmla="*/ 245867 w 254673"/>
                    <a:gd name="connsiteY38" fmla="*/ 120015 h 227192"/>
                    <a:gd name="connsiteX39" fmla="*/ 247772 w 254673"/>
                    <a:gd name="connsiteY39" fmla="*/ 114300 h 227192"/>
                    <a:gd name="connsiteX40" fmla="*/ 249677 w 254673"/>
                    <a:gd name="connsiteY40" fmla="*/ 108585 h 227192"/>
                    <a:gd name="connsiteX41" fmla="*/ 242057 w 254673"/>
                    <a:gd name="connsiteY41" fmla="*/ 89535 h 227192"/>
                    <a:gd name="connsiteX42" fmla="*/ 236342 w 254673"/>
                    <a:gd name="connsiteY42" fmla="*/ 85725 h 227192"/>
                    <a:gd name="connsiteX43" fmla="*/ 238247 w 254673"/>
                    <a:gd name="connsiteY43" fmla="*/ 80010 h 227192"/>
                    <a:gd name="connsiteX44" fmla="*/ 243962 w 254673"/>
                    <a:gd name="connsiteY44" fmla="*/ 78105 h 227192"/>
                    <a:gd name="connsiteX45" fmla="*/ 249677 w 254673"/>
                    <a:gd name="connsiteY45" fmla="*/ 74295 h 227192"/>
                    <a:gd name="connsiteX46" fmla="*/ 251582 w 254673"/>
                    <a:gd name="connsiteY46" fmla="*/ 24765 h 227192"/>
                    <a:gd name="connsiteX47" fmla="*/ 249677 w 254673"/>
                    <a:gd name="connsiteY47" fmla="*/ 19050 h 227192"/>
                    <a:gd name="connsiteX48" fmla="*/ 243962 w 254673"/>
                    <a:gd name="connsiteY48" fmla="*/ 15240 h 227192"/>
                    <a:gd name="connsiteX49" fmla="*/ 234437 w 254673"/>
                    <a:gd name="connsiteY49" fmla="*/ 3810 h 227192"/>
                    <a:gd name="connsiteX50" fmla="*/ 228722 w 254673"/>
                    <a:gd name="connsiteY50" fmla="*/ 0 h 227192"/>
                    <a:gd name="connsiteX51" fmla="*/ 217292 w 254673"/>
                    <a:gd name="connsiteY51" fmla="*/ 1905 h 227192"/>
                    <a:gd name="connsiteX52" fmla="*/ 213482 w 254673"/>
                    <a:gd name="connsiteY52" fmla="*/ 7620 h 227192"/>
                    <a:gd name="connsiteX53" fmla="*/ 207767 w 254673"/>
                    <a:gd name="connsiteY53" fmla="*/ 9525 h 227192"/>
                    <a:gd name="connsiteX54" fmla="*/ 203957 w 254673"/>
                    <a:gd name="connsiteY54" fmla="*/ 20955 h 227192"/>
                    <a:gd name="connsiteX55" fmla="*/ 202052 w 254673"/>
                    <a:gd name="connsiteY55" fmla="*/ 26670 h 227192"/>
                    <a:gd name="connsiteX56" fmla="*/ 200147 w 254673"/>
                    <a:gd name="connsiteY56" fmla="*/ 38100 h 227192"/>
                    <a:gd name="connsiteX57" fmla="*/ 205862 w 254673"/>
                    <a:gd name="connsiteY57" fmla="*/ 72390 h 227192"/>
                    <a:gd name="connsiteX58" fmla="*/ 213482 w 254673"/>
                    <a:gd name="connsiteY58" fmla="*/ 83820 h 227192"/>
                    <a:gd name="connsiteX59" fmla="*/ 217292 w 254673"/>
                    <a:gd name="connsiteY59" fmla="*/ 89535 h 227192"/>
                    <a:gd name="connsiteX60" fmla="*/ 215387 w 254673"/>
                    <a:gd name="connsiteY60" fmla="*/ 97155 h 227192"/>
                    <a:gd name="connsiteX61" fmla="*/ 203957 w 254673"/>
                    <a:gd name="connsiteY61" fmla="*/ 104775 h 227192"/>
                    <a:gd name="connsiteX62" fmla="*/ 198242 w 254673"/>
                    <a:gd name="connsiteY62" fmla="*/ 116205 h 227192"/>
                    <a:gd name="connsiteX63" fmla="*/ 196337 w 254673"/>
                    <a:gd name="connsiteY63" fmla="*/ 121920 h 227192"/>
                    <a:gd name="connsiteX64" fmla="*/ 190622 w 254673"/>
                    <a:gd name="connsiteY64" fmla="*/ 133350 h 227192"/>
                    <a:gd name="connsiteX65" fmla="*/ 183002 w 254673"/>
                    <a:gd name="connsiteY65" fmla="*/ 154305 h 227192"/>
                    <a:gd name="connsiteX66" fmla="*/ 175382 w 254673"/>
                    <a:gd name="connsiteY66" fmla="*/ 156210 h 227192"/>
                    <a:gd name="connsiteX67" fmla="*/ 169667 w 254673"/>
                    <a:gd name="connsiteY67" fmla="*/ 150495 h 227192"/>
                    <a:gd name="connsiteX68" fmla="*/ 167762 w 254673"/>
                    <a:gd name="connsiteY68" fmla="*/ 144780 h 227192"/>
                    <a:gd name="connsiteX69" fmla="*/ 156332 w 254673"/>
                    <a:gd name="connsiteY69" fmla="*/ 140970 h 227192"/>
                    <a:gd name="connsiteX70" fmla="*/ 150617 w 254673"/>
                    <a:gd name="connsiteY70" fmla="*/ 139065 h 227192"/>
                    <a:gd name="connsiteX71" fmla="*/ 139187 w 254673"/>
                    <a:gd name="connsiteY71" fmla="*/ 135255 h 227192"/>
                    <a:gd name="connsiteX72" fmla="*/ 133472 w 254673"/>
                    <a:gd name="connsiteY72" fmla="*/ 133350 h 227192"/>
                    <a:gd name="connsiteX73" fmla="*/ 122042 w 254673"/>
                    <a:gd name="connsiteY73" fmla="*/ 127635 h 227192"/>
                    <a:gd name="connsiteX74" fmla="*/ 89657 w 254673"/>
                    <a:gd name="connsiteY74" fmla="*/ 125730 h 227192"/>
                    <a:gd name="connsiteX75" fmla="*/ 78227 w 254673"/>
                    <a:gd name="connsiteY75" fmla="*/ 116205 h 227192"/>
                    <a:gd name="connsiteX76" fmla="*/ 76322 w 254673"/>
                    <a:gd name="connsiteY76" fmla="*/ 110490 h 227192"/>
                    <a:gd name="connsiteX77" fmla="*/ 72512 w 254673"/>
                    <a:gd name="connsiteY77" fmla="*/ 104775 h 227192"/>
                    <a:gd name="connsiteX78" fmla="*/ 68702 w 254673"/>
                    <a:gd name="connsiteY78" fmla="*/ 89535 h 227192"/>
                    <a:gd name="connsiteX79" fmla="*/ 62987 w 254673"/>
                    <a:gd name="connsiteY79" fmla="*/ 85725 h 227192"/>
                    <a:gd name="connsiteX80" fmla="*/ 53462 w 254673"/>
                    <a:gd name="connsiteY80" fmla="*/ 83820 h 227192"/>
                    <a:gd name="connsiteX81" fmla="*/ 47747 w 254673"/>
                    <a:gd name="connsiteY81" fmla="*/ 80010 h 227192"/>
                    <a:gd name="connsiteX82" fmla="*/ 42032 w 254673"/>
                    <a:gd name="connsiteY82" fmla="*/ 78105 h 227192"/>
                    <a:gd name="connsiteX83" fmla="*/ 34412 w 254673"/>
                    <a:gd name="connsiteY83" fmla="*/ 64770 h 227192"/>
                    <a:gd name="connsiteX84" fmla="*/ 30602 w 254673"/>
                    <a:gd name="connsiteY84" fmla="*/ 53340 h 227192"/>
                    <a:gd name="connsiteX85" fmla="*/ 34412 w 254673"/>
                    <a:gd name="connsiteY85" fmla="*/ 47625 h 227192"/>
                    <a:gd name="connsiteX86" fmla="*/ 32507 w 254673"/>
                    <a:gd name="connsiteY86" fmla="*/ 28575 h 227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</a:cxnLst>
                  <a:rect l="l" t="t" r="r" b="b"/>
                  <a:pathLst>
                    <a:path w="254673" h="227192">
                      <a:moveTo>
                        <a:pt x="32507" y="28575"/>
                      </a:moveTo>
                      <a:cubicBezTo>
                        <a:pt x="32825" y="25718"/>
                        <a:pt x="38222" y="31750"/>
                        <a:pt x="36317" y="30480"/>
                      </a:cubicBezTo>
                      <a:cubicBezTo>
                        <a:pt x="34412" y="29210"/>
                        <a:pt x="26792" y="22543"/>
                        <a:pt x="21077" y="20955"/>
                      </a:cubicBezTo>
                      <a:cubicBezTo>
                        <a:pt x="15362" y="19368"/>
                        <a:pt x="5519" y="20003"/>
                        <a:pt x="2027" y="20955"/>
                      </a:cubicBezTo>
                      <a:cubicBezTo>
                        <a:pt x="-1465" y="21907"/>
                        <a:pt x="757" y="24765"/>
                        <a:pt x="122" y="26670"/>
                      </a:cubicBezTo>
                      <a:cubicBezTo>
                        <a:pt x="757" y="33655"/>
                        <a:pt x="48" y="40896"/>
                        <a:pt x="2027" y="47625"/>
                      </a:cubicBezTo>
                      <a:cubicBezTo>
                        <a:pt x="3319" y="52018"/>
                        <a:pt x="8199" y="54711"/>
                        <a:pt x="9647" y="59055"/>
                      </a:cubicBezTo>
                      <a:lnTo>
                        <a:pt x="13457" y="70485"/>
                      </a:lnTo>
                      <a:cubicBezTo>
                        <a:pt x="14092" y="80010"/>
                        <a:pt x="14308" y="89572"/>
                        <a:pt x="15362" y="99060"/>
                      </a:cubicBezTo>
                      <a:cubicBezTo>
                        <a:pt x="15584" y="101056"/>
                        <a:pt x="16013" y="103207"/>
                        <a:pt x="17267" y="104775"/>
                      </a:cubicBezTo>
                      <a:cubicBezTo>
                        <a:pt x="18697" y="106563"/>
                        <a:pt x="21077" y="107315"/>
                        <a:pt x="22982" y="108585"/>
                      </a:cubicBezTo>
                      <a:cubicBezTo>
                        <a:pt x="24252" y="110490"/>
                        <a:pt x="25173" y="112681"/>
                        <a:pt x="26792" y="114300"/>
                      </a:cubicBezTo>
                      <a:cubicBezTo>
                        <a:pt x="28411" y="115919"/>
                        <a:pt x="31294" y="116168"/>
                        <a:pt x="32507" y="118110"/>
                      </a:cubicBezTo>
                      <a:cubicBezTo>
                        <a:pt x="39079" y="128624"/>
                        <a:pt x="31444" y="129680"/>
                        <a:pt x="42032" y="131445"/>
                      </a:cubicBezTo>
                      <a:cubicBezTo>
                        <a:pt x="47704" y="132390"/>
                        <a:pt x="53462" y="132715"/>
                        <a:pt x="59177" y="133350"/>
                      </a:cubicBezTo>
                      <a:cubicBezTo>
                        <a:pt x="71402" y="151687"/>
                        <a:pt x="58865" y="130751"/>
                        <a:pt x="64892" y="180975"/>
                      </a:cubicBezTo>
                      <a:cubicBezTo>
                        <a:pt x="65712" y="187808"/>
                        <a:pt x="70129" y="186451"/>
                        <a:pt x="74417" y="188595"/>
                      </a:cubicBezTo>
                      <a:cubicBezTo>
                        <a:pt x="76465" y="189619"/>
                        <a:pt x="78227" y="191135"/>
                        <a:pt x="80132" y="192405"/>
                      </a:cubicBezTo>
                      <a:cubicBezTo>
                        <a:pt x="84422" y="205275"/>
                        <a:pt x="78472" y="191325"/>
                        <a:pt x="87752" y="201930"/>
                      </a:cubicBezTo>
                      <a:cubicBezTo>
                        <a:pt x="90767" y="205376"/>
                        <a:pt x="92832" y="209550"/>
                        <a:pt x="95372" y="213360"/>
                      </a:cubicBezTo>
                      <a:cubicBezTo>
                        <a:pt x="96642" y="215265"/>
                        <a:pt x="97010" y="218351"/>
                        <a:pt x="99182" y="219075"/>
                      </a:cubicBezTo>
                      <a:lnTo>
                        <a:pt x="104897" y="220980"/>
                      </a:lnTo>
                      <a:cubicBezTo>
                        <a:pt x="106167" y="222885"/>
                        <a:pt x="106449" y="226319"/>
                        <a:pt x="108707" y="226695"/>
                      </a:cubicBezTo>
                      <a:cubicBezTo>
                        <a:pt x="118529" y="228332"/>
                        <a:pt x="125235" y="225631"/>
                        <a:pt x="133472" y="222885"/>
                      </a:cubicBezTo>
                      <a:cubicBezTo>
                        <a:pt x="137282" y="219075"/>
                        <a:pt x="141913" y="215938"/>
                        <a:pt x="144902" y="211455"/>
                      </a:cubicBezTo>
                      <a:cubicBezTo>
                        <a:pt x="146172" y="209550"/>
                        <a:pt x="146770" y="206953"/>
                        <a:pt x="148712" y="205740"/>
                      </a:cubicBezTo>
                      <a:cubicBezTo>
                        <a:pt x="152118" y="203611"/>
                        <a:pt x="160142" y="201930"/>
                        <a:pt x="160142" y="201930"/>
                      </a:cubicBezTo>
                      <a:cubicBezTo>
                        <a:pt x="160777" y="200025"/>
                        <a:pt x="161611" y="198175"/>
                        <a:pt x="162047" y="196215"/>
                      </a:cubicBezTo>
                      <a:cubicBezTo>
                        <a:pt x="162885" y="192444"/>
                        <a:pt x="161408" y="187692"/>
                        <a:pt x="163952" y="184785"/>
                      </a:cubicBezTo>
                      <a:cubicBezTo>
                        <a:pt x="166597" y="181763"/>
                        <a:pt x="175382" y="180975"/>
                        <a:pt x="175382" y="180975"/>
                      </a:cubicBezTo>
                      <a:cubicBezTo>
                        <a:pt x="183002" y="181610"/>
                        <a:pt x="190744" y="181380"/>
                        <a:pt x="198242" y="182880"/>
                      </a:cubicBezTo>
                      <a:cubicBezTo>
                        <a:pt x="200487" y="183329"/>
                        <a:pt x="201909" y="185666"/>
                        <a:pt x="203957" y="186690"/>
                      </a:cubicBezTo>
                      <a:cubicBezTo>
                        <a:pt x="205753" y="187588"/>
                        <a:pt x="207767" y="187960"/>
                        <a:pt x="209672" y="188595"/>
                      </a:cubicBezTo>
                      <a:cubicBezTo>
                        <a:pt x="213482" y="187960"/>
                        <a:pt x="217438" y="187911"/>
                        <a:pt x="221102" y="186690"/>
                      </a:cubicBezTo>
                      <a:cubicBezTo>
                        <a:pt x="223274" y="185966"/>
                        <a:pt x="225198" y="184499"/>
                        <a:pt x="226817" y="182880"/>
                      </a:cubicBezTo>
                      <a:cubicBezTo>
                        <a:pt x="231345" y="178352"/>
                        <a:pt x="232551" y="171394"/>
                        <a:pt x="234437" y="165735"/>
                      </a:cubicBezTo>
                      <a:lnTo>
                        <a:pt x="238247" y="154305"/>
                      </a:lnTo>
                      <a:lnTo>
                        <a:pt x="240152" y="148590"/>
                      </a:lnTo>
                      <a:cubicBezTo>
                        <a:pt x="242501" y="127453"/>
                        <a:pt x="240239" y="136900"/>
                        <a:pt x="245867" y="120015"/>
                      </a:cubicBezTo>
                      <a:lnTo>
                        <a:pt x="247772" y="114300"/>
                      </a:lnTo>
                      <a:lnTo>
                        <a:pt x="249677" y="108585"/>
                      </a:lnTo>
                      <a:cubicBezTo>
                        <a:pt x="248493" y="105032"/>
                        <a:pt x="245171" y="93272"/>
                        <a:pt x="242057" y="89535"/>
                      </a:cubicBezTo>
                      <a:cubicBezTo>
                        <a:pt x="240591" y="87776"/>
                        <a:pt x="238247" y="86995"/>
                        <a:pt x="236342" y="85725"/>
                      </a:cubicBezTo>
                      <a:cubicBezTo>
                        <a:pt x="236977" y="83820"/>
                        <a:pt x="236827" y="81430"/>
                        <a:pt x="238247" y="80010"/>
                      </a:cubicBezTo>
                      <a:cubicBezTo>
                        <a:pt x="239667" y="78590"/>
                        <a:pt x="242166" y="79003"/>
                        <a:pt x="243962" y="78105"/>
                      </a:cubicBezTo>
                      <a:cubicBezTo>
                        <a:pt x="246010" y="77081"/>
                        <a:pt x="247772" y="75565"/>
                        <a:pt x="249677" y="74295"/>
                      </a:cubicBezTo>
                      <a:cubicBezTo>
                        <a:pt x="257118" y="51971"/>
                        <a:pt x="254922" y="63173"/>
                        <a:pt x="251582" y="24765"/>
                      </a:cubicBezTo>
                      <a:cubicBezTo>
                        <a:pt x="251408" y="22765"/>
                        <a:pt x="250931" y="20618"/>
                        <a:pt x="249677" y="19050"/>
                      </a:cubicBezTo>
                      <a:cubicBezTo>
                        <a:pt x="248247" y="17262"/>
                        <a:pt x="245867" y="16510"/>
                        <a:pt x="243962" y="15240"/>
                      </a:cubicBezTo>
                      <a:cubicBezTo>
                        <a:pt x="240216" y="9621"/>
                        <a:pt x="239937" y="8394"/>
                        <a:pt x="234437" y="3810"/>
                      </a:cubicBezTo>
                      <a:cubicBezTo>
                        <a:pt x="232678" y="2344"/>
                        <a:pt x="230627" y="1270"/>
                        <a:pt x="228722" y="0"/>
                      </a:cubicBezTo>
                      <a:cubicBezTo>
                        <a:pt x="224912" y="635"/>
                        <a:pt x="220747" y="178"/>
                        <a:pt x="217292" y="1905"/>
                      </a:cubicBezTo>
                      <a:cubicBezTo>
                        <a:pt x="215244" y="2929"/>
                        <a:pt x="215270" y="6190"/>
                        <a:pt x="213482" y="7620"/>
                      </a:cubicBezTo>
                      <a:cubicBezTo>
                        <a:pt x="211914" y="8874"/>
                        <a:pt x="209672" y="8890"/>
                        <a:pt x="207767" y="9525"/>
                      </a:cubicBezTo>
                      <a:lnTo>
                        <a:pt x="203957" y="20955"/>
                      </a:lnTo>
                      <a:cubicBezTo>
                        <a:pt x="203322" y="22860"/>
                        <a:pt x="202382" y="24689"/>
                        <a:pt x="202052" y="26670"/>
                      </a:cubicBezTo>
                      <a:lnTo>
                        <a:pt x="200147" y="38100"/>
                      </a:lnTo>
                      <a:cubicBezTo>
                        <a:pt x="200692" y="44635"/>
                        <a:pt x="200524" y="64383"/>
                        <a:pt x="205862" y="72390"/>
                      </a:cubicBezTo>
                      <a:lnTo>
                        <a:pt x="213482" y="83820"/>
                      </a:lnTo>
                      <a:lnTo>
                        <a:pt x="217292" y="89535"/>
                      </a:lnTo>
                      <a:cubicBezTo>
                        <a:pt x="216657" y="92075"/>
                        <a:pt x="217111" y="95185"/>
                        <a:pt x="215387" y="97155"/>
                      </a:cubicBezTo>
                      <a:cubicBezTo>
                        <a:pt x="212372" y="100601"/>
                        <a:pt x="203957" y="104775"/>
                        <a:pt x="203957" y="104775"/>
                      </a:cubicBezTo>
                      <a:cubicBezTo>
                        <a:pt x="199169" y="119140"/>
                        <a:pt x="205628" y="101433"/>
                        <a:pt x="198242" y="116205"/>
                      </a:cubicBezTo>
                      <a:cubicBezTo>
                        <a:pt x="197344" y="118001"/>
                        <a:pt x="197235" y="120124"/>
                        <a:pt x="196337" y="121920"/>
                      </a:cubicBezTo>
                      <a:cubicBezTo>
                        <a:pt x="188951" y="136692"/>
                        <a:pt x="195410" y="118985"/>
                        <a:pt x="190622" y="133350"/>
                      </a:cubicBezTo>
                      <a:cubicBezTo>
                        <a:pt x="189197" y="146178"/>
                        <a:pt x="193210" y="149930"/>
                        <a:pt x="183002" y="154305"/>
                      </a:cubicBezTo>
                      <a:cubicBezTo>
                        <a:pt x="180596" y="155336"/>
                        <a:pt x="177922" y="155575"/>
                        <a:pt x="175382" y="156210"/>
                      </a:cubicBezTo>
                      <a:cubicBezTo>
                        <a:pt x="173477" y="154305"/>
                        <a:pt x="171161" y="152737"/>
                        <a:pt x="169667" y="150495"/>
                      </a:cubicBezTo>
                      <a:cubicBezTo>
                        <a:pt x="168553" y="148824"/>
                        <a:pt x="169396" y="145947"/>
                        <a:pt x="167762" y="144780"/>
                      </a:cubicBezTo>
                      <a:cubicBezTo>
                        <a:pt x="164494" y="142446"/>
                        <a:pt x="160142" y="142240"/>
                        <a:pt x="156332" y="140970"/>
                      </a:cubicBezTo>
                      <a:lnTo>
                        <a:pt x="150617" y="139065"/>
                      </a:lnTo>
                      <a:lnTo>
                        <a:pt x="139187" y="135255"/>
                      </a:lnTo>
                      <a:cubicBezTo>
                        <a:pt x="137282" y="134620"/>
                        <a:pt x="135143" y="134464"/>
                        <a:pt x="133472" y="133350"/>
                      </a:cubicBezTo>
                      <a:cubicBezTo>
                        <a:pt x="129789" y="130895"/>
                        <a:pt x="126681" y="128099"/>
                        <a:pt x="122042" y="127635"/>
                      </a:cubicBezTo>
                      <a:cubicBezTo>
                        <a:pt x="111282" y="126559"/>
                        <a:pt x="100452" y="126365"/>
                        <a:pt x="89657" y="125730"/>
                      </a:cubicBezTo>
                      <a:cubicBezTo>
                        <a:pt x="85440" y="122919"/>
                        <a:pt x="81161" y="120605"/>
                        <a:pt x="78227" y="116205"/>
                      </a:cubicBezTo>
                      <a:cubicBezTo>
                        <a:pt x="77113" y="114534"/>
                        <a:pt x="77220" y="112286"/>
                        <a:pt x="76322" y="110490"/>
                      </a:cubicBezTo>
                      <a:cubicBezTo>
                        <a:pt x="75298" y="108442"/>
                        <a:pt x="73782" y="106680"/>
                        <a:pt x="72512" y="104775"/>
                      </a:cubicBezTo>
                      <a:cubicBezTo>
                        <a:pt x="72417" y="104301"/>
                        <a:pt x="70264" y="91488"/>
                        <a:pt x="68702" y="89535"/>
                      </a:cubicBezTo>
                      <a:cubicBezTo>
                        <a:pt x="67272" y="87747"/>
                        <a:pt x="65131" y="86529"/>
                        <a:pt x="62987" y="85725"/>
                      </a:cubicBezTo>
                      <a:cubicBezTo>
                        <a:pt x="59955" y="84588"/>
                        <a:pt x="56637" y="84455"/>
                        <a:pt x="53462" y="83820"/>
                      </a:cubicBezTo>
                      <a:cubicBezTo>
                        <a:pt x="51557" y="82550"/>
                        <a:pt x="49795" y="81034"/>
                        <a:pt x="47747" y="80010"/>
                      </a:cubicBezTo>
                      <a:cubicBezTo>
                        <a:pt x="45951" y="79112"/>
                        <a:pt x="43600" y="79359"/>
                        <a:pt x="42032" y="78105"/>
                      </a:cubicBezTo>
                      <a:cubicBezTo>
                        <a:pt x="40010" y="76488"/>
                        <a:pt x="35074" y="66424"/>
                        <a:pt x="34412" y="64770"/>
                      </a:cubicBezTo>
                      <a:cubicBezTo>
                        <a:pt x="32920" y="61041"/>
                        <a:pt x="30602" y="53340"/>
                        <a:pt x="30602" y="53340"/>
                      </a:cubicBezTo>
                      <a:cubicBezTo>
                        <a:pt x="31872" y="51435"/>
                        <a:pt x="34236" y="49908"/>
                        <a:pt x="34412" y="47625"/>
                      </a:cubicBezTo>
                      <a:cubicBezTo>
                        <a:pt x="34901" y="41262"/>
                        <a:pt x="33477" y="34882"/>
                        <a:pt x="32507" y="28575"/>
                      </a:cubicBezTo>
                      <a:close/>
                    </a:path>
                  </a:pathLst>
                </a:custGeom>
                <a:solidFill>
                  <a:srgbClr val="9E6AAF">
                    <a:alpha val="72941"/>
                  </a:srgbClr>
                </a:solidFill>
                <a:ln w="19050" cap="flat" cmpd="sng" algn="ctr">
                  <a:solidFill>
                    <a:srgbClr val="7F5292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5783">
                    <a:defRPr/>
                  </a:pPr>
                  <a:endParaRPr lang="en-US" sz="1000" kern="0">
                    <a:solidFill>
                      <a:srgbClr val="FFFFFF"/>
                    </a:solidFill>
                    <a:latin typeface="Arial" panose="020B0604020202020204"/>
                    <a:cs typeface="Arial" panose="020B0604020202020204" pitchFamily="34" charset="0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6972539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3_AstraZeneca Standard Template">
  <a:themeElements>
    <a:clrScheme name="AstraZeneca 2020">
      <a:dk1>
        <a:srgbClr val="3F4444"/>
      </a:dk1>
      <a:lt1>
        <a:srgbClr val="FFFFFF"/>
      </a:lt1>
      <a:dk2>
        <a:srgbClr val="003865"/>
      </a:dk2>
      <a:lt2>
        <a:srgbClr val="9DB0AC"/>
      </a:lt2>
      <a:accent1>
        <a:srgbClr val="830051"/>
      </a:accent1>
      <a:accent2>
        <a:srgbClr val="F0AB00"/>
      </a:accent2>
      <a:accent3>
        <a:srgbClr val="D0006F"/>
      </a:accent3>
      <a:accent4>
        <a:srgbClr val="3C1053"/>
      </a:accent4>
      <a:accent5>
        <a:srgbClr val="C4D600"/>
      </a:accent5>
      <a:accent6>
        <a:srgbClr val="68D2DF"/>
      </a:accent6>
      <a:hlink>
        <a:srgbClr val="68D2DF"/>
      </a:hlink>
      <a:folHlink>
        <a:srgbClr val="D0006F"/>
      </a:folHlink>
    </a:clrScheme>
    <a:fontScheme name="Astra Zeneca">
      <a:majorFont>
        <a:latin typeface="Calisto M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>
        <a:normAutofit/>
      </a:bodyPr>
      <a:lstStyle>
        <a:defPPr algn="ctr">
          <a:lnSpc>
            <a:spcPct val="90000"/>
          </a:lnSpc>
          <a:spcAft>
            <a:spcPts val="600"/>
          </a:spcAft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lnSpc>
            <a:spcPct val="90000"/>
          </a:lnSpc>
          <a:spcAft>
            <a:spcPts val="600"/>
          </a:spcAft>
          <a:defRPr dirty="0" err="1" smtClean="0"/>
        </a:defPPr>
      </a:lstStyle>
    </a:txDef>
  </a:objectDefaults>
  <a:extraClrSchemeLst/>
  <a:custClrLst>
    <a:custClr name="White">
      <a:srgbClr val="FFFFFF"/>
    </a:custClr>
    <a:custClr name="Graphite, Lighter 60%">
      <a:srgbClr val="B2B4B4"/>
    </a:custClr>
    <a:custClr name="Platinum, Lighter 60%">
      <a:srgbClr val="D8DFDE"/>
    </a:custClr>
    <a:custClr name="Navy, Lighter 60%">
      <a:srgbClr val="99AFC1"/>
    </a:custClr>
    <a:custClr name="Mulberry, Lighter 60%">
      <a:srgbClr val="CD99B9"/>
    </a:custClr>
    <a:custClr name="Gold, Lighter 60%">
      <a:srgbClr val="F9DD99"/>
    </a:custClr>
    <a:custClr name="Magenta, Lighter 60%">
      <a:srgbClr val="EC99C5"/>
    </a:custClr>
    <a:custClr name="Purple, Lighter 60%">
      <a:srgbClr val="B19FBA"/>
    </a:custClr>
    <a:custClr name="Lime Green, Lighter 60%">
      <a:srgbClr val="E7EF99"/>
    </a:custClr>
    <a:custClr name="Light Blue, Lighter 60%">
      <a:srgbClr val="C3EDF2"/>
    </a:custClr>
    <a:custClr name="White">
      <a:srgbClr val="FFFFFF"/>
    </a:custClr>
    <a:custClr name="Graphite, Lighter 40%">
      <a:srgbClr val="8C8F8F"/>
    </a:custClr>
    <a:custClr name="Platinum, Lighter 40%">
      <a:srgbClr val="C4D0CD"/>
    </a:custClr>
    <a:custClr name="Navy, Lighter 40%">
      <a:srgbClr val="6688A3"/>
    </a:custClr>
    <a:custClr name="Mulberry, Lighter 40%">
      <a:srgbClr val="B56697"/>
    </a:custClr>
    <a:custClr name="Gold, Lighter 40%">
      <a:srgbClr val="F6CD66"/>
    </a:custClr>
    <a:custClr name="Magenta, Lighter 40%">
      <a:srgbClr val="E366A9"/>
    </a:custClr>
    <a:custClr name="Purple, Lighter 40%">
      <a:srgbClr val="8A7098"/>
    </a:custClr>
    <a:custClr name="Lime Green, Lighter 40%">
      <a:srgbClr val="DCE666"/>
    </a:custClr>
    <a:custClr name="Light Blue, Lighter 40%">
      <a:srgbClr val="A4E4EC"/>
    </a:custClr>
    <a:custClr name="White">
      <a:srgbClr val="FFFFFF"/>
    </a:custClr>
    <a:custClr name="Graphite, Darker 40%">
      <a:srgbClr val="262929"/>
    </a:custClr>
    <a:custClr name="Platinum, Darker 40%">
      <a:srgbClr val="5E6A67"/>
    </a:custClr>
    <a:custClr name="Navy, Darker 40%">
      <a:srgbClr val="00223D"/>
    </a:custClr>
    <a:custClr name="Mulberry, Darker 40%">
      <a:srgbClr val="4F0031"/>
    </a:custClr>
    <a:custClr name="Gold, Darker 40%">
      <a:srgbClr val="906700"/>
    </a:custClr>
    <a:custClr name="Magenta, Darker 40%">
      <a:srgbClr val="7D0043"/>
    </a:custClr>
    <a:custClr name="Purple, Darker 40%">
      <a:srgbClr val="240A32"/>
    </a:custClr>
    <a:custClr name="Lime Green, Darker 40%">
      <a:srgbClr val="768000"/>
    </a:custClr>
    <a:custClr name="Light Blue, Darker 40%">
      <a:srgbClr val="3E7E86"/>
    </a:custClr>
    <a:custClr name="White">
      <a:srgbClr val="FFFFFF"/>
    </a:custClr>
    <a:custClr name="Graphite, Darker 60%">
      <a:srgbClr val="191B1B"/>
    </a:custClr>
    <a:custClr name="Platinum, Darker 60%">
      <a:srgbClr val="3F4645"/>
    </a:custClr>
    <a:custClr name="Navy, Darker 60%">
      <a:srgbClr val="001628"/>
    </a:custClr>
    <a:custClr name="Mulberry, Darker 60%">
      <a:srgbClr val="340020"/>
    </a:custClr>
    <a:custClr name="Gold, Darker 60%">
      <a:srgbClr val="604400"/>
    </a:custClr>
    <a:custClr name="Magenta, Darker 60%">
      <a:srgbClr val="53002C"/>
    </a:custClr>
    <a:custClr name="Purple, Darker 60%">
      <a:srgbClr val="180621"/>
    </a:custClr>
    <a:custClr name="Lime Green, Darker 60%">
      <a:srgbClr val="4E5600"/>
    </a:custClr>
    <a:custClr name="Light Blue, Darker 60%">
      <a:srgbClr val="2A5459"/>
    </a:custClr>
  </a:custClrLst>
  <a:extLst>
    <a:ext uri="{05A4C25C-085E-4340-85A3-A5531E510DB2}">
      <thm15:themeFamily xmlns:thm15="http://schemas.microsoft.com/office/thememl/2012/main" name="blank" id="{9FA266AB-5005-44F8-ABE1-CBD751927E0B}" vid="{01D0DAFE-49CF-437F-BBAC-5737518177C1}"/>
    </a:ext>
  </a:extLst>
</a:theme>
</file>

<file path=ppt/theme/theme2.xml><?xml version="1.0" encoding="utf-8"?>
<a:theme xmlns:a="http://schemas.openxmlformats.org/drawingml/2006/main" name="1_LungenClinic Grosshandorf 16:9 Master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3_Office Theme">
  <a:themeElements>
    <a:clrScheme name="Custom 1">
      <a:dk1>
        <a:srgbClr val="000000"/>
      </a:dk1>
      <a:lt1>
        <a:srgbClr val="FFFFFF"/>
      </a:lt1>
      <a:dk2>
        <a:srgbClr val="555555"/>
      </a:dk2>
      <a:lt2>
        <a:srgbClr val="CCCDCE"/>
      </a:lt2>
      <a:accent1>
        <a:srgbClr val="122668"/>
      </a:accent1>
      <a:accent2>
        <a:srgbClr val="2481C4"/>
      </a:accent2>
      <a:accent3>
        <a:srgbClr val="F04C3C"/>
      </a:accent3>
      <a:accent4>
        <a:srgbClr val="FAC9C4"/>
      </a:accent4>
      <a:accent5>
        <a:srgbClr val="CDE6F6"/>
      </a:accent5>
      <a:accent6>
        <a:srgbClr val="E6F2FA"/>
      </a:accent6>
      <a:hlink>
        <a:srgbClr val="00B0F0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Pulmonology - Asthma">
  <a:themeElements>
    <a:clrScheme name="ADVENT 2024">
      <a:dk1>
        <a:srgbClr val="000000"/>
      </a:dk1>
      <a:lt1>
        <a:srgbClr val="FFFFFF"/>
      </a:lt1>
      <a:dk2>
        <a:srgbClr val="565656"/>
      </a:dk2>
      <a:lt2>
        <a:srgbClr val="B1BBC1"/>
      </a:lt2>
      <a:accent1>
        <a:srgbClr val="2496A2"/>
      </a:accent1>
      <a:accent2>
        <a:srgbClr val="A05EB5"/>
      </a:accent2>
      <a:accent3>
        <a:srgbClr val="BE0F0F"/>
      </a:accent3>
      <a:accent4>
        <a:srgbClr val="112039"/>
      </a:accent4>
      <a:accent5>
        <a:srgbClr val="125C6E"/>
      </a:accent5>
      <a:accent6>
        <a:srgbClr val="7F9098"/>
      </a:accent6>
      <a:hlink>
        <a:srgbClr val="B1BBC1"/>
      </a:hlink>
      <a:folHlink>
        <a:srgbClr val="4BACC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>
          <a:gsLst>
            <a:gs pos="50000">
              <a:srgbClr val="A05EB5"/>
            </a:gs>
            <a:gs pos="0">
              <a:srgbClr val="BE0F0F"/>
            </a:gs>
            <a:gs pos="100000">
              <a:srgbClr val="0096A4"/>
            </a:gs>
          </a:gsLst>
          <a:lin ang="0" scaled="0"/>
        </a:gra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square" lIns="0" tIns="0" rIns="0" bIns="0" rtlCol="0" anchor="ctr" anchorCtr="0">
        <a:spAutoFit/>
      </a:bodyPr>
      <a:lstStyle>
        <a:defPPr algn="l">
          <a:defRPr dirty="0" err="1" smtClean="0">
            <a:solidFill>
              <a:schemeClr val="tx1"/>
            </a:solidFill>
            <a:latin typeface="+mn-lt"/>
          </a:defRPr>
        </a:defPPr>
      </a:lstStyle>
    </a:txDef>
  </a:objectDefaults>
  <a:extraClrSchemeLst/>
  <a:custClrLst>
    <a:custClr name="Rose">
      <a:srgbClr val="D291B4"/>
    </a:custClr>
    <a:custClr name="Pink">
      <a:srgbClr val="C83778"/>
    </a:custClr>
    <a:custClr name="Gold">
      <a:srgbClr val="AC9F3C"/>
    </a:custClr>
    <a:custClr name="Navy">
      <a:srgbClr val="005EB8"/>
    </a:custClr>
    <a:custClr name="Violet">
      <a:srgbClr val="645596"/>
    </a:custClr>
    <a:custClr name="Denim">
      <a:srgbClr val="281E69"/>
    </a:custClr>
    <a:custClr name="BLANK">
      <a:srgbClr val="FFFFFF"/>
    </a:custClr>
    <a:custClr name="Deep Blue">
      <a:srgbClr val="546F8E"/>
    </a:custClr>
    <a:custClr name="Gray">
      <a:srgbClr val="999999"/>
    </a:custClr>
    <a:custClr name="BLANK">
      <a:srgbClr val="FFFFFF"/>
    </a:custClr>
    <a:custClr name="IL-4">
      <a:srgbClr val="34509D"/>
    </a:custClr>
    <a:custClr name="IL-13">
      <a:srgbClr val="CB8B52"/>
    </a:custClr>
    <a:custClr name="IL-31">
      <a:srgbClr val="56A4AD"/>
    </a:custClr>
    <a:custClr name="IL-5">
      <a:srgbClr val="AE392A"/>
    </a:custClr>
  </a:custClrLst>
  <a:extLst>
    <a:ext uri="{05A4C25C-085E-4340-85A3-A5531E510DB2}">
      <thm15:themeFamily xmlns:thm15="http://schemas.microsoft.com/office/thememl/2012/main" name="ADVENT_Global PPT template_rev2024.potx" id="{A145ADCA-31C0-4773-9E66-F0B1FB2FC0D3}" vid="{041697BA-7028-4F2B-BDE4-0725286E68B7}"/>
    </a:ext>
  </a:extLst>
</a:theme>
</file>

<file path=ppt/theme/theme5.xml><?xml version="1.0" encoding="utf-8"?>
<a:theme xmlns:a="http://schemas.openxmlformats.org/drawingml/2006/main" name="2_LungenClinic Grosshandorf 16:9 Master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Master">
  <a:themeElements>
    <a:clrScheme name="EpiCentral">
      <a:dk1>
        <a:srgbClr val="656665"/>
      </a:dk1>
      <a:lt1>
        <a:srgbClr val="FFFFFF"/>
      </a:lt1>
      <a:dk2>
        <a:srgbClr val="590995"/>
      </a:dk2>
      <a:lt2>
        <a:srgbClr val="28ABE1"/>
      </a:lt2>
      <a:accent1>
        <a:srgbClr val="FF2B28"/>
      </a:accent1>
      <a:accent2>
        <a:srgbClr val="F35FAC"/>
      </a:accent2>
      <a:accent3>
        <a:srgbClr val="570995"/>
      </a:accent3>
      <a:accent4>
        <a:srgbClr val="28ABE1"/>
      </a:accent4>
      <a:accent5>
        <a:srgbClr val="FF2B28"/>
      </a:accent5>
      <a:accent6>
        <a:srgbClr val="F35FAC"/>
      </a:accent6>
      <a:hlink>
        <a:srgbClr val="6360DB"/>
      </a:hlink>
      <a:folHlink>
        <a:srgbClr val="8C8AC2"/>
      </a:folHlink>
    </a:clrScheme>
    <a:fontScheme name="EpiCentral PPT">
      <a:majorFont>
        <a:latin typeface="Cambr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piCentral powerpoint template" id="{E465196C-8DD7-4CD4-BD1A-8C260B85480A}" vid="{23CCF559-6C28-4F70-BDE1-03736D39C267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EDB2018631BED4A840EC223877EC215" ma:contentTypeVersion="20" ma:contentTypeDescription="Create a new document." ma:contentTypeScope="" ma:versionID="818a267e187174811a86b0954e511f0a">
  <xsd:schema xmlns:xsd="http://www.w3.org/2001/XMLSchema" xmlns:xs="http://www.w3.org/2001/XMLSchema" xmlns:p="http://schemas.microsoft.com/office/2006/metadata/properties" xmlns:ns2="cc4038ed-d345-4947-b061-34ef88336004" xmlns:ns3="e6dd1411-ccec-4e4f-b73c-9c678b3207a5" targetNamespace="http://schemas.microsoft.com/office/2006/metadata/properties" ma:root="true" ma:fieldsID="7b445fb931b7340559072efe8ded3f65" ns2:_="" ns3:_="">
    <xsd:import namespace="cc4038ed-d345-4947-b061-34ef88336004"/>
    <xsd:import namespace="e6dd1411-ccec-4e4f-b73c-9c678b3207a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Location" minOccurs="0"/>
                <xsd:element ref="ns2:MediaServiceSearchProperties" minOccurs="0"/>
                <xsd:element ref="ns2:Not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c4038ed-d345-4947-b061-34ef8833600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Length (seconds)" ma:internalName="MediaLengthInSeconds" ma:readOnly="true">
      <xsd:simpleType>
        <xsd:restriction base="dms:Unknown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2b30fe8e-fdf3-4e6d-ac15-22a0b67e7bf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4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Notes" ma:index="26" nillable="true" ma:displayName="Notes" ma:format="Dropdown" ma:internalName="Notes">
      <xsd:simpleType>
        <xsd:restriction base="dms:Text">
          <xsd:maxLength value="255"/>
        </xsd:restriction>
      </xsd:simpleType>
    </xsd:element>
    <xsd:element name="MediaServiceBillingMetadata" ma:index="27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dd1411-ccec-4e4f-b73c-9c678b3207a5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697b5cc3-8ee5-412d-b10c-5a30ea3786b9}" ma:internalName="TaxCatchAll" ma:showField="CatchAllData" ma:web="e6dd1411-ccec-4e4f-b73c-9c678b3207a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BrandIn lastLayout="1"/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BrandIn lastLayout="1"/>
</file>

<file path=customXml/item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cc4038ed-d345-4947-b061-34ef88336004">
      <Terms xmlns="http://schemas.microsoft.com/office/infopath/2007/PartnerControls"/>
    </lcf76f155ced4ddcb4097134ff3c332f>
    <TaxCatchAll xmlns="e6dd1411-ccec-4e4f-b73c-9c678b3207a5" xsi:nil="true"/>
    <SharedWithUsers xmlns="e6dd1411-ccec-4e4f-b73c-9c678b3207a5">
      <UserInfo>
        <DisplayName>Mestdagh, Nathalie</DisplayName>
        <AccountId>32</AccountId>
        <AccountType/>
      </UserInfo>
      <UserInfo>
        <DisplayName>Stjepanovic, Neda</DisplayName>
        <AccountId>12</AccountId>
        <AccountType/>
      </UserInfo>
      <UserInfo>
        <DisplayName>Foster, Andrew (MR2001)</DisplayName>
        <AccountId>109</AccountId>
        <AccountType/>
      </UserInfo>
    </SharedWithUsers>
    <Notes xmlns="cc4038ed-d345-4947-b061-34ef88336004" xsi:nil="true"/>
  </documentManagement>
</p:properties>
</file>

<file path=customXml/item6.xml><?xml version="1.0" encoding="utf-8"?>
<BrandIn lastLayout="1"/>
</file>

<file path=customXml/item7.xml><?xml version="1.0" encoding="utf-8"?>
<BrandIn lastLayout="1"/>
</file>

<file path=customXml/itemProps1.xml><?xml version="1.0" encoding="utf-8"?>
<ds:datastoreItem xmlns:ds="http://schemas.openxmlformats.org/officeDocument/2006/customXml" ds:itemID="{45FA9F21-411C-4395-8B4A-4AE2E343CBF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c4038ed-d345-4947-b061-34ef88336004"/>
    <ds:schemaRef ds:uri="e6dd1411-ccec-4e4f-b73c-9c678b3207a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4A6110F-09E4-4477-B2BA-33AF23A7341F}">
  <ds:schemaRefs/>
</ds:datastoreItem>
</file>

<file path=customXml/itemProps3.xml><?xml version="1.0" encoding="utf-8"?>
<ds:datastoreItem xmlns:ds="http://schemas.openxmlformats.org/officeDocument/2006/customXml" ds:itemID="{F54A74DE-DB4A-4185-878A-DF8FA7E466A8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2D553B9E-F7D5-4EAC-ABF9-E39C4CB3B220}">
  <ds:schemaRefs/>
</ds:datastoreItem>
</file>

<file path=customXml/itemProps5.xml><?xml version="1.0" encoding="utf-8"?>
<ds:datastoreItem xmlns:ds="http://schemas.openxmlformats.org/officeDocument/2006/customXml" ds:itemID="{0F155137-5214-449C-8806-85D323C5EAB8}">
  <ds:schemaRefs>
    <ds:schemaRef ds:uri="http://purl.org/dc/terms/"/>
    <ds:schemaRef ds:uri="http://purl.org/dc/dcmitype/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e6dd1411-ccec-4e4f-b73c-9c678b3207a5"/>
    <ds:schemaRef ds:uri="cc4038ed-d345-4947-b061-34ef88336004"/>
    <ds:schemaRef ds:uri="http://www.w3.org/XML/1998/namespace"/>
  </ds:schemaRefs>
</ds:datastoreItem>
</file>

<file path=customXml/itemProps6.xml><?xml version="1.0" encoding="utf-8"?>
<ds:datastoreItem xmlns:ds="http://schemas.openxmlformats.org/officeDocument/2006/customXml" ds:itemID="{E23F63CF-0E22-49FE-95F6-D17B24674C80}">
  <ds:schemaRefs/>
</ds:datastoreItem>
</file>

<file path=customXml/itemProps7.xml><?xml version="1.0" encoding="utf-8"?>
<ds:datastoreItem xmlns:ds="http://schemas.openxmlformats.org/officeDocument/2006/customXml" ds:itemID="{871026F7-8EC1-4B7C-99CE-F74ADF050C2B}">
  <ds:schemaRefs/>
</ds:datastoreItem>
</file>

<file path=docMetadata/LabelInfo.xml><?xml version="1.0" encoding="utf-8"?>
<clbl:labelList xmlns:clbl="http://schemas.microsoft.com/office/2020/mipLabelMetadata">
  <clbl:label id="{4a3cfba2-a76b-4b2e-ac1d-a2e88b44c1c2}" enabled="0" method="" siteId="{4a3cfba2-a76b-4b2e-ac1d-a2e88b44c1c2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892</Words>
  <Application>Microsoft Office PowerPoint</Application>
  <PresentationFormat>Widescreen</PresentationFormat>
  <Paragraphs>288</Paragraphs>
  <Slides>20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7" baseType="lpstr">
      <vt:lpstr>Aptos</vt:lpstr>
      <vt:lpstr>Arial</vt:lpstr>
      <vt:lpstr>Calibri</vt:lpstr>
      <vt:lpstr>Calisto MT</vt:lpstr>
      <vt:lpstr>Cambria</vt:lpstr>
      <vt:lpstr>Courier New</vt:lpstr>
      <vt:lpstr>Helvetica</vt:lpstr>
      <vt:lpstr>Symbol</vt:lpstr>
      <vt:lpstr>Times New Roman</vt:lpstr>
      <vt:lpstr>Wingdings</vt:lpstr>
      <vt:lpstr>3_AstraZeneca Standard Template</vt:lpstr>
      <vt:lpstr>1_LungenClinic Grosshandorf 16:9 Master</vt:lpstr>
      <vt:lpstr>13_Office Theme</vt:lpstr>
      <vt:lpstr>Pulmonology - Asthma</vt:lpstr>
      <vt:lpstr>2_LungenClinic Grosshandorf 16:9 Master</vt:lpstr>
      <vt:lpstr>Master</vt:lpstr>
      <vt:lpstr>think-cell Folie</vt:lpstr>
      <vt:lpstr>Mucus metaplasia and hypersecretion in patients with epithelial-driven disease</vt:lpstr>
      <vt:lpstr>The role of mucus hypersecretion and mucus plugs in airway diseases</vt:lpstr>
      <vt:lpstr>What are mucus plugs? </vt:lpstr>
      <vt:lpstr>Characteristics of mucus plugs in the airways of people with asthma</vt:lpstr>
      <vt:lpstr>In asthma, sputum eosinophils positively correlate with mucus plug score</vt:lpstr>
      <vt:lpstr>Mucus plugs are local “hot spots” of inflammation</vt:lpstr>
      <vt:lpstr>Mucus plugs are local “hot spots” of granulocyte inflammation</vt:lpstr>
      <vt:lpstr>Mucus plugs are local “hot spots” of granulocyte inflammation</vt:lpstr>
      <vt:lpstr>Mucus hypersecretion contributes to polyp formation in CRSwNP1–4</vt:lpstr>
      <vt:lpstr>Interaction of mucus plugs and the epithelium</vt:lpstr>
      <vt:lpstr>The pathology of the mucus plug1</vt:lpstr>
      <vt:lpstr>The pathology of a mucus plug: MUC5AC1,2</vt:lpstr>
      <vt:lpstr>The composition of the epithelium differs with more goblet cells and MUC5AC in asthma1,2 </vt:lpstr>
      <vt:lpstr>Patients with CRSwNP experience submucosal gland hypoplasia and goblet cell hyperplasia</vt:lpstr>
      <vt:lpstr>Crosslinking of mucins</vt:lpstr>
      <vt:lpstr>Crosslinking of MUC5AC results in pathogenic mucus</vt:lpstr>
      <vt:lpstr>Crosslinking of mucins by peroxidases: Eosinophil peroxidase</vt:lpstr>
      <vt:lpstr>Crosslinking of mucins by peroxidases: Eosinophil peroxidase</vt:lpstr>
      <vt:lpstr>Crosslinking of mucins by peroxidases: Thyroid peroxidase</vt:lpstr>
      <vt:lpstr>Summary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subject/>
  <dc:creator>Clarke, Deborah</dc:creator>
  <cp:keywords/>
  <dc:description/>
  <cp:lastModifiedBy>Kim Tidmuss-Grisley</cp:lastModifiedBy>
  <cp:revision>3</cp:revision>
  <cp:lastPrinted>2022-09-29T10:35:23Z</cp:lastPrinted>
  <dcterms:created xsi:type="dcterms:W3CDTF">2019-06-25T14:01:35Z</dcterms:created>
  <dcterms:modified xsi:type="dcterms:W3CDTF">2026-03-10T10:15:17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EDB2018631BED4A840EC223877EC215</vt:lpwstr>
  </property>
  <property fmtid="{D5CDD505-2E9C-101B-9397-08002B2CF9AE}" pid="3" name="MSIP_Label_b387e451-72c8-4fc0-985a-fb25e0413282_Name">
    <vt:lpwstr>Internal Use Only Medical and Scientific Affairs</vt:lpwstr>
  </property>
  <property fmtid="{D5CDD505-2E9C-101B-9397-08002B2CF9AE}" pid="4" name="MSIP_Label_b387e451-72c8-4fc0-985a-fb25e0413282_SiteId">
    <vt:lpwstr>4b4266a6-1368-41af-ad5a-59eb634f7ad8</vt:lpwstr>
  </property>
  <property fmtid="{D5CDD505-2E9C-101B-9397-08002B2CF9AE}" pid="5" name="MSIP_Label_b387e451-72c8-4fc0-985a-fb25e0413282_Method">
    <vt:lpwstr>Privileged</vt:lpwstr>
  </property>
  <property fmtid="{D5CDD505-2E9C-101B-9397-08002B2CF9AE}" pid="6" name="MSIP_Label_b387e451-72c8-4fc0-985a-fb25e0413282_ContentBits">
    <vt:lpwstr>2</vt:lpwstr>
  </property>
  <property fmtid="{D5CDD505-2E9C-101B-9397-08002B2CF9AE}" pid="7" name="MSIP_Label_b387e451-72c8-4fc0-985a-fb25e0413282_ActionId">
    <vt:lpwstr>e4256392-cce6-4884-9afa-2683c525ffa4</vt:lpwstr>
  </property>
  <property fmtid="{D5CDD505-2E9C-101B-9397-08002B2CF9AE}" pid="8" name="MSIP_Label_b387e451-72c8-4fc0-985a-fb25e0413282_Enabled">
    <vt:lpwstr>true</vt:lpwstr>
  </property>
  <property fmtid="{D5CDD505-2E9C-101B-9397-08002B2CF9AE}" pid="9" name="MSIP_Label_b387e451-72c8-4fc0-985a-fb25e0413282_SetDate">
    <vt:lpwstr>2022-09-12T18:17:18Z</vt:lpwstr>
  </property>
  <property fmtid="{D5CDD505-2E9C-101B-9397-08002B2CF9AE}" pid="10" name="MediaServiceImageTags">
    <vt:lpwstr/>
  </property>
</Properties>
</file>